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9"/>
  </p:notesMasterIdLst>
  <p:sldIdLst>
    <p:sldId id="256" r:id="rId2"/>
    <p:sldId id="258" r:id="rId3"/>
    <p:sldId id="318" r:id="rId4"/>
    <p:sldId id="319" r:id="rId5"/>
    <p:sldId id="419" r:id="rId6"/>
    <p:sldId id="363" r:id="rId7"/>
    <p:sldId id="399" r:id="rId8"/>
  </p:sldIdLst>
  <p:sldSz cx="12192000" cy="6858000"/>
  <p:notesSz cx="6858000" cy="9144000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8" userDrawn="1">
          <p15:clr>
            <a:srgbClr val="A4A3A4"/>
          </p15:clr>
        </p15:guide>
        <p15:guide id="4" pos="347" userDrawn="1">
          <p15:clr>
            <a:srgbClr val="A4A3A4"/>
          </p15:clr>
        </p15:guide>
        <p15:guide id="5" orient="horz" pos="822" userDrawn="1">
          <p15:clr>
            <a:srgbClr val="A4A3A4"/>
          </p15:clr>
        </p15:guide>
        <p15:guide id="6" orient="horz" pos="2137" userDrawn="1">
          <p15:clr>
            <a:srgbClr val="A4A3A4"/>
          </p15:clr>
        </p15:guide>
        <p15:guide id="17" orient="horz" pos="3090" userDrawn="1">
          <p15:clr>
            <a:srgbClr val="A4A3A4"/>
          </p15:clr>
        </p15:guide>
        <p15:guide id="18" orient="horz" pos="3838" userDrawn="1">
          <p15:clr>
            <a:srgbClr val="A4A3A4"/>
          </p15:clr>
        </p15:guide>
        <p15:guide id="19" pos="3727" userDrawn="1">
          <p15:clr>
            <a:srgbClr val="A4A3A4"/>
          </p15:clr>
        </p15:guide>
        <p15:guide id="20" pos="4135" userDrawn="1">
          <p15:clr>
            <a:srgbClr val="A4A3A4"/>
          </p15:clr>
        </p15:guide>
        <p15:guide id="22" orient="horz" pos="4320" userDrawn="1">
          <p15:clr>
            <a:srgbClr val="A4A3A4"/>
          </p15:clr>
        </p15:guide>
        <p15:guide id="27" pos="5592" userDrawn="1">
          <p15:clr>
            <a:srgbClr val="A4A3A4"/>
          </p15:clr>
        </p15:guide>
        <p15:guide id="29" orient="horz" pos="2500" userDrawn="1">
          <p15:clr>
            <a:srgbClr val="A4A3A4"/>
          </p15:clr>
        </p15:guide>
        <p15:guide id="30" pos="1912" userDrawn="1">
          <p15:clr>
            <a:srgbClr val="A4A3A4"/>
          </p15:clr>
        </p15:guide>
        <p15:guide id="31" pos="554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irpo, Carla (MX - Mexico)" initials="FC(-M" lastIdx="13" clrIdx="0">
    <p:extLst>
      <p:ext uri="{19B8F6BF-5375-455C-9EA6-DF929625EA0E}">
        <p15:presenceInfo xmlns:p15="http://schemas.microsoft.com/office/powerpoint/2012/main" userId="S-1-5-21-1807443755-1164125163-14498641-14842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2D2D"/>
    <a:srgbClr val="F2F2F2"/>
    <a:srgbClr val="003063"/>
    <a:srgbClr val="7F7F7F"/>
    <a:srgbClr val="BFBFBF"/>
    <a:srgbClr val="F32D2E"/>
    <a:srgbClr val="A5A5A5"/>
    <a:srgbClr val="1D4A9B"/>
    <a:srgbClr val="7E7E7E"/>
    <a:srgbClr val="DAE3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154" autoAdjust="0"/>
    <p:restoredTop sz="95441" autoAdjust="0"/>
  </p:normalViewPr>
  <p:slideViewPr>
    <p:cSldViewPr snapToGrid="0">
      <p:cViewPr varScale="1">
        <p:scale>
          <a:sx n="61" d="100"/>
          <a:sy n="61" d="100"/>
        </p:scale>
        <p:origin x="90" y="1110"/>
      </p:cViewPr>
      <p:guideLst>
        <p:guide orient="horz" pos="278"/>
        <p:guide pos="347"/>
        <p:guide orient="horz" pos="822"/>
        <p:guide orient="horz" pos="2137"/>
        <p:guide orient="horz" pos="3090"/>
        <p:guide orient="horz" pos="3838"/>
        <p:guide pos="3727"/>
        <p:guide pos="4135"/>
        <p:guide orient="horz" pos="4320"/>
        <p:guide pos="5592"/>
        <p:guide orient="horz" pos="2500"/>
        <p:guide pos="1912"/>
        <p:guide pos="554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2FE06E-2AE8-4029-9F7C-50B28FD1BA59}" type="datetimeFigureOut">
              <a:rPr lang="es-MX" smtClean="0"/>
              <a:t>13/06/2023</a:t>
            </a:fld>
            <a:endParaRPr lang="es-MX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5367E7-9FFA-48B6-B09D-F0EA71DE0884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1691269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8221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53297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849" y="365125"/>
            <a:ext cx="5753529" cy="1325563"/>
          </a:xfrm>
        </p:spPr>
        <p:txBody>
          <a:bodyPr vert="horz" lIns="91440" tIns="45720" rIns="91440" bIns="45720" rtlCol="0" anchor="ctr"/>
          <a:lstStyle>
            <a:lvl1pPr algn="r">
              <a:defRPr lang="es-MX" sz="3600" b="1" dirty="0">
                <a:solidFill>
                  <a:srgbClr val="00306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r"/>
            <a:r>
              <a:rPr lang="en-US" dirty="0"/>
              <a:t>Click to edit Master title style</a:t>
            </a:r>
            <a:endParaRPr lang="es-MX" dirty="0"/>
          </a:p>
        </p:txBody>
      </p:sp>
      <p:sp>
        <p:nvSpPr>
          <p:cNvPr id="8" name="Flowchart: Manual Operation 9"/>
          <p:cNvSpPr/>
          <p:nvPr userDrawn="1"/>
        </p:nvSpPr>
        <p:spPr>
          <a:xfrm flipH="1">
            <a:off x="-30295" y="-10188"/>
            <a:ext cx="3023882" cy="6874435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1"/>
              <a:gd name="connsiteX1" fmla="*/ 10000 w 10000"/>
              <a:gd name="connsiteY1" fmla="*/ 0 h 10021"/>
              <a:gd name="connsiteX2" fmla="*/ 8000 w 10000"/>
              <a:gd name="connsiteY2" fmla="*/ 10000 h 10021"/>
              <a:gd name="connsiteX3" fmla="*/ 3333 w 10000"/>
              <a:gd name="connsiteY3" fmla="*/ 10021 h 10021"/>
              <a:gd name="connsiteX4" fmla="*/ 0 w 10000"/>
              <a:gd name="connsiteY4" fmla="*/ 0 h 10021"/>
              <a:gd name="connsiteX0" fmla="*/ 0 w 10000"/>
              <a:gd name="connsiteY0" fmla="*/ 0 h 10021"/>
              <a:gd name="connsiteX1" fmla="*/ 10000 w 10000"/>
              <a:gd name="connsiteY1" fmla="*/ 0 h 10021"/>
              <a:gd name="connsiteX2" fmla="*/ 8000 w 10000"/>
              <a:gd name="connsiteY2" fmla="*/ 10000 h 10021"/>
              <a:gd name="connsiteX3" fmla="*/ 3333 w 10000"/>
              <a:gd name="connsiteY3" fmla="*/ 10021 h 10021"/>
              <a:gd name="connsiteX4" fmla="*/ 0 w 10000"/>
              <a:gd name="connsiteY4" fmla="*/ 0 h 10021"/>
              <a:gd name="connsiteX0" fmla="*/ 0 w 8507"/>
              <a:gd name="connsiteY0" fmla="*/ 0 h 10021"/>
              <a:gd name="connsiteX1" fmla="*/ 8507 w 8507"/>
              <a:gd name="connsiteY1" fmla="*/ 0 h 10021"/>
              <a:gd name="connsiteX2" fmla="*/ 8000 w 8507"/>
              <a:gd name="connsiteY2" fmla="*/ 10000 h 10021"/>
              <a:gd name="connsiteX3" fmla="*/ 3333 w 8507"/>
              <a:gd name="connsiteY3" fmla="*/ 10021 h 10021"/>
              <a:gd name="connsiteX4" fmla="*/ 0 w 8507"/>
              <a:gd name="connsiteY4" fmla="*/ 0 h 10021"/>
              <a:gd name="connsiteX0" fmla="*/ 0 w 9498"/>
              <a:gd name="connsiteY0" fmla="*/ 21 h 10021"/>
              <a:gd name="connsiteX1" fmla="*/ 9498 w 9498"/>
              <a:gd name="connsiteY1" fmla="*/ 0 h 10021"/>
              <a:gd name="connsiteX2" fmla="*/ 9404 w 9498"/>
              <a:gd name="connsiteY2" fmla="*/ 10000 h 10021"/>
              <a:gd name="connsiteX3" fmla="*/ 3918 w 9498"/>
              <a:gd name="connsiteY3" fmla="*/ 10021 h 10021"/>
              <a:gd name="connsiteX4" fmla="*/ 0 w 9498"/>
              <a:gd name="connsiteY4" fmla="*/ 21 h 10021"/>
              <a:gd name="connsiteX0" fmla="*/ 0 w 10000"/>
              <a:gd name="connsiteY0" fmla="*/ 0 h 9979"/>
              <a:gd name="connsiteX1" fmla="*/ 10000 w 10000"/>
              <a:gd name="connsiteY1" fmla="*/ 26 h 9979"/>
              <a:gd name="connsiteX2" fmla="*/ 9901 w 10000"/>
              <a:gd name="connsiteY2" fmla="*/ 9958 h 9979"/>
              <a:gd name="connsiteX3" fmla="*/ 4125 w 10000"/>
              <a:gd name="connsiteY3" fmla="*/ 9979 h 9979"/>
              <a:gd name="connsiteX4" fmla="*/ 0 w 10000"/>
              <a:gd name="connsiteY4" fmla="*/ 0 h 9979"/>
              <a:gd name="connsiteX0" fmla="*/ 0 w 10000"/>
              <a:gd name="connsiteY0" fmla="*/ 0 h 10000"/>
              <a:gd name="connsiteX1" fmla="*/ 10000 w 10000"/>
              <a:gd name="connsiteY1" fmla="*/ 10 h 10000"/>
              <a:gd name="connsiteX2" fmla="*/ 9901 w 10000"/>
              <a:gd name="connsiteY2" fmla="*/ 9979 h 10000"/>
              <a:gd name="connsiteX3" fmla="*/ 4125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9985"/>
              <a:gd name="connsiteX1" fmla="*/ 10000 w 10000"/>
              <a:gd name="connsiteY1" fmla="*/ 10 h 9985"/>
              <a:gd name="connsiteX2" fmla="*/ 9901 w 10000"/>
              <a:gd name="connsiteY2" fmla="*/ 9979 h 9985"/>
              <a:gd name="connsiteX3" fmla="*/ 4125 w 10000"/>
              <a:gd name="connsiteY3" fmla="*/ 9985 h 9985"/>
              <a:gd name="connsiteX4" fmla="*/ 0 w 10000"/>
              <a:gd name="connsiteY4" fmla="*/ 0 h 9985"/>
              <a:gd name="connsiteX0" fmla="*/ 0 w 10000"/>
              <a:gd name="connsiteY0" fmla="*/ 0 h 9994"/>
              <a:gd name="connsiteX1" fmla="*/ 10000 w 10000"/>
              <a:gd name="connsiteY1" fmla="*/ 10 h 9994"/>
              <a:gd name="connsiteX2" fmla="*/ 9901 w 10000"/>
              <a:gd name="connsiteY2" fmla="*/ 9994 h 9994"/>
              <a:gd name="connsiteX3" fmla="*/ 4125 w 10000"/>
              <a:gd name="connsiteY3" fmla="*/ 9970 h 9994"/>
              <a:gd name="connsiteX4" fmla="*/ 0 w 10000"/>
              <a:gd name="connsiteY4" fmla="*/ 0 h 9994"/>
              <a:gd name="connsiteX0" fmla="*/ 0 w 10000"/>
              <a:gd name="connsiteY0" fmla="*/ 0 h 10022"/>
              <a:gd name="connsiteX1" fmla="*/ 10000 w 10000"/>
              <a:gd name="connsiteY1" fmla="*/ 10 h 10022"/>
              <a:gd name="connsiteX2" fmla="*/ 9901 w 10000"/>
              <a:gd name="connsiteY2" fmla="*/ 10000 h 10022"/>
              <a:gd name="connsiteX3" fmla="*/ 3965 w 10000"/>
              <a:gd name="connsiteY3" fmla="*/ 10022 h 10022"/>
              <a:gd name="connsiteX4" fmla="*/ 0 w 10000"/>
              <a:gd name="connsiteY4" fmla="*/ 0 h 10022"/>
              <a:gd name="connsiteX0" fmla="*/ 0 w 10000"/>
              <a:gd name="connsiteY0" fmla="*/ 0 h 10022"/>
              <a:gd name="connsiteX1" fmla="*/ 10000 w 10000"/>
              <a:gd name="connsiteY1" fmla="*/ 10 h 10022"/>
              <a:gd name="connsiteX2" fmla="*/ 9292 w 10000"/>
              <a:gd name="connsiteY2" fmla="*/ 9985 h 10022"/>
              <a:gd name="connsiteX3" fmla="*/ 3965 w 10000"/>
              <a:gd name="connsiteY3" fmla="*/ 10022 h 10022"/>
              <a:gd name="connsiteX4" fmla="*/ 0 w 10000"/>
              <a:gd name="connsiteY4" fmla="*/ 0 h 10022"/>
              <a:gd name="connsiteX0" fmla="*/ 0 w 10000"/>
              <a:gd name="connsiteY0" fmla="*/ 0 h 10022"/>
              <a:gd name="connsiteX1" fmla="*/ 10000 w 10000"/>
              <a:gd name="connsiteY1" fmla="*/ 10 h 10022"/>
              <a:gd name="connsiteX2" fmla="*/ 9292 w 10000"/>
              <a:gd name="connsiteY2" fmla="*/ 10000 h 10022"/>
              <a:gd name="connsiteX3" fmla="*/ 3965 w 10000"/>
              <a:gd name="connsiteY3" fmla="*/ 10022 h 10022"/>
              <a:gd name="connsiteX4" fmla="*/ 0 w 10000"/>
              <a:gd name="connsiteY4" fmla="*/ 0 h 10022"/>
              <a:gd name="connsiteX0" fmla="*/ 0 w 9293"/>
              <a:gd name="connsiteY0" fmla="*/ 0 h 10022"/>
              <a:gd name="connsiteX1" fmla="*/ 8814 w 9293"/>
              <a:gd name="connsiteY1" fmla="*/ 329 h 10022"/>
              <a:gd name="connsiteX2" fmla="*/ 9292 w 9293"/>
              <a:gd name="connsiteY2" fmla="*/ 10000 h 10022"/>
              <a:gd name="connsiteX3" fmla="*/ 3965 w 9293"/>
              <a:gd name="connsiteY3" fmla="*/ 10022 h 10022"/>
              <a:gd name="connsiteX4" fmla="*/ 0 w 9293"/>
              <a:gd name="connsiteY4" fmla="*/ 0 h 10022"/>
              <a:gd name="connsiteX0" fmla="*/ 0 w 10009"/>
              <a:gd name="connsiteY0" fmla="*/ 20 h 10020"/>
              <a:gd name="connsiteX1" fmla="*/ 10003 w 10009"/>
              <a:gd name="connsiteY1" fmla="*/ 0 h 10020"/>
              <a:gd name="connsiteX2" fmla="*/ 9999 w 10009"/>
              <a:gd name="connsiteY2" fmla="*/ 9998 h 10020"/>
              <a:gd name="connsiteX3" fmla="*/ 4267 w 10009"/>
              <a:gd name="connsiteY3" fmla="*/ 10020 h 10020"/>
              <a:gd name="connsiteX4" fmla="*/ 0 w 10009"/>
              <a:gd name="connsiteY4" fmla="*/ 20 h 10020"/>
              <a:gd name="connsiteX0" fmla="*/ 0 w 10003"/>
              <a:gd name="connsiteY0" fmla="*/ 20 h 10020"/>
              <a:gd name="connsiteX1" fmla="*/ 10003 w 10003"/>
              <a:gd name="connsiteY1" fmla="*/ 0 h 10020"/>
              <a:gd name="connsiteX2" fmla="*/ 9792 w 10003"/>
              <a:gd name="connsiteY2" fmla="*/ 9937 h 10020"/>
              <a:gd name="connsiteX3" fmla="*/ 4267 w 10003"/>
              <a:gd name="connsiteY3" fmla="*/ 10020 h 10020"/>
              <a:gd name="connsiteX4" fmla="*/ 0 w 10003"/>
              <a:gd name="connsiteY4" fmla="*/ 20 h 10020"/>
              <a:gd name="connsiteX0" fmla="*/ 0 w 10041"/>
              <a:gd name="connsiteY0" fmla="*/ 20 h 10020"/>
              <a:gd name="connsiteX1" fmla="*/ 10003 w 10041"/>
              <a:gd name="connsiteY1" fmla="*/ 0 h 10020"/>
              <a:gd name="connsiteX2" fmla="*/ 10034 w 10041"/>
              <a:gd name="connsiteY2" fmla="*/ 10013 h 10020"/>
              <a:gd name="connsiteX3" fmla="*/ 4267 w 10041"/>
              <a:gd name="connsiteY3" fmla="*/ 10020 h 10020"/>
              <a:gd name="connsiteX4" fmla="*/ 0 w 10041"/>
              <a:gd name="connsiteY4" fmla="*/ 20 h 10020"/>
              <a:gd name="connsiteX0" fmla="*/ 0 w 10041"/>
              <a:gd name="connsiteY0" fmla="*/ 20 h 10013"/>
              <a:gd name="connsiteX1" fmla="*/ 10003 w 10041"/>
              <a:gd name="connsiteY1" fmla="*/ 0 h 10013"/>
              <a:gd name="connsiteX2" fmla="*/ 10034 w 10041"/>
              <a:gd name="connsiteY2" fmla="*/ 10013 h 10013"/>
              <a:gd name="connsiteX3" fmla="*/ 4198 w 10041"/>
              <a:gd name="connsiteY3" fmla="*/ 10005 h 10013"/>
              <a:gd name="connsiteX4" fmla="*/ 0 w 10041"/>
              <a:gd name="connsiteY4" fmla="*/ 20 h 10013"/>
              <a:gd name="connsiteX0" fmla="*/ 0 w 10041"/>
              <a:gd name="connsiteY0" fmla="*/ 5 h 10013"/>
              <a:gd name="connsiteX1" fmla="*/ 10003 w 10041"/>
              <a:gd name="connsiteY1" fmla="*/ 0 h 10013"/>
              <a:gd name="connsiteX2" fmla="*/ 10034 w 10041"/>
              <a:gd name="connsiteY2" fmla="*/ 10013 h 10013"/>
              <a:gd name="connsiteX3" fmla="*/ 4198 w 10041"/>
              <a:gd name="connsiteY3" fmla="*/ 10005 h 10013"/>
              <a:gd name="connsiteX4" fmla="*/ 0 w 10041"/>
              <a:gd name="connsiteY4" fmla="*/ 5 h 10013"/>
              <a:gd name="connsiteX0" fmla="*/ 0 w 10041"/>
              <a:gd name="connsiteY0" fmla="*/ 0 h 10023"/>
              <a:gd name="connsiteX1" fmla="*/ 10003 w 10041"/>
              <a:gd name="connsiteY1" fmla="*/ 10 h 10023"/>
              <a:gd name="connsiteX2" fmla="*/ 10034 w 10041"/>
              <a:gd name="connsiteY2" fmla="*/ 10023 h 10023"/>
              <a:gd name="connsiteX3" fmla="*/ 4198 w 10041"/>
              <a:gd name="connsiteY3" fmla="*/ 10015 h 10023"/>
              <a:gd name="connsiteX4" fmla="*/ 0 w 10041"/>
              <a:gd name="connsiteY4" fmla="*/ 0 h 10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1" h="10023">
                <a:moveTo>
                  <a:pt x="0" y="0"/>
                </a:moveTo>
                <a:lnTo>
                  <a:pt x="10003" y="10"/>
                </a:lnTo>
                <a:cubicBezTo>
                  <a:pt x="9967" y="3343"/>
                  <a:pt x="10069" y="6690"/>
                  <a:pt x="10034" y="10023"/>
                </a:cubicBezTo>
                <a:lnTo>
                  <a:pt x="4198" y="10015"/>
                </a:lnTo>
                <a:cubicBezTo>
                  <a:pt x="5951" y="4526"/>
                  <a:pt x="1480" y="3333"/>
                  <a:pt x="0" y="0"/>
                </a:cubicBezTo>
                <a:close/>
              </a:path>
            </a:pathLst>
          </a:custGeom>
          <a:solidFill>
            <a:srgbClr val="00306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097713" y="1690688"/>
            <a:ext cx="4759325" cy="834303"/>
          </a:xfrm>
        </p:spPr>
        <p:txBody>
          <a:bodyPr vert="horz" lIns="91440" tIns="45720" rIns="91440" bIns="45720" rtlCol="0" anchor="ctr"/>
          <a:lstStyle>
            <a:lvl1pPr algn="r">
              <a:defRPr lang="en-US" smtClean="0">
                <a:solidFill>
                  <a:srgbClr val="003063"/>
                </a:solidFill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mtClean="0"/>
            </a:lvl4pPr>
            <a:lvl5pPr>
              <a:defRPr lang="es-MX"/>
            </a:lvl5pPr>
          </a:lstStyle>
          <a:p>
            <a:pPr marL="0" lvl="0" indent="0" algn="r">
              <a:buNone/>
            </a:pPr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5893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00824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lowchart: Manual Operation 9"/>
          <p:cNvSpPr/>
          <p:nvPr userDrawn="1"/>
        </p:nvSpPr>
        <p:spPr>
          <a:xfrm flipH="1">
            <a:off x="-30295" y="-10188"/>
            <a:ext cx="3023882" cy="6874435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1"/>
              <a:gd name="connsiteX1" fmla="*/ 10000 w 10000"/>
              <a:gd name="connsiteY1" fmla="*/ 0 h 10021"/>
              <a:gd name="connsiteX2" fmla="*/ 8000 w 10000"/>
              <a:gd name="connsiteY2" fmla="*/ 10000 h 10021"/>
              <a:gd name="connsiteX3" fmla="*/ 3333 w 10000"/>
              <a:gd name="connsiteY3" fmla="*/ 10021 h 10021"/>
              <a:gd name="connsiteX4" fmla="*/ 0 w 10000"/>
              <a:gd name="connsiteY4" fmla="*/ 0 h 10021"/>
              <a:gd name="connsiteX0" fmla="*/ 0 w 10000"/>
              <a:gd name="connsiteY0" fmla="*/ 0 h 10021"/>
              <a:gd name="connsiteX1" fmla="*/ 10000 w 10000"/>
              <a:gd name="connsiteY1" fmla="*/ 0 h 10021"/>
              <a:gd name="connsiteX2" fmla="*/ 8000 w 10000"/>
              <a:gd name="connsiteY2" fmla="*/ 10000 h 10021"/>
              <a:gd name="connsiteX3" fmla="*/ 3333 w 10000"/>
              <a:gd name="connsiteY3" fmla="*/ 10021 h 10021"/>
              <a:gd name="connsiteX4" fmla="*/ 0 w 10000"/>
              <a:gd name="connsiteY4" fmla="*/ 0 h 10021"/>
              <a:gd name="connsiteX0" fmla="*/ 0 w 8507"/>
              <a:gd name="connsiteY0" fmla="*/ 0 h 10021"/>
              <a:gd name="connsiteX1" fmla="*/ 8507 w 8507"/>
              <a:gd name="connsiteY1" fmla="*/ 0 h 10021"/>
              <a:gd name="connsiteX2" fmla="*/ 8000 w 8507"/>
              <a:gd name="connsiteY2" fmla="*/ 10000 h 10021"/>
              <a:gd name="connsiteX3" fmla="*/ 3333 w 8507"/>
              <a:gd name="connsiteY3" fmla="*/ 10021 h 10021"/>
              <a:gd name="connsiteX4" fmla="*/ 0 w 8507"/>
              <a:gd name="connsiteY4" fmla="*/ 0 h 10021"/>
              <a:gd name="connsiteX0" fmla="*/ 0 w 9498"/>
              <a:gd name="connsiteY0" fmla="*/ 21 h 10021"/>
              <a:gd name="connsiteX1" fmla="*/ 9498 w 9498"/>
              <a:gd name="connsiteY1" fmla="*/ 0 h 10021"/>
              <a:gd name="connsiteX2" fmla="*/ 9404 w 9498"/>
              <a:gd name="connsiteY2" fmla="*/ 10000 h 10021"/>
              <a:gd name="connsiteX3" fmla="*/ 3918 w 9498"/>
              <a:gd name="connsiteY3" fmla="*/ 10021 h 10021"/>
              <a:gd name="connsiteX4" fmla="*/ 0 w 9498"/>
              <a:gd name="connsiteY4" fmla="*/ 21 h 10021"/>
              <a:gd name="connsiteX0" fmla="*/ 0 w 10000"/>
              <a:gd name="connsiteY0" fmla="*/ 0 h 9979"/>
              <a:gd name="connsiteX1" fmla="*/ 10000 w 10000"/>
              <a:gd name="connsiteY1" fmla="*/ 26 h 9979"/>
              <a:gd name="connsiteX2" fmla="*/ 9901 w 10000"/>
              <a:gd name="connsiteY2" fmla="*/ 9958 h 9979"/>
              <a:gd name="connsiteX3" fmla="*/ 4125 w 10000"/>
              <a:gd name="connsiteY3" fmla="*/ 9979 h 9979"/>
              <a:gd name="connsiteX4" fmla="*/ 0 w 10000"/>
              <a:gd name="connsiteY4" fmla="*/ 0 h 9979"/>
              <a:gd name="connsiteX0" fmla="*/ 0 w 10000"/>
              <a:gd name="connsiteY0" fmla="*/ 0 h 10000"/>
              <a:gd name="connsiteX1" fmla="*/ 10000 w 10000"/>
              <a:gd name="connsiteY1" fmla="*/ 10 h 10000"/>
              <a:gd name="connsiteX2" fmla="*/ 9901 w 10000"/>
              <a:gd name="connsiteY2" fmla="*/ 9979 h 10000"/>
              <a:gd name="connsiteX3" fmla="*/ 4125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9985"/>
              <a:gd name="connsiteX1" fmla="*/ 10000 w 10000"/>
              <a:gd name="connsiteY1" fmla="*/ 10 h 9985"/>
              <a:gd name="connsiteX2" fmla="*/ 9901 w 10000"/>
              <a:gd name="connsiteY2" fmla="*/ 9979 h 9985"/>
              <a:gd name="connsiteX3" fmla="*/ 4125 w 10000"/>
              <a:gd name="connsiteY3" fmla="*/ 9985 h 9985"/>
              <a:gd name="connsiteX4" fmla="*/ 0 w 10000"/>
              <a:gd name="connsiteY4" fmla="*/ 0 h 9985"/>
              <a:gd name="connsiteX0" fmla="*/ 0 w 10000"/>
              <a:gd name="connsiteY0" fmla="*/ 0 h 9994"/>
              <a:gd name="connsiteX1" fmla="*/ 10000 w 10000"/>
              <a:gd name="connsiteY1" fmla="*/ 10 h 9994"/>
              <a:gd name="connsiteX2" fmla="*/ 9901 w 10000"/>
              <a:gd name="connsiteY2" fmla="*/ 9994 h 9994"/>
              <a:gd name="connsiteX3" fmla="*/ 4125 w 10000"/>
              <a:gd name="connsiteY3" fmla="*/ 9970 h 9994"/>
              <a:gd name="connsiteX4" fmla="*/ 0 w 10000"/>
              <a:gd name="connsiteY4" fmla="*/ 0 h 9994"/>
              <a:gd name="connsiteX0" fmla="*/ 0 w 10000"/>
              <a:gd name="connsiteY0" fmla="*/ 0 h 10022"/>
              <a:gd name="connsiteX1" fmla="*/ 10000 w 10000"/>
              <a:gd name="connsiteY1" fmla="*/ 10 h 10022"/>
              <a:gd name="connsiteX2" fmla="*/ 9901 w 10000"/>
              <a:gd name="connsiteY2" fmla="*/ 10000 h 10022"/>
              <a:gd name="connsiteX3" fmla="*/ 3965 w 10000"/>
              <a:gd name="connsiteY3" fmla="*/ 10022 h 10022"/>
              <a:gd name="connsiteX4" fmla="*/ 0 w 10000"/>
              <a:gd name="connsiteY4" fmla="*/ 0 h 10022"/>
              <a:gd name="connsiteX0" fmla="*/ 0 w 10000"/>
              <a:gd name="connsiteY0" fmla="*/ 0 h 10022"/>
              <a:gd name="connsiteX1" fmla="*/ 10000 w 10000"/>
              <a:gd name="connsiteY1" fmla="*/ 10 h 10022"/>
              <a:gd name="connsiteX2" fmla="*/ 9292 w 10000"/>
              <a:gd name="connsiteY2" fmla="*/ 9985 h 10022"/>
              <a:gd name="connsiteX3" fmla="*/ 3965 w 10000"/>
              <a:gd name="connsiteY3" fmla="*/ 10022 h 10022"/>
              <a:gd name="connsiteX4" fmla="*/ 0 w 10000"/>
              <a:gd name="connsiteY4" fmla="*/ 0 h 10022"/>
              <a:gd name="connsiteX0" fmla="*/ 0 w 10000"/>
              <a:gd name="connsiteY0" fmla="*/ 0 h 10022"/>
              <a:gd name="connsiteX1" fmla="*/ 10000 w 10000"/>
              <a:gd name="connsiteY1" fmla="*/ 10 h 10022"/>
              <a:gd name="connsiteX2" fmla="*/ 9292 w 10000"/>
              <a:gd name="connsiteY2" fmla="*/ 10000 h 10022"/>
              <a:gd name="connsiteX3" fmla="*/ 3965 w 10000"/>
              <a:gd name="connsiteY3" fmla="*/ 10022 h 10022"/>
              <a:gd name="connsiteX4" fmla="*/ 0 w 10000"/>
              <a:gd name="connsiteY4" fmla="*/ 0 h 10022"/>
              <a:gd name="connsiteX0" fmla="*/ 0 w 9293"/>
              <a:gd name="connsiteY0" fmla="*/ 0 h 10022"/>
              <a:gd name="connsiteX1" fmla="*/ 8814 w 9293"/>
              <a:gd name="connsiteY1" fmla="*/ 329 h 10022"/>
              <a:gd name="connsiteX2" fmla="*/ 9292 w 9293"/>
              <a:gd name="connsiteY2" fmla="*/ 10000 h 10022"/>
              <a:gd name="connsiteX3" fmla="*/ 3965 w 9293"/>
              <a:gd name="connsiteY3" fmla="*/ 10022 h 10022"/>
              <a:gd name="connsiteX4" fmla="*/ 0 w 9293"/>
              <a:gd name="connsiteY4" fmla="*/ 0 h 10022"/>
              <a:gd name="connsiteX0" fmla="*/ 0 w 10009"/>
              <a:gd name="connsiteY0" fmla="*/ 20 h 10020"/>
              <a:gd name="connsiteX1" fmla="*/ 10003 w 10009"/>
              <a:gd name="connsiteY1" fmla="*/ 0 h 10020"/>
              <a:gd name="connsiteX2" fmla="*/ 9999 w 10009"/>
              <a:gd name="connsiteY2" fmla="*/ 9998 h 10020"/>
              <a:gd name="connsiteX3" fmla="*/ 4267 w 10009"/>
              <a:gd name="connsiteY3" fmla="*/ 10020 h 10020"/>
              <a:gd name="connsiteX4" fmla="*/ 0 w 10009"/>
              <a:gd name="connsiteY4" fmla="*/ 20 h 10020"/>
              <a:gd name="connsiteX0" fmla="*/ 0 w 10003"/>
              <a:gd name="connsiteY0" fmla="*/ 20 h 10020"/>
              <a:gd name="connsiteX1" fmla="*/ 10003 w 10003"/>
              <a:gd name="connsiteY1" fmla="*/ 0 h 10020"/>
              <a:gd name="connsiteX2" fmla="*/ 9792 w 10003"/>
              <a:gd name="connsiteY2" fmla="*/ 9937 h 10020"/>
              <a:gd name="connsiteX3" fmla="*/ 4267 w 10003"/>
              <a:gd name="connsiteY3" fmla="*/ 10020 h 10020"/>
              <a:gd name="connsiteX4" fmla="*/ 0 w 10003"/>
              <a:gd name="connsiteY4" fmla="*/ 20 h 10020"/>
              <a:gd name="connsiteX0" fmla="*/ 0 w 10041"/>
              <a:gd name="connsiteY0" fmla="*/ 20 h 10020"/>
              <a:gd name="connsiteX1" fmla="*/ 10003 w 10041"/>
              <a:gd name="connsiteY1" fmla="*/ 0 h 10020"/>
              <a:gd name="connsiteX2" fmla="*/ 10034 w 10041"/>
              <a:gd name="connsiteY2" fmla="*/ 10013 h 10020"/>
              <a:gd name="connsiteX3" fmla="*/ 4267 w 10041"/>
              <a:gd name="connsiteY3" fmla="*/ 10020 h 10020"/>
              <a:gd name="connsiteX4" fmla="*/ 0 w 10041"/>
              <a:gd name="connsiteY4" fmla="*/ 20 h 10020"/>
              <a:gd name="connsiteX0" fmla="*/ 0 w 10041"/>
              <a:gd name="connsiteY0" fmla="*/ 20 h 10013"/>
              <a:gd name="connsiteX1" fmla="*/ 10003 w 10041"/>
              <a:gd name="connsiteY1" fmla="*/ 0 h 10013"/>
              <a:gd name="connsiteX2" fmla="*/ 10034 w 10041"/>
              <a:gd name="connsiteY2" fmla="*/ 10013 h 10013"/>
              <a:gd name="connsiteX3" fmla="*/ 4198 w 10041"/>
              <a:gd name="connsiteY3" fmla="*/ 10005 h 10013"/>
              <a:gd name="connsiteX4" fmla="*/ 0 w 10041"/>
              <a:gd name="connsiteY4" fmla="*/ 20 h 10013"/>
              <a:gd name="connsiteX0" fmla="*/ 0 w 10041"/>
              <a:gd name="connsiteY0" fmla="*/ 5 h 10013"/>
              <a:gd name="connsiteX1" fmla="*/ 10003 w 10041"/>
              <a:gd name="connsiteY1" fmla="*/ 0 h 10013"/>
              <a:gd name="connsiteX2" fmla="*/ 10034 w 10041"/>
              <a:gd name="connsiteY2" fmla="*/ 10013 h 10013"/>
              <a:gd name="connsiteX3" fmla="*/ 4198 w 10041"/>
              <a:gd name="connsiteY3" fmla="*/ 10005 h 10013"/>
              <a:gd name="connsiteX4" fmla="*/ 0 w 10041"/>
              <a:gd name="connsiteY4" fmla="*/ 5 h 10013"/>
              <a:gd name="connsiteX0" fmla="*/ 0 w 10041"/>
              <a:gd name="connsiteY0" fmla="*/ 0 h 10023"/>
              <a:gd name="connsiteX1" fmla="*/ 10003 w 10041"/>
              <a:gd name="connsiteY1" fmla="*/ 10 h 10023"/>
              <a:gd name="connsiteX2" fmla="*/ 10034 w 10041"/>
              <a:gd name="connsiteY2" fmla="*/ 10023 h 10023"/>
              <a:gd name="connsiteX3" fmla="*/ 4198 w 10041"/>
              <a:gd name="connsiteY3" fmla="*/ 10015 h 10023"/>
              <a:gd name="connsiteX4" fmla="*/ 0 w 10041"/>
              <a:gd name="connsiteY4" fmla="*/ 0 h 10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1" h="10023">
                <a:moveTo>
                  <a:pt x="0" y="0"/>
                </a:moveTo>
                <a:lnTo>
                  <a:pt x="10003" y="10"/>
                </a:lnTo>
                <a:cubicBezTo>
                  <a:pt x="9967" y="3343"/>
                  <a:pt x="10069" y="6690"/>
                  <a:pt x="10034" y="10023"/>
                </a:cubicBezTo>
                <a:lnTo>
                  <a:pt x="4198" y="10015"/>
                </a:lnTo>
                <a:cubicBezTo>
                  <a:pt x="5951" y="4526"/>
                  <a:pt x="1480" y="3333"/>
                  <a:pt x="0" y="0"/>
                </a:cubicBezTo>
                <a:close/>
              </a:path>
            </a:pathLst>
          </a:custGeom>
          <a:solidFill>
            <a:srgbClr val="00306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4748052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339725" y="1263650"/>
            <a:ext cx="11014075" cy="5048250"/>
          </a:xfrm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MX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047" y="365125"/>
            <a:ext cx="11014753" cy="63146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es-MX" sz="1800" b="1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eaLnBrk="0" fontAlgn="base" hangingPunct="0">
              <a:spcAft>
                <a:spcPct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  <a:endParaRPr lang="es-MX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5770" y="6311900"/>
            <a:ext cx="12223539" cy="546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1662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solidFill>
          <a:srgbClr val="0030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4374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9810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046" y="365125"/>
            <a:ext cx="11233154" cy="63146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lang="es-MX" sz="1800" b="1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eaLnBrk="0" fontAlgn="base" hangingPunct="0">
              <a:spcAft>
                <a:spcPct val="0"/>
              </a:spcAft>
              <a:buClrTx/>
              <a:buSzTx/>
              <a:buFontTx/>
              <a:tabLst/>
            </a:pPr>
            <a:r>
              <a:rPr lang="en-US" dirty="0"/>
              <a:t>Click to edit Master title style</a:t>
            </a:r>
            <a:endParaRPr lang="es-MX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5770" y="6311900"/>
            <a:ext cx="12223539" cy="5461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9046" y="1118831"/>
            <a:ext cx="5400000" cy="823912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9046" y="1942743"/>
            <a:ext cx="5400000" cy="4246920"/>
          </a:xfrm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118831"/>
            <a:ext cx="5400000" cy="823912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1942743"/>
            <a:ext cx="5400000" cy="4246920"/>
          </a:xfrm>
        </p:spPr>
        <p:txBody>
          <a:bodyPr>
            <a:normAutofit/>
          </a:bodyPr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880032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047" y="365125"/>
            <a:ext cx="11014753" cy="63146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>
              <a:defRPr kumimoji="0" lang="es-MX" sz="1800" b="1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eaLnBrk="0" fontAlgn="base" hangingPunct="0">
              <a:spcAft>
                <a:spcPct val="0"/>
              </a:spcAft>
            </a:pPr>
            <a:r>
              <a:rPr lang="en-US"/>
              <a:t>Click to edit Master title style</a:t>
            </a:r>
            <a:endParaRPr lang="es-MX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5770" y="6311900"/>
            <a:ext cx="12223539" cy="546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596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9163050" y="6554788"/>
            <a:ext cx="2674938" cy="1793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s-MX" sz="1764" dirty="0">
              <a:solidFill>
                <a:srgbClr val="FFFFFF"/>
              </a:solidFill>
            </a:endParaRPr>
          </a:p>
        </p:txBody>
      </p:sp>
      <p:pic>
        <p:nvPicPr>
          <p:cNvPr id="4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38888"/>
            <a:ext cx="12192000" cy="528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s-MX" dirty="0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515938" y="6540500"/>
            <a:ext cx="376237" cy="144463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901DBC14-591D-42DC-869C-28A9B554F644}" type="slidenum">
              <a:rPr lang="en-US" altLang="es-MX"/>
              <a:pPr>
                <a:defRPr/>
              </a:pPr>
              <a:t>‹Nº›</a:t>
            </a:fld>
            <a:endParaRPr lang="en-US" altLang="es-MX" dirty="0"/>
          </a:p>
        </p:txBody>
      </p:sp>
    </p:spTree>
    <p:extLst>
      <p:ext uri="{BB962C8B-B14F-4D97-AF65-F5344CB8AC3E}">
        <p14:creationId xmlns:p14="http://schemas.microsoft.com/office/powerpoint/2010/main" val="2940562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7727390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MX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MX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9BFEF6-2FFD-4373-82C6-134C5A6158AE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589272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7" r:id="rId2"/>
    <p:sldLayoutId id="2147483650" r:id="rId3"/>
    <p:sldLayoutId id="2147483651" r:id="rId4"/>
    <p:sldLayoutId id="2147483660" r:id="rId5"/>
    <p:sldLayoutId id="2147483653" r:id="rId6"/>
    <p:sldLayoutId id="2147483655" r:id="rId7"/>
    <p:sldLayoutId id="2147483668" r:id="rId8"/>
    <p:sldLayoutId id="2147483669" r:id="rId9"/>
    <p:sldLayoutId id="2147483671" r:id="rId10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06245" y="2442500"/>
            <a:ext cx="7103905" cy="1325563"/>
          </a:xfrm>
        </p:spPr>
        <p:txBody>
          <a:bodyPr>
            <a:normAutofit/>
          </a:bodyPr>
          <a:lstStyle/>
          <a:p>
            <a:pPr algn="r"/>
            <a:r>
              <a:rPr lang="es-MX" dirty="0"/>
              <a:t>Temáticas posibles para el proyecto fina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7097054" y="5898704"/>
            <a:ext cx="4759325" cy="834303"/>
          </a:xfrm>
        </p:spPr>
        <p:txBody>
          <a:bodyPr/>
          <a:lstStyle/>
          <a:p>
            <a:pPr marL="0" indent="0" algn="r">
              <a:buNone/>
            </a:pPr>
            <a:r>
              <a:rPr lang="es-MX" dirty="0"/>
              <a:t>Junio, 2023</a:t>
            </a:r>
          </a:p>
        </p:txBody>
      </p:sp>
    </p:spTree>
    <p:extLst>
      <p:ext uri="{BB962C8B-B14F-4D97-AF65-F5344CB8AC3E}">
        <p14:creationId xmlns:p14="http://schemas.microsoft.com/office/powerpoint/2010/main" val="11066015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 txBox="1">
            <a:spLocks/>
          </p:cNvSpPr>
          <p:nvPr/>
        </p:nvSpPr>
        <p:spPr>
          <a:xfrm>
            <a:off x="3218656" y="172620"/>
            <a:ext cx="5754687" cy="4684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MX" sz="1800" b="1" dirty="0"/>
              <a:t>Agenda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2912769" y="1082230"/>
            <a:ext cx="4296692" cy="468000"/>
            <a:chOff x="2809188" y="1291472"/>
            <a:chExt cx="4296692" cy="468000"/>
          </a:xfrm>
        </p:grpSpPr>
        <p:sp>
          <p:nvSpPr>
            <p:cNvPr id="4" name="Oval 3"/>
            <p:cNvSpPr/>
            <p:nvPr/>
          </p:nvSpPr>
          <p:spPr>
            <a:xfrm>
              <a:off x="2809188" y="1291472"/>
              <a:ext cx="468000" cy="46800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MX" dirty="0"/>
                <a:t>1</a:t>
              </a: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3431357" y="1340806"/>
              <a:ext cx="367452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dirty="0"/>
                <a:t>Objetivos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2592257" y="1790454"/>
            <a:ext cx="4296692" cy="468000"/>
            <a:chOff x="2809188" y="1291472"/>
            <a:chExt cx="4296692" cy="468000"/>
          </a:xfrm>
        </p:grpSpPr>
        <p:sp>
          <p:nvSpPr>
            <p:cNvPr id="22" name="Oval 21"/>
            <p:cNvSpPr/>
            <p:nvPr/>
          </p:nvSpPr>
          <p:spPr>
            <a:xfrm>
              <a:off x="2809188" y="1291472"/>
              <a:ext cx="468000" cy="46800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MX" dirty="0"/>
                <a:t>2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3431357" y="1340806"/>
              <a:ext cx="367452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dirty="0"/>
                <a:t>Temáticas Propuestas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677236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Objetivo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2387114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99107"/>
            <a:r>
              <a:rPr lang="es-MX" sz="18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tivos</a:t>
            </a:r>
          </a:p>
        </p:txBody>
      </p:sp>
      <p:sp>
        <p:nvSpPr>
          <p:cNvPr id="55" name="Content Placeholder 17"/>
          <p:cNvSpPr>
            <a:spLocks noGrp="1"/>
          </p:cNvSpPr>
          <p:nvPr>
            <p:ph idx="4294967295"/>
          </p:nvPr>
        </p:nvSpPr>
        <p:spPr>
          <a:xfrm>
            <a:off x="1178804" y="1407140"/>
            <a:ext cx="10209631" cy="761845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lnSpc>
                <a:spcPct val="120000"/>
              </a:lnSpc>
              <a:buNone/>
            </a:pPr>
            <a:r>
              <a:rPr lang="es-MX" sz="2400" dirty="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mprender el funcionamiento del lenguaje SQL. Ser capaz de crear, modificar, administrar y gestionar bases de datos un RDMS</a:t>
            </a:r>
            <a:endParaRPr lang="es-MX" sz="2400" dirty="0">
              <a:latin typeface="+mj-lt"/>
            </a:endParaRPr>
          </a:p>
        </p:txBody>
      </p:sp>
      <p:sp>
        <p:nvSpPr>
          <p:cNvPr id="56" name="Text Placeholder 5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69900" y="1013703"/>
            <a:ext cx="2698748" cy="293410"/>
          </a:xfrm>
          <a:prstGeom prst="rect">
            <a:avLst/>
          </a:prstGeom>
        </p:spPr>
        <p:txBody>
          <a:bodyPr vert="horz" wrap="square" lIns="77212" tIns="38606" rIns="77212" bIns="38606" rtlCol="0">
            <a:spAutoFit/>
          </a:bodyPr>
          <a:lstStyle>
            <a:lvl1pPr marL="156838" marR="0" indent="-156838" algn="l" defTabSz="8605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53"/>
              </a:spcAft>
              <a:buClrTx/>
              <a:buSzTx/>
              <a:buFont typeface="Arial" pitchFamily="34" charset="0"/>
              <a:buChar char="•"/>
              <a:tabLst/>
              <a:defRPr lang="en-US" sz="16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56838" marR="0" indent="-156838" algn="l" defTabSz="8605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53"/>
              </a:spcAft>
              <a:buClrTx/>
              <a:buSzTx/>
              <a:buFont typeface="Arial" pitchFamily="34" charset="0"/>
              <a:buChar char="•"/>
              <a:tabLst/>
              <a:defRPr lang="en-US" sz="21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36463" marR="0" indent="-164880" algn="l" defTabSz="8605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53"/>
              </a:spcAft>
              <a:buClrTx/>
              <a:buSzTx/>
              <a:buFont typeface="Arial" pitchFamily="34" charset="0"/>
              <a:buChar char="‒"/>
              <a:tabLst/>
              <a:defRPr lang="en-US" sz="1600" kern="1200" dirty="0" smtClean="0">
                <a:solidFill>
                  <a:srgbClr val="002776"/>
                </a:solidFill>
                <a:latin typeface="+mn-lt"/>
                <a:ea typeface="+mj-ea"/>
                <a:cs typeface="+mj-cs"/>
              </a:defRPr>
            </a:lvl3pPr>
            <a:lvl4pPr marL="508045" marR="0" indent="-171582" algn="l" defTabSz="8605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507"/>
              </a:spcAft>
              <a:buClrTx/>
              <a:buSzTx/>
              <a:buFont typeface="Arial" pitchFamily="34" charset="0"/>
              <a:buChar char="•"/>
              <a:tabLst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670244" marR="0" indent="-162200" algn="l" defTabSz="8605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507"/>
              </a:spcAft>
              <a:buClrTx/>
              <a:buSzTx/>
              <a:buFont typeface="Arial" pitchFamily="34" charset="0"/>
              <a:buChar char="‒"/>
              <a:tabLst/>
              <a:defRPr lang="en-GB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756035" indent="-154156" algn="l" defTabSz="772121" rtl="0" eaLnBrk="1" latinLnBrk="0" hangingPunct="1">
              <a:spcBef>
                <a:spcPts val="0"/>
              </a:spcBef>
              <a:spcAft>
                <a:spcPts val="253"/>
              </a:spcAft>
              <a:buFont typeface="Arial" pitchFamily="34" charset="0"/>
              <a:buChar char="•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911532" indent="-155497" algn="l" defTabSz="772121" rtl="0" eaLnBrk="1" latinLnBrk="0" hangingPunct="1">
              <a:spcBef>
                <a:spcPts val="0"/>
              </a:spcBef>
              <a:spcAft>
                <a:spcPts val="253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057646" indent="-146114" algn="l" defTabSz="772121" rtl="0" eaLnBrk="1" latinLnBrk="0" hangingPunct="1">
              <a:spcBef>
                <a:spcPts val="0"/>
              </a:spcBef>
              <a:spcAft>
                <a:spcPts val="253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211801" indent="-154156" algn="l" defTabSz="772121" rtl="0" eaLnBrk="1" latinLnBrk="0" hangingPunct="1">
              <a:spcBef>
                <a:spcPts val="0"/>
              </a:spcBef>
              <a:spcAft>
                <a:spcPts val="253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Objetivo general:</a:t>
            </a:r>
          </a:p>
        </p:txBody>
      </p:sp>
      <p:sp>
        <p:nvSpPr>
          <p:cNvPr id="57" name="Text Placeholder 5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69900" y="2869875"/>
            <a:ext cx="2698748" cy="293410"/>
          </a:xfrm>
          <a:prstGeom prst="rect">
            <a:avLst/>
          </a:prstGeom>
        </p:spPr>
        <p:txBody>
          <a:bodyPr vert="horz" wrap="square" lIns="77212" tIns="38606" rIns="77212" bIns="38606" rtlCol="0">
            <a:spAutoFit/>
          </a:bodyPr>
          <a:lstStyle>
            <a:lvl1pPr marL="156838" marR="0" indent="-156838" algn="l" defTabSz="8605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53"/>
              </a:spcAft>
              <a:buClrTx/>
              <a:buSzTx/>
              <a:buFont typeface="Arial" pitchFamily="34" charset="0"/>
              <a:buChar char="•"/>
              <a:tabLst/>
              <a:defRPr lang="en-US" sz="16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56838" marR="0" indent="-156838" algn="l" defTabSz="8605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53"/>
              </a:spcAft>
              <a:buClrTx/>
              <a:buSzTx/>
              <a:buFont typeface="Arial" pitchFamily="34" charset="0"/>
              <a:buChar char="•"/>
              <a:tabLst/>
              <a:defRPr lang="en-US" sz="21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36463" marR="0" indent="-164880" algn="l" defTabSz="8605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53"/>
              </a:spcAft>
              <a:buClrTx/>
              <a:buSzTx/>
              <a:buFont typeface="Arial" pitchFamily="34" charset="0"/>
              <a:buChar char="‒"/>
              <a:tabLst/>
              <a:defRPr lang="en-US" sz="1600" kern="1200" dirty="0" smtClean="0">
                <a:solidFill>
                  <a:srgbClr val="002776"/>
                </a:solidFill>
                <a:latin typeface="+mn-lt"/>
                <a:ea typeface="+mj-ea"/>
                <a:cs typeface="+mj-cs"/>
              </a:defRPr>
            </a:lvl3pPr>
            <a:lvl4pPr marL="508045" marR="0" indent="-171582" algn="l" defTabSz="8605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507"/>
              </a:spcAft>
              <a:buClrTx/>
              <a:buSzTx/>
              <a:buFont typeface="Arial" pitchFamily="34" charset="0"/>
              <a:buChar char="•"/>
              <a:tabLst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670244" marR="0" indent="-162200" algn="l" defTabSz="8605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507"/>
              </a:spcAft>
              <a:buClrTx/>
              <a:buSzTx/>
              <a:buFont typeface="Arial" pitchFamily="34" charset="0"/>
              <a:buChar char="‒"/>
              <a:tabLst/>
              <a:defRPr lang="en-GB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756035" indent="-154156" algn="l" defTabSz="772121" rtl="0" eaLnBrk="1" latinLnBrk="0" hangingPunct="1">
              <a:spcBef>
                <a:spcPts val="0"/>
              </a:spcBef>
              <a:spcAft>
                <a:spcPts val="253"/>
              </a:spcAft>
              <a:buFont typeface="Arial" pitchFamily="34" charset="0"/>
              <a:buChar char="•"/>
              <a:defRPr sz="11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911532" indent="-155497" algn="l" defTabSz="772121" rtl="0" eaLnBrk="1" latinLnBrk="0" hangingPunct="1">
              <a:spcBef>
                <a:spcPts val="0"/>
              </a:spcBef>
              <a:spcAft>
                <a:spcPts val="253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057646" indent="-146114" algn="l" defTabSz="772121" rtl="0" eaLnBrk="1" latinLnBrk="0" hangingPunct="1">
              <a:spcBef>
                <a:spcPts val="0"/>
              </a:spcBef>
              <a:spcAft>
                <a:spcPts val="253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211801" indent="-154156" algn="l" defTabSz="772121" rtl="0" eaLnBrk="1" latinLnBrk="0" hangingPunct="1">
              <a:spcBef>
                <a:spcPts val="0"/>
              </a:spcBef>
              <a:spcAft>
                <a:spcPts val="253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Objetivos específicos :</a:t>
            </a:r>
          </a:p>
        </p:txBody>
      </p:sp>
      <p:sp>
        <p:nvSpPr>
          <p:cNvPr id="58" name="Freeform 723"/>
          <p:cNvSpPr>
            <a:spLocks noChangeAspect="1" noEditPoints="1"/>
          </p:cNvSpPr>
          <p:nvPr/>
        </p:nvSpPr>
        <p:spPr bwMode="auto">
          <a:xfrm>
            <a:off x="443878" y="1615769"/>
            <a:ext cx="566280" cy="566280"/>
          </a:xfrm>
          <a:custGeom>
            <a:avLst/>
            <a:gdLst>
              <a:gd name="T0" fmla="*/ 248 w 512"/>
              <a:gd name="T1" fmla="*/ 263 h 512"/>
              <a:gd name="T2" fmla="*/ 263 w 512"/>
              <a:gd name="T3" fmla="*/ 263 h 512"/>
              <a:gd name="T4" fmla="*/ 288 w 512"/>
              <a:gd name="T5" fmla="*/ 256 h 512"/>
              <a:gd name="T6" fmla="*/ 224 w 512"/>
              <a:gd name="T7" fmla="*/ 256 h 512"/>
              <a:gd name="T8" fmla="*/ 269 w 512"/>
              <a:gd name="T9" fmla="*/ 227 h 512"/>
              <a:gd name="T10" fmla="*/ 331 w 512"/>
              <a:gd name="T11" fmla="*/ 196 h 512"/>
              <a:gd name="T12" fmla="*/ 256 w 512"/>
              <a:gd name="T13" fmla="*/ 352 h 512"/>
              <a:gd name="T14" fmla="*/ 256 w 512"/>
              <a:gd name="T15" fmla="*/ 160 h 512"/>
              <a:gd name="T16" fmla="*/ 331 w 512"/>
              <a:gd name="T17" fmla="*/ 166 h 512"/>
              <a:gd name="T18" fmla="*/ 138 w 512"/>
              <a:gd name="T19" fmla="*/ 256 h 512"/>
              <a:gd name="T20" fmla="*/ 373 w 512"/>
              <a:gd name="T21" fmla="*/ 256 h 512"/>
              <a:gd name="T22" fmla="*/ 331 w 512"/>
              <a:gd name="T23" fmla="*/ 196 h 512"/>
              <a:gd name="T24" fmla="*/ 181 w 512"/>
              <a:gd name="T25" fmla="*/ 256 h 512"/>
              <a:gd name="T26" fmla="*/ 330 w 512"/>
              <a:gd name="T27" fmla="*/ 256 h 512"/>
              <a:gd name="T28" fmla="*/ 300 w 512"/>
              <a:gd name="T29" fmla="*/ 226 h 512"/>
              <a:gd name="T30" fmla="*/ 256 w 512"/>
              <a:gd name="T31" fmla="*/ 309 h 512"/>
              <a:gd name="T32" fmla="*/ 256 w 512"/>
              <a:gd name="T33" fmla="*/ 202 h 512"/>
              <a:gd name="T34" fmla="*/ 300 w 512"/>
              <a:gd name="T35" fmla="*/ 196 h 512"/>
              <a:gd name="T36" fmla="*/ 512 w 512"/>
              <a:gd name="T37" fmla="*/ 256 h 512"/>
              <a:gd name="T38" fmla="*/ 0 w 512"/>
              <a:gd name="T39" fmla="*/ 256 h 512"/>
              <a:gd name="T40" fmla="*/ 512 w 512"/>
              <a:gd name="T41" fmla="*/ 256 h 512"/>
              <a:gd name="T42" fmla="*/ 394 w 512"/>
              <a:gd name="T43" fmla="*/ 138 h 512"/>
              <a:gd name="T44" fmla="*/ 373 w 512"/>
              <a:gd name="T45" fmla="*/ 117 h 512"/>
              <a:gd name="T46" fmla="*/ 352 w 512"/>
              <a:gd name="T47" fmla="*/ 117 h 512"/>
              <a:gd name="T48" fmla="*/ 346 w 512"/>
              <a:gd name="T49" fmla="*/ 150 h 512"/>
              <a:gd name="T50" fmla="*/ 117 w 512"/>
              <a:gd name="T51" fmla="*/ 256 h 512"/>
              <a:gd name="T52" fmla="*/ 141 w 512"/>
              <a:gd name="T53" fmla="*/ 376 h 512"/>
              <a:gd name="T54" fmla="*/ 149 w 512"/>
              <a:gd name="T55" fmla="*/ 394 h 512"/>
              <a:gd name="T56" fmla="*/ 178 w 512"/>
              <a:gd name="T57" fmla="*/ 370 h 512"/>
              <a:gd name="T58" fmla="*/ 334 w 512"/>
              <a:gd name="T59" fmla="*/ 370 h 512"/>
              <a:gd name="T60" fmla="*/ 362 w 512"/>
              <a:gd name="T61" fmla="*/ 394 h 512"/>
              <a:gd name="T62" fmla="*/ 370 w 512"/>
              <a:gd name="T63" fmla="*/ 376 h 512"/>
              <a:gd name="T64" fmla="*/ 394 w 512"/>
              <a:gd name="T65" fmla="*/ 256 h 512"/>
              <a:gd name="T66" fmla="*/ 367 w 512"/>
              <a:gd name="T67" fmla="*/ 160 h 512"/>
              <a:gd name="T68" fmla="*/ 405 w 512"/>
              <a:gd name="T69" fmla="*/ 14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48" y="248"/>
                </a:moveTo>
                <a:cubicBezTo>
                  <a:pt x="244" y="252"/>
                  <a:pt x="244" y="259"/>
                  <a:pt x="248" y="263"/>
                </a:cubicBezTo>
                <a:cubicBezTo>
                  <a:pt x="250" y="265"/>
                  <a:pt x="253" y="266"/>
                  <a:pt x="256" y="266"/>
                </a:cubicBezTo>
                <a:cubicBezTo>
                  <a:pt x="258" y="266"/>
                  <a:pt x="261" y="265"/>
                  <a:pt x="263" y="263"/>
                </a:cubicBezTo>
                <a:cubicBezTo>
                  <a:pt x="284" y="242"/>
                  <a:pt x="284" y="242"/>
                  <a:pt x="284" y="242"/>
                </a:cubicBezTo>
                <a:cubicBezTo>
                  <a:pt x="286" y="246"/>
                  <a:pt x="288" y="251"/>
                  <a:pt x="288" y="256"/>
                </a:cubicBezTo>
                <a:cubicBezTo>
                  <a:pt x="288" y="273"/>
                  <a:pt x="273" y="288"/>
                  <a:pt x="256" y="288"/>
                </a:cubicBezTo>
                <a:cubicBezTo>
                  <a:pt x="238" y="288"/>
                  <a:pt x="224" y="273"/>
                  <a:pt x="224" y="256"/>
                </a:cubicBezTo>
                <a:cubicBezTo>
                  <a:pt x="224" y="238"/>
                  <a:pt x="238" y="224"/>
                  <a:pt x="256" y="224"/>
                </a:cubicBezTo>
                <a:cubicBezTo>
                  <a:pt x="261" y="224"/>
                  <a:pt x="265" y="225"/>
                  <a:pt x="269" y="227"/>
                </a:cubicBezTo>
                <a:lnTo>
                  <a:pt x="248" y="248"/>
                </a:lnTo>
                <a:close/>
                <a:moveTo>
                  <a:pt x="331" y="196"/>
                </a:moveTo>
                <a:cubicBezTo>
                  <a:pt x="344" y="212"/>
                  <a:pt x="352" y="233"/>
                  <a:pt x="352" y="256"/>
                </a:cubicBezTo>
                <a:cubicBezTo>
                  <a:pt x="352" y="309"/>
                  <a:pt x="309" y="352"/>
                  <a:pt x="256" y="352"/>
                </a:cubicBezTo>
                <a:cubicBezTo>
                  <a:pt x="203" y="352"/>
                  <a:pt x="160" y="309"/>
                  <a:pt x="160" y="256"/>
                </a:cubicBezTo>
                <a:cubicBezTo>
                  <a:pt x="160" y="203"/>
                  <a:pt x="203" y="160"/>
                  <a:pt x="256" y="160"/>
                </a:cubicBezTo>
                <a:cubicBezTo>
                  <a:pt x="278" y="160"/>
                  <a:pt x="299" y="168"/>
                  <a:pt x="316" y="181"/>
                </a:cubicBezTo>
                <a:cubicBezTo>
                  <a:pt x="331" y="166"/>
                  <a:pt x="331" y="166"/>
                  <a:pt x="331" y="166"/>
                </a:cubicBezTo>
                <a:cubicBezTo>
                  <a:pt x="310" y="149"/>
                  <a:pt x="284" y="138"/>
                  <a:pt x="256" y="138"/>
                </a:cubicBezTo>
                <a:cubicBezTo>
                  <a:pt x="191" y="138"/>
                  <a:pt x="138" y="191"/>
                  <a:pt x="138" y="256"/>
                </a:cubicBezTo>
                <a:cubicBezTo>
                  <a:pt x="138" y="320"/>
                  <a:pt x="191" y="373"/>
                  <a:pt x="256" y="373"/>
                </a:cubicBezTo>
                <a:cubicBezTo>
                  <a:pt x="320" y="373"/>
                  <a:pt x="373" y="320"/>
                  <a:pt x="373" y="256"/>
                </a:cubicBezTo>
                <a:cubicBezTo>
                  <a:pt x="373" y="227"/>
                  <a:pt x="363" y="201"/>
                  <a:pt x="346" y="181"/>
                </a:cubicBezTo>
                <a:lnTo>
                  <a:pt x="331" y="196"/>
                </a:lnTo>
                <a:close/>
                <a:moveTo>
                  <a:pt x="256" y="181"/>
                </a:moveTo>
                <a:cubicBezTo>
                  <a:pt x="214" y="181"/>
                  <a:pt x="181" y="214"/>
                  <a:pt x="181" y="256"/>
                </a:cubicBezTo>
                <a:cubicBezTo>
                  <a:pt x="181" y="297"/>
                  <a:pt x="214" y="330"/>
                  <a:pt x="256" y="330"/>
                </a:cubicBezTo>
                <a:cubicBezTo>
                  <a:pt x="297" y="330"/>
                  <a:pt x="330" y="297"/>
                  <a:pt x="330" y="256"/>
                </a:cubicBezTo>
                <a:cubicBezTo>
                  <a:pt x="330" y="239"/>
                  <a:pt x="325" y="224"/>
                  <a:pt x="315" y="211"/>
                </a:cubicBezTo>
                <a:cubicBezTo>
                  <a:pt x="300" y="226"/>
                  <a:pt x="300" y="226"/>
                  <a:pt x="300" y="226"/>
                </a:cubicBezTo>
                <a:cubicBezTo>
                  <a:pt x="306" y="235"/>
                  <a:pt x="309" y="245"/>
                  <a:pt x="309" y="256"/>
                </a:cubicBezTo>
                <a:cubicBezTo>
                  <a:pt x="309" y="285"/>
                  <a:pt x="285" y="309"/>
                  <a:pt x="256" y="309"/>
                </a:cubicBezTo>
                <a:cubicBezTo>
                  <a:pt x="226" y="309"/>
                  <a:pt x="202" y="285"/>
                  <a:pt x="202" y="256"/>
                </a:cubicBezTo>
                <a:cubicBezTo>
                  <a:pt x="202" y="226"/>
                  <a:pt x="226" y="202"/>
                  <a:pt x="256" y="202"/>
                </a:cubicBezTo>
                <a:cubicBezTo>
                  <a:pt x="267" y="202"/>
                  <a:pt x="277" y="206"/>
                  <a:pt x="285" y="211"/>
                </a:cubicBezTo>
                <a:cubicBezTo>
                  <a:pt x="300" y="196"/>
                  <a:pt x="300" y="196"/>
                  <a:pt x="300" y="196"/>
                </a:cubicBezTo>
                <a:cubicBezTo>
                  <a:pt x="288" y="187"/>
                  <a:pt x="272" y="181"/>
                  <a:pt x="256" y="181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05" y="149"/>
                </a:moveTo>
                <a:cubicBezTo>
                  <a:pt x="405" y="143"/>
                  <a:pt x="400" y="138"/>
                  <a:pt x="394" y="138"/>
                </a:cubicBezTo>
                <a:cubicBezTo>
                  <a:pt x="373" y="138"/>
                  <a:pt x="373" y="138"/>
                  <a:pt x="373" y="138"/>
                </a:cubicBezTo>
                <a:cubicBezTo>
                  <a:pt x="373" y="117"/>
                  <a:pt x="373" y="117"/>
                  <a:pt x="373" y="117"/>
                </a:cubicBezTo>
                <a:cubicBezTo>
                  <a:pt x="373" y="111"/>
                  <a:pt x="368" y="106"/>
                  <a:pt x="362" y="106"/>
                </a:cubicBezTo>
                <a:cubicBezTo>
                  <a:pt x="356" y="106"/>
                  <a:pt x="352" y="111"/>
                  <a:pt x="352" y="117"/>
                </a:cubicBezTo>
                <a:cubicBezTo>
                  <a:pt x="352" y="145"/>
                  <a:pt x="352" y="145"/>
                  <a:pt x="352" y="145"/>
                </a:cubicBezTo>
                <a:cubicBezTo>
                  <a:pt x="346" y="150"/>
                  <a:pt x="346" y="150"/>
                  <a:pt x="346" y="150"/>
                </a:cubicBezTo>
                <a:cubicBezTo>
                  <a:pt x="322" y="130"/>
                  <a:pt x="290" y="117"/>
                  <a:pt x="256" y="117"/>
                </a:cubicBezTo>
                <a:cubicBezTo>
                  <a:pt x="179" y="117"/>
                  <a:pt x="117" y="179"/>
                  <a:pt x="117" y="256"/>
                </a:cubicBezTo>
                <a:cubicBezTo>
                  <a:pt x="117" y="295"/>
                  <a:pt x="134" y="331"/>
                  <a:pt x="161" y="357"/>
                </a:cubicBezTo>
                <a:cubicBezTo>
                  <a:pt x="141" y="376"/>
                  <a:pt x="141" y="376"/>
                  <a:pt x="141" y="376"/>
                </a:cubicBezTo>
                <a:cubicBezTo>
                  <a:pt x="137" y="380"/>
                  <a:pt x="137" y="387"/>
                  <a:pt x="141" y="391"/>
                </a:cubicBezTo>
                <a:cubicBezTo>
                  <a:pt x="144" y="393"/>
                  <a:pt x="146" y="394"/>
                  <a:pt x="149" y="394"/>
                </a:cubicBezTo>
                <a:cubicBezTo>
                  <a:pt x="152" y="394"/>
                  <a:pt x="154" y="393"/>
                  <a:pt x="157" y="391"/>
                </a:cubicBezTo>
                <a:cubicBezTo>
                  <a:pt x="178" y="370"/>
                  <a:pt x="178" y="370"/>
                  <a:pt x="178" y="370"/>
                </a:cubicBezTo>
                <a:cubicBezTo>
                  <a:pt x="200" y="385"/>
                  <a:pt x="227" y="394"/>
                  <a:pt x="256" y="394"/>
                </a:cubicBezTo>
                <a:cubicBezTo>
                  <a:pt x="285" y="394"/>
                  <a:pt x="311" y="385"/>
                  <a:pt x="334" y="370"/>
                </a:cubicBezTo>
                <a:cubicBezTo>
                  <a:pt x="355" y="391"/>
                  <a:pt x="355" y="391"/>
                  <a:pt x="355" y="391"/>
                </a:cubicBezTo>
                <a:cubicBezTo>
                  <a:pt x="357" y="393"/>
                  <a:pt x="360" y="394"/>
                  <a:pt x="362" y="394"/>
                </a:cubicBezTo>
                <a:cubicBezTo>
                  <a:pt x="365" y="394"/>
                  <a:pt x="368" y="393"/>
                  <a:pt x="370" y="391"/>
                </a:cubicBezTo>
                <a:cubicBezTo>
                  <a:pt x="374" y="387"/>
                  <a:pt x="374" y="380"/>
                  <a:pt x="370" y="376"/>
                </a:cubicBezTo>
                <a:cubicBezTo>
                  <a:pt x="350" y="357"/>
                  <a:pt x="350" y="357"/>
                  <a:pt x="350" y="357"/>
                </a:cubicBezTo>
                <a:cubicBezTo>
                  <a:pt x="377" y="331"/>
                  <a:pt x="394" y="295"/>
                  <a:pt x="394" y="256"/>
                </a:cubicBezTo>
                <a:cubicBezTo>
                  <a:pt x="394" y="221"/>
                  <a:pt x="382" y="190"/>
                  <a:pt x="361" y="166"/>
                </a:cubicBezTo>
                <a:cubicBezTo>
                  <a:pt x="367" y="160"/>
                  <a:pt x="367" y="160"/>
                  <a:pt x="367" y="160"/>
                </a:cubicBezTo>
                <a:cubicBezTo>
                  <a:pt x="394" y="160"/>
                  <a:pt x="394" y="160"/>
                  <a:pt x="394" y="160"/>
                </a:cubicBezTo>
                <a:cubicBezTo>
                  <a:pt x="400" y="160"/>
                  <a:pt x="405" y="155"/>
                  <a:pt x="405" y="149"/>
                </a:cubicBezTo>
                <a:close/>
              </a:path>
            </a:pathLst>
          </a:custGeom>
          <a:solidFill>
            <a:srgbClr val="00306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76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1" name="Rectangle 70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178805" y="3324073"/>
            <a:ext cx="10543296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marL="0" marR="0" lvl="1" indent="0" algn="l" defTabSz="1217613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86BC25"/>
              </a:buClr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Comprender el funcionamiento básico del lenguaje SQL</a:t>
            </a:r>
          </a:p>
        </p:txBody>
      </p:sp>
      <p:sp>
        <p:nvSpPr>
          <p:cNvPr id="73" name="Rectangle 7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178805" y="4035073"/>
            <a:ext cx="10543296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marL="0" marR="0" lvl="1" indent="0" algn="l" defTabSz="1217613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86BC25"/>
              </a:buClr>
              <a:buSzTx/>
              <a:buFontTx/>
              <a:buNone/>
              <a:tabLst/>
              <a:defRPr/>
            </a:pPr>
            <a:r>
              <a:rPr kumimoji="0" lang="es-MX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Crear la estructura, arquitectura</a:t>
            </a:r>
            <a:r>
              <a:rPr lang="es-MX" sz="1200" dirty="0">
                <a:latin typeface="+mj-lt"/>
              </a:rPr>
              <a:t>, Diagrama entidad-relación, tablas y relaciones de una base de datos</a:t>
            </a:r>
            <a:endParaRPr kumimoji="0" lang="es-MX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5" name="Rectangle 7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178805" y="4662373"/>
            <a:ext cx="10543296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marL="0" marR="0" lvl="1" indent="-150813" algn="l" defTabSz="1217613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86BC25"/>
              </a:buClr>
              <a:buSzTx/>
              <a:buFontTx/>
              <a:buNone/>
              <a:tabLst/>
              <a:defRPr/>
            </a:pPr>
            <a:r>
              <a:rPr kumimoji="0" lang="es-MX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Desarrollar habilidades de modificación y gestión de la base de datos en SQL </a:t>
            </a:r>
            <a:endParaRPr kumimoji="0" lang="es-MX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8" name="Estrella: 5 puntas 7">
            <a:extLst>
              <a:ext uri="{FF2B5EF4-FFF2-40B4-BE49-F238E27FC236}">
                <a16:creationId xmlns:a16="http://schemas.microsoft.com/office/drawing/2014/main" id="{5D7D848F-1DD5-B6FD-EC1C-59E061E6E6B8}"/>
              </a:ext>
            </a:extLst>
          </p:cNvPr>
          <p:cNvSpPr/>
          <p:nvPr/>
        </p:nvSpPr>
        <p:spPr>
          <a:xfrm>
            <a:off x="533544" y="3390758"/>
            <a:ext cx="293742" cy="287369"/>
          </a:xfrm>
          <a:prstGeom prst="star5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9" name="Estrella: 5 puntas 8">
            <a:extLst>
              <a:ext uri="{FF2B5EF4-FFF2-40B4-BE49-F238E27FC236}">
                <a16:creationId xmlns:a16="http://schemas.microsoft.com/office/drawing/2014/main" id="{DAA214E3-D9B3-F099-9A3A-828F073C758B}"/>
              </a:ext>
            </a:extLst>
          </p:cNvPr>
          <p:cNvSpPr/>
          <p:nvPr/>
        </p:nvSpPr>
        <p:spPr>
          <a:xfrm>
            <a:off x="540262" y="4142412"/>
            <a:ext cx="293742" cy="287369"/>
          </a:xfrm>
          <a:prstGeom prst="star5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0" name="Estrella: 5 puntas 9">
            <a:extLst>
              <a:ext uri="{FF2B5EF4-FFF2-40B4-BE49-F238E27FC236}">
                <a16:creationId xmlns:a16="http://schemas.microsoft.com/office/drawing/2014/main" id="{7BFD1F74-8CB1-20EF-B460-4A6D61CCF021}"/>
              </a:ext>
            </a:extLst>
          </p:cNvPr>
          <p:cNvSpPr/>
          <p:nvPr/>
        </p:nvSpPr>
        <p:spPr>
          <a:xfrm>
            <a:off x="526302" y="4726047"/>
            <a:ext cx="293742" cy="287369"/>
          </a:xfrm>
          <a:prstGeom prst="star5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796692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Temáticas propuesta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5983195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99107"/>
            <a:r>
              <a:rPr lang="es-MX" sz="18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s fases que se han llevado a cabo durante el proyecto han permitido entender la situación actual del CSC de Aeroméxico</a:t>
            </a:r>
          </a:p>
        </p:txBody>
      </p:sp>
    </p:spTree>
    <p:extLst>
      <p:ext uri="{BB962C8B-B14F-4D97-AF65-F5344CB8AC3E}">
        <p14:creationId xmlns:p14="http://schemas.microsoft.com/office/powerpoint/2010/main" val="236997656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74"/>
          <p:cNvSpPr/>
          <p:nvPr/>
        </p:nvSpPr>
        <p:spPr bwMode="auto">
          <a:xfrm>
            <a:off x="1" y="2696481"/>
            <a:ext cx="4166808" cy="416151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" name="Rechteck 72"/>
          <p:cNvSpPr/>
          <p:nvPr/>
        </p:nvSpPr>
        <p:spPr bwMode="auto">
          <a:xfrm>
            <a:off x="4167633" y="0"/>
            <a:ext cx="5848875" cy="6858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30" name="Rectangle 6"/>
          <p:cNvSpPr>
            <a:spLocks noChangeArrowheads="1"/>
          </p:cNvSpPr>
          <p:nvPr/>
        </p:nvSpPr>
        <p:spPr bwMode="auto">
          <a:xfrm>
            <a:off x="4153023" y="272355"/>
            <a:ext cx="4218110" cy="15510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31" name="Freeform 7"/>
          <p:cNvSpPr>
            <a:spLocks/>
          </p:cNvSpPr>
          <p:nvPr/>
        </p:nvSpPr>
        <p:spPr bwMode="auto">
          <a:xfrm>
            <a:off x="4059952" y="274670"/>
            <a:ext cx="5959867" cy="173629"/>
          </a:xfrm>
          <a:custGeom>
            <a:avLst/>
            <a:gdLst>
              <a:gd name="T0" fmla="*/ 1692 w 1793"/>
              <a:gd name="T1" fmla="*/ 66 h 75"/>
              <a:gd name="T2" fmla="*/ 1741 w 1793"/>
              <a:gd name="T3" fmla="*/ 31 h 75"/>
              <a:gd name="T4" fmla="*/ 1784 w 1793"/>
              <a:gd name="T5" fmla="*/ 5 h 75"/>
              <a:gd name="T6" fmla="*/ 1791 w 1793"/>
              <a:gd name="T7" fmla="*/ 75 h 75"/>
              <a:gd name="T8" fmla="*/ 0 w 1793"/>
              <a:gd name="T9" fmla="*/ 0 h 75"/>
              <a:gd name="T10" fmla="*/ 52 w 1793"/>
              <a:gd name="T11" fmla="*/ 66 h 75"/>
              <a:gd name="T12" fmla="*/ 57 w 1793"/>
              <a:gd name="T13" fmla="*/ 66 h 75"/>
              <a:gd name="T14" fmla="*/ 107 w 1793"/>
              <a:gd name="T15" fmla="*/ 0 h 75"/>
              <a:gd name="T16" fmla="*/ 152 w 1793"/>
              <a:gd name="T17" fmla="*/ 31 h 75"/>
              <a:gd name="T18" fmla="*/ 201 w 1793"/>
              <a:gd name="T19" fmla="*/ 66 h 75"/>
              <a:gd name="T20" fmla="*/ 206 w 1793"/>
              <a:gd name="T21" fmla="*/ 66 h 75"/>
              <a:gd name="T22" fmla="*/ 256 w 1793"/>
              <a:gd name="T23" fmla="*/ 31 h 75"/>
              <a:gd name="T24" fmla="*/ 300 w 1793"/>
              <a:gd name="T25" fmla="*/ 0 h 75"/>
              <a:gd name="T26" fmla="*/ 350 w 1793"/>
              <a:gd name="T27" fmla="*/ 66 h 75"/>
              <a:gd name="T28" fmla="*/ 355 w 1793"/>
              <a:gd name="T29" fmla="*/ 66 h 75"/>
              <a:gd name="T30" fmla="*/ 404 w 1793"/>
              <a:gd name="T31" fmla="*/ 0 h 75"/>
              <a:gd name="T32" fmla="*/ 449 w 1793"/>
              <a:gd name="T33" fmla="*/ 31 h 75"/>
              <a:gd name="T34" fmla="*/ 499 w 1793"/>
              <a:gd name="T35" fmla="*/ 66 h 75"/>
              <a:gd name="T36" fmla="*/ 504 w 1793"/>
              <a:gd name="T37" fmla="*/ 66 h 75"/>
              <a:gd name="T38" fmla="*/ 553 w 1793"/>
              <a:gd name="T39" fmla="*/ 31 h 75"/>
              <a:gd name="T40" fmla="*/ 598 w 1793"/>
              <a:gd name="T41" fmla="*/ 0 h 75"/>
              <a:gd name="T42" fmla="*/ 648 w 1793"/>
              <a:gd name="T43" fmla="*/ 66 h 75"/>
              <a:gd name="T44" fmla="*/ 652 w 1793"/>
              <a:gd name="T45" fmla="*/ 66 h 75"/>
              <a:gd name="T46" fmla="*/ 702 w 1793"/>
              <a:gd name="T47" fmla="*/ 0 h 75"/>
              <a:gd name="T48" fmla="*/ 747 w 1793"/>
              <a:gd name="T49" fmla="*/ 31 h 75"/>
              <a:gd name="T50" fmla="*/ 796 w 1793"/>
              <a:gd name="T51" fmla="*/ 66 h 75"/>
              <a:gd name="T52" fmla="*/ 801 w 1793"/>
              <a:gd name="T53" fmla="*/ 66 h 75"/>
              <a:gd name="T54" fmla="*/ 851 w 1793"/>
              <a:gd name="T55" fmla="*/ 31 h 75"/>
              <a:gd name="T56" fmla="*/ 896 w 1793"/>
              <a:gd name="T57" fmla="*/ 0 h 75"/>
              <a:gd name="T58" fmla="*/ 945 w 1793"/>
              <a:gd name="T59" fmla="*/ 66 h 75"/>
              <a:gd name="T60" fmla="*/ 950 w 1793"/>
              <a:gd name="T61" fmla="*/ 66 h 75"/>
              <a:gd name="T62" fmla="*/ 1000 w 1793"/>
              <a:gd name="T63" fmla="*/ 0 h 75"/>
              <a:gd name="T64" fmla="*/ 1042 w 1793"/>
              <a:gd name="T65" fmla="*/ 31 h 75"/>
              <a:gd name="T66" fmla="*/ 1094 w 1793"/>
              <a:gd name="T67" fmla="*/ 66 h 75"/>
              <a:gd name="T68" fmla="*/ 1099 w 1793"/>
              <a:gd name="T69" fmla="*/ 66 h 75"/>
              <a:gd name="T70" fmla="*/ 1146 w 1793"/>
              <a:gd name="T71" fmla="*/ 31 h 75"/>
              <a:gd name="T72" fmla="*/ 1193 w 1793"/>
              <a:gd name="T73" fmla="*/ 0 h 75"/>
              <a:gd name="T74" fmla="*/ 1241 w 1793"/>
              <a:gd name="T75" fmla="*/ 66 h 75"/>
              <a:gd name="T76" fmla="*/ 1245 w 1793"/>
              <a:gd name="T77" fmla="*/ 66 h 75"/>
              <a:gd name="T78" fmla="*/ 1297 w 1793"/>
              <a:gd name="T79" fmla="*/ 0 h 75"/>
              <a:gd name="T80" fmla="*/ 1340 w 1793"/>
              <a:gd name="T81" fmla="*/ 31 h 75"/>
              <a:gd name="T82" fmla="*/ 1392 w 1793"/>
              <a:gd name="T83" fmla="*/ 66 h 75"/>
              <a:gd name="T84" fmla="*/ 1396 w 1793"/>
              <a:gd name="T85" fmla="*/ 66 h 75"/>
              <a:gd name="T86" fmla="*/ 1444 w 1793"/>
              <a:gd name="T87" fmla="*/ 31 h 75"/>
              <a:gd name="T88" fmla="*/ 1489 w 1793"/>
              <a:gd name="T89" fmla="*/ 0 h 75"/>
              <a:gd name="T90" fmla="*/ 1538 w 1793"/>
              <a:gd name="T91" fmla="*/ 66 h 75"/>
              <a:gd name="T92" fmla="*/ 1543 w 1793"/>
              <a:gd name="T93" fmla="*/ 66 h 75"/>
              <a:gd name="T94" fmla="*/ 1592 w 1793"/>
              <a:gd name="T95" fmla="*/ 0 h 75"/>
              <a:gd name="T96" fmla="*/ 1637 w 1793"/>
              <a:gd name="T97" fmla="*/ 31 h 75"/>
              <a:gd name="T98" fmla="*/ 1687 w 1793"/>
              <a:gd name="T99" fmla="*/ 66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793" h="75">
                <a:moveTo>
                  <a:pt x="1687" y="0"/>
                </a:moveTo>
                <a:lnTo>
                  <a:pt x="1692" y="0"/>
                </a:lnTo>
                <a:lnTo>
                  <a:pt x="1692" y="66"/>
                </a:lnTo>
                <a:lnTo>
                  <a:pt x="1737" y="66"/>
                </a:lnTo>
                <a:lnTo>
                  <a:pt x="1737" y="31"/>
                </a:lnTo>
                <a:lnTo>
                  <a:pt x="1741" y="31"/>
                </a:lnTo>
                <a:lnTo>
                  <a:pt x="1741" y="66"/>
                </a:lnTo>
                <a:lnTo>
                  <a:pt x="1784" y="66"/>
                </a:lnTo>
                <a:lnTo>
                  <a:pt x="1784" y="5"/>
                </a:lnTo>
                <a:lnTo>
                  <a:pt x="1793" y="5"/>
                </a:lnTo>
                <a:lnTo>
                  <a:pt x="1793" y="75"/>
                </a:lnTo>
                <a:lnTo>
                  <a:pt x="1791" y="75"/>
                </a:lnTo>
                <a:lnTo>
                  <a:pt x="1791" y="75"/>
                </a:lnTo>
                <a:lnTo>
                  <a:pt x="0" y="75"/>
                </a:lnTo>
                <a:lnTo>
                  <a:pt x="0" y="0"/>
                </a:lnTo>
                <a:lnTo>
                  <a:pt x="10" y="0"/>
                </a:lnTo>
                <a:lnTo>
                  <a:pt x="10" y="66"/>
                </a:lnTo>
                <a:lnTo>
                  <a:pt x="52" y="66"/>
                </a:lnTo>
                <a:lnTo>
                  <a:pt x="52" y="31"/>
                </a:lnTo>
                <a:lnTo>
                  <a:pt x="57" y="31"/>
                </a:lnTo>
                <a:lnTo>
                  <a:pt x="57" y="66"/>
                </a:lnTo>
                <a:lnTo>
                  <a:pt x="102" y="66"/>
                </a:lnTo>
                <a:lnTo>
                  <a:pt x="102" y="0"/>
                </a:lnTo>
                <a:lnTo>
                  <a:pt x="107" y="0"/>
                </a:lnTo>
                <a:lnTo>
                  <a:pt x="107" y="66"/>
                </a:lnTo>
                <a:lnTo>
                  <a:pt x="152" y="66"/>
                </a:lnTo>
                <a:lnTo>
                  <a:pt x="152" y="31"/>
                </a:lnTo>
                <a:lnTo>
                  <a:pt x="156" y="31"/>
                </a:lnTo>
                <a:lnTo>
                  <a:pt x="156" y="66"/>
                </a:lnTo>
                <a:lnTo>
                  <a:pt x="201" y="66"/>
                </a:lnTo>
                <a:lnTo>
                  <a:pt x="201" y="0"/>
                </a:lnTo>
                <a:lnTo>
                  <a:pt x="206" y="0"/>
                </a:lnTo>
                <a:lnTo>
                  <a:pt x="206" y="66"/>
                </a:lnTo>
                <a:lnTo>
                  <a:pt x="251" y="66"/>
                </a:lnTo>
                <a:lnTo>
                  <a:pt x="251" y="31"/>
                </a:lnTo>
                <a:lnTo>
                  <a:pt x="256" y="31"/>
                </a:lnTo>
                <a:lnTo>
                  <a:pt x="256" y="66"/>
                </a:lnTo>
                <a:lnTo>
                  <a:pt x="300" y="66"/>
                </a:lnTo>
                <a:lnTo>
                  <a:pt x="300" y="0"/>
                </a:lnTo>
                <a:lnTo>
                  <a:pt x="305" y="0"/>
                </a:lnTo>
                <a:lnTo>
                  <a:pt x="305" y="66"/>
                </a:lnTo>
                <a:lnTo>
                  <a:pt x="350" y="66"/>
                </a:lnTo>
                <a:lnTo>
                  <a:pt x="350" y="31"/>
                </a:lnTo>
                <a:lnTo>
                  <a:pt x="355" y="31"/>
                </a:lnTo>
                <a:lnTo>
                  <a:pt x="355" y="66"/>
                </a:lnTo>
                <a:lnTo>
                  <a:pt x="400" y="66"/>
                </a:lnTo>
                <a:lnTo>
                  <a:pt x="400" y="0"/>
                </a:lnTo>
                <a:lnTo>
                  <a:pt x="404" y="0"/>
                </a:lnTo>
                <a:lnTo>
                  <a:pt x="404" y="66"/>
                </a:lnTo>
                <a:lnTo>
                  <a:pt x="449" y="66"/>
                </a:lnTo>
                <a:lnTo>
                  <a:pt x="449" y="31"/>
                </a:lnTo>
                <a:lnTo>
                  <a:pt x="454" y="31"/>
                </a:lnTo>
                <a:lnTo>
                  <a:pt x="454" y="66"/>
                </a:lnTo>
                <a:lnTo>
                  <a:pt x="499" y="66"/>
                </a:lnTo>
                <a:lnTo>
                  <a:pt x="499" y="0"/>
                </a:lnTo>
                <a:lnTo>
                  <a:pt x="504" y="0"/>
                </a:lnTo>
                <a:lnTo>
                  <a:pt x="504" y="66"/>
                </a:lnTo>
                <a:lnTo>
                  <a:pt x="548" y="66"/>
                </a:lnTo>
                <a:lnTo>
                  <a:pt x="548" y="31"/>
                </a:lnTo>
                <a:lnTo>
                  <a:pt x="553" y="31"/>
                </a:lnTo>
                <a:lnTo>
                  <a:pt x="553" y="66"/>
                </a:lnTo>
                <a:lnTo>
                  <a:pt x="598" y="66"/>
                </a:lnTo>
                <a:lnTo>
                  <a:pt x="598" y="0"/>
                </a:lnTo>
                <a:lnTo>
                  <a:pt x="603" y="0"/>
                </a:lnTo>
                <a:lnTo>
                  <a:pt x="603" y="66"/>
                </a:lnTo>
                <a:lnTo>
                  <a:pt x="648" y="66"/>
                </a:lnTo>
                <a:lnTo>
                  <a:pt x="648" y="31"/>
                </a:lnTo>
                <a:lnTo>
                  <a:pt x="652" y="31"/>
                </a:lnTo>
                <a:lnTo>
                  <a:pt x="652" y="66"/>
                </a:lnTo>
                <a:lnTo>
                  <a:pt x="697" y="66"/>
                </a:lnTo>
                <a:lnTo>
                  <a:pt x="697" y="0"/>
                </a:lnTo>
                <a:lnTo>
                  <a:pt x="702" y="0"/>
                </a:lnTo>
                <a:lnTo>
                  <a:pt x="702" y="66"/>
                </a:lnTo>
                <a:lnTo>
                  <a:pt x="747" y="66"/>
                </a:lnTo>
                <a:lnTo>
                  <a:pt x="747" y="31"/>
                </a:lnTo>
                <a:lnTo>
                  <a:pt x="752" y="31"/>
                </a:lnTo>
                <a:lnTo>
                  <a:pt x="752" y="66"/>
                </a:lnTo>
                <a:lnTo>
                  <a:pt x="796" y="66"/>
                </a:lnTo>
                <a:lnTo>
                  <a:pt x="796" y="0"/>
                </a:lnTo>
                <a:lnTo>
                  <a:pt x="801" y="0"/>
                </a:lnTo>
                <a:lnTo>
                  <a:pt x="801" y="66"/>
                </a:lnTo>
                <a:lnTo>
                  <a:pt x="846" y="66"/>
                </a:lnTo>
                <a:lnTo>
                  <a:pt x="846" y="31"/>
                </a:lnTo>
                <a:lnTo>
                  <a:pt x="851" y="31"/>
                </a:lnTo>
                <a:lnTo>
                  <a:pt x="851" y="66"/>
                </a:lnTo>
                <a:lnTo>
                  <a:pt x="896" y="66"/>
                </a:lnTo>
                <a:lnTo>
                  <a:pt x="896" y="0"/>
                </a:lnTo>
                <a:lnTo>
                  <a:pt x="900" y="0"/>
                </a:lnTo>
                <a:lnTo>
                  <a:pt x="900" y="66"/>
                </a:lnTo>
                <a:lnTo>
                  <a:pt x="945" y="66"/>
                </a:lnTo>
                <a:lnTo>
                  <a:pt x="945" y="31"/>
                </a:lnTo>
                <a:lnTo>
                  <a:pt x="950" y="31"/>
                </a:lnTo>
                <a:lnTo>
                  <a:pt x="950" y="66"/>
                </a:lnTo>
                <a:lnTo>
                  <a:pt x="995" y="66"/>
                </a:lnTo>
                <a:lnTo>
                  <a:pt x="995" y="0"/>
                </a:lnTo>
                <a:lnTo>
                  <a:pt x="1000" y="0"/>
                </a:lnTo>
                <a:lnTo>
                  <a:pt x="1000" y="66"/>
                </a:lnTo>
                <a:lnTo>
                  <a:pt x="1042" y="66"/>
                </a:lnTo>
                <a:lnTo>
                  <a:pt x="1042" y="31"/>
                </a:lnTo>
                <a:lnTo>
                  <a:pt x="1047" y="31"/>
                </a:lnTo>
                <a:lnTo>
                  <a:pt x="1047" y="66"/>
                </a:lnTo>
                <a:lnTo>
                  <a:pt x="1094" y="66"/>
                </a:lnTo>
                <a:lnTo>
                  <a:pt x="1094" y="0"/>
                </a:lnTo>
                <a:lnTo>
                  <a:pt x="1099" y="0"/>
                </a:lnTo>
                <a:lnTo>
                  <a:pt x="1099" y="66"/>
                </a:lnTo>
                <a:lnTo>
                  <a:pt x="1141" y="66"/>
                </a:lnTo>
                <a:lnTo>
                  <a:pt x="1141" y="31"/>
                </a:lnTo>
                <a:lnTo>
                  <a:pt x="1146" y="31"/>
                </a:lnTo>
                <a:lnTo>
                  <a:pt x="1146" y="66"/>
                </a:lnTo>
                <a:lnTo>
                  <a:pt x="1193" y="66"/>
                </a:lnTo>
                <a:lnTo>
                  <a:pt x="1193" y="0"/>
                </a:lnTo>
                <a:lnTo>
                  <a:pt x="1198" y="0"/>
                </a:lnTo>
                <a:lnTo>
                  <a:pt x="1198" y="66"/>
                </a:lnTo>
                <a:lnTo>
                  <a:pt x="1241" y="66"/>
                </a:lnTo>
                <a:lnTo>
                  <a:pt x="1241" y="31"/>
                </a:lnTo>
                <a:lnTo>
                  <a:pt x="1245" y="31"/>
                </a:lnTo>
                <a:lnTo>
                  <a:pt x="1245" y="66"/>
                </a:lnTo>
                <a:lnTo>
                  <a:pt x="1292" y="66"/>
                </a:lnTo>
                <a:lnTo>
                  <a:pt x="1292" y="0"/>
                </a:lnTo>
                <a:lnTo>
                  <a:pt x="1297" y="0"/>
                </a:lnTo>
                <a:lnTo>
                  <a:pt x="1297" y="66"/>
                </a:lnTo>
                <a:lnTo>
                  <a:pt x="1340" y="66"/>
                </a:lnTo>
                <a:lnTo>
                  <a:pt x="1340" y="31"/>
                </a:lnTo>
                <a:lnTo>
                  <a:pt x="1344" y="31"/>
                </a:lnTo>
                <a:lnTo>
                  <a:pt x="1344" y="66"/>
                </a:lnTo>
                <a:lnTo>
                  <a:pt x="1392" y="66"/>
                </a:lnTo>
                <a:lnTo>
                  <a:pt x="1392" y="0"/>
                </a:lnTo>
                <a:lnTo>
                  <a:pt x="1396" y="0"/>
                </a:lnTo>
                <a:lnTo>
                  <a:pt x="1396" y="66"/>
                </a:lnTo>
                <a:lnTo>
                  <a:pt x="1439" y="66"/>
                </a:lnTo>
                <a:lnTo>
                  <a:pt x="1439" y="31"/>
                </a:lnTo>
                <a:lnTo>
                  <a:pt x="1444" y="31"/>
                </a:lnTo>
                <a:lnTo>
                  <a:pt x="1444" y="66"/>
                </a:lnTo>
                <a:lnTo>
                  <a:pt x="1489" y="66"/>
                </a:lnTo>
                <a:lnTo>
                  <a:pt x="1489" y="0"/>
                </a:lnTo>
                <a:lnTo>
                  <a:pt x="1493" y="0"/>
                </a:lnTo>
                <a:lnTo>
                  <a:pt x="1493" y="66"/>
                </a:lnTo>
                <a:lnTo>
                  <a:pt x="1538" y="66"/>
                </a:lnTo>
                <a:lnTo>
                  <a:pt x="1538" y="31"/>
                </a:lnTo>
                <a:lnTo>
                  <a:pt x="1543" y="31"/>
                </a:lnTo>
                <a:lnTo>
                  <a:pt x="1543" y="66"/>
                </a:lnTo>
                <a:lnTo>
                  <a:pt x="1588" y="66"/>
                </a:lnTo>
                <a:lnTo>
                  <a:pt x="1588" y="0"/>
                </a:lnTo>
                <a:lnTo>
                  <a:pt x="1592" y="0"/>
                </a:lnTo>
                <a:lnTo>
                  <a:pt x="1592" y="66"/>
                </a:lnTo>
                <a:lnTo>
                  <a:pt x="1637" y="66"/>
                </a:lnTo>
                <a:lnTo>
                  <a:pt x="1637" y="31"/>
                </a:lnTo>
                <a:lnTo>
                  <a:pt x="1642" y="31"/>
                </a:lnTo>
                <a:lnTo>
                  <a:pt x="1642" y="66"/>
                </a:lnTo>
                <a:lnTo>
                  <a:pt x="1687" y="66"/>
                </a:lnTo>
                <a:lnTo>
                  <a:pt x="168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33" name="Freeform 17"/>
          <p:cNvSpPr>
            <a:spLocks/>
          </p:cNvSpPr>
          <p:nvPr/>
        </p:nvSpPr>
        <p:spPr bwMode="auto">
          <a:xfrm>
            <a:off x="8294682" y="182068"/>
            <a:ext cx="149578" cy="53246"/>
          </a:xfrm>
          <a:custGeom>
            <a:avLst/>
            <a:gdLst>
              <a:gd name="T0" fmla="*/ 45 w 45"/>
              <a:gd name="T1" fmla="*/ 0 h 23"/>
              <a:gd name="T2" fmla="*/ 24 w 45"/>
              <a:gd name="T3" fmla="*/ 23 h 23"/>
              <a:gd name="T4" fmla="*/ 0 w 45"/>
              <a:gd name="T5" fmla="*/ 0 h 23"/>
              <a:gd name="T6" fmla="*/ 45 w 45"/>
              <a:gd name="T7" fmla="*/ 0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5" h="23">
                <a:moveTo>
                  <a:pt x="45" y="0"/>
                </a:moveTo>
                <a:lnTo>
                  <a:pt x="24" y="23"/>
                </a:lnTo>
                <a:lnTo>
                  <a:pt x="0" y="0"/>
                </a:lnTo>
                <a:lnTo>
                  <a:pt x="45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86" name="Rechteck 169"/>
          <p:cNvSpPr/>
          <p:nvPr/>
        </p:nvSpPr>
        <p:spPr bwMode="gray">
          <a:xfrm>
            <a:off x="4114169" y="461331"/>
            <a:ext cx="1107482" cy="442219"/>
          </a:xfrm>
          <a:prstGeom prst="rect">
            <a:avLst/>
          </a:prstGeom>
        </p:spPr>
        <p:txBody>
          <a:bodyPr wrap="square" lIns="72000" tIns="0" rIns="0" bIns="0" anchor="b">
            <a:noAutofit/>
          </a:bodyPr>
          <a:lstStyle/>
          <a:p>
            <a:pPr lvl="0"/>
            <a:r>
              <a:rPr lang="en-US" sz="2000" b="1" dirty="0"/>
              <a:t>2016</a:t>
            </a:r>
          </a:p>
          <a:p>
            <a:pPr lvl="0"/>
            <a:r>
              <a:rPr lang="en-US" sz="1200" dirty="0" err="1"/>
              <a:t>Inicio</a:t>
            </a:r>
            <a:r>
              <a:rPr lang="en-US" sz="1200" dirty="0"/>
              <a:t> CSC</a:t>
            </a:r>
          </a:p>
        </p:txBody>
      </p:sp>
      <p:sp>
        <p:nvSpPr>
          <p:cNvPr id="387" name="Rechteck 169"/>
          <p:cNvSpPr/>
          <p:nvPr/>
        </p:nvSpPr>
        <p:spPr bwMode="gray">
          <a:xfrm>
            <a:off x="7193965" y="461331"/>
            <a:ext cx="1383202" cy="442219"/>
          </a:xfrm>
          <a:prstGeom prst="rect">
            <a:avLst/>
          </a:prstGeom>
        </p:spPr>
        <p:txBody>
          <a:bodyPr wrap="square" lIns="72000" tIns="0" rIns="0" bIns="0" anchor="b">
            <a:noAutofit/>
          </a:bodyPr>
          <a:lstStyle/>
          <a:p>
            <a:pPr lvl="0"/>
            <a:r>
              <a:rPr lang="en-US" sz="2000" b="1" dirty="0"/>
              <a:t>2018</a:t>
            </a:r>
          </a:p>
          <a:p>
            <a:pPr lvl="0"/>
            <a:r>
              <a:rPr lang="en-US" sz="1200" dirty="0" err="1"/>
              <a:t>Mejora</a:t>
            </a:r>
            <a:r>
              <a:rPr lang="en-US" sz="1200" dirty="0"/>
              <a:t> Continua</a:t>
            </a:r>
          </a:p>
        </p:txBody>
      </p:sp>
      <p:sp>
        <p:nvSpPr>
          <p:cNvPr id="94" name="Rechteck 187"/>
          <p:cNvSpPr/>
          <p:nvPr/>
        </p:nvSpPr>
        <p:spPr bwMode="gray">
          <a:xfrm>
            <a:off x="6921874" y="2240984"/>
            <a:ext cx="2443932" cy="833812"/>
          </a:xfrm>
          <a:prstGeom prst="rect">
            <a:avLst/>
          </a:prstGeom>
        </p:spPr>
        <p:txBody>
          <a:bodyPr wrap="square" lIns="72000" tIns="0" rIns="0" bIns="0" anchor="t">
            <a:noAutofit/>
          </a:bodyPr>
          <a:lstStyle/>
          <a:p>
            <a:pPr lvl="0"/>
            <a:r>
              <a:rPr lang="en-US" sz="1600" dirty="0" err="1"/>
              <a:t>Modelo</a:t>
            </a:r>
            <a:r>
              <a:rPr lang="en-US" sz="1600" dirty="0"/>
              <a:t> de </a:t>
            </a:r>
            <a:r>
              <a:rPr lang="en-US" sz="1600" dirty="0" err="1"/>
              <a:t>Costeo</a:t>
            </a:r>
            <a:endParaRPr lang="en-US" sz="1600" b="1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 err="1"/>
              <a:t>Costo</a:t>
            </a:r>
            <a:r>
              <a:rPr lang="en-US" sz="1000" dirty="0"/>
              <a:t> Total del CSC (</a:t>
            </a:r>
            <a:r>
              <a:rPr lang="en-US" sz="1000" dirty="0" err="1"/>
              <a:t>excluyendo</a:t>
            </a:r>
            <a:r>
              <a:rPr lang="en-US" sz="1000" dirty="0"/>
              <a:t> TI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 err="1"/>
              <a:t>Transacciones</a:t>
            </a:r>
            <a:r>
              <a:rPr lang="en-US" sz="1000" dirty="0"/>
              <a:t> </a:t>
            </a:r>
            <a:r>
              <a:rPr lang="en-US" sz="1000" dirty="0" err="1"/>
              <a:t>Totales</a:t>
            </a:r>
            <a:r>
              <a:rPr lang="en-US" sz="1000" dirty="0"/>
              <a:t> de las </a:t>
            </a:r>
            <a:r>
              <a:rPr lang="en-US" sz="1000" dirty="0" err="1"/>
              <a:t>UdNs</a:t>
            </a:r>
            <a:endParaRPr lang="en-US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/>
              <a:t>12 </a:t>
            </a:r>
            <a:r>
              <a:rPr lang="en-US" sz="1000" dirty="0" err="1"/>
              <a:t>UdN</a:t>
            </a:r>
            <a:r>
              <a:rPr lang="en-US" sz="1000" dirty="0"/>
              <a:t> con </a:t>
            </a:r>
            <a:r>
              <a:rPr lang="en-US" sz="1000" dirty="0" err="1"/>
              <a:t>cobro</a:t>
            </a:r>
            <a:endParaRPr lang="en-US" sz="1000" dirty="0"/>
          </a:p>
        </p:txBody>
      </p:sp>
      <p:sp>
        <p:nvSpPr>
          <p:cNvPr id="89" name="Rechteck 186"/>
          <p:cNvSpPr/>
          <p:nvPr/>
        </p:nvSpPr>
        <p:spPr bwMode="gray">
          <a:xfrm>
            <a:off x="5743457" y="1064875"/>
            <a:ext cx="3037887" cy="801116"/>
          </a:xfrm>
          <a:prstGeom prst="rect">
            <a:avLst/>
          </a:prstGeom>
        </p:spPr>
        <p:txBody>
          <a:bodyPr wrap="square" lIns="72000" tIns="0" rIns="0" bIns="0" anchor="t">
            <a:noAutofit/>
          </a:bodyPr>
          <a:lstStyle/>
          <a:p>
            <a:pPr lvl="0"/>
            <a:r>
              <a:rPr lang="en-US" sz="1600" dirty="0" err="1"/>
              <a:t>Catálogo</a:t>
            </a:r>
            <a:r>
              <a:rPr lang="en-US" sz="1600" dirty="0"/>
              <a:t> de </a:t>
            </a:r>
            <a:r>
              <a:rPr lang="en-US" sz="1600" dirty="0" err="1"/>
              <a:t>Servicios</a:t>
            </a:r>
            <a:endParaRPr lang="en-US" sz="1600" b="1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/>
              <a:t>168 </a:t>
            </a:r>
            <a:r>
              <a:rPr lang="en-US" sz="1000" dirty="0" err="1"/>
              <a:t>Servicios</a:t>
            </a:r>
            <a:endParaRPr lang="en-US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/>
              <a:t>6 </a:t>
            </a:r>
            <a:r>
              <a:rPr lang="en-US" sz="1000" dirty="0" err="1"/>
              <a:t>Departamentos</a:t>
            </a:r>
            <a:endParaRPr lang="en-US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 err="1"/>
              <a:t>Distintos</a:t>
            </a:r>
            <a:r>
              <a:rPr lang="en-US" sz="1000" dirty="0"/>
              <a:t> </a:t>
            </a:r>
            <a:r>
              <a:rPr lang="en-US" sz="1000" dirty="0" err="1"/>
              <a:t>niveles</a:t>
            </a:r>
            <a:r>
              <a:rPr lang="en-US" sz="1000" dirty="0"/>
              <a:t> de </a:t>
            </a:r>
            <a:r>
              <a:rPr lang="en-US" sz="1000" dirty="0" err="1"/>
              <a:t>detalle</a:t>
            </a:r>
            <a:r>
              <a:rPr lang="en-US" sz="1000" dirty="0"/>
              <a:t> </a:t>
            </a:r>
          </a:p>
        </p:txBody>
      </p:sp>
      <p:sp>
        <p:nvSpPr>
          <p:cNvPr id="79" name="Rechteck 189"/>
          <p:cNvSpPr/>
          <p:nvPr/>
        </p:nvSpPr>
        <p:spPr bwMode="gray">
          <a:xfrm>
            <a:off x="6673900" y="5393477"/>
            <a:ext cx="3113737" cy="1043738"/>
          </a:xfrm>
          <a:prstGeom prst="rect">
            <a:avLst/>
          </a:prstGeom>
        </p:spPr>
        <p:txBody>
          <a:bodyPr wrap="square" lIns="72000" tIns="0" rIns="0" bIns="0" anchor="b">
            <a:noAutofit/>
          </a:bodyPr>
          <a:lstStyle/>
          <a:p>
            <a:pPr lvl="0"/>
            <a:r>
              <a:rPr lang="es-MX" sz="1600" i="1" dirty="0"/>
              <a:t>Acuerdos de Nivel de Servicios </a:t>
            </a:r>
            <a:r>
              <a:rPr lang="es-MX" sz="1600" dirty="0"/>
              <a:t>(</a:t>
            </a:r>
            <a:r>
              <a:rPr lang="es-MX" sz="1600" dirty="0" err="1"/>
              <a:t>SLAs</a:t>
            </a:r>
            <a:r>
              <a:rPr lang="es-MX" sz="1600" dirty="0"/>
              <a:t>)</a:t>
            </a:r>
            <a:endParaRPr lang="en-US" sz="1600" b="1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/>
              <a:t>24 </a:t>
            </a:r>
            <a:r>
              <a:rPr lang="en-US" sz="1000" dirty="0" err="1"/>
              <a:t>servicios</a:t>
            </a:r>
            <a:r>
              <a:rPr lang="en-US" sz="1000" dirty="0"/>
              <a:t> con </a:t>
            </a:r>
            <a:r>
              <a:rPr lang="es-MX" sz="1000" dirty="0" err="1"/>
              <a:t>SLAs</a:t>
            </a:r>
            <a:r>
              <a:rPr lang="en-US" sz="1000" dirty="0"/>
              <a:t> </a:t>
            </a:r>
            <a:r>
              <a:rPr lang="en-US" sz="1000" dirty="0" err="1"/>
              <a:t>firmados</a:t>
            </a:r>
            <a:endParaRPr lang="en-US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/>
              <a:t>GAM, AFI y </a:t>
            </a:r>
            <a:r>
              <a:rPr lang="en-US" sz="1000" dirty="0" err="1"/>
              <a:t>Servicios</a:t>
            </a:r>
            <a:r>
              <a:rPr lang="en-US" sz="1000" dirty="0"/>
              <a:t> AM con </a:t>
            </a:r>
            <a:r>
              <a:rPr lang="es-MX" sz="1000" dirty="0" err="1"/>
              <a:t>SLAs</a:t>
            </a:r>
            <a:r>
              <a:rPr lang="en-US" sz="1000" dirty="0"/>
              <a:t> </a:t>
            </a:r>
            <a:r>
              <a:rPr lang="en-US" sz="1000" dirty="0" err="1"/>
              <a:t>firmados</a:t>
            </a:r>
            <a:endParaRPr lang="en-US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 err="1"/>
              <a:t>Contrato</a:t>
            </a:r>
            <a:r>
              <a:rPr lang="en-US" sz="1000" dirty="0"/>
              <a:t> y </a:t>
            </a:r>
            <a:r>
              <a:rPr lang="es-MX" sz="1000" dirty="0"/>
              <a:t>SLA</a:t>
            </a:r>
            <a:r>
              <a:rPr lang="en-US" sz="1000" dirty="0"/>
              <a:t> </a:t>
            </a:r>
            <a:r>
              <a:rPr lang="en-US" sz="1000" dirty="0" err="1"/>
              <a:t>por</a:t>
            </a:r>
            <a:r>
              <a:rPr lang="en-US" sz="1000" dirty="0"/>
              <a:t> </a:t>
            </a:r>
            <a:r>
              <a:rPr lang="en-US" sz="1000" dirty="0" err="1"/>
              <a:t>separado</a:t>
            </a:r>
            <a:endParaRPr lang="en-US" sz="1000" dirty="0"/>
          </a:p>
        </p:txBody>
      </p:sp>
      <p:grpSp>
        <p:nvGrpSpPr>
          <p:cNvPr id="68" name="Gruppieren 211"/>
          <p:cNvGrpSpPr/>
          <p:nvPr/>
        </p:nvGrpSpPr>
        <p:grpSpPr>
          <a:xfrm>
            <a:off x="1994790" y="1819623"/>
            <a:ext cx="4291340" cy="4404874"/>
            <a:chOff x="1423649" y="2623912"/>
            <a:chExt cx="3227823" cy="4404874"/>
          </a:xfrm>
        </p:grpSpPr>
        <p:grpSp>
          <p:nvGrpSpPr>
            <p:cNvPr id="69" name="Gruppieren 209"/>
            <p:cNvGrpSpPr/>
            <p:nvPr/>
          </p:nvGrpSpPr>
          <p:grpSpPr>
            <a:xfrm>
              <a:off x="1423649" y="2623912"/>
              <a:ext cx="3005241" cy="3652902"/>
              <a:chOff x="1423649" y="2623912"/>
              <a:chExt cx="3005241" cy="3652902"/>
            </a:xfrm>
          </p:grpSpPr>
          <p:sp>
            <p:nvSpPr>
              <p:cNvPr id="75" name="Rechteck 95"/>
              <p:cNvSpPr/>
              <p:nvPr/>
            </p:nvSpPr>
            <p:spPr bwMode="auto">
              <a:xfrm rot="19940117">
                <a:off x="1423649" y="5028443"/>
                <a:ext cx="2993690" cy="78163"/>
              </a:xfrm>
              <a:custGeom>
                <a:avLst/>
                <a:gdLst>
                  <a:gd name="connsiteX0" fmla="*/ 0 w 3762839"/>
                  <a:gd name="connsiteY0" fmla="*/ 0 h 95569"/>
                  <a:gd name="connsiteX1" fmla="*/ 3762839 w 3762839"/>
                  <a:gd name="connsiteY1" fmla="*/ 0 h 95569"/>
                  <a:gd name="connsiteX2" fmla="*/ 3762839 w 3762839"/>
                  <a:gd name="connsiteY2" fmla="*/ 95569 h 95569"/>
                  <a:gd name="connsiteX3" fmla="*/ 0 w 3762839"/>
                  <a:gd name="connsiteY3" fmla="*/ 95569 h 95569"/>
                  <a:gd name="connsiteX4" fmla="*/ 0 w 3762839"/>
                  <a:gd name="connsiteY4" fmla="*/ 0 h 95569"/>
                  <a:gd name="connsiteX0" fmla="*/ 0 w 3762839"/>
                  <a:gd name="connsiteY0" fmla="*/ 0 h 95569"/>
                  <a:gd name="connsiteX1" fmla="*/ 3762839 w 3762839"/>
                  <a:gd name="connsiteY1" fmla="*/ 0 h 95569"/>
                  <a:gd name="connsiteX2" fmla="*/ 3762839 w 3762839"/>
                  <a:gd name="connsiteY2" fmla="*/ 95569 h 95569"/>
                  <a:gd name="connsiteX3" fmla="*/ 0 w 3762839"/>
                  <a:gd name="connsiteY3" fmla="*/ 0 h 95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62839" h="95569">
                    <a:moveTo>
                      <a:pt x="0" y="0"/>
                    </a:moveTo>
                    <a:lnTo>
                      <a:pt x="3762839" y="0"/>
                    </a:lnTo>
                    <a:lnTo>
                      <a:pt x="3762839" y="9556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3063">
                  <a:alpha val="40000"/>
                </a:srgbClr>
              </a:soli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76" name="Rechteck 95"/>
              <p:cNvSpPr/>
              <p:nvPr/>
            </p:nvSpPr>
            <p:spPr bwMode="auto">
              <a:xfrm rot="21004267">
                <a:off x="1488925" y="5491322"/>
                <a:ext cx="2939965" cy="54863"/>
              </a:xfrm>
              <a:custGeom>
                <a:avLst/>
                <a:gdLst>
                  <a:gd name="connsiteX0" fmla="*/ 0 w 3762839"/>
                  <a:gd name="connsiteY0" fmla="*/ 0 h 95569"/>
                  <a:gd name="connsiteX1" fmla="*/ 3762839 w 3762839"/>
                  <a:gd name="connsiteY1" fmla="*/ 0 h 95569"/>
                  <a:gd name="connsiteX2" fmla="*/ 3762839 w 3762839"/>
                  <a:gd name="connsiteY2" fmla="*/ 95569 h 95569"/>
                  <a:gd name="connsiteX3" fmla="*/ 0 w 3762839"/>
                  <a:gd name="connsiteY3" fmla="*/ 95569 h 95569"/>
                  <a:gd name="connsiteX4" fmla="*/ 0 w 3762839"/>
                  <a:gd name="connsiteY4" fmla="*/ 0 h 95569"/>
                  <a:gd name="connsiteX0" fmla="*/ 0 w 3762839"/>
                  <a:gd name="connsiteY0" fmla="*/ 0 h 95569"/>
                  <a:gd name="connsiteX1" fmla="*/ 3762839 w 3762839"/>
                  <a:gd name="connsiteY1" fmla="*/ 0 h 95569"/>
                  <a:gd name="connsiteX2" fmla="*/ 3762839 w 3762839"/>
                  <a:gd name="connsiteY2" fmla="*/ 95569 h 95569"/>
                  <a:gd name="connsiteX3" fmla="*/ 0 w 3762839"/>
                  <a:gd name="connsiteY3" fmla="*/ 0 h 95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62839" h="95569">
                    <a:moveTo>
                      <a:pt x="0" y="0"/>
                    </a:moveTo>
                    <a:lnTo>
                      <a:pt x="3762839" y="0"/>
                    </a:lnTo>
                    <a:lnTo>
                      <a:pt x="3762839" y="9556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77" name="Rechteck 95"/>
              <p:cNvSpPr/>
              <p:nvPr/>
            </p:nvSpPr>
            <p:spPr bwMode="auto">
              <a:xfrm rot="1163511">
                <a:off x="2391372" y="6231095"/>
                <a:ext cx="1666150" cy="45719"/>
              </a:xfrm>
              <a:custGeom>
                <a:avLst/>
                <a:gdLst>
                  <a:gd name="connsiteX0" fmla="*/ 0 w 3762839"/>
                  <a:gd name="connsiteY0" fmla="*/ 0 h 95569"/>
                  <a:gd name="connsiteX1" fmla="*/ 3762839 w 3762839"/>
                  <a:gd name="connsiteY1" fmla="*/ 0 h 95569"/>
                  <a:gd name="connsiteX2" fmla="*/ 3762839 w 3762839"/>
                  <a:gd name="connsiteY2" fmla="*/ 95569 h 95569"/>
                  <a:gd name="connsiteX3" fmla="*/ 0 w 3762839"/>
                  <a:gd name="connsiteY3" fmla="*/ 95569 h 95569"/>
                  <a:gd name="connsiteX4" fmla="*/ 0 w 3762839"/>
                  <a:gd name="connsiteY4" fmla="*/ 0 h 95569"/>
                  <a:gd name="connsiteX0" fmla="*/ 0 w 3762839"/>
                  <a:gd name="connsiteY0" fmla="*/ 0 h 95569"/>
                  <a:gd name="connsiteX1" fmla="*/ 3762839 w 3762839"/>
                  <a:gd name="connsiteY1" fmla="*/ 0 h 95569"/>
                  <a:gd name="connsiteX2" fmla="*/ 3762839 w 3762839"/>
                  <a:gd name="connsiteY2" fmla="*/ 95569 h 95569"/>
                  <a:gd name="connsiteX3" fmla="*/ 0 w 3762839"/>
                  <a:gd name="connsiteY3" fmla="*/ 0 h 95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62839" h="95569">
                    <a:moveTo>
                      <a:pt x="0" y="0"/>
                    </a:moveTo>
                    <a:lnTo>
                      <a:pt x="3762839" y="0"/>
                    </a:lnTo>
                    <a:lnTo>
                      <a:pt x="3762839" y="9556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3063">
                  <a:alpha val="36000"/>
                </a:srgbClr>
              </a:soli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78" name="Rechteck 95"/>
              <p:cNvSpPr/>
              <p:nvPr/>
            </p:nvSpPr>
            <p:spPr bwMode="auto">
              <a:xfrm rot="18517837">
                <a:off x="848288" y="4417061"/>
                <a:ext cx="3641592" cy="55293"/>
              </a:xfrm>
              <a:custGeom>
                <a:avLst/>
                <a:gdLst>
                  <a:gd name="connsiteX0" fmla="*/ 0 w 3762839"/>
                  <a:gd name="connsiteY0" fmla="*/ 0 h 95569"/>
                  <a:gd name="connsiteX1" fmla="*/ 3762839 w 3762839"/>
                  <a:gd name="connsiteY1" fmla="*/ 0 h 95569"/>
                  <a:gd name="connsiteX2" fmla="*/ 3762839 w 3762839"/>
                  <a:gd name="connsiteY2" fmla="*/ 95569 h 95569"/>
                  <a:gd name="connsiteX3" fmla="*/ 0 w 3762839"/>
                  <a:gd name="connsiteY3" fmla="*/ 95569 h 95569"/>
                  <a:gd name="connsiteX4" fmla="*/ 0 w 3762839"/>
                  <a:gd name="connsiteY4" fmla="*/ 0 h 95569"/>
                  <a:gd name="connsiteX0" fmla="*/ 0 w 3762839"/>
                  <a:gd name="connsiteY0" fmla="*/ 0 h 95569"/>
                  <a:gd name="connsiteX1" fmla="*/ 3762839 w 3762839"/>
                  <a:gd name="connsiteY1" fmla="*/ 0 h 95569"/>
                  <a:gd name="connsiteX2" fmla="*/ 3762839 w 3762839"/>
                  <a:gd name="connsiteY2" fmla="*/ 95569 h 95569"/>
                  <a:gd name="connsiteX3" fmla="*/ 0 w 3762839"/>
                  <a:gd name="connsiteY3" fmla="*/ 0 h 95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62839" h="95569">
                    <a:moveTo>
                      <a:pt x="0" y="0"/>
                    </a:moveTo>
                    <a:lnTo>
                      <a:pt x="3762839" y="0"/>
                    </a:lnTo>
                    <a:lnTo>
                      <a:pt x="3762839" y="9556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</p:grpSp>
        <p:grpSp>
          <p:nvGrpSpPr>
            <p:cNvPr id="70" name="Gruppieren 210"/>
            <p:cNvGrpSpPr/>
            <p:nvPr/>
          </p:nvGrpSpPr>
          <p:grpSpPr>
            <a:xfrm>
              <a:off x="3329494" y="2659041"/>
              <a:ext cx="1321978" cy="4369745"/>
              <a:chOff x="3329494" y="2659041"/>
              <a:chExt cx="1321978" cy="4369745"/>
            </a:xfrm>
          </p:grpSpPr>
          <p:sp>
            <p:nvSpPr>
              <p:cNvPr id="71" name="Freeform 6"/>
              <p:cNvSpPr>
                <a:spLocks/>
              </p:cNvSpPr>
              <p:nvPr/>
            </p:nvSpPr>
            <p:spPr bwMode="auto">
              <a:xfrm rot="18816058">
                <a:off x="3278095" y="2710440"/>
                <a:ext cx="600094" cy="497296"/>
              </a:xfrm>
              <a:custGeom>
                <a:avLst/>
                <a:gdLst>
                  <a:gd name="T0" fmla="*/ 163 w 264"/>
                  <a:gd name="T1" fmla="*/ 88 h 219"/>
                  <a:gd name="T2" fmla="*/ 95 w 264"/>
                  <a:gd name="T3" fmla="*/ 0 h 219"/>
                  <a:gd name="T4" fmla="*/ 76 w 264"/>
                  <a:gd name="T5" fmla="*/ 0 h 219"/>
                  <a:gd name="T6" fmla="*/ 111 w 264"/>
                  <a:gd name="T7" fmla="*/ 92 h 219"/>
                  <a:gd name="T8" fmla="*/ 39 w 264"/>
                  <a:gd name="T9" fmla="*/ 98 h 219"/>
                  <a:gd name="T10" fmla="*/ 13 w 264"/>
                  <a:gd name="T11" fmla="*/ 72 h 219"/>
                  <a:gd name="T12" fmla="*/ 0 w 264"/>
                  <a:gd name="T13" fmla="*/ 72 h 219"/>
                  <a:gd name="T14" fmla="*/ 11 w 264"/>
                  <a:gd name="T15" fmla="*/ 110 h 219"/>
                  <a:gd name="T16" fmla="*/ 0 w 264"/>
                  <a:gd name="T17" fmla="*/ 147 h 219"/>
                  <a:gd name="T18" fmla="*/ 13 w 264"/>
                  <a:gd name="T19" fmla="*/ 147 h 219"/>
                  <a:gd name="T20" fmla="*/ 39 w 264"/>
                  <a:gd name="T21" fmla="*/ 121 h 219"/>
                  <a:gd name="T22" fmla="*/ 111 w 264"/>
                  <a:gd name="T23" fmla="*/ 127 h 219"/>
                  <a:gd name="T24" fmla="*/ 76 w 264"/>
                  <a:gd name="T25" fmla="*/ 219 h 219"/>
                  <a:gd name="T26" fmla="*/ 95 w 264"/>
                  <a:gd name="T27" fmla="*/ 219 h 219"/>
                  <a:gd name="T28" fmla="*/ 163 w 264"/>
                  <a:gd name="T29" fmla="*/ 132 h 219"/>
                  <a:gd name="T30" fmla="*/ 264 w 264"/>
                  <a:gd name="T31" fmla="*/ 110 h 219"/>
                  <a:gd name="T32" fmla="*/ 163 w 264"/>
                  <a:gd name="T33" fmla="*/ 88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64" h="219">
                    <a:moveTo>
                      <a:pt x="163" y="88"/>
                    </a:moveTo>
                    <a:cubicBezTo>
                      <a:pt x="95" y="0"/>
                      <a:pt x="95" y="0"/>
                      <a:pt x="95" y="0"/>
                    </a:cubicBezTo>
                    <a:cubicBezTo>
                      <a:pt x="76" y="0"/>
                      <a:pt x="76" y="0"/>
                      <a:pt x="76" y="0"/>
                    </a:cubicBezTo>
                    <a:cubicBezTo>
                      <a:pt x="111" y="92"/>
                      <a:pt x="111" y="92"/>
                      <a:pt x="111" y="92"/>
                    </a:cubicBezTo>
                    <a:cubicBezTo>
                      <a:pt x="39" y="98"/>
                      <a:pt x="39" y="98"/>
                      <a:pt x="39" y="98"/>
                    </a:cubicBezTo>
                    <a:cubicBezTo>
                      <a:pt x="13" y="72"/>
                      <a:pt x="13" y="72"/>
                      <a:pt x="13" y="72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11" y="110"/>
                      <a:pt x="11" y="110"/>
                      <a:pt x="11" y="110"/>
                    </a:cubicBezTo>
                    <a:cubicBezTo>
                      <a:pt x="0" y="147"/>
                      <a:pt x="0" y="147"/>
                      <a:pt x="0" y="147"/>
                    </a:cubicBezTo>
                    <a:cubicBezTo>
                      <a:pt x="13" y="147"/>
                      <a:pt x="13" y="147"/>
                      <a:pt x="13" y="147"/>
                    </a:cubicBezTo>
                    <a:cubicBezTo>
                      <a:pt x="39" y="121"/>
                      <a:pt x="39" y="121"/>
                      <a:pt x="39" y="121"/>
                    </a:cubicBezTo>
                    <a:cubicBezTo>
                      <a:pt x="111" y="127"/>
                      <a:pt x="111" y="127"/>
                      <a:pt x="111" y="127"/>
                    </a:cubicBezTo>
                    <a:cubicBezTo>
                      <a:pt x="76" y="219"/>
                      <a:pt x="76" y="219"/>
                      <a:pt x="76" y="219"/>
                    </a:cubicBezTo>
                    <a:cubicBezTo>
                      <a:pt x="95" y="219"/>
                      <a:pt x="95" y="219"/>
                      <a:pt x="95" y="219"/>
                    </a:cubicBezTo>
                    <a:cubicBezTo>
                      <a:pt x="163" y="132"/>
                      <a:pt x="163" y="132"/>
                      <a:pt x="163" y="132"/>
                    </a:cubicBezTo>
                    <a:cubicBezTo>
                      <a:pt x="239" y="134"/>
                      <a:pt x="264" y="110"/>
                      <a:pt x="264" y="110"/>
                    </a:cubicBezTo>
                    <a:cubicBezTo>
                      <a:pt x="264" y="110"/>
                      <a:pt x="239" y="85"/>
                      <a:pt x="163" y="8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2" name="Freeform 6"/>
              <p:cNvSpPr>
                <a:spLocks/>
              </p:cNvSpPr>
              <p:nvPr/>
            </p:nvSpPr>
            <p:spPr bwMode="auto">
              <a:xfrm rot="20968253">
                <a:off x="4199267" y="4835662"/>
                <a:ext cx="452205" cy="662400"/>
              </a:xfrm>
              <a:custGeom>
                <a:avLst/>
                <a:gdLst>
                  <a:gd name="T0" fmla="*/ 163 w 264"/>
                  <a:gd name="T1" fmla="*/ 88 h 219"/>
                  <a:gd name="T2" fmla="*/ 95 w 264"/>
                  <a:gd name="T3" fmla="*/ 0 h 219"/>
                  <a:gd name="T4" fmla="*/ 76 w 264"/>
                  <a:gd name="T5" fmla="*/ 0 h 219"/>
                  <a:gd name="T6" fmla="*/ 111 w 264"/>
                  <a:gd name="T7" fmla="*/ 92 h 219"/>
                  <a:gd name="T8" fmla="*/ 39 w 264"/>
                  <a:gd name="T9" fmla="*/ 98 h 219"/>
                  <a:gd name="T10" fmla="*/ 13 w 264"/>
                  <a:gd name="T11" fmla="*/ 72 h 219"/>
                  <a:gd name="T12" fmla="*/ 0 w 264"/>
                  <a:gd name="T13" fmla="*/ 72 h 219"/>
                  <a:gd name="T14" fmla="*/ 11 w 264"/>
                  <a:gd name="T15" fmla="*/ 110 h 219"/>
                  <a:gd name="T16" fmla="*/ 0 w 264"/>
                  <a:gd name="T17" fmla="*/ 147 h 219"/>
                  <a:gd name="T18" fmla="*/ 13 w 264"/>
                  <a:gd name="T19" fmla="*/ 147 h 219"/>
                  <a:gd name="T20" fmla="*/ 39 w 264"/>
                  <a:gd name="T21" fmla="*/ 121 h 219"/>
                  <a:gd name="T22" fmla="*/ 111 w 264"/>
                  <a:gd name="T23" fmla="*/ 127 h 219"/>
                  <a:gd name="T24" fmla="*/ 76 w 264"/>
                  <a:gd name="T25" fmla="*/ 219 h 219"/>
                  <a:gd name="T26" fmla="*/ 95 w 264"/>
                  <a:gd name="T27" fmla="*/ 219 h 219"/>
                  <a:gd name="T28" fmla="*/ 163 w 264"/>
                  <a:gd name="T29" fmla="*/ 132 h 219"/>
                  <a:gd name="T30" fmla="*/ 264 w 264"/>
                  <a:gd name="T31" fmla="*/ 110 h 219"/>
                  <a:gd name="T32" fmla="*/ 163 w 264"/>
                  <a:gd name="T33" fmla="*/ 88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64" h="219">
                    <a:moveTo>
                      <a:pt x="163" y="88"/>
                    </a:moveTo>
                    <a:cubicBezTo>
                      <a:pt x="95" y="0"/>
                      <a:pt x="95" y="0"/>
                      <a:pt x="95" y="0"/>
                    </a:cubicBezTo>
                    <a:cubicBezTo>
                      <a:pt x="76" y="0"/>
                      <a:pt x="76" y="0"/>
                      <a:pt x="76" y="0"/>
                    </a:cubicBezTo>
                    <a:cubicBezTo>
                      <a:pt x="111" y="92"/>
                      <a:pt x="111" y="92"/>
                      <a:pt x="111" y="92"/>
                    </a:cubicBezTo>
                    <a:cubicBezTo>
                      <a:pt x="39" y="98"/>
                      <a:pt x="39" y="98"/>
                      <a:pt x="39" y="98"/>
                    </a:cubicBezTo>
                    <a:cubicBezTo>
                      <a:pt x="13" y="72"/>
                      <a:pt x="13" y="72"/>
                      <a:pt x="13" y="72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11" y="110"/>
                      <a:pt x="11" y="110"/>
                      <a:pt x="11" y="110"/>
                    </a:cubicBezTo>
                    <a:cubicBezTo>
                      <a:pt x="0" y="147"/>
                      <a:pt x="0" y="147"/>
                      <a:pt x="0" y="147"/>
                    </a:cubicBezTo>
                    <a:cubicBezTo>
                      <a:pt x="13" y="147"/>
                      <a:pt x="13" y="147"/>
                      <a:pt x="13" y="147"/>
                    </a:cubicBezTo>
                    <a:cubicBezTo>
                      <a:pt x="39" y="121"/>
                      <a:pt x="39" y="121"/>
                      <a:pt x="39" y="121"/>
                    </a:cubicBezTo>
                    <a:cubicBezTo>
                      <a:pt x="111" y="127"/>
                      <a:pt x="111" y="127"/>
                      <a:pt x="111" y="127"/>
                    </a:cubicBezTo>
                    <a:cubicBezTo>
                      <a:pt x="76" y="219"/>
                      <a:pt x="76" y="219"/>
                      <a:pt x="76" y="219"/>
                    </a:cubicBezTo>
                    <a:cubicBezTo>
                      <a:pt x="95" y="219"/>
                      <a:pt x="95" y="219"/>
                      <a:pt x="95" y="219"/>
                    </a:cubicBezTo>
                    <a:cubicBezTo>
                      <a:pt x="163" y="132"/>
                      <a:pt x="163" y="132"/>
                      <a:pt x="163" y="132"/>
                    </a:cubicBezTo>
                    <a:cubicBezTo>
                      <a:pt x="239" y="134"/>
                      <a:pt x="264" y="110"/>
                      <a:pt x="264" y="110"/>
                    </a:cubicBezTo>
                    <a:cubicBezTo>
                      <a:pt x="264" y="110"/>
                      <a:pt x="239" y="85"/>
                      <a:pt x="163" y="8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3" name="Freeform 6"/>
              <p:cNvSpPr>
                <a:spLocks/>
              </p:cNvSpPr>
              <p:nvPr/>
            </p:nvSpPr>
            <p:spPr bwMode="auto">
              <a:xfrm rot="1217652">
                <a:off x="3900796" y="6366386"/>
                <a:ext cx="452205" cy="662400"/>
              </a:xfrm>
              <a:custGeom>
                <a:avLst/>
                <a:gdLst>
                  <a:gd name="T0" fmla="*/ 163 w 264"/>
                  <a:gd name="T1" fmla="*/ 88 h 219"/>
                  <a:gd name="T2" fmla="*/ 95 w 264"/>
                  <a:gd name="T3" fmla="*/ 0 h 219"/>
                  <a:gd name="T4" fmla="*/ 76 w 264"/>
                  <a:gd name="T5" fmla="*/ 0 h 219"/>
                  <a:gd name="T6" fmla="*/ 111 w 264"/>
                  <a:gd name="T7" fmla="*/ 92 h 219"/>
                  <a:gd name="T8" fmla="*/ 39 w 264"/>
                  <a:gd name="T9" fmla="*/ 98 h 219"/>
                  <a:gd name="T10" fmla="*/ 13 w 264"/>
                  <a:gd name="T11" fmla="*/ 72 h 219"/>
                  <a:gd name="T12" fmla="*/ 0 w 264"/>
                  <a:gd name="T13" fmla="*/ 72 h 219"/>
                  <a:gd name="T14" fmla="*/ 11 w 264"/>
                  <a:gd name="T15" fmla="*/ 110 h 219"/>
                  <a:gd name="T16" fmla="*/ 0 w 264"/>
                  <a:gd name="T17" fmla="*/ 147 h 219"/>
                  <a:gd name="T18" fmla="*/ 13 w 264"/>
                  <a:gd name="T19" fmla="*/ 147 h 219"/>
                  <a:gd name="T20" fmla="*/ 39 w 264"/>
                  <a:gd name="T21" fmla="*/ 121 h 219"/>
                  <a:gd name="T22" fmla="*/ 111 w 264"/>
                  <a:gd name="T23" fmla="*/ 127 h 219"/>
                  <a:gd name="T24" fmla="*/ 76 w 264"/>
                  <a:gd name="T25" fmla="*/ 219 h 219"/>
                  <a:gd name="T26" fmla="*/ 95 w 264"/>
                  <a:gd name="T27" fmla="*/ 219 h 219"/>
                  <a:gd name="T28" fmla="*/ 163 w 264"/>
                  <a:gd name="T29" fmla="*/ 132 h 219"/>
                  <a:gd name="T30" fmla="*/ 264 w 264"/>
                  <a:gd name="T31" fmla="*/ 110 h 219"/>
                  <a:gd name="T32" fmla="*/ 163 w 264"/>
                  <a:gd name="T33" fmla="*/ 88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64" h="219">
                    <a:moveTo>
                      <a:pt x="163" y="88"/>
                    </a:moveTo>
                    <a:cubicBezTo>
                      <a:pt x="95" y="0"/>
                      <a:pt x="95" y="0"/>
                      <a:pt x="95" y="0"/>
                    </a:cubicBezTo>
                    <a:cubicBezTo>
                      <a:pt x="76" y="0"/>
                      <a:pt x="76" y="0"/>
                      <a:pt x="76" y="0"/>
                    </a:cubicBezTo>
                    <a:cubicBezTo>
                      <a:pt x="111" y="92"/>
                      <a:pt x="111" y="92"/>
                      <a:pt x="111" y="92"/>
                    </a:cubicBezTo>
                    <a:cubicBezTo>
                      <a:pt x="39" y="98"/>
                      <a:pt x="39" y="98"/>
                      <a:pt x="39" y="98"/>
                    </a:cubicBezTo>
                    <a:cubicBezTo>
                      <a:pt x="13" y="72"/>
                      <a:pt x="13" y="72"/>
                      <a:pt x="13" y="72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11" y="110"/>
                      <a:pt x="11" y="110"/>
                      <a:pt x="11" y="110"/>
                    </a:cubicBezTo>
                    <a:cubicBezTo>
                      <a:pt x="0" y="147"/>
                      <a:pt x="0" y="147"/>
                      <a:pt x="0" y="147"/>
                    </a:cubicBezTo>
                    <a:cubicBezTo>
                      <a:pt x="13" y="147"/>
                      <a:pt x="13" y="147"/>
                      <a:pt x="13" y="147"/>
                    </a:cubicBezTo>
                    <a:cubicBezTo>
                      <a:pt x="39" y="121"/>
                      <a:pt x="39" y="121"/>
                      <a:pt x="39" y="121"/>
                    </a:cubicBezTo>
                    <a:cubicBezTo>
                      <a:pt x="111" y="127"/>
                      <a:pt x="111" y="127"/>
                      <a:pt x="111" y="127"/>
                    </a:cubicBezTo>
                    <a:cubicBezTo>
                      <a:pt x="76" y="219"/>
                      <a:pt x="76" y="219"/>
                      <a:pt x="76" y="219"/>
                    </a:cubicBezTo>
                    <a:cubicBezTo>
                      <a:pt x="95" y="219"/>
                      <a:pt x="95" y="219"/>
                      <a:pt x="95" y="219"/>
                    </a:cubicBezTo>
                    <a:cubicBezTo>
                      <a:pt x="163" y="132"/>
                      <a:pt x="163" y="132"/>
                      <a:pt x="163" y="132"/>
                    </a:cubicBezTo>
                    <a:cubicBezTo>
                      <a:pt x="239" y="134"/>
                      <a:pt x="264" y="110"/>
                      <a:pt x="264" y="110"/>
                    </a:cubicBezTo>
                    <a:cubicBezTo>
                      <a:pt x="264" y="110"/>
                      <a:pt x="239" y="85"/>
                      <a:pt x="163" y="8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74" name="Freeform 6"/>
              <p:cNvSpPr>
                <a:spLocks/>
              </p:cNvSpPr>
              <p:nvPr/>
            </p:nvSpPr>
            <p:spPr bwMode="auto">
              <a:xfrm rot="19945268">
                <a:off x="4090940" y="3757525"/>
                <a:ext cx="452206" cy="662400"/>
              </a:xfrm>
              <a:custGeom>
                <a:avLst/>
                <a:gdLst>
                  <a:gd name="T0" fmla="*/ 163 w 264"/>
                  <a:gd name="T1" fmla="*/ 88 h 219"/>
                  <a:gd name="T2" fmla="*/ 95 w 264"/>
                  <a:gd name="T3" fmla="*/ 0 h 219"/>
                  <a:gd name="T4" fmla="*/ 76 w 264"/>
                  <a:gd name="T5" fmla="*/ 0 h 219"/>
                  <a:gd name="T6" fmla="*/ 111 w 264"/>
                  <a:gd name="T7" fmla="*/ 92 h 219"/>
                  <a:gd name="T8" fmla="*/ 39 w 264"/>
                  <a:gd name="T9" fmla="*/ 98 h 219"/>
                  <a:gd name="T10" fmla="*/ 13 w 264"/>
                  <a:gd name="T11" fmla="*/ 72 h 219"/>
                  <a:gd name="T12" fmla="*/ 0 w 264"/>
                  <a:gd name="T13" fmla="*/ 72 h 219"/>
                  <a:gd name="T14" fmla="*/ 11 w 264"/>
                  <a:gd name="T15" fmla="*/ 110 h 219"/>
                  <a:gd name="T16" fmla="*/ 0 w 264"/>
                  <a:gd name="T17" fmla="*/ 147 h 219"/>
                  <a:gd name="T18" fmla="*/ 13 w 264"/>
                  <a:gd name="T19" fmla="*/ 147 h 219"/>
                  <a:gd name="T20" fmla="*/ 39 w 264"/>
                  <a:gd name="T21" fmla="*/ 121 h 219"/>
                  <a:gd name="T22" fmla="*/ 111 w 264"/>
                  <a:gd name="T23" fmla="*/ 127 h 219"/>
                  <a:gd name="T24" fmla="*/ 76 w 264"/>
                  <a:gd name="T25" fmla="*/ 219 h 219"/>
                  <a:gd name="T26" fmla="*/ 95 w 264"/>
                  <a:gd name="T27" fmla="*/ 219 h 219"/>
                  <a:gd name="T28" fmla="*/ 163 w 264"/>
                  <a:gd name="T29" fmla="*/ 132 h 219"/>
                  <a:gd name="T30" fmla="*/ 264 w 264"/>
                  <a:gd name="T31" fmla="*/ 110 h 219"/>
                  <a:gd name="T32" fmla="*/ 163 w 264"/>
                  <a:gd name="T33" fmla="*/ 88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64" h="219">
                    <a:moveTo>
                      <a:pt x="163" y="88"/>
                    </a:moveTo>
                    <a:cubicBezTo>
                      <a:pt x="95" y="0"/>
                      <a:pt x="95" y="0"/>
                      <a:pt x="95" y="0"/>
                    </a:cubicBezTo>
                    <a:cubicBezTo>
                      <a:pt x="76" y="0"/>
                      <a:pt x="76" y="0"/>
                      <a:pt x="76" y="0"/>
                    </a:cubicBezTo>
                    <a:cubicBezTo>
                      <a:pt x="111" y="92"/>
                      <a:pt x="111" y="92"/>
                      <a:pt x="111" y="92"/>
                    </a:cubicBezTo>
                    <a:cubicBezTo>
                      <a:pt x="39" y="98"/>
                      <a:pt x="39" y="98"/>
                      <a:pt x="39" y="98"/>
                    </a:cubicBezTo>
                    <a:cubicBezTo>
                      <a:pt x="13" y="72"/>
                      <a:pt x="13" y="72"/>
                      <a:pt x="13" y="72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11" y="110"/>
                      <a:pt x="11" y="110"/>
                      <a:pt x="11" y="110"/>
                    </a:cubicBezTo>
                    <a:cubicBezTo>
                      <a:pt x="0" y="147"/>
                      <a:pt x="0" y="147"/>
                      <a:pt x="0" y="147"/>
                    </a:cubicBezTo>
                    <a:cubicBezTo>
                      <a:pt x="13" y="147"/>
                      <a:pt x="13" y="147"/>
                      <a:pt x="13" y="147"/>
                    </a:cubicBezTo>
                    <a:cubicBezTo>
                      <a:pt x="39" y="121"/>
                      <a:pt x="39" y="121"/>
                      <a:pt x="39" y="121"/>
                    </a:cubicBezTo>
                    <a:cubicBezTo>
                      <a:pt x="111" y="127"/>
                      <a:pt x="111" y="127"/>
                      <a:pt x="111" y="127"/>
                    </a:cubicBezTo>
                    <a:cubicBezTo>
                      <a:pt x="76" y="219"/>
                      <a:pt x="76" y="219"/>
                      <a:pt x="76" y="219"/>
                    </a:cubicBezTo>
                    <a:cubicBezTo>
                      <a:pt x="95" y="219"/>
                      <a:pt x="95" y="219"/>
                      <a:pt x="95" y="219"/>
                    </a:cubicBezTo>
                    <a:cubicBezTo>
                      <a:pt x="163" y="132"/>
                      <a:pt x="163" y="132"/>
                      <a:pt x="163" y="132"/>
                    </a:cubicBezTo>
                    <a:cubicBezTo>
                      <a:pt x="239" y="134"/>
                      <a:pt x="264" y="110"/>
                      <a:pt x="264" y="110"/>
                    </a:cubicBezTo>
                    <a:cubicBezTo>
                      <a:pt x="264" y="110"/>
                      <a:pt x="239" y="85"/>
                      <a:pt x="163" y="8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sp>
        <p:nvSpPr>
          <p:cNvPr id="84" name="Rechteck 188"/>
          <p:cNvSpPr/>
          <p:nvPr/>
        </p:nvSpPr>
        <p:spPr bwMode="gray">
          <a:xfrm>
            <a:off x="7063571" y="3697346"/>
            <a:ext cx="2240043" cy="781368"/>
          </a:xfrm>
          <a:prstGeom prst="rect">
            <a:avLst/>
          </a:prstGeom>
        </p:spPr>
        <p:txBody>
          <a:bodyPr wrap="square" lIns="72000" tIns="0" rIns="0" bIns="0" anchor="t">
            <a:noAutofit/>
          </a:bodyPr>
          <a:lstStyle/>
          <a:p>
            <a:pPr lvl="0"/>
            <a:r>
              <a:rPr lang="en-US" sz="1600" dirty="0"/>
              <a:t>KPIs</a:t>
            </a:r>
            <a:endParaRPr lang="en-US" sz="1600" b="1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 err="1"/>
              <a:t>Seguimiento</a:t>
            </a:r>
            <a:r>
              <a:rPr lang="en-US" sz="1000" dirty="0"/>
              <a:t> a </a:t>
            </a:r>
            <a:r>
              <a:rPr lang="en-US" sz="1000" dirty="0" err="1"/>
              <a:t>entrega</a:t>
            </a:r>
            <a:r>
              <a:rPr lang="en-US" sz="1000" dirty="0"/>
              <a:t> de </a:t>
            </a:r>
            <a:r>
              <a:rPr lang="en-US" sz="1000" dirty="0" err="1"/>
              <a:t>servicio</a:t>
            </a:r>
            <a:endParaRPr lang="en-US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 err="1"/>
              <a:t>Responsabilidad</a:t>
            </a:r>
            <a:r>
              <a:rPr lang="en-US" sz="1000" dirty="0"/>
              <a:t> </a:t>
            </a:r>
            <a:r>
              <a:rPr lang="en-US" sz="1000" dirty="0" err="1"/>
              <a:t>por</a:t>
            </a:r>
            <a:r>
              <a:rPr lang="en-US" sz="1000" dirty="0"/>
              <a:t> </a:t>
            </a:r>
            <a:r>
              <a:rPr lang="en-US" sz="1000" dirty="0" err="1"/>
              <a:t>gerencia</a:t>
            </a:r>
            <a:r>
              <a:rPr lang="en-US" sz="1000" dirty="0"/>
              <a:t> 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 err="1"/>
              <a:t>Metas</a:t>
            </a:r>
            <a:r>
              <a:rPr lang="en-US" sz="1000" dirty="0"/>
              <a:t> </a:t>
            </a:r>
            <a:r>
              <a:rPr lang="en-US" sz="1000" dirty="0" err="1"/>
              <a:t>cualitativas</a:t>
            </a:r>
            <a:endParaRPr lang="en-US" sz="1000" dirty="0"/>
          </a:p>
        </p:txBody>
      </p:sp>
      <p:sp>
        <p:nvSpPr>
          <p:cNvPr id="390" name="Oval 389"/>
          <p:cNvSpPr/>
          <p:nvPr/>
        </p:nvSpPr>
        <p:spPr>
          <a:xfrm>
            <a:off x="5008641" y="1282113"/>
            <a:ext cx="720000" cy="720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pic>
        <p:nvPicPr>
          <p:cNvPr id="389" name="Picture 2" descr="https://d30y9cdsu7xlg0.cloudfront.net/png/62805-200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2343" y="1368202"/>
            <a:ext cx="540000" cy="54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1" name="Oval 390"/>
          <p:cNvSpPr/>
          <p:nvPr/>
        </p:nvSpPr>
        <p:spPr>
          <a:xfrm>
            <a:off x="6160712" y="2416164"/>
            <a:ext cx="720000" cy="720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pic>
        <p:nvPicPr>
          <p:cNvPr id="393" name="Picture 6" descr="https://d30y9cdsu7xlg0.cloudfront.net/png/1805880-200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1874" y="2458198"/>
            <a:ext cx="64800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6" name="Oval 395"/>
          <p:cNvSpPr/>
          <p:nvPr/>
        </p:nvSpPr>
        <p:spPr>
          <a:xfrm>
            <a:off x="6330336" y="3867467"/>
            <a:ext cx="720000" cy="720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pic>
        <p:nvPicPr>
          <p:cNvPr id="397" name="Picture 8" descr="https://d30y9cdsu7xlg0.cloudfront.net/png/1214622-200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9886" y="3874450"/>
            <a:ext cx="684000" cy="68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0" name="Oval 399"/>
          <p:cNvSpPr/>
          <p:nvPr/>
        </p:nvSpPr>
        <p:spPr>
          <a:xfrm>
            <a:off x="5855678" y="5710240"/>
            <a:ext cx="720000" cy="720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pic>
        <p:nvPicPr>
          <p:cNvPr id="402" name="Picture 10" descr="https://d30y9cdsu7xlg0.cloudfront.net/png/1743613-200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4789" y="5802119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hteck 103"/>
          <p:cNvSpPr/>
          <p:nvPr/>
        </p:nvSpPr>
        <p:spPr bwMode="gray">
          <a:xfrm>
            <a:off x="25762" y="2800036"/>
            <a:ext cx="4183417" cy="314748"/>
          </a:xfrm>
          <a:prstGeom prst="rect">
            <a:avLst/>
          </a:prstGeom>
        </p:spPr>
        <p:txBody>
          <a:bodyPr wrap="square" lIns="72000" tIns="0" rIns="180000" bIns="0" anchor="ctr">
            <a:noAutofit/>
          </a:bodyPr>
          <a:lstStyle/>
          <a:p>
            <a:pPr lvl="0">
              <a:spcAft>
                <a:spcPts val="300"/>
              </a:spcAft>
            </a:pPr>
            <a:r>
              <a:rPr lang="en-US" sz="1200" b="1" dirty="0">
                <a:solidFill>
                  <a:schemeClr val="bg1"/>
                </a:solidFill>
              </a:rPr>
              <a:t>El CSC </a:t>
            </a:r>
            <a:r>
              <a:rPr lang="en-US" sz="1200" b="1" dirty="0" err="1">
                <a:solidFill>
                  <a:schemeClr val="bg1"/>
                </a:solidFill>
              </a:rPr>
              <a:t>atiende</a:t>
            </a:r>
            <a:r>
              <a:rPr lang="en-US" sz="1200" b="1" dirty="0">
                <a:solidFill>
                  <a:schemeClr val="bg1"/>
                </a:solidFill>
              </a:rPr>
              <a:t> a </a:t>
            </a:r>
            <a:r>
              <a:rPr lang="en-US" sz="2000" b="1" dirty="0">
                <a:solidFill>
                  <a:schemeClr val="bg1"/>
                </a:solidFill>
              </a:rPr>
              <a:t>25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en-US" sz="1200" b="1" dirty="0" err="1">
                <a:solidFill>
                  <a:schemeClr val="bg1"/>
                </a:solidFill>
              </a:rPr>
              <a:t>Unidades</a:t>
            </a:r>
            <a:r>
              <a:rPr lang="en-US" sz="1200" b="1" dirty="0">
                <a:solidFill>
                  <a:schemeClr val="bg1"/>
                </a:solidFill>
              </a:rPr>
              <a:t> de </a:t>
            </a:r>
            <a:r>
              <a:rPr lang="en-US" sz="1200" b="1" dirty="0" err="1">
                <a:solidFill>
                  <a:schemeClr val="bg1"/>
                </a:solidFill>
              </a:rPr>
              <a:t>Negocio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en-US" sz="1200" b="1" dirty="0" err="1">
                <a:solidFill>
                  <a:schemeClr val="bg1"/>
                </a:solidFill>
              </a:rPr>
              <a:t>en</a:t>
            </a:r>
            <a:r>
              <a:rPr lang="en-US" sz="1200" b="1" dirty="0">
                <a:solidFill>
                  <a:schemeClr val="bg1"/>
                </a:solidFill>
              </a:rPr>
              <a:t> México</a:t>
            </a:r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711261" y="5983347"/>
            <a:ext cx="1102267" cy="635606"/>
            <a:chOff x="271958" y="5974099"/>
            <a:chExt cx="1102267" cy="635606"/>
          </a:xfrm>
        </p:grpSpPr>
        <p:sp>
          <p:nvSpPr>
            <p:cNvPr id="32" name="Freeform 5"/>
            <p:cNvSpPr>
              <a:spLocks noChangeAspect="1" noEditPoints="1"/>
            </p:cNvSpPr>
            <p:nvPr/>
          </p:nvSpPr>
          <p:spPr bwMode="gray">
            <a:xfrm>
              <a:off x="271958" y="6420992"/>
              <a:ext cx="101931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rgbClr val="003063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5"/>
            <p:cNvSpPr>
              <a:spLocks noChangeAspect="1" noEditPoints="1"/>
            </p:cNvSpPr>
            <p:nvPr/>
          </p:nvSpPr>
          <p:spPr bwMode="gray">
            <a:xfrm>
              <a:off x="557769" y="6420992"/>
              <a:ext cx="101931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rgbClr val="003063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5"/>
            <p:cNvSpPr>
              <a:spLocks noChangeAspect="1" noEditPoints="1"/>
            </p:cNvSpPr>
            <p:nvPr/>
          </p:nvSpPr>
          <p:spPr bwMode="gray">
            <a:xfrm>
              <a:off x="843580" y="6420992"/>
              <a:ext cx="101931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rgbClr val="003063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5"/>
            <p:cNvSpPr>
              <a:spLocks noChangeAspect="1" noEditPoints="1"/>
            </p:cNvSpPr>
            <p:nvPr/>
          </p:nvSpPr>
          <p:spPr bwMode="gray">
            <a:xfrm>
              <a:off x="1129390" y="6420992"/>
              <a:ext cx="101931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5"/>
            <p:cNvSpPr>
              <a:spLocks noChangeAspect="1" noEditPoints="1"/>
            </p:cNvSpPr>
            <p:nvPr/>
          </p:nvSpPr>
          <p:spPr bwMode="gray">
            <a:xfrm>
              <a:off x="414862" y="6420992"/>
              <a:ext cx="101931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rgbClr val="003063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5"/>
            <p:cNvSpPr>
              <a:spLocks noChangeAspect="1" noEditPoints="1"/>
            </p:cNvSpPr>
            <p:nvPr/>
          </p:nvSpPr>
          <p:spPr bwMode="gray">
            <a:xfrm>
              <a:off x="700672" y="6420992"/>
              <a:ext cx="101931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rgbClr val="003063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5"/>
            <p:cNvSpPr>
              <a:spLocks noChangeAspect="1" noEditPoints="1"/>
            </p:cNvSpPr>
            <p:nvPr/>
          </p:nvSpPr>
          <p:spPr bwMode="gray">
            <a:xfrm>
              <a:off x="986480" y="6420992"/>
              <a:ext cx="101931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rgbClr val="003063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5"/>
            <p:cNvSpPr>
              <a:spLocks noChangeAspect="1" noEditPoints="1"/>
            </p:cNvSpPr>
            <p:nvPr/>
          </p:nvSpPr>
          <p:spPr bwMode="gray">
            <a:xfrm>
              <a:off x="1272294" y="6420992"/>
              <a:ext cx="101931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5"/>
            <p:cNvSpPr>
              <a:spLocks noChangeAspect="1" noEditPoints="1"/>
            </p:cNvSpPr>
            <p:nvPr/>
          </p:nvSpPr>
          <p:spPr bwMode="gray">
            <a:xfrm>
              <a:off x="271958" y="6197546"/>
              <a:ext cx="101931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rgbClr val="003063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5"/>
            <p:cNvSpPr>
              <a:spLocks noChangeAspect="1" noEditPoints="1"/>
            </p:cNvSpPr>
            <p:nvPr/>
          </p:nvSpPr>
          <p:spPr bwMode="gray">
            <a:xfrm>
              <a:off x="557769" y="6197546"/>
              <a:ext cx="101931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rgbClr val="003063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5"/>
            <p:cNvSpPr>
              <a:spLocks noChangeAspect="1" noEditPoints="1"/>
            </p:cNvSpPr>
            <p:nvPr/>
          </p:nvSpPr>
          <p:spPr bwMode="gray">
            <a:xfrm>
              <a:off x="843580" y="6197546"/>
              <a:ext cx="101931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rgbClr val="003063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" name="Freeform 5"/>
            <p:cNvSpPr>
              <a:spLocks noChangeAspect="1" noEditPoints="1"/>
            </p:cNvSpPr>
            <p:nvPr/>
          </p:nvSpPr>
          <p:spPr bwMode="gray">
            <a:xfrm>
              <a:off x="1129390" y="6197546"/>
              <a:ext cx="101931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rgbClr val="003063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5"/>
            <p:cNvSpPr>
              <a:spLocks noChangeAspect="1" noEditPoints="1"/>
            </p:cNvSpPr>
            <p:nvPr/>
          </p:nvSpPr>
          <p:spPr bwMode="gray">
            <a:xfrm>
              <a:off x="414862" y="6197546"/>
              <a:ext cx="101931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rgbClr val="003063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5"/>
            <p:cNvSpPr>
              <a:spLocks noChangeAspect="1" noEditPoints="1"/>
            </p:cNvSpPr>
            <p:nvPr/>
          </p:nvSpPr>
          <p:spPr bwMode="gray">
            <a:xfrm>
              <a:off x="700672" y="6197546"/>
              <a:ext cx="101931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rgbClr val="003063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5"/>
            <p:cNvSpPr>
              <a:spLocks noChangeAspect="1" noEditPoints="1"/>
            </p:cNvSpPr>
            <p:nvPr/>
          </p:nvSpPr>
          <p:spPr bwMode="gray">
            <a:xfrm>
              <a:off x="986480" y="6197546"/>
              <a:ext cx="101931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rgbClr val="003063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5"/>
            <p:cNvSpPr>
              <a:spLocks noChangeAspect="1" noEditPoints="1"/>
            </p:cNvSpPr>
            <p:nvPr/>
          </p:nvSpPr>
          <p:spPr bwMode="gray">
            <a:xfrm>
              <a:off x="1272294" y="6197546"/>
              <a:ext cx="101931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rgbClr val="003063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5"/>
            <p:cNvSpPr>
              <a:spLocks noChangeAspect="1" noEditPoints="1"/>
            </p:cNvSpPr>
            <p:nvPr/>
          </p:nvSpPr>
          <p:spPr bwMode="gray">
            <a:xfrm>
              <a:off x="271958" y="5974099"/>
              <a:ext cx="101931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rgbClr val="003063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5"/>
            <p:cNvSpPr>
              <a:spLocks noChangeAspect="1" noEditPoints="1"/>
            </p:cNvSpPr>
            <p:nvPr/>
          </p:nvSpPr>
          <p:spPr bwMode="gray">
            <a:xfrm>
              <a:off x="557769" y="5974099"/>
              <a:ext cx="101931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rgbClr val="003063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5"/>
            <p:cNvSpPr>
              <a:spLocks noChangeAspect="1" noEditPoints="1"/>
            </p:cNvSpPr>
            <p:nvPr/>
          </p:nvSpPr>
          <p:spPr bwMode="gray">
            <a:xfrm>
              <a:off x="843580" y="5974099"/>
              <a:ext cx="101931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rgbClr val="003063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5" name="Freeform 5"/>
            <p:cNvSpPr>
              <a:spLocks noChangeAspect="1" noEditPoints="1"/>
            </p:cNvSpPr>
            <p:nvPr/>
          </p:nvSpPr>
          <p:spPr bwMode="gray">
            <a:xfrm>
              <a:off x="1129390" y="5974099"/>
              <a:ext cx="101931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rgbClr val="003063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5"/>
            <p:cNvSpPr>
              <a:spLocks noChangeAspect="1" noEditPoints="1"/>
            </p:cNvSpPr>
            <p:nvPr/>
          </p:nvSpPr>
          <p:spPr bwMode="gray">
            <a:xfrm>
              <a:off x="414862" y="5974099"/>
              <a:ext cx="101931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rgbClr val="003063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5"/>
            <p:cNvSpPr>
              <a:spLocks noChangeAspect="1" noEditPoints="1"/>
            </p:cNvSpPr>
            <p:nvPr/>
          </p:nvSpPr>
          <p:spPr bwMode="gray">
            <a:xfrm>
              <a:off x="700672" y="5974099"/>
              <a:ext cx="101931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rgbClr val="003063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Freeform 5"/>
            <p:cNvSpPr>
              <a:spLocks noChangeAspect="1" noEditPoints="1"/>
            </p:cNvSpPr>
            <p:nvPr/>
          </p:nvSpPr>
          <p:spPr bwMode="gray">
            <a:xfrm>
              <a:off x="986480" y="5974099"/>
              <a:ext cx="101931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rgbClr val="003063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Freeform 5"/>
            <p:cNvSpPr>
              <a:spLocks noChangeAspect="1" noEditPoints="1"/>
            </p:cNvSpPr>
            <p:nvPr/>
          </p:nvSpPr>
          <p:spPr bwMode="gray">
            <a:xfrm>
              <a:off x="1272294" y="5974099"/>
              <a:ext cx="101931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rgbClr val="003063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31" name="Rechteckige Legende 106"/>
          <p:cNvSpPr/>
          <p:nvPr/>
        </p:nvSpPr>
        <p:spPr bwMode="gray">
          <a:xfrm>
            <a:off x="2033980" y="5955495"/>
            <a:ext cx="1628540" cy="679081"/>
          </a:xfrm>
          <a:prstGeom prst="wedgeRectCallout">
            <a:avLst>
              <a:gd name="adj1" fmla="val -59034"/>
              <a:gd name="adj2" fmla="val -4013"/>
            </a:avLst>
          </a:prstGeom>
          <a:noFill/>
          <a:ln w="6350">
            <a:solidFill>
              <a:schemeClr val="bg1"/>
            </a:solidFill>
            <a:round/>
            <a:headEnd/>
            <a:tailEnd/>
          </a:ln>
          <a:effectLst/>
        </p:spPr>
        <p:txBody>
          <a:bodyPr lIns="72000" tIns="0" rIns="72000" bIns="0" rtlCol="0" anchor="ctr"/>
          <a:lstStyle/>
          <a:p>
            <a:pPr>
              <a:lnSpc>
                <a:spcPct val="80000"/>
              </a:lnSpc>
            </a:pPr>
            <a:r>
              <a:rPr lang="de-DE" sz="1600" b="1" dirty="0">
                <a:solidFill>
                  <a:schemeClr val="bg1"/>
                </a:solidFill>
              </a:rPr>
              <a:t>8</a:t>
            </a:r>
            <a:r>
              <a:rPr lang="de-DE" sz="1600" dirty="0">
                <a:solidFill>
                  <a:schemeClr val="bg1"/>
                </a:solidFill>
              </a:rPr>
              <a:t> </a:t>
            </a:r>
            <a:r>
              <a:rPr lang="de-DE" sz="1200" dirty="0">
                <a:solidFill>
                  <a:schemeClr val="bg1"/>
                </a:solidFill>
              </a:rPr>
              <a:t>departamentos</a:t>
            </a:r>
          </a:p>
          <a:p>
            <a:pPr>
              <a:lnSpc>
                <a:spcPct val="80000"/>
              </a:lnSpc>
            </a:pPr>
            <a:r>
              <a:rPr lang="de-DE" sz="1600" b="1" dirty="0">
                <a:solidFill>
                  <a:schemeClr val="bg1"/>
                </a:solidFill>
              </a:rPr>
              <a:t>268 </a:t>
            </a:r>
            <a:r>
              <a:rPr lang="de-DE" sz="1200" dirty="0">
                <a:solidFill>
                  <a:schemeClr val="bg1"/>
                </a:solidFill>
              </a:rPr>
              <a:t>colaboradores </a:t>
            </a:r>
          </a:p>
          <a:p>
            <a:pPr>
              <a:lnSpc>
                <a:spcPct val="80000"/>
              </a:lnSpc>
            </a:pPr>
            <a:r>
              <a:rPr lang="de-DE" sz="1600" b="1" dirty="0">
                <a:solidFill>
                  <a:schemeClr val="bg1"/>
                </a:solidFill>
              </a:rPr>
              <a:t>25</a:t>
            </a:r>
            <a:r>
              <a:rPr lang="de-DE" sz="1200" dirty="0">
                <a:solidFill>
                  <a:schemeClr val="bg1"/>
                </a:solidFill>
              </a:rPr>
              <a:t> outsourcing</a:t>
            </a:r>
          </a:p>
        </p:txBody>
      </p:sp>
      <p:sp>
        <p:nvSpPr>
          <p:cNvPr id="28" name="Rechteck 92"/>
          <p:cNvSpPr/>
          <p:nvPr/>
        </p:nvSpPr>
        <p:spPr bwMode="gray">
          <a:xfrm>
            <a:off x="0" y="1891823"/>
            <a:ext cx="4153573" cy="564805"/>
          </a:xfrm>
          <a:prstGeom prst="rect">
            <a:avLst/>
          </a:prstGeom>
        </p:spPr>
        <p:txBody>
          <a:bodyPr wrap="square" lIns="72000" tIns="0" rIns="180000" bIns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en-US" sz="1200" i="1" noProof="1"/>
              <a:t>Se llevó a cabo un análisis de situación actual del CSC de Aeroméxico para su catálogo de servicios, modelo de costeo, </a:t>
            </a:r>
            <a:r>
              <a:rPr lang="es-MX" sz="1200" i="1" dirty="0"/>
              <a:t>Acuerdos de Nivel de Servicios </a:t>
            </a:r>
            <a:r>
              <a:rPr lang="es-MX" sz="1200" dirty="0"/>
              <a:t>(</a:t>
            </a:r>
            <a:r>
              <a:rPr lang="es-MX" sz="1200" i="1" dirty="0" err="1"/>
              <a:t>SLAs</a:t>
            </a:r>
            <a:r>
              <a:rPr lang="es-MX" sz="1200" i="1" dirty="0"/>
              <a:t>)</a:t>
            </a:r>
            <a:r>
              <a:rPr lang="en-US" sz="1200" i="1" dirty="0"/>
              <a:t> </a:t>
            </a:r>
            <a:r>
              <a:rPr lang="en-US" sz="1200" i="1" noProof="1"/>
              <a:t>y KPIs</a:t>
            </a:r>
            <a:endParaRPr lang="en-US" sz="1200" i="1" dirty="0"/>
          </a:p>
        </p:txBody>
      </p:sp>
      <p:sp>
        <p:nvSpPr>
          <p:cNvPr id="150" name="Rectangle 149"/>
          <p:cNvSpPr/>
          <p:nvPr/>
        </p:nvSpPr>
        <p:spPr>
          <a:xfrm>
            <a:off x="5168" y="171463"/>
            <a:ext cx="4161703" cy="9692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pic>
        <p:nvPicPr>
          <p:cNvPr id="149" name="Picture 2" descr="Resultado de imagen para centro de servicios aeromexic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64" r="1200" b="10975"/>
          <a:stretch/>
        </p:blipFill>
        <p:spPr bwMode="auto">
          <a:xfrm>
            <a:off x="1305450" y="296383"/>
            <a:ext cx="1542672" cy="85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84" name="Group 383"/>
          <p:cNvGrpSpPr/>
          <p:nvPr/>
        </p:nvGrpSpPr>
        <p:grpSpPr>
          <a:xfrm>
            <a:off x="-23810" y="3465513"/>
            <a:ext cx="4208986" cy="2222217"/>
            <a:chOff x="-23810" y="3984665"/>
            <a:chExt cx="4208986" cy="2222217"/>
          </a:xfrm>
        </p:grpSpPr>
        <p:grpSp>
          <p:nvGrpSpPr>
            <p:cNvPr id="154" name="Group 153"/>
            <p:cNvGrpSpPr/>
            <p:nvPr/>
          </p:nvGrpSpPr>
          <p:grpSpPr>
            <a:xfrm>
              <a:off x="209192" y="4107087"/>
              <a:ext cx="3975984" cy="2099795"/>
              <a:chOff x="5020669" y="4720609"/>
              <a:chExt cx="2830245" cy="1528045"/>
            </a:xfrm>
          </p:grpSpPr>
          <p:grpSp>
            <p:nvGrpSpPr>
              <p:cNvPr id="165" name="Group 164"/>
              <p:cNvGrpSpPr/>
              <p:nvPr/>
            </p:nvGrpSpPr>
            <p:grpSpPr>
              <a:xfrm>
                <a:off x="6560735" y="4760070"/>
                <a:ext cx="1290179" cy="513001"/>
                <a:chOff x="8321203" y="4785386"/>
                <a:chExt cx="1786995" cy="739895"/>
              </a:xfrm>
            </p:grpSpPr>
            <p:sp>
              <p:nvSpPr>
                <p:cNvPr id="380" name="Freeform 94"/>
                <p:cNvSpPr>
                  <a:spLocks noEditPoints="1"/>
                </p:cNvSpPr>
                <p:nvPr/>
              </p:nvSpPr>
              <p:spPr bwMode="auto">
                <a:xfrm>
                  <a:off x="8715413" y="4785386"/>
                  <a:ext cx="1392785" cy="723361"/>
                </a:xfrm>
                <a:custGeom>
                  <a:avLst/>
                  <a:gdLst>
                    <a:gd name="T0" fmla="*/ 1005 w 1067"/>
                    <a:gd name="T1" fmla="*/ 202 h 525"/>
                    <a:gd name="T2" fmla="*/ 1041 w 1067"/>
                    <a:gd name="T3" fmla="*/ 221 h 525"/>
                    <a:gd name="T4" fmla="*/ 687 w 1067"/>
                    <a:gd name="T5" fmla="*/ 390 h 525"/>
                    <a:gd name="T6" fmla="*/ 80 w 1067"/>
                    <a:gd name="T7" fmla="*/ 284 h 525"/>
                    <a:gd name="T8" fmla="*/ 65 w 1067"/>
                    <a:gd name="T9" fmla="*/ 269 h 525"/>
                    <a:gd name="T10" fmla="*/ 70 w 1067"/>
                    <a:gd name="T11" fmla="*/ 262 h 525"/>
                    <a:gd name="T12" fmla="*/ 69 w 1067"/>
                    <a:gd name="T13" fmla="*/ 258 h 525"/>
                    <a:gd name="T14" fmla="*/ 65 w 1067"/>
                    <a:gd name="T15" fmla="*/ 252 h 525"/>
                    <a:gd name="T16" fmla="*/ 61 w 1067"/>
                    <a:gd name="T17" fmla="*/ 244 h 525"/>
                    <a:gd name="T18" fmla="*/ 64 w 1067"/>
                    <a:gd name="T19" fmla="*/ 232 h 525"/>
                    <a:gd name="T20" fmla="*/ 92 w 1067"/>
                    <a:gd name="T21" fmla="*/ 223 h 525"/>
                    <a:gd name="T22" fmla="*/ 206 w 1067"/>
                    <a:gd name="T23" fmla="*/ 172 h 525"/>
                    <a:gd name="T24" fmla="*/ 634 w 1067"/>
                    <a:gd name="T25" fmla="*/ 159 h 525"/>
                    <a:gd name="T26" fmla="*/ 404 w 1067"/>
                    <a:gd name="T27" fmla="*/ 78 h 525"/>
                    <a:gd name="T28" fmla="*/ 420 w 1067"/>
                    <a:gd name="T29" fmla="*/ 107 h 525"/>
                    <a:gd name="T30" fmla="*/ 342 w 1067"/>
                    <a:gd name="T31" fmla="*/ 152 h 525"/>
                    <a:gd name="T32" fmla="*/ 344 w 1067"/>
                    <a:gd name="T33" fmla="*/ 158 h 525"/>
                    <a:gd name="T34" fmla="*/ 418 w 1067"/>
                    <a:gd name="T35" fmla="*/ 126 h 525"/>
                    <a:gd name="T36" fmla="*/ 501 w 1067"/>
                    <a:gd name="T37" fmla="*/ 131 h 525"/>
                    <a:gd name="T38" fmla="*/ 543 w 1067"/>
                    <a:gd name="T39" fmla="*/ 178 h 525"/>
                    <a:gd name="T40" fmla="*/ 532 w 1067"/>
                    <a:gd name="T41" fmla="*/ 259 h 525"/>
                    <a:gd name="T42" fmla="*/ 530 w 1067"/>
                    <a:gd name="T43" fmla="*/ 212 h 525"/>
                    <a:gd name="T44" fmla="*/ 564 w 1067"/>
                    <a:gd name="T45" fmla="*/ 160 h 525"/>
                    <a:gd name="T46" fmla="*/ 624 w 1067"/>
                    <a:gd name="T47" fmla="*/ 157 h 525"/>
                    <a:gd name="T48" fmla="*/ 635 w 1067"/>
                    <a:gd name="T49" fmla="*/ 163 h 525"/>
                    <a:gd name="T50" fmla="*/ 673 w 1067"/>
                    <a:gd name="T51" fmla="*/ 138 h 525"/>
                    <a:gd name="T52" fmla="*/ 735 w 1067"/>
                    <a:gd name="T53" fmla="*/ 152 h 525"/>
                    <a:gd name="T54" fmla="*/ 699 w 1067"/>
                    <a:gd name="T55" fmla="*/ 205 h 525"/>
                    <a:gd name="T56" fmla="*/ 716 w 1067"/>
                    <a:gd name="T57" fmla="*/ 200 h 525"/>
                    <a:gd name="T58" fmla="*/ 810 w 1067"/>
                    <a:gd name="T59" fmla="*/ 168 h 525"/>
                    <a:gd name="T60" fmla="*/ 815 w 1067"/>
                    <a:gd name="T61" fmla="*/ 200 h 525"/>
                    <a:gd name="T62" fmla="*/ 939 w 1067"/>
                    <a:gd name="T63" fmla="*/ 179 h 525"/>
                    <a:gd name="T64" fmla="*/ 975 w 1067"/>
                    <a:gd name="T65" fmla="*/ 259 h 525"/>
                    <a:gd name="T66" fmla="*/ 858 w 1067"/>
                    <a:gd name="T67" fmla="*/ 313 h 525"/>
                    <a:gd name="T68" fmla="*/ 813 w 1067"/>
                    <a:gd name="T69" fmla="*/ 404 h 525"/>
                    <a:gd name="T70" fmla="*/ 869 w 1067"/>
                    <a:gd name="T71" fmla="*/ 282 h 525"/>
                    <a:gd name="T72" fmla="*/ 787 w 1067"/>
                    <a:gd name="T73" fmla="*/ 323 h 525"/>
                    <a:gd name="T74" fmla="*/ 627 w 1067"/>
                    <a:gd name="T75" fmla="*/ 379 h 525"/>
                    <a:gd name="T76" fmla="*/ 671 w 1067"/>
                    <a:gd name="T77" fmla="*/ 416 h 525"/>
                    <a:gd name="T78" fmla="*/ 591 w 1067"/>
                    <a:gd name="T79" fmla="*/ 520 h 525"/>
                    <a:gd name="T80" fmla="*/ 505 w 1067"/>
                    <a:gd name="T81" fmla="*/ 417 h 525"/>
                    <a:gd name="T82" fmla="*/ 260 w 1067"/>
                    <a:gd name="T83" fmla="*/ 438 h 525"/>
                    <a:gd name="T84" fmla="*/ 36 w 1067"/>
                    <a:gd name="T85" fmla="*/ 401 h 525"/>
                    <a:gd name="T86" fmla="*/ 59 w 1067"/>
                    <a:gd name="T87" fmla="*/ 221 h 525"/>
                    <a:gd name="T88" fmla="*/ 92 w 1067"/>
                    <a:gd name="T89" fmla="*/ 174 h 525"/>
                    <a:gd name="T90" fmla="*/ 121 w 1067"/>
                    <a:gd name="T91" fmla="*/ 158 h 525"/>
                    <a:gd name="T92" fmla="*/ 63 w 1067"/>
                    <a:gd name="T93" fmla="*/ 236 h 525"/>
                    <a:gd name="T94" fmla="*/ 57 w 1067"/>
                    <a:gd name="T95" fmla="*/ 271 h 525"/>
                    <a:gd name="T96" fmla="*/ 80 w 1067"/>
                    <a:gd name="T97" fmla="*/ 286 h 525"/>
                    <a:gd name="T98" fmla="*/ 70 w 1067"/>
                    <a:gd name="T99" fmla="*/ 246 h 525"/>
                    <a:gd name="T100" fmla="*/ 121 w 1067"/>
                    <a:gd name="T101" fmla="*/ 231 h 525"/>
                    <a:gd name="T102" fmla="*/ 168 w 1067"/>
                    <a:gd name="T103" fmla="*/ 239 h 525"/>
                    <a:gd name="T104" fmla="*/ 169 w 1067"/>
                    <a:gd name="T105" fmla="*/ 208 h 525"/>
                    <a:gd name="T106" fmla="*/ 159 w 1067"/>
                    <a:gd name="T107" fmla="*/ 164 h 525"/>
                    <a:gd name="T108" fmla="*/ 200 w 1067"/>
                    <a:gd name="T109" fmla="*/ 175 h 525"/>
                    <a:gd name="T110" fmla="*/ 192 w 1067"/>
                    <a:gd name="T111" fmla="*/ 141 h 525"/>
                    <a:gd name="T112" fmla="*/ 265 w 1067"/>
                    <a:gd name="T113" fmla="*/ 148 h 525"/>
                    <a:gd name="T114" fmla="*/ 239 w 1067"/>
                    <a:gd name="T115" fmla="*/ 106 h 525"/>
                    <a:gd name="T116" fmla="*/ 334 w 1067"/>
                    <a:gd name="T117" fmla="*/ 96 h 525"/>
                    <a:gd name="T118" fmla="*/ 402 w 1067"/>
                    <a:gd name="T119" fmla="*/ 100 h 525"/>
                    <a:gd name="T120" fmla="*/ 359 w 1067"/>
                    <a:gd name="T121" fmla="*/ 66 h 525"/>
                    <a:gd name="T122" fmla="*/ 932 w 1067"/>
                    <a:gd name="T123" fmla="*/ 239 h 525"/>
                    <a:gd name="T124" fmla="*/ 295 w 1067"/>
                    <a:gd name="T125" fmla="*/ 29 h 5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067" h="525">
                      <a:moveTo>
                        <a:pt x="1067" y="232"/>
                      </a:moveTo>
                      <a:lnTo>
                        <a:pt x="1066" y="232"/>
                      </a:lnTo>
                      <a:lnTo>
                        <a:pt x="1066" y="232"/>
                      </a:lnTo>
                      <a:lnTo>
                        <a:pt x="1065" y="232"/>
                      </a:lnTo>
                      <a:lnTo>
                        <a:pt x="1065" y="233"/>
                      </a:lnTo>
                      <a:lnTo>
                        <a:pt x="1065" y="232"/>
                      </a:lnTo>
                      <a:lnTo>
                        <a:pt x="1065" y="233"/>
                      </a:lnTo>
                      <a:lnTo>
                        <a:pt x="1065" y="233"/>
                      </a:lnTo>
                      <a:lnTo>
                        <a:pt x="1065" y="233"/>
                      </a:lnTo>
                      <a:lnTo>
                        <a:pt x="1064" y="233"/>
                      </a:lnTo>
                      <a:lnTo>
                        <a:pt x="1063" y="233"/>
                      </a:lnTo>
                      <a:lnTo>
                        <a:pt x="1063" y="234"/>
                      </a:lnTo>
                      <a:lnTo>
                        <a:pt x="1063" y="234"/>
                      </a:lnTo>
                      <a:lnTo>
                        <a:pt x="1063" y="234"/>
                      </a:lnTo>
                      <a:lnTo>
                        <a:pt x="1062" y="234"/>
                      </a:lnTo>
                      <a:lnTo>
                        <a:pt x="1062" y="234"/>
                      </a:lnTo>
                      <a:lnTo>
                        <a:pt x="1062" y="235"/>
                      </a:lnTo>
                      <a:lnTo>
                        <a:pt x="1062" y="234"/>
                      </a:lnTo>
                      <a:lnTo>
                        <a:pt x="1063" y="234"/>
                      </a:lnTo>
                      <a:lnTo>
                        <a:pt x="1063" y="235"/>
                      </a:lnTo>
                      <a:lnTo>
                        <a:pt x="1063" y="236"/>
                      </a:lnTo>
                      <a:lnTo>
                        <a:pt x="1062" y="236"/>
                      </a:lnTo>
                      <a:lnTo>
                        <a:pt x="1062" y="236"/>
                      </a:lnTo>
                      <a:lnTo>
                        <a:pt x="1063" y="236"/>
                      </a:lnTo>
                      <a:lnTo>
                        <a:pt x="1062" y="236"/>
                      </a:lnTo>
                      <a:lnTo>
                        <a:pt x="1062" y="237"/>
                      </a:lnTo>
                      <a:lnTo>
                        <a:pt x="1063" y="237"/>
                      </a:lnTo>
                      <a:lnTo>
                        <a:pt x="1062" y="237"/>
                      </a:lnTo>
                      <a:lnTo>
                        <a:pt x="1063" y="237"/>
                      </a:lnTo>
                      <a:lnTo>
                        <a:pt x="1063" y="237"/>
                      </a:lnTo>
                      <a:lnTo>
                        <a:pt x="1062" y="237"/>
                      </a:lnTo>
                      <a:lnTo>
                        <a:pt x="1063" y="237"/>
                      </a:lnTo>
                      <a:lnTo>
                        <a:pt x="1062" y="237"/>
                      </a:lnTo>
                      <a:lnTo>
                        <a:pt x="1062" y="238"/>
                      </a:lnTo>
                      <a:lnTo>
                        <a:pt x="1062" y="238"/>
                      </a:lnTo>
                      <a:lnTo>
                        <a:pt x="1061" y="238"/>
                      </a:lnTo>
                      <a:lnTo>
                        <a:pt x="1060" y="238"/>
                      </a:lnTo>
                      <a:lnTo>
                        <a:pt x="1060" y="238"/>
                      </a:lnTo>
                      <a:lnTo>
                        <a:pt x="1060" y="237"/>
                      </a:lnTo>
                      <a:lnTo>
                        <a:pt x="1060" y="238"/>
                      </a:lnTo>
                      <a:lnTo>
                        <a:pt x="1060" y="237"/>
                      </a:lnTo>
                      <a:lnTo>
                        <a:pt x="1059" y="237"/>
                      </a:lnTo>
                      <a:lnTo>
                        <a:pt x="1059" y="237"/>
                      </a:lnTo>
                      <a:lnTo>
                        <a:pt x="1059" y="237"/>
                      </a:lnTo>
                      <a:lnTo>
                        <a:pt x="1058" y="237"/>
                      </a:lnTo>
                      <a:lnTo>
                        <a:pt x="1058" y="237"/>
                      </a:lnTo>
                      <a:lnTo>
                        <a:pt x="1057" y="237"/>
                      </a:lnTo>
                      <a:lnTo>
                        <a:pt x="1057" y="236"/>
                      </a:lnTo>
                      <a:lnTo>
                        <a:pt x="1057" y="236"/>
                      </a:lnTo>
                      <a:lnTo>
                        <a:pt x="1056" y="236"/>
                      </a:lnTo>
                      <a:lnTo>
                        <a:pt x="1056" y="236"/>
                      </a:lnTo>
                      <a:lnTo>
                        <a:pt x="1056" y="235"/>
                      </a:lnTo>
                      <a:lnTo>
                        <a:pt x="1055" y="235"/>
                      </a:lnTo>
                      <a:lnTo>
                        <a:pt x="1055" y="235"/>
                      </a:lnTo>
                      <a:lnTo>
                        <a:pt x="1055" y="234"/>
                      </a:lnTo>
                      <a:lnTo>
                        <a:pt x="1055" y="235"/>
                      </a:lnTo>
                      <a:lnTo>
                        <a:pt x="1055" y="235"/>
                      </a:lnTo>
                      <a:lnTo>
                        <a:pt x="1055" y="236"/>
                      </a:lnTo>
                      <a:lnTo>
                        <a:pt x="1056" y="236"/>
                      </a:lnTo>
                      <a:lnTo>
                        <a:pt x="1056" y="236"/>
                      </a:lnTo>
                      <a:lnTo>
                        <a:pt x="1056" y="236"/>
                      </a:lnTo>
                      <a:lnTo>
                        <a:pt x="1056" y="237"/>
                      </a:lnTo>
                      <a:lnTo>
                        <a:pt x="1056" y="237"/>
                      </a:lnTo>
                      <a:lnTo>
                        <a:pt x="1056" y="237"/>
                      </a:lnTo>
                      <a:lnTo>
                        <a:pt x="1057" y="237"/>
                      </a:lnTo>
                      <a:lnTo>
                        <a:pt x="1058" y="237"/>
                      </a:lnTo>
                      <a:lnTo>
                        <a:pt x="1058" y="237"/>
                      </a:lnTo>
                      <a:lnTo>
                        <a:pt x="1058" y="238"/>
                      </a:lnTo>
                      <a:lnTo>
                        <a:pt x="1059" y="238"/>
                      </a:lnTo>
                      <a:lnTo>
                        <a:pt x="1059" y="238"/>
                      </a:lnTo>
                      <a:lnTo>
                        <a:pt x="1059" y="239"/>
                      </a:lnTo>
                      <a:lnTo>
                        <a:pt x="1059" y="240"/>
                      </a:lnTo>
                      <a:lnTo>
                        <a:pt x="1058" y="240"/>
                      </a:lnTo>
                      <a:lnTo>
                        <a:pt x="1058" y="240"/>
                      </a:lnTo>
                      <a:lnTo>
                        <a:pt x="1057" y="240"/>
                      </a:lnTo>
                      <a:lnTo>
                        <a:pt x="1057" y="239"/>
                      </a:lnTo>
                      <a:lnTo>
                        <a:pt x="1056" y="239"/>
                      </a:lnTo>
                      <a:lnTo>
                        <a:pt x="1057" y="239"/>
                      </a:lnTo>
                      <a:lnTo>
                        <a:pt x="1056" y="239"/>
                      </a:lnTo>
                      <a:lnTo>
                        <a:pt x="1056" y="239"/>
                      </a:lnTo>
                      <a:lnTo>
                        <a:pt x="1055" y="239"/>
                      </a:lnTo>
                      <a:lnTo>
                        <a:pt x="1055" y="239"/>
                      </a:lnTo>
                      <a:lnTo>
                        <a:pt x="1054" y="239"/>
                      </a:lnTo>
                      <a:lnTo>
                        <a:pt x="1054" y="239"/>
                      </a:lnTo>
                      <a:lnTo>
                        <a:pt x="1053" y="239"/>
                      </a:lnTo>
                      <a:lnTo>
                        <a:pt x="1054" y="239"/>
                      </a:lnTo>
                      <a:lnTo>
                        <a:pt x="1053" y="239"/>
                      </a:lnTo>
                      <a:lnTo>
                        <a:pt x="1052" y="240"/>
                      </a:lnTo>
                      <a:lnTo>
                        <a:pt x="1051" y="240"/>
                      </a:lnTo>
                      <a:lnTo>
                        <a:pt x="1051" y="240"/>
                      </a:lnTo>
                      <a:lnTo>
                        <a:pt x="1050" y="240"/>
                      </a:lnTo>
                      <a:lnTo>
                        <a:pt x="1051" y="240"/>
                      </a:lnTo>
                      <a:lnTo>
                        <a:pt x="1051" y="240"/>
                      </a:lnTo>
                      <a:lnTo>
                        <a:pt x="1052" y="240"/>
                      </a:lnTo>
                      <a:lnTo>
                        <a:pt x="1052" y="240"/>
                      </a:lnTo>
                      <a:lnTo>
                        <a:pt x="1052" y="239"/>
                      </a:lnTo>
                      <a:lnTo>
                        <a:pt x="1052" y="239"/>
                      </a:lnTo>
                      <a:lnTo>
                        <a:pt x="1051" y="239"/>
                      </a:lnTo>
                      <a:lnTo>
                        <a:pt x="1051" y="239"/>
                      </a:lnTo>
                      <a:lnTo>
                        <a:pt x="1051" y="238"/>
                      </a:lnTo>
                      <a:lnTo>
                        <a:pt x="1050" y="238"/>
                      </a:lnTo>
                      <a:lnTo>
                        <a:pt x="1049" y="238"/>
                      </a:lnTo>
                      <a:lnTo>
                        <a:pt x="1049" y="239"/>
                      </a:lnTo>
                      <a:lnTo>
                        <a:pt x="1049" y="239"/>
                      </a:lnTo>
                      <a:lnTo>
                        <a:pt x="1049" y="238"/>
                      </a:lnTo>
                      <a:lnTo>
                        <a:pt x="1048" y="238"/>
                      </a:lnTo>
                      <a:lnTo>
                        <a:pt x="1049" y="238"/>
                      </a:lnTo>
                      <a:lnTo>
                        <a:pt x="1049" y="238"/>
                      </a:lnTo>
                      <a:lnTo>
                        <a:pt x="1048" y="238"/>
                      </a:lnTo>
                      <a:lnTo>
                        <a:pt x="1048" y="238"/>
                      </a:lnTo>
                      <a:lnTo>
                        <a:pt x="1048" y="237"/>
                      </a:lnTo>
                      <a:lnTo>
                        <a:pt x="1048" y="237"/>
                      </a:lnTo>
                      <a:lnTo>
                        <a:pt x="1048" y="237"/>
                      </a:lnTo>
                      <a:lnTo>
                        <a:pt x="1048" y="237"/>
                      </a:lnTo>
                      <a:lnTo>
                        <a:pt x="1048" y="237"/>
                      </a:lnTo>
                      <a:lnTo>
                        <a:pt x="1048" y="237"/>
                      </a:lnTo>
                      <a:lnTo>
                        <a:pt x="1048" y="237"/>
                      </a:lnTo>
                      <a:lnTo>
                        <a:pt x="1047" y="237"/>
                      </a:lnTo>
                      <a:lnTo>
                        <a:pt x="1047" y="237"/>
                      </a:lnTo>
                      <a:lnTo>
                        <a:pt x="1046" y="237"/>
                      </a:lnTo>
                      <a:lnTo>
                        <a:pt x="1045" y="237"/>
                      </a:lnTo>
                      <a:lnTo>
                        <a:pt x="1045" y="237"/>
                      </a:lnTo>
                      <a:lnTo>
                        <a:pt x="1044" y="237"/>
                      </a:lnTo>
                      <a:lnTo>
                        <a:pt x="1044" y="237"/>
                      </a:lnTo>
                      <a:lnTo>
                        <a:pt x="1044" y="237"/>
                      </a:lnTo>
                      <a:lnTo>
                        <a:pt x="1044" y="237"/>
                      </a:lnTo>
                      <a:lnTo>
                        <a:pt x="1044" y="237"/>
                      </a:lnTo>
                      <a:lnTo>
                        <a:pt x="1044" y="237"/>
                      </a:lnTo>
                      <a:lnTo>
                        <a:pt x="1045" y="237"/>
                      </a:lnTo>
                      <a:lnTo>
                        <a:pt x="1045" y="237"/>
                      </a:lnTo>
                      <a:lnTo>
                        <a:pt x="1045" y="237"/>
                      </a:lnTo>
                      <a:lnTo>
                        <a:pt x="1045" y="237"/>
                      </a:lnTo>
                      <a:lnTo>
                        <a:pt x="1045" y="238"/>
                      </a:lnTo>
                      <a:lnTo>
                        <a:pt x="1046" y="238"/>
                      </a:lnTo>
                      <a:lnTo>
                        <a:pt x="1047" y="238"/>
                      </a:lnTo>
                      <a:lnTo>
                        <a:pt x="1047" y="238"/>
                      </a:lnTo>
                      <a:lnTo>
                        <a:pt x="1047" y="238"/>
                      </a:lnTo>
                      <a:lnTo>
                        <a:pt x="1048" y="238"/>
                      </a:lnTo>
                      <a:lnTo>
                        <a:pt x="1047" y="238"/>
                      </a:lnTo>
                      <a:lnTo>
                        <a:pt x="1047" y="239"/>
                      </a:lnTo>
                      <a:lnTo>
                        <a:pt x="1048" y="239"/>
                      </a:lnTo>
                      <a:lnTo>
                        <a:pt x="1048" y="240"/>
                      </a:lnTo>
                      <a:lnTo>
                        <a:pt x="1048" y="240"/>
                      </a:lnTo>
                      <a:lnTo>
                        <a:pt x="1048" y="240"/>
                      </a:lnTo>
                      <a:lnTo>
                        <a:pt x="1047" y="240"/>
                      </a:lnTo>
                      <a:lnTo>
                        <a:pt x="1047" y="240"/>
                      </a:lnTo>
                      <a:lnTo>
                        <a:pt x="1047" y="240"/>
                      </a:lnTo>
                      <a:lnTo>
                        <a:pt x="1047" y="240"/>
                      </a:lnTo>
                      <a:lnTo>
                        <a:pt x="1047" y="240"/>
                      </a:lnTo>
                      <a:lnTo>
                        <a:pt x="1047" y="240"/>
                      </a:lnTo>
                      <a:lnTo>
                        <a:pt x="1048" y="240"/>
                      </a:lnTo>
                      <a:lnTo>
                        <a:pt x="1048" y="240"/>
                      </a:lnTo>
                      <a:lnTo>
                        <a:pt x="1049" y="240"/>
                      </a:lnTo>
                      <a:lnTo>
                        <a:pt x="1049" y="240"/>
                      </a:lnTo>
                      <a:lnTo>
                        <a:pt x="1049" y="240"/>
                      </a:lnTo>
                      <a:lnTo>
                        <a:pt x="1050" y="240"/>
                      </a:lnTo>
                      <a:lnTo>
                        <a:pt x="1049" y="240"/>
                      </a:lnTo>
                      <a:lnTo>
                        <a:pt x="1049" y="240"/>
                      </a:lnTo>
                      <a:lnTo>
                        <a:pt x="1049" y="241"/>
                      </a:lnTo>
                      <a:lnTo>
                        <a:pt x="1049" y="241"/>
                      </a:lnTo>
                      <a:lnTo>
                        <a:pt x="1049" y="242"/>
                      </a:lnTo>
                      <a:lnTo>
                        <a:pt x="1049" y="243"/>
                      </a:lnTo>
                      <a:lnTo>
                        <a:pt x="1049" y="243"/>
                      </a:lnTo>
                      <a:lnTo>
                        <a:pt x="1048" y="243"/>
                      </a:lnTo>
                      <a:lnTo>
                        <a:pt x="1049" y="243"/>
                      </a:lnTo>
                      <a:lnTo>
                        <a:pt x="1049" y="243"/>
                      </a:lnTo>
                      <a:lnTo>
                        <a:pt x="1049" y="243"/>
                      </a:lnTo>
                      <a:lnTo>
                        <a:pt x="1049" y="243"/>
                      </a:lnTo>
                      <a:lnTo>
                        <a:pt x="1048" y="243"/>
                      </a:lnTo>
                      <a:lnTo>
                        <a:pt x="1048" y="243"/>
                      </a:lnTo>
                      <a:lnTo>
                        <a:pt x="1047" y="243"/>
                      </a:lnTo>
                      <a:lnTo>
                        <a:pt x="1047" y="243"/>
                      </a:lnTo>
                      <a:lnTo>
                        <a:pt x="1047" y="243"/>
                      </a:lnTo>
                      <a:lnTo>
                        <a:pt x="1046" y="243"/>
                      </a:lnTo>
                      <a:lnTo>
                        <a:pt x="1046" y="243"/>
                      </a:lnTo>
                      <a:lnTo>
                        <a:pt x="1045" y="243"/>
                      </a:lnTo>
                      <a:lnTo>
                        <a:pt x="1045" y="243"/>
                      </a:lnTo>
                      <a:lnTo>
                        <a:pt x="1045" y="243"/>
                      </a:lnTo>
                      <a:lnTo>
                        <a:pt x="1045" y="244"/>
                      </a:lnTo>
                      <a:lnTo>
                        <a:pt x="1045" y="243"/>
                      </a:lnTo>
                      <a:lnTo>
                        <a:pt x="1045" y="244"/>
                      </a:lnTo>
                      <a:lnTo>
                        <a:pt x="1045" y="243"/>
                      </a:lnTo>
                      <a:lnTo>
                        <a:pt x="1045" y="244"/>
                      </a:lnTo>
                      <a:lnTo>
                        <a:pt x="1045" y="243"/>
                      </a:lnTo>
                      <a:lnTo>
                        <a:pt x="1045" y="243"/>
                      </a:lnTo>
                      <a:lnTo>
                        <a:pt x="1046" y="244"/>
                      </a:lnTo>
                      <a:lnTo>
                        <a:pt x="1046" y="243"/>
                      </a:lnTo>
                      <a:lnTo>
                        <a:pt x="1046" y="244"/>
                      </a:lnTo>
                      <a:lnTo>
                        <a:pt x="1047" y="243"/>
                      </a:lnTo>
                      <a:lnTo>
                        <a:pt x="1047" y="243"/>
                      </a:lnTo>
                      <a:lnTo>
                        <a:pt x="1048" y="243"/>
                      </a:lnTo>
                      <a:lnTo>
                        <a:pt x="1048" y="243"/>
                      </a:lnTo>
                      <a:lnTo>
                        <a:pt x="1049" y="243"/>
                      </a:lnTo>
                      <a:lnTo>
                        <a:pt x="1048" y="243"/>
                      </a:lnTo>
                      <a:lnTo>
                        <a:pt x="1049" y="243"/>
                      </a:lnTo>
                      <a:lnTo>
                        <a:pt x="1048" y="243"/>
                      </a:lnTo>
                      <a:lnTo>
                        <a:pt x="1049" y="244"/>
                      </a:lnTo>
                      <a:lnTo>
                        <a:pt x="1049" y="243"/>
                      </a:lnTo>
                      <a:lnTo>
                        <a:pt x="1049" y="244"/>
                      </a:lnTo>
                      <a:lnTo>
                        <a:pt x="1049" y="244"/>
                      </a:lnTo>
                      <a:lnTo>
                        <a:pt x="1049" y="244"/>
                      </a:lnTo>
                      <a:lnTo>
                        <a:pt x="1049" y="245"/>
                      </a:lnTo>
                      <a:lnTo>
                        <a:pt x="1050" y="245"/>
                      </a:lnTo>
                      <a:lnTo>
                        <a:pt x="1049" y="245"/>
                      </a:lnTo>
                      <a:lnTo>
                        <a:pt x="1049" y="246"/>
                      </a:lnTo>
                      <a:lnTo>
                        <a:pt x="1048" y="247"/>
                      </a:lnTo>
                      <a:lnTo>
                        <a:pt x="1048" y="247"/>
                      </a:lnTo>
                      <a:lnTo>
                        <a:pt x="1048" y="247"/>
                      </a:lnTo>
                      <a:lnTo>
                        <a:pt x="1047" y="247"/>
                      </a:lnTo>
                      <a:lnTo>
                        <a:pt x="1047" y="247"/>
                      </a:lnTo>
                      <a:lnTo>
                        <a:pt x="1047" y="248"/>
                      </a:lnTo>
                      <a:lnTo>
                        <a:pt x="1046" y="248"/>
                      </a:lnTo>
                      <a:lnTo>
                        <a:pt x="1045" y="248"/>
                      </a:lnTo>
                      <a:lnTo>
                        <a:pt x="1046" y="248"/>
                      </a:lnTo>
                      <a:lnTo>
                        <a:pt x="1047" y="248"/>
                      </a:lnTo>
                      <a:lnTo>
                        <a:pt x="1047" y="247"/>
                      </a:lnTo>
                      <a:lnTo>
                        <a:pt x="1046" y="247"/>
                      </a:lnTo>
                      <a:lnTo>
                        <a:pt x="1046" y="248"/>
                      </a:lnTo>
                      <a:lnTo>
                        <a:pt x="1045" y="248"/>
                      </a:lnTo>
                      <a:lnTo>
                        <a:pt x="1045" y="248"/>
                      </a:lnTo>
                      <a:lnTo>
                        <a:pt x="1045" y="248"/>
                      </a:lnTo>
                      <a:lnTo>
                        <a:pt x="1044" y="248"/>
                      </a:lnTo>
                      <a:lnTo>
                        <a:pt x="1044" y="248"/>
                      </a:lnTo>
                      <a:lnTo>
                        <a:pt x="1043" y="248"/>
                      </a:lnTo>
                      <a:lnTo>
                        <a:pt x="1043" y="248"/>
                      </a:lnTo>
                      <a:lnTo>
                        <a:pt x="1042" y="248"/>
                      </a:lnTo>
                      <a:lnTo>
                        <a:pt x="1042" y="249"/>
                      </a:lnTo>
                      <a:lnTo>
                        <a:pt x="1041" y="249"/>
                      </a:lnTo>
                      <a:lnTo>
                        <a:pt x="1041" y="249"/>
                      </a:lnTo>
                      <a:lnTo>
                        <a:pt x="1041" y="249"/>
                      </a:lnTo>
                      <a:lnTo>
                        <a:pt x="1042" y="249"/>
                      </a:lnTo>
                      <a:lnTo>
                        <a:pt x="1042" y="249"/>
                      </a:lnTo>
                      <a:lnTo>
                        <a:pt x="1043" y="249"/>
                      </a:lnTo>
                      <a:lnTo>
                        <a:pt x="1043" y="249"/>
                      </a:lnTo>
                      <a:lnTo>
                        <a:pt x="1043" y="248"/>
                      </a:lnTo>
                      <a:lnTo>
                        <a:pt x="1043" y="249"/>
                      </a:lnTo>
                      <a:lnTo>
                        <a:pt x="1044" y="249"/>
                      </a:lnTo>
                      <a:lnTo>
                        <a:pt x="1044" y="249"/>
                      </a:lnTo>
                      <a:lnTo>
                        <a:pt x="1044" y="249"/>
                      </a:lnTo>
                      <a:lnTo>
                        <a:pt x="1044" y="250"/>
                      </a:lnTo>
                      <a:lnTo>
                        <a:pt x="1044" y="250"/>
                      </a:lnTo>
                      <a:lnTo>
                        <a:pt x="1044" y="251"/>
                      </a:lnTo>
                      <a:lnTo>
                        <a:pt x="1043" y="251"/>
                      </a:lnTo>
                      <a:lnTo>
                        <a:pt x="1043" y="251"/>
                      </a:lnTo>
                      <a:lnTo>
                        <a:pt x="1042" y="251"/>
                      </a:lnTo>
                      <a:lnTo>
                        <a:pt x="1042" y="251"/>
                      </a:lnTo>
                      <a:lnTo>
                        <a:pt x="1043" y="251"/>
                      </a:lnTo>
                      <a:lnTo>
                        <a:pt x="1043" y="251"/>
                      </a:lnTo>
                      <a:lnTo>
                        <a:pt x="1043" y="251"/>
                      </a:lnTo>
                      <a:lnTo>
                        <a:pt x="1043" y="251"/>
                      </a:lnTo>
                      <a:lnTo>
                        <a:pt x="1043" y="251"/>
                      </a:lnTo>
                      <a:lnTo>
                        <a:pt x="1044" y="251"/>
                      </a:lnTo>
                      <a:lnTo>
                        <a:pt x="1044" y="251"/>
                      </a:lnTo>
                      <a:lnTo>
                        <a:pt x="1043" y="251"/>
                      </a:lnTo>
                      <a:lnTo>
                        <a:pt x="1044" y="252"/>
                      </a:lnTo>
                      <a:lnTo>
                        <a:pt x="1043" y="251"/>
                      </a:lnTo>
                      <a:lnTo>
                        <a:pt x="1043" y="252"/>
                      </a:lnTo>
                      <a:lnTo>
                        <a:pt x="1043" y="252"/>
                      </a:lnTo>
                      <a:lnTo>
                        <a:pt x="1043" y="252"/>
                      </a:lnTo>
                      <a:lnTo>
                        <a:pt x="1043" y="252"/>
                      </a:lnTo>
                      <a:lnTo>
                        <a:pt x="1043" y="252"/>
                      </a:lnTo>
                      <a:lnTo>
                        <a:pt x="1044" y="252"/>
                      </a:lnTo>
                      <a:lnTo>
                        <a:pt x="1044" y="251"/>
                      </a:lnTo>
                      <a:lnTo>
                        <a:pt x="1044" y="251"/>
                      </a:lnTo>
                      <a:lnTo>
                        <a:pt x="1044" y="252"/>
                      </a:lnTo>
                      <a:lnTo>
                        <a:pt x="1045" y="252"/>
                      </a:lnTo>
                      <a:lnTo>
                        <a:pt x="1045" y="252"/>
                      </a:lnTo>
                      <a:lnTo>
                        <a:pt x="1045" y="252"/>
                      </a:lnTo>
                      <a:lnTo>
                        <a:pt x="1046" y="252"/>
                      </a:lnTo>
                      <a:lnTo>
                        <a:pt x="1047" y="252"/>
                      </a:lnTo>
                      <a:lnTo>
                        <a:pt x="1047" y="252"/>
                      </a:lnTo>
                      <a:lnTo>
                        <a:pt x="1047" y="253"/>
                      </a:lnTo>
                      <a:lnTo>
                        <a:pt x="1048" y="254"/>
                      </a:lnTo>
                      <a:lnTo>
                        <a:pt x="1048" y="254"/>
                      </a:lnTo>
                      <a:lnTo>
                        <a:pt x="1049" y="254"/>
                      </a:lnTo>
                      <a:lnTo>
                        <a:pt x="1047" y="254"/>
                      </a:lnTo>
                      <a:lnTo>
                        <a:pt x="1047" y="255"/>
                      </a:lnTo>
                      <a:lnTo>
                        <a:pt x="1046" y="255"/>
                      </a:lnTo>
                      <a:lnTo>
                        <a:pt x="1045" y="255"/>
                      </a:lnTo>
                      <a:lnTo>
                        <a:pt x="1045" y="255"/>
                      </a:lnTo>
                      <a:lnTo>
                        <a:pt x="1045" y="254"/>
                      </a:lnTo>
                      <a:lnTo>
                        <a:pt x="1045" y="254"/>
                      </a:lnTo>
                      <a:lnTo>
                        <a:pt x="1044" y="254"/>
                      </a:lnTo>
                      <a:lnTo>
                        <a:pt x="1044" y="253"/>
                      </a:lnTo>
                      <a:lnTo>
                        <a:pt x="1044" y="253"/>
                      </a:lnTo>
                      <a:lnTo>
                        <a:pt x="1043" y="253"/>
                      </a:lnTo>
                      <a:lnTo>
                        <a:pt x="1043" y="254"/>
                      </a:lnTo>
                      <a:lnTo>
                        <a:pt x="1044" y="254"/>
                      </a:lnTo>
                      <a:lnTo>
                        <a:pt x="1043" y="254"/>
                      </a:lnTo>
                      <a:lnTo>
                        <a:pt x="1043" y="253"/>
                      </a:lnTo>
                      <a:lnTo>
                        <a:pt x="1043" y="253"/>
                      </a:lnTo>
                      <a:lnTo>
                        <a:pt x="1043" y="254"/>
                      </a:lnTo>
                      <a:lnTo>
                        <a:pt x="1042" y="254"/>
                      </a:lnTo>
                      <a:lnTo>
                        <a:pt x="1043" y="254"/>
                      </a:lnTo>
                      <a:lnTo>
                        <a:pt x="1043" y="254"/>
                      </a:lnTo>
                      <a:lnTo>
                        <a:pt x="1043" y="254"/>
                      </a:lnTo>
                      <a:lnTo>
                        <a:pt x="1043" y="254"/>
                      </a:lnTo>
                      <a:lnTo>
                        <a:pt x="1044" y="254"/>
                      </a:lnTo>
                      <a:lnTo>
                        <a:pt x="1044" y="254"/>
                      </a:lnTo>
                      <a:lnTo>
                        <a:pt x="1044" y="254"/>
                      </a:lnTo>
                      <a:lnTo>
                        <a:pt x="1044" y="254"/>
                      </a:lnTo>
                      <a:lnTo>
                        <a:pt x="1044" y="255"/>
                      </a:lnTo>
                      <a:lnTo>
                        <a:pt x="1044" y="255"/>
                      </a:lnTo>
                      <a:lnTo>
                        <a:pt x="1044" y="255"/>
                      </a:lnTo>
                      <a:lnTo>
                        <a:pt x="1044" y="256"/>
                      </a:lnTo>
                      <a:lnTo>
                        <a:pt x="1043" y="256"/>
                      </a:lnTo>
                      <a:lnTo>
                        <a:pt x="1043" y="256"/>
                      </a:lnTo>
                      <a:lnTo>
                        <a:pt x="1043" y="256"/>
                      </a:lnTo>
                      <a:lnTo>
                        <a:pt x="1042" y="256"/>
                      </a:lnTo>
                      <a:lnTo>
                        <a:pt x="1041" y="256"/>
                      </a:lnTo>
                      <a:lnTo>
                        <a:pt x="1041" y="256"/>
                      </a:lnTo>
                      <a:lnTo>
                        <a:pt x="1040" y="256"/>
                      </a:lnTo>
                      <a:lnTo>
                        <a:pt x="1040" y="256"/>
                      </a:lnTo>
                      <a:lnTo>
                        <a:pt x="1040" y="255"/>
                      </a:lnTo>
                      <a:lnTo>
                        <a:pt x="1040" y="255"/>
                      </a:lnTo>
                      <a:lnTo>
                        <a:pt x="1040" y="255"/>
                      </a:lnTo>
                      <a:lnTo>
                        <a:pt x="1040" y="255"/>
                      </a:lnTo>
                      <a:lnTo>
                        <a:pt x="1040" y="255"/>
                      </a:lnTo>
                      <a:lnTo>
                        <a:pt x="1040" y="254"/>
                      </a:lnTo>
                      <a:lnTo>
                        <a:pt x="1040" y="255"/>
                      </a:lnTo>
                      <a:lnTo>
                        <a:pt x="1041" y="255"/>
                      </a:lnTo>
                      <a:lnTo>
                        <a:pt x="1041" y="254"/>
                      </a:lnTo>
                      <a:lnTo>
                        <a:pt x="1041" y="254"/>
                      </a:lnTo>
                      <a:lnTo>
                        <a:pt x="1041" y="254"/>
                      </a:lnTo>
                      <a:lnTo>
                        <a:pt x="1041" y="254"/>
                      </a:lnTo>
                      <a:lnTo>
                        <a:pt x="1041" y="254"/>
                      </a:lnTo>
                      <a:lnTo>
                        <a:pt x="1041" y="254"/>
                      </a:lnTo>
                      <a:lnTo>
                        <a:pt x="1040" y="254"/>
                      </a:lnTo>
                      <a:lnTo>
                        <a:pt x="1040" y="254"/>
                      </a:lnTo>
                      <a:lnTo>
                        <a:pt x="1041" y="254"/>
                      </a:lnTo>
                      <a:lnTo>
                        <a:pt x="1041" y="253"/>
                      </a:lnTo>
                      <a:lnTo>
                        <a:pt x="1041" y="254"/>
                      </a:lnTo>
                      <a:lnTo>
                        <a:pt x="1041" y="253"/>
                      </a:lnTo>
                      <a:lnTo>
                        <a:pt x="1040" y="253"/>
                      </a:lnTo>
                      <a:lnTo>
                        <a:pt x="1040" y="252"/>
                      </a:lnTo>
                      <a:lnTo>
                        <a:pt x="1040" y="252"/>
                      </a:lnTo>
                      <a:lnTo>
                        <a:pt x="1040" y="252"/>
                      </a:lnTo>
                      <a:lnTo>
                        <a:pt x="1040" y="252"/>
                      </a:lnTo>
                      <a:lnTo>
                        <a:pt x="1040" y="252"/>
                      </a:lnTo>
                      <a:lnTo>
                        <a:pt x="1040" y="252"/>
                      </a:lnTo>
                      <a:lnTo>
                        <a:pt x="1040" y="253"/>
                      </a:lnTo>
                      <a:lnTo>
                        <a:pt x="1040" y="253"/>
                      </a:lnTo>
                      <a:lnTo>
                        <a:pt x="1040" y="254"/>
                      </a:lnTo>
                      <a:lnTo>
                        <a:pt x="1040" y="254"/>
                      </a:lnTo>
                      <a:lnTo>
                        <a:pt x="1040" y="254"/>
                      </a:lnTo>
                      <a:lnTo>
                        <a:pt x="1040" y="255"/>
                      </a:lnTo>
                      <a:lnTo>
                        <a:pt x="1039" y="255"/>
                      </a:lnTo>
                      <a:lnTo>
                        <a:pt x="1039" y="255"/>
                      </a:lnTo>
                      <a:lnTo>
                        <a:pt x="1039" y="255"/>
                      </a:lnTo>
                      <a:lnTo>
                        <a:pt x="1038" y="255"/>
                      </a:lnTo>
                      <a:lnTo>
                        <a:pt x="1037" y="255"/>
                      </a:lnTo>
                      <a:lnTo>
                        <a:pt x="1037" y="256"/>
                      </a:lnTo>
                      <a:lnTo>
                        <a:pt x="1037" y="255"/>
                      </a:lnTo>
                      <a:lnTo>
                        <a:pt x="1037" y="255"/>
                      </a:lnTo>
                      <a:lnTo>
                        <a:pt x="1036" y="255"/>
                      </a:lnTo>
                      <a:lnTo>
                        <a:pt x="1036" y="255"/>
                      </a:lnTo>
                      <a:lnTo>
                        <a:pt x="1035" y="255"/>
                      </a:lnTo>
                      <a:lnTo>
                        <a:pt x="1035" y="254"/>
                      </a:lnTo>
                      <a:lnTo>
                        <a:pt x="1034" y="254"/>
                      </a:lnTo>
                      <a:lnTo>
                        <a:pt x="1034" y="254"/>
                      </a:lnTo>
                      <a:lnTo>
                        <a:pt x="1034" y="254"/>
                      </a:lnTo>
                      <a:lnTo>
                        <a:pt x="1034" y="253"/>
                      </a:lnTo>
                      <a:lnTo>
                        <a:pt x="1034" y="252"/>
                      </a:lnTo>
                      <a:lnTo>
                        <a:pt x="1033" y="252"/>
                      </a:lnTo>
                      <a:lnTo>
                        <a:pt x="1033" y="252"/>
                      </a:lnTo>
                      <a:lnTo>
                        <a:pt x="1033" y="252"/>
                      </a:lnTo>
                      <a:lnTo>
                        <a:pt x="1032" y="251"/>
                      </a:lnTo>
                      <a:lnTo>
                        <a:pt x="1031" y="251"/>
                      </a:lnTo>
                      <a:lnTo>
                        <a:pt x="1031" y="251"/>
                      </a:lnTo>
                      <a:lnTo>
                        <a:pt x="1030" y="251"/>
                      </a:lnTo>
                      <a:lnTo>
                        <a:pt x="1030" y="251"/>
                      </a:lnTo>
                      <a:lnTo>
                        <a:pt x="1029" y="250"/>
                      </a:lnTo>
                      <a:lnTo>
                        <a:pt x="1029" y="250"/>
                      </a:lnTo>
                      <a:lnTo>
                        <a:pt x="1028" y="249"/>
                      </a:lnTo>
                      <a:lnTo>
                        <a:pt x="1028" y="249"/>
                      </a:lnTo>
                      <a:lnTo>
                        <a:pt x="1027" y="249"/>
                      </a:lnTo>
                      <a:lnTo>
                        <a:pt x="1026" y="249"/>
                      </a:lnTo>
                      <a:lnTo>
                        <a:pt x="1026" y="249"/>
                      </a:lnTo>
                      <a:lnTo>
                        <a:pt x="1025" y="249"/>
                      </a:lnTo>
                      <a:lnTo>
                        <a:pt x="1025" y="249"/>
                      </a:lnTo>
                      <a:lnTo>
                        <a:pt x="1024" y="249"/>
                      </a:lnTo>
                      <a:lnTo>
                        <a:pt x="1023" y="249"/>
                      </a:lnTo>
                      <a:lnTo>
                        <a:pt x="1023" y="249"/>
                      </a:lnTo>
                      <a:lnTo>
                        <a:pt x="1023" y="249"/>
                      </a:lnTo>
                      <a:lnTo>
                        <a:pt x="1023" y="249"/>
                      </a:lnTo>
                      <a:lnTo>
                        <a:pt x="1023" y="249"/>
                      </a:lnTo>
                      <a:lnTo>
                        <a:pt x="1023" y="249"/>
                      </a:lnTo>
                      <a:lnTo>
                        <a:pt x="1023" y="248"/>
                      </a:lnTo>
                      <a:lnTo>
                        <a:pt x="1023" y="249"/>
                      </a:lnTo>
                      <a:lnTo>
                        <a:pt x="1023" y="248"/>
                      </a:lnTo>
                      <a:lnTo>
                        <a:pt x="1023" y="248"/>
                      </a:lnTo>
                      <a:lnTo>
                        <a:pt x="1022" y="248"/>
                      </a:lnTo>
                      <a:lnTo>
                        <a:pt x="1022" y="248"/>
                      </a:lnTo>
                      <a:lnTo>
                        <a:pt x="1022" y="248"/>
                      </a:lnTo>
                      <a:lnTo>
                        <a:pt x="1021" y="247"/>
                      </a:lnTo>
                      <a:lnTo>
                        <a:pt x="1021" y="247"/>
                      </a:lnTo>
                      <a:lnTo>
                        <a:pt x="1020" y="247"/>
                      </a:lnTo>
                      <a:lnTo>
                        <a:pt x="1020" y="247"/>
                      </a:lnTo>
                      <a:lnTo>
                        <a:pt x="1019" y="247"/>
                      </a:lnTo>
                      <a:lnTo>
                        <a:pt x="1019" y="246"/>
                      </a:lnTo>
                      <a:lnTo>
                        <a:pt x="1020" y="246"/>
                      </a:lnTo>
                      <a:lnTo>
                        <a:pt x="1020" y="245"/>
                      </a:lnTo>
                      <a:lnTo>
                        <a:pt x="1020" y="245"/>
                      </a:lnTo>
                      <a:lnTo>
                        <a:pt x="1021" y="244"/>
                      </a:lnTo>
                      <a:lnTo>
                        <a:pt x="1020" y="244"/>
                      </a:lnTo>
                      <a:lnTo>
                        <a:pt x="1019" y="243"/>
                      </a:lnTo>
                      <a:lnTo>
                        <a:pt x="1019" y="243"/>
                      </a:lnTo>
                      <a:lnTo>
                        <a:pt x="1019" y="242"/>
                      </a:lnTo>
                      <a:lnTo>
                        <a:pt x="1019" y="241"/>
                      </a:lnTo>
                      <a:lnTo>
                        <a:pt x="1018" y="241"/>
                      </a:lnTo>
                      <a:lnTo>
                        <a:pt x="1018" y="241"/>
                      </a:lnTo>
                      <a:lnTo>
                        <a:pt x="1018" y="241"/>
                      </a:lnTo>
                      <a:lnTo>
                        <a:pt x="1019" y="241"/>
                      </a:lnTo>
                      <a:lnTo>
                        <a:pt x="1019" y="242"/>
                      </a:lnTo>
                      <a:lnTo>
                        <a:pt x="1019" y="242"/>
                      </a:lnTo>
                      <a:lnTo>
                        <a:pt x="1019" y="243"/>
                      </a:lnTo>
                      <a:lnTo>
                        <a:pt x="1019" y="242"/>
                      </a:lnTo>
                      <a:lnTo>
                        <a:pt x="1019" y="242"/>
                      </a:lnTo>
                      <a:lnTo>
                        <a:pt x="1019" y="241"/>
                      </a:lnTo>
                      <a:lnTo>
                        <a:pt x="1019" y="241"/>
                      </a:lnTo>
                      <a:lnTo>
                        <a:pt x="1019" y="241"/>
                      </a:lnTo>
                      <a:lnTo>
                        <a:pt x="1019" y="241"/>
                      </a:lnTo>
                      <a:lnTo>
                        <a:pt x="1019" y="240"/>
                      </a:lnTo>
                      <a:lnTo>
                        <a:pt x="1018" y="240"/>
                      </a:lnTo>
                      <a:lnTo>
                        <a:pt x="1018" y="240"/>
                      </a:lnTo>
                      <a:lnTo>
                        <a:pt x="1018" y="240"/>
                      </a:lnTo>
                      <a:lnTo>
                        <a:pt x="1018" y="240"/>
                      </a:lnTo>
                      <a:lnTo>
                        <a:pt x="1019" y="240"/>
                      </a:lnTo>
                      <a:lnTo>
                        <a:pt x="1018" y="240"/>
                      </a:lnTo>
                      <a:lnTo>
                        <a:pt x="1018" y="240"/>
                      </a:lnTo>
                      <a:lnTo>
                        <a:pt x="1018" y="240"/>
                      </a:lnTo>
                      <a:lnTo>
                        <a:pt x="1018" y="240"/>
                      </a:lnTo>
                      <a:lnTo>
                        <a:pt x="1018" y="240"/>
                      </a:lnTo>
                      <a:lnTo>
                        <a:pt x="1018" y="240"/>
                      </a:lnTo>
                      <a:lnTo>
                        <a:pt x="1018" y="240"/>
                      </a:lnTo>
                      <a:lnTo>
                        <a:pt x="1016" y="240"/>
                      </a:lnTo>
                      <a:lnTo>
                        <a:pt x="1015" y="239"/>
                      </a:lnTo>
                      <a:lnTo>
                        <a:pt x="1014" y="238"/>
                      </a:lnTo>
                      <a:lnTo>
                        <a:pt x="1013" y="238"/>
                      </a:lnTo>
                      <a:lnTo>
                        <a:pt x="1012" y="238"/>
                      </a:lnTo>
                      <a:lnTo>
                        <a:pt x="1011" y="238"/>
                      </a:lnTo>
                      <a:lnTo>
                        <a:pt x="1011" y="238"/>
                      </a:lnTo>
                      <a:lnTo>
                        <a:pt x="1010" y="238"/>
                      </a:lnTo>
                      <a:lnTo>
                        <a:pt x="1010" y="238"/>
                      </a:lnTo>
                      <a:lnTo>
                        <a:pt x="1009" y="238"/>
                      </a:lnTo>
                      <a:lnTo>
                        <a:pt x="1010" y="238"/>
                      </a:lnTo>
                      <a:lnTo>
                        <a:pt x="1010" y="238"/>
                      </a:lnTo>
                      <a:lnTo>
                        <a:pt x="1011" y="238"/>
                      </a:lnTo>
                      <a:lnTo>
                        <a:pt x="1011" y="238"/>
                      </a:lnTo>
                      <a:lnTo>
                        <a:pt x="1012" y="238"/>
                      </a:lnTo>
                      <a:lnTo>
                        <a:pt x="1011" y="238"/>
                      </a:lnTo>
                      <a:lnTo>
                        <a:pt x="1011" y="238"/>
                      </a:lnTo>
                      <a:lnTo>
                        <a:pt x="1010" y="237"/>
                      </a:lnTo>
                      <a:lnTo>
                        <a:pt x="1011" y="237"/>
                      </a:lnTo>
                      <a:lnTo>
                        <a:pt x="1010" y="237"/>
                      </a:lnTo>
                      <a:lnTo>
                        <a:pt x="1011" y="237"/>
                      </a:lnTo>
                      <a:lnTo>
                        <a:pt x="1011" y="237"/>
                      </a:lnTo>
                      <a:lnTo>
                        <a:pt x="1011" y="237"/>
                      </a:lnTo>
                      <a:lnTo>
                        <a:pt x="1010" y="237"/>
                      </a:lnTo>
                      <a:lnTo>
                        <a:pt x="1010" y="238"/>
                      </a:lnTo>
                      <a:lnTo>
                        <a:pt x="1010" y="238"/>
                      </a:lnTo>
                      <a:lnTo>
                        <a:pt x="1009" y="238"/>
                      </a:lnTo>
                      <a:lnTo>
                        <a:pt x="1009" y="238"/>
                      </a:lnTo>
                      <a:lnTo>
                        <a:pt x="1008" y="238"/>
                      </a:lnTo>
                      <a:lnTo>
                        <a:pt x="1008" y="239"/>
                      </a:lnTo>
                      <a:lnTo>
                        <a:pt x="1008" y="239"/>
                      </a:lnTo>
                      <a:lnTo>
                        <a:pt x="1008" y="240"/>
                      </a:lnTo>
                      <a:lnTo>
                        <a:pt x="1007" y="240"/>
                      </a:lnTo>
                      <a:lnTo>
                        <a:pt x="1007" y="240"/>
                      </a:lnTo>
                      <a:lnTo>
                        <a:pt x="1006" y="240"/>
                      </a:lnTo>
                      <a:lnTo>
                        <a:pt x="1006" y="240"/>
                      </a:lnTo>
                      <a:lnTo>
                        <a:pt x="1005" y="240"/>
                      </a:lnTo>
                      <a:lnTo>
                        <a:pt x="1005" y="240"/>
                      </a:lnTo>
                      <a:lnTo>
                        <a:pt x="1005" y="240"/>
                      </a:lnTo>
                      <a:lnTo>
                        <a:pt x="1005" y="240"/>
                      </a:lnTo>
                      <a:lnTo>
                        <a:pt x="1004" y="240"/>
                      </a:lnTo>
                      <a:lnTo>
                        <a:pt x="1004" y="240"/>
                      </a:lnTo>
                      <a:lnTo>
                        <a:pt x="1004" y="240"/>
                      </a:lnTo>
                      <a:lnTo>
                        <a:pt x="1003" y="240"/>
                      </a:lnTo>
                      <a:lnTo>
                        <a:pt x="1003" y="240"/>
                      </a:lnTo>
                      <a:lnTo>
                        <a:pt x="1003" y="240"/>
                      </a:lnTo>
                      <a:lnTo>
                        <a:pt x="1002" y="240"/>
                      </a:lnTo>
                      <a:lnTo>
                        <a:pt x="1002" y="240"/>
                      </a:lnTo>
                      <a:lnTo>
                        <a:pt x="1002" y="240"/>
                      </a:lnTo>
                      <a:lnTo>
                        <a:pt x="1001" y="240"/>
                      </a:lnTo>
                      <a:lnTo>
                        <a:pt x="1000" y="240"/>
                      </a:lnTo>
                      <a:lnTo>
                        <a:pt x="1000" y="240"/>
                      </a:lnTo>
                      <a:lnTo>
                        <a:pt x="1000" y="240"/>
                      </a:lnTo>
                      <a:lnTo>
                        <a:pt x="1000" y="240"/>
                      </a:lnTo>
                      <a:lnTo>
                        <a:pt x="1000" y="240"/>
                      </a:lnTo>
                      <a:lnTo>
                        <a:pt x="1000" y="240"/>
                      </a:lnTo>
                      <a:lnTo>
                        <a:pt x="999" y="240"/>
                      </a:lnTo>
                      <a:lnTo>
                        <a:pt x="999" y="240"/>
                      </a:lnTo>
                      <a:lnTo>
                        <a:pt x="999" y="240"/>
                      </a:lnTo>
                      <a:lnTo>
                        <a:pt x="998" y="240"/>
                      </a:lnTo>
                      <a:lnTo>
                        <a:pt x="998" y="239"/>
                      </a:lnTo>
                      <a:lnTo>
                        <a:pt x="998" y="240"/>
                      </a:lnTo>
                      <a:lnTo>
                        <a:pt x="998" y="239"/>
                      </a:lnTo>
                      <a:lnTo>
                        <a:pt x="999" y="239"/>
                      </a:lnTo>
                      <a:lnTo>
                        <a:pt x="999" y="238"/>
                      </a:lnTo>
                      <a:lnTo>
                        <a:pt x="999" y="238"/>
                      </a:lnTo>
                      <a:lnTo>
                        <a:pt x="999" y="237"/>
                      </a:lnTo>
                      <a:lnTo>
                        <a:pt x="999" y="237"/>
                      </a:lnTo>
                      <a:lnTo>
                        <a:pt x="999" y="237"/>
                      </a:lnTo>
                      <a:lnTo>
                        <a:pt x="999" y="236"/>
                      </a:lnTo>
                      <a:lnTo>
                        <a:pt x="998" y="236"/>
                      </a:lnTo>
                      <a:lnTo>
                        <a:pt x="998" y="236"/>
                      </a:lnTo>
                      <a:lnTo>
                        <a:pt x="998" y="236"/>
                      </a:lnTo>
                      <a:lnTo>
                        <a:pt x="998" y="236"/>
                      </a:lnTo>
                      <a:lnTo>
                        <a:pt x="997" y="236"/>
                      </a:lnTo>
                      <a:lnTo>
                        <a:pt x="998" y="236"/>
                      </a:lnTo>
                      <a:lnTo>
                        <a:pt x="998" y="236"/>
                      </a:lnTo>
                      <a:lnTo>
                        <a:pt x="998" y="236"/>
                      </a:lnTo>
                      <a:lnTo>
                        <a:pt x="997" y="236"/>
                      </a:lnTo>
                      <a:lnTo>
                        <a:pt x="998" y="236"/>
                      </a:lnTo>
                      <a:lnTo>
                        <a:pt x="997" y="236"/>
                      </a:lnTo>
                      <a:lnTo>
                        <a:pt x="998" y="235"/>
                      </a:lnTo>
                      <a:lnTo>
                        <a:pt x="997" y="235"/>
                      </a:lnTo>
                      <a:lnTo>
                        <a:pt x="997" y="236"/>
                      </a:lnTo>
                      <a:lnTo>
                        <a:pt x="997" y="235"/>
                      </a:lnTo>
                      <a:lnTo>
                        <a:pt x="996" y="234"/>
                      </a:lnTo>
                      <a:lnTo>
                        <a:pt x="996" y="234"/>
                      </a:lnTo>
                      <a:lnTo>
                        <a:pt x="995" y="234"/>
                      </a:lnTo>
                      <a:lnTo>
                        <a:pt x="996" y="234"/>
                      </a:lnTo>
                      <a:lnTo>
                        <a:pt x="996" y="233"/>
                      </a:lnTo>
                      <a:lnTo>
                        <a:pt x="996" y="233"/>
                      </a:lnTo>
                      <a:lnTo>
                        <a:pt x="995" y="233"/>
                      </a:lnTo>
                      <a:lnTo>
                        <a:pt x="995" y="232"/>
                      </a:lnTo>
                      <a:lnTo>
                        <a:pt x="995" y="232"/>
                      </a:lnTo>
                      <a:lnTo>
                        <a:pt x="995" y="232"/>
                      </a:lnTo>
                      <a:lnTo>
                        <a:pt x="995" y="233"/>
                      </a:lnTo>
                      <a:lnTo>
                        <a:pt x="996" y="233"/>
                      </a:lnTo>
                      <a:lnTo>
                        <a:pt x="996" y="233"/>
                      </a:lnTo>
                      <a:lnTo>
                        <a:pt x="997" y="233"/>
                      </a:lnTo>
                      <a:lnTo>
                        <a:pt x="997" y="232"/>
                      </a:lnTo>
                      <a:lnTo>
                        <a:pt x="997" y="232"/>
                      </a:lnTo>
                      <a:lnTo>
                        <a:pt x="997" y="231"/>
                      </a:lnTo>
                      <a:lnTo>
                        <a:pt x="998" y="231"/>
                      </a:lnTo>
                      <a:lnTo>
                        <a:pt x="997" y="231"/>
                      </a:lnTo>
                      <a:lnTo>
                        <a:pt x="998" y="231"/>
                      </a:lnTo>
                      <a:lnTo>
                        <a:pt x="997" y="231"/>
                      </a:lnTo>
                      <a:lnTo>
                        <a:pt x="998" y="231"/>
                      </a:lnTo>
                      <a:lnTo>
                        <a:pt x="998" y="231"/>
                      </a:lnTo>
                      <a:lnTo>
                        <a:pt x="999" y="230"/>
                      </a:lnTo>
                      <a:lnTo>
                        <a:pt x="998" y="230"/>
                      </a:lnTo>
                      <a:lnTo>
                        <a:pt x="998" y="230"/>
                      </a:lnTo>
                      <a:lnTo>
                        <a:pt x="999" y="230"/>
                      </a:lnTo>
                      <a:lnTo>
                        <a:pt x="999" y="229"/>
                      </a:lnTo>
                      <a:lnTo>
                        <a:pt x="998" y="229"/>
                      </a:lnTo>
                      <a:lnTo>
                        <a:pt x="999" y="229"/>
                      </a:lnTo>
                      <a:lnTo>
                        <a:pt x="999" y="228"/>
                      </a:lnTo>
                      <a:lnTo>
                        <a:pt x="999" y="227"/>
                      </a:lnTo>
                      <a:lnTo>
                        <a:pt x="999" y="227"/>
                      </a:lnTo>
                      <a:lnTo>
                        <a:pt x="999" y="227"/>
                      </a:lnTo>
                      <a:lnTo>
                        <a:pt x="998" y="227"/>
                      </a:lnTo>
                      <a:lnTo>
                        <a:pt x="998" y="227"/>
                      </a:lnTo>
                      <a:lnTo>
                        <a:pt x="998" y="227"/>
                      </a:lnTo>
                      <a:lnTo>
                        <a:pt x="998" y="227"/>
                      </a:lnTo>
                      <a:lnTo>
                        <a:pt x="998" y="227"/>
                      </a:lnTo>
                      <a:lnTo>
                        <a:pt x="998" y="227"/>
                      </a:lnTo>
                      <a:lnTo>
                        <a:pt x="998" y="227"/>
                      </a:lnTo>
                      <a:lnTo>
                        <a:pt x="998" y="227"/>
                      </a:lnTo>
                      <a:lnTo>
                        <a:pt x="998" y="227"/>
                      </a:lnTo>
                      <a:lnTo>
                        <a:pt x="998" y="227"/>
                      </a:lnTo>
                      <a:lnTo>
                        <a:pt x="998" y="227"/>
                      </a:lnTo>
                      <a:lnTo>
                        <a:pt x="998" y="227"/>
                      </a:lnTo>
                      <a:lnTo>
                        <a:pt x="998" y="227"/>
                      </a:lnTo>
                      <a:lnTo>
                        <a:pt x="998" y="227"/>
                      </a:lnTo>
                      <a:lnTo>
                        <a:pt x="998" y="228"/>
                      </a:lnTo>
                      <a:lnTo>
                        <a:pt x="998" y="229"/>
                      </a:lnTo>
                      <a:lnTo>
                        <a:pt x="997" y="229"/>
                      </a:lnTo>
                      <a:lnTo>
                        <a:pt x="998" y="229"/>
                      </a:lnTo>
                      <a:lnTo>
                        <a:pt x="997" y="229"/>
                      </a:lnTo>
                      <a:lnTo>
                        <a:pt x="998" y="229"/>
                      </a:lnTo>
                      <a:lnTo>
                        <a:pt x="997" y="229"/>
                      </a:lnTo>
                      <a:lnTo>
                        <a:pt x="997" y="229"/>
                      </a:lnTo>
                      <a:lnTo>
                        <a:pt x="996" y="229"/>
                      </a:lnTo>
                      <a:lnTo>
                        <a:pt x="997" y="229"/>
                      </a:lnTo>
                      <a:lnTo>
                        <a:pt x="996" y="229"/>
                      </a:lnTo>
                      <a:lnTo>
                        <a:pt x="996" y="230"/>
                      </a:lnTo>
                      <a:lnTo>
                        <a:pt x="996" y="230"/>
                      </a:lnTo>
                      <a:lnTo>
                        <a:pt x="996" y="230"/>
                      </a:lnTo>
                      <a:lnTo>
                        <a:pt x="995" y="230"/>
                      </a:lnTo>
                      <a:lnTo>
                        <a:pt x="995" y="230"/>
                      </a:lnTo>
                      <a:lnTo>
                        <a:pt x="994" y="230"/>
                      </a:lnTo>
                      <a:lnTo>
                        <a:pt x="994" y="229"/>
                      </a:lnTo>
                      <a:lnTo>
                        <a:pt x="993" y="229"/>
                      </a:lnTo>
                      <a:lnTo>
                        <a:pt x="993" y="229"/>
                      </a:lnTo>
                      <a:lnTo>
                        <a:pt x="994" y="229"/>
                      </a:lnTo>
                      <a:lnTo>
                        <a:pt x="994" y="228"/>
                      </a:lnTo>
                      <a:lnTo>
                        <a:pt x="994" y="227"/>
                      </a:lnTo>
                      <a:lnTo>
                        <a:pt x="993" y="227"/>
                      </a:lnTo>
                      <a:lnTo>
                        <a:pt x="993" y="228"/>
                      </a:lnTo>
                      <a:lnTo>
                        <a:pt x="993" y="229"/>
                      </a:lnTo>
                      <a:lnTo>
                        <a:pt x="993" y="229"/>
                      </a:lnTo>
                      <a:lnTo>
                        <a:pt x="992" y="229"/>
                      </a:lnTo>
                      <a:lnTo>
                        <a:pt x="992" y="229"/>
                      </a:lnTo>
                      <a:lnTo>
                        <a:pt x="992" y="228"/>
                      </a:lnTo>
                      <a:lnTo>
                        <a:pt x="991" y="228"/>
                      </a:lnTo>
                      <a:lnTo>
                        <a:pt x="991" y="229"/>
                      </a:lnTo>
                      <a:lnTo>
                        <a:pt x="992" y="229"/>
                      </a:lnTo>
                      <a:lnTo>
                        <a:pt x="992" y="229"/>
                      </a:lnTo>
                      <a:lnTo>
                        <a:pt x="992" y="229"/>
                      </a:lnTo>
                      <a:lnTo>
                        <a:pt x="992" y="230"/>
                      </a:lnTo>
                      <a:lnTo>
                        <a:pt x="993" y="230"/>
                      </a:lnTo>
                      <a:lnTo>
                        <a:pt x="992" y="230"/>
                      </a:lnTo>
                      <a:lnTo>
                        <a:pt x="992" y="230"/>
                      </a:lnTo>
                      <a:lnTo>
                        <a:pt x="992" y="231"/>
                      </a:lnTo>
                      <a:lnTo>
                        <a:pt x="991" y="231"/>
                      </a:lnTo>
                      <a:lnTo>
                        <a:pt x="991" y="231"/>
                      </a:lnTo>
                      <a:lnTo>
                        <a:pt x="990" y="231"/>
                      </a:lnTo>
                      <a:lnTo>
                        <a:pt x="989" y="231"/>
                      </a:lnTo>
                      <a:lnTo>
                        <a:pt x="989" y="231"/>
                      </a:lnTo>
                      <a:lnTo>
                        <a:pt x="989" y="231"/>
                      </a:lnTo>
                      <a:lnTo>
                        <a:pt x="990" y="231"/>
                      </a:lnTo>
                      <a:lnTo>
                        <a:pt x="990" y="230"/>
                      </a:lnTo>
                      <a:lnTo>
                        <a:pt x="989" y="230"/>
                      </a:lnTo>
                      <a:lnTo>
                        <a:pt x="989" y="230"/>
                      </a:lnTo>
                      <a:lnTo>
                        <a:pt x="989" y="230"/>
                      </a:lnTo>
                      <a:lnTo>
                        <a:pt x="989" y="230"/>
                      </a:lnTo>
                      <a:lnTo>
                        <a:pt x="989" y="230"/>
                      </a:lnTo>
                      <a:lnTo>
                        <a:pt x="989" y="230"/>
                      </a:lnTo>
                      <a:lnTo>
                        <a:pt x="989" y="230"/>
                      </a:lnTo>
                      <a:lnTo>
                        <a:pt x="989" y="230"/>
                      </a:lnTo>
                      <a:lnTo>
                        <a:pt x="989" y="231"/>
                      </a:lnTo>
                      <a:lnTo>
                        <a:pt x="988" y="231"/>
                      </a:lnTo>
                      <a:lnTo>
                        <a:pt x="988" y="232"/>
                      </a:lnTo>
                      <a:lnTo>
                        <a:pt x="988" y="232"/>
                      </a:lnTo>
                      <a:lnTo>
                        <a:pt x="988" y="233"/>
                      </a:lnTo>
                      <a:lnTo>
                        <a:pt x="988" y="233"/>
                      </a:lnTo>
                      <a:lnTo>
                        <a:pt x="988" y="233"/>
                      </a:lnTo>
                      <a:lnTo>
                        <a:pt x="988" y="234"/>
                      </a:lnTo>
                      <a:lnTo>
                        <a:pt x="988" y="234"/>
                      </a:lnTo>
                      <a:lnTo>
                        <a:pt x="988" y="235"/>
                      </a:lnTo>
                      <a:lnTo>
                        <a:pt x="989" y="236"/>
                      </a:lnTo>
                      <a:lnTo>
                        <a:pt x="989" y="235"/>
                      </a:lnTo>
                      <a:lnTo>
                        <a:pt x="988" y="235"/>
                      </a:lnTo>
                      <a:lnTo>
                        <a:pt x="988" y="236"/>
                      </a:lnTo>
                      <a:lnTo>
                        <a:pt x="988" y="235"/>
                      </a:lnTo>
                      <a:lnTo>
                        <a:pt x="988" y="236"/>
                      </a:lnTo>
                      <a:lnTo>
                        <a:pt x="989" y="236"/>
                      </a:lnTo>
                      <a:lnTo>
                        <a:pt x="989" y="236"/>
                      </a:lnTo>
                      <a:lnTo>
                        <a:pt x="989" y="236"/>
                      </a:lnTo>
                      <a:lnTo>
                        <a:pt x="990" y="237"/>
                      </a:lnTo>
                      <a:lnTo>
                        <a:pt x="991" y="237"/>
                      </a:lnTo>
                      <a:lnTo>
                        <a:pt x="991" y="237"/>
                      </a:lnTo>
                      <a:lnTo>
                        <a:pt x="991" y="237"/>
                      </a:lnTo>
                      <a:lnTo>
                        <a:pt x="991" y="237"/>
                      </a:lnTo>
                      <a:lnTo>
                        <a:pt x="991" y="238"/>
                      </a:lnTo>
                      <a:lnTo>
                        <a:pt x="991" y="237"/>
                      </a:lnTo>
                      <a:lnTo>
                        <a:pt x="991" y="237"/>
                      </a:lnTo>
                      <a:lnTo>
                        <a:pt x="992" y="237"/>
                      </a:lnTo>
                      <a:lnTo>
                        <a:pt x="992" y="237"/>
                      </a:lnTo>
                      <a:lnTo>
                        <a:pt x="992" y="238"/>
                      </a:lnTo>
                      <a:lnTo>
                        <a:pt x="992" y="238"/>
                      </a:lnTo>
                      <a:lnTo>
                        <a:pt x="992" y="238"/>
                      </a:lnTo>
                      <a:lnTo>
                        <a:pt x="992" y="239"/>
                      </a:lnTo>
                      <a:lnTo>
                        <a:pt x="992" y="239"/>
                      </a:lnTo>
                      <a:lnTo>
                        <a:pt x="992" y="240"/>
                      </a:lnTo>
                      <a:lnTo>
                        <a:pt x="991" y="240"/>
                      </a:lnTo>
                      <a:lnTo>
                        <a:pt x="991" y="240"/>
                      </a:lnTo>
                      <a:lnTo>
                        <a:pt x="991" y="241"/>
                      </a:lnTo>
                      <a:lnTo>
                        <a:pt x="991" y="240"/>
                      </a:lnTo>
                      <a:lnTo>
                        <a:pt x="990" y="241"/>
                      </a:lnTo>
                      <a:lnTo>
                        <a:pt x="989" y="241"/>
                      </a:lnTo>
                      <a:lnTo>
                        <a:pt x="989" y="241"/>
                      </a:lnTo>
                      <a:lnTo>
                        <a:pt x="989" y="240"/>
                      </a:lnTo>
                      <a:lnTo>
                        <a:pt x="989" y="241"/>
                      </a:lnTo>
                      <a:lnTo>
                        <a:pt x="988" y="241"/>
                      </a:lnTo>
                      <a:lnTo>
                        <a:pt x="988" y="241"/>
                      </a:lnTo>
                      <a:lnTo>
                        <a:pt x="987" y="241"/>
                      </a:lnTo>
                      <a:lnTo>
                        <a:pt x="987" y="241"/>
                      </a:lnTo>
                      <a:lnTo>
                        <a:pt x="987" y="241"/>
                      </a:lnTo>
                      <a:lnTo>
                        <a:pt x="987" y="241"/>
                      </a:lnTo>
                      <a:lnTo>
                        <a:pt x="987" y="190"/>
                      </a:lnTo>
                      <a:lnTo>
                        <a:pt x="987" y="191"/>
                      </a:lnTo>
                      <a:lnTo>
                        <a:pt x="987" y="191"/>
                      </a:lnTo>
                      <a:lnTo>
                        <a:pt x="987" y="191"/>
                      </a:lnTo>
                      <a:lnTo>
                        <a:pt x="987" y="191"/>
                      </a:lnTo>
                      <a:lnTo>
                        <a:pt x="987" y="191"/>
                      </a:lnTo>
                      <a:lnTo>
                        <a:pt x="987" y="191"/>
                      </a:lnTo>
                      <a:lnTo>
                        <a:pt x="988" y="192"/>
                      </a:lnTo>
                      <a:lnTo>
                        <a:pt x="988" y="192"/>
                      </a:lnTo>
                      <a:lnTo>
                        <a:pt x="989" y="192"/>
                      </a:lnTo>
                      <a:lnTo>
                        <a:pt x="989" y="192"/>
                      </a:lnTo>
                      <a:lnTo>
                        <a:pt x="990" y="192"/>
                      </a:lnTo>
                      <a:lnTo>
                        <a:pt x="991" y="192"/>
                      </a:lnTo>
                      <a:lnTo>
                        <a:pt x="990" y="192"/>
                      </a:lnTo>
                      <a:lnTo>
                        <a:pt x="990" y="191"/>
                      </a:lnTo>
                      <a:lnTo>
                        <a:pt x="991" y="191"/>
                      </a:lnTo>
                      <a:lnTo>
                        <a:pt x="991" y="192"/>
                      </a:lnTo>
                      <a:lnTo>
                        <a:pt x="991" y="192"/>
                      </a:lnTo>
                      <a:lnTo>
                        <a:pt x="992" y="192"/>
                      </a:lnTo>
                      <a:lnTo>
                        <a:pt x="992" y="193"/>
                      </a:lnTo>
                      <a:lnTo>
                        <a:pt x="993" y="193"/>
                      </a:lnTo>
                      <a:lnTo>
                        <a:pt x="992" y="193"/>
                      </a:lnTo>
                      <a:lnTo>
                        <a:pt x="992" y="193"/>
                      </a:lnTo>
                      <a:lnTo>
                        <a:pt x="992" y="192"/>
                      </a:lnTo>
                      <a:lnTo>
                        <a:pt x="991" y="192"/>
                      </a:lnTo>
                      <a:lnTo>
                        <a:pt x="992" y="192"/>
                      </a:lnTo>
                      <a:lnTo>
                        <a:pt x="991" y="192"/>
                      </a:lnTo>
                      <a:lnTo>
                        <a:pt x="991" y="193"/>
                      </a:lnTo>
                      <a:lnTo>
                        <a:pt x="992" y="193"/>
                      </a:lnTo>
                      <a:lnTo>
                        <a:pt x="991" y="193"/>
                      </a:lnTo>
                      <a:lnTo>
                        <a:pt x="992" y="193"/>
                      </a:lnTo>
                      <a:lnTo>
                        <a:pt x="992" y="193"/>
                      </a:lnTo>
                      <a:lnTo>
                        <a:pt x="992" y="193"/>
                      </a:lnTo>
                      <a:lnTo>
                        <a:pt x="993" y="193"/>
                      </a:lnTo>
                      <a:lnTo>
                        <a:pt x="993" y="193"/>
                      </a:lnTo>
                      <a:lnTo>
                        <a:pt x="993" y="193"/>
                      </a:lnTo>
                      <a:lnTo>
                        <a:pt x="993" y="193"/>
                      </a:lnTo>
                      <a:lnTo>
                        <a:pt x="993" y="193"/>
                      </a:lnTo>
                      <a:lnTo>
                        <a:pt x="994" y="193"/>
                      </a:lnTo>
                      <a:lnTo>
                        <a:pt x="995" y="193"/>
                      </a:lnTo>
                      <a:lnTo>
                        <a:pt x="995" y="194"/>
                      </a:lnTo>
                      <a:lnTo>
                        <a:pt x="995" y="193"/>
                      </a:lnTo>
                      <a:lnTo>
                        <a:pt x="995" y="194"/>
                      </a:lnTo>
                      <a:lnTo>
                        <a:pt x="995" y="193"/>
                      </a:lnTo>
                      <a:lnTo>
                        <a:pt x="995" y="194"/>
                      </a:lnTo>
                      <a:lnTo>
                        <a:pt x="995" y="194"/>
                      </a:lnTo>
                      <a:lnTo>
                        <a:pt x="996" y="194"/>
                      </a:lnTo>
                      <a:lnTo>
                        <a:pt x="995" y="194"/>
                      </a:lnTo>
                      <a:lnTo>
                        <a:pt x="995" y="193"/>
                      </a:lnTo>
                      <a:lnTo>
                        <a:pt x="995" y="194"/>
                      </a:lnTo>
                      <a:lnTo>
                        <a:pt x="996" y="194"/>
                      </a:lnTo>
                      <a:lnTo>
                        <a:pt x="996" y="194"/>
                      </a:lnTo>
                      <a:lnTo>
                        <a:pt x="996" y="194"/>
                      </a:lnTo>
                      <a:lnTo>
                        <a:pt x="996" y="194"/>
                      </a:lnTo>
                      <a:lnTo>
                        <a:pt x="996" y="194"/>
                      </a:lnTo>
                      <a:lnTo>
                        <a:pt x="996" y="195"/>
                      </a:lnTo>
                      <a:lnTo>
                        <a:pt x="997" y="195"/>
                      </a:lnTo>
                      <a:lnTo>
                        <a:pt x="997" y="196"/>
                      </a:lnTo>
                      <a:lnTo>
                        <a:pt x="996" y="196"/>
                      </a:lnTo>
                      <a:lnTo>
                        <a:pt x="996" y="196"/>
                      </a:lnTo>
                      <a:lnTo>
                        <a:pt x="997" y="196"/>
                      </a:lnTo>
                      <a:lnTo>
                        <a:pt x="996" y="196"/>
                      </a:lnTo>
                      <a:lnTo>
                        <a:pt x="997" y="196"/>
                      </a:lnTo>
                      <a:lnTo>
                        <a:pt x="996" y="196"/>
                      </a:lnTo>
                      <a:lnTo>
                        <a:pt x="997" y="196"/>
                      </a:lnTo>
                      <a:lnTo>
                        <a:pt x="996" y="196"/>
                      </a:lnTo>
                      <a:lnTo>
                        <a:pt x="997" y="196"/>
                      </a:lnTo>
                      <a:lnTo>
                        <a:pt x="996" y="196"/>
                      </a:lnTo>
                      <a:lnTo>
                        <a:pt x="997" y="196"/>
                      </a:lnTo>
                      <a:lnTo>
                        <a:pt x="997" y="197"/>
                      </a:lnTo>
                      <a:lnTo>
                        <a:pt x="996" y="197"/>
                      </a:lnTo>
                      <a:lnTo>
                        <a:pt x="997" y="197"/>
                      </a:lnTo>
                      <a:lnTo>
                        <a:pt x="998" y="197"/>
                      </a:lnTo>
                      <a:lnTo>
                        <a:pt x="998" y="197"/>
                      </a:lnTo>
                      <a:lnTo>
                        <a:pt x="999" y="197"/>
                      </a:lnTo>
                      <a:lnTo>
                        <a:pt x="999" y="197"/>
                      </a:lnTo>
                      <a:lnTo>
                        <a:pt x="999" y="198"/>
                      </a:lnTo>
                      <a:lnTo>
                        <a:pt x="999" y="197"/>
                      </a:lnTo>
                      <a:lnTo>
                        <a:pt x="1000" y="197"/>
                      </a:lnTo>
                      <a:lnTo>
                        <a:pt x="999" y="198"/>
                      </a:lnTo>
                      <a:lnTo>
                        <a:pt x="999" y="199"/>
                      </a:lnTo>
                      <a:lnTo>
                        <a:pt x="999" y="199"/>
                      </a:lnTo>
                      <a:lnTo>
                        <a:pt x="999" y="199"/>
                      </a:lnTo>
                      <a:lnTo>
                        <a:pt x="999" y="199"/>
                      </a:lnTo>
                      <a:lnTo>
                        <a:pt x="999" y="199"/>
                      </a:lnTo>
                      <a:lnTo>
                        <a:pt x="999" y="198"/>
                      </a:lnTo>
                      <a:lnTo>
                        <a:pt x="1000" y="198"/>
                      </a:lnTo>
                      <a:lnTo>
                        <a:pt x="1000" y="198"/>
                      </a:lnTo>
                      <a:lnTo>
                        <a:pt x="1001" y="198"/>
                      </a:lnTo>
                      <a:lnTo>
                        <a:pt x="1001" y="199"/>
                      </a:lnTo>
                      <a:lnTo>
                        <a:pt x="1002" y="199"/>
                      </a:lnTo>
                      <a:lnTo>
                        <a:pt x="1002" y="199"/>
                      </a:lnTo>
                      <a:lnTo>
                        <a:pt x="1002" y="199"/>
                      </a:lnTo>
                      <a:lnTo>
                        <a:pt x="1003" y="199"/>
                      </a:lnTo>
                      <a:lnTo>
                        <a:pt x="1003" y="200"/>
                      </a:lnTo>
                      <a:lnTo>
                        <a:pt x="1002" y="200"/>
                      </a:lnTo>
                      <a:lnTo>
                        <a:pt x="1003" y="200"/>
                      </a:lnTo>
                      <a:lnTo>
                        <a:pt x="1003" y="200"/>
                      </a:lnTo>
                      <a:lnTo>
                        <a:pt x="1003" y="200"/>
                      </a:lnTo>
                      <a:lnTo>
                        <a:pt x="1003" y="200"/>
                      </a:lnTo>
                      <a:lnTo>
                        <a:pt x="1002" y="201"/>
                      </a:lnTo>
                      <a:lnTo>
                        <a:pt x="1003" y="201"/>
                      </a:lnTo>
                      <a:lnTo>
                        <a:pt x="1003" y="201"/>
                      </a:lnTo>
                      <a:lnTo>
                        <a:pt x="1003" y="201"/>
                      </a:lnTo>
                      <a:lnTo>
                        <a:pt x="1003" y="201"/>
                      </a:lnTo>
                      <a:lnTo>
                        <a:pt x="1003" y="201"/>
                      </a:lnTo>
                      <a:lnTo>
                        <a:pt x="1003" y="201"/>
                      </a:lnTo>
                      <a:lnTo>
                        <a:pt x="1003" y="201"/>
                      </a:lnTo>
                      <a:lnTo>
                        <a:pt x="1003" y="201"/>
                      </a:lnTo>
                      <a:lnTo>
                        <a:pt x="1003" y="201"/>
                      </a:lnTo>
                      <a:lnTo>
                        <a:pt x="1004" y="200"/>
                      </a:lnTo>
                      <a:lnTo>
                        <a:pt x="1004" y="200"/>
                      </a:lnTo>
                      <a:lnTo>
                        <a:pt x="1005" y="200"/>
                      </a:lnTo>
                      <a:lnTo>
                        <a:pt x="1006" y="200"/>
                      </a:lnTo>
                      <a:lnTo>
                        <a:pt x="1006" y="201"/>
                      </a:lnTo>
                      <a:lnTo>
                        <a:pt x="1005" y="201"/>
                      </a:lnTo>
                      <a:lnTo>
                        <a:pt x="1004" y="201"/>
                      </a:lnTo>
                      <a:lnTo>
                        <a:pt x="1004" y="201"/>
                      </a:lnTo>
                      <a:lnTo>
                        <a:pt x="1004" y="201"/>
                      </a:lnTo>
                      <a:lnTo>
                        <a:pt x="1004" y="201"/>
                      </a:lnTo>
                      <a:lnTo>
                        <a:pt x="1005" y="201"/>
                      </a:lnTo>
                      <a:lnTo>
                        <a:pt x="1005" y="202"/>
                      </a:lnTo>
                      <a:lnTo>
                        <a:pt x="1004" y="202"/>
                      </a:lnTo>
                      <a:lnTo>
                        <a:pt x="1005" y="202"/>
                      </a:lnTo>
                      <a:lnTo>
                        <a:pt x="1005" y="203"/>
                      </a:lnTo>
                      <a:lnTo>
                        <a:pt x="1005" y="203"/>
                      </a:lnTo>
                      <a:lnTo>
                        <a:pt x="1006" y="204"/>
                      </a:lnTo>
                      <a:lnTo>
                        <a:pt x="1006" y="204"/>
                      </a:lnTo>
                      <a:lnTo>
                        <a:pt x="1006" y="204"/>
                      </a:lnTo>
                      <a:lnTo>
                        <a:pt x="1006" y="205"/>
                      </a:lnTo>
                      <a:lnTo>
                        <a:pt x="1006" y="205"/>
                      </a:lnTo>
                      <a:lnTo>
                        <a:pt x="1006" y="205"/>
                      </a:lnTo>
                      <a:lnTo>
                        <a:pt x="1006" y="205"/>
                      </a:lnTo>
                      <a:lnTo>
                        <a:pt x="1006" y="205"/>
                      </a:lnTo>
                      <a:lnTo>
                        <a:pt x="1006" y="205"/>
                      </a:lnTo>
                      <a:lnTo>
                        <a:pt x="1005" y="205"/>
                      </a:lnTo>
                      <a:lnTo>
                        <a:pt x="1005" y="206"/>
                      </a:lnTo>
                      <a:lnTo>
                        <a:pt x="1004" y="206"/>
                      </a:lnTo>
                      <a:lnTo>
                        <a:pt x="1004" y="206"/>
                      </a:lnTo>
                      <a:lnTo>
                        <a:pt x="1004" y="207"/>
                      </a:lnTo>
                      <a:lnTo>
                        <a:pt x="1003" y="207"/>
                      </a:lnTo>
                      <a:lnTo>
                        <a:pt x="1003" y="207"/>
                      </a:lnTo>
                      <a:lnTo>
                        <a:pt x="1003" y="207"/>
                      </a:lnTo>
                      <a:lnTo>
                        <a:pt x="1003" y="207"/>
                      </a:lnTo>
                      <a:lnTo>
                        <a:pt x="1003" y="207"/>
                      </a:lnTo>
                      <a:lnTo>
                        <a:pt x="1002" y="207"/>
                      </a:lnTo>
                      <a:lnTo>
                        <a:pt x="1002" y="207"/>
                      </a:lnTo>
                      <a:lnTo>
                        <a:pt x="1001" y="207"/>
                      </a:lnTo>
                      <a:lnTo>
                        <a:pt x="1000" y="208"/>
                      </a:lnTo>
                      <a:lnTo>
                        <a:pt x="1000" y="208"/>
                      </a:lnTo>
                      <a:lnTo>
                        <a:pt x="1000" y="208"/>
                      </a:lnTo>
                      <a:lnTo>
                        <a:pt x="999" y="208"/>
                      </a:lnTo>
                      <a:lnTo>
                        <a:pt x="999" y="208"/>
                      </a:lnTo>
                      <a:lnTo>
                        <a:pt x="999" y="208"/>
                      </a:lnTo>
                      <a:lnTo>
                        <a:pt x="999" y="208"/>
                      </a:lnTo>
                      <a:lnTo>
                        <a:pt x="999" y="208"/>
                      </a:lnTo>
                      <a:lnTo>
                        <a:pt x="998" y="208"/>
                      </a:lnTo>
                      <a:lnTo>
                        <a:pt x="998" y="209"/>
                      </a:lnTo>
                      <a:lnTo>
                        <a:pt x="997" y="209"/>
                      </a:lnTo>
                      <a:lnTo>
                        <a:pt x="996" y="209"/>
                      </a:lnTo>
                      <a:lnTo>
                        <a:pt x="996" y="210"/>
                      </a:lnTo>
                      <a:lnTo>
                        <a:pt x="996" y="209"/>
                      </a:lnTo>
                      <a:lnTo>
                        <a:pt x="996" y="209"/>
                      </a:lnTo>
                      <a:lnTo>
                        <a:pt x="996" y="210"/>
                      </a:lnTo>
                      <a:lnTo>
                        <a:pt x="996" y="209"/>
                      </a:lnTo>
                      <a:lnTo>
                        <a:pt x="995" y="209"/>
                      </a:lnTo>
                      <a:lnTo>
                        <a:pt x="996" y="209"/>
                      </a:lnTo>
                      <a:lnTo>
                        <a:pt x="995" y="209"/>
                      </a:lnTo>
                      <a:lnTo>
                        <a:pt x="995" y="209"/>
                      </a:lnTo>
                      <a:lnTo>
                        <a:pt x="995" y="209"/>
                      </a:lnTo>
                      <a:lnTo>
                        <a:pt x="995" y="209"/>
                      </a:lnTo>
                      <a:lnTo>
                        <a:pt x="994" y="209"/>
                      </a:lnTo>
                      <a:lnTo>
                        <a:pt x="995" y="209"/>
                      </a:lnTo>
                      <a:lnTo>
                        <a:pt x="994" y="209"/>
                      </a:lnTo>
                      <a:lnTo>
                        <a:pt x="995" y="209"/>
                      </a:lnTo>
                      <a:lnTo>
                        <a:pt x="994" y="209"/>
                      </a:lnTo>
                      <a:lnTo>
                        <a:pt x="994" y="210"/>
                      </a:lnTo>
                      <a:lnTo>
                        <a:pt x="994" y="209"/>
                      </a:lnTo>
                      <a:lnTo>
                        <a:pt x="994" y="210"/>
                      </a:lnTo>
                      <a:lnTo>
                        <a:pt x="993" y="210"/>
                      </a:lnTo>
                      <a:lnTo>
                        <a:pt x="993" y="210"/>
                      </a:lnTo>
                      <a:lnTo>
                        <a:pt x="992" y="209"/>
                      </a:lnTo>
                      <a:lnTo>
                        <a:pt x="992" y="210"/>
                      </a:lnTo>
                      <a:lnTo>
                        <a:pt x="992" y="210"/>
                      </a:lnTo>
                      <a:lnTo>
                        <a:pt x="991" y="210"/>
                      </a:lnTo>
                      <a:lnTo>
                        <a:pt x="991" y="209"/>
                      </a:lnTo>
                      <a:lnTo>
                        <a:pt x="991" y="208"/>
                      </a:lnTo>
                      <a:lnTo>
                        <a:pt x="991" y="208"/>
                      </a:lnTo>
                      <a:lnTo>
                        <a:pt x="991" y="208"/>
                      </a:lnTo>
                      <a:lnTo>
                        <a:pt x="991" y="209"/>
                      </a:lnTo>
                      <a:lnTo>
                        <a:pt x="991" y="210"/>
                      </a:lnTo>
                      <a:lnTo>
                        <a:pt x="992" y="210"/>
                      </a:lnTo>
                      <a:lnTo>
                        <a:pt x="992" y="210"/>
                      </a:lnTo>
                      <a:lnTo>
                        <a:pt x="992" y="209"/>
                      </a:lnTo>
                      <a:lnTo>
                        <a:pt x="992" y="210"/>
                      </a:lnTo>
                      <a:lnTo>
                        <a:pt x="993" y="210"/>
                      </a:lnTo>
                      <a:lnTo>
                        <a:pt x="992" y="210"/>
                      </a:lnTo>
                      <a:lnTo>
                        <a:pt x="993" y="210"/>
                      </a:lnTo>
                      <a:lnTo>
                        <a:pt x="993" y="210"/>
                      </a:lnTo>
                      <a:lnTo>
                        <a:pt x="993" y="210"/>
                      </a:lnTo>
                      <a:lnTo>
                        <a:pt x="993" y="210"/>
                      </a:lnTo>
                      <a:lnTo>
                        <a:pt x="994" y="210"/>
                      </a:lnTo>
                      <a:lnTo>
                        <a:pt x="995" y="209"/>
                      </a:lnTo>
                      <a:lnTo>
                        <a:pt x="995" y="209"/>
                      </a:lnTo>
                      <a:lnTo>
                        <a:pt x="996" y="209"/>
                      </a:lnTo>
                      <a:lnTo>
                        <a:pt x="996" y="210"/>
                      </a:lnTo>
                      <a:lnTo>
                        <a:pt x="996" y="209"/>
                      </a:lnTo>
                      <a:lnTo>
                        <a:pt x="995" y="209"/>
                      </a:lnTo>
                      <a:lnTo>
                        <a:pt x="996" y="209"/>
                      </a:lnTo>
                      <a:lnTo>
                        <a:pt x="996" y="210"/>
                      </a:lnTo>
                      <a:lnTo>
                        <a:pt x="996" y="209"/>
                      </a:lnTo>
                      <a:lnTo>
                        <a:pt x="996" y="209"/>
                      </a:lnTo>
                      <a:lnTo>
                        <a:pt x="996" y="210"/>
                      </a:lnTo>
                      <a:lnTo>
                        <a:pt x="997" y="210"/>
                      </a:lnTo>
                      <a:lnTo>
                        <a:pt x="996" y="210"/>
                      </a:lnTo>
                      <a:lnTo>
                        <a:pt x="997" y="210"/>
                      </a:lnTo>
                      <a:lnTo>
                        <a:pt x="996" y="210"/>
                      </a:lnTo>
                      <a:lnTo>
                        <a:pt x="997" y="210"/>
                      </a:lnTo>
                      <a:lnTo>
                        <a:pt x="997" y="211"/>
                      </a:lnTo>
                      <a:lnTo>
                        <a:pt x="996" y="211"/>
                      </a:lnTo>
                      <a:lnTo>
                        <a:pt x="996" y="211"/>
                      </a:lnTo>
                      <a:lnTo>
                        <a:pt x="996" y="212"/>
                      </a:lnTo>
                      <a:lnTo>
                        <a:pt x="996" y="212"/>
                      </a:lnTo>
                      <a:lnTo>
                        <a:pt x="996" y="213"/>
                      </a:lnTo>
                      <a:lnTo>
                        <a:pt x="996" y="213"/>
                      </a:lnTo>
                      <a:lnTo>
                        <a:pt x="996" y="214"/>
                      </a:lnTo>
                      <a:lnTo>
                        <a:pt x="996" y="214"/>
                      </a:lnTo>
                      <a:lnTo>
                        <a:pt x="997" y="214"/>
                      </a:lnTo>
                      <a:lnTo>
                        <a:pt x="996" y="215"/>
                      </a:lnTo>
                      <a:lnTo>
                        <a:pt x="996" y="215"/>
                      </a:lnTo>
                      <a:lnTo>
                        <a:pt x="996" y="215"/>
                      </a:lnTo>
                      <a:lnTo>
                        <a:pt x="996" y="215"/>
                      </a:lnTo>
                      <a:lnTo>
                        <a:pt x="996" y="216"/>
                      </a:lnTo>
                      <a:lnTo>
                        <a:pt x="996" y="215"/>
                      </a:lnTo>
                      <a:lnTo>
                        <a:pt x="996" y="215"/>
                      </a:lnTo>
                      <a:lnTo>
                        <a:pt x="996" y="215"/>
                      </a:lnTo>
                      <a:lnTo>
                        <a:pt x="996" y="215"/>
                      </a:lnTo>
                      <a:lnTo>
                        <a:pt x="996" y="215"/>
                      </a:lnTo>
                      <a:lnTo>
                        <a:pt x="996" y="215"/>
                      </a:lnTo>
                      <a:lnTo>
                        <a:pt x="997" y="214"/>
                      </a:lnTo>
                      <a:lnTo>
                        <a:pt x="996" y="214"/>
                      </a:lnTo>
                      <a:lnTo>
                        <a:pt x="996" y="214"/>
                      </a:lnTo>
                      <a:lnTo>
                        <a:pt x="996" y="213"/>
                      </a:lnTo>
                      <a:lnTo>
                        <a:pt x="996" y="212"/>
                      </a:lnTo>
                      <a:lnTo>
                        <a:pt x="996" y="212"/>
                      </a:lnTo>
                      <a:lnTo>
                        <a:pt x="996" y="211"/>
                      </a:lnTo>
                      <a:lnTo>
                        <a:pt x="996" y="211"/>
                      </a:lnTo>
                      <a:lnTo>
                        <a:pt x="997" y="211"/>
                      </a:lnTo>
                      <a:lnTo>
                        <a:pt x="996" y="211"/>
                      </a:lnTo>
                      <a:lnTo>
                        <a:pt x="997" y="211"/>
                      </a:lnTo>
                      <a:lnTo>
                        <a:pt x="997" y="210"/>
                      </a:lnTo>
                      <a:lnTo>
                        <a:pt x="997" y="211"/>
                      </a:lnTo>
                      <a:lnTo>
                        <a:pt x="997" y="210"/>
                      </a:lnTo>
                      <a:lnTo>
                        <a:pt x="996" y="210"/>
                      </a:lnTo>
                      <a:lnTo>
                        <a:pt x="997" y="210"/>
                      </a:lnTo>
                      <a:lnTo>
                        <a:pt x="996" y="210"/>
                      </a:lnTo>
                      <a:lnTo>
                        <a:pt x="997" y="209"/>
                      </a:lnTo>
                      <a:lnTo>
                        <a:pt x="998" y="209"/>
                      </a:lnTo>
                      <a:lnTo>
                        <a:pt x="998" y="209"/>
                      </a:lnTo>
                      <a:lnTo>
                        <a:pt x="998" y="208"/>
                      </a:lnTo>
                      <a:lnTo>
                        <a:pt x="999" y="208"/>
                      </a:lnTo>
                      <a:lnTo>
                        <a:pt x="999" y="208"/>
                      </a:lnTo>
                      <a:lnTo>
                        <a:pt x="999" y="208"/>
                      </a:lnTo>
                      <a:lnTo>
                        <a:pt x="999" y="208"/>
                      </a:lnTo>
                      <a:lnTo>
                        <a:pt x="999" y="208"/>
                      </a:lnTo>
                      <a:lnTo>
                        <a:pt x="1000" y="208"/>
                      </a:lnTo>
                      <a:lnTo>
                        <a:pt x="1000" y="208"/>
                      </a:lnTo>
                      <a:lnTo>
                        <a:pt x="1000" y="208"/>
                      </a:lnTo>
                      <a:lnTo>
                        <a:pt x="1000" y="208"/>
                      </a:lnTo>
                      <a:lnTo>
                        <a:pt x="1000" y="208"/>
                      </a:lnTo>
                      <a:lnTo>
                        <a:pt x="1000" y="208"/>
                      </a:lnTo>
                      <a:lnTo>
                        <a:pt x="1000" y="208"/>
                      </a:lnTo>
                      <a:lnTo>
                        <a:pt x="1000" y="208"/>
                      </a:lnTo>
                      <a:lnTo>
                        <a:pt x="1001" y="208"/>
                      </a:lnTo>
                      <a:lnTo>
                        <a:pt x="1000" y="208"/>
                      </a:lnTo>
                      <a:lnTo>
                        <a:pt x="1001" y="207"/>
                      </a:lnTo>
                      <a:lnTo>
                        <a:pt x="1002" y="207"/>
                      </a:lnTo>
                      <a:lnTo>
                        <a:pt x="1002" y="207"/>
                      </a:lnTo>
                      <a:lnTo>
                        <a:pt x="1003" y="207"/>
                      </a:lnTo>
                      <a:lnTo>
                        <a:pt x="1003" y="207"/>
                      </a:lnTo>
                      <a:lnTo>
                        <a:pt x="1003" y="207"/>
                      </a:lnTo>
                      <a:lnTo>
                        <a:pt x="1003" y="207"/>
                      </a:lnTo>
                      <a:lnTo>
                        <a:pt x="1003" y="207"/>
                      </a:lnTo>
                      <a:lnTo>
                        <a:pt x="1004" y="207"/>
                      </a:lnTo>
                      <a:lnTo>
                        <a:pt x="1004" y="207"/>
                      </a:lnTo>
                      <a:lnTo>
                        <a:pt x="1004" y="206"/>
                      </a:lnTo>
                      <a:lnTo>
                        <a:pt x="1005" y="206"/>
                      </a:lnTo>
                      <a:lnTo>
                        <a:pt x="1006" y="206"/>
                      </a:lnTo>
                      <a:lnTo>
                        <a:pt x="1006" y="206"/>
                      </a:lnTo>
                      <a:lnTo>
                        <a:pt x="1006" y="205"/>
                      </a:lnTo>
                      <a:lnTo>
                        <a:pt x="1007" y="205"/>
                      </a:lnTo>
                      <a:lnTo>
                        <a:pt x="1006" y="205"/>
                      </a:lnTo>
                      <a:lnTo>
                        <a:pt x="1007" y="205"/>
                      </a:lnTo>
                      <a:lnTo>
                        <a:pt x="1007" y="205"/>
                      </a:lnTo>
                      <a:lnTo>
                        <a:pt x="1007" y="204"/>
                      </a:lnTo>
                      <a:lnTo>
                        <a:pt x="1007" y="205"/>
                      </a:lnTo>
                      <a:lnTo>
                        <a:pt x="1007" y="204"/>
                      </a:lnTo>
                      <a:lnTo>
                        <a:pt x="1007" y="204"/>
                      </a:lnTo>
                      <a:lnTo>
                        <a:pt x="1007" y="203"/>
                      </a:lnTo>
                      <a:lnTo>
                        <a:pt x="1006" y="203"/>
                      </a:lnTo>
                      <a:lnTo>
                        <a:pt x="1006" y="203"/>
                      </a:lnTo>
                      <a:lnTo>
                        <a:pt x="1006" y="202"/>
                      </a:lnTo>
                      <a:lnTo>
                        <a:pt x="1006" y="201"/>
                      </a:lnTo>
                      <a:lnTo>
                        <a:pt x="1007" y="201"/>
                      </a:lnTo>
                      <a:lnTo>
                        <a:pt x="1007" y="201"/>
                      </a:lnTo>
                      <a:lnTo>
                        <a:pt x="1007" y="201"/>
                      </a:lnTo>
                      <a:lnTo>
                        <a:pt x="1007" y="201"/>
                      </a:lnTo>
                      <a:lnTo>
                        <a:pt x="1007" y="201"/>
                      </a:lnTo>
                      <a:lnTo>
                        <a:pt x="1007" y="201"/>
                      </a:lnTo>
                      <a:lnTo>
                        <a:pt x="1007" y="201"/>
                      </a:lnTo>
                      <a:lnTo>
                        <a:pt x="1008" y="201"/>
                      </a:lnTo>
                      <a:lnTo>
                        <a:pt x="1008" y="201"/>
                      </a:lnTo>
                      <a:lnTo>
                        <a:pt x="1008" y="201"/>
                      </a:lnTo>
                      <a:lnTo>
                        <a:pt x="1009" y="202"/>
                      </a:lnTo>
                      <a:lnTo>
                        <a:pt x="1008" y="202"/>
                      </a:lnTo>
                      <a:lnTo>
                        <a:pt x="1009" y="202"/>
                      </a:lnTo>
                      <a:lnTo>
                        <a:pt x="1008" y="202"/>
                      </a:lnTo>
                      <a:lnTo>
                        <a:pt x="1009" y="202"/>
                      </a:lnTo>
                      <a:lnTo>
                        <a:pt x="1009" y="203"/>
                      </a:lnTo>
                      <a:lnTo>
                        <a:pt x="1008" y="203"/>
                      </a:lnTo>
                      <a:lnTo>
                        <a:pt x="1009" y="203"/>
                      </a:lnTo>
                      <a:lnTo>
                        <a:pt x="1009" y="203"/>
                      </a:lnTo>
                      <a:lnTo>
                        <a:pt x="1009" y="203"/>
                      </a:lnTo>
                      <a:lnTo>
                        <a:pt x="1009" y="203"/>
                      </a:lnTo>
                      <a:lnTo>
                        <a:pt x="1010" y="203"/>
                      </a:lnTo>
                      <a:lnTo>
                        <a:pt x="1010" y="204"/>
                      </a:lnTo>
                      <a:lnTo>
                        <a:pt x="1009" y="204"/>
                      </a:lnTo>
                      <a:lnTo>
                        <a:pt x="1008" y="204"/>
                      </a:lnTo>
                      <a:lnTo>
                        <a:pt x="1009" y="204"/>
                      </a:lnTo>
                      <a:lnTo>
                        <a:pt x="1009" y="204"/>
                      </a:lnTo>
                      <a:lnTo>
                        <a:pt x="1009" y="204"/>
                      </a:lnTo>
                      <a:lnTo>
                        <a:pt x="1008" y="204"/>
                      </a:lnTo>
                      <a:lnTo>
                        <a:pt x="1009" y="204"/>
                      </a:lnTo>
                      <a:lnTo>
                        <a:pt x="1010" y="204"/>
                      </a:lnTo>
                      <a:lnTo>
                        <a:pt x="1010" y="203"/>
                      </a:lnTo>
                      <a:lnTo>
                        <a:pt x="1010" y="203"/>
                      </a:lnTo>
                      <a:lnTo>
                        <a:pt x="1010" y="203"/>
                      </a:lnTo>
                      <a:lnTo>
                        <a:pt x="1010" y="203"/>
                      </a:lnTo>
                      <a:lnTo>
                        <a:pt x="1010" y="203"/>
                      </a:lnTo>
                      <a:lnTo>
                        <a:pt x="1011" y="203"/>
                      </a:lnTo>
                      <a:lnTo>
                        <a:pt x="1011" y="203"/>
                      </a:lnTo>
                      <a:lnTo>
                        <a:pt x="1012" y="203"/>
                      </a:lnTo>
                      <a:lnTo>
                        <a:pt x="1012" y="204"/>
                      </a:lnTo>
                      <a:lnTo>
                        <a:pt x="1013" y="204"/>
                      </a:lnTo>
                      <a:lnTo>
                        <a:pt x="1013" y="204"/>
                      </a:lnTo>
                      <a:lnTo>
                        <a:pt x="1012" y="204"/>
                      </a:lnTo>
                      <a:lnTo>
                        <a:pt x="1012" y="205"/>
                      </a:lnTo>
                      <a:lnTo>
                        <a:pt x="1013" y="205"/>
                      </a:lnTo>
                      <a:lnTo>
                        <a:pt x="1012" y="205"/>
                      </a:lnTo>
                      <a:lnTo>
                        <a:pt x="1011" y="205"/>
                      </a:lnTo>
                      <a:lnTo>
                        <a:pt x="1011" y="205"/>
                      </a:lnTo>
                      <a:lnTo>
                        <a:pt x="1011" y="205"/>
                      </a:lnTo>
                      <a:lnTo>
                        <a:pt x="1012" y="205"/>
                      </a:lnTo>
                      <a:lnTo>
                        <a:pt x="1013" y="205"/>
                      </a:lnTo>
                      <a:lnTo>
                        <a:pt x="1013" y="205"/>
                      </a:lnTo>
                      <a:lnTo>
                        <a:pt x="1013" y="205"/>
                      </a:lnTo>
                      <a:lnTo>
                        <a:pt x="1014" y="205"/>
                      </a:lnTo>
                      <a:lnTo>
                        <a:pt x="1014" y="205"/>
                      </a:lnTo>
                      <a:lnTo>
                        <a:pt x="1014" y="206"/>
                      </a:lnTo>
                      <a:lnTo>
                        <a:pt x="1014" y="205"/>
                      </a:lnTo>
                      <a:lnTo>
                        <a:pt x="1014" y="206"/>
                      </a:lnTo>
                      <a:lnTo>
                        <a:pt x="1015" y="206"/>
                      </a:lnTo>
                      <a:lnTo>
                        <a:pt x="1015" y="206"/>
                      </a:lnTo>
                      <a:lnTo>
                        <a:pt x="1016" y="206"/>
                      </a:lnTo>
                      <a:lnTo>
                        <a:pt x="1017" y="206"/>
                      </a:lnTo>
                      <a:lnTo>
                        <a:pt x="1017" y="206"/>
                      </a:lnTo>
                      <a:lnTo>
                        <a:pt x="1017" y="206"/>
                      </a:lnTo>
                      <a:lnTo>
                        <a:pt x="1017" y="205"/>
                      </a:lnTo>
                      <a:lnTo>
                        <a:pt x="1016" y="205"/>
                      </a:lnTo>
                      <a:lnTo>
                        <a:pt x="1015" y="205"/>
                      </a:lnTo>
                      <a:lnTo>
                        <a:pt x="1015" y="205"/>
                      </a:lnTo>
                      <a:lnTo>
                        <a:pt x="1015" y="205"/>
                      </a:lnTo>
                      <a:lnTo>
                        <a:pt x="1014" y="205"/>
                      </a:lnTo>
                      <a:lnTo>
                        <a:pt x="1014" y="204"/>
                      </a:lnTo>
                      <a:lnTo>
                        <a:pt x="1015" y="205"/>
                      </a:lnTo>
                      <a:lnTo>
                        <a:pt x="1017" y="205"/>
                      </a:lnTo>
                      <a:lnTo>
                        <a:pt x="1017" y="206"/>
                      </a:lnTo>
                      <a:lnTo>
                        <a:pt x="1018" y="206"/>
                      </a:lnTo>
                      <a:lnTo>
                        <a:pt x="1018" y="207"/>
                      </a:lnTo>
                      <a:lnTo>
                        <a:pt x="1019" y="207"/>
                      </a:lnTo>
                      <a:lnTo>
                        <a:pt x="1020" y="207"/>
                      </a:lnTo>
                      <a:lnTo>
                        <a:pt x="1019" y="207"/>
                      </a:lnTo>
                      <a:lnTo>
                        <a:pt x="1020" y="207"/>
                      </a:lnTo>
                      <a:lnTo>
                        <a:pt x="1019" y="207"/>
                      </a:lnTo>
                      <a:lnTo>
                        <a:pt x="1019" y="207"/>
                      </a:lnTo>
                      <a:lnTo>
                        <a:pt x="1019" y="207"/>
                      </a:lnTo>
                      <a:lnTo>
                        <a:pt x="1019" y="207"/>
                      </a:lnTo>
                      <a:lnTo>
                        <a:pt x="1019" y="207"/>
                      </a:lnTo>
                      <a:lnTo>
                        <a:pt x="1018" y="207"/>
                      </a:lnTo>
                      <a:lnTo>
                        <a:pt x="1018" y="207"/>
                      </a:lnTo>
                      <a:lnTo>
                        <a:pt x="1018" y="207"/>
                      </a:lnTo>
                      <a:lnTo>
                        <a:pt x="1017" y="207"/>
                      </a:lnTo>
                      <a:lnTo>
                        <a:pt x="1017" y="208"/>
                      </a:lnTo>
                      <a:lnTo>
                        <a:pt x="1018" y="208"/>
                      </a:lnTo>
                      <a:lnTo>
                        <a:pt x="1018" y="208"/>
                      </a:lnTo>
                      <a:lnTo>
                        <a:pt x="1017" y="208"/>
                      </a:lnTo>
                      <a:lnTo>
                        <a:pt x="1017" y="208"/>
                      </a:lnTo>
                      <a:lnTo>
                        <a:pt x="1016" y="208"/>
                      </a:lnTo>
                      <a:lnTo>
                        <a:pt x="1016" y="209"/>
                      </a:lnTo>
                      <a:lnTo>
                        <a:pt x="1015" y="209"/>
                      </a:lnTo>
                      <a:lnTo>
                        <a:pt x="1015" y="209"/>
                      </a:lnTo>
                      <a:lnTo>
                        <a:pt x="1015" y="209"/>
                      </a:lnTo>
                      <a:lnTo>
                        <a:pt x="1015" y="209"/>
                      </a:lnTo>
                      <a:lnTo>
                        <a:pt x="1014" y="209"/>
                      </a:lnTo>
                      <a:lnTo>
                        <a:pt x="1014" y="209"/>
                      </a:lnTo>
                      <a:lnTo>
                        <a:pt x="1014" y="208"/>
                      </a:lnTo>
                      <a:lnTo>
                        <a:pt x="1013" y="208"/>
                      </a:lnTo>
                      <a:lnTo>
                        <a:pt x="1014" y="208"/>
                      </a:lnTo>
                      <a:lnTo>
                        <a:pt x="1013" y="208"/>
                      </a:lnTo>
                      <a:lnTo>
                        <a:pt x="1013" y="208"/>
                      </a:lnTo>
                      <a:lnTo>
                        <a:pt x="1012" y="208"/>
                      </a:lnTo>
                      <a:lnTo>
                        <a:pt x="1011" y="209"/>
                      </a:lnTo>
                      <a:lnTo>
                        <a:pt x="1011" y="209"/>
                      </a:lnTo>
                      <a:lnTo>
                        <a:pt x="1010" y="209"/>
                      </a:lnTo>
                      <a:lnTo>
                        <a:pt x="1010" y="209"/>
                      </a:lnTo>
                      <a:lnTo>
                        <a:pt x="1010" y="209"/>
                      </a:lnTo>
                      <a:lnTo>
                        <a:pt x="1011" y="209"/>
                      </a:lnTo>
                      <a:lnTo>
                        <a:pt x="1011" y="209"/>
                      </a:lnTo>
                      <a:lnTo>
                        <a:pt x="1012" y="209"/>
                      </a:lnTo>
                      <a:lnTo>
                        <a:pt x="1011" y="209"/>
                      </a:lnTo>
                      <a:lnTo>
                        <a:pt x="1012" y="209"/>
                      </a:lnTo>
                      <a:lnTo>
                        <a:pt x="1011" y="209"/>
                      </a:lnTo>
                      <a:lnTo>
                        <a:pt x="1012" y="209"/>
                      </a:lnTo>
                      <a:lnTo>
                        <a:pt x="1011" y="209"/>
                      </a:lnTo>
                      <a:lnTo>
                        <a:pt x="1012" y="210"/>
                      </a:lnTo>
                      <a:lnTo>
                        <a:pt x="1012" y="210"/>
                      </a:lnTo>
                      <a:lnTo>
                        <a:pt x="1012" y="211"/>
                      </a:lnTo>
                      <a:lnTo>
                        <a:pt x="1011" y="211"/>
                      </a:lnTo>
                      <a:lnTo>
                        <a:pt x="1011" y="211"/>
                      </a:lnTo>
                      <a:lnTo>
                        <a:pt x="1011" y="212"/>
                      </a:lnTo>
                      <a:lnTo>
                        <a:pt x="1011" y="212"/>
                      </a:lnTo>
                      <a:lnTo>
                        <a:pt x="1011" y="212"/>
                      </a:lnTo>
                      <a:lnTo>
                        <a:pt x="1011" y="212"/>
                      </a:lnTo>
                      <a:lnTo>
                        <a:pt x="1010" y="212"/>
                      </a:lnTo>
                      <a:lnTo>
                        <a:pt x="1010" y="212"/>
                      </a:lnTo>
                      <a:lnTo>
                        <a:pt x="1010" y="212"/>
                      </a:lnTo>
                      <a:lnTo>
                        <a:pt x="1009" y="212"/>
                      </a:lnTo>
                      <a:lnTo>
                        <a:pt x="1009" y="213"/>
                      </a:lnTo>
                      <a:lnTo>
                        <a:pt x="1009" y="214"/>
                      </a:lnTo>
                      <a:lnTo>
                        <a:pt x="1008" y="214"/>
                      </a:lnTo>
                      <a:lnTo>
                        <a:pt x="1008" y="214"/>
                      </a:lnTo>
                      <a:lnTo>
                        <a:pt x="1008" y="214"/>
                      </a:lnTo>
                      <a:lnTo>
                        <a:pt x="1009" y="214"/>
                      </a:lnTo>
                      <a:lnTo>
                        <a:pt x="1009" y="213"/>
                      </a:lnTo>
                      <a:lnTo>
                        <a:pt x="1009" y="212"/>
                      </a:lnTo>
                      <a:lnTo>
                        <a:pt x="1010" y="212"/>
                      </a:lnTo>
                      <a:lnTo>
                        <a:pt x="1010" y="212"/>
                      </a:lnTo>
                      <a:lnTo>
                        <a:pt x="1010" y="212"/>
                      </a:lnTo>
                      <a:lnTo>
                        <a:pt x="1011" y="212"/>
                      </a:lnTo>
                      <a:lnTo>
                        <a:pt x="1011" y="212"/>
                      </a:lnTo>
                      <a:lnTo>
                        <a:pt x="1011" y="211"/>
                      </a:lnTo>
                      <a:lnTo>
                        <a:pt x="1011" y="211"/>
                      </a:lnTo>
                      <a:lnTo>
                        <a:pt x="1012" y="211"/>
                      </a:lnTo>
                      <a:lnTo>
                        <a:pt x="1012" y="210"/>
                      </a:lnTo>
                      <a:lnTo>
                        <a:pt x="1012" y="211"/>
                      </a:lnTo>
                      <a:lnTo>
                        <a:pt x="1012" y="210"/>
                      </a:lnTo>
                      <a:lnTo>
                        <a:pt x="1012" y="210"/>
                      </a:lnTo>
                      <a:lnTo>
                        <a:pt x="1012" y="209"/>
                      </a:lnTo>
                      <a:lnTo>
                        <a:pt x="1012" y="210"/>
                      </a:lnTo>
                      <a:lnTo>
                        <a:pt x="1012" y="209"/>
                      </a:lnTo>
                      <a:lnTo>
                        <a:pt x="1011" y="209"/>
                      </a:lnTo>
                      <a:lnTo>
                        <a:pt x="1012" y="209"/>
                      </a:lnTo>
                      <a:lnTo>
                        <a:pt x="1011" y="209"/>
                      </a:lnTo>
                      <a:lnTo>
                        <a:pt x="1012" y="209"/>
                      </a:lnTo>
                      <a:lnTo>
                        <a:pt x="1012" y="208"/>
                      </a:lnTo>
                      <a:lnTo>
                        <a:pt x="1013" y="208"/>
                      </a:lnTo>
                      <a:lnTo>
                        <a:pt x="1012" y="208"/>
                      </a:lnTo>
                      <a:lnTo>
                        <a:pt x="1013" y="208"/>
                      </a:lnTo>
                      <a:lnTo>
                        <a:pt x="1013" y="208"/>
                      </a:lnTo>
                      <a:lnTo>
                        <a:pt x="1013" y="208"/>
                      </a:lnTo>
                      <a:lnTo>
                        <a:pt x="1013" y="208"/>
                      </a:lnTo>
                      <a:lnTo>
                        <a:pt x="1013" y="209"/>
                      </a:lnTo>
                      <a:lnTo>
                        <a:pt x="1014" y="209"/>
                      </a:lnTo>
                      <a:lnTo>
                        <a:pt x="1014" y="209"/>
                      </a:lnTo>
                      <a:lnTo>
                        <a:pt x="1014" y="210"/>
                      </a:lnTo>
                      <a:lnTo>
                        <a:pt x="1015" y="210"/>
                      </a:lnTo>
                      <a:lnTo>
                        <a:pt x="1015" y="209"/>
                      </a:lnTo>
                      <a:lnTo>
                        <a:pt x="1015" y="209"/>
                      </a:lnTo>
                      <a:lnTo>
                        <a:pt x="1016" y="209"/>
                      </a:lnTo>
                      <a:lnTo>
                        <a:pt x="1016" y="210"/>
                      </a:lnTo>
                      <a:lnTo>
                        <a:pt x="1017" y="210"/>
                      </a:lnTo>
                      <a:lnTo>
                        <a:pt x="1017" y="210"/>
                      </a:lnTo>
                      <a:lnTo>
                        <a:pt x="1018" y="210"/>
                      </a:lnTo>
                      <a:lnTo>
                        <a:pt x="1018" y="210"/>
                      </a:lnTo>
                      <a:lnTo>
                        <a:pt x="1019" y="210"/>
                      </a:lnTo>
                      <a:lnTo>
                        <a:pt x="1019" y="210"/>
                      </a:lnTo>
                      <a:lnTo>
                        <a:pt x="1019" y="210"/>
                      </a:lnTo>
                      <a:lnTo>
                        <a:pt x="1019" y="210"/>
                      </a:lnTo>
                      <a:lnTo>
                        <a:pt x="1019" y="211"/>
                      </a:lnTo>
                      <a:lnTo>
                        <a:pt x="1019" y="211"/>
                      </a:lnTo>
                      <a:lnTo>
                        <a:pt x="1020" y="211"/>
                      </a:lnTo>
                      <a:lnTo>
                        <a:pt x="1020" y="210"/>
                      </a:lnTo>
                      <a:lnTo>
                        <a:pt x="1020" y="211"/>
                      </a:lnTo>
                      <a:lnTo>
                        <a:pt x="1020" y="210"/>
                      </a:lnTo>
                      <a:lnTo>
                        <a:pt x="1020" y="211"/>
                      </a:lnTo>
                      <a:lnTo>
                        <a:pt x="1021" y="211"/>
                      </a:lnTo>
                      <a:lnTo>
                        <a:pt x="1021" y="211"/>
                      </a:lnTo>
                      <a:lnTo>
                        <a:pt x="1021" y="211"/>
                      </a:lnTo>
                      <a:lnTo>
                        <a:pt x="1022" y="211"/>
                      </a:lnTo>
                      <a:lnTo>
                        <a:pt x="1022" y="211"/>
                      </a:lnTo>
                      <a:lnTo>
                        <a:pt x="1022" y="212"/>
                      </a:lnTo>
                      <a:lnTo>
                        <a:pt x="1023" y="212"/>
                      </a:lnTo>
                      <a:lnTo>
                        <a:pt x="1022" y="211"/>
                      </a:lnTo>
                      <a:lnTo>
                        <a:pt x="1023" y="211"/>
                      </a:lnTo>
                      <a:lnTo>
                        <a:pt x="1023" y="212"/>
                      </a:lnTo>
                      <a:lnTo>
                        <a:pt x="1023" y="212"/>
                      </a:lnTo>
                      <a:lnTo>
                        <a:pt x="1023" y="212"/>
                      </a:lnTo>
                      <a:lnTo>
                        <a:pt x="1023" y="212"/>
                      </a:lnTo>
                      <a:lnTo>
                        <a:pt x="1023" y="213"/>
                      </a:lnTo>
                      <a:lnTo>
                        <a:pt x="1023" y="212"/>
                      </a:lnTo>
                      <a:lnTo>
                        <a:pt x="1023" y="213"/>
                      </a:lnTo>
                      <a:lnTo>
                        <a:pt x="1023" y="213"/>
                      </a:lnTo>
                      <a:lnTo>
                        <a:pt x="1022" y="213"/>
                      </a:lnTo>
                      <a:lnTo>
                        <a:pt x="1022" y="214"/>
                      </a:lnTo>
                      <a:lnTo>
                        <a:pt x="1022" y="214"/>
                      </a:lnTo>
                      <a:lnTo>
                        <a:pt x="1021" y="214"/>
                      </a:lnTo>
                      <a:lnTo>
                        <a:pt x="1021" y="214"/>
                      </a:lnTo>
                      <a:lnTo>
                        <a:pt x="1021" y="214"/>
                      </a:lnTo>
                      <a:lnTo>
                        <a:pt x="1020" y="214"/>
                      </a:lnTo>
                      <a:lnTo>
                        <a:pt x="1019" y="214"/>
                      </a:lnTo>
                      <a:lnTo>
                        <a:pt x="1019" y="214"/>
                      </a:lnTo>
                      <a:lnTo>
                        <a:pt x="1019" y="214"/>
                      </a:lnTo>
                      <a:lnTo>
                        <a:pt x="1019" y="214"/>
                      </a:lnTo>
                      <a:lnTo>
                        <a:pt x="1018" y="214"/>
                      </a:lnTo>
                      <a:lnTo>
                        <a:pt x="1018" y="215"/>
                      </a:lnTo>
                      <a:lnTo>
                        <a:pt x="1018" y="215"/>
                      </a:lnTo>
                      <a:lnTo>
                        <a:pt x="1018" y="215"/>
                      </a:lnTo>
                      <a:lnTo>
                        <a:pt x="1018" y="214"/>
                      </a:lnTo>
                      <a:lnTo>
                        <a:pt x="1019" y="214"/>
                      </a:lnTo>
                      <a:lnTo>
                        <a:pt x="1019" y="214"/>
                      </a:lnTo>
                      <a:lnTo>
                        <a:pt x="1019" y="214"/>
                      </a:lnTo>
                      <a:lnTo>
                        <a:pt x="1019" y="214"/>
                      </a:lnTo>
                      <a:lnTo>
                        <a:pt x="1020" y="214"/>
                      </a:lnTo>
                      <a:lnTo>
                        <a:pt x="1020" y="215"/>
                      </a:lnTo>
                      <a:lnTo>
                        <a:pt x="1020" y="214"/>
                      </a:lnTo>
                      <a:lnTo>
                        <a:pt x="1020" y="215"/>
                      </a:lnTo>
                      <a:lnTo>
                        <a:pt x="1020" y="214"/>
                      </a:lnTo>
                      <a:lnTo>
                        <a:pt x="1021" y="214"/>
                      </a:lnTo>
                      <a:lnTo>
                        <a:pt x="1021" y="214"/>
                      </a:lnTo>
                      <a:lnTo>
                        <a:pt x="1021" y="214"/>
                      </a:lnTo>
                      <a:lnTo>
                        <a:pt x="1022" y="214"/>
                      </a:lnTo>
                      <a:lnTo>
                        <a:pt x="1022" y="214"/>
                      </a:lnTo>
                      <a:lnTo>
                        <a:pt x="1022" y="213"/>
                      </a:lnTo>
                      <a:lnTo>
                        <a:pt x="1023" y="213"/>
                      </a:lnTo>
                      <a:lnTo>
                        <a:pt x="1023" y="213"/>
                      </a:lnTo>
                      <a:lnTo>
                        <a:pt x="1023" y="212"/>
                      </a:lnTo>
                      <a:lnTo>
                        <a:pt x="1023" y="212"/>
                      </a:lnTo>
                      <a:lnTo>
                        <a:pt x="1023" y="212"/>
                      </a:lnTo>
                      <a:lnTo>
                        <a:pt x="1023" y="212"/>
                      </a:lnTo>
                      <a:lnTo>
                        <a:pt x="1023" y="212"/>
                      </a:lnTo>
                      <a:lnTo>
                        <a:pt x="1023" y="211"/>
                      </a:lnTo>
                      <a:lnTo>
                        <a:pt x="1022" y="211"/>
                      </a:lnTo>
                      <a:lnTo>
                        <a:pt x="1023" y="211"/>
                      </a:lnTo>
                      <a:lnTo>
                        <a:pt x="1023" y="211"/>
                      </a:lnTo>
                      <a:lnTo>
                        <a:pt x="1023" y="211"/>
                      </a:lnTo>
                      <a:lnTo>
                        <a:pt x="1022" y="211"/>
                      </a:lnTo>
                      <a:lnTo>
                        <a:pt x="1022" y="211"/>
                      </a:lnTo>
                      <a:lnTo>
                        <a:pt x="1022" y="211"/>
                      </a:lnTo>
                      <a:lnTo>
                        <a:pt x="1021" y="211"/>
                      </a:lnTo>
                      <a:lnTo>
                        <a:pt x="1021" y="211"/>
                      </a:lnTo>
                      <a:lnTo>
                        <a:pt x="1022" y="211"/>
                      </a:lnTo>
                      <a:lnTo>
                        <a:pt x="1021" y="211"/>
                      </a:lnTo>
                      <a:lnTo>
                        <a:pt x="1021" y="211"/>
                      </a:lnTo>
                      <a:lnTo>
                        <a:pt x="1021" y="210"/>
                      </a:lnTo>
                      <a:lnTo>
                        <a:pt x="1021" y="210"/>
                      </a:lnTo>
                      <a:lnTo>
                        <a:pt x="1020" y="210"/>
                      </a:lnTo>
                      <a:lnTo>
                        <a:pt x="1019" y="210"/>
                      </a:lnTo>
                      <a:lnTo>
                        <a:pt x="1019" y="210"/>
                      </a:lnTo>
                      <a:lnTo>
                        <a:pt x="1019" y="210"/>
                      </a:lnTo>
                      <a:lnTo>
                        <a:pt x="1019" y="209"/>
                      </a:lnTo>
                      <a:lnTo>
                        <a:pt x="1019" y="208"/>
                      </a:lnTo>
                      <a:lnTo>
                        <a:pt x="1019" y="208"/>
                      </a:lnTo>
                      <a:lnTo>
                        <a:pt x="1018" y="208"/>
                      </a:lnTo>
                      <a:lnTo>
                        <a:pt x="1019" y="208"/>
                      </a:lnTo>
                      <a:lnTo>
                        <a:pt x="1019" y="208"/>
                      </a:lnTo>
                      <a:lnTo>
                        <a:pt x="1019" y="208"/>
                      </a:lnTo>
                      <a:lnTo>
                        <a:pt x="1020" y="208"/>
                      </a:lnTo>
                      <a:lnTo>
                        <a:pt x="1020" y="207"/>
                      </a:lnTo>
                      <a:lnTo>
                        <a:pt x="1019" y="207"/>
                      </a:lnTo>
                      <a:lnTo>
                        <a:pt x="1020" y="207"/>
                      </a:lnTo>
                      <a:lnTo>
                        <a:pt x="1021" y="208"/>
                      </a:lnTo>
                      <a:lnTo>
                        <a:pt x="1021" y="208"/>
                      </a:lnTo>
                      <a:lnTo>
                        <a:pt x="1022" y="208"/>
                      </a:lnTo>
                      <a:lnTo>
                        <a:pt x="1023" y="209"/>
                      </a:lnTo>
                      <a:lnTo>
                        <a:pt x="1024" y="209"/>
                      </a:lnTo>
                      <a:lnTo>
                        <a:pt x="1024" y="210"/>
                      </a:lnTo>
                      <a:lnTo>
                        <a:pt x="1024" y="210"/>
                      </a:lnTo>
                      <a:lnTo>
                        <a:pt x="1025" y="211"/>
                      </a:lnTo>
                      <a:lnTo>
                        <a:pt x="1025" y="211"/>
                      </a:lnTo>
                      <a:lnTo>
                        <a:pt x="1025" y="211"/>
                      </a:lnTo>
                      <a:lnTo>
                        <a:pt x="1026" y="212"/>
                      </a:lnTo>
                      <a:lnTo>
                        <a:pt x="1025" y="212"/>
                      </a:lnTo>
                      <a:lnTo>
                        <a:pt x="1025" y="211"/>
                      </a:lnTo>
                      <a:lnTo>
                        <a:pt x="1025" y="211"/>
                      </a:lnTo>
                      <a:lnTo>
                        <a:pt x="1025" y="212"/>
                      </a:lnTo>
                      <a:lnTo>
                        <a:pt x="1025" y="212"/>
                      </a:lnTo>
                      <a:lnTo>
                        <a:pt x="1025" y="212"/>
                      </a:lnTo>
                      <a:lnTo>
                        <a:pt x="1025" y="212"/>
                      </a:lnTo>
                      <a:lnTo>
                        <a:pt x="1025" y="212"/>
                      </a:lnTo>
                      <a:lnTo>
                        <a:pt x="1025" y="212"/>
                      </a:lnTo>
                      <a:lnTo>
                        <a:pt x="1025" y="212"/>
                      </a:lnTo>
                      <a:lnTo>
                        <a:pt x="1025" y="212"/>
                      </a:lnTo>
                      <a:lnTo>
                        <a:pt x="1025" y="213"/>
                      </a:lnTo>
                      <a:lnTo>
                        <a:pt x="1025" y="214"/>
                      </a:lnTo>
                      <a:lnTo>
                        <a:pt x="1024" y="214"/>
                      </a:lnTo>
                      <a:lnTo>
                        <a:pt x="1023" y="214"/>
                      </a:lnTo>
                      <a:lnTo>
                        <a:pt x="1024" y="214"/>
                      </a:lnTo>
                      <a:lnTo>
                        <a:pt x="1024" y="214"/>
                      </a:lnTo>
                      <a:lnTo>
                        <a:pt x="1024" y="214"/>
                      </a:lnTo>
                      <a:lnTo>
                        <a:pt x="1024" y="214"/>
                      </a:lnTo>
                      <a:lnTo>
                        <a:pt x="1024" y="214"/>
                      </a:lnTo>
                      <a:lnTo>
                        <a:pt x="1025" y="214"/>
                      </a:lnTo>
                      <a:lnTo>
                        <a:pt x="1025" y="214"/>
                      </a:lnTo>
                      <a:lnTo>
                        <a:pt x="1026" y="214"/>
                      </a:lnTo>
                      <a:lnTo>
                        <a:pt x="1026" y="214"/>
                      </a:lnTo>
                      <a:lnTo>
                        <a:pt x="1026" y="213"/>
                      </a:lnTo>
                      <a:lnTo>
                        <a:pt x="1026" y="212"/>
                      </a:lnTo>
                      <a:lnTo>
                        <a:pt x="1027" y="212"/>
                      </a:lnTo>
                      <a:lnTo>
                        <a:pt x="1026" y="212"/>
                      </a:lnTo>
                      <a:lnTo>
                        <a:pt x="1026" y="212"/>
                      </a:lnTo>
                      <a:lnTo>
                        <a:pt x="1026" y="212"/>
                      </a:lnTo>
                      <a:lnTo>
                        <a:pt x="1026" y="212"/>
                      </a:lnTo>
                      <a:lnTo>
                        <a:pt x="1026" y="212"/>
                      </a:lnTo>
                      <a:lnTo>
                        <a:pt x="1026" y="212"/>
                      </a:lnTo>
                      <a:lnTo>
                        <a:pt x="1027" y="212"/>
                      </a:lnTo>
                      <a:lnTo>
                        <a:pt x="1028" y="213"/>
                      </a:lnTo>
                      <a:lnTo>
                        <a:pt x="1028" y="214"/>
                      </a:lnTo>
                      <a:lnTo>
                        <a:pt x="1029" y="214"/>
                      </a:lnTo>
                      <a:lnTo>
                        <a:pt x="1029" y="215"/>
                      </a:lnTo>
                      <a:lnTo>
                        <a:pt x="1029" y="215"/>
                      </a:lnTo>
                      <a:lnTo>
                        <a:pt x="1028" y="215"/>
                      </a:lnTo>
                      <a:lnTo>
                        <a:pt x="1029" y="215"/>
                      </a:lnTo>
                      <a:lnTo>
                        <a:pt x="1028" y="215"/>
                      </a:lnTo>
                      <a:lnTo>
                        <a:pt x="1028" y="215"/>
                      </a:lnTo>
                      <a:lnTo>
                        <a:pt x="1029" y="215"/>
                      </a:lnTo>
                      <a:lnTo>
                        <a:pt x="1029" y="215"/>
                      </a:lnTo>
                      <a:lnTo>
                        <a:pt x="1029" y="215"/>
                      </a:lnTo>
                      <a:lnTo>
                        <a:pt x="1028" y="215"/>
                      </a:lnTo>
                      <a:lnTo>
                        <a:pt x="1029" y="215"/>
                      </a:lnTo>
                      <a:lnTo>
                        <a:pt x="1028" y="215"/>
                      </a:lnTo>
                      <a:lnTo>
                        <a:pt x="1028" y="214"/>
                      </a:lnTo>
                      <a:lnTo>
                        <a:pt x="1028" y="214"/>
                      </a:lnTo>
                      <a:lnTo>
                        <a:pt x="1028" y="215"/>
                      </a:lnTo>
                      <a:lnTo>
                        <a:pt x="1028" y="215"/>
                      </a:lnTo>
                      <a:lnTo>
                        <a:pt x="1028" y="216"/>
                      </a:lnTo>
                      <a:lnTo>
                        <a:pt x="1028" y="216"/>
                      </a:lnTo>
                      <a:lnTo>
                        <a:pt x="1028" y="217"/>
                      </a:lnTo>
                      <a:lnTo>
                        <a:pt x="1027" y="217"/>
                      </a:lnTo>
                      <a:lnTo>
                        <a:pt x="1028" y="217"/>
                      </a:lnTo>
                      <a:lnTo>
                        <a:pt x="1027" y="217"/>
                      </a:lnTo>
                      <a:lnTo>
                        <a:pt x="1027" y="218"/>
                      </a:lnTo>
                      <a:lnTo>
                        <a:pt x="1028" y="218"/>
                      </a:lnTo>
                      <a:lnTo>
                        <a:pt x="1027" y="218"/>
                      </a:lnTo>
                      <a:lnTo>
                        <a:pt x="1028" y="218"/>
                      </a:lnTo>
                      <a:lnTo>
                        <a:pt x="1028" y="219"/>
                      </a:lnTo>
                      <a:lnTo>
                        <a:pt x="1028" y="219"/>
                      </a:lnTo>
                      <a:lnTo>
                        <a:pt x="1028" y="219"/>
                      </a:lnTo>
                      <a:lnTo>
                        <a:pt x="1029" y="219"/>
                      </a:lnTo>
                      <a:lnTo>
                        <a:pt x="1029" y="220"/>
                      </a:lnTo>
                      <a:lnTo>
                        <a:pt x="1028" y="220"/>
                      </a:lnTo>
                      <a:lnTo>
                        <a:pt x="1029" y="221"/>
                      </a:lnTo>
                      <a:lnTo>
                        <a:pt x="1029" y="221"/>
                      </a:lnTo>
                      <a:lnTo>
                        <a:pt x="1029" y="222"/>
                      </a:lnTo>
                      <a:lnTo>
                        <a:pt x="1029" y="222"/>
                      </a:lnTo>
                      <a:lnTo>
                        <a:pt x="1029" y="223"/>
                      </a:lnTo>
                      <a:lnTo>
                        <a:pt x="1029" y="222"/>
                      </a:lnTo>
                      <a:lnTo>
                        <a:pt x="1028" y="222"/>
                      </a:lnTo>
                      <a:lnTo>
                        <a:pt x="1028" y="222"/>
                      </a:lnTo>
                      <a:lnTo>
                        <a:pt x="1028" y="223"/>
                      </a:lnTo>
                      <a:lnTo>
                        <a:pt x="1027" y="223"/>
                      </a:lnTo>
                      <a:lnTo>
                        <a:pt x="1027" y="223"/>
                      </a:lnTo>
                      <a:lnTo>
                        <a:pt x="1026" y="223"/>
                      </a:lnTo>
                      <a:lnTo>
                        <a:pt x="1027" y="223"/>
                      </a:lnTo>
                      <a:lnTo>
                        <a:pt x="1028" y="223"/>
                      </a:lnTo>
                      <a:lnTo>
                        <a:pt x="1028" y="224"/>
                      </a:lnTo>
                      <a:lnTo>
                        <a:pt x="1028" y="223"/>
                      </a:lnTo>
                      <a:lnTo>
                        <a:pt x="1028" y="224"/>
                      </a:lnTo>
                      <a:lnTo>
                        <a:pt x="1028" y="225"/>
                      </a:lnTo>
                      <a:lnTo>
                        <a:pt x="1028" y="224"/>
                      </a:lnTo>
                      <a:lnTo>
                        <a:pt x="1028" y="224"/>
                      </a:lnTo>
                      <a:lnTo>
                        <a:pt x="1029" y="224"/>
                      </a:lnTo>
                      <a:lnTo>
                        <a:pt x="1029" y="224"/>
                      </a:lnTo>
                      <a:lnTo>
                        <a:pt x="1029" y="225"/>
                      </a:lnTo>
                      <a:lnTo>
                        <a:pt x="1030" y="225"/>
                      </a:lnTo>
                      <a:lnTo>
                        <a:pt x="1030" y="225"/>
                      </a:lnTo>
                      <a:lnTo>
                        <a:pt x="1030" y="225"/>
                      </a:lnTo>
                      <a:lnTo>
                        <a:pt x="1030" y="225"/>
                      </a:lnTo>
                      <a:lnTo>
                        <a:pt x="1031" y="225"/>
                      </a:lnTo>
                      <a:lnTo>
                        <a:pt x="1031" y="226"/>
                      </a:lnTo>
                      <a:lnTo>
                        <a:pt x="1032" y="226"/>
                      </a:lnTo>
                      <a:lnTo>
                        <a:pt x="1032" y="226"/>
                      </a:lnTo>
                      <a:lnTo>
                        <a:pt x="1031" y="226"/>
                      </a:lnTo>
                      <a:lnTo>
                        <a:pt x="1031" y="226"/>
                      </a:lnTo>
                      <a:lnTo>
                        <a:pt x="1031" y="226"/>
                      </a:lnTo>
                      <a:lnTo>
                        <a:pt x="1030" y="226"/>
                      </a:lnTo>
                      <a:lnTo>
                        <a:pt x="1031" y="226"/>
                      </a:lnTo>
                      <a:lnTo>
                        <a:pt x="1030" y="226"/>
                      </a:lnTo>
                      <a:lnTo>
                        <a:pt x="1031" y="226"/>
                      </a:lnTo>
                      <a:lnTo>
                        <a:pt x="1030" y="227"/>
                      </a:lnTo>
                      <a:lnTo>
                        <a:pt x="1031" y="227"/>
                      </a:lnTo>
                      <a:lnTo>
                        <a:pt x="1030" y="227"/>
                      </a:lnTo>
                      <a:lnTo>
                        <a:pt x="1030" y="227"/>
                      </a:lnTo>
                      <a:lnTo>
                        <a:pt x="1031" y="227"/>
                      </a:lnTo>
                      <a:lnTo>
                        <a:pt x="1031" y="228"/>
                      </a:lnTo>
                      <a:lnTo>
                        <a:pt x="1031" y="227"/>
                      </a:lnTo>
                      <a:lnTo>
                        <a:pt x="1031" y="228"/>
                      </a:lnTo>
                      <a:lnTo>
                        <a:pt x="1031" y="227"/>
                      </a:lnTo>
                      <a:lnTo>
                        <a:pt x="1031" y="228"/>
                      </a:lnTo>
                      <a:lnTo>
                        <a:pt x="1030" y="228"/>
                      </a:lnTo>
                      <a:lnTo>
                        <a:pt x="1031" y="228"/>
                      </a:lnTo>
                      <a:lnTo>
                        <a:pt x="1030" y="228"/>
                      </a:lnTo>
                      <a:lnTo>
                        <a:pt x="1031" y="228"/>
                      </a:lnTo>
                      <a:lnTo>
                        <a:pt x="1031" y="229"/>
                      </a:lnTo>
                      <a:lnTo>
                        <a:pt x="1031" y="228"/>
                      </a:lnTo>
                      <a:lnTo>
                        <a:pt x="1031" y="229"/>
                      </a:lnTo>
                      <a:lnTo>
                        <a:pt x="1032" y="229"/>
                      </a:lnTo>
                      <a:lnTo>
                        <a:pt x="1031" y="229"/>
                      </a:lnTo>
                      <a:lnTo>
                        <a:pt x="1032" y="229"/>
                      </a:lnTo>
                      <a:lnTo>
                        <a:pt x="1032" y="228"/>
                      </a:lnTo>
                      <a:lnTo>
                        <a:pt x="1032" y="227"/>
                      </a:lnTo>
                      <a:lnTo>
                        <a:pt x="1032" y="227"/>
                      </a:lnTo>
                      <a:lnTo>
                        <a:pt x="1032" y="228"/>
                      </a:lnTo>
                      <a:lnTo>
                        <a:pt x="1032" y="227"/>
                      </a:lnTo>
                      <a:lnTo>
                        <a:pt x="1032" y="227"/>
                      </a:lnTo>
                      <a:lnTo>
                        <a:pt x="1032" y="227"/>
                      </a:lnTo>
                      <a:lnTo>
                        <a:pt x="1033" y="227"/>
                      </a:lnTo>
                      <a:lnTo>
                        <a:pt x="1033" y="227"/>
                      </a:lnTo>
                      <a:lnTo>
                        <a:pt x="1033" y="226"/>
                      </a:lnTo>
                      <a:lnTo>
                        <a:pt x="1033" y="226"/>
                      </a:lnTo>
                      <a:lnTo>
                        <a:pt x="1033" y="226"/>
                      </a:lnTo>
                      <a:lnTo>
                        <a:pt x="1033" y="226"/>
                      </a:lnTo>
                      <a:lnTo>
                        <a:pt x="1033" y="226"/>
                      </a:lnTo>
                      <a:lnTo>
                        <a:pt x="1034" y="226"/>
                      </a:lnTo>
                      <a:lnTo>
                        <a:pt x="1034" y="226"/>
                      </a:lnTo>
                      <a:lnTo>
                        <a:pt x="1034" y="226"/>
                      </a:lnTo>
                      <a:lnTo>
                        <a:pt x="1035" y="226"/>
                      </a:lnTo>
                      <a:lnTo>
                        <a:pt x="1034" y="226"/>
                      </a:lnTo>
                      <a:lnTo>
                        <a:pt x="1034" y="227"/>
                      </a:lnTo>
                      <a:lnTo>
                        <a:pt x="1035" y="227"/>
                      </a:lnTo>
                      <a:lnTo>
                        <a:pt x="1035" y="228"/>
                      </a:lnTo>
                      <a:lnTo>
                        <a:pt x="1035" y="227"/>
                      </a:lnTo>
                      <a:lnTo>
                        <a:pt x="1035" y="228"/>
                      </a:lnTo>
                      <a:lnTo>
                        <a:pt x="1034" y="227"/>
                      </a:lnTo>
                      <a:lnTo>
                        <a:pt x="1034" y="228"/>
                      </a:lnTo>
                      <a:lnTo>
                        <a:pt x="1034" y="229"/>
                      </a:lnTo>
                      <a:lnTo>
                        <a:pt x="1034" y="229"/>
                      </a:lnTo>
                      <a:lnTo>
                        <a:pt x="1034" y="229"/>
                      </a:lnTo>
                      <a:lnTo>
                        <a:pt x="1034" y="229"/>
                      </a:lnTo>
                      <a:lnTo>
                        <a:pt x="1034" y="229"/>
                      </a:lnTo>
                      <a:lnTo>
                        <a:pt x="1033" y="229"/>
                      </a:lnTo>
                      <a:lnTo>
                        <a:pt x="1034" y="229"/>
                      </a:lnTo>
                      <a:lnTo>
                        <a:pt x="1034" y="229"/>
                      </a:lnTo>
                      <a:lnTo>
                        <a:pt x="1034" y="229"/>
                      </a:lnTo>
                      <a:lnTo>
                        <a:pt x="1034" y="229"/>
                      </a:lnTo>
                      <a:lnTo>
                        <a:pt x="1034" y="229"/>
                      </a:lnTo>
                      <a:lnTo>
                        <a:pt x="1034" y="229"/>
                      </a:lnTo>
                      <a:lnTo>
                        <a:pt x="1034" y="229"/>
                      </a:lnTo>
                      <a:lnTo>
                        <a:pt x="1034" y="229"/>
                      </a:lnTo>
                      <a:lnTo>
                        <a:pt x="1034" y="229"/>
                      </a:lnTo>
                      <a:lnTo>
                        <a:pt x="1034" y="229"/>
                      </a:lnTo>
                      <a:lnTo>
                        <a:pt x="1034" y="229"/>
                      </a:lnTo>
                      <a:lnTo>
                        <a:pt x="1034" y="229"/>
                      </a:lnTo>
                      <a:lnTo>
                        <a:pt x="1034" y="230"/>
                      </a:lnTo>
                      <a:lnTo>
                        <a:pt x="1034" y="229"/>
                      </a:lnTo>
                      <a:lnTo>
                        <a:pt x="1034" y="230"/>
                      </a:lnTo>
                      <a:lnTo>
                        <a:pt x="1035" y="230"/>
                      </a:lnTo>
                      <a:lnTo>
                        <a:pt x="1035" y="230"/>
                      </a:lnTo>
                      <a:lnTo>
                        <a:pt x="1035" y="230"/>
                      </a:lnTo>
                      <a:lnTo>
                        <a:pt x="1035" y="230"/>
                      </a:lnTo>
                      <a:lnTo>
                        <a:pt x="1034" y="230"/>
                      </a:lnTo>
                      <a:lnTo>
                        <a:pt x="1034" y="231"/>
                      </a:lnTo>
                      <a:lnTo>
                        <a:pt x="1035" y="231"/>
                      </a:lnTo>
                      <a:lnTo>
                        <a:pt x="1034" y="231"/>
                      </a:lnTo>
                      <a:lnTo>
                        <a:pt x="1034" y="230"/>
                      </a:lnTo>
                      <a:lnTo>
                        <a:pt x="1035" y="230"/>
                      </a:lnTo>
                      <a:lnTo>
                        <a:pt x="1035" y="230"/>
                      </a:lnTo>
                      <a:lnTo>
                        <a:pt x="1034" y="230"/>
                      </a:lnTo>
                      <a:lnTo>
                        <a:pt x="1035" y="230"/>
                      </a:lnTo>
                      <a:lnTo>
                        <a:pt x="1034" y="230"/>
                      </a:lnTo>
                      <a:lnTo>
                        <a:pt x="1034" y="229"/>
                      </a:lnTo>
                      <a:lnTo>
                        <a:pt x="1035" y="229"/>
                      </a:lnTo>
                      <a:lnTo>
                        <a:pt x="1035" y="229"/>
                      </a:lnTo>
                      <a:lnTo>
                        <a:pt x="1036" y="229"/>
                      </a:lnTo>
                      <a:lnTo>
                        <a:pt x="1036" y="228"/>
                      </a:lnTo>
                      <a:lnTo>
                        <a:pt x="1036" y="228"/>
                      </a:lnTo>
                      <a:lnTo>
                        <a:pt x="1035" y="228"/>
                      </a:lnTo>
                      <a:lnTo>
                        <a:pt x="1036" y="228"/>
                      </a:lnTo>
                      <a:lnTo>
                        <a:pt x="1036" y="227"/>
                      </a:lnTo>
                      <a:lnTo>
                        <a:pt x="1036" y="227"/>
                      </a:lnTo>
                      <a:lnTo>
                        <a:pt x="1037" y="227"/>
                      </a:lnTo>
                      <a:lnTo>
                        <a:pt x="1036" y="227"/>
                      </a:lnTo>
                      <a:lnTo>
                        <a:pt x="1037" y="227"/>
                      </a:lnTo>
                      <a:lnTo>
                        <a:pt x="1037" y="227"/>
                      </a:lnTo>
                      <a:lnTo>
                        <a:pt x="1037" y="226"/>
                      </a:lnTo>
                      <a:lnTo>
                        <a:pt x="1036" y="226"/>
                      </a:lnTo>
                      <a:lnTo>
                        <a:pt x="1036" y="226"/>
                      </a:lnTo>
                      <a:lnTo>
                        <a:pt x="1036" y="225"/>
                      </a:lnTo>
                      <a:lnTo>
                        <a:pt x="1035" y="225"/>
                      </a:lnTo>
                      <a:lnTo>
                        <a:pt x="1034" y="225"/>
                      </a:lnTo>
                      <a:lnTo>
                        <a:pt x="1034" y="225"/>
                      </a:lnTo>
                      <a:lnTo>
                        <a:pt x="1033" y="225"/>
                      </a:lnTo>
                      <a:lnTo>
                        <a:pt x="1033" y="225"/>
                      </a:lnTo>
                      <a:lnTo>
                        <a:pt x="1033" y="225"/>
                      </a:lnTo>
                      <a:lnTo>
                        <a:pt x="1033" y="225"/>
                      </a:lnTo>
                      <a:lnTo>
                        <a:pt x="1033" y="225"/>
                      </a:lnTo>
                      <a:lnTo>
                        <a:pt x="1033" y="225"/>
                      </a:lnTo>
                      <a:lnTo>
                        <a:pt x="1033" y="225"/>
                      </a:lnTo>
                      <a:lnTo>
                        <a:pt x="1032" y="225"/>
                      </a:lnTo>
                      <a:lnTo>
                        <a:pt x="1032" y="225"/>
                      </a:lnTo>
                      <a:lnTo>
                        <a:pt x="1033" y="225"/>
                      </a:lnTo>
                      <a:lnTo>
                        <a:pt x="1032" y="225"/>
                      </a:lnTo>
                      <a:lnTo>
                        <a:pt x="1033" y="225"/>
                      </a:lnTo>
                      <a:lnTo>
                        <a:pt x="1032" y="225"/>
                      </a:lnTo>
                      <a:lnTo>
                        <a:pt x="1033" y="226"/>
                      </a:lnTo>
                      <a:lnTo>
                        <a:pt x="1032" y="226"/>
                      </a:lnTo>
                      <a:lnTo>
                        <a:pt x="1032" y="225"/>
                      </a:lnTo>
                      <a:lnTo>
                        <a:pt x="1032" y="225"/>
                      </a:lnTo>
                      <a:lnTo>
                        <a:pt x="1033" y="225"/>
                      </a:lnTo>
                      <a:lnTo>
                        <a:pt x="1033" y="224"/>
                      </a:lnTo>
                      <a:lnTo>
                        <a:pt x="1033" y="224"/>
                      </a:lnTo>
                      <a:lnTo>
                        <a:pt x="1033" y="224"/>
                      </a:lnTo>
                      <a:lnTo>
                        <a:pt x="1033" y="224"/>
                      </a:lnTo>
                      <a:lnTo>
                        <a:pt x="1034" y="224"/>
                      </a:lnTo>
                      <a:lnTo>
                        <a:pt x="1035" y="223"/>
                      </a:lnTo>
                      <a:lnTo>
                        <a:pt x="1035" y="223"/>
                      </a:lnTo>
                      <a:lnTo>
                        <a:pt x="1035" y="222"/>
                      </a:lnTo>
                      <a:lnTo>
                        <a:pt x="1035" y="222"/>
                      </a:lnTo>
                      <a:lnTo>
                        <a:pt x="1035" y="221"/>
                      </a:lnTo>
                      <a:lnTo>
                        <a:pt x="1034" y="221"/>
                      </a:lnTo>
                      <a:lnTo>
                        <a:pt x="1034" y="221"/>
                      </a:lnTo>
                      <a:lnTo>
                        <a:pt x="1034" y="220"/>
                      </a:lnTo>
                      <a:lnTo>
                        <a:pt x="1034" y="219"/>
                      </a:lnTo>
                      <a:lnTo>
                        <a:pt x="1034" y="219"/>
                      </a:lnTo>
                      <a:lnTo>
                        <a:pt x="1034" y="219"/>
                      </a:lnTo>
                      <a:lnTo>
                        <a:pt x="1033" y="219"/>
                      </a:lnTo>
                      <a:lnTo>
                        <a:pt x="1033" y="219"/>
                      </a:lnTo>
                      <a:lnTo>
                        <a:pt x="1032" y="219"/>
                      </a:lnTo>
                      <a:lnTo>
                        <a:pt x="1033" y="219"/>
                      </a:lnTo>
                      <a:lnTo>
                        <a:pt x="1033" y="218"/>
                      </a:lnTo>
                      <a:lnTo>
                        <a:pt x="1032" y="218"/>
                      </a:lnTo>
                      <a:lnTo>
                        <a:pt x="1033" y="218"/>
                      </a:lnTo>
                      <a:lnTo>
                        <a:pt x="1033" y="218"/>
                      </a:lnTo>
                      <a:lnTo>
                        <a:pt x="1032" y="218"/>
                      </a:lnTo>
                      <a:lnTo>
                        <a:pt x="1032" y="218"/>
                      </a:lnTo>
                      <a:lnTo>
                        <a:pt x="1032" y="218"/>
                      </a:lnTo>
                      <a:lnTo>
                        <a:pt x="1032" y="218"/>
                      </a:lnTo>
                      <a:lnTo>
                        <a:pt x="1031" y="218"/>
                      </a:lnTo>
                      <a:lnTo>
                        <a:pt x="1030" y="218"/>
                      </a:lnTo>
                      <a:lnTo>
                        <a:pt x="1030" y="218"/>
                      </a:lnTo>
                      <a:lnTo>
                        <a:pt x="1030" y="218"/>
                      </a:lnTo>
                      <a:lnTo>
                        <a:pt x="1031" y="218"/>
                      </a:lnTo>
                      <a:lnTo>
                        <a:pt x="1031" y="218"/>
                      </a:lnTo>
                      <a:lnTo>
                        <a:pt x="1032" y="218"/>
                      </a:lnTo>
                      <a:lnTo>
                        <a:pt x="1032" y="218"/>
                      </a:lnTo>
                      <a:lnTo>
                        <a:pt x="1033" y="218"/>
                      </a:lnTo>
                      <a:lnTo>
                        <a:pt x="1033" y="218"/>
                      </a:lnTo>
                      <a:lnTo>
                        <a:pt x="1032" y="218"/>
                      </a:lnTo>
                      <a:lnTo>
                        <a:pt x="1032" y="218"/>
                      </a:lnTo>
                      <a:lnTo>
                        <a:pt x="1031" y="218"/>
                      </a:lnTo>
                      <a:lnTo>
                        <a:pt x="1030" y="218"/>
                      </a:lnTo>
                      <a:lnTo>
                        <a:pt x="1030" y="218"/>
                      </a:lnTo>
                      <a:lnTo>
                        <a:pt x="1030" y="218"/>
                      </a:lnTo>
                      <a:lnTo>
                        <a:pt x="1030" y="218"/>
                      </a:lnTo>
                      <a:lnTo>
                        <a:pt x="1030" y="218"/>
                      </a:lnTo>
                      <a:lnTo>
                        <a:pt x="1029" y="218"/>
                      </a:lnTo>
                      <a:lnTo>
                        <a:pt x="1029" y="218"/>
                      </a:lnTo>
                      <a:lnTo>
                        <a:pt x="1030" y="218"/>
                      </a:lnTo>
                      <a:lnTo>
                        <a:pt x="1030" y="218"/>
                      </a:lnTo>
                      <a:lnTo>
                        <a:pt x="1031" y="218"/>
                      </a:lnTo>
                      <a:lnTo>
                        <a:pt x="1032" y="218"/>
                      </a:lnTo>
                      <a:lnTo>
                        <a:pt x="1032" y="218"/>
                      </a:lnTo>
                      <a:lnTo>
                        <a:pt x="1033" y="218"/>
                      </a:lnTo>
                      <a:lnTo>
                        <a:pt x="1033" y="218"/>
                      </a:lnTo>
                      <a:lnTo>
                        <a:pt x="1034" y="218"/>
                      </a:lnTo>
                      <a:lnTo>
                        <a:pt x="1036" y="218"/>
                      </a:lnTo>
                      <a:lnTo>
                        <a:pt x="1036" y="218"/>
                      </a:lnTo>
                      <a:lnTo>
                        <a:pt x="1037" y="218"/>
                      </a:lnTo>
                      <a:lnTo>
                        <a:pt x="1037" y="217"/>
                      </a:lnTo>
                      <a:lnTo>
                        <a:pt x="1038" y="217"/>
                      </a:lnTo>
                      <a:lnTo>
                        <a:pt x="1039" y="218"/>
                      </a:lnTo>
                      <a:lnTo>
                        <a:pt x="1039" y="218"/>
                      </a:lnTo>
                      <a:lnTo>
                        <a:pt x="1040" y="218"/>
                      </a:lnTo>
                      <a:lnTo>
                        <a:pt x="1041" y="218"/>
                      </a:lnTo>
                      <a:lnTo>
                        <a:pt x="1042" y="218"/>
                      </a:lnTo>
                      <a:lnTo>
                        <a:pt x="1041" y="218"/>
                      </a:lnTo>
                      <a:lnTo>
                        <a:pt x="1041" y="218"/>
                      </a:lnTo>
                      <a:lnTo>
                        <a:pt x="1041" y="218"/>
                      </a:lnTo>
                      <a:lnTo>
                        <a:pt x="1041" y="218"/>
                      </a:lnTo>
                      <a:lnTo>
                        <a:pt x="1040" y="218"/>
                      </a:lnTo>
                      <a:lnTo>
                        <a:pt x="1040" y="218"/>
                      </a:lnTo>
                      <a:lnTo>
                        <a:pt x="1041" y="218"/>
                      </a:lnTo>
                      <a:lnTo>
                        <a:pt x="1040" y="218"/>
                      </a:lnTo>
                      <a:lnTo>
                        <a:pt x="1040" y="218"/>
                      </a:lnTo>
                      <a:lnTo>
                        <a:pt x="1040" y="218"/>
                      </a:lnTo>
                      <a:lnTo>
                        <a:pt x="1040" y="218"/>
                      </a:lnTo>
                      <a:lnTo>
                        <a:pt x="1041" y="218"/>
                      </a:lnTo>
                      <a:lnTo>
                        <a:pt x="1041" y="218"/>
                      </a:lnTo>
                      <a:lnTo>
                        <a:pt x="1041" y="219"/>
                      </a:lnTo>
                      <a:lnTo>
                        <a:pt x="1041" y="219"/>
                      </a:lnTo>
                      <a:lnTo>
                        <a:pt x="1041" y="219"/>
                      </a:lnTo>
                      <a:lnTo>
                        <a:pt x="1041" y="219"/>
                      </a:lnTo>
                      <a:lnTo>
                        <a:pt x="1040" y="219"/>
                      </a:lnTo>
                      <a:lnTo>
                        <a:pt x="1040" y="219"/>
                      </a:lnTo>
                      <a:lnTo>
                        <a:pt x="1040" y="219"/>
                      </a:lnTo>
                      <a:lnTo>
                        <a:pt x="1040" y="219"/>
                      </a:lnTo>
                      <a:lnTo>
                        <a:pt x="1040" y="219"/>
                      </a:lnTo>
                      <a:lnTo>
                        <a:pt x="1040" y="219"/>
                      </a:lnTo>
                      <a:lnTo>
                        <a:pt x="1040" y="220"/>
                      </a:lnTo>
                      <a:lnTo>
                        <a:pt x="1040" y="220"/>
                      </a:lnTo>
                      <a:lnTo>
                        <a:pt x="1040" y="220"/>
                      </a:lnTo>
                      <a:lnTo>
                        <a:pt x="1040" y="221"/>
                      </a:lnTo>
                      <a:lnTo>
                        <a:pt x="1040" y="221"/>
                      </a:lnTo>
                      <a:lnTo>
                        <a:pt x="1040" y="221"/>
                      </a:lnTo>
                      <a:lnTo>
                        <a:pt x="1040" y="221"/>
                      </a:lnTo>
                      <a:lnTo>
                        <a:pt x="1040" y="221"/>
                      </a:lnTo>
                      <a:lnTo>
                        <a:pt x="1040" y="221"/>
                      </a:lnTo>
                      <a:lnTo>
                        <a:pt x="1040" y="221"/>
                      </a:lnTo>
                      <a:lnTo>
                        <a:pt x="1040" y="221"/>
                      </a:lnTo>
                      <a:lnTo>
                        <a:pt x="1040" y="221"/>
                      </a:lnTo>
                      <a:lnTo>
                        <a:pt x="1040" y="221"/>
                      </a:lnTo>
                      <a:lnTo>
                        <a:pt x="1041" y="221"/>
                      </a:lnTo>
                      <a:lnTo>
                        <a:pt x="1041" y="221"/>
                      </a:lnTo>
                      <a:lnTo>
                        <a:pt x="1042" y="221"/>
                      </a:lnTo>
                      <a:lnTo>
                        <a:pt x="1042" y="221"/>
                      </a:lnTo>
                      <a:lnTo>
                        <a:pt x="1041" y="221"/>
                      </a:lnTo>
                      <a:lnTo>
                        <a:pt x="1041" y="221"/>
                      </a:lnTo>
                      <a:lnTo>
                        <a:pt x="1041" y="221"/>
                      </a:lnTo>
                      <a:lnTo>
                        <a:pt x="1041" y="220"/>
                      </a:lnTo>
                      <a:lnTo>
                        <a:pt x="1041" y="220"/>
                      </a:lnTo>
                      <a:lnTo>
                        <a:pt x="1040" y="220"/>
                      </a:lnTo>
                      <a:lnTo>
                        <a:pt x="1041" y="220"/>
                      </a:lnTo>
                      <a:lnTo>
                        <a:pt x="1041" y="219"/>
                      </a:lnTo>
                      <a:lnTo>
                        <a:pt x="1041" y="219"/>
                      </a:lnTo>
                      <a:lnTo>
                        <a:pt x="1041" y="219"/>
                      </a:lnTo>
                      <a:lnTo>
                        <a:pt x="1042" y="219"/>
                      </a:lnTo>
                      <a:lnTo>
                        <a:pt x="1042" y="219"/>
                      </a:lnTo>
                      <a:lnTo>
                        <a:pt x="1042" y="220"/>
                      </a:lnTo>
                      <a:lnTo>
                        <a:pt x="1042" y="219"/>
                      </a:lnTo>
                      <a:lnTo>
                        <a:pt x="1042" y="220"/>
                      </a:lnTo>
                      <a:lnTo>
                        <a:pt x="1043" y="220"/>
                      </a:lnTo>
                      <a:lnTo>
                        <a:pt x="1043" y="220"/>
                      </a:lnTo>
                      <a:lnTo>
                        <a:pt x="1044" y="220"/>
                      </a:lnTo>
                      <a:lnTo>
                        <a:pt x="1044" y="220"/>
                      </a:lnTo>
                      <a:lnTo>
                        <a:pt x="1045" y="220"/>
                      </a:lnTo>
                      <a:lnTo>
                        <a:pt x="1045" y="220"/>
                      </a:lnTo>
                      <a:lnTo>
                        <a:pt x="1045" y="219"/>
                      </a:lnTo>
                      <a:lnTo>
                        <a:pt x="1045" y="220"/>
                      </a:lnTo>
                      <a:lnTo>
                        <a:pt x="1046" y="219"/>
                      </a:lnTo>
                      <a:lnTo>
                        <a:pt x="1046" y="220"/>
                      </a:lnTo>
                      <a:lnTo>
                        <a:pt x="1047" y="220"/>
                      </a:lnTo>
                      <a:lnTo>
                        <a:pt x="1047" y="220"/>
                      </a:lnTo>
                      <a:lnTo>
                        <a:pt x="1047" y="219"/>
                      </a:lnTo>
                      <a:lnTo>
                        <a:pt x="1048" y="219"/>
                      </a:lnTo>
                      <a:lnTo>
                        <a:pt x="1047" y="219"/>
                      </a:lnTo>
                      <a:lnTo>
                        <a:pt x="1047" y="219"/>
                      </a:lnTo>
                      <a:lnTo>
                        <a:pt x="1046" y="219"/>
                      </a:lnTo>
                      <a:lnTo>
                        <a:pt x="1045" y="219"/>
                      </a:lnTo>
                      <a:lnTo>
                        <a:pt x="1045" y="219"/>
                      </a:lnTo>
                      <a:lnTo>
                        <a:pt x="1044" y="219"/>
                      </a:lnTo>
                      <a:lnTo>
                        <a:pt x="1043" y="218"/>
                      </a:lnTo>
                      <a:lnTo>
                        <a:pt x="1043" y="218"/>
                      </a:lnTo>
                      <a:lnTo>
                        <a:pt x="1042" y="218"/>
                      </a:lnTo>
                      <a:lnTo>
                        <a:pt x="1043" y="218"/>
                      </a:lnTo>
                      <a:lnTo>
                        <a:pt x="1042" y="218"/>
                      </a:lnTo>
                      <a:lnTo>
                        <a:pt x="1043" y="218"/>
                      </a:lnTo>
                      <a:lnTo>
                        <a:pt x="1044" y="218"/>
                      </a:lnTo>
                      <a:lnTo>
                        <a:pt x="1044" y="218"/>
                      </a:lnTo>
                      <a:lnTo>
                        <a:pt x="1045" y="218"/>
                      </a:lnTo>
                      <a:lnTo>
                        <a:pt x="1045" y="218"/>
                      </a:lnTo>
                      <a:lnTo>
                        <a:pt x="1046" y="218"/>
                      </a:lnTo>
                      <a:lnTo>
                        <a:pt x="1047" y="219"/>
                      </a:lnTo>
                      <a:lnTo>
                        <a:pt x="1048" y="219"/>
                      </a:lnTo>
                      <a:lnTo>
                        <a:pt x="1049" y="219"/>
                      </a:lnTo>
                      <a:lnTo>
                        <a:pt x="1049" y="219"/>
                      </a:lnTo>
                      <a:lnTo>
                        <a:pt x="1049" y="219"/>
                      </a:lnTo>
                      <a:lnTo>
                        <a:pt x="1049" y="219"/>
                      </a:lnTo>
                      <a:lnTo>
                        <a:pt x="1049" y="219"/>
                      </a:lnTo>
                      <a:lnTo>
                        <a:pt x="1048" y="219"/>
                      </a:lnTo>
                      <a:lnTo>
                        <a:pt x="1048" y="219"/>
                      </a:lnTo>
                      <a:lnTo>
                        <a:pt x="1047" y="219"/>
                      </a:lnTo>
                      <a:lnTo>
                        <a:pt x="1048" y="219"/>
                      </a:lnTo>
                      <a:lnTo>
                        <a:pt x="1048" y="219"/>
                      </a:lnTo>
                      <a:lnTo>
                        <a:pt x="1048" y="219"/>
                      </a:lnTo>
                      <a:lnTo>
                        <a:pt x="1049" y="219"/>
                      </a:lnTo>
                      <a:lnTo>
                        <a:pt x="1049" y="219"/>
                      </a:lnTo>
                      <a:lnTo>
                        <a:pt x="1049" y="219"/>
                      </a:lnTo>
                      <a:lnTo>
                        <a:pt x="1049" y="219"/>
                      </a:lnTo>
                      <a:lnTo>
                        <a:pt x="1050" y="219"/>
                      </a:lnTo>
                      <a:lnTo>
                        <a:pt x="1051" y="219"/>
                      </a:lnTo>
                      <a:lnTo>
                        <a:pt x="1051" y="219"/>
                      </a:lnTo>
                      <a:lnTo>
                        <a:pt x="1051" y="219"/>
                      </a:lnTo>
                      <a:lnTo>
                        <a:pt x="1051" y="219"/>
                      </a:lnTo>
                      <a:lnTo>
                        <a:pt x="1052" y="219"/>
                      </a:lnTo>
                      <a:lnTo>
                        <a:pt x="1052" y="219"/>
                      </a:lnTo>
                      <a:lnTo>
                        <a:pt x="1053" y="219"/>
                      </a:lnTo>
                      <a:lnTo>
                        <a:pt x="1054" y="219"/>
                      </a:lnTo>
                      <a:lnTo>
                        <a:pt x="1054" y="220"/>
                      </a:lnTo>
                      <a:lnTo>
                        <a:pt x="1053" y="220"/>
                      </a:lnTo>
                      <a:lnTo>
                        <a:pt x="1053" y="221"/>
                      </a:lnTo>
                      <a:lnTo>
                        <a:pt x="1054" y="221"/>
                      </a:lnTo>
                      <a:lnTo>
                        <a:pt x="1054" y="221"/>
                      </a:lnTo>
                      <a:lnTo>
                        <a:pt x="1054" y="221"/>
                      </a:lnTo>
                      <a:lnTo>
                        <a:pt x="1055" y="222"/>
                      </a:lnTo>
                      <a:lnTo>
                        <a:pt x="1055" y="222"/>
                      </a:lnTo>
                      <a:lnTo>
                        <a:pt x="1056" y="222"/>
                      </a:lnTo>
                      <a:lnTo>
                        <a:pt x="1056" y="222"/>
                      </a:lnTo>
                      <a:lnTo>
                        <a:pt x="1055" y="222"/>
                      </a:lnTo>
                      <a:lnTo>
                        <a:pt x="1055" y="223"/>
                      </a:lnTo>
                      <a:lnTo>
                        <a:pt x="1056" y="223"/>
                      </a:lnTo>
                      <a:lnTo>
                        <a:pt x="1055" y="223"/>
                      </a:lnTo>
                      <a:lnTo>
                        <a:pt x="1056" y="223"/>
                      </a:lnTo>
                      <a:lnTo>
                        <a:pt x="1056" y="223"/>
                      </a:lnTo>
                      <a:lnTo>
                        <a:pt x="1056" y="223"/>
                      </a:lnTo>
                      <a:lnTo>
                        <a:pt x="1056" y="224"/>
                      </a:lnTo>
                      <a:lnTo>
                        <a:pt x="1057" y="224"/>
                      </a:lnTo>
                      <a:lnTo>
                        <a:pt x="1058" y="225"/>
                      </a:lnTo>
                      <a:lnTo>
                        <a:pt x="1058" y="225"/>
                      </a:lnTo>
                      <a:lnTo>
                        <a:pt x="1058" y="225"/>
                      </a:lnTo>
                      <a:lnTo>
                        <a:pt x="1057" y="225"/>
                      </a:lnTo>
                      <a:lnTo>
                        <a:pt x="1058" y="225"/>
                      </a:lnTo>
                      <a:lnTo>
                        <a:pt x="1057" y="225"/>
                      </a:lnTo>
                      <a:lnTo>
                        <a:pt x="1057" y="226"/>
                      </a:lnTo>
                      <a:lnTo>
                        <a:pt x="1056" y="226"/>
                      </a:lnTo>
                      <a:lnTo>
                        <a:pt x="1056" y="225"/>
                      </a:lnTo>
                      <a:lnTo>
                        <a:pt x="1056" y="226"/>
                      </a:lnTo>
                      <a:lnTo>
                        <a:pt x="1056" y="225"/>
                      </a:lnTo>
                      <a:lnTo>
                        <a:pt x="1056" y="225"/>
                      </a:lnTo>
                      <a:lnTo>
                        <a:pt x="1056" y="226"/>
                      </a:lnTo>
                      <a:lnTo>
                        <a:pt x="1055" y="226"/>
                      </a:lnTo>
                      <a:lnTo>
                        <a:pt x="1055" y="226"/>
                      </a:lnTo>
                      <a:lnTo>
                        <a:pt x="1055" y="226"/>
                      </a:lnTo>
                      <a:lnTo>
                        <a:pt x="1055" y="226"/>
                      </a:lnTo>
                      <a:lnTo>
                        <a:pt x="1055" y="226"/>
                      </a:lnTo>
                      <a:lnTo>
                        <a:pt x="1055" y="227"/>
                      </a:lnTo>
                      <a:lnTo>
                        <a:pt x="1054" y="227"/>
                      </a:lnTo>
                      <a:lnTo>
                        <a:pt x="1055" y="227"/>
                      </a:lnTo>
                      <a:lnTo>
                        <a:pt x="1055" y="226"/>
                      </a:lnTo>
                      <a:lnTo>
                        <a:pt x="1055" y="226"/>
                      </a:lnTo>
                      <a:lnTo>
                        <a:pt x="1055" y="226"/>
                      </a:lnTo>
                      <a:lnTo>
                        <a:pt x="1055" y="226"/>
                      </a:lnTo>
                      <a:lnTo>
                        <a:pt x="1055" y="226"/>
                      </a:lnTo>
                      <a:lnTo>
                        <a:pt x="1056" y="226"/>
                      </a:lnTo>
                      <a:lnTo>
                        <a:pt x="1056" y="225"/>
                      </a:lnTo>
                      <a:lnTo>
                        <a:pt x="1056" y="226"/>
                      </a:lnTo>
                      <a:lnTo>
                        <a:pt x="1056" y="226"/>
                      </a:lnTo>
                      <a:lnTo>
                        <a:pt x="1056" y="225"/>
                      </a:lnTo>
                      <a:lnTo>
                        <a:pt x="1056" y="226"/>
                      </a:lnTo>
                      <a:lnTo>
                        <a:pt x="1057" y="226"/>
                      </a:lnTo>
                      <a:lnTo>
                        <a:pt x="1057" y="225"/>
                      </a:lnTo>
                      <a:lnTo>
                        <a:pt x="1058" y="225"/>
                      </a:lnTo>
                      <a:lnTo>
                        <a:pt x="1057" y="225"/>
                      </a:lnTo>
                      <a:lnTo>
                        <a:pt x="1058" y="225"/>
                      </a:lnTo>
                      <a:lnTo>
                        <a:pt x="1058" y="225"/>
                      </a:lnTo>
                      <a:lnTo>
                        <a:pt x="1058" y="225"/>
                      </a:lnTo>
                      <a:lnTo>
                        <a:pt x="1058" y="225"/>
                      </a:lnTo>
                      <a:lnTo>
                        <a:pt x="1059" y="225"/>
                      </a:lnTo>
                      <a:lnTo>
                        <a:pt x="1059" y="225"/>
                      </a:lnTo>
                      <a:lnTo>
                        <a:pt x="1059" y="226"/>
                      </a:lnTo>
                      <a:lnTo>
                        <a:pt x="1060" y="226"/>
                      </a:lnTo>
                      <a:lnTo>
                        <a:pt x="1060" y="226"/>
                      </a:lnTo>
                      <a:lnTo>
                        <a:pt x="1061" y="226"/>
                      </a:lnTo>
                      <a:lnTo>
                        <a:pt x="1061" y="227"/>
                      </a:lnTo>
                      <a:lnTo>
                        <a:pt x="1062" y="227"/>
                      </a:lnTo>
                      <a:lnTo>
                        <a:pt x="1062" y="227"/>
                      </a:lnTo>
                      <a:lnTo>
                        <a:pt x="1062" y="227"/>
                      </a:lnTo>
                      <a:lnTo>
                        <a:pt x="1062" y="228"/>
                      </a:lnTo>
                      <a:lnTo>
                        <a:pt x="1063" y="228"/>
                      </a:lnTo>
                      <a:lnTo>
                        <a:pt x="1063" y="228"/>
                      </a:lnTo>
                      <a:lnTo>
                        <a:pt x="1063" y="228"/>
                      </a:lnTo>
                      <a:lnTo>
                        <a:pt x="1063" y="228"/>
                      </a:lnTo>
                      <a:lnTo>
                        <a:pt x="1064" y="228"/>
                      </a:lnTo>
                      <a:lnTo>
                        <a:pt x="1063" y="228"/>
                      </a:lnTo>
                      <a:lnTo>
                        <a:pt x="1063" y="228"/>
                      </a:lnTo>
                      <a:lnTo>
                        <a:pt x="1063" y="229"/>
                      </a:lnTo>
                      <a:lnTo>
                        <a:pt x="1062" y="229"/>
                      </a:lnTo>
                      <a:lnTo>
                        <a:pt x="1062" y="229"/>
                      </a:lnTo>
                      <a:lnTo>
                        <a:pt x="1062" y="229"/>
                      </a:lnTo>
                      <a:lnTo>
                        <a:pt x="1061" y="229"/>
                      </a:lnTo>
                      <a:lnTo>
                        <a:pt x="1062" y="229"/>
                      </a:lnTo>
                      <a:lnTo>
                        <a:pt x="1061" y="229"/>
                      </a:lnTo>
                      <a:lnTo>
                        <a:pt x="1060" y="229"/>
                      </a:lnTo>
                      <a:lnTo>
                        <a:pt x="1060" y="229"/>
                      </a:lnTo>
                      <a:lnTo>
                        <a:pt x="1060" y="229"/>
                      </a:lnTo>
                      <a:lnTo>
                        <a:pt x="1060" y="229"/>
                      </a:lnTo>
                      <a:lnTo>
                        <a:pt x="1060" y="229"/>
                      </a:lnTo>
                      <a:lnTo>
                        <a:pt x="1061" y="229"/>
                      </a:lnTo>
                      <a:lnTo>
                        <a:pt x="1062" y="229"/>
                      </a:lnTo>
                      <a:lnTo>
                        <a:pt x="1062" y="229"/>
                      </a:lnTo>
                      <a:lnTo>
                        <a:pt x="1063" y="229"/>
                      </a:lnTo>
                      <a:lnTo>
                        <a:pt x="1063" y="229"/>
                      </a:lnTo>
                      <a:lnTo>
                        <a:pt x="1063" y="229"/>
                      </a:lnTo>
                      <a:lnTo>
                        <a:pt x="1064" y="229"/>
                      </a:lnTo>
                      <a:lnTo>
                        <a:pt x="1065" y="229"/>
                      </a:lnTo>
                      <a:lnTo>
                        <a:pt x="1065" y="228"/>
                      </a:lnTo>
                      <a:lnTo>
                        <a:pt x="1064" y="228"/>
                      </a:lnTo>
                      <a:lnTo>
                        <a:pt x="1065" y="228"/>
                      </a:lnTo>
                      <a:lnTo>
                        <a:pt x="1065" y="229"/>
                      </a:lnTo>
                      <a:lnTo>
                        <a:pt x="1065" y="229"/>
                      </a:lnTo>
                      <a:lnTo>
                        <a:pt x="1065" y="229"/>
                      </a:lnTo>
                      <a:lnTo>
                        <a:pt x="1066" y="229"/>
                      </a:lnTo>
                      <a:lnTo>
                        <a:pt x="1066" y="230"/>
                      </a:lnTo>
                      <a:lnTo>
                        <a:pt x="1066" y="230"/>
                      </a:lnTo>
                      <a:lnTo>
                        <a:pt x="1065" y="230"/>
                      </a:lnTo>
                      <a:lnTo>
                        <a:pt x="1065" y="230"/>
                      </a:lnTo>
                      <a:lnTo>
                        <a:pt x="1065" y="230"/>
                      </a:lnTo>
                      <a:lnTo>
                        <a:pt x="1065" y="230"/>
                      </a:lnTo>
                      <a:lnTo>
                        <a:pt x="1065" y="230"/>
                      </a:lnTo>
                      <a:lnTo>
                        <a:pt x="1065" y="230"/>
                      </a:lnTo>
                      <a:lnTo>
                        <a:pt x="1065" y="230"/>
                      </a:lnTo>
                      <a:lnTo>
                        <a:pt x="1064" y="230"/>
                      </a:lnTo>
                      <a:lnTo>
                        <a:pt x="1065" y="230"/>
                      </a:lnTo>
                      <a:lnTo>
                        <a:pt x="1065" y="230"/>
                      </a:lnTo>
                      <a:lnTo>
                        <a:pt x="1065" y="230"/>
                      </a:lnTo>
                      <a:lnTo>
                        <a:pt x="1066" y="230"/>
                      </a:lnTo>
                      <a:lnTo>
                        <a:pt x="1066" y="230"/>
                      </a:lnTo>
                      <a:lnTo>
                        <a:pt x="1066" y="230"/>
                      </a:lnTo>
                      <a:lnTo>
                        <a:pt x="1066" y="230"/>
                      </a:lnTo>
                      <a:lnTo>
                        <a:pt x="1066" y="230"/>
                      </a:lnTo>
                      <a:lnTo>
                        <a:pt x="1066" y="230"/>
                      </a:lnTo>
                      <a:lnTo>
                        <a:pt x="1067" y="230"/>
                      </a:lnTo>
                      <a:lnTo>
                        <a:pt x="1067" y="232"/>
                      </a:lnTo>
                      <a:close/>
                      <a:moveTo>
                        <a:pt x="987" y="242"/>
                      </a:moveTo>
                      <a:lnTo>
                        <a:pt x="987" y="242"/>
                      </a:lnTo>
                      <a:lnTo>
                        <a:pt x="988" y="242"/>
                      </a:lnTo>
                      <a:lnTo>
                        <a:pt x="990" y="242"/>
                      </a:lnTo>
                      <a:lnTo>
                        <a:pt x="990" y="243"/>
                      </a:lnTo>
                      <a:lnTo>
                        <a:pt x="990" y="243"/>
                      </a:lnTo>
                      <a:lnTo>
                        <a:pt x="989" y="243"/>
                      </a:lnTo>
                      <a:lnTo>
                        <a:pt x="989" y="244"/>
                      </a:lnTo>
                      <a:lnTo>
                        <a:pt x="989" y="244"/>
                      </a:lnTo>
                      <a:lnTo>
                        <a:pt x="989" y="244"/>
                      </a:lnTo>
                      <a:lnTo>
                        <a:pt x="988" y="244"/>
                      </a:lnTo>
                      <a:lnTo>
                        <a:pt x="988" y="244"/>
                      </a:lnTo>
                      <a:lnTo>
                        <a:pt x="988" y="245"/>
                      </a:lnTo>
                      <a:lnTo>
                        <a:pt x="987" y="245"/>
                      </a:lnTo>
                      <a:lnTo>
                        <a:pt x="987" y="245"/>
                      </a:lnTo>
                      <a:lnTo>
                        <a:pt x="987" y="245"/>
                      </a:lnTo>
                      <a:lnTo>
                        <a:pt x="987" y="244"/>
                      </a:lnTo>
                      <a:lnTo>
                        <a:pt x="987" y="242"/>
                      </a:lnTo>
                      <a:close/>
                      <a:moveTo>
                        <a:pt x="990" y="242"/>
                      </a:moveTo>
                      <a:lnTo>
                        <a:pt x="987" y="242"/>
                      </a:lnTo>
                      <a:lnTo>
                        <a:pt x="987" y="242"/>
                      </a:lnTo>
                      <a:lnTo>
                        <a:pt x="990" y="242"/>
                      </a:lnTo>
                      <a:close/>
                      <a:moveTo>
                        <a:pt x="987" y="242"/>
                      </a:moveTo>
                      <a:lnTo>
                        <a:pt x="987" y="242"/>
                      </a:lnTo>
                      <a:lnTo>
                        <a:pt x="987" y="242"/>
                      </a:lnTo>
                      <a:close/>
                      <a:moveTo>
                        <a:pt x="990" y="242"/>
                      </a:moveTo>
                      <a:lnTo>
                        <a:pt x="987" y="242"/>
                      </a:lnTo>
                      <a:lnTo>
                        <a:pt x="987" y="241"/>
                      </a:lnTo>
                      <a:lnTo>
                        <a:pt x="987" y="242"/>
                      </a:lnTo>
                      <a:lnTo>
                        <a:pt x="987" y="241"/>
                      </a:lnTo>
                      <a:lnTo>
                        <a:pt x="987" y="241"/>
                      </a:lnTo>
                      <a:lnTo>
                        <a:pt x="987" y="241"/>
                      </a:lnTo>
                      <a:lnTo>
                        <a:pt x="987" y="241"/>
                      </a:lnTo>
                      <a:lnTo>
                        <a:pt x="988" y="241"/>
                      </a:lnTo>
                      <a:lnTo>
                        <a:pt x="988" y="241"/>
                      </a:lnTo>
                      <a:lnTo>
                        <a:pt x="989" y="241"/>
                      </a:lnTo>
                      <a:lnTo>
                        <a:pt x="989" y="241"/>
                      </a:lnTo>
                      <a:lnTo>
                        <a:pt x="990" y="241"/>
                      </a:lnTo>
                      <a:lnTo>
                        <a:pt x="991" y="241"/>
                      </a:lnTo>
                      <a:lnTo>
                        <a:pt x="990" y="241"/>
                      </a:lnTo>
                      <a:lnTo>
                        <a:pt x="991" y="241"/>
                      </a:lnTo>
                      <a:lnTo>
                        <a:pt x="991" y="241"/>
                      </a:lnTo>
                      <a:lnTo>
                        <a:pt x="990" y="241"/>
                      </a:lnTo>
                      <a:lnTo>
                        <a:pt x="990" y="242"/>
                      </a:lnTo>
                      <a:close/>
                      <a:moveTo>
                        <a:pt x="1006" y="203"/>
                      </a:moveTo>
                      <a:lnTo>
                        <a:pt x="1006" y="203"/>
                      </a:lnTo>
                      <a:lnTo>
                        <a:pt x="1006" y="203"/>
                      </a:lnTo>
                      <a:lnTo>
                        <a:pt x="1007" y="203"/>
                      </a:lnTo>
                      <a:lnTo>
                        <a:pt x="1006" y="204"/>
                      </a:lnTo>
                      <a:lnTo>
                        <a:pt x="1007" y="203"/>
                      </a:lnTo>
                      <a:lnTo>
                        <a:pt x="1007" y="204"/>
                      </a:lnTo>
                      <a:lnTo>
                        <a:pt x="1006" y="204"/>
                      </a:lnTo>
                      <a:lnTo>
                        <a:pt x="1006" y="203"/>
                      </a:lnTo>
                      <a:lnTo>
                        <a:pt x="1006" y="203"/>
                      </a:lnTo>
                      <a:lnTo>
                        <a:pt x="1006" y="203"/>
                      </a:lnTo>
                      <a:lnTo>
                        <a:pt x="1006" y="203"/>
                      </a:lnTo>
                      <a:lnTo>
                        <a:pt x="1006" y="203"/>
                      </a:lnTo>
                      <a:lnTo>
                        <a:pt x="1006" y="202"/>
                      </a:lnTo>
                      <a:lnTo>
                        <a:pt x="1006" y="203"/>
                      </a:lnTo>
                      <a:lnTo>
                        <a:pt x="1006" y="203"/>
                      </a:lnTo>
                      <a:lnTo>
                        <a:pt x="1006" y="203"/>
                      </a:lnTo>
                      <a:close/>
                      <a:moveTo>
                        <a:pt x="1006" y="202"/>
                      </a:moveTo>
                      <a:lnTo>
                        <a:pt x="1006" y="202"/>
                      </a:lnTo>
                      <a:lnTo>
                        <a:pt x="1006" y="202"/>
                      </a:lnTo>
                      <a:lnTo>
                        <a:pt x="1006" y="203"/>
                      </a:lnTo>
                      <a:lnTo>
                        <a:pt x="1006" y="203"/>
                      </a:lnTo>
                      <a:lnTo>
                        <a:pt x="1006" y="202"/>
                      </a:lnTo>
                      <a:lnTo>
                        <a:pt x="1006" y="203"/>
                      </a:lnTo>
                      <a:lnTo>
                        <a:pt x="1006" y="202"/>
                      </a:lnTo>
                      <a:lnTo>
                        <a:pt x="1006" y="202"/>
                      </a:lnTo>
                      <a:close/>
                      <a:moveTo>
                        <a:pt x="1006" y="203"/>
                      </a:moveTo>
                      <a:lnTo>
                        <a:pt x="1005" y="203"/>
                      </a:lnTo>
                      <a:lnTo>
                        <a:pt x="1005" y="202"/>
                      </a:lnTo>
                      <a:lnTo>
                        <a:pt x="1006" y="201"/>
                      </a:lnTo>
                      <a:lnTo>
                        <a:pt x="1006" y="202"/>
                      </a:lnTo>
                      <a:lnTo>
                        <a:pt x="1006" y="201"/>
                      </a:lnTo>
                      <a:lnTo>
                        <a:pt x="1006" y="201"/>
                      </a:lnTo>
                      <a:lnTo>
                        <a:pt x="1006" y="202"/>
                      </a:lnTo>
                      <a:lnTo>
                        <a:pt x="1006" y="203"/>
                      </a:lnTo>
                      <a:lnTo>
                        <a:pt x="1006" y="203"/>
                      </a:lnTo>
                      <a:lnTo>
                        <a:pt x="1006" y="203"/>
                      </a:lnTo>
                      <a:lnTo>
                        <a:pt x="1006" y="203"/>
                      </a:lnTo>
                      <a:lnTo>
                        <a:pt x="1006" y="203"/>
                      </a:lnTo>
                      <a:lnTo>
                        <a:pt x="1006" y="204"/>
                      </a:lnTo>
                      <a:lnTo>
                        <a:pt x="1007" y="204"/>
                      </a:lnTo>
                      <a:lnTo>
                        <a:pt x="1006" y="204"/>
                      </a:lnTo>
                      <a:lnTo>
                        <a:pt x="1007" y="204"/>
                      </a:lnTo>
                      <a:lnTo>
                        <a:pt x="1006" y="204"/>
                      </a:lnTo>
                      <a:lnTo>
                        <a:pt x="1006" y="204"/>
                      </a:lnTo>
                      <a:lnTo>
                        <a:pt x="1006" y="204"/>
                      </a:lnTo>
                      <a:lnTo>
                        <a:pt x="1006" y="204"/>
                      </a:lnTo>
                      <a:lnTo>
                        <a:pt x="1006" y="204"/>
                      </a:lnTo>
                      <a:lnTo>
                        <a:pt x="1006" y="203"/>
                      </a:lnTo>
                      <a:close/>
                      <a:moveTo>
                        <a:pt x="692" y="443"/>
                      </a:moveTo>
                      <a:lnTo>
                        <a:pt x="692" y="443"/>
                      </a:lnTo>
                      <a:lnTo>
                        <a:pt x="691" y="443"/>
                      </a:lnTo>
                      <a:lnTo>
                        <a:pt x="691" y="443"/>
                      </a:lnTo>
                      <a:lnTo>
                        <a:pt x="691" y="444"/>
                      </a:lnTo>
                      <a:lnTo>
                        <a:pt x="691" y="444"/>
                      </a:lnTo>
                      <a:lnTo>
                        <a:pt x="692" y="444"/>
                      </a:lnTo>
                      <a:lnTo>
                        <a:pt x="691" y="444"/>
                      </a:lnTo>
                      <a:lnTo>
                        <a:pt x="692" y="444"/>
                      </a:lnTo>
                      <a:lnTo>
                        <a:pt x="691" y="444"/>
                      </a:lnTo>
                      <a:lnTo>
                        <a:pt x="691" y="444"/>
                      </a:lnTo>
                      <a:lnTo>
                        <a:pt x="691" y="444"/>
                      </a:lnTo>
                      <a:lnTo>
                        <a:pt x="691" y="444"/>
                      </a:lnTo>
                      <a:lnTo>
                        <a:pt x="692" y="444"/>
                      </a:lnTo>
                      <a:lnTo>
                        <a:pt x="692" y="444"/>
                      </a:lnTo>
                      <a:lnTo>
                        <a:pt x="692" y="444"/>
                      </a:lnTo>
                      <a:lnTo>
                        <a:pt x="693" y="444"/>
                      </a:lnTo>
                      <a:lnTo>
                        <a:pt x="693" y="444"/>
                      </a:lnTo>
                      <a:lnTo>
                        <a:pt x="693" y="444"/>
                      </a:lnTo>
                      <a:lnTo>
                        <a:pt x="692" y="444"/>
                      </a:lnTo>
                      <a:lnTo>
                        <a:pt x="691" y="444"/>
                      </a:lnTo>
                      <a:lnTo>
                        <a:pt x="691" y="445"/>
                      </a:lnTo>
                      <a:lnTo>
                        <a:pt x="691" y="444"/>
                      </a:lnTo>
                      <a:lnTo>
                        <a:pt x="691" y="445"/>
                      </a:lnTo>
                      <a:lnTo>
                        <a:pt x="690" y="445"/>
                      </a:lnTo>
                      <a:lnTo>
                        <a:pt x="690" y="444"/>
                      </a:lnTo>
                      <a:lnTo>
                        <a:pt x="690" y="445"/>
                      </a:lnTo>
                      <a:lnTo>
                        <a:pt x="690" y="444"/>
                      </a:lnTo>
                      <a:lnTo>
                        <a:pt x="691" y="444"/>
                      </a:lnTo>
                      <a:lnTo>
                        <a:pt x="691" y="444"/>
                      </a:lnTo>
                      <a:lnTo>
                        <a:pt x="691" y="444"/>
                      </a:lnTo>
                      <a:lnTo>
                        <a:pt x="690" y="444"/>
                      </a:lnTo>
                      <a:lnTo>
                        <a:pt x="690" y="444"/>
                      </a:lnTo>
                      <a:lnTo>
                        <a:pt x="691" y="444"/>
                      </a:lnTo>
                      <a:lnTo>
                        <a:pt x="691" y="444"/>
                      </a:lnTo>
                      <a:lnTo>
                        <a:pt x="691" y="444"/>
                      </a:lnTo>
                      <a:lnTo>
                        <a:pt x="690" y="444"/>
                      </a:lnTo>
                      <a:lnTo>
                        <a:pt x="690" y="445"/>
                      </a:lnTo>
                      <a:lnTo>
                        <a:pt x="690" y="444"/>
                      </a:lnTo>
                      <a:lnTo>
                        <a:pt x="690" y="445"/>
                      </a:lnTo>
                      <a:lnTo>
                        <a:pt x="690" y="446"/>
                      </a:lnTo>
                      <a:lnTo>
                        <a:pt x="690" y="446"/>
                      </a:lnTo>
                      <a:lnTo>
                        <a:pt x="690" y="446"/>
                      </a:lnTo>
                      <a:lnTo>
                        <a:pt x="689" y="447"/>
                      </a:lnTo>
                      <a:lnTo>
                        <a:pt x="689" y="447"/>
                      </a:lnTo>
                      <a:lnTo>
                        <a:pt x="688" y="447"/>
                      </a:lnTo>
                      <a:lnTo>
                        <a:pt x="688" y="448"/>
                      </a:lnTo>
                      <a:lnTo>
                        <a:pt x="689" y="448"/>
                      </a:lnTo>
                      <a:lnTo>
                        <a:pt x="689" y="448"/>
                      </a:lnTo>
                      <a:lnTo>
                        <a:pt x="689" y="449"/>
                      </a:lnTo>
                      <a:lnTo>
                        <a:pt x="689" y="450"/>
                      </a:lnTo>
                      <a:lnTo>
                        <a:pt x="688" y="450"/>
                      </a:lnTo>
                      <a:lnTo>
                        <a:pt x="688" y="450"/>
                      </a:lnTo>
                      <a:lnTo>
                        <a:pt x="688" y="451"/>
                      </a:lnTo>
                      <a:lnTo>
                        <a:pt x="688" y="451"/>
                      </a:lnTo>
                      <a:lnTo>
                        <a:pt x="687" y="452"/>
                      </a:lnTo>
                      <a:lnTo>
                        <a:pt x="687" y="453"/>
                      </a:lnTo>
                      <a:lnTo>
                        <a:pt x="687" y="453"/>
                      </a:lnTo>
                      <a:lnTo>
                        <a:pt x="687" y="454"/>
                      </a:lnTo>
                      <a:lnTo>
                        <a:pt x="687" y="454"/>
                      </a:lnTo>
                      <a:lnTo>
                        <a:pt x="687" y="454"/>
                      </a:lnTo>
                      <a:lnTo>
                        <a:pt x="687" y="455"/>
                      </a:lnTo>
                      <a:lnTo>
                        <a:pt x="686" y="456"/>
                      </a:lnTo>
                      <a:lnTo>
                        <a:pt x="686" y="457"/>
                      </a:lnTo>
                      <a:lnTo>
                        <a:pt x="686" y="457"/>
                      </a:lnTo>
                      <a:lnTo>
                        <a:pt x="686" y="457"/>
                      </a:lnTo>
                      <a:lnTo>
                        <a:pt x="686" y="458"/>
                      </a:lnTo>
                      <a:lnTo>
                        <a:pt x="686" y="458"/>
                      </a:lnTo>
                      <a:lnTo>
                        <a:pt x="686" y="458"/>
                      </a:lnTo>
                      <a:lnTo>
                        <a:pt x="686" y="459"/>
                      </a:lnTo>
                      <a:lnTo>
                        <a:pt x="686" y="459"/>
                      </a:lnTo>
                      <a:lnTo>
                        <a:pt x="686" y="460"/>
                      </a:lnTo>
                      <a:lnTo>
                        <a:pt x="686" y="461"/>
                      </a:lnTo>
                      <a:lnTo>
                        <a:pt x="685" y="461"/>
                      </a:lnTo>
                      <a:lnTo>
                        <a:pt x="685" y="461"/>
                      </a:lnTo>
                      <a:lnTo>
                        <a:pt x="686" y="461"/>
                      </a:lnTo>
                      <a:lnTo>
                        <a:pt x="686" y="462"/>
                      </a:lnTo>
                      <a:lnTo>
                        <a:pt x="686" y="462"/>
                      </a:lnTo>
                      <a:lnTo>
                        <a:pt x="686" y="463"/>
                      </a:lnTo>
                      <a:lnTo>
                        <a:pt x="686" y="464"/>
                      </a:lnTo>
                      <a:lnTo>
                        <a:pt x="686" y="464"/>
                      </a:lnTo>
                      <a:lnTo>
                        <a:pt x="686" y="464"/>
                      </a:lnTo>
                      <a:lnTo>
                        <a:pt x="686" y="465"/>
                      </a:lnTo>
                      <a:lnTo>
                        <a:pt x="687" y="465"/>
                      </a:lnTo>
                      <a:lnTo>
                        <a:pt x="687" y="466"/>
                      </a:lnTo>
                      <a:lnTo>
                        <a:pt x="687" y="466"/>
                      </a:lnTo>
                      <a:lnTo>
                        <a:pt x="687" y="466"/>
                      </a:lnTo>
                      <a:lnTo>
                        <a:pt x="687" y="466"/>
                      </a:lnTo>
                      <a:lnTo>
                        <a:pt x="687" y="466"/>
                      </a:lnTo>
                      <a:lnTo>
                        <a:pt x="687" y="466"/>
                      </a:lnTo>
                      <a:lnTo>
                        <a:pt x="687" y="466"/>
                      </a:lnTo>
                      <a:lnTo>
                        <a:pt x="687" y="466"/>
                      </a:lnTo>
                      <a:lnTo>
                        <a:pt x="687" y="466"/>
                      </a:lnTo>
                      <a:lnTo>
                        <a:pt x="688" y="466"/>
                      </a:lnTo>
                      <a:lnTo>
                        <a:pt x="688" y="467"/>
                      </a:lnTo>
                      <a:lnTo>
                        <a:pt x="688" y="467"/>
                      </a:lnTo>
                      <a:lnTo>
                        <a:pt x="688" y="468"/>
                      </a:lnTo>
                      <a:lnTo>
                        <a:pt x="689" y="468"/>
                      </a:lnTo>
                      <a:lnTo>
                        <a:pt x="689" y="468"/>
                      </a:lnTo>
                      <a:lnTo>
                        <a:pt x="689" y="469"/>
                      </a:lnTo>
                      <a:lnTo>
                        <a:pt x="690" y="469"/>
                      </a:lnTo>
                      <a:lnTo>
                        <a:pt x="690" y="469"/>
                      </a:lnTo>
                      <a:lnTo>
                        <a:pt x="690" y="470"/>
                      </a:lnTo>
                      <a:lnTo>
                        <a:pt x="689" y="470"/>
                      </a:lnTo>
                      <a:lnTo>
                        <a:pt x="689" y="470"/>
                      </a:lnTo>
                      <a:lnTo>
                        <a:pt x="690" y="470"/>
                      </a:lnTo>
                      <a:lnTo>
                        <a:pt x="690" y="471"/>
                      </a:lnTo>
                      <a:lnTo>
                        <a:pt x="690" y="472"/>
                      </a:lnTo>
                      <a:lnTo>
                        <a:pt x="690" y="472"/>
                      </a:lnTo>
                      <a:lnTo>
                        <a:pt x="690" y="472"/>
                      </a:lnTo>
                      <a:lnTo>
                        <a:pt x="690" y="472"/>
                      </a:lnTo>
                      <a:lnTo>
                        <a:pt x="690" y="472"/>
                      </a:lnTo>
                      <a:lnTo>
                        <a:pt x="690" y="473"/>
                      </a:lnTo>
                      <a:lnTo>
                        <a:pt x="690" y="473"/>
                      </a:lnTo>
                      <a:lnTo>
                        <a:pt x="690" y="473"/>
                      </a:lnTo>
                      <a:lnTo>
                        <a:pt x="690" y="473"/>
                      </a:lnTo>
                      <a:lnTo>
                        <a:pt x="690" y="473"/>
                      </a:lnTo>
                      <a:lnTo>
                        <a:pt x="690" y="473"/>
                      </a:lnTo>
                      <a:lnTo>
                        <a:pt x="690" y="474"/>
                      </a:lnTo>
                      <a:lnTo>
                        <a:pt x="690" y="474"/>
                      </a:lnTo>
                      <a:lnTo>
                        <a:pt x="691" y="474"/>
                      </a:lnTo>
                      <a:lnTo>
                        <a:pt x="691" y="474"/>
                      </a:lnTo>
                      <a:lnTo>
                        <a:pt x="692" y="474"/>
                      </a:lnTo>
                      <a:lnTo>
                        <a:pt x="692" y="475"/>
                      </a:lnTo>
                      <a:lnTo>
                        <a:pt x="692" y="474"/>
                      </a:lnTo>
                      <a:lnTo>
                        <a:pt x="693" y="474"/>
                      </a:lnTo>
                      <a:lnTo>
                        <a:pt x="692" y="474"/>
                      </a:lnTo>
                      <a:lnTo>
                        <a:pt x="692" y="474"/>
                      </a:lnTo>
                      <a:lnTo>
                        <a:pt x="691" y="474"/>
                      </a:lnTo>
                      <a:lnTo>
                        <a:pt x="691" y="474"/>
                      </a:lnTo>
                      <a:lnTo>
                        <a:pt x="691" y="473"/>
                      </a:lnTo>
                      <a:lnTo>
                        <a:pt x="691" y="474"/>
                      </a:lnTo>
                      <a:lnTo>
                        <a:pt x="691" y="473"/>
                      </a:lnTo>
                      <a:lnTo>
                        <a:pt x="690" y="473"/>
                      </a:lnTo>
                      <a:lnTo>
                        <a:pt x="691" y="473"/>
                      </a:lnTo>
                      <a:lnTo>
                        <a:pt x="690" y="473"/>
                      </a:lnTo>
                      <a:lnTo>
                        <a:pt x="691" y="473"/>
                      </a:lnTo>
                      <a:lnTo>
                        <a:pt x="691" y="473"/>
                      </a:lnTo>
                      <a:lnTo>
                        <a:pt x="691" y="473"/>
                      </a:lnTo>
                      <a:lnTo>
                        <a:pt x="692" y="473"/>
                      </a:lnTo>
                      <a:lnTo>
                        <a:pt x="693" y="473"/>
                      </a:lnTo>
                      <a:lnTo>
                        <a:pt x="693" y="473"/>
                      </a:lnTo>
                      <a:lnTo>
                        <a:pt x="693" y="473"/>
                      </a:lnTo>
                      <a:lnTo>
                        <a:pt x="693" y="473"/>
                      </a:lnTo>
                      <a:lnTo>
                        <a:pt x="693" y="474"/>
                      </a:lnTo>
                      <a:lnTo>
                        <a:pt x="693" y="474"/>
                      </a:lnTo>
                      <a:lnTo>
                        <a:pt x="693" y="475"/>
                      </a:lnTo>
                      <a:lnTo>
                        <a:pt x="693" y="476"/>
                      </a:lnTo>
                      <a:lnTo>
                        <a:pt x="693" y="476"/>
                      </a:lnTo>
                      <a:lnTo>
                        <a:pt x="694" y="476"/>
                      </a:lnTo>
                      <a:lnTo>
                        <a:pt x="694" y="477"/>
                      </a:lnTo>
                      <a:lnTo>
                        <a:pt x="694" y="477"/>
                      </a:lnTo>
                      <a:lnTo>
                        <a:pt x="694" y="478"/>
                      </a:lnTo>
                      <a:lnTo>
                        <a:pt x="694" y="479"/>
                      </a:lnTo>
                      <a:lnTo>
                        <a:pt x="694" y="478"/>
                      </a:lnTo>
                      <a:lnTo>
                        <a:pt x="694" y="479"/>
                      </a:lnTo>
                      <a:lnTo>
                        <a:pt x="694" y="479"/>
                      </a:lnTo>
                      <a:lnTo>
                        <a:pt x="694" y="479"/>
                      </a:lnTo>
                      <a:lnTo>
                        <a:pt x="693" y="479"/>
                      </a:lnTo>
                      <a:lnTo>
                        <a:pt x="693" y="480"/>
                      </a:lnTo>
                      <a:lnTo>
                        <a:pt x="693" y="480"/>
                      </a:lnTo>
                      <a:lnTo>
                        <a:pt x="693" y="481"/>
                      </a:lnTo>
                      <a:lnTo>
                        <a:pt x="693" y="481"/>
                      </a:lnTo>
                      <a:lnTo>
                        <a:pt x="693" y="482"/>
                      </a:lnTo>
                      <a:lnTo>
                        <a:pt x="693" y="483"/>
                      </a:lnTo>
                      <a:lnTo>
                        <a:pt x="693" y="482"/>
                      </a:lnTo>
                      <a:lnTo>
                        <a:pt x="693" y="481"/>
                      </a:lnTo>
                      <a:lnTo>
                        <a:pt x="693" y="481"/>
                      </a:lnTo>
                      <a:lnTo>
                        <a:pt x="693" y="480"/>
                      </a:lnTo>
                      <a:lnTo>
                        <a:pt x="693" y="480"/>
                      </a:lnTo>
                      <a:lnTo>
                        <a:pt x="693" y="479"/>
                      </a:lnTo>
                      <a:lnTo>
                        <a:pt x="692" y="479"/>
                      </a:lnTo>
                      <a:lnTo>
                        <a:pt x="692" y="479"/>
                      </a:lnTo>
                      <a:lnTo>
                        <a:pt x="692" y="478"/>
                      </a:lnTo>
                      <a:lnTo>
                        <a:pt x="692" y="477"/>
                      </a:lnTo>
                      <a:lnTo>
                        <a:pt x="692" y="477"/>
                      </a:lnTo>
                      <a:lnTo>
                        <a:pt x="691" y="477"/>
                      </a:lnTo>
                      <a:lnTo>
                        <a:pt x="692" y="477"/>
                      </a:lnTo>
                      <a:lnTo>
                        <a:pt x="692" y="476"/>
                      </a:lnTo>
                      <a:lnTo>
                        <a:pt x="691" y="476"/>
                      </a:lnTo>
                      <a:lnTo>
                        <a:pt x="691" y="477"/>
                      </a:lnTo>
                      <a:lnTo>
                        <a:pt x="691" y="476"/>
                      </a:lnTo>
                      <a:lnTo>
                        <a:pt x="691" y="476"/>
                      </a:lnTo>
                      <a:lnTo>
                        <a:pt x="691" y="476"/>
                      </a:lnTo>
                      <a:lnTo>
                        <a:pt x="690" y="476"/>
                      </a:lnTo>
                      <a:lnTo>
                        <a:pt x="690" y="476"/>
                      </a:lnTo>
                      <a:lnTo>
                        <a:pt x="689" y="476"/>
                      </a:lnTo>
                      <a:lnTo>
                        <a:pt x="688" y="476"/>
                      </a:lnTo>
                      <a:lnTo>
                        <a:pt x="688" y="476"/>
                      </a:lnTo>
                      <a:lnTo>
                        <a:pt x="687" y="476"/>
                      </a:lnTo>
                      <a:lnTo>
                        <a:pt x="687" y="475"/>
                      </a:lnTo>
                      <a:lnTo>
                        <a:pt x="687" y="474"/>
                      </a:lnTo>
                      <a:lnTo>
                        <a:pt x="687" y="474"/>
                      </a:lnTo>
                      <a:lnTo>
                        <a:pt x="687" y="474"/>
                      </a:lnTo>
                      <a:lnTo>
                        <a:pt x="687" y="474"/>
                      </a:lnTo>
                      <a:lnTo>
                        <a:pt x="686" y="474"/>
                      </a:lnTo>
                      <a:lnTo>
                        <a:pt x="686" y="474"/>
                      </a:lnTo>
                      <a:lnTo>
                        <a:pt x="685" y="474"/>
                      </a:lnTo>
                      <a:lnTo>
                        <a:pt x="686" y="474"/>
                      </a:lnTo>
                      <a:lnTo>
                        <a:pt x="685" y="474"/>
                      </a:lnTo>
                      <a:lnTo>
                        <a:pt x="686" y="474"/>
                      </a:lnTo>
                      <a:lnTo>
                        <a:pt x="685" y="475"/>
                      </a:lnTo>
                      <a:lnTo>
                        <a:pt x="684" y="476"/>
                      </a:lnTo>
                      <a:lnTo>
                        <a:pt x="684" y="476"/>
                      </a:lnTo>
                      <a:lnTo>
                        <a:pt x="684" y="477"/>
                      </a:lnTo>
                      <a:lnTo>
                        <a:pt x="684" y="477"/>
                      </a:lnTo>
                      <a:lnTo>
                        <a:pt x="684" y="478"/>
                      </a:lnTo>
                      <a:lnTo>
                        <a:pt x="684" y="479"/>
                      </a:lnTo>
                      <a:lnTo>
                        <a:pt x="683" y="479"/>
                      </a:lnTo>
                      <a:lnTo>
                        <a:pt x="683" y="479"/>
                      </a:lnTo>
                      <a:lnTo>
                        <a:pt x="683" y="480"/>
                      </a:lnTo>
                      <a:lnTo>
                        <a:pt x="683" y="480"/>
                      </a:lnTo>
                      <a:lnTo>
                        <a:pt x="683" y="481"/>
                      </a:lnTo>
                      <a:lnTo>
                        <a:pt x="683" y="481"/>
                      </a:lnTo>
                      <a:lnTo>
                        <a:pt x="683" y="481"/>
                      </a:lnTo>
                      <a:lnTo>
                        <a:pt x="683" y="482"/>
                      </a:lnTo>
                      <a:lnTo>
                        <a:pt x="683" y="483"/>
                      </a:lnTo>
                      <a:lnTo>
                        <a:pt x="682" y="483"/>
                      </a:lnTo>
                      <a:lnTo>
                        <a:pt x="682" y="483"/>
                      </a:lnTo>
                      <a:lnTo>
                        <a:pt x="682" y="483"/>
                      </a:lnTo>
                      <a:lnTo>
                        <a:pt x="682" y="483"/>
                      </a:lnTo>
                      <a:lnTo>
                        <a:pt x="682" y="483"/>
                      </a:lnTo>
                      <a:lnTo>
                        <a:pt x="682" y="484"/>
                      </a:lnTo>
                      <a:lnTo>
                        <a:pt x="682" y="483"/>
                      </a:lnTo>
                      <a:lnTo>
                        <a:pt x="682" y="484"/>
                      </a:lnTo>
                      <a:lnTo>
                        <a:pt x="682" y="483"/>
                      </a:lnTo>
                      <a:lnTo>
                        <a:pt x="681" y="483"/>
                      </a:lnTo>
                      <a:lnTo>
                        <a:pt x="681" y="483"/>
                      </a:lnTo>
                      <a:lnTo>
                        <a:pt x="680" y="483"/>
                      </a:lnTo>
                      <a:lnTo>
                        <a:pt x="680" y="482"/>
                      </a:lnTo>
                      <a:lnTo>
                        <a:pt x="680" y="481"/>
                      </a:lnTo>
                      <a:lnTo>
                        <a:pt x="680" y="481"/>
                      </a:lnTo>
                      <a:lnTo>
                        <a:pt x="680" y="480"/>
                      </a:lnTo>
                      <a:lnTo>
                        <a:pt x="680" y="480"/>
                      </a:lnTo>
                      <a:lnTo>
                        <a:pt x="680" y="479"/>
                      </a:lnTo>
                      <a:lnTo>
                        <a:pt x="680" y="479"/>
                      </a:lnTo>
                      <a:lnTo>
                        <a:pt x="680" y="478"/>
                      </a:lnTo>
                      <a:lnTo>
                        <a:pt x="680" y="477"/>
                      </a:lnTo>
                      <a:lnTo>
                        <a:pt x="680" y="477"/>
                      </a:lnTo>
                      <a:lnTo>
                        <a:pt x="680" y="476"/>
                      </a:lnTo>
                      <a:lnTo>
                        <a:pt x="680" y="476"/>
                      </a:lnTo>
                      <a:lnTo>
                        <a:pt x="680" y="475"/>
                      </a:lnTo>
                      <a:lnTo>
                        <a:pt x="680" y="474"/>
                      </a:lnTo>
                      <a:lnTo>
                        <a:pt x="680" y="474"/>
                      </a:lnTo>
                      <a:lnTo>
                        <a:pt x="680" y="474"/>
                      </a:lnTo>
                      <a:lnTo>
                        <a:pt x="680" y="473"/>
                      </a:lnTo>
                      <a:lnTo>
                        <a:pt x="681" y="473"/>
                      </a:lnTo>
                      <a:lnTo>
                        <a:pt x="681" y="472"/>
                      </a:lnTo>
                      <a:lnTo>
                        <a:pt x="681" y="472"/>
                      </a:lnTo>
                      <a:lnTo>
                        <a:pt x="682" y="472"/>
                      </a:lnTo>
                      <a:lnTo>
                        <a:pt x="682" y="471"/>
                      </a:lnTo>
                      <a:lnTo>
                        <a:pt x="682" y="470"/>
                      </a:lnTo>
                      <a:lnTo>
                        <a:pt x="682" y="470"/>
                      </a:lnTo>
                      <a:lnTo>
                        <a:pt x="682" y="469"/>
                      </a:lnTo>
                      <a:lnTo>
                        <a:pt x="682" y="469"/>
                      </a:lnTo>
                      <a:lnTo>
                        <a:pt x="682" y="468"/>
                      </a:lnTo>
                      <a:lnTo>
                        <a:pt x="681" y="468"/>
                      </a:lnTo>
                      <a:lnTo>
                        <a:pt x="681" y="468"/>
                      </a:lnTo>
                      <a:lnTo>
                        <a:pt x="681" y="467"/>
                      </a:lnTo>
                      <a:lnTo>
                        <a:pt x="681" y="466"/>
                      </a:lnTo>
                      <a:lnTo>
                        <a:pt x="681" y="466"/>
                      </a:lnTo>
                      <a:lnTo>
                        <a:pt x="681" y="465"/>
                      </a:lnTo>
                      <a:lnTo>
                        <a:pt x="681" y="465"/>
                      </a:lnTo>
                      <a:lnTo>
                        <a:pt x="681" y="464"/>
                      </a:lnTo>
                      <a:lnTo>
                        <a:pt x="681" y="464"/>
                      </a:lnTo>
                      <a:lnTo>
                        <a:pt x="681" y="463"/>
                      </a:lnTo>
                      <a:lnTo>
                        <a:pt x="682" y="463"/>
                      </a:lnTo>
                      <a:lnTo>
                        <a:pt x="682" y="462"/>
                      </a:lnTo>
                      <a:lnTo>
                        <a:pt x="682" y="462"/>
                      </a:lnTo>
                      <a:lnTo>
                        <a:pt x="682" y="461"/>
                      </a:lnTo>
                      <a:lnTo>
                        <a:pt x="682" y="461"/>
                      </a:lnTo>
                      <a:lnTo>
                        <a:pt x="682" y="461"/>
                      </a:lnTo>
                      <a:lnTo>
                        <a:pt x="682" y="461"/>
                      </a:lnTo>
                      <a:lnTo>
                        <a:pt x="682" y="461"/>
                      </a:lnTo>
                      <a:lnTo>
                        <a:pt x="683" y="460"/>
                      </a:lnTo>
                      <a:lnTo>
                        <a:pt x="683" y="459"/>
                      </a:lnTo>
                      <a:lnTo>
                        <a:pt x="683" y="459"/>
                      </a:lnTo>
                      <a:lnTo>
                        <a:pt x="683" y="458"/>
                      </a:lnTo>
                      <a:lnTo>
                        <a:pt x="683" y="458"/>
                      </a:lnTo>
                      <a:lnTo>
                        <a:pt x="683" y="457"/>
                      </a:lnTo>
                      <a:lnTo>
                        <a:pt x="682" y="457"/>
                      </a:lnTo>
                      <a:lnTo>
                        <a:pt x="682" y="456"/>
                      </a:lnTo>
                      <a:lnTo>
                        <a:pt x="682" y="455"/>
                      </a:lnTo>
                      <a:lnTo>
                        <a:pt x="682" y="455"/>
                      </a:lnTo>
                      <a:lnTo>
                        <a:pt x="682" y="455"/>
                      </a:lnTo>
                      <a:lnTo>
                        <a:pt x="682" y="455"/>
                      </a:lnTo>
                      <a:lnTo>
                        <a:pt x="682" y="454"/>
                      </a:lnTo>
                      <a:lnTo>
                        <a:pt x="682" y="454"/>
                      </a:lnTo>
                      <a:lnTo>
                        <a:pt x="682" y="454"/>
                      </a:lnTo>
                      <a:lnTo>
                        <a:pt x="682" y="454"/>
                      </a:lnTo>
                      <a:lnTo>
                        <a:pt x="682" y="454"/>
                      </a:lnTo>
                      <a:lnTo>
                        <a:pt x="682" y="454"/>
                      </a:lnTo>
                      <a:lnTo>
                        <a:pt x="682" y="454"/>
                      </a:lnTo>
                      <a:lnTo>
                        <a:pt x="682" y="454"/>
                      </a:lnTo>
                      <a:lnTo>
                        <a:pt x="682" y="454"/>
                      </a:lnTo>
                      <a:lnTo>
                        <a:pt x="682" y="454"/>
                      </a:lnTo>
                      <a:lnTo>
                        <a:pt x="682" y="453"/>
                      </a:lnTo>
                      <a:lnTo>
                        <a:pt x="682" y="454"/>
                      </a:lnTo>
                      <a:lnTo>
                        <a:pt x="682" y="454"/>
                      </a:lnTo>
                      <a:lnTo>
                        <a:pt x="682" y="455"/>
                      </a:lnTo>
                      <a:lnTo>
                        <a:pt x="682" y="455"/>
                      </a:lnTo>
                      <a:lnTo>
                        <a:pt x="682" y="455"/>
                      </a:lnTo>
                      <a:lnTo>
                        <a:pt x="682" y="454"/>
                      </a:lnTo>
                      <a:lnTo>
                        <a:pt x="681" y="454"/>
                      </a:lnTo>
                      <a:lnTo>
                        <a:pt x="681" y="453"/>
                      </a:lnTo>
                      <a:lnTo>
                        <a:pt x="680" y="453"/>
                      </a:lnTo>
                      <a:lnTo>
                        <a:pt x="680" y="452"/>
                      </a:lnTo>
                      <a:lnTo>
                        <a:pt x="680" y="452"/>
                      </a:lnTo>
                      <a:lnTo>
                        <a:pt x="680" y="451"/>
                      </a:lnTo>
                      <a:lnTo>
                        <a:pt x="680" y="451"/>
                      </a:lnTo>
                      <a:lnTo>
                        <a:pt x="680" y="451"/>
                      </a:lnTo>
                      <a:lnTo>
                        <a:pt x="680" y="451"/>
                      </a:lnTo>
                      <a:lnTo>
                        <a:pt x="680" y="450"/>
                      </a:lnTo>
                      <a:lnTo>
                        <a:pt x="680" y="450"/>
                      </a:lnTo>
                      <a:lnTo>
                        <a:pt x="680" y="450"/>
                      </a:lnTo>
                      <a:lnTo>
                        <a:pt x="681" y="450"/>
                      </a:lnTo>
                      <a:lnTo>
                        <a:pt x="681" y="449"/>
                      </a:lnTo>
                      <a:lnTo>
                        <a:pt x="681" y="448"/>
                      </a:lnTo>
                      <a:lnTo>
                        <a:pt x="681" y="449"/>
                      </a:lnTo>
                      <a:lnTo>
                        <a:pt x="681" y="448"/>
                      </a:lnTo>
                      <a:lnTo>
                        <a:pt x="681" y="448"/>
                      </a:lnTo>
                      <a:lnTo>
                        <a:pt x="681" y="447"/>
                      </a:lnTo>
                      <a:lnTo>
                        <a:pt x="682" y="447"/>
                      </a:lnTo>
                      <a:lnTo>
                        <a:pt x="682" y="447"/>
                      </a:lnTo>
                      <a:lnTo>
                        <a:pt x="682" y="446"/>
                      </a:lnTo>
                      <a:lnTo>
                        <a:pt x="682" y="446"/>
                      </a:lnTo>
                      <a:lnTo>
                        <a:pt x="682" y="446"/>
                      </a:lnTo>
                      <a:lnTo>
                        <a:pt x="682" y="445"/>
                      </a:lnTo>
                      <a:lnTo>
                        <a:pt x="682" y="445"/>
                      </a:lnTo>
                      <a:lnTo>
                        <a:pt x="682" y="444"/>
                      </a:lnTo>
                      <a:lnTo>
                        <a:pt x="682" y="444"/>
                      </a:lnTo>
                      <a:lnTo>
                        <a:pt x="682" y="443"/>
                      </a:lnTo>
                      <a:lnTo>
                        <a:pt x="682" y="443"/>
                      </a:lnTo>
                      <a:lnTo>
                        <a:pt x="682" y="442"/>
                      </a:lnTo>
                      <a:lnTo>
                        <a:pt x="682" y="442"/>
                      </a:lnTo>
                      <a:lnTo>
                        <a:pt x="682" y="441"/>
                      </a:lnTo>
                      <a:lnTo>
                        <a:pt x="682" y="440"/>
                      </a:lnTo>
                      <a:lnTo>
                        <a:pt x="682" y="440"/>
                      </a:lnTo>
                      <a:lnTo>
                        <a:pt x="682" y="439"/>
                      </a:lnTo>
                      <a:lnTo>
                        <a:pt x="683" y="439"/>
                      </a:lnTo>
                      <a:lnTo>
                        <a:pt x="682" y="439"/>
                      </a:lnTo>
                      <a:lnTo>
                        <a:pt x="683" y="439"/>
                      </a:lnTo>
                      <a:lnTo>
                        <a:pt x="683" y="438"/>
                      </a:lnTo>
                      <a:lnTo>
                        <a:pt x="682" y="438"/>
                      </a:lnTo>
                      <a:lnTo>
                        <a:pt x="682" y="437"/>
                      </a:lnTo>
                      <a:lnTo>
                        <a:pt x="682" y="437"/>
                      </a:lnTo>
                      <a:lnTo>
                        <a:pt x="682" y="436"/>
                      </a:lnTo>
                      <a:lnTo>
                        <a:pt x="682" y="436"/>
                      </a:lnTo>
                      <a:lnTo>
                        <a:pt x="683" y="436"/>
                      </a:lnTo>
                      <a:lnTo>
                        <a:pt x="683" y="435"/>
                      </a:lnTo>
                      <a:lnTo>
                        <a:pt x="683" y="435"/>
                      </a:lnTo>
                      <a:lnTo>
                        <a:pt x="683" y="434"/>
                      </a:lnTo>
                      <a:lnTo>
                        <a:pt x="682" y="434"/>
                      </a:lnTo>
                      <a:lnTo>
                        <a:pt x="682" y="433"/>
                      </a:lnTo>
                      <a:lnTo>
                        <a:pt x="683" y="433"/>
                      </a:lnTo>
                      <a:lnTo>
                        <a:pt x="682" y="433"/>
                      </a:lnTo>
                      <a:lnTo>
                        <a:pt x="682" y="433"/>
                      </a:lnTo>
                      <a:lnTo>
                        <a:pt x="682" y="432"/>
                      </a:lnTo>
                      <a:lnTo>
                        <a:pt x="682" y="432"/>
                      </a:lnTo>
                      <a:lnTo>
                        <a:pt x="682" y="431"/>
                      </a:lnTo>
                      <a:lnTo>
                        <a:pt x="682" y="431"/>
                      </a:lnTo>
                      <a:lnTo>
                        <a:pt x="682" y="430"/>
                      </a:lnTo>
                      <a:lnTo>
                        <a:pt x="682" y="429"/>
                      </a:lnTo>
                      <a:lnTo>
                        <a:pt x="682" y="429"/>
                      </a:lnTo>
                      <a:lnTo>
                        <a:pt x="682" y="428"/>
                      </a:lnTo>
                      <a:lnTo>
                        <a:pt x="682" y="428"/>
                      </a:lnTo>
                      <a:lnTo>
                        <a:pt x="682" y="428"/>
                      </a:lnTo>
                      <a:lnTo>
                        <a:pt x="682" y="427"/>
                      </a:lnTo>
                      <a:lnTo>
                        <a:pt x="682" y="426"/>
                      </a:lnTo>
                      <a:lnTo>
                        <a:pt x="682" y="426"/>
                      </a:lnTo>
                      <a:lnTo>
                        <a:pt x="682" y="426"/>
                      </a:lnTo>
                      <a:lnTo>
                        <a:pt x="682" y="426"/>
                      </a:lnTo>
                      <a:lnTo>
                        <a:pt x="682" y="425"/>
                      </a:lnTo>
                      <a:lnTo>
                        <a:pt x="683" y="425"/>
                      </a:lnTo>
                      <a:lnTo>
                        <a:pt x="683" y="424"/>
                      </a:lnTo>
                      <a:lnTo>
                        <a:pt x="683" y="424"/>
                      </a:lnTo>
                      <a:lnTo>
                        <a:pt x="683" y="423"/>
                      </a:lnTo>
                      <a:lnTo>
                        <a:pt x="683" y="422"/>
                      </a:lnTo>
                      <a:lnTo>
                        <a:pt x="683" y="422"/>
                      </a:lnTo>
                      <a:lnTo>
                        <a:pt x="683" y="422"/>
                      </a:lnTo>
                      <a:lnTo>
                        <a:pt x="683" y="421"/>
                      </a:lnTo>
                      <a:lnTo>
                        <a:pt x="683" y="421"/>
                      </a:lnTo>
                      <a:lnTo>
                        <a:pt x="682" y="420"/>
                      </a:lnTo>
                      <a:lnTo>
                        <a:pt x="682" y="420"/>
                      </a:lnTo>
                      <a:lnTo>
                        <a:pt x="682" y="420"/>
                      </a:lnTo>
                      <a:lnTo>
                        <a:pt x="682" y="420"/>
                      </a:lnTo>
                      <a:lnTo>
                        <a:pt x="682" y="420"/>
                      </a:lnTo>
                      <a:lnTo>
                        <a:pt x="682" y="419"/>
                      </a:lnTo>
                      <a:lnTo>
                        <a:pt x="682" y="419"/>
                      </a:lnTo>
                      <a:lnTo>
                        <a:pt x="682" y="419"/>
                      </a:lnTo>
                      <a:lnTo>
                        <a:pt x="682" y="418"/>
                      </a:lnTo>
                      <a:lnTo>
                        <a:pt x="681" y="418"/>
                      </a:lnTo>
                      <a:lnTo>
                        <a:pt x="680" y="417"/>
                      </a:lnTo>
                      <a:lnTo>
                        <a:pt x="681" y="417"/>
                      </a:lnTo>
                      <a:lnTo>
                        <a:pt x="680" y="417"/>
                      </a:lnTo>
                      <a:lnTo>
                        <a:pt x="680" y="417"/>
                      </a:lnTo>
                      <a:lnTo>
                        <a:pt x="680" y="417"/>
                      </a:lnTo>
                      <a:lnTo>
                        <a:pt x="680" y="417"/>
                      </a:lnTo>
                      <a:lnTo>
                        <a:pt x="680" y="416"/>
                      </a:lnTo>
                      <a:lnTo>
                        <a:pt x="680" y="417"/>
                      </a:lnTo>
                      <a:lnTo>
                        <a:pt x="680" y="416"/>
                      </a:lnTo>
                      <a:lnTo>
                        <a:pt x="679" y="416"/>
                      </a:lnTo>
                      <a:lnTo>
                        <a:pt x="679" y="415"/>
                      </a:lnTo>
                      <a:lnTo>
                        <a:pt x="679" y="415"/>
                      </a:lnTo>
                      <a:lnTo>
                        <a:pt x="680" y="415"/>
                      </a:lnTo>
                      <a:lnTo>
                        <a:pt x="680" y="416"/>
                      </a:lnTo>
                      <a:lnTo>
                        <a:pt x="680" y="415"/>
                      </a:lnTo>
                      <a:lnTo>
                        <a:pt x="680" y="415"/>
                      </a:lnTo>
                      <a:lnTo>
                        <a:pt x="679" y="415"/>
                      </a:lnTo>
                      <a:lnTo>
                        <a:pt x="679" y="414"/>
                      </a:lnTo>
                      <a:lnTo>
                        <a:pt x="679" y="414"/>
                      </a:lnTo>
                      <a:lnTo>
                        <a:pt x="679" y="414"/>
                      </a:lnTo>
                      <a:lnTo>
                        <a:pt x="678" y="414"/>
                      </a:lnTo>
                      <a:lnTo>
                        <a:pt x="679" y="413"/>
                      </a:lnTo>
                      <a:lnTo>
                        <a:pt x="679" y="413"/>
                      </a:lnTo>
                      <a:lnTo>
                        <a:pt x="679" y="412"/>
                      </a:lnTo>
                      <a:lnTo>
                        <a:pt x="678" y="412"/>
                      </a:lnTo>
                      <a:lnTo>
                        <a:pt x="678" y="411"/>
                      </a:lnTo>
                      <a:lnTo>
                        <a:pt x="678" y="411"/>
                      </a:lnTo>
                      <a:lnTo>
                        <a:pt x="679" y="411"/>
                      </a:lnTo>
                      <a:lnTo>
                        <a:pt x="679" y="410"/>
                      </a:lnTo>
                      <a:lnTo>
                        <a:pt x="679" y="410"/>
                      </a:lnTo>
                      <a:lnTo>
                        <a:pt x="678" y="410"/>
                      </a:lnTo>
                      <a:lnTo>
                        <a:pt x="679" y="409"/>
                      </a:lnTo>
                      <a:lnTo>
                        <a:pt x="679" y="409"/>
                      </a:lnTo>
                      <a:lnTo>
                        <a:pt x="678" y="409"/>
                      </a:lnTo>
                      <a:lnTo>
                        <a:pt x="678" y="408"/>
                      </a:lnTo>
                      <a:lnTo>
                        <a:pt x="679" y="408"/>
                      </a:lnTo>
                      <a:lnTo>
                        <a:pt x="678" y="408"/>
                      </a:lnTo>
                      <a:lnTo>
                        <a:pt x="678" y="407"/>
                      </a:lnTo>
                      <a:lnTo>
                        <a:pt x="679" y="407"/>
                      </a:lnTo>
                      <a:lnTo>
                        <a:pt x="679" y="407"/>
                      </a:lnTo>
                      <a:lnTo>
                        <a:pt x="679" y="406"/>
                      </a:lnTo>
                      <a:lnTo>
                        <a:pt x="680" y="406"/>
                      </a:lnTo>
                      <a:lnTo>
                        <a:pt x="680" y="406"/>
                      </a:lnTo>
                      <a:lnTo>
                        <a:pt x="680" y="405"/>
                      </a:lnTo>
                      <a:lnTo>
                        <a:pt x="680" y="404"/>
                      </a:lnTo>
                      <a:lnTo>
                        <a:pt x="680" y="404"/>
                      </a:lnTo>
                      <a:lnTo>
                        <a:pt x="680" y="403"/>
                      </a:lnTo>
                      <a:lnTo>
                        <a:pt x="680" y="403"/>
                      </a:lnTo>
                      <a:lnTo>
                        <a:pt x="680" y="402"/>
                      </a:lnTo>
                      <a:lnTo>
                        <a:pt x="680" y="402"/>
                      </a:lnTo>
                      <a:lnTo>
                        <a:pt x="680" y="402"/>
                      </a:lnTo>
                      <a:lnTo>
                        <a:pt x="680" y="401"/>
                      </a:lnTo>
                      <a:lnTo>
                        <a:pt x="680" y="400"/>
                      </a:lnTo>
                      <a:lnTo>
                        <a:pt x="680" y="400"/>
                      </a:lnTo>
                      <a:lnTo>
                        <a:pt x="680" y="399"/>
                      </a:lnTo>
                      <a:lnTo>
                        <a:pt x="680" y="399"/>
                      </a:lnTo>
                      <a:lnTo>
                        <a:pt x="680" y="399"/>
                      </a:lnTo>
                      <a:lnTo>
                        <a:pt x="680" y="398"/>
                      </a:lnTo>
                      <a:lnTo>
                        <a:pt x="680" y="398"/>
                      </a:lnTo>
                      <a:lnTo>
                        <a:pt x="679" y="397"/>
                      </a:lnTo>
                      <a:lnTo>
                        <a:pt x="679" y="396"/>
                      </a:lnTo>
                      <a:lnTo>
                        <a:pt x="680" y="396"/>
                      </a:lnTo>
                      <a:lnTo>
                        <a:pt x="679" y="396"/>
                      </a:lnTo>
                      <a:lnTo>
                        <a:pt x="679" y="396"/>
                      </a:lnTo>
                      <a:lnTo>
                        <a:pt x="679" y="396"/>
                      </a:lnTo>
                      <a:lnTo>
                        <a:pt x="679" y="396"/>
                      </a:lnTo>
                      <a:lnTo>
                        <a:pt x="680" y="395"/>
                      </a:lnTo>
                      <a:lnTo>
                        <a:pt x="680" y="395"/>
                      </a:lnTo>
                      <a:lnTo>
                        <a:pt x="680" y="395"/>
                      </a:lnTo>
                      <a:lnTo>
                        <a:pt x="681" y="395"/>
                      </a:lnTo>
                      <a:lnTo>
                        <a:pt x="682" y="394"/>
                      </a:lnTo>
                      <a:lnTo>
                        <a:pt x="683" y="394"/>
                      </a:lnTo>
                      <a:lnTo>
                        <a:pt x="683" y="394"/>
                      </a:lnTo>
                      <a:lnTo>
                        <a:pt x="683" y="394"/>
                      </a:lnTo>
                      <a:lnTo>
                        <a:pt x="683" y="394"/>
                      </a:lnTo>
                      <a:lnTo>
                        <a:pt x="683" y="394"/>
                      </a:lnTo>
                      <a:lnTo>
                        <a:pt x="683" y="394"/>
                      </a:lnTo>
                      <a:lnTo>
                        <a:pt x="683" y="394"/>
                      </a:lnTo>
                      <a:lnTo>
                        <a:pt x="683" y="395"/>
                      </a:lnTo>
                      <a:lnTo>
                        <a:pt x="683" y="395"/>
                      </a:lnTo>
                      <a:lnTo>
                        <a:pt x="683" y="395"/>
                      </a:lnTo>
                      <a:lnTo>
                        <a:pt x="683" y="395"/>
                      </a:lnTo>
                      <a:lnTo>
                        <a:pt x="683" y="395"/>
                      </a:lnTo>
                      <a:lnTo>
                        <a:pt x="683" y="396"/>
                      </a:lnTo>
                      <a:lnTo>
                        <a:pt x="684" y="396"/>
                      </a:lnTo>
                      <a:lnTo>
                        <a:pt x="684" y="395"/>
                      </a:lnTo>
                      <a:lnTo>
                        <a:pt x="684" y="396"/>
                      </a:lnTo>
                      <a:lnTo>
                        <a:pt x="684" y="396"/>
                      </a:lnTo>
                      <a:lnTo>
                        <a:pt x="685" y="395"/>
                      </a:lnTo>
                      <a:lnTo>
                        <a:pt x="685" y="395"/>
                      </a:lnTo>
                      <a:lnTo>
                        <a:pt x="686" y="395"/>
                      </a:lnTo>
                      <a:lnTo>
                        <a:pt x="686" y="394"/>
                      </a:lnTo>
                      <a:lnTo>
                        <a:pt x="686" y="394"/>
                      </a:lnTo>
                      <a:lnTo>
                        <a:pt x="687" y="394"/>
                      </a:lnTo>
                      <a:lnTo>
                        <a:pt x="687" y="394"/>
                      </a:lnTo>
                      <a:lnTo>
                        <a:pt x="686" y="394"/>
                      </a:lnTo>
                      <a:lnTo>
                        <a:pt x="686" y="394"/>
                      </a:lnTo>
                      <a:lnTo>
                        <a:pt x="686" y="393"/>
                      </a:lnTo>
                      <a:lnTo>
                        <a:pt x="686" y="394"/>
                      </a:lnTo>
                      <a:lnTo>
                        <a:pt x="685" y="394"/>
                      </a:lnTo>
                      <a:lnTo>
                        <a:pt x="685" y="393"/>
                      </a:lnTo>
                      <a:lnTo>
                        <a:pt x="685" y="392"/>
                      </a:lnTo>
                      <a:lnTo>
                        <a:pt x="686" y="392"/>
                      </a:lnTo>
                      <a:lnTo>
                        <a:pt x="686" y="392"/>
                      </a:lnTo>
                      <a:lnTo>
                        <a:pt x="686" y="392"/>
                      </a:lnTo>
                      <a:lnTo>
                        <a:pt x="686" y="392"/>
                      </a:lnTo>
                      <a:lnTo>
                        <a:pt x="687" y="392"/>
                      </a:lnTo>
                      <a:lnTo>
                        <a:pt x="687" y="393"/>
                      </a:lnTo>
                      <a:lnTo>
                        <a:pt x="687" y="392"/>
                      </a:lnTo>
                      <a:lnTo>
                        <a:pt x="687" y="392"/>
                      </a:lnTo>
                      <a:lnTo>
                        <a:pt x="687" y="392"/>
                      </a:lnTo>
                      <a:lnTo>
                        <a:pt x="687" y="391"/>
                      </a:lnTo>
                      <a:lnTo>
                        <a:pt x="687" y="391"/>
                      </a:lnTo>
                      <a:lnTo>
                        <a:pt x="687" y="390"/>
                      </a:lnTo>
                      <a:lnTo>
                        <a:pt x="687" y="390"/>
                      </a:lnTo>
                      <a:lnTo>
                        <a:pt x="687" y="391"/>
                      </a:lnTo>
                      <a:lnTo>
                        <a:pt x="687" y="391"/>
                      </a:lnTo>
                      <a:lnTo>
                        <a:pt x="686" y="392"/>
                      </a:lnTo>
                      <a:lnTo>
                        <a:pt x="686" y="392"/>
                      </a:lnTo>
                      <a:lnTo>
                        <a:pt x="686" y="391"/>
                      </a:lnTo>
                      <a:lnTo>
                        <a:pt x="686" y="391"/>
                      </a:lnTo>
                      <a:lnTo>
                        <a:pt x="687" y="391"/>
                      </a:lnTo>
                      <a:lnTo>
                        <a:pt x="687" y="390"/>
                      </a:lnTo>
                      <a:lnTo>
                        <a:pt x="687" y="389"/>
                      </a:lnTo>
                      <a:lnTo>
                        <a:pt x="687" y="389"/>
                      </a:lnTo>
                      <a:lnTo>
                        <a:pt x="687" y="388"/>
                      </a:lnTo>
                      <a:lnTo>
                        <a:pt x="686" y="388"/>
                      </a:lnTo>
                      <a:lnTo>
                        <a:pt x="686" y="388"/>
                      </a:lnTo>
                      <a:lnTo>
                        <a:pt x="686" y="388"/>
                      </a:lnTo>
                      <a:lnTo>
                        <a:pt x="686" y="387"/>
                      </a:lnTo>
                      <a:lnTo>
                        <a:pt x="685" y="387"/>
                      </a:lnTo>
                      <a:lnTo>
                        <a:pt x="684" y="387"/>
                      </a:lnTo>
                      <a:lnTo>
                        <a:pt x="684" y="386"/>
                      </a:lnTo>
                      <a:lnTo>
                        <a:pt x="684" y="385"/>
                      </a:lnTo>
                      <a:lnTo>
                        <a:pt x="684" y="385"/>
                      </a:lnTo>
                      <a:lnTo>
                        <a:pt x="684" y="385"/>
                      </a:lnTo>
                      <a:lnTo>
                        <a:pt x="683" y="385"/>
                      </a:lnTo>
                      <a:lnTo>
                        <a:pt x="683" y="384"/>
                      </a:lnTo>
                      <a:lnTo>
                        <a:pt x="684" y="384"/>
                      </a:lnTo>
                      <a:lnTo>
                        <a:pt x="684" y="385"/>
                      </a:lnTo>
                      <a:lnTo>
                        <a:pt x="684" y="385"/>
                      </a:lnTo>
                      <a:lnTo>
                        <a:pt x="685" y="385"/>
                      </a:lnTo>
                      <a:lnTo>
                        <a:pt x="686" y="384"/>
                      </a:lnTo>
                      <a:lnTo>
                        <a:pt x="686" y="384"/>
                      </a:lnTo>
                      <a:lnTo>
                        <a:pt x="686" y="384"/>
                      </a:lnTo>
                      <a:lnTo>
                        <a:pt x="686" y="384"/>
                      </a:lnTo>
                      <a:lnTo>
                        <a:pt x="686" y="384"/>
                      </a:lnTo>
                      <a:lnTo>
                        <a:pt x="685" y="385"/>
                      </a:lnTo>
                      <a:lnTo>
                        <a:pt x="685" y="385"/>
                      </a:lnTo>
                      <a:lnTo>
                        <a:pt x="686" y="385"/>
                      </a:lnTo>
                      <a:lnTo>
                        <a:pt x="686" y="385"/>
                      </a:lnTo>
                      <a:lnTo>
                        <a:pt x="686" y="384"/>
                      </a:lnTo>
                      <a:lnTo>
                        <a:pt x="686" y="385"/>
                      </a:lnTo>
                      <a:lnTo>
                        <a:pt x="686" y="385"/>
                      </a:lnTo>
                      <a:lnTo>
                        <a:pt x="686" y="385"/>
                      </a:lnTo>
                      <a:lnTo>
                        <a:pt x="686" y="385"/>
                      </a:lnTo>
                      <a:lnTo>
                        <a:pt x="686" y="385"/>
                      </a:lnTo>
                      <a:lnTo>
                        <a:pt x="686" y="385"/>
                      </a:lnTo>
                      <a:lnTo>
                        <a:pt x="686" y="384"/>
                      </a:lnTo>
                      <a:lnTo>
                        <a:pt x="686" y="384"/>
                      </a:lnTo>
                      <a:lnTo>
                        <a:pt x="687" y="384"/>
                      </a:lnTo>
                      <a:lnTo>
                        <a:pt x="687" y="383"/>
                      </a:lnTo>
                      <a:lnTo>
                        <a:pt x="686" y="383"/>
                      </a:lnTo>
                      <a:lnTo>
                        <a:pt x="687" y="383"/>
                      </a:lnTo>
                      <a:lnTo>
                        <a:pt x="687" y="383"/>
                      </a:lnTo>
                      <a:lnTo>
                        <a:pt x="687" y="383"/>
                      </a:lnTo>
                      <a:lnTo>
                        <a:pt x="687" y="384"/>
                      </a:lnTo>
                      <a:lnTo>
                        <a:pt x="687" y="384"/>
                      </a:lnTo>
                      <a:lnTo>
                        <a:pt x="688" y="385"/>
                      </a:lnTo>
                      <a:lnTo>
                        <a:pt x="688" y="385"/>
                      </a:lnTo>
                      <a:lnTo>
                        <a:pt x="688" y="385"/>
                      </a:lnTo>
                      <a:lnTo>
                        <a:pt x="688" y="386"/>
                      </a:lnTo>
                      <a:lnTo>
                        <a:pt x="689" y="386"/>
                      </a:lnTo>
                      <a:lnTo>
                        <a:pt x="689" y="387"/>
                      </a:lnTo>
                      <a:lnTo>
                        <a:pt x="689" y="387"/>
                      </a:lnTo>
                      <a:lnTo>
                        <a:pt x="689" y="388"/>
                      </a:lnTo>
                      <a:lnTo>
                        <a:pt x="688" y="388"/>
                      </a:lnTo>
                      <a:lnTo>
                        <a:pt x="688" y="388"/>
                      </a:lnTo>
                      <a:lnTo>
                        <a:pt x="688" y="389"/>
                      </a:lnTo>
                      <a:lnTo>
                        <a:pt x="688" y="389"/>
                      </a:lnTo>
                      <a:lnTo>
                        <a:pt x="688" y="389"/>
                      </a:lnTo>
                      <a:lnTo>
                        <a:pt x="688" y="390"/>
                      </a:lnTo>
                      <a:lnTo>
                        <a:pt x="688" y="389"/>
                      </a:lnTo>
                      <a:lnTo>
                        <a:pt x="688" y="389"/>
                      </a:lnTo>
                      <a:lnTo>
                        <a:pt x="688" y="390"/>
                      </a:lnTo>
                      <a:lnTo>
                        <a:pt x="688" y="391"/>
                      </a:lnTo>
                      <a:lnTo>
                        <a:pt x="688" y="390"/>
                      </a:lnTo>
                      <a:lnTo>
                        <a:pt x="688" y="391"/>
                      </a:lnTo>
                      <a:lnTo>
                        <a:pt x="688" y="391"/>
                      </a:lnTo>
                      <a:lnTo>
                        <a:pt x="688" y="391"/>
                      </a:lnTo>
                      <a:lnTo>
                        <a:pt x="688" y="391"/>
                      </a:lnTo>
                      <a:lnTo>
                        <a:pt x="688" y="391"/>
                      </a:lnTo>
                      <a:lnTo>
                        <a:pt x="688" y="391"/>
                      </a:lnTo>
                      <a:lnTo>
                        <a:pt x="688" y="391"/>
                      </a:lnTo>
                      <a:lnTo>
                        <a:pt x="689" y="391"/>
                      </a:lnTo>
                      <a:lnTo>
                        <a:pt x="689" y="392"/>
                      </a:lnTo>
                      <a:lnTo>
                        <a:pt x="688" y="392"/>
                      </a:lnTo>
                      <a:lnTo>
                        <a:pt x="689" y="392"/>
                      </a:lnTo>
                      <a:lnTo>
                        <a:pt x="688" y="392"/>
                      </a:lnTo>
                      <a:lnTo>
                        <a:pt x="689" y="392"/>
                      </a:lnTo>
                      <a:lnTo>
                        <a:pt x="688" y="392"/>
                      </a:lnTo>
                      <a:lnTo>
                        <a:pt x="689" y="392"/>
                      </a:lnTo>
                      <a:lnTo>
                        <a:pt x="689" y="392"/>
                      </a:lnTo>
                      <a:lnTo>
                        <a:pt x="689" y="392"/>
                      </a:lnTo>
                      <a:lnTo>
                        <a:pt x="689" y="393"/>
                      </a:lnTo>
                      <a:lnTo>
                        <a:pt x="688" y="393"/>
                      </a:lnTo>
                      <a:lnTo>
                        <a:pt x="689" y="393"/>
                      </a:lnTo>
                      <a:lnTo>
                        <a:pt x="689" y="392"/>
                      </a:lnTo>
                      <a:lnTo>
                        <a:pt x="690" y="393"/>
                      </a:lnTo>
                      <a:lnTo>
                        <a:pt x="690" y="394"/>
                      </a:lnTo>
                      <a:lnTo>
                        <a:pt x="690" y="393"/>
                      </a:lnTo>
                      <a:lnTo>
                        <a:pt x="689" y="393"/>
                      </a:lnTo>
                      <a:lnTo>
                        <a:pt x="689" y="394"/>
                      </a:lnTo>
                      <a:lnTo>
                        <a:pt x="690" y="394"/>
                      </a:lnTo>
                      <a:lnTo>
                        <a:pt x="690" y="394"/>
                      </a:lnTo>
                      <a:lnTo>
                        <a:pt x="690" y="394"/>
                      </a:lnTo>
                      <a:lnTo>
                        <a:pt x="690" y="395"/>
                      </a:lnTo>
                      <a:lnTo>
                        <a:pt x="690" y="395"/>
                      </a:lnTo>
                      <a:lnTo>
                        <a:pt x="690" y="395"/>
                      </a:lnTo>
                      <a:lnTo>
                        <a:pt x="690" y="396"/>
                      </a:lnTo>
                      <a:lnTo>
                        <a:pt x="690" y="396"/>
                      </a:lnTo>
                      <a:lnTo>
                        <a:pt x="690" y="395"/>
                      </a:lnTo>
                      <a:lnTo>
                        <a:pt x="691" y="396"/>
                      </a:lnTo>
                      <a:lnTo>
                        <a:pt x="691" y="396"/>
                      </a:lnTo>
                      <a:lnTo>
                        <a:pt x="691" y="397"/>
                      </a:lnTo>
                      <a:lnTo>
                        <a:pt x="691" y="398"/>
                      </a:lnTo>
                      <a:lnTo>
                        <a:pt x="691" y="398"/>
                      </a:lnTo>
                      <a:lnTo>
                        <a:pt x="691" y="398"/>
                      </a:lnTo>
                      <a:lnTo>
                        <a:pt x="691" y="399"/>
                      </a:lnTo>
                      <a:lnTo>
                        <a:pt x="691" y="399"/>
                      </a:lnTo>
                      <a:lnTo>
                        <a:pt x="691" y="400"/>
                      </a:lnTo>
                      <a:lnTo>
                        <a:pt x="691" y="400"/>
                      </a:lnTo>
                      <a:lnTo>
                        <a:pt x="691" y="401"/>
                      </a:lnTo>
                      <a:lnTo>
                        <a:pt x="692" y="401"/>
                      </a:lnTo>
                      <a:lnTo>
                        <a:pt x="692" y="402"/>
                      </a:lnTo>
                      <a:lnTo>
                        <a:pt x="692" y="402"/>
                      </a:lnTo>
                      <a:lnTo>
                        <a:pt x="692" y="402"/>
                      </a:lnTo>
                      <a:lnTo>
                        <a:pt x="691" y="402"/>
                      </a:lnTo>
                      <a:lnTo>
                        <a:pt x="692" y="402"/>
                      </a:lnTo>
                      <a:lnTo>
                        <a:pt x="692" y="401"/>
                      </a:lnTo>
                      <a:lnTo>
                        <a:pt x="691" y="401"/>
                      </a:lnTo>
                      <a:lnTo>
                        <a:pt x="691" y="400"/>
                      </a:lnTo>
                      <a:lnTo>
                        <a:pt x="691" y="400"/>
                      </a:lnTo>
                      <a:lnTo>
                        <a:pt x="691" y="399"/>
                      </a:lnTo>
                      <a:lnTo>
                        <a:pt x="691" y="399"/>
                      </a:lnTo>
                      <a:lnTo>
                        <a:pt x="691" y="398"/>
                      </a:lnTo>
                      <a:lnTo>
                        <a:pt x="691" y="398"/>
                      </a:lnTo>
                      <a:lnTo>
                        <a:pt x="690" y="398"/>
                      </a:lnTo>
                      <a:lnTo>
                        <a:pt x="690" y="397"/>
                      </a:lnTo>
                      <a:lnTo>
                        <a:pt x="691" y="397"/>
                      </a:lnTo>
                      <a:lnTo>
                        <a:pt x="691" y="396"/>
                      </a:lnTo>
                      <a:lnTo>
                        <a:pt x="690" y="396"/>
                      </a:lnTo>
                      <a:lnTo>
                        <a:pt x="690" y="396"/>
                      </a:lnTo>
                      <a:lnTo>
                        <a:pt x="691" y="396"/>
                      </a:lnTo>
                      <a:lnTo>
                        <a:pt x="690" y="396"/>
                      </a:lnTo>
                      <a:lnTo>
                        <a:pt x="691" y="396"/>
                      </a:lnTo>
                      <a:lnTo>
                        <a:pt x="690" y="396"/>
                      </a:lnTo>
                      <a:lnTo>
                        <a:pt x="690" y="396"/>
                      </a:lnTo>
                      <a:lnTo>
                        <a:pt x="690" y="396"/>
                      </a:lnTo>
                      <a:lnTo>
                        <a:pt x="690" y="397"/>
                      </a:lnTo>
                      <a:lnTo>
                        <a:pt x="690" y="398"/>
                      </a:lnTo>
                      <a:lnTo>
                        <a:pt x="690" y="398"/>
                      </a:lnTo>
                      <a:lnTo>
                        <a:pt x="690" y="398"/>
                      </a:lnTo>
                      <a:lnTo>
                        <a:pt x="690" y="399"/>
                      </a:lnTo>
                      <a:lnTo>
                        <a:pt x="690" y="399"/>
                      </a:lnTo>
                      <a:lnTo>
                        <a:pt x="690" y="399"/>
                      </a:lnTo>
                      <a:lnTo>
                        <a:pt x="690" y="400"/>
                      </a:lnTo>
                      <a:lnTo>
                        <a:pt x="690" y="400"/>
                      </a:lnTo>
                      <a:lnTo>
                        <a:pt x="691" y="400"/>
                      </a:lnTo>
                      <a:lnTo>
                        <a:pt x="690" y="400"/>
                      </a:lnTo>
                      <a:lnTo>
                        <a:pt x="691" y="400"/>
                      </a:lnTo>
                      <a:lnTo>
                        <a:pt x="691" y="401"/>
                      </a:lnTo>
                      <a:lnTo>
                        <a:pt x="690" y="401"/>
                      </a:lnTo>
                      <a:lnTo>
                        <a:pt x="691" y="401"/>
                      </a:lnTo>
                      <a:lnTo>
                        <a:pt x="691" y="402"/>
                      </a:lnTo>
                      <a:lnTo>
                        <a:pt x="691" y="402"/>
                      </a:lnTo>
                      <a:lnTo>
                        <a:pt x="691" y="402"/>
                      </a:lnTo>
                      <a:lnTo>
                        <a:pt x="691" y="402"/>
                      </a:lnTo>
                      <a:lnTo>
                        <a:pt x="691" y="402"/>
                      </a:lnTo>
                      <a:lnTo>
                        <a:pt x="691" y="401"/>
                      </a:lnTo>
                      <a:lnTo>
                        <a:pt x="691" y="402"/>
                      </a:lnTo>
                      <a:lnTo>
                        <a:pt x="691" y="402"/>
                      </a:lnTo>
                      <a:lnTo>
                        <a:pt x="692" y="402"/>
                      </a:lnTo>
                      <a:lnTo>
                        <a:pt x="691" y="402"/>
                      </a:lnTo>
                      <a:lnTo>
                        <a:pt x="692" y="402"/>
                      </a:lnTo>
                      <a:lnTo>
                        <a:pt x="691" y="403"/>
                      </a:lnTo>
                      <a:lnTo>
                        <a:pt x="692" y="403"/>
                      </a:lnTo>
                      <a:lnTo>
                        <a:pt x="691" y="403"/>
                      </a:lnTo>
                      <a:lnTo>
                        <a:pt x="691" y="403"/>
                      </a:lnTo>
                      <a:lnTo>
                        <a:pt x="692" y="403"/>
                      </a:lnTo>
                      <a:lnTo>
                        <a:pt x="692" y="404"/>
                      </a:lnTo>
                      <a:lnTo>
                        <a:pt x="692" y="403"/>
                      </a:lnTo>
                      <a:lnTo>
                        <a:pt x="692" y="403"/>
                      </a:lnTo>
                      <a:lnTo>
                        <a:pt x="692" y="402"/>
                      </a:lnTo>
                      <a:lnTo>
                        <a:pt x="692" y="403"/>
                      </a:lnTo>
                      <a:lnTo>
                        <a:pt x="692" y="403"/>
                      </a:lnTo>
                      <a:lnTo>
                        <a:pt x="692" y="404"/>
                      </a:lnTo>
                      <a:lnTo>
                        <a:pt x="692" y="404"/>
                      </a:lnTo>
                      <a:lnTo>
                        <a:pt x="692" y="405"/>
                      </a:lnTo>
                      <a:lnTo>
                        <a:pt x="692" y="406"/>
                      </a:lnTo>
                      <a:lnTo>
                        <a:pt x="691" y="406"/>
                      </a:lnTo>
                      <a:lnTo>
                        <a:pt x="691" y="406"/>
                      </a:lnTo>
                      <a:lnTo>
                        <a:pt x="691" y="407"/>
                      </a:lnTo>
                      <a:lnTo>
                        <a:pt x="691" y="407"/>
                      </a:lnTo>
                      <a:lnTo>
                        <a:pt x="691" y="408"/>
                      </a:lnTo>
                      <a:lnTo>
                        <a:pt x="691" y="409"/>
                      </a:lnTo>
                      <a:lnTo>
                        <a:pt x="691" y="408"/>
                      </a:lnTo>
                      <a:lnTo>
                        <a:pt x="691" y="407"/>
                      </a:lnTo>
                      <a:lnTo>
                        <a:pt x="691" y="407"/>
                      </a:lnTo>
                      <a:lnTo>
                        <a:pt x="691" y="407"/>
                      </a:lnTo>
                      <a:lnTo>
                        <a:pt x="691" y="407"/>
                      </a:lnTo>
                      <a:lnTo>
                        <a:pt x="691" y="406"/>
                      </a:lnTo>
                      <a:lnTo>
                        <a:pt x="691" y="406"/>
                      </a:lnTo>
                      <a:lnTo>
                        <a:pt x="691" y="406"/>
                      </a:lnTo>
                      <a:lnTo>
                        <a:pt x="691" y="405"/>
                      </a:lnTo>
                      <a:lnTo>
                        <a:pt x="691" y="404"/>
                      </a:lnTo>
                      <a:lnTo>
                        <a:pt x="691" y="405"/>
                      </a:lnTo>
                      <a:lnTo>
                        <a:pt x="691" y="405"/>
                      </a:lnTo>
                      <a:lnTo>
                        <a:pt x="691" y="405"/>
                      </a:lnTo>
                      <a:lnTo>
                        <a:pt x="691" y="406"/>
                      </a:lnTo>
                      <a:lnTo>
                        <a:pt x="691" y="406"/>
                      </a:lnTo>
                      <a:lnTo>
                        <a:pt x="691" y="406"/>
                      </a:lnTo>
                      <a:lnTo>
                        <a:pt x="691" y="406"/>
                      </a:lnTo>
                      <a:lnTo>
                        <a:pt x="691" y="406"/>
                      </a:lnTo>
                      <a:lnTo>
                        <a:pt x="691" y="406"/>
                      </a:lnTo>
                      <a:lnTo>
                        <a:pt x="691" y="406"/>
                      </a:lnTo>
                      <a:lnTo>
                        <a:pt x="691" y="406"/>
                      </a:lnTo>
                      <a:lnTo>
                        <a:pt x="691" y="406"/>
                      </a:lnTo>
                      <a:lnTo>
                        <a:pt x="691" y="406"/>
                      </a:lnTo>
                      <a:lnTo>
                        <a:pt x="691" y="406"/>
                      </a:lnTo>
                      <a:lnTo>
                        <a:pt x="691" y="407"/>
                      </a:lnTo>
                      <a:lnTo>
                        <a:pt x="690" y="407"/>
                      </a:lnTo>
                      <a:lnTo>
                        <a:pt x="691" y="407"/>
                      </a:lnTo>
                      <a:lnTo>
                        <a:pt x="691" y="407"/>
                      </a:lnTo>
                      <a:lnTo>
                        <a:pt x="690" y="407"/>
                      </a:lnTo>
                      <a:lnTo>
                        <a:pt x="691" y="407"/>
                      </a:lnTo>
                      <a:lnTo>
                        <a:pt x="690" y="407"/>
                      </a:lnTo>
                      <a:lnTo>
                        <a:pt x="690" y="408"/>
                      </a:lnTo>
                      <a:lnTo>
                        <a:pt x="690" y="409"/>
                      </a:lnTo>
                      <a:lnTo>
                        <a:pt x="690" y="409"/>
                      </a:lnTo>
                      <a:lnTo>
                        <a:pt x="690" y="409"/>
                      </a:lnTo>
                      <a:lnTo>
                        <a:pt x="690" y="408"/>
                      </a:lnTo>
                      <a:lnTo>
                        <a:pt x="691" y="408"/>
                      </a:lnTo>
                      <a:lnTo>
                        <a:pt x="691" y="409"/>
                      </a:lnTo>
                      <a:lnTo>
                        <a:pt x="690" y="409"/>
                      </a:lnTo>
                      <a:lnTo>
                        <a:pt x="690" y="409"/>
                      </a:lnTo>
                      <a:lnTo>
                        <a:pt x="690" y="410"/>
                      </a:lnTo>
                      <a:lnTo>
                        <a:pt x="690" y="410"/>
                      </a:lnTo>
                      <a:lnTo>
                        <a:pt x="690" y="411"/>
                      </a:lnTo>
                      <a:lnTo>
                        <a:pt x="690" y="411"/>
                      </a:lnTo>
                      <a:lnTo>
                        <a:pt x="690" y="411"/>
                      </a:lnTo>
                      <a:lnTo>
                        <a:pt x="690" y="410"/>
                      </a:lnTo>
                      <a:lnTo>
                        <a:pt x="690" y="410"/>
                      </a:lnTo>
                      <a:lnTo>
                        <a:pt x="690" y="409"/>
                      </a:lnTo>
                      <a:lnTo>
                        <a:pt x="690" y="410"/>
                      </a:lnTo>
                      <a:lnTo>
                        <a:pt x="690" y="410"/>
                      </a:lnTo>
                      <a:lnTo>
                        <a:pt x="690" y="410"/>
                      </a:lnTo>
                      <a:lnTo>
                        <a:pt x="690" y="410"/>
                      </a:lnTo>
                      <a:lnTo>
                        <a:pt x="690" y="411"/>
                      </a:lnTo>
                      <a:lnTo>
                        <a:pt x="690" y="411"/>
                      </a:lnTo>
                      <a:lnTo>
                        <a:pt x="690" y="411"/>
                      </a:lnTo>
                      <a:lnTo>
                        <a:pt x="690" y="411"/>
                      </a:lnTo>
                      <a:lnTo>
                        <a:pt x="690" y="411"/>
                      </a:lnTo>
                      <a:lnTo>
                        <a:pt x="690" y="411"/>
                      </a:lnTo>
                      <a:lnTo>
                        <a:pt x="690" y="412"/>
                      </a:lnTo>
                      <a:lnTo>
                        <a:pt x="690" y="412"/>
                      </a:lnTo>
                      <a:lnTo>
                        <a:pt x="690" y="413"/>
                      </a:lnTo>
                      <a:lnTo>
                        <a:pt x="690" y="413"/>
                      </a:lnTo>
                      <a:lnTo>
                        <a:pt x="690" y="414"/>
                      </a:lnTo>
                      <a:lnTo>
                        <a:pt x="691" y="414"/>
                      </a:lnTo>
                      <a:lnTo>
                        <a:pt x="691" y="414"/>
                      </a:lnTo>
                      <a:lnTo>
                        <a:pt x="690" y="414"/>
                      </a:lnTo>
                      <a:lnTo>
                        <a:pt x="690" y="415"/>
                      </a:lnTo>
                      <a:lnTo>
                        <a:pt x="690" y="415"/>
                      </a:lnTo>
                      <a:lnTo>
                        <a:pt x="690" y="415"/>
                      </a:lnTo>
                      <a:lnTo>
                        <a:pt x="690" y="415"/>
                      </a:lnTo>
                      <a:lnTo>
                        <a:pt x="690" y="415"/>
                      </a:lnTo>
                      <a:lnTo>
                        <a:pt x="690" y="414"/>
                      </a:lnTo>
                      <a:lnTo>
                        <a:pt x="691" y="414"/>
                      </a:lnTo>
                      <a:lnTo>
                        <a:pt x="691" y="414"/>
                      </a:lnTo>
                      <a:lnTo>
                        <a:pt x="691" y="414"/>
                      </a:lnTo>
                      <a:lnTo>
                        <a:pt x="691" y="414"/>
                      </a:lnTo>
                      <a:lnTo>
                        <a:pt x="691" y="413"/>
                      </a:lnTo>
                      <a:lnTo>
                        <a:pt x="691" y="413"/>
                      </a:lnTo>
                      <a:lnTo>
                        <a:pt x="691" y="413"/>
                      </a:lnTo>
                      <a:lnTo>
                        <a:pt x="691" y="414"/>
                      </a:lnTo>
                      <a:lnTo>
                        <a:pt x="691" y="414"/>
                      </a:lnTo>
                      <a:lnTo>
                        <a:pt x="691" y="415"/>
                      </a:lnTo>
                      <a:lnTo>
                        <a:pt x="691" y="415"/>
                      </a:lnTo>
                      <a:lnTo>
                        <a:pt x="692" y="416"/>
                      </a:lnTo>
                      <a:lnTo>
                        <a:pt x="692" y="415"/>
                      </a:lnTo>
                      <a:lnTo>
                        <a:pt x="691" y="415"/>
                      </a:lnTo>
                      <a:lnTo>
                        <a:pt x="691" y="416"/>
                      </a:lnTo>
                      <a:lnTo>
                        <a:pt x="691" y="417"/>
                      </a:lnTo>
                      <a:lnTo>
                        <a:pt x="691" y="417"/>
                      </a:lnTo>
                      <a:lnTo>
                        <a:pt x="691" y="417"/>
                      </a:lnTo>
                      <a:lnTo>
                        <a:pt x="691" y="417"/>
                      </a:lnTo>
                      <a:lnTo>
                        <a:pt x="691" y="417"/>
                      </a:lnTo>
                      <a:lnTo>
                        <a:pt x="691" y="417"/>
                      </a:lnTo>
                      <a:lnTo>
                        <a:pt x="691" y="417"/>
                      </a:lnTo>
                      <a:lnTo>
                        <a:pt x="691" y="418"/>
                      </a:lnTo>
                      <a:lnTo>
                        <a:pt x="691" y="418"/>
                      </a:lnTo>
                      <a:lnTo>
                        <a:pt x="691" y="418"/>
                      </a:lnTo>
                      <a:lnTo>
                        <a:pt x="692" y="418"/>
                      </a:lnTo>
                      <a:lnTo>
                        <a:pt x="692" y="418"/>
                      </a:lnTo>
                      <a:lnTo>
                        <a:pt x="692" y="417"/>
                      </a:lnTo>
                      <a:lnTo>
                        <a:pt x="692" y="417"/>
                      </a:lnTo>
                      <a:lnTo>
                        <a:pt x="692" y="417"/>
                      </a:lnTo>
                      <a:lnTo>
                        <a:pt x="693" y="417"/>
                      </a:lnTo>
                      <a:lnTo>
                        <a:pt x="693" y="418"/>
                      </a:lnTo>
                      <a:lnTo>
                        <a:pt x="693" y="418"/>
                      </a:lnTo>
                      <a:lnTo>
                        <a:pt x="693" y="419"/>
                      </a:lnTo>
                      <a:lnTo>
                        <a:pt x="693" y="418"/>
                      </a:lnTo>
                      <a:lnTo>
                        <a:pt x="693" y="418"/>
                      </a:lnTo>
                      <a:lnTo>
                        <a:pt x="693" y="418"/>
                      </a:lnTo>
                      <a:lnTo>
                        <a:pt x="693" y="419"/>
                      </a:lnTo>
                      <a:lnTo>
                        <a:pt x="693" y="419"/>
                      </a:lnTo>
                      <a:lnTo>
                        <a:pt x="693" y="420"/>
                      </a:lnTo>
                      <a:lnTo>
                        <a:pt x="693" y="420"/>
                      </a:lnTo>
                      <a:lnTo>
                        <a:pt x="693" y="421"/>
                      </a:lnTo>
                      <a:lnTo>
                        <a:pt x="693" y="420"/>
                      </a:lnTo>
                      <a:lnTo>
                        <a:pt x="693" y="420"/>
                      </a:lnTo>
                      <a:lnTo>
                        <a:pt x="692" y="420"/>
                      </a:lnTo>
                      <a:lnTo>
                        <a:pt x="693" y="420"/>
                      </a:lnTo>
                      <a:lnTo>
                        <a:pt x="692" y="420"/>
                      </a:lnTo>
                      <a:lnTo>
                        <a:pt x="693" y="420"/>
                      </a:lnTo>
                      <a:lnTo>
                        <a:pt x="693" y="421"/>
                      </a:lnTo>
                      <a:lnTo>
                        <a:pt x="693" y="421"/>
                      </a:lnTo>
                      <a:lnTo>
                        <a:pt x="693" y="421"/>
                      </a:lnTo>
                      <a:lnTo>
                        <a:pt x="693" y="422"/>
                      </a:lnTo>
                      <a:lnTo>
                        <a:pt x="693" y="421"/>
                      </a:lnTo>
                      <a:lnTo>
                        <a:pt x="693" y="421"/>
                      </a:lnTo>
                      <a:lnTo>
                        <a:pt x="693" y="421"/>
                      </a:lnTo>
                      <a:lnTo>
                        <a:pt x="694" y="422"/>
                      </a:lnTo>
                      <a:lnTo>
                        <a:pt x="694" y="423"/>
                      </a:lnTo>
                      <a:lnTo>
                        <a:pt x="694" y="424"/>
                      </a:lnTo>
                      <a:lnTo>
                        <a:pt x="694" y="424"/>
                      </a:lnTo>
                      <a:lnTo>
                        <a:pt x="694" y="424"/>
                      </a:lnTo>
                      <a:lnTo>
                        <a:pt x="694" y="425"/>
                      </a:lnTo>
                      <a:lnTo>
                        <a:pt x="694" y="425"/>
                      </a:lnTo>
                      <a:lnTo>
                        <a:pt x="694" y="426"/>
                      </a:lnTo>
                      <a:lnTo>
                        <a:pt x="694" y="426"/>
                      </a:lnTo>
                      <a:lnTo>
                        <a:pt x="694" y="427"/>
                      </a:lnTo>
                      <a:lnTo>
                        <a:pt x="695" y="427"/>
                      </a:lnTo>
                      <a:lnTo>
                        <a:pt x="694" y="427"/>
                      </a:lnTo>
                      <a:lnTo>
                        <a:pt x="695" y="427"/>
                      </a:lnTo>
                      <a:lnTo>
                        <a:pt x="695" y="428"/>
                      </a:lnTo>
                      <a:lnTo>
                        <a:pt x="695" y="428"/>
                      </a:lnTo>
                      <a:lnTo>
                        <a:pt x="695" y="429"/>
                      </a:lnTo>
                      <a:lnTo>
                        <a:pt x="695" y="429"/>
                      </a:lnTo>
                      <a:lnTo>
                        <a:pt x="695" y="430"/>
                      </a:lnTo>
                      <a:lnTo>
                        <a:pt x="695" y="431"/>
                      </a:lnTo>
                      <a:lnTo>
                        <a:pt x="695" y="431"/>
                      </a:lnTo>
                      <a:lnTo>
                        <a:pt x="695" y="432"/>
                      </a:lnTo>
                      <a:lnTo>
                        <a:pt x="695" y="432"/>
                      </a:lnTo>
                      <a:lnTo>
                        <a:pt x="695" y="433"/>
                      </a:lnTo>
                      <a:lnTo>
                        <a:pt x="696" y="433"/>
                      </a:lnTo>
                      <a:lnTo>
                        <a:pt x="696" y="433"/>
                      </a:lnTo>
                      <a:lnTo>
                        <a:pt x="696" y="434"/>
                      </a:lnTo>
                      <a:lnTo>
                        <a:pt x="697" y="435"/>
                      </a:lnTo>
                      <a:lnTo>
                        <a:pt x="697" y="435"/>
                      </a:lnTo>
                      <a:lnTo>
                        <a:pt x="697" y="435"/>
                      </a:lnTo>
                      <a:lnTo>
                        <a:pt x="697" y="436"/>
                      </a:lnTo>
                      <a:lnTo>
                        <a:pt x="697" y="436"/>
                      </a:lnTo>
                      <a:lnTo>
                        <a:pt x="697" y="437"/>
                      </a:lnTo>
                      <a:lnTo>
                        <a:pt x="698" y="437"/>
                      </a:lnTo>
                      <a:lnTo>
                        <a:pt x="698" y="438"/>
                      </a:lnTo>
                      <a:lnTo>
                        <a:pt x="698" y="439"/>
                      </a:lnTo>
                      <a:lnTo>
                        <a:pt x="698" y="439"/>
                      </a:lnTo>
                      <a:lnTo>
                        <a:pt x="698" y="439"/>
                      </a:lnTo>
                      <a:lnTo>
                        <a:pt x="698" y="440"/>
                      </a:lnTo>
                      <a:lnTo>
                        <a:pt x="698" y="440"/>
                      </a:lnTo>
                      <a:lnTo>
                        <a:pt x="698" y="441"/>
                      </a:lnTo>
                      <a:lnTo>
                        <a:pt x="699" y="442"/>
                      </a:lnTo>
                      <a:lnTo>
                        <a:pt x="698" y="442"/>
                      </a:lnTo>
                      <a:lnTo>
                        <a:pt x="699" y="442"/>
                      </a:lnTo>
                      <a:lnTo>
                        <a:pt x="699" y="442"/>
                      </a:lnTo>
                      <a:lnTo>
                        <a:pt x="699" y="443"/>
                      </a:lnTo>
                      <a:lnTo>
                        <a:pt x="699" y="443"/>
                      </a:lnTo>
                      <a:lnTo>
                        <a:pt x="699" y="443"/>
                      </a:lnTo>
                      <a:lnTo>
                        <a:pt x="699" y="443"/>
                      </a:lnTo>
                      <a:lnTo>
                        <a:pt x="699" y="444"/>
                      </a:lnTo>
                      <a:lnTo>
                        <a:pt x="699" y="444"/>
                      </a:lnTo>
                      <a:lnTo>
                        <a:pt x="699" y="444"/>
                      </a:lnTo>
                      <a:lnTo>
                        <a:pt x="699" y="444"/>
                      </a:lnTo>
                      <a:lnTo>
                        <a:pt x="699" y="444"/>
                      </a:lnTo>
                      <a:lnTo>
                        <a:pt x="699" y="444"/>
                      </a:lnTo>
                      <a:lnTo>
                        <a:pt x="699" y="444"/>
                      </a:lnTo>
                      <a:lnTo>
                        <a:pt x="699" y="444"/>
                      </a:lnTo>
                      <a:lnTo>
                        <a:pt x="699" y="444"/>
                      </a:lnTo>
                      <a:lnTo>
                        <a:pt x="699" y="444"/>
                      </a:lnTo>
                      <a:lnTo>
                        <a:pt x="699" y="444"/>
                      </a:lnTo>
                      <a:lnTo>
                        <a:pt x="699" y="445"/>
                      </a:lnTo>
                      <a:lnTo>
                        <a:pt x="699" y="446"/>
                      </a:lnTo>
                      <a:lnTo>
                        <a:pt x="700" y="446"/>
                      </a:lnTo>
                      <a:lnTo>
                        <a:pt x="700" y="446"/>
                      </a:lnTo>
                      <a:lnTo>
                        <a:pt x="700" y="447"/>
                      </a:lnTo>
                      <a:lnTo>
                        <a:pt x="700" y="447"/>
                      </a:lnTo>
                      <a:lnTo>
                        <a:pt x="701" y="447"/>
                      </a:lnTo>
                      <a:lnTo>
                        <a:pt x="700" y="447"/>
                      </a:lnTo>
                      <a:lnTo>
                        <a:pt x="700" y="448"/>
                      </a:lnTo>
                      <a:lnTo>
                        <a:pt x="701" y="448"/>
                      </a:lnTo>
                      <a:lnTo>
                        <a:pt x="701" y="447"/>
                      </a:lnTo>
                      <a:lnTo>
                        <a:pt x="700" y="447"/>
                      </a:lnTo>
                      <a:lnTo>
                        <a:pt x="701" y="447"/>
                      </a:lnTo>
                      <a:lnTo>
                        <a:pt x="701" y="448"/>
                      </a:lnTo>
                      <a:lnTo>
                        <a:pt x="701" y="448"/>
                      </a:lnTo>
                      <a:lnTo>
                        <a:pt x="701" y="448"/>
                      </a:lnTo>
                      <a:lnTo>
                        <a:pt x="702" y="448"/>
                      </a:lnTo>
                      <a:lnTo>
                        <a:pt x="702" y="449"/>
                      </a:lnTo>
                      <a:lnTo>
                        <a:pt x="702" y="449"/>
                      </a:lnTo>
                      <a:lnTo>
                        <a:pt x="702" y="450"/>
                      </a:lnTo>
                      <a:lnTo>
                        <a:pt x="703" y="450"/>
                      </a:lnTo>
                      <a:lnTo>
                        <a:pt x="702" y="450"/>
                      </a:lnTo>
                      <a:lnTo>
                        <a:pt x="702" y="450"/>
                      </a:lnTo>
                      <a:lnTo>
                        <a:pt x="703" y="450"/>
                      </a:lnTo>
                      <a:lnTo>
                        <a:pt x="703" y="451"/>
                      </a:lnTo>
                      <a:lnTo>
                        <a:pt x="702" y="451"/>
                      </a:lnTo>
                      <a:lnTo>
                        <a:pt x="702" y="451"/>
                      </a:lnTo>
                      <a:lnTo>
                        <a:pt x="703" y="451"/>
                      </a:lnTo>
                      <a:lnTo>
                        <a:pt x="703" y="452"/>
                      </a:lnTo>
                      <a:lnTo>
                        <a:pt x="702" y="452"/>
                      </a:lnTo>
                      <a:lnTo>
                        <a:pt x="703" y="452"/>
                      </a:lnTo>
                      <a:lnTo>
                        <a:pt x="702" y="451"/>
                      </a:lnTo>
                      <a:lnTo>
                        <a:pt x="702" y="451"/>
                      </a:lnTo>
                      <a:lnTo>
                        <a:pt x="702" y="450"/>
                      </a:lnTo>
                      <a:lnTo>
                        <a:pt x="702" y="450"/>
                      </a:lnTo>
                      <a:lnTo>
                        <a:pt x="702" y="450"/>
                      </a:lnTo>
                      <a:lnTo>
                        <a:pt x="702" y="449"/>
                      </a:lnTo>
                      <a:lnTo>
                        <a:pt x="701" y="449"/>
                      </a:lnTo>
                      <a:lnTo>
                        <a:pt x="701" y="448"/>
                      </a:lnTo>
                      <a:lnTo>
                        <a:pt x="701" y="448"/>
                      </a:lnTo>
                      <a:lnTo>
                        <a:pt x="701" y="448"/>
                      </a:lnTo>
                      <a:lnTo>
                        <a:pt x="700" y="448"/>
                      </a:lnTo>
                      <a:lnTo>
                        <a:pt x="700" y="447"/>
                      </a:lnTo>
                      <a:lnTo>
                        <a:pt x="699" y="447"/>
                      </a:lnTo>
                      <a:lnTo>
                        <a:pt x="700" y="447"/>
                      </a:lnTo>
                      <a:lnTo>
                        <a:pt x="700" y="447"/>
                      </a:lnTo>
                      <a:lnTo>
                        <a:pt x="699" y="447"/>
                      </a:lnTo>
                      <a:lnTo>
                        <a:pt x="699" y="447"/>
                      </a:lnTo>
                      <a:lnTo>
                        <a:pt x="699" y="447"/>
                      </a:lnTo>
                      <a:lnTo>
                        <a:pt x="699" y="446"/>
                      </a:lnTo>
                      <a:lnTo>
                        <a:pt x="698" y="446"/>
                      </a:lnTo>
                      <a:lnTo>
                        <a:pt x="698" y="445"/>
                      </a:lnTo>
                      <a:lnTo>
                        <a:pt x="697" y="445"/>
                      </a:lnTo>
                      <a:lnTo>
                        <a:pt x="697" y="444"/>
                      </a:lnTo>
                      <a:lnTo>
                        <a:pt x="696" y="444"/>
                      </a:lnTo>
                      <a:lnTo>
                        <a:pt x="695" y="444"/>
                      </a:lnTo>
                      <a:lnTo>
                        <a:pt x="695" y="444"/>
                      </a:lnTo>
                      <a:lnTo>
                        <a:pt x="695" y="444"/>
                      </a:lnTo>
                      <a:lnTo>
                        <a:pt x="695" y="444"/>
                      </a:lnTo>
                      <a:lnTo>
                        <a:pt x="694" y="444"/>
                      </a:lnTo>
                      <a:lnTo>
                        <a:pt x="694" y="444"/>
                      </a:lnTo>
                      <a:lnTo>
                        <a:pt x="693" y="444"/>
                      </a:lnTo>
                      <a:lnTo>
                        <a:pt x="693" y="443"/>
                      </a:lnTo>
                      <a:lnTo>
                        <a:pt x="693" y="443"/>
                      </a:lnTo>
                      <a:lnTo>
                        <a:pt x="692" y="443"/>
                      </a:lnTo>
                      <a:lnTo>
                        <a:pt x="692" y="443"/>
                      </a:lnTo>
                      <a:close/>
                      <a:moveTo>
                        <a:pt x="625" y="381"/>
                      </a:moveTo>
                      <a:lnTo>
                        <a:pt x="625" y="380"/>
                      </a:lnTo>
                      <a:lnTo>
                        <a:pt x="625" y="380"/>
                      </a:lnTo>
                      <a:lnTo>
                        <a:pt x="625" y="381"/>
                      </a:lnTo>
                      <a:lnTo>
                        <a:pt x="625" y="380"/>
                      </a:lnTo>
                      <a:lnTo>
                        <a:pt x="625" y="381"/>
                      </a:lnTo>
                      <a:close/>
                      <a:moveTo>
                        <a:pt x="82" y="291"/>
                      </a:moveTo>
                      <a:lnTo>
                        <a:pt x="83" y="291"/>
                      </a:lnTo>
                      <a:lnTo>
                        <a:pt x="82" y="291"/>
                      </a:lnTo>
                      <a:lnTo>
                        <a:pt x="83" y="291"/>
                      </a:lnTo>
                      <a:lnTo>
                        <a:pt x="82" y="291"/>
                      </a:lnTo>
                      <a:close/>
                      <a:moveTo>
                        <a:pt x="81" y="291"/>
                      </a:moveTo>
                      <a:lnTo>
                        <a:pt x="82" y="291"/>
                      </a:lnTo>
                      <a:lnTo>
                        <a:pt x="81" y="291"/>
                      </a:lnTo>
                      <a:lnTo>
                        <a:pt x="82" y="291"/>
                      </a:lnTo>
                      <a:lnTo>
                        <a:pt x="81" y="291"/>
                      </a:lnTo>
                      <a:lnTo>
                        <a:pt x="82" y="291"/>
                      </a:lnTo>
                      <a:lnTo>
                        <a:pt x="81" y="291"/>
                      </a:lnTo>
                      <a:close/>
                      <a:moveTo>
                        <a:pt x="82" y="291"/>
                      </a:moveTo>
                      <a:lnTo>
                        <a:pt x="83" y="291"/>
                      </a:lnTo>
                      <a:lnTo>
                        <a:pt x="82" y="291"/>
                      </a:lnTo>
                      <a:lnTo>
                        <a:pt x="83" y="291"/>
                      </a:lnTo>
                      <a:lnTo>
                        <a:pt x="82" y="291"/>
                      </a:lnTo>
                      <a:close/>
                      <a:moveTo>
                        <a:pt x="83" y="291"/>
                      </a:moveTo>
                      <a:lnTo>
                        <a:pt x="83" y="291"/>
                      </a:lnTo>
                      <a:lnTo>
                        <a:pt x="83" y="291"/>
                      </a:lnTo>
                      <a:lnTo>
                        <a:pt x="83" y="291"/>
                      </a:lnTo>
                      <a:lnTo>
                        <a:pt x="83" y="291"/>
                      </a:lnTo>
                      <a:lnTo>
                        <a:pt x="83" y="291"/>
                      </a:lnTo>
                      <a:lnTo>
                        <a:pt x="83" y="291"/>
                      </a:lnTo>
                      <a:lnTo>
                        <a:pt x="83" y="291"/>
                      </a:lnTo>
                      <a:lnTo>
                        <a:pt x="83" y="291"/>
                      </a:lnTo>
                      <a:lnTo>
                        <a:pt x="83" y="291"/>
                      </a:lnTo>
                      <a:lnTo>
                        <a:pt x="83" y="291"/>
                      </a:lnTo>
                      <a:close/>
                      <a:moveTo>
                        <a:pt x="82" y="291"/>
                      </a:moveTo>
                      <a:lnTo>
                        <a:pt x="82" y="291"/>
                      </a:lnTo>
                      <a:lnTo>
                        <a:pt x="82" y="291"/>
                      </a:lnTo>
                      <a:lnTo>
                        <a:pt x="81" y="291"/>
                      </a:lnTo>
                      <a:lnTo>
                        <a:pt x="82" y="291"/>
                      </a:lnTo>
                      <a:lnTo>
                        <a:pt x="82" y="291"/>
                      </a:lnTo>
                      <a:lnTo>
                        <a:pt x="82" y="291"/>
                      </a:lnTo>
                      <a:lnTo>
                        <a:pt x="82" y="291"/>
                      </a:lnTo>
                      <a:lnTo>
                        <a:pt x="82" y="291"/>
                      </a:lnTo>
                      <a:close/>
                      <a:moveTo>
                        <a:pt x="81" y="291"/>
                      </a:moveTo>
                      <a:lnTo>
                        <a:pt x="82" y="291"/>
                      </a:lnTo>
                      <a:lnTo>
                        <a:pt x="81" y="291"/>
                      </a:lnTo>
                      <a:close/>
                      <a:moveTo>
                        <a:pt x="83" y="291"/>
                      </a:moveTo>
                      <a:lnTo>
                        <a:pt x="83" y="291"/>
                      </a:lnTo>
                      <a:lnTo>
                        <a:pt x="83" y="291"/>
                      </a:lnTo>
                      <a:close/>
                      <a:moveTo>
                        <a:pt x="81" y="291"/>
                      </a:moveTo>
                      <a:lnTo>
                        <a:pt x="82" y="291"/>
                      </a:lnTo>
                      <a:lnTo>
                        <a:pt x="81" y="291"/>
                      </a:lnTo>
                      <a:lnTo>
                        <a:pt x="81" y="291"/>
                      </a:lnTo>
                      <a:lnTo>
                        <a:pt x="81" y="291"/>
                      </a:lnTo>
                      <a:lnTo>
                        <a:pt x="81" y="291"/>
                      </a:lnTo>
                      <a:lnTo>
                        <a:pt x="81" y="291"/>
                      </a:lnTo>
                      <a:lnTo>
                        <a:pt x="81" y="291"/>
                      </a:lnTo>
                      <a:lnTo>
                        <a:pt x="81" y="291"/>
                      </a:lnTo>
                      <a:close/>
                      <a:moveTo>
                        <a:pt x="81" y="290"/>
                      </a:moveTo>
                      <a:lnTo>
                        <a:pt x="81" y="291"/>
                      </a:lnTo>
                      <a:lnTo>
                        <a:pt x="81" y="290"/>
                      </a:lnTo>
                      <a:lnTo>
                        <a:pt x="81" y="291"/>
                      </a:lnTo>
                      <a:lnTo>
                        <a:pt x="81" y="290"/>
                      </a:lnTo>
                      <a:close/>
                      <a:moveTo>
                        <a:pt x="83" y="290"/>
                      </a:moveTo>
                      <a:lnTo>
                        <a:pt x="83" y="291"/>
                      </a:lnTo>
                      <a:lnTo>
                        <a:pt x="83" y="290"/>
                      </a:lnTo>
                      <a:close/>
                      <a:moveTo>
                        <a:pt x="82" y="290"/>
                      </a:moveTo>
                      <a:lnTo>
                        <a:pt x="82" y="291"/>
                      </a:lnTo>
                      <a:lnTo>
                        <a:pt x="81" y="290"/>
                      </a:lnTo>
                      <a:lnTo>
                        <a:pt x="82" y="290"/>
                      </a:lnTo>
                      <a:lnTo>
                        <a:pt x="82" y="291"/>
                      </a:lnTo>
                      <a:lnTo>
                        <a:pt x="82" y="290"/>
                      </a:lnTo>
                      <a:close/>
                      <a:moveTo>
                        <a:pt x="83" y="291"/>
                      </a:moveTo>
                      <a:lnTo>
                        <a:pt x="83" y="290"/>
                      </a:lnTo>
                      <a:lnTo>
                        <a:pt x="83" y="291"/>
                      </a:lnTo>
                      <a:lnTo>
                        <a:pt x="83" y="290"/>
                      </a:lnTo>
                      <a:lnTo>
                        <a:pt x="83" y="291"/>
                      </a:lnTo>
                      <a:lnTo>
                        <a:pt x="83" y="290"/>
                      </a:lnTo>
                      <a:lnTo>
                        <a:pt x="83" y="290"/>
                      </a:lnTo>
                      <a:lnTo>
                        <a:pt x="83" y="290"/>
                      </a:lnTo>
                      <a:lnTo>
                        <a:pt x="83" y="290"/>
                      </a:lnTo>
                      <a:lnTo>
                        <a:pt x="83" y="291"/>
                      </a:lnTo>
                      <a:lnTo>
                        <a:pt x="83" y="291"/>
                      </a:lnTo>
                      <a:close/>
                      <a:moveTo>
                        <a:pt x="81" y="290"/>
                      </a:moveTo>
                      <a:lnTo>
                        <a:pt x="81" y="290"/>
                      </a:lnTo>
                      <a:lnTo>
                        <a:pt x="81" y="290"/>
                      </a:lnTo>
                      <a:close/>
                      <a:moveTo>
                        <a:pt x="81" y="290"/>
                      </a:moveTo>
                      <a:lnTo>
                        <a:pt x="81" y="289"/>
                      </a:lnTo>
                      <a:lnTo>
                        <a:pt x="81" y="290"/>
                      </a:lnTo>
                      <a:close/>
                      <a:moveTo>
                        <a:pt x="82" y="290"/>
                      </a:moveTo>
                      <a:lnTo>
                        <a:pt x="82" y="289"/>
                      </a:lnTo>
                      <a:lnTo>
                        <a:pt x="82" y="290"/>
                      </a:lnTo>
                      <a:lnTo>
                        <a:pt x="81" y="290"/>
                      </a:lnTo>
                      <a:lnTo>
                        <a:pt x="81" y="289"/>
                      </a:lnTo>
                      <a:lnTo>
                        <a:pt x="81" y="290"/>
                      </a:lnTo>
                      <a:lnTo>
                        <a:pt x="81" y="289"/>
                      </a:lnTo>
                      <a:lnTo>
                        <a:pt x="82" y="289"/>
                      </a:lnTo>
                      <a:lnTo>
                        <a:pt x="81" y="289"/>
                      </a:lnTo>
                      <a:lnTo>
                        <a:pt x="82" y="289"/>
                      </a:lnTo>
                      <a:lnTo>
                        <a:pt x="82" y="290"/>
                      </a:lnTo>
                      <a:lnTo>
                        <a:pt x="81" y="290"/>
                      </a:lnTo>
                      <a:lnTo>
                        <a:pt x="82" y="290"/>
                      </a:lnTo>
                      <a:close/>
                      <a:moveTo>
                        <a:pt x="83" y="289"/>
                      </a:moveTo>
                      <a:lnTo>
                        <a:pt x="83" y="289"/>
                      </a:lnTo>
                      <a:lnTo>
                        <a:pt x="83" y="289"/>
                      </a:lnTo>
                      <a:close/>
                      <a:moveTo>
                        <a:pt x="81" y="289"/>
                      </a:moveTo>
                      <a:lnTo>
                        <a:pt x="81" y="289"/>
                      </a:lnTo>
                      <a:lnTo>
                        <a:pt x="81" y="289"/>
                      </a:lnTo>
                      <a:close/>
                      <a:moveTo>
                        <a:pt x="81" y="289"/>
                      </a:moveTo>
                      <a:lnTo>
                        <a:pt x="81" y="289"/>
                      </a:lnTo>
                      <a:lnTo>
                        <a:pt x="81" y="289"/>
                      </a:lnTo>
                      <a:close/>
                      <a:moveTo>
                        <a:pt x="82" y="289"/>
                      </a:moveTo>
                      <a:lnTo>
                        <a:pt x="81" y="289"/>
                      </a:lnTo>
                      <a:lnTo>
                        <a:pt x="82" y="289"/>
                      </a:lnTo>
                      <a:close/>
                      <a:moveTo>
                        <a:pt x="82" y="289"/>
                      </a:moveTo>
                      <a:lnTo>
                        <a:pt x="81" y="289"/>
                      </a:lnTo>
                      <a:lnTo>
                        <a:pt x="82" y="289"/>
                      </a:lnTo>
                      <a:close/>
                      <a:moveTo>
                        <a:pt x="81" y="290"/>
                      </a:moveTo>
                      <a:lnTo>
                        <a:pt x="81" y="289"/>
                      </a:lnTo>
                      <a:lnTo>
                        <a:pt x="81" y="290"/>
                      </a:lnTo>
                      <a:lnTo>
                        <a:pt x="81" y="289"/>
                      </a:lnTo>
                      <a:lnTo>
                        <a:pt x="81" y="289"/>
                      </a:lnTo>
                      <a:lnTo>
                        <a:pt x="81" y="289"/>
                      </a:lnTo>
                      <a:lnTo>
                        <a:pt x="80" y="289"/>
                      </a:lnTo>
                      <a:lnTo>
                        <a:pt x="81" y="289"/>
                      </a:lnTo>
                      <a:lnTo>
                        <a:pt x="80" y="289"/>
                      </a:lnTo>
                      <a:lnTo>
                        <a:pt x="81" y="289"/>
                      </a:lnTo>
                      <a:lnTo>
                        <a:pt x="81" y="289"/>
                      </a:lnTo>
                      <a:lnTo>
                        <a:pt x="81" y="289"/>
                      </a:lnTo>
                      <a:lnTo>
                        <a:pt x="81" y="289"/>
                      </a:lnTo>
                      <a:lnTo>
                        <a:pt x="81" y="289"/>
                      </a:lnTo>
                      <a:lnTo>
                        <a:pt x="81" y="289"/>
                      </a:lnTo>
                      <a:lnTo>
                        <a:pt x="81" y="289"/>
                      </a:lnTo>
                      <a:lnTo>
                        <a:pt x="81" y="289"/>
                      </a:lnTo>
                      <a:lnTo>
                        <a:pt x="81" y="290"/>
                      </a:lnTo>
                      <a:close/>
                      <a:moveTo>
                        <a:pt x="82" y="288"/>
                      </a:moveTo>
                      <a:lnTo>
                        <a:pt x="81" y="288"/>
                      </a:lnTo>
                      <a:lnTo>
                        <a:pt x="82" y="288"/>
                      </a:lnTo>
                      <a:close/>
                      <a:moveTo>
                        <a:pt x="83" y="290"/>
                      </a:moveTo>
                      <a:lnTo>
                        <a:pt x="82" y="290"/>
                      </a:lnTo>
                      <a:lnTo>
                        <a:pt x="83" y="290"/>
                      </a:lnTo>
                      <a:lnTo>
                        <a:pt x="83" y="289"/>
                      </a:lnTo>
                      <a:lnTo>
                        <a:pt x="83" y="290"/>
                      </a:lnTo>
                      <a:lnTo>
                        <a:pt x="83" y="289"/>
                      </a:lnTo>
                      <a:lnTo>
                        <a:pt x="83" y="289"/>
                      </a:lnTo>
                      <a:lnTo>
                        <a:pt x="83" y="289"/>
                      </a:lnTo>
                      <a:lnTo>
                        <a:pt x="83" y="289"/>
                      </a:lnTo>
                      <a:lnTo>
                        <a:pt x="83" y="289"/>
                      </a:lnTo>
                      <a:lnTo>
                        <a:pt x="83" y="289"/>
                      </a:lnTo>
                      <a:lnTo>
                        <a:pt x="83" y="289"/>
                      </a:lnTo>
                      <a:lnTo>
                        <a:pt x="83" y="289"/>
                      </a:lnTo>
                      <a:lnTo>
                        <a:pt x="83" y="288"/>
                      </a:lnTo>
                      <a:lnTo>
                        <a:pt x="82" y="288"/>
                      </a:lnTo>
                      <a:lnTo>
                        <a:pt x="83" y="288"/>
                      </a:lnTo>
                      <a:lnTo>
                        <a:pt x="82" y="288"/>
                      </a:lnTo>
                      <a:lnTo>
                        <a:pt x="83" y="288"/>
                      </a:lnTo>
                      <a:lnTo>
                        <a:pt x="83" y="289"/>
                      </a:lnTo>
                      <a:lnTo>
                        <a:pt x="83" y="289"/>
                      </a:lnTo>
                      <a:lnTo>
                        <a:pt x="83" y="290"/>
                      </a:lnTo>
                      <a:lnTo>
                        <a:pt x="83" y="289"/>
                      </a:lnTo>
                      <a:lnTo>
                        <a:pt x="83" y="290"/>
                      </a:lnTo>
                      <a:lnTo>
                        <a:pt x="83" y="290"/>
                      </a:lnTo>
                      <a:close/>
                      <a:moveTo>
                        <a:pt x="81" y="288"/>
                      </a:moveTo>
                      <a:lnTo>
                        <a:pt x="81" y="288"/>
                      </a:lnTo>
                      <a:lnTo>
                        <a:pt x="81" y="288"/>
                      </a:lnTo>
                      <a:lnTo>
                        <a:pt x="81" y="288"/>
                      </a:lnTo>
                      <a:lnTo>
                        <a:pt x="81" y="288"/>
                      </a:lnTo>
                      <a:lnTo>
                        <a:pt x="81" y="288"/>
                      </a:lnTo>
                      <a:close/>
                      <a:moveTo>
                        <a:pt x="81" y="288"/>
                      </a:moveTo>
                      <a:lnTo>
                        <a:pt x="81" y="288"/>
                      </a:lnTo>
                      <a:lnTo>
                        <a:pt x="81" y="288"/>
                      </a:lnTo>
                      <a:close/>
                      <a:moveTo>
                        <a:pt x="82" y="288"/>
                      </a:moveTo>
                      <a:lnTo>
                        <a:pt x="82" y="288"/>
                      </a:lnTo>
                      <a:lnTo>
                        <a:pt x="82" y="288"/>
                      </a:lnTo>
                      <a:lnTo>
                        <a:pt x="82" y="288"/>
                      </a:lnTo>
                      <a:lnTo>
                        <a:pt x="83" y="288"/>
                      </a:lnTo>
                      <a:lnTo>
                        <a:pt x="82" y="288"/>
                      </a:lnTo>
                      <a:lnTo>
                        <a:pt x="82" y="288"/>
                      </a:lnTo>
                      <a:lnTo>
                        <a:pt x="81" y="288"/>
                      </a:lnTo>
                      <a:lnTo>
                        <a:pt x="82" y="288"/>
                      </a:lnTo>
                      <a:lnTo>
                        <a:pt x="81" y="288"/>
                      </a:lnTo>
                      <a:lnTo>
                        <a:pt x="82" y="288"/>
                      </a:lnTo>
                      <a:lnTo>
                        <a:pt x="82" y="287"/>
                      </a:lnTo>
                      <a:lnTo>
                        <a:pt x="82" y="288"/>
                      </a:lnTo>
                      <a:close/>
                      <a:moveTo>
                        <a:pt x="81" y="288"/>
                      </a:moveTo>
                      <a:lnTo>
                        <a:pt x="81" y="288"/>
                      </a:lnTo>
                      <a:lnTo>
                        <a:pt x="81" y="287"/>
                      </a:lnTo>
                      <a:lnTo>
                        <a:pt x="81" y="288"/>
                      </a:lnTo>
                      <a:lnTo>
                        <a:pt x="81" y="287"/>
                      </a:lnTo>
                      <a:lnTo>
                        <a:pt x="81" y="288"/>
                      </a:lnTo>
                      <a:lnTo>
                        <a:pt x="81" y="288"/>
                      </a:lnTo>
                      <a:close/>
                      <a:moveTo>
                        <a:pt x="81" y="287"/>
                      </a:moveTo>
                      <a:lnTo>
                        <a:pt x="81" y="287"/>
                      </a:lnTo>
                      <a:lnTo>
                        <a:pt x="81" y="287"/>
                      </a:lnTo>
                      <a:lnTo>
                        <a:pt x="81" y="288"/>
                      </a:lnTo>
                      <a:lnTo>
                        <a:pt x="81" y="287"/>
                      </a:lnTo>
                      <a:close/>
                      <a:moveTo>
                        <a:pt x="80" y="287"/>
                      </a:moveTo>
                      <a:lnTo>
                        <a:pt x="81" y="287"/>
                      </a:lnTo>
                      <a:lnTo>
                        <a:pt x="80" y="287"/>
                      </a:lnTo>
                      <a:lnTo>
                        <a:pt x="81" y="287"/>
                      </a:lnTo>
                      <a:lnTo>
                        <a:pt x="80" y="287"/>
                      </a:lnTo>
                      <a:lnTo>
                        <a:pt x="80" y="286"/>
                      </a:lnTo>
                      <a:lnTo>
                        <a:pt x="80" y="287"/>
                      </a:lnTo>
                      <a:lnTo>
                        <a:pt x="81" y="287"/>
                      </a:lnTo>
                      <a:lnTo>
                        <a:pt x="80" y="287"/>
                      </a:lnTo>
                      <a:close/>
                      <a:moveTo>
                        <a:pt x="81" y="286"/>
                      </a:moveTo>
                      <a:lnTo>
                        <a:pt x="81" y="286"/>
                      </a:lnTo>
                      <a:lnTo>
                        <a:pt x="81" y="287"/>
                      </a:lnTo>
                      <a:lnTo>
                        <a:pt x="81" y="286"/>
                      </a:lnTo>
                      <a:lnTo>
                        <a:pt x="81" y="286"/>
                      </a:lnTo>
                      <a:lnTo>
                        <a:pt x="81" y="286"/>
                      </a:lnTo>
                      <a:lnTo>
                        <a:pt x="81" y="286"/>
                      </a:lnTo>
                      <a:lnTo>
                        <a:pt x="81" y="286"/>
                      </a:lnTo>
                      <a:lnTo>
                        <a:pt x="81" y="286"/>
                      </a:lnTo>
                      <a:close/>
                      <a:moveTo>
                        <a:pt x="80" y="286"/>
                      </a:moveTo>
                      <a:lnTo>
                        <a:pt x="80" y="286"/>
                      </a:lnTo>
                      <a:lnTo>
                        <a:pt x="80" y="286"/>
                      </a:lnTo>
                      <a:close/>
                      <a:moveTo>
                        <a:pt x="81" y="286"/>
                      </a:moveTo>
                      <a:lnTo>
                        <a:pt x="81" y="286"/>
                      </a:lnTo>
                      <a:lnTo>
                        <a:pt x="81" y="286"/>
                      </a:lnTo>
                      <a:lnTo>
                        <a:pt x="81" y="286"/>
                      </a:lnTo>
                      <a:lnTo>
                        <a:pt x="81" y="286"/>
                      </a:lnTo>
                      <a:lnTo>
                        <a:pt x="81" y="286"/>
                      </a:lnTo>
                      <a:lnTo>
                        <a:pt x="81" y="286"/>
                      </a:lnTo>
                      <a:close/>
                      <a:moveTo>
                        <a:pt x="81" y="286"/>
                      </a:moveTo>
                      <a:lnTo>
                        <a:pt x="82" y="286"/>
                      </a:lnTo>
                      <a:lnTo>
                        <a:pt x="81" y="286"/>
                      </a:lnTo>
                      <a:close/>
                      <a:moveTo>
                        <a:pt x="79" y="286"/>
                      </a:moveTo>
                      <a:lnTo>
                        <a:pt x="78" y="286"/>
                      </a:lnTo>
                      <a:lnTo>
                        <a:pt x="79" y="286"/>
                      </a:lnTo>
                      <a:close/>
                      <a:moveTo>
                        <a:pt x="79" y="286"/>
                      </a:moveTo>
                      <a:lnTo>
                        <a:pt x="80" y="286"/>
                      </a:lnTo>
                      <a:lnTo>
                        <a:pt x="79" y="286"/>
                      </a:lnTo>
                      <a:lnTo>
                        <a:pt x="80" y="286"/>
                      </a:lnTo>
                      <a:lnTo>
                        <a:pt x="79" y="286"/>
                      </a:lnTo>
                      <a:lnTo>
                        <a:pt x="80" y="286"/>
                      </a:lnTo>
                      <a:lnTo>
                        <a:pt x="79" y="286"/>
                      </a:lnTo>
                      <a:lnTo>
                        <a:pt x="80" y="286"/>
                      </a:lnTo>
                      <a:lnTo>
                        <a:pt x="79" y="286"/>
                      </a:lnTo>
                      <a:lnTo>
                        <a:pt x="80" y="286"/>
                      </a:lnTo>
                      <a:lnTo>
                        <a:pt x="79" y="286"/>
                      </a:lnTo>
                      <a:close/>
                      <a:moveTo>
                        <a:pt x="79" y="285"/>
                      </a:moveTo>
                      <a:lnTo>
                        <a:pt x="78" y="285"/>
                      </a:lnTo>
                      <a:lnTo>
                        <a:pt x="79" y="285"/>
                      </a:lnTo>
                      <a:close/>
                      <a:moveTo>
                        <a:pt x="78" y="286"/>
                      </a:moveTo>
                      <a:lnTo>
                        <a:pt x="78" y="285"/>
                      </a:lnTo>
                      <a:lnTo>
                        <a:pt x="78" y="285"/>
                      </a:lnTo>
                      <a:lnTo>
                        <a:pt x="78" y="285"/>
                      </a:lnTo>
                      <a:lnTo>
                        <a:pt x="78" y="286"/>
                      </a:lnTo>
                      <a:close/>
                      <a:moveTo>
                        <a:pt x="78" y="285"/>
                      </a:moveTo>
                      <a:lnTo>
                        <a:pt x="78" y="285"/>
                      </a:lnTo>
                      <a:lnTo>
                        <a:pt x="78" y="285"/>
                      </a:lnTo>
                      <a:close/>
                      <a:moveTo>
                        <a:pt x="80" y="285"/>
                      </a:moveTo>
                      <a:lnTo>
                        <a:pt x="80" y="285"/>
                      </a:lnTo>
                      <a:lnTo>
                        <a:pt x="80" y="285"/>
                      </a:lnTo>
                      <a:lnTo>
                        <a:pt x="80" y="285"/>
                      </a:lnTo>
                      <a:lnTo>
                        <a:pt x="80" y="285"/>
                      </a:lnTo>
                      <a:close/>
                      <a:moveTo>
                        <a:pt x="81" y="286"/>
                      </a:moveTo>
                      <a:lnTo>
                        <a:pt x="81" y="285"/>
                      </a:lnTo>
                      <a:lnTo>
                        <a:pt x="81" y="286"/>
                      </a:lnTo>
                      <a:lnTo>
                        <a:pt x="81" y="285"/>
                      </a:lnTo>
                      <a:lnTo>
                        <a:pt x="81" y="285"/>
                      </a:lnTo>
                      <a:lnTo>
                        <a:pt x="81" y="285"/>
                      </a:lnTo>
                      <a:lnTo>
                        <a:pt x="81" y="285"/>
                      </a:lnTo>
                      <a:lnTo>
                        <a:pt x="81" y="285"/>
                      </a:lnTo>
                      <a:lnTo>
                        <a:pt x="81" y="285"/>
                      </a:lnTo>
                      <a:lnTo>
                        <a:pt x="81" y="285"/>
                      </a:lnTo>
                      <a:lnTo>
                        <a:pt x="81" y="286"/>
                      </a:lnTo>
                      <a:lnTo>
                        <a:pt x="81" y="286"/>
                      </a:lnTo>
                      <a:lnTo>
                        <a:pt x="82" y="286"/>
                      </a:lnTo>
                      <a:lnTo>
                        <a:pt x="81" y="286"/>
                      </a:lnTo>
                      <a:lnTo>
                        <a:pt x="82" y="286"/>
                      </a:lnTo>
                      <a:lnTo>
                        <a:pt x="82" y="287"/>
                      </a:lnTo>
                      <a:lnTo>
                        <a:pt x="82" y="286"/>
                      </a:lnTo>
                      <a:lnTo>
                        <a:pt x="81" y="286"/>
                      </a:lnTo>
                      <a:lnTo>
                        <a:pt x="82" y="286"/>
                      </a:lnTo>
                      <a:lnTo>
                        <a:pt x="81" y="286"/>
                      </a:lnTo>
                      <a:lnTo>
                        <a:pt x="81" y="286"/>
                      </a:lnTo>
                      <a:lnTo>
                        <a:pt x="81" y="285"/>
                      </a:lnTo>
                      <a:lnTo>
                        <a:pt x="81" y="286"/>
                      </a:lnTo>
                      <a:lnTo>
                        <a:pt x="81" y="285"/>
                      </a:lnTo>
                      <a:lnTo>
                        <a:pt x="81" y="286"/>
                      </a:lnTo>
                      <a:close/>
                      <a:moveTo>
                        <a:pt x="78" y="285"/>
                      </a:moveTo>
                      <a:lnTo>
                        <a:pt x="78" y="285"/>
                      </a:lnTo>
                      <a:lnTo>
                        <a:pt x="78" y="285"/>
                      </a:lnTo>
                      <a:close/>
                      <a:moveTo>
                        <a:pt x="75" y="285"/>
                      </a:moveTo>
                      <a:lnTo>
                        <a:pt x="75" y="285"/>
                      </a:lnTo>
                      <a:lnTo>
                        <a:pt x="75" y="285"/>
                      </a:lnTo>
                      <a:lnTo>
                        <a:pt x="75" y="285"/>
                      </a:lnTo>
                      <a:lnTo>
                        <a:pt x="75" y="285"/>
                      </a:lnTo>
                      <a:close/>
                      <a:moveTo>
                        <a:pt x="75" y="285"/>
                      </a:moveTo>
                      <a:lnTo>
                        <a:pt x="75" y="285"/>
                      </a:lnTo>
                      <a:lnTo>
                        <a:pt x="75" y="285"/>
                      </a:lnTo>
                      <a:close/>
                      <a:moveTo>
                        <a:pt x="77" y="285"/>
                      </a:moveTo>
                      <a:lnTo>
                        <a:pt x="78" y="285"/>
                      </a:lnTo>
                      <a:lnTo>
                        <a:pt x="77" y="285"/>
                      </a:lnTo>
                      <a:close/>
                      <a:moveTo>
                        <a:pt x="78" y="285"/>
                      </a:moveTo>
                      <a:lnTo>
                        <a:pt x="78" y="285"/>
                      </a:lnTo>
                      <a:lnTo>
                        <a:pt x="78" y="285"/>
                      </a:lnTo>
                      <a:close/>
                      <a:moveTo>
                        <a:pt x="80" y="284"/>
                      </a:moveTo>
                      <a:lnTo>
                        <a:pt x="80" y="285"/>
                      </a:lnTo>
                      <a:lnTo>
                        <a:pt x="80" y="284"/>
                      </a:lnTo>
                      <a:close/>
                      <a:moveTo>
                        <a:pt x="81" y="285"/>
                      </a:moveTo>
                      <a:lnTo>
                        <a:pt x="80" y="285"/>
                      </a:lnTo>
                      <a:lnTo>
                        <a:pt x="81" y="285"/>
                      </a:lnTo>
                      <a:lnTo>
                        <a:pt x="80" y="285"/>
                      </a:lnTo>
                      <a:lnTo>
                        <a:pt x="80" y="284"/>
                      </a:lnTo>
                      <a:lnTo>
                        <a:pt x="80" y="285"/>
                      </a:lnTo>
                      <a:lnTo>
                        <a:pt x="81" y="285"/>
                      </a:lnTo>
                      <a:close/>
                      <a:moveTo>
                        <a:pt x="80" y="284"/>
                      </a:moveTo>
                      <a:lnTo>
                        <a:pt x="80" y="284"/>
                      </a:lnTo>
                      <a:lnTo>
                        <a:pt x="80" y="284"/>
                      </a:lnTo>
                      <a:close/>
                      <a:moveTo>
                        <a:pt x="77" y="285"/>
                      </a:moveTo>
                      <a:lnTo>
                        <a:pt x="77" y="285"/>
                      </a:lnTo>
                      <a:lnTo>
                        <a:pt x="77" y="285"/>
                      </a:lnTo>
                      <a:lnTo>
                        <a:pt x="77" y="285"/>
                      </a:lnTo>
                      <a:lnTo>
                        <a:pt x="77" y="284"/>
                      </a:lnTo>
                      <a:lnTo>
                        <a:pt x="77" y="285"/>
                      </a:lnTo>
                      <a:lnTo>
                        <a:pt x="77" y="285"/>
                      </a:lnTo>
                      <a:close/>
                      <a:moveTo>
                        <a:pt x="78" y="285"/>
                      </a:moveTo>
                      <a:lnTo>
                        <a:pt x="78" y="284"/>
                      </a:lnTo>
                      <a:lnTo>
                        <a:pt x="79" y="284"/>
                      </a:lnTo>
                      <a:lnTo>
                        <a:pt x="79" y="285"/>
                      </a:lnTo>
                      <a:lnTo>
                        <a:pt x="80" y="285"/>
                      </a:lnTo>
                      <a:lnTo>
                        <a:pt x="80" y="285"/>
                      </a:lnTo>
                      <a:lnTo>
                        <a:pt x="80" y="285"/>
                      </a:lnTo>
                      <a:lnTo>
                        <a:pt x="80" y="285"/>
                      </a:lnTo>
                      <a:lnTo>
                        <a:pt x="79" y="285"/>
                      </a:lnTo>
                      <a:lnTo>
                        <a:pt x="79" y="285"/>
                      </a:lnTo>
                      <a:lnTo>
                        <a:pt x="78" y="285"/>
                      </a:lnTo>
                      <a:lnTo>
                        <a:pt x="79" y="285"/>
                      </a:lnTo>
                      <a:lnTo>
                        <a:pt x="78" y="285"/>
                      </a:lnTo>
                      <a:lnTo>
                        <a:pt x="78" y="284"/>
                      </a:lnTo>
                      <a:lnTo>
                        <a:pt x="78" y="285"/>
                      </a:lnTo>
                      <a:close/>
                      <a:moveTo>
                        <a:pt x="78" y="284"/>
                      </a:moveTo>
                      <a:lnTo>
                        <a:pt x="77" y="284"/>
                      </a:lnTo>
                      <a:lnTo>
                        <a:pt x="77" y="284"/>
                      </a:lnTo>
                      <a:lnTo>
                        <a:pt x="77" y="284"/>
                      </a:lnTo>
                      <a:lnTo>
                        <a:pt x="78" y="284"/>
                      </a:lnTo>
                      <a:lnTo>
                        <a:pt x="78" y="284"/>
                      </a:lnTo>
                      <a:lnTo>
                        <a:pt x="78" y="284"/>
                      </a:lnTo>
                      <a:lnTo>
                        <a:pt x="78" y="284"/>
                      </a:lnTo>
                      <a:close/>
                      <a:moveTo>
                        <a:pt x="77" y="284"/>
                      </a:moveTo>
                      <a:lnTo>
                        <a:pt x="77" y="284"/>
                      </a:lnTo>
                      <a:lnTo>
                        <a:pt x="77" y="284"/>
                      </a:lnTo>
                      <a:lnTo>
                        <a:pt x="77" y="284"/>
                      </a:lnTo>
                      <a:lnTo>
                        <a:pt x="77" y="284"/>
                      </a:lnTo>
                      <a:lnTo>
                        <a:pt x="78" y="284"/>
                      </a:lnTo>
                      <a:lnTo>
                        <a:pt x="77" y="284"/>
                      </a:lnTo>
                      <a:close/>
                      <a:moveTo>
                        <a:pt x="79" y="284"/>
                      </a:moveTo>
                      <a:lnTo>
                        <a:pt x="80" y="284"/>
                      </a:lnTo>
                      <a:lnTo>
                        <a:pt x="80" y="284"/>
                      </a:lnTo>
                      <a:lnTo>
                        <a:pt x="80" y="284"/>
                      </a:lnTo>
                      <a:lnTo>
                        <a:pt x="80" y="284"/>
                      </a:lnTo>
                      <a:lnTo>
                        <a:pt x="79" y="284"/>
                      </a:lnTo>
                      <a:lnTo>
                        <a:pt x="79" y="284"/>
                      </a:lnTo>
                      <a:lnTo>
                        <a:pt x="79" y="284"/>
                      </a:lnTo>
                      <a:close/>
                      <a:moveTo>
                        <a:pt x="80" y="284"/>
                      </a:moveTo>
                      <a:lnTo>
                        <a:pt x="80" y="284"/>
                      </a:lnTo>
                      <a:lnTo>
                        <a:pt x="80" y="284"/>
                      </a:lnTo>
                      <a:close/>
                      <a:moveTo>
                        <a:pt x="78" y="284"/>
                      </a:moveTo>
                      <a:lnTo>
                        <a:pt x="78" y="284"/>
                      </a:lnTo>
                      <a:lnTo>
                        <a:pt x="78" y="284"/>
                      </a:lnTo>
                      <a:lnTo>
                        <a:pt x="78" y="284"/>
                      </a:lnTo>
                      <a:lnTo>
                        <a:pt x="78" y="284"/>
                      </a:lnTo>
                      <a:lnTo>
                        <a:pt x="78" y="284"/>
                      </a:lnTo>
                      <a:lnTo>
                        <a:pt x="78" y="284"/>
                      </a:lnTo>
                      <a:close/>
                      <a:moveTo>
                        <a:pt x="76" y="284"/>
                      </a:moveTo>
                      <a:lnTo>
                        <a:pt x="76" y="284"/>
                      </a:lnTo>
                      <a:lnTo>
                        <a:pt x="76" y="284"/>
                      </a:lnTo>
                      <a:lnTo>
                        <a:pt x="76" y="284"/>
                      </a:lnTo>
                      <a:lnTo>
                        <a:pt x="76" y="284"/>
                      </a:lnTo>
                      <a:close/>
                      <a:moveTo>
                        <a:pt x="77" y="284"/>
                      </a:moveTo>
                      <a:lnTo>
                        <a:pt x="77" y="284"/>
                      </a:lnTo>
                      <a:lnTo>
                        <a:pt x="77" y="284"/>
                      </a:lnTo>
                      <a:lnTo>
                        <a:pt x="77" y="284"/>
                      </a:lnTo>
                      <a:lnTo>
                        <a:pt x="77" y="284"/>
                      </a:lnTo>
                      <a:lnTo>
                        <a:pt x="77" y="284"/>
                      </a:lnTo>
                      <a:lnTo>
                        <a:pt x="78" y="284"/>
                      </a:lnTo>
                      <a:lnTo>
                        <a:pt x="77" y="284"/>
                      </a:lnTo>
                      <a:lnTo>
                        <a:pt x="77" y="284"/>
                      </a:lnTo>
                      <a:lnTo>
                        <a:pt x="77" y="284"/>
                      </a:lnTo>
                      <a:lnTo>
                        <a:pt x="77" y="284"/>
                      </a:lnTo>
                      <a:lnTo>
                        <a:pt x="77" y="284"/>
                      </a:lnTo>
                      <a:lnTo>
                        <a:pt x="78" y="284"/>
                      </a:lnTo>
                      <a:lnTo>
                        <a:pt x="77" y="284"/>
                      </a:lnTo>
                      <a:lnTo>
                        <a:pt x="77" y="284"/>
                      </a:lnTo>
                      <a:close/>
                      <a:moveTo>
                        <a:pt x="78" y="284"/>
                      </a:moveTo>
                      <a:lnTo>
                        <a:pt x="77" y="284"/>
                      </a:lnTo>
                      <a:lnTo>
                        <a:pt x="78" y="284"/>
                      </a:lnTo>
                      <a:lnTo>
                        <a:pt x="77" y="284"/>
                      </a:lnTo>
                      <a:lnTo>
                        <a:pt x="78" y="284"/>
                      </a:lnTo>
                      <a:lnTo>
                        <a:pt x="77" y="284"/>
                      </a:lnTo>
                      <a:lnTo>
                        <a:pt x="78" y="284"/>
                      </a:lnTo>
                      <a:close/>
                      <a:moveTo>
                        <a:pt x="77" y="284"/>
                      </a:moveTo>
                      <a:lnTo>
                        <a:pt x="77" y="284"/>
                      </a:lnTo>
                      <a:lnTo>
                        <a:pt x="77" y="284"/>
                      </a:lnTo>
                      <a:close/>
                      <a:moveTo>
                        <a:pt x="73" y="283"/>
                      </a:moveTo>
                      <a:lnTo>
                        <a:pt x="73" y="284"/>
                      </a:lnTo>
                      <a:lnTo>
                        <a:pt x="73" y="283"/>
                      </a:lnTo>
                      <a:close/>
                      <a:moveTo>
                        <a:pt x="76" y="283"/>
                      </a:moveTo>
                      <a:lnTo>
                        <a:pt x="76" y="283"/>
                      </a:lnTo>
                      <a:lnTo>
                        <a:pt x="76" y="284"/>
                      </a:lnTo>
                      <a:lnTo>
                        <a:pt x="77" y="284"/>
                      </a:lnTo>
                      <a:lnTo>
                        <a:pt x="76" y="284"/>
                      </a:lnTo>
                      <a:lnTo>
                        <a:pt x="77" y="284"/>
                      </a:lnTo>
                      <a:lnTo>
                        <a:pt x="76" y="284"/>
                      </a:lnTo>
                      <a:lnTo>
                        <a:pt x="77" y="284"/>
                      </a:lnTo>
                      <a:lnTo>
                        <a:pt x="76" y="284"/>
                      </a:lnTo>
                      <a:lnTo>
                        <a:pt x="77" y="284"/>
                      </a:lnTo>
                      <a:lnTo>
                        <a:pt x="77" y="284"/>
                      </a:lnTo>
                      <a:lnTo>
                        <a:pt x="77" y="284"/>
                      </a:lnTo>
                      <a:lnTo>
                        <a:pt x="77" y="284"/>
                      </a:lnTo>
                      <a:lnTo>
                        <a:pt x="76" y="284"/>
                      </a:lnTo>
                      <a:lnTo>
                        <a:pt x="76" y="284"/>
                      </a:lnTo>
                      <a:lnTo>
                        <a:pt x="76" y="284"/>
                      </a:lnTo>
                      <a:lnTo>
                        <a:pt x="76" y="284"/>
                      </a:lnTo>
                      <a:lnTo>
                        <a:pt x="76" y="284"/>
                      </a:lnTo>
                      <a:lnTo>
                        <a:pt x="76" y="283"/>
                      </a:lnTo>
                      <a:lnTo>
                        <a:pt x="76" y="284"/>
                      </a:lnTo>
                      <a:lnTo>
                        <a:pt x="76" y="283"/>
                      </a:lnTo>
                      <a:lnTo>
                        <a:pt x="76" y="284"/>
                      </a:lnTo>
                      <a:lnTo>
                        <a:pt x="76" y="284"/>
                      </a:lnTo>
                      <a:lnTo>
                        <a:pt x="76" y="283"/>
                      </a:lnTo>
                      <a:lnTo>
                        <a:pt x="76" y="284"/>
                      </a:lnTo>
                      <a:lnTo>
                        <a:pt x="76" y="283"/>
                      </a:lnTo>
                      <a:lnTo>
                        <a:pt x="75" y="283"/>
                      </a:lnTo>
                      <a:lnTo>
                        <a:pt x="76" y="283"/>
                      </a:lnTo>
                      <a:close/>
                      <a:moveTo>
                        <a:pt x="76" y="283"/>
                      </a:moveTo>
                      <a:lnTo>
                        <a:pt x="75" y="283"/>
                      </a:lnTo>
                      <a:lnTo>
                        <a:pt x="76" y="283"/>
                      </a:lnTo>
                      <a:close/>
                      <a:moveTo>
                        <a:pt x="75" y="284"/>
                      </a:moveTo>
                      <a:lnTo>
                        <a:pt x="76" y="284"/>
                      </a:lnTo>
                      <a:lnTo>
                        <a:pt x="75" y="284"/>
                      </a:lnTo>
                      <a:lnTo>
                        <a:pt x="75" y="284"/>
                      </a:lnTo>
                      <a:lnTo>
                        <a:pt x="75" y="284"/>
                      </a:lnTo>
                      <a:lnTo>
                        <a:pt x="74" y="284"/>
                      </a:lnTo>
                      <a:lnTo>
                        <a:pt x="75" y="284"/>
                      </a:lnTo>
                      <a:lnTo>
                        <a:pt x="74" y="284"/>
                      </a:lnTo>
                      <a:lnTo>
                        <a:pt x="75" y="284"/>
                      </a:lnTo>
                      <a:lnTo>
                        <a:pt x="74" y="284"/>
                      </a:lnTo>
                      <a:lnTo>
                        <a:pt x="74" y="283"/>
                      </a:lnTo>
                      <a:lnTo>
                        <a:pt x="74" y="283"/>
                      </a:lnTo>
                      <a:lnTo>
                        <a:pt x="74" y="283"/>
                      </a:lnTo>
                      <a:lnTo>
                        <a:pt x="74" y="283"/>
                      </a:lnTo>
                      <a:lnTo>
                        <a:pt x="74" y="283"/>
                      </a:lnTo>
                      <a:lnTo>
                        <a:pt x="74" y="283"/>
                      </a:lnTo>
                      <a:lnTo>
                        <a:pt x="74" y="283"/>
                      </a:lnTo>
                      <a:lnTo>
                        <a:pt x="75" y="283"/>
                      </a:lnTo>
                      <a:lnTo>
                        <a:pt x="75" y="284"/>
                      </a:lnTo>
                      <a:close/>
                      <a:moveTo>
                        <a:pt x="73" y="282"/>
                      </a:moveTo>
                      <a:lnTo>
                        <a:pt x="73" y="282"/>
                      </a:lnTo>
                      <a:lnTo>
                        <a:pt x="73" y="283"/>
                      </a:lnTo>
                      <a:lnTo>
                        <a:pt x="73" y="282"/>
                      </a:lnTo>
                      <a:lnTo>
                        <a:pt x="73" y="283"/>
                      </a:lnTo>
                      <a:lnTo>
                        <a:pt x="73" y="283"/>
                      </a:lnTo>
                      <a:lnTo>
                        <a:pt x="73" y="282"/>
                      </a:lnTo>
                      <a:close/>
                      <a:moveTo>
                        <a:pt x="75" y="283"/>
                      </a:moveTo>
                      <a:lnTo>
                        <a:pt x="75" y="282"/>
                      </a:lnTo>
                      <a:lnTo>
                        <a:pt x="75" y="283"/>
                      </a:lnTo>
                      <a:lnTo>
                        <a:pt x="75" y="282"/>
                      </a:lnTo>
                      <a:lnTo>
                        <a:pt x="75" y="283"/>
                      </a:lnTo>
                      <a:close/>
                      <a:moveTo>
                        <a:pt x="72" y="282"/>
                      </a:moveTo>
                      <a:lnTo>
                        <a:pt x="71" y="282"/>
                      </a:lnTo>
                      <a:lnTo>
                        <a:pt x="72" y="282"/>
                      </a:lnTo>
                      <a:close/>
                      <a:moveTo>
                        <a:pt x="70" y="282"/>
                      </a:moveTo>
                      <a:lnTo>
                        <a:pt x="70" y="282"/>
                      </a:lnTo>
                      <a:lnTo>
                        <a:pt x="70" y="282"/>
                      </a:lnTo>
                      <a:close/>
                      <a:moveTo>
                        <a:pt x="72" y="282"/>
                      </a:moveTo>
                      <a:lnTo>
                        <a:pt x="72" y="282"/>
                      </a:lnTo>
                      <a:lnTo>
                        <a:pt x="72" y="282"/>
                      </a:lnTo>
                      <a:close/>
                      <a:moveTo>
                        <a:pt x="70" y="282"/>
                      </a:moveTo>
                      <a:lnTo>
                        <a:pt x="70" y="282"/>
                      </a:lnTo>
                      <a:lnTo>
                        <a:pt x="70" y="282"/>
                      </a:lnTo>
                      <a:close/>
                      <a:moveTo>
                        <a:pt x="71" y="282"/>
                      </a:moveTo>
                      <a:lnTo>
                        <a:pt x="71" y="282"/>
                      </a:lnTo>
                      <a:lnTo>
                        <a:pt x="72" y="282"/>
                      </a:lnTo>
                      <a:lnTo>
                        <a:pt x="71" y="282"/>
                      </a:lnTo>
                      <a:lnTo>
                        <a:pt x="71" y="282"/>
                      </a:lnTo>
                      <a:close/>
                      <a:moveTo>
                        <a:pt x="71" y="282"/>
                      </a:moveTo>
                      <a:lnTo>
                        <a:pt x="71" y="282"/>
                      </a:lnTo>
                      <a:lnTo>
                        <a:pt x="71" y="282"/>
                      </a:lnTo>
                      <a:close/>
                      <a:moveTo>
                        <a:pt x="72" y="282"/>
                      </a:moveTo>
                      <a:lnTo>
                        <a:pt x="72" y="282"/>
                      </a:lnTo>
                      <a:lnTo>
                        <a:pt x="72" y="282"/>
                      </a:lnTo>
                      <a:lnTo>
                        <a:pt x="72" y="282"/>
                      </a:lnTo>
                      <a:lnTo>
                        <a:pt x="72" y="282"/>
                      </a:lnTo>
                      <a:lnTo>
                        <a:pt x="72" y="282"/>
                      </a:lnTo>
                      <a:lnTo>
                        <a:pt x="72" y="282"/>
                      </a:lnTo>
                      <a:lnTo>
                        <a:pt x="71" y="282"/>
                      </a:lnTo>
                      <a:lnTo>
                        <a:pt x="72" y="282"/>
                      </a:lnTo>
                      <a:close/>
                      <a:moveTo>
                        <a:pt x="69" y="282"/>
                      </a:moveTo>
                      <a:lnTo>
                        <a:pt x="70" y="282"/>
                      </a:lnTo>
                      <a:lnTo>
                        <a:pt x="69" y="282"/>
                      </a:lnTo>
                      <a:close/>
                      <a:moveTo>
                        <a:pt x="70" y="282"/>
                      </a:moveTo>
                      <a:lnTo>
                        <a:pt x="70" y="282"/>
                      </a:lnTo>
                      <a:lnTo>
                        <a:pt x="70" y="282"/>
                      </a:lnTo>
                      <a:lnTo>
                        <a:pt x="70" y="281"/>
                      </a:lnTo>
                      <a:lnTo>
                        <a:pt x="70" y="282"/>
                      </a:lnTo>
                      <a:lnTo>
                        <a:pt x="70" y="281"/>
                      </a:lnTo>
                      <a:lnTo>
                        <a:pt x="70" y="281"/>
                      </a:lnTo>
                      <a:lnTo>
                        <a:pt x="69" y="281"/>
                      </a:lnTo>
                      <a:lnTo>
                        <a:pt x="70" y="281"/>
                      </a:lnTo>
                      <a:lnTo>
                        <a:pt x="69" y="281"/>
                      </a:lnTo>
                      <a:lnTo>
                        <a:pt x="70" y="281"/>
                      </a:lnTo>
                      <a:lnTo>
                        <a:pt x="69" y="281"/>
                      </a:lnTo>
                      <a:lnTo>
                        <a:pt x="70" y="281"/>
                      </a:lnTo>
                      <a:lnTo>
                        <a:pt x="70" y="281"/>
                      </a:lnTo>
                      <a:lnTo>
                        <a:pt x="70" y="282"/>
                      </a:lnTo>
                      <a:close/>
                      <a:moveTo>
                        <a:pt x="69" y="281"/>
                      </a:moveTo>
                      <a:lnTo>
                        <a:pt x="69" y="281"/>
                      </a:lnTo>
                      <a:lnTo>
                        <a:pt x="69" y="281"/>
                      </a:lnTo>
                      <a:close/>
                      <a:moveTo>
                        <a:pt x="70" y="281"/>
                      </a:moveTo>
                      <a:lnTo>
                        <a:pt x="70" y="281"/>
                      </a:lnTo>
                      <a:lnTo>
                        <a:pt x="70" y="281"/>
                      </a:lnTo>
                      <a:close/>
                      <a:moveTo>
                        <a:pt x="73" y="283"/>
                      </a:moveTo>
                      <a:lnTo>
                        <a:pt x="73" y="282"/>
                      </a:lnTo>
                      <a:lnTo>
                        <a:pt x="73" y="282"/>
                      </a:lnTo>
                      <a:lnTo>
                        <a:pt x="72" y="282"/>
                      </a:lnTo>
                      <a:lnTo>
                        <a:pt x="72" y="282"/>
                      </a:lnTo>
                      <a:lnTo>
                        <a:pt x="72" y="282"/>
                      </a:lnTo>
                      <a:lnTo>
                        <a:pt x="72" y="282"/>
                      </a:lnTo>
                      <a:lnTo>
                        <a:pt x="72" y="282"/>
                      </a:lnTo>
                      <a:lnTo>
                        <a:pt x="72" y="282"/>
                      </a:lnTo>
                      <a:lnTo>
                        <a:pt x="73" y="282"/>
                      </a:lnTo>
                      <a:lnTo>
                        <a:pt x="73" y="282"/>
                      </a:lnTo>
                      <a:lnTo>
                        <a:pt x="74" y="282"/>
                      </a:lnTo>
                      <a:lnTo>
                        <a:pt x="73" y="282"/>
                      </a:lnTo>
                      <a:lnTo>
                        <a:pt x="73" y="282"/>
                      </a:lnTo>
                      <a:lnTo>
                        <a:pt x="73" y="282"/>
                      </a:lnTo>
                      <a:lnTo>
                        <a:pt x="73" y="282"/>
                      </a:lnTo>
                      <a:lnTo>
                        <a:pt x="73" y="282"/>
                      </a:lnTo>
                      <a:lnTo>
                        <a:pt x="74" y="282"/>
                      </a:lnTo>
                      <a:lnTo>
                        <a:pt x="74" y="283"/>
                      </a:lnTo>
                      <a:lnTo>
                        <a:pt x="74" y="282"/>
                      </a:lnTo>
                      <a:lnTo>
                        <a:pt x="74" y="282"/>
                      </a:lnTo>
                      <a:lnTo>
                        <a:pt x="74" y="282"/>
                      </a:lnTo>
                      <a:lnTo>
                        <a:pt x="74" y="282"/>
                      </a:lnTo>
                      <a:lnTo>
                        <a:pt x="74" y="282"/>
                      </a:lnTo>
                      <a:lnTo>
                        <a:pt x="74" y="282"/>
                      </a:lnTo>
                      <a:lnTo>
                        <a:pt x="74" y="282"/>
                      </a:lnTo>
                      <a:lnTo>
                        <a:pt x="74" y="282"/>
                      </a:lnTo>
                      <a:lnTo>
                        <a:pt x="74" y="282"/>
                      </a:lnTo>
                      <a:lnTo>
                        <a:pt x="74" y="282"/>
                      </a:lnTo>
                      <a:lnTo>
                        <a:pt x="74" y="282"/>
                      </a:lnTo>
                      <a:lnTo>
                        <a:pt x="74" y="282"/>
                      </a:lnTo>
                      <a:lnTo>
                        <a:pt x="74" y="282"/>
                      </a:lnTo>
                      <a:lnTo>
                        <a:pt x="74" y="282"/>
                      </a:lnTo>
                      <a:lnTo>
                        <a:pt x="74" y="282"/>
                      </a:lnTo>
                      <a:lnTo>
                        <a:pt x="74" y="282"/>
                      </a:lnTo>
                      <a:lnTo>
                        <a:pt x="74" y="282"/>
                      </a:lnTo>
                      <a:lnTo>
                        <a:pt x="74" y="282"/>
                      </a:lnTo>
                      <a:lnTo>
                        <a:pt x="74" y="282"/>
                      </a:lnTo>
                      <a:lnTo>
                        <a:pt x="74" y="281"/>
                      </a:lnTo>
                      <a:lnTo>
                        <a:pt x="74" y="281"/>
                      </a:lnTo>
                      <a:lnTo>
                        <a:pt x="74" y="282"/>
                      </a:lnTo>
                      <a:lnTo>
                        <a:pt x="74" y="281"/>
                      </a:lnTo>
                      <a:lnTo>
                        <a:pt x="74" y="282"/>
                      </a:lnTo>
                      <a:lnTo>
                        <a:pt x="74" y="281"/>
                      </a:lnTo>
                      <a:lnTo>
                        <a:pt x="74" y="281"/>
                      </a:lnTo>
                      <a:lnTo>
                        <a:pt x="73" y="281"/>
                      </a:lnTo>
                      <a:lnTo>
                        <a:pt x="73" y="281"/>
                      </a:lnTo>
                      <a:lnTo>
                        <a:pt x="72" y="281"/>
                      </a:lnTo>
                      <a:lnTo>
                        <a:pt x="72" y="281"/>
                      </a:lnTo>
                      <a:lnTo>
                        <a:pt x="72" y="281"/>
                      </a:lnTo>
                      <a:lnTo>
                        <a:pt x="73" y="281"/>
                      </a:lnTo>
                      <a:lnTo>
                        <a:pt x="72" y="281"/>
                      </a:lnTo>
                      <a:lnTo>
                        <a:pt x="73" y="281"/>
                      </a:lnTo>
                      <a:lnTo>
                        <a:pt x="73" y="281"/>
                      </a:lnTo>
                      <a:lnTo>
                        <a:pt x="73" y="281"/>
                      </a:lnTo>
                      <a:lnTo>
                        <a:pt x="74" y="281"/>
                      </a:lnTo>
                      <a:lnTo>
                        <a:pt x="74" y="281"/>
                      </a:lnTo>
                      <a:lnTo>
                        <a:pt x="74" y="282"/>
                      </a:lnTo>
                      <a:lnTo>
                        <a:pt x="74" y="282"/>
                      </a:lnTo>
                      <a:lnTo>
                        <a:pt x="75" y="282"/>
                      </a:lnTo>
                      <a:lnTo>
                        <a:pt x="74" y="282"/>
                      </a:lnTo>
                      <a:lnTo>
                        <a:pt x="75" y="282"/>
                      </a:lnTo>
                      <a:lnTo>
                        <a:pt x="75" y="283"/>
                      </a:lnTo>
                      <a:lnTo>
                        <a:pt x="74" y="283"/>
                      </a:lnTo>
                      <a:lnTo>
                        <a:pt x="75" y="283"/>
                      </a:lnTo>
                      <a:lnTo>
                        <a:pt x="74" y="283"/>
                      </a:lnTo>
                      <a:lnTo>
                        <a:pt x="74" y="282"/>
                      </a:lnTo>
                      <a:lnTo>
                        <a:pt x="74" y="283"/>
                      </a:lnTo>
                      <a:lnTo>
                        <a:pt x="74" y="284"/>
                      </a:lnTo>
                      <a:lnTo>
                        <a:pt x="73" y="284"/>
                      </a:lnTo>
                      <a:lnTo>
                        <a:pt x="73" y="283"/>
                      </a:lnTo>
                      <a:close/>
                      <a:moveTo>
                        <a:pt x="73" y="282"/>
                      </a:moveTo>
                      <a:lnTo>
                        <a:pt x="72" y="282"/>
                      </a:lnTo>
                      <a:lnTo>
                        <a:pt x="73" y="282"/>
                      </a:lnTo>
                      <a:lnTo>
                        <a:pt x="72" y="282"/>
                      </a:lnTo>
                      <a:lnTo>
                        <a:pt x="73" y="282"/>
                      </a:lnTo>
                      <a:close/>
                      <a:moveTo>
                        <a:pt x="70" y="281"/>
                      </a:moveTo>
                      <a:lnTo>
                        <a:pt x="70" y="281"/>
                      </a:lnTo>
                      <a:lnTo>
                        <a:pt x="70" y="281"/>
                      </a:lnTo>
                      <a:close/>
                      <a:moveTo>
                        <a:pt x="71" y="281"/>
                      </a:moveTo>
                      <a:lnTo>
                        <a:pt x="71" y="281"/>
                      </a:lnTo>
                      <a:lnTo>
                        <a:pt x="71" y="281"/>
                      </a:lnTo>
                      <a:lnTo>
                        <a:pt x="72" y="281"/>
                      </a:lnTo>
                      <a:lnTo>
                        <a:pt x="71" y="281"/>
                      </a:lnTo>
                      <a:lnTo>
                        <a:pt x="71" y="281"/>
                      </a:lnTo>
                      <a:lnTo>
                        <a:pt x="71" y="281"/>
                      </a:lnTo>
                      <a:close/>
                      <a:moveTo>
                        <a:pt x="72" y="281"/>
                      </a:moveTo>
                      <a:lnTo>
                        <a:pt x="72" y="281"/>
                      </a:lnTo>
                      <a:lnTo>
                        <a:pt x="72" y="281"/>
                      </a:lnTo>
                      <a:lnTo>
                        <a:pt x="72" y="281"/>
                      </a:lnTo>
                      <a:lnTo>
                        <a:pt x="72" y="281"/>
                      </a:lnTo>
                      <a:close/>
                      <a:moveTo>
                        <a:pt x="70" y="281"/>
                      </a:moveTo>
                      <a:lnTo>
                        <a:pt x="70" y="281"/>
                      </a:lnTo>
                      <a:lnTo>
                        <a:pt x="70" y="281"/>
                      </a:lnTo>
                      <a:lnTo>
                        <a:pt x="71" y="281"/>
                      </a:lnTo>
                      <a:lnTo>
                        <a:pt x="71" y="282"/>
                      </a:lnTo>
                      <a:lnTo>
                        <a:pt x="70" y="282"/>
                      </a:lnTo>
                      <a:lnTo>
                        <a:pt x="70" y="281"/>
                      </a:lnTo>
                      <a:lnTo>
                        <a:pt x="70" y="282"/>
                      </a:lnTo>
                      <a:lnTo>
                        <a:pt x="70" y="281"/>
                      </a:lnTo>
                      <a:lnTo>
                        <a:pt x="70" y="282"/>
                      </a:lnTo>
                      <a:lnTo>
                        <a:pt x="71" y="282"/>
                      </a:lnTo>
                      <a:lnTo>
                        <a:pt x="71" y="281"/>
                      </a:lnTo>
                      <a:lnTo>
                        <a:pt x="71" y="282"/>
                      </a:lnTo>
                      <a:lnTo>
                        <a:pt x="71" y="281"/>
                      </a:lnTo>
                      <a:lnTo>
                        <a:pt x="71" y="282"/>
                      </a:lnTo>
                      <a:lnTo>
                        <a:pt x="71" y="281"/>
                      </a:lnTo>
                      <a:lnTo>
                        <a:pt x="71" y="282"/>
                      </a:lnTo>
                      <a:lnTo>
                        <a:pt x="71" y="281"/>
                      </a:lnTo>
                      <a:lnTo>
                        <a:pt x="71" y="282"/>
                      </a:lnTo>
                      <a:lnTo>
                        <a:pt x="71" y="281"/>
                      </a:lnTo>
                      <a:lnTo>
                        <a:pt x="70" y="281"/>
                      </a:lnTo>
                      <a:lnTo>
                        <a:pt x="70" y="281"/>
                      </a:lnTo>
                      <a:lnTo>
                        <a:pt x="70" y="281"/>
                      </a:lnTo>
                      <a:lnTo>
                        <a:pt x="70" y="281"/>
                      </a:lnTo>
                      <a:lnTo>
                        <a:pt x="70" y="281"/>
                      </a:lnTo>
                      <a:lnTo>
                        <a:pt x="69" y="281"/>
                      </a:lnTo>
                      <a:lnTo>
                        <a:pt x="70" y="281"/>
                      </a:lnTo>
                      <a:lnTo>
                        <a:pt x="70" y="281"/>
                      </a:lnTo>
                      <a:lnTo>
                        <a:pt x="70" y="281"/>
                      </a:lnTo>
                      <a:lnTo>
                        <a:pt x="70" y="281"/>
                      </a:lnTo>
                      <a:close/>
                      <a:moveTo>
                        <a:pt x="70" y="281"/>
                      </a:moveTo>
                      <a:lnTo>
                        <a:pt x="70" y="281"/>
                      </a:lnTo>
                      <a:lnTo>
                        <a:pt x="70" y="281"/>
                      </a:lnTo>
                      <a:lnTo>
                        <a:pt x="70" y="281"/>
                      </a:lnTo>
                      <a:lnTo>
                        <a:pt x="70" y="281"/>
                      </a:lnTo>
                      <a:lnTo>
                        <a:pt x="70" y="281"/>
                      </a:lnTo>
                      <a:lnTo>
                        <a:pt x="70" y="281"/>
                      </a:lnTo>
                      <a:close/>
                      <a:moveTo>
                        <a:pt x="72" y="281"/>
                      </a:moveTo>
                      <a:lnTo>
                        <a:pt x="71" y="281"/>
                      </a:lnTo>
                      <a:lnTo>
                        <a:pt x="72" y="281"/>
                      </a:lnTo>
                      <a:lnTo>
                        <a:pt x="72" y="281"/>
                      </a:lnTo>
                      <a:lnTo>
                        <a:pt x="71" y="281"/>
                      </a:lnTo>
                      <a:lnTo>
                        <a:pt x="71" y="281"/>
                      </a:lnTo>
                      <a:lnTo>
                        <a:pt x="72" y="281"/>
                      </a:lnTo>
                      <a:close/>
                      <a:moveTo>
                        <a:pt x="69" y="281"/>
                      </a:moveTo>
                      <a:lnTo>
                        <a:pt x="69" y="281"/>
                      </a:lnTo>
                      <a:lnTo>
                        <a:pt x="69" y="281"/>
                      </a:lnTo>
                      <a:close/>
                      <a:moveTo>
                        <a:pt x="70" y="281"/>
                      </a:moveTo>
                      <a:lnTo>
                        <a:pt x="71" y="281"/>
                      </a:lnTo>
                      <a:lnTo>
                        <a:pt x="70" y="281"/>
                      </a:lnTo>
                      <a:close/>
                      <a:moveTo>
                        <a:pt x="69" y="281"/>
                      </a:moveTo>
                      <a:lnTo>
                        <a:pt x="69" y="281"/>
                      </a:lnTo>
                      <a:lnTo>
                        <a:pt x="69" y="281"/>
                      </a:lnTo>
                      <a:lnTo>
                        <a:pt x="69" y="281"/>
                      </a:lnTo>
                      <a:lnTo>
                        <a:pt x="69" y="281"/>
                      </a:lnTo>
                      <a:lnTo>
                        <a:pt x="69" y="280"/>
                      </a:lnTo>
                      <a:lnTo>
                        <a:pt x="69" y="281"/>
                      </a:lnTo>
                      <a:close/>
                      <a:moveTo>
                        <a:pt x="70" y="281"/>
                      </a:moveTo>
                      <a:lnTo>
                        <a:pt x="70" y="281"/>
                      </a:lnTo>
                      <a:lnTo>
                        <a:pt x="70" y="280"/>
                      </a:lnTo>
                      <a:lnTo>
                        <a:pt x="70" y="281"/>
                      </a:lnTo>
                      <a:lnTo>
                        <a:pt x="70" y="281"/>
                      </a:lnTo>
                      <a:lnTo>
                        <a:pt x="70" y="281"/>
                      </a:lnTo>
                      <a:lnTo>
                        <a:pt x="70" y="280"/>
                      </a:lnTo>
                      <a:lnTo>
                        <a:pt x="70" y="280"/>
                      </a:lnTo>
                      <a:lnTo>
                        <a:pt x="70" y="281"/>
                      </a:lnTo>
                      <a:close/>
                      <a:moveTo>
                        <a:pt x="68" y="280"/>
                      </a:moveTo>
                      <a:lnTo>
                        <a:pt x="68" y="280"/>
                      </a:lnTo>
                      <a:lnTo>
                        <a:pt x="68" y="280"/>
                      </a:lnTo>
                      <a:lnTo>
                        <a:pt x="68" y="280"/>
                      </a:lnTo>
                      <a:lnTo>
                        <a:pt x="69" y="280"/>
                      </a:lnTo>
                      <a:lnTo>
                        <a:pt x="69" y="280"/>
                      </a:lnTo>
                      <a:lnTo>
                        <a:pt x="68" y="280"/>
                      </a:lnTo>
                      <a:lnTo>
                        <a:pt x="69" y="280"/>
                      </a:lnTo>
                      <a:lnTo>
                        <a:pt x="69" y="280"/>
                      </a:lnTo>
                      <a:lnTo>
                        <a:pt x="69" y="280"/>
                      </a:lnTo>
                      <a:lnTo>
                        <a:pt x="69" y="280"/>
                      </a:lnTo>
                      <a:lnTo>
                        <a:pt x="69" y="280"/>
                      </a:lnTo>
                      <a:lnTo>
                        <a:pt x="69" y="280"/>
                      </a:lnTo>
                      <a:lnTo>
                        <a:pt x="69" y="280"/>
                      </a:lnTo>
                      <a:lnTo>
                        <a:pt x="69" y="280"/>
                      </a:lnTo>
                      <a:lnTo>
                        <a:pt x="69" y="280"/>
                      </a:lnTo>
                      <a:lnTo>
                        <a:pt x="69" y="280"/>
                      </a:lnTo>
                      <a:lnTo>
                        <a:pt x="69" y="280"/>
                      </a:lnTo>
                      <a:lnTo>
                        <a:pt x="69" y="280"/>
                      </a:lnTo>
                      <a:lnTo>
                        <a:pt x="69" y="280"/>
                      </a:lnTo>
                      <a:lnTo>
                        <a:pt x="69" y="280"/>
                      </a:lnTo>
                      <a:lnTo>
                        <a:pt x="68" y="280"/>
                      </a:lnTo>
                      <a:lnTo>
                        <a:pt x="68" y="280"/>
                      </a:lnTo>
                      <a:lnTo>
                        <a:pt x="67" y="280"/>
                      </a:lnTo>
                      <a:lnTo>
                        <a:pt x="68" y="280"/>
                      </a:lnTo>
                      <a:close/>
                      <a:moveTo>
                        <a:pt x="69" y="280"/>
                      </a:moveTo>
                      <a:lnTo>
                        <a:pt x="70" y="280"/>
                      </a:lnTo>
                      <a:lnTo>
                        <a:pt x="70" y="280"/>
                      </a:lnTo>
                      <a:lnTo>
                        <a:pt x="70" y="281"/>
                      </a:lnTo>
                      <a:lnTo>
                        <a:pt x="70" y="280"/>
                      </a:lnTo>
                      <a:lnTo>
                        <a:pt x="70" y="281"/>
                      </a:lnTo>
                      <a:lnTo>
                        <a:pt x="69" y="281"/>
                      </a:lnTo>
                      <a:lnTo>
                        <a:pt x="69" y="280"/>
                      </a:lnTo>
                      <a:lnTo>
                        <a:pt x="70" y="280"/>
                      </a:lnTo>
                      <a:lnTo>
                        <a:pt x="69" y="280"/>
                      </a:lnTo>
                      <a:lnTo>
                        <a:pt x="70" y="280"/>
                      </a:lnTo>
                      <a:lnTo>
                        <a:pt x="69" y="280"/>
                      </a:lnTo>
                      <a:lnTo>
                        <a:pt x="69" y="280"/>
                      </a:lnTo>
                      <a:lnTo>
                        <a:pt x="69" y="280"/>
                      </a:lnTo>
                      <a:lnTo>
                        <a:pt x="69" y="280"/>
                      </a:lnTo>
                      <a:lnTo>
                        <a:pt x="69" y="280"/>
                      </a:lnTo>
                      <a:lnTo>
                        <a:pt x="69" y="279"/>
                      </a:lnTo>
                      <a:lnTo>
                        <a:pt x="69" y="280"/>
                      </a:lnTo>
                      <a:close/>
                      <a:moveTo>
                        <a:pt x="68" y="279"/>
                      </a:moveTo>
                      <a:lnTo>
                        <a:pt x="69" y="279"/>
                      </a:lnTo>
                      <a:lnTo>
                        <a:pt x="69" y="280"/>
                      </a:lnTo>
                      <a:lnTo>
                        <a:pt x="68" y="280"/>
                      </a:lnTo>
                      <a:lnTo>
                        <a:pt x="69" y="280"/>
                      </a:lnTo>
                      <a:lnTo>
                        <a:pt x="68" y="280"/>
                      </a:lnTo>
                      <a:lnTo>
                        <a:pt x="69" y="280"/>
                      </a:lnTo>
                      <a:lnTo>
                        <a:pt x="68" y="280"/>
                      </a:lnTo>
                      <a:lnTo>
                        <a:pt x="69" y="280"/>
                      </a:lnTo>
                      <a:lnTo>
                        <a:pt x="68" y="280"/>
                      </a:lnTo>
                      <a:lnTo>
                        <a:pt x="69" y="280"/>
                      </a:lnTo>
                      <a:lnTo>
                        <a:pt x="68" y="280"/>
                      </a:lnTo>
                      <a:lnTo>
                        <a:pt x="69" y="280"/>
                      </a:lnTo>
                      <a:lnTo>
                        <a:pt x="69" y="279"/>
                      </a:lnTo>
                      <a:lnTo>
                        <a:pt x="68" y="279"/>
                      </a:lnTo>
                      <a:close/>
                      <a:moveTo>
                        <a:pt x="69" y="278"/>
                      </a:moveTo>
                      <a:lnTo>
                        <a:pt x="69" y="279"/>
                      </a:lnTo>
                      <a:lnTo>
                        <a:pt x="69" y="278"/>
                      </a:lnTo>
                      <a:lnTo>
                        <a:pt x="69" y="279"/>
                      </a:lnTo>
                      <a:lnTo>
                        <a:pt x="69" y="278"/>
                      </a:lnTo>
                      <a:close/>
                      <a:moveTo>
                        <a:pt x="67" y="279"/>
                      </a:moveTo>
                      <a:lnTo>
                        <a:pt x="67" y="278"/>
                      </a:lnTo>
                      <a:lnTo>
                        <a:pt x="67" y="279"/>
                      </a:lnTo>
                      <a:lnTo>
                        <a:pt x="67" y="278"/>
                      </a:lnTo>
                      <a:lnTo>
                        <a:pt x="67" y="279"/>
                      </a:lnTo>
                      <a:close/>
                      <a:moveTo>
                        <a:pt x="67" y="278"/>
                      </a:moveTo>
                      <a:lnTo>
                        <a:pt x="67" y="278"/>
                      </a:lnTo>
                      <a:lnTo>
                        <a:pt x="68" y="278"/>
                      </a:lnTo>
                      <a:lnTo>
                        <a:pt x="68" y="279"/>
                      </a:lnTo>
                      <a:lnTo>
                        <a:pt x="68" y="278"/>
                      </a:lnTo>
                      <a:lnTo>
                        <a:pt x="67" y="278"/>
                      </a:lnTo>
                      <a:lnTo>
                        <a:pt x="68" y="278"/>
                      </a:lnTo>
                      <a:lnTo>
                        <a:pt x="67" y="278"/>
                      </a:lnTo>
                      <a:lnTo>
                        <a:pt x="67" y="279"/>
                      </a:lnTo>
                      <a:lnTo>
                        <a:pt x="67" y="278"/>
                      </a:lnTo>
                      <a:lnTo>
                        <a:pt x="67" y="279"/>
                      </a:lnTo>
                      <a:lnTo>
                        <a:pt x="67" y="278"/>
                      </a:lnTo>
                      <a:lnTo>
                        <a:pt x="67" y="278"/>
                      </a:lnTo>
                      <a:lnTo>
                        <a:pt x="67" y="278"/>
                      </a:lnTo>
                      <a:lnTo>
                        <a:pt x="67" y="278"/>
                      </a:lnTo>
                      <a:close/>
                      <a:moveTo>
                        <a:pt x="67" y="278"/>
                      </a:moveTo>
                      <a:lnTo>
                        <a:pt x="68" y="278"/>
                      </a:lnTo>
                      <a:lnTo>
                        <a:pt x="67" y="278"/>
                      </a:lnTo>
                      <a:close/>
                      <a:moveTo>
                        <a:pt x="67" y="278"/>
                      </a:moveTo>
                      <a:lnTo>
                        <a:pt x="68" y="278"/>
                      </a:lnTo>
                      <a:lnTo>
                        <a:pt x="67" y="278"/>
                      </a:lnTo>
                      <a:close/>
                      <a:moveTo>
                        <a:pt x="69" y="278"/>
                      </a:moveTo>
                      <a:lnTo>
                        <a:pt x="68" y="278"/>
                      </a:lnTo>
                      <a:lnTo>
                        <a:pt x="67" y="278"/>
                      </a:lnTo>
                      <a:lnTo>
                        <a:pt x="68" y="278"/>
                      </a:lnTo>
                      <a:lnTo>
                        <a:pt x="69" y="278"/>
                      </a:lnTo>
                      <a:close/>
                      <a:moveTo>
                        <a:pt x="67" y="278"/>
                      </a:moveTo>
                      <a:lnTo>
                        <a:pt x="67" y="277"/>
                      </a:lnTo>
                      <a:lnTo>
                        <a:pt x="67" y="278"/>
                      </a:lnTo>
                      <a:lnTo>
                        <a:pt x="67" y="277"/>
                      </a:lnTo>
                      <a:lnTo>
                        <a:pt x="67" y="278"/>
                      </a:lnTo>
                      <a:lnTo>
                        <a:pt x="68" y="278"/>
                      </a:lnTo>
                      <a:lnTo>
                        <a:pt x="67" y="278"/>
                      </a:lnTo>
                      <a:lnTo>
                        <a:pt x="67" y="278"/>
                      </a:lnTo>
                      <a:lnTo>
                        <a:pt x="67" y="277"/>
                      </a:lnTo>
                      <a:lnTo>
                        <a:pt x="67" y="278"/>
                      </a:lnTo>
                      <a:close/>
                      <a:moveTo>
                        <a:pt x="64" y="277"/>
                      </a:moveTo>
                      <a:lnTo>
                        <a:pt x="65" y="277"/>
                      </a:lnTo>
                      <a:lnTo>
                        <a:pt x="64" y="277"/>
                      </a:lnTo>
                      <a:close/>
                      <a:moveTo>
                        <a:pt x="65" y="277"/>
                      </a:moveTo>
                      <a:lnTo>
                        <a:pt x="65" y="277"/>
                      </a:lnTo>
                      <a:lnTo>
                        <a:pt x="65" y="277"/>
                      </a:lnTo>
                      <a:lnTo>
                        <a:pt x="65" y="277"/>
                      </a:lnTo>
                      <a:close/>
                      <a:moveTo>
                        <a:pt x="66" y="277"/>
                      </a:moveTo>
                      <a:lnTo>
                        <a:pt x="66" y="277"/>
                      </a:lnTo>
                      <a:lnTo>
                        <a:pt x="66" y="277"/>
                      </a:lnTo>
                      <a:lnTo>
                        <a:pt x="66" y="277"/>
                      </a:lnTo>
                      <a:lnTo>
                        <a:pt x="67" y="277"/>
                      </a:lnTo>
                      <a:lnTo>
                        <a:pt x="67" y="278"/>
                      </a:lnTo>
                      <a:lnTo>
                        <a:pt x="67" y="278"/>
                      </a:lnTo>
                      <a:lnTo>
                        <a:pt x="67" y="278"/>
                      </a:lnTo>
                      <a:lnTo>
                        <a:pt x="67" y="278"/>
                      </a:lnTo>
                      <a:lnTo>
                        <a:pt x="67" y="278"/>
                      </a:lnTo>
                      <a:lnTo>
                        <a:pt x="67" y="278"/>
                      </a:lnTo>
                      <a:lnTo>
                        <a:pt x="67" y="278"/>
                      </a:lnTo>
                      <a:lnTo>
                        <a:pt x="66" y="278"/>
                      </a:lnTo>
                      <a:lnTo>
                        <a:pt x="67" y="278"/>
                      </a:lnTo>
                      <a:lnTo>
                        <a:pt x="66" y="278"/>
                      </a:lnTo>
                      <a:lnTo>
                        <a:pt x="66" y="277"/>
                      </a:lnTo>
                      <a:lnTo>
                        <a:pt x="66" y="278"/>
                      </a:lnTo>
                      <a:lnTo>
                        <a:pt x="66" y="277"/>
                      </a:lnTo>
                      <a:lnTo>
                        <a:pt x="66" y="278"/>
                      </a:lnTo>
                      <a:lnTo>
                        <a:pt x="66" y="277"/>
                      </a:lnTo>
                      <a:lnTo>
                        <a:pt x="66" y="277"/>
                      </a:lnTo>
                      <a:lnTo>
                        <a:pt x="66" y="277"/>
                      </a:lnTo>
                      <a:lnTo>
                        <a:pt x="66" y="278"/>
                      </a:lnTo>
                      <a:lnTo>
                        <a:pt x="66" y="277"/>
                      </a:lnTo>
                      <a:lnTo>
                        <a:pt x="66" y="277"/>
                      </a:lnTo>
                      <a:lnTo>
                        <a:pt x="67" y="277"/>
                      </a:lnTo>
                      <a:lnTo>
                        <a:pt x="66" y="277"/>
                      </a:lnTo>
                      <a:lnTo>
                        <a:pt x="67" y="277"/>
                      </a:lnTo>
                      <a:lnTo>
                        <a:pt x="66" y="277"/>
                      </a:lnTo>
                      <a:lnTo>
                        <a:pt x="67" y="277"/>
                      </a:lnTo>
                      <a:lnTo>
                        <a:pt x="66" y="277"/>
                      </a:lnTo>
                      <a:lnTo>
                        <a:pt x="67" y="278"/>
                      </a:lnTo>
                      <a:lnTo>
                        <a:pt x="67" y="277"/>
                      </a:lnTo>
                      <a:lnTo>
                        <a:pt x="67" y="278"/>
                      </a:lnTo>
                      <a:lnTo>
                        <a:pt x="67" y="277"/>
                      </a:lnTo>
                      <a:lnTo>
                        <a:pt x="67" y="278"/>
                      </a:lnTo>
                      <a:lnTo>
                        <a:pt x="67" y="277"/>
                      </a:lnTo>
                      <a:lnTo>
                        <a:pt x="66" y="277"/>
                      </a:lnTo>
                      <a:lnTo>
                        <a:pt x="66" y="277"/>
                      </a:lnTo>
                      <a:lnTo>
                        <a:pt x="66" y="277"/>
                      </a:lnTo>
                      <a:lnTo>
                        <a:pt x="66" y="277"/>
                      </a:lnTo>
                      <a:lnTo>
                        <a:pt x="66" y="277"/>
                      </a:lnTo>
                      <a:lnTo>
                        <a:pt x="66" y="277"/>
                      </a:lnTo>
                      <a:lnTo>
                        <a:pt x="66" y="277"/>
                      </a:lnTo>
                      <a:lnTo>
                        <a:pt x="66" y="277"/>
                      </a:lnTo>
                      <a:lnTo>
                        <a:pt x="66" y="277"/>
                      </a:lnTo>
                      <a:close/>
                      <a:moveTo>
                        <a:pt x="63" y="276"/>
                      </a:moveTo>
                      <a:lnTo>
                        <a:pt x="63" y="275"/>
                      </a:lnTo>
                      <a:lnTo>
                        <a:pt x="63" y="276"/>
                      </a:lnTo>
                      <a:close/>
                      <a:moveTo>
                        <a:pt x="63" y="275"/>
                      </a:moveTo>
                      <a:lnTo>
                        <a:pt x="63" y="275"/>
                      </a:lnTo>
                      <a:lnTo>
                        <a:pt x="63" y="275"/>
                      </a:lnTo>
                      <a:close/>
                      <a:moveTo>
                        <a:pt x="65" y="275"/>
                      </a:moveTo>
                      <a:lnTo>
                        <a:pt x="65" y="275"/>
                      </a:lnTo>
                      <a:lnTo>
                        <a:pt x="65" y="275"/>
                      </a:lnTo>
                      <a:close/>
                      <a:moveTo>
                        <a:pt x="65" y="275"/>
                      </a:moveTo>
                      <a:lnTo>
                        <a:pt x="65" y="275"/>
                      </a:lnTo>
                      <a:lnTo>
                        <a:pt x="65" y="275"/>
                      </a:lnTo>
                      <a:lnTo>
                        <a:pt x="65" y="275"/>
                      </a:lnTo>
                      <a:lnTo>
                        <a:pt x="65" y="275"/>
                      </a:lnTo>
                      <a:lnTo>
                        <a:pt x="65" y="275"/>
                      </a:lnTo>
                      <a:lnTo>
                        <a:pt x="65" y="275"/>
                      </a:lnTo>
                      <a:lnTo>
                        <a:pt x="65" y="275"/>
                      </a:lnTo>
                      <a:lnTo>
                        <a:pt x="65" y="275"/>
                      </a:lnTo>
                      <a:lnTo>
                        <a:pt x="66" y="275"/>
                      </a:lnTo>
                      <a:lnTo>
                        <a:pt x="66" y="276"/>
                      </a:lnTo>
                      <a:lnTo>
                        <a:pt x="65" y="275"/>
                      </a:lnTo>
                      <a:lnTo>
                        <a:pt x="65" y="275"/>
                      </a:lnTo>
                      <a:lnTo>
                        <a:pt x="65" y="275"/>
                      </a:lnTo>
                      <a:close/>
                      <a:moveTo>
                        <a:pt x="62" y="273"/>
                      </a:moveTo>
                      <a:lnTo>
                        <a:pt x="61" y="273"/>
                      </a:lnTo>
                      <a:lnTo>
                        <a:pt x="62" y="273"/>
                      </a:lnTo>
                      <a:lnTo>
                        <a:pt x="61" y="273"/>
                      </a:lnTo>
                      <a:lnTo>
                        <a:pt x="62" y="273"/>
                      </a:lnTo>
                      <a:close/>
                      <a:moveTo>
                        <a:pt x="63" y="273"/>
                      </a:moveTo>
                      <a:lnTo>
                        <a:pt x="63" y="273"/>
                      </a:lnTo>
                      <a:lnTo>
                        <a:pt x="62" y="273"/>
                      </a:lnTo>
                      <a:lnTo>
                        <a:pt x="63" y="273"/>
                      </a:lnTo>
                      <a:lnTo>
                        <a:pt x="63" y="273"/>
                      </a:lnTo>
                      <a:close/>
                      <a:moveTo>
                        <a:pt x="63" y="273"/>
                      </a:moveTo>
                      <a:lnTo>
                        <a:pt x="63" y="273"/>
                      </a:lnTo>
                      <a:lnTo>
                        <a:pt x="63" y="273"/>
                      </a:lnTo>
                      <a:lnTo>
                        <a:pt x="63" y="273"/>
                      </a:lnTo>
                      <a:lnTo>
                        <a:pt x="63" y="273"/>
                      </a:lnTo>
                      <a:lnTo>
                        <a:pt x="63" y="273"/>
                      </a:lnTo>
                      <a:lnTo>
                        <a:pt x="63" y="273"/>
                      </a:lnTo>
                      <a:lnTo>
                        <a:pt x="63" y="273"/>
                      </a:lnTo>
                      <a:lnTo>
                        <a:pt x="63" y="273"/>
                      </a:lnTo>
                      <a:lnTo>
                        <a:pt x="63" y="273"/>
                      </a:lnTo>
                      <a:lnTo>
                        <a:pt x="63" y="273"/>
                      </a:lnTo>
                      <a:close/>
                      <a:moveTo>
                        <a:pt x="62" y="273"/>
                      </a:moveTo>
                      <a:lnTo>
                        <a:pt x="62" y="272"/>
                      </a:lnTo>
                      <a:lnTo>
                        <a:pt x="62" y="273"/>
                      </a:lnTo>
                      <a:lnTo>
                        <a:pt x="62" y="273"/>
                      </a:lnTo>
                      <a:lnTo>
                        <a:pt x="62" y="273"/>
                      </a:lnTo>
                      <a:lnTo>
                        <a:pt x="62" y="273"/>
                      </a:lnTo>
                      <a:lnTo>
                        <a:pt x="62" y="273"/>
                      </a:lnTo>
                      <a:close/>
                      <a:moveTo>
                        <a:pt x="59" y="271"/>
                      </a:moveTo>
                      <a:lnTo>
                        <a:pt x="59" y="272"/>
                      </a:lnTo>
                      <a:lnTo>
                        <a:pt x="59" y="271"/>
                      </a:lnTo>
                      <a:close/>
                      <a:moveTo>
                        <a:pt x="61" y="271"/>
                      </a:moveTo>
                      <a:lnTo>
                        <a:pt x="61" y="272"/>
                      </a:lnTo>
                      <a:lnTo>
                        <a:pt x="62" y="272"/>
                      </a:lnTo>
                      <a:lnTo>
                        <a:pt x="61" y="272"/>
                      </a:lnTo>
                      <a:lnTo>
                        <a:pt x="61" y="271"/>
                      </a:lnTo>
                      <a:close/>
                      <a:moveTo>
                        <a:pt x="62" y="271"/>
                      </a:moveTo>
                      <a:lnTo>
                        <a:pt x="62" y="271"/>
                      </a:lnTo>
                      <a:lnTo>
                        <a:pt x="62" y="271"/>
                      </a:lnTo>
                      <a:lnTo>
                        <a:pt x="62" y="271"/>
                      </a:lnTo>
                      <a:lnTo>
                        <a:pt x="62" y="271"/>
                      </a:lnTo>
                      <a:lnTo>
                        <a:pt x="62" y="271"/>
                      </a:lnTo>
                      <a:lnTo>
                        <a:pt x="62" y="271"/>
                      </a:lnTo>
                      <a:lnTo>
                        <a:pt x="62" y="271"/>
                      </a:lnTo>
                      <a:lnTo>
                        <a:pt x="62" y="271"/>
                      </a:lnTo>
                      <a:lnTo>
                        <a:pt x="62" y="271"/>
                      </a:lnTo>
                      <a:close/>
                      <a:moveTo>
                        <a:pt x="62" y="271"/>
                      </a:moveTo>
                      <a:lnTo>
                        <a:pt x="62" y="271"/>
                      </a:lnTo>
                      <a:lnTo>
                        <a:pt x="62" y="271"/>
                      </a:lnTo>
                      <a:lnTo>
                        <a:pt x="62" y="271"/>
                      </a:lnTo>
                      <a:lnTo>
                        <a:pt x="62" y="271"/>
                      </a:lnTo>
                      <a:close/>
                      <a:moveTo>
                        <a:pt x="58" y="271"/>
                      </a:moveTo>
                      <a:lnTo>
                        <a:pt x="58" y="271"/>
                      </a:lnTo>
                      <a:lnTo>
                        <a:pt x="58" y="271"/>
                      </a:lnTo>
                      <a:close/>
                      <a:moveTo>
                        <a:pt x="62" y="271"/>
                      </a:moveTo>
                      <a:lnTo>
                        <a:pt x="63" y="271"/>
                      </a:lnTo>
                      <a:lnTo>
                        <a:pt x="62" y="271"/>
                      </a:lnTo>
                      <a:close/>
                      <a:moveTo>
                        <a:pt x="64" y="272"/>
                      </a:moveTo>
                      <a:lnTo>
                        <a:pt x="65" y="272"/>
                      </a:lnTo>
                      <a:lnTo>
                        <a:pt x="65" y="271"/>
                      </a:lnTo>
                      <a:lnTo>
                        <a:pt x="65" y="271"/>
                      </a:lnTo>
                      <a:lnTo>
                        <a:pt x="65" y="271"/>
                      </a:lnTo>
                      <a:lnTo>
                        <a:pt x="65" y="271"/>
                      </a:lnTo>
                      <a:lnTo>
                        <a:pt x="65" y="271"/>
                      </a:lnTo>
                      <a:lnTo>
                        <a:pt x="65" y="272"/>
                      </a:lnTo>
                      <a:lnTo>
                        <a:pt x="65" y="273"/>
                      </a:lnTo>
                      <a:lnTo>
                        <a:pt x="64" y="273"/>
                      </a:lnTo>
                      <a:lnTo>
                        <a:pt x="63" y="273"/>
                      </a:lnTo>
                      <a:lnTo>
                        <a:pt x="63" y="273"/>
                      </a:lnTo>
                      <a:lnTo>
                        <a:pt x="63" y="273"/>
                      </a:lnTo>
                      <a:lnTo>
                        <a:pt x="63" y="272"/>
                      </a:lnTo>
                      <a:lnTo>
                        <a:pt x="63" y="271"/>
                      </a:lnTo>
                      <a:lnTo>
                        <a:pt x="64" y="271"/>
                      </a:lnTo>
                      <a:lnTo>
                        <a:pt x="64" y="271"/>
                      </a:lnTo>
                      <a:lnTo>
                        <a:pt x="64" y="271"/>
                      </a:lnTo>
                      <a:lnTo>
                        <a:pt x="63" y="271"/>
                      </a:lnTo>
                      <a:lnTo>
                        <a:pt x="64" y="271"/>
                      </a:lnTo>
                      <a:lnTo>
                        <a:pt x="63" y="271"/>
                      </a:lnTo>
                      <a:lnTo>
                        <a:pt x="63" y="272"/>
                      </a:lnTo>
                      <a:lnTo>
                        <a:pt x="64" y="272"/>
                      </a:lnTo>
                      <a:close/>
                      <a:moveTo>
                        <a:pt x="62" y="271"/>
                      </a:moveTo>
                      <a:lnTo>
                        <a:pt x="62" y="271"/>
                      </a:lnTo>
                      <a:lnTo>
                        <a:pt x="62" y="271"/>
                      </a:lnTo>
                      <a:lnTo>
                        <a:pt x="62" y="271"/>
                      </a:lnTo>
                      <a:lnTo>
                        <a:pt x="62" y="271"/>
                      </a:lnTo>
                      <a:lnTo>
                        <a:pt x="63" y="271"/>
                      </a:lnTo>
                      <a:lnTo>
                        <a:pt x="62" y="271"/>
                      </a:lnTo>
                      <a:lnTo>
                        <a:pt x="62" y="271"/>
                      </a:lnTo>
                      <a:lnTo>
                        <a:pt x="62" y="271"/>
                      </a:lnTo>
                      <a:lnTo>
                        <a:pt x="62" y="271"/>
                      </a:lnTo>
                      <a:lnTo>
                        <a:pt x="62" y="271"/>
                      </a:lnTo>
                      <a:close/>
                      <a:moveTo>
                        <a:pt x="65" y="271"/>
                      </a:moveTo>
                      <a:lnTo>
                        <a:pt x="65" y="270"/>
                      </a:lnTo>
                      <a:lnTo>
                        <a:pt x="65" y="271"/>
                      </a:lnTo>
                      <a:close/>
                      <a:moveTo>
                        <a:pt x="65" y="270"/>
                      </a:moveTo>
                      <a:lnTo>
                        <a:pt x="65" y="270"/>
                      </a:lnTo>
                      <a:lnTo>
                        <a:pt x="64" y="270"/>
                      </a:lnTo>
                      <a:lnTo>
                        <a:pt x="65" y="270"/>
                      </a:lnTo>
                      <a:lnTo>
                        <a:pt x="64" y="270"/>
                      </a:lnTo>
                      <a:lnTo>
                        <a:pt x="64" y="271"/>
                      </a:lnTo>
                      <a:lnTo>
                        <a:pt x="65" y="271"/>
                      </a:lnTo>
                      <a:lnTo>
                        <a:pt x="64" y="271"/>
                      </a:lnTo>
                      <a:lnTo>
                        <a:pt x="64" y="270"/>
                      </a:lnTo>
                      <a:lnTo>
                        <a:pt x="64" y="270"/>
                      </a:lnTo>
                      <a:lnTo>
                        <a:pt x="64" y="270"/>
                      </a:lnTo>
                      <a:lnTo>
                        <a:pt x="64" y="270"/>
                      </a:lnTo>
                      <a:lnTo>
                        <a:pt x="64" y="270"/>
                      </a:lnTo>
                      <a:lnTo>
                        <a:pt x="65" y="270"/>
                      </a:lnTo>
                      <a:close/>
                      <a:moveTo>
                        <a:pt x="64" y="269"/>
                      </a:moveTo>
                      <a:lnTo>
                        <a:pt x="64" y="270"/>
                      </a:lnTo>
                      <a:lnTo>
                        <a:pt x="64" y="269"/>
                      </a:lnTo>
                      <a:lnTo>
                        <a:pt x="64" y="270"/>
                      </a:lnTo>
                      <a:lnTo>
                        <a:pt x="64" y="269"/>
                      </a:lnTo>
                      <a:close/>
                      <a:moveTo>
                        <a:pt x="59" y="269"/>
                      </a:moveTo>
                      <a:lnTo>
                        <a:pt x="59" y="269"/>
                      </a:lnTo>
                      <a:lnTo>
                        <a:pt x="59" y="269"/>
                      </a:lnTo>
                      <a:lnTo>
                        <a:pt x="59" y="269"/>
                      </a:lnTo>
                      <a:lnTo>
                        <a:pt x="59" y="269"/>
                      </a:lnTo>
                      <a:lnTo>
                        <a:pt x="59" y="269"/>
                      </a:lnTo>
                      <a:close/>
                      <a:moveTo>
                        <a:pt x="65" y="269"/>
                      </a:moveTo>
                      <a:lnTo>
                        <a:pt x="65" y="269"/>
                      </a:lnTo>
                      <a:lnTo>
                        <a:pt x="65" y="269"/>
                      </a:lnTo>
                      <a:close/>
                      <a:moveTo>
                        <a:pt x="63" y="269"/>
                      </a:moveTo>
                      <a:lnTo>
                        <a:pt x="63" y="269"/>
                      </a:lnTo>
                      <a:lnTo>
                        <a:pt x="63" y="269"/>
                      </a:lnTo>
                      <a:close/>
                      <a:moveTo>
                        <a:pt x="63" y="269"/>
                      </a:moveTo>
                      <a:lnTo>
                        <a:pt x="63" y="269"/>
                      </a:lnTo>
                      <a:lnTo>
                        <a:pt x="63" y="269"/>
                      </a:lnTo>
                      <a:lnTo>
                        <a:pt x="63" y="269"/>
                      </a:lnTo>
                      <a:lnTo>
                        <a:pt x="63" y="269"/>
                      </a:lnTo>
                      <a:lnTo>
                        <a:pt x="63" y="269"/>
                      </a:lnTo>
                      <a:lnTo>
                        <a:pt x="63" y="269"/>
                      </a:lnTo>
                      <a:lnTo>
                        <a:pt x="63" y="269"/>
                      </a:lnTo>
                      <a:lnTo>
                        <a:pt x="63" y="269"/>
                      </a:lnTo>
                      <a:lnTo>
                        <a:pt x="63" y="269"/>
                      </a:lnTo>
                      <a:lnTo>
                        <a:pt x="63" y="269"/>
                      </a:lnTo>
                      <a:lnTo>
                        <a:pt x="63" y="269"/>
                      </a:lnTo>
                      <a:lnTo>
                        <a:pt x="63" y="269"/>
                      </a:lnTo>
                      <a:lnTo>
                        <a:pt x="63" y="269"/>
                      </a:lnTo>
                      <a:lnTo>
                        <a:pt x="63" y="269"/>
                      </a:lnTo>
                      <a:lnTo>
                        <a:pt x="63" y="269"/>
                      </a:lnTo>
                      <a:lnTo>
                        <a:pt x="63" y="269"/>
                      </a:lnTo>
                      <a:lnTo>
                        <a:pt x="63" y="270"/>
                      </a:lnTo>
                      <a:lnTo>
                        <a:pt x="63" y="269"/>
                      </a:lnTo>
                      <a:lnTo>
                        <a:pt x="63" y="269"/>
                      </a:lnTo>
                      <a:close/>
                      <a:moveTo>
                        <a:pt x="65" y="269"/>
                      </a:moveTo>
                      <a:lnTo>
                        <a:pt x="65" y="269"/>
                      </a:lnTo>
                      <a:lnTo>
                        <a:pt x="64" y="269"/>
                      </a:lnTo>
                      <a:lnTo>
                        <a:pt x="63" y="269"/>
                      </a:lnTo>
                      <a:lnTo>
                        <a:pt x="63" y="270"/>
                      </a:lnTo>
                      <a:lnTo>
                        <a:pt x="63" y="270"/>
                      </a:lnTo>
                      <a:lnTo>
                        <a:pt x="64" y="270"/>
                      </a:lnTo>
                      <a:lnTo>
                        <a:pt x="64" y="270"/>
                      </a:lnTo>
                      <a:lnTo>
                        <a:pt x="63" y="270"/>
                      </a:lnTo>
                      <a:lnTo>
                        <a:pt x="64" y="270"/>
                      </a:lnTo>
                      <a:lnTo>
                        <a:pt x="64" y="269"/>
                      </a:lnTo>
                      <a:lnTo>
                        <a:pt x="64" y="270"/>
                      </a:lnTo>
                      <a:lnTo>
                        <a:pt x="65" y="270"/>
                      </a:lnTo>
                      <a:lnTo>
                        <a:pt x="65" y="269"/>
                      </a:lnTo>
                      <a:lnTo>
                        <a:pt x="64" y="270"/>
                      </a:lnTo>
                      <a:lnTo>
                        <a:pt x="64" y="269"/>
                      </a:lnTo>
                      <a:lnTo>
                        <a:pt x="65" y="269"/>
                      </a:lnTo>
                      <a:lnTo>
                        <a:pt x="64" y="269"/>
                      </a:lnTo>
                      <a:lnTo>
                        <a:pt x="65" y="269"/>
                      </a:lnTo>
                      <a:lnTo>
                        <a:pt x="64" y="269"/>
                      </a:lnTo>
                      <a:lnTo>
                        <a:pt x="65" y="269"/>
                      </a:lnTo>
                      <a:lnTo>
                        <a:pt x="64" y="269"/>
                      </a:lnTo>
                      <a:lnTo>
                        <a:pt x="65" y="269"/>
                      </a:lnTo>
                      <a:lnTo>
                        <a:pt x="64" y="269"/>
                      </a:lnTo>
                      <a:lnTo>
                        <a:pt x="65" y="269"/>
                      </a:lnTo>
                      <a:lnTo>
                        <a:pt x="65" y="270"/>
                      </a:lnTo>
                      <a:lnTo>
                        <a:pt x="65" y="269"/>
                      </a:lnTo>
                      <a:lnTo>
                        <a:pt x="65" y="270"/>
                      </a:lnTo>
                      <a:lnTo>
                        <a:pt x="64" y="270"/>
                      </a:lnTo>
                      <a:lnTo>
                        <a:pt x="65" y="270"/>
                      </a:lnTo>
                      <a:lnTo>
                        <a:pt x="64" y="270"/>
                      </a:lnTo>
                      <a:lnTo>
                        <a:pt x="64" y="270"/>
                      </a:lnTo>
                      <a:lnTo>
                        <a:pt x="63" y="270"/>
                      </a:lnTo>
                      <a:lnTo>
                        <a:pt x="63" y="271"/>
                      </a:lnTo>
                      <a:lnTo>
                        <a:pt x="63" y="270"/>
                      </a:lnTo>
                      <a:lnTo>
                        <a:pt x="63" y="271"/>
                      </a:lnTo>
                      <a:lnTo>
                        <a:pt x="63" y="271"/>
                      </a:lnTo>
                      <a:lnTo>
                        <a:pt x="63" y="271"/>
                      </a:lnTo>
                      <a:lnTo>
                        <a:pt x="63" y="271"/>
                      </a:lnTo>
                      <a:lnTo>
                        <a:pt x="63" y="271"/>
                      </a:lnTo>
                      <a:lnTo>
                        <a:pt x="63" y="271"/>
                      </a:lnTo>
                      <a:lnTo>
                        <a:pt x="62" y="271"/>
                      </a:lnTo>
                      <a:lnTo>
                        <a:pt x="63" y="271"/>
                      </a:lnTo>
                      <a:lnTo>
                        <a:pt x="62" y="272"/>
                      </a:lnTo>
                      <a:lnTo>
                        <a:pt x="63" y="272"/>
                      </a:lnTo>
                      <a:lnTo>
                        <a:pt x="62" y="272"/>
                      </a:lnTo>
                      <a:lnTo>
                        <a:pt x="63" y="272"/>
                      </a:lnTo>
                      <a:lnTo>
                        <a:pt x="63" y="271"/>
                      </a:lnTo>
                      <a:lnTo>
                        <a:pt x="63" y="272"/>
                      </a:lnTo>
                      <a:lnTo>
                        <a:pt x="62" y="272"/>
                      </a:lnTo>
                      <a:lnTo>
                        <a:pt x="63" y="272"/>
                      </a:lnTo>
                      <a:lnTo>
                        <a:pt x="62" y="272"/>
                      </a:lnTo>
                      <a:lnTo>
                        <a:pt x="63" y="272"/>
                      </a:lnTo>
                      <a:lnTo>
                        <a:pt x="62" y="272"/>
                      </a:lnTo>
                      <a:lnTo>
                        <a:pt x="63" y="272"/>
                      </a:lnTo>
                      <a:lnTo>
                        <a:pt x="63" y="271"/>
                      </a:lnTo>
                      <a:lnTo>
                        <a:pt x="63" y="271"/>
                      </a:lnTo>
                      <a:lnTo>
                        <a:pt x="63" y="271"/>
                      </a:lnTo>
                      <a:lnTo>
                        <a:pt x="63" y="271"/>
                      </a:lnTo>
                      <a:lnTo>
                        <a:pt x="63" y="271"/>
                      </a:lnTo>
                      <a:lnTo>
                        <a:pt x="63" y="271"/>
                      </a:lnTo>
                      <a:lnTo>
                        <a:pt x="63" y="271"/>
                      </a:lnTo>
                      <a:lnTo>
                        <a:pt x="64" y="271"/>
                      </a:lnTo>
                      <a:lnTo>
                        <a:pt x="63" y="271"/>
                      </a:lnTo>
                      <a:lnTo>
                        <a:pt x="64" y="271"/>
                      </a:lnTo>
                      <a:lnTo>
                        <a:pt x="63" y="271"/>
                      </a:lnTo>
                      <a:lnTo>
                        <a:pt x="64" y="271"/>
                      </a:lnTo>
                      <a:lnTo>
                        <a:pt x="64" y="270"/>
                      </a:lnTo>
                      <a:lnTo>
                        <a:pt x="64" y="271"/>
                      </a:lnTo>
                      <a:lnTo>
                        <a:pt x="64" y="271"/>
                      </a:lnTo>
                      <a:lnTo>
                        <a:pt x="63" y="271"/>
                      </a:lnTo>
                      <a:lnTo>
                        <a:pt x="63" y="272"/>
                      </a:lnTo>
                      <a:lnTo>
                        <a:pt x="63" y="273"/>
                      </a:lnTo>
                      <a:lnTo>
                        <a:pt x="63" y="273"/>
                      </a:lnTo>
                      <a:lnTo>
                        <a:pt x="63" y="272"/>
                      </a:lnTo>
                      <a:lnTo>
                        <a:pt x="62" y="272"/>
                      </a:lnTo>
                      <a:lnTo>
                        <a:pt x="62" y="271"/>
                      </a:lnTo>
                      <a:lnTo>
                        <a:pt x="63" y="271"/>
                      </a:lnTo>
                      <a:lnTo>
                        <a:pt x="63" y="271"/>
                      </a:lnTo>
                      <a:lnTo>
                        <a:pt x="63" y="271"/>
                      </a:lnTo>
                      <a:lnTo>
                        <a:pt x="63" y="271"/>
                      </a:lnTo>
                      <a:lnTo>
                        <a:pt x="63" y="270"/>
                      </a:lnTo>
                      <a:lnTo>
                        <a:pt x="63" y="270"/>
                      </a:lnTo>
                      <a:lnTo>
                        <a:pt x="63" y="270"/>
                      </a:lnTo>
                      <a:lnTo>
                        <a:pt x="63" y="270"/>
                      </a:lnTo>
                      <a:lnTo>
                        <a:pt x="63" y="270"/>
                      </a:lnTo>
                      <a:lnTo>
                        <a:pt x="63" y="270"/>
                      </a:lnTo>
                      <a:lnTo>
                        <a:pt x="63" y="269"/>
                      </a:lnTo>
                      <a:lnTo>
                        <a:pt x="63" y="269"/>
                      </a:lnTo>
                      <a:lnTo>
                        <a:pt x="64" y="269"/>
                      </a:lnTo>
                      <a:lnTo>
                        <a:pt x="64" y="269"/>
                      </a:lnTo>
                      <a:lnTo>
                        <a:pt x="64" y="269"/>
                      </a:lnTo>
                      <a:lnTo>
                        <a:pt x="65" y="269"/>
                      </a:lnTo>
                      <a:lnTo>
                        <a:pt x="64" y="269"/>
                      </a:lnTo>
                      <a:lnTo>
                        <a:pt x="64" y="269"/>
                      </a:lnTo>
                      <a:lnTo>
                        <a:pt x="63" y="269"/>
                      </a:lnTo>
                      <a:lnTo>
                        <a:pt x="64" y="269"/>
                      </a:lnTo>
                      <a:lnTo>
                        <a:pt x="64" y="269"/>
                      </a:lnTo>
                      <a:lnTo>
                        <a:pt x="64" y="269"/>
                      </a:lnTo>
                      <a:lnTo>
                        <a:pt x="64" y="269"/>
                      </a:lnTo>
                      <a:lnTo>
                        <a:pt x="64" y="269"/>
                      </a:lnTo>
                      <a:lnTo>
                        <a:pt x="65" y="269"/>
                      </a:lnTo>
                      <a:lnTo>
                        <a:pt x="64" y="269"/>
                      </a:lnTo>
                      <a:lnTo>
                        <a:pt x="65" y="269"/>
                      </a:lnTo>
                      <a:lnTo>
                        <a:pt x="65" y="269"/>
                      </a:lnTo>
                      <a:close/>
                      <a:moveTo>
                        <a:pt x="63" y="272"/>
                      </a:moveTo>
                      <a:lnTo>
                        <a:pt x="63" y="272"/>
                      </a:lnTo>
                      <a:lnTo>
                        <a:pt x="63" y="272"/>
                      </a:lnTo>
                      <a:lnTo>
                        <a:pt x="63" y="272"/>
                      </a:lnTo>
                      <a:lnTo>
                        <a:pt x="63" y="272"/>
                      </a:lnTo>
                      <a:lnTo>
                        <a:pt x="63" y="272"/>
                      </a:lnTo>
                      <a:lnTo>
                        <a:pt x="63" y="272"/>
                      </a:lnTo>
                      <a:close/>
                      <a:moveTo>
                        <a:pt x="64" y="270"/>
                      </a:moveTo>
                      <a:lnTo>
                        <a:pt x="64" y="269"/>
                      </a:lnTo>
                      <a:lnTo>
                        <a:pt x="65" y="269"/>
                      </a:lnTo>
                      <a:lnTo>
                        <a:pt x="64" y="269"/>
                      </a:lnTo>
                      <a:lnTo>
                        <a:pt x="64" y="270"/>
                      </a:lnTo>
                      <a:close/>
                      <a:moveTo>
                        <a:pt x="64" y="268"/>
                      </a:moveTo>
                      <a:lnTo>
                        <a:pt x="65" y="268"/>
                      </a:lnTo>
                      <a:lnTo>
                        <a:pt x="64" y="268"/>
                      </a:lnTo>
                      <a:lnTo>
                        <a:pt x="65" y="268"/>
                      </a:lnTo>
                      <a:lnTo>
                        <a:pt x="64" y="268"/>
                      </a:lnTo>
                      <a:close/>
                      <a:moveTo>
                        <a:pt x="64" y="268"/>
                      </a:moveTo>
                      <a:lnTo>
                        <a:pt x="63" y="268"/>
                      </a:lnTo>
                      <a:lnTo>
                        <a:pt x="63" y="269"/>
                      </a:lnTo>
                      <a:lnTo>
                        <a:pt x="64" y="269"/>
                      </a:lnTo>
                      <a:lnTo>
                        <a:pt x="63" y="269"/>
                      </a:lnTo>
                      <a:lnTo>
                        <a:pt x="64" y="269"/>
                      </a:lnTo>
                      <a:lnTo>
                        <a:pt x="63" y="269"/>
                      </a:lnTo>
                      <a:lnTo>
                        <a:pt x="64" y="269"/>
                      </a:lnTo>
                      <a:lnTo>
                        <a:pt x="64" y="268"/>
                      </a:lnTo>
                      <a:lnTo>
                        <a:pt x="65" y="268"/>
                      </a:lnTo>
                      <a:lnTo>
                        <a:pt x="64" y="268"/>
                      </a:lnTo>
                      <a:lnTo>
                        <a:pt x="65" y="268"/>
                      </a:lnTo>
                      <a:lnTo>
                        <a:pt x="65" y="269"/>
                      </a:lnTo>
                      <a:lnTo>
                        <a:pt x="64" y="269"/>
                      </a:lnTo>
                      <a:lnTo>
                        <a:pt x="63" y="269"/>
                      </a:lnTo>
                      <a:lnTo>
                        <a:pt x="63" y="268"/>
                      </a:lnTo>
                      <a:lnTo>
                        <a:pt x="64" y="268"/>
                      </a:lnTo>
                      <a:close/>
                      <a:moveTo>
                        <a:pt x="66" y="268"/>
                      </a:moveTo>
                      <a:lnTo>
                        <a:pt x="65" y="268"/>
                      </a:lnTo>
                      <a:lnTo>
                        <a:pt x="66" y="268"/>
                      </a:lnTo>
                      <a:lnTo>
                        <a:pt x="65" y="268"/>
                      </a:lnTo>
                      <a:lnTo>
                        <a:pt x="66" y="268"/>
                      </a:lnTo>
                      <a:lnTo>
                        <a:pt x="65" y="268"/>
                      </a:lnTo>
                      <a:lnTo>
                        <a:pt x="65" y="269"/>
                      </a:lnTo>
                      <a:lnTo>
                        <a:pt x="65" y="268"/>
                      </a:lnTo>
                      <a:lnTo>
                        <a:pt x="65" y="269"/>
                      </a:lnTo>
                      <a:lnTo>
                        <a:pt x="65" y="268"/>
                      </a:lnTo>
                      <a:lnTo>
                        <a:pt x="65" y="269"/>
                      </a:lnTo>
                      <a:lnTo>
                        <a:pt x="65" y="268"/>
                      </a:lnTo>
                      <a:lnTo>
                        <a:pt x="65" y="269"/>
                      </a:lnTo>
                      <a:lnTo>
                        <a:pt x="65" y="269"/>
                      </a:lnTo>
                      <a:lnTo>
                        <a:pt x="65" y="269"/>
                      </a:lnTo>
                      <a:lnTo>
                        <a:pt x="65" y="269"/>
                      </a:lnTo>
                      <a:lnTo>
                        <a:pt x="65" y="268"/>
                      </a:lnTo>
                      <a:lnTo>
                        <a:pt x="65" y="268"/>
                      </a:lnTo>
                      <a:lnTo>
                        <a:pt x="65" y="268"/>
                      </a:lnTo>
                      <a:lnTo>
                        <a:pt x="65" y="268"/>
                      </a:lnTo>
                      <a:lnTo>
                        <a:pt x="65" y="268"/>
                      </a:lnTo>
                      <a:lnTo>
                        <a:pt x="65" y="268"/>
                      </a:lnTo>
                      <a:lnTo>
                        <a:pt x="65" y="269"/>
                      </a:lnTo>
                      <a:lnTo>
                        <a:pt x="65" y="268"/>
                      </a:lnTo>
                      <a:lnTo>
                        <a:pt x="66" y="268"/>
                      </a:lnTo>
                      <a:lnTo>
                        <a:pt x="65" y="268"/>
                      </a:lnTo>
                      <a:lnTo>
                        <a:pt x="66" y="268"/>
                      </a:lnTo>
                      <a:close/>
                      <a:moveTo>
                        <a:pt x="65" y="268"/>
                      </a:moveTo>
                      <a:lnTo>
                        <a:pt x="66" y="268"/>
                      </a:lnTo>
                      <a:lnTo>
                        <a:pt x="65" y="268"/>
                      </a:lnTo>
                      <a:close/>
                      <a:moveTo>
                        <a:pt x="65" y="267"/>
                      </a:moveTo>
                      <a:lnTo>
                        <a:pt x="65" y="268"/>
                      </a:lnTo>
                      <a:lnTo>
                        <a:pt x="65" y="267"/>
                      </a:lnTo>
                      <a:lnTo>
                        <a:pt x="65" y="268"/>
                      </a:lnTo>
                      <a:lnTo>
                        <a:pt x="65" y="268"/>
                      </a:lnTo>
                      <a:lnTo>
                        <a:pt x="65" y="268"/>
                      </a:lnTo>
                      <a:lnTo>
                        <a:pt x="65" y="268"/>
                      </a:lnTo>
                      <a:lnTo>
                        <a:pt x="65" y="267"/>
                      </a:lnTo>
                      <a:lnTo>
                        <a:pt x="65" y="267"/>
                      </a:lnTo>
                      <a:lnTo>
                        <a:pt x="65" y="267"/>
                      </a:lnTo>
                      <a:lnTo>
                        <a:pt x="65" y="267"/>
                      </a:lnTo>
                      <a:lnTo>
                        <a:pt x="65" y="268"/>
                      </a:lnTo>
                      <a:lnTo>
                        <a:pt x="65" y="267"/>
                      </a:lnTo>
                      <a:lnTo>
                        <a:pt x="65" y="268"/>
                      </a:lnTo>
                      <a:lnTo>
                        <a:pt x="65" y="267"/>
                      </a:lnTo>
                      <a:lnTo>
                        <a:pt x="65" y="268"/>
                      </a:lnTo>
                      <a:lnTo>
                        <a:pt x="65" y="267"/>
                      </a:lnTo>
                      <a:close/>
                      <a:moveTo>
                        <a:pt x="67" y="267"/>
                      </a:moveTo>
                      <a:lnTo>
                        <a:pt x="67" y="268"/>
                      </a:lnTo>
                      <a:lnTo>
                        <a:pt x="67" y="268"/>
                      </a:lnTo>
                      <a:lnTo>
                        <a:pt x="67" y="268"/>
                      </a:lnTo>
                      <a:lnTo>
                        <a:pt x="67" y="268"/>
                      </a:lnTo>
                      <a:lnTo>
                        <a:pt x="67" y="268"/>
                      </a:lnTo>
                      <a:lnTo>
                        <a:pt x="67" y="267"/>
                      </a:lnTo>
                      <a:lnTo>
                        <a:pt x="67" y="267"/>
                      </a:lnTo>
                      <a:lnTo>
                        <a:pt x="67" y="268"/>
                      </a:lnTo>
                      <a:lnTo>
                        <a:pt x="67" y="268"/>
                      </a:lnTo>
                      <a:lnTo>
                        <a:pt x="67" y="269"/>
                      </a:lnTo>
                      <a:lnTo>
                        <a:pt x="66" y="269"/>
                      </a:lnTo>
                      <a:lnTo>
                        <a:pt x="66" y="269"/>
                      </a:lnTo>
                      <a:lnTo>
                        <a:pt x="66" y="269"/>
                      </a:lnTo>
                      <a:lnTo>
                        <a:pt x="67" y="269"/>
                      </a:lnTo>
                      <a:lnTo>
                        <a:pt x="66" y="269"/>
                      </a:lnTo>
                      <a:lnTo>
                        <a:pt x="67" y="269"/>
                      </a:lnTo>
                      <a:lnTo>
                        <a:pt x="66" y="269"/>
                      </a:lnTo>
                      <a:lnTo>
                        <a:pt x="66" y="269"/>
                      </a:lnTo>
                      <a:lnTo>
                        <a:pt x="65" y="269"/>
                      </a:lnTo>
                      <a:lnTo>
                        <a:pt x="66" y="269"/>
                      </a:lnTo>
                      <a:lnTo>
                        <a:pt x="65" y="270"/>
                      </a:lnTo>
                      <a:lnTo>
                        <a:pt x="65" y="270"/>
                      </a:lnTo>
                      <a:lnTo>
                        <a:pt x="65" y="270"/>
                      </a:lnTo>
                      <a:lnTo>
                        <a:pt x="64" y="270"/>
                      </a:lnTo>
                      <a:lnTo>
                        <a:pt x="65" y="270"/>
                      </a:lnTo>
                      <a:lnTo>
                        <a:pt x="65" y="270"/>
                      </a:lnTo>
                      <a:lnTo>
                        <a:pt x="64" y="270"/>
                      </a:lnTo>
                      <a:lnTo>
                        <a:pt x="65" y="270"/>
                      </a:lnTo>
                      <a:lnTo>
                        <a:pt x="65" y="269"/>
                      </a:lnTo>
                      <a:lnTo>
                        <a:pt x="65" y="269"/>
                      </a:lnTo>
                      <a:lnTo>
                        <a:pt x="65" y="269"/>
                      </a:lnTo>
                      <a:lnTo>
                        <a:pt x="65" y="269"/>
                      </a:lnTo>
                      <a:lnTo>
                        <a:pt x="65" y="269"/>
                      </a:lnTo>
                      <a:lnTo>
                        <a:pt x="65" y="269"/>
                      </a:lnTo>
                      <a:lnTo>
                        <a:pt x="65" y="269"/>
                      </a:lnTo>
                      <a:lnTo>
                        <a:pt x="65" y="269"/>
                      </a:lnTo>
                      <a:lnTo>
                        <a:pt x="65" y="269"/>
                      </a:lnTo>
                      <a:lnTo>
                        <a:pt x="66" y="268"/>
                      </a:lnTo>
                      <a:lnTo>
                        <a:pt x="66" y="269"/>
                      </a:lnTo>
                      <a:lnTo>
                        <a:pt x="65" y="269"/>
                      </a:lnTo>
                      <a:lnTo>
                        <a:pt x="66" y="269"/>
                      </a:lnTo>
                      <a:lnTo>
                        <a:pt x="65" y="269"/>
                      </a:lnTo>
                      <a:lnTo>
                        <a:pt x="66" y="269"/>
                      </a:lnTo>
                      <a:lnTo>
                        <a:pt x="65" y="269"/>
                      </a:lnTo>
                      <a:lnTo>
                        <a:pt x="66" y="269"/>
                      </a:lnTo>
                      <a:lnTo>
                        <a:pt x="65" y="269"/>
                      </a:lnTo>
                      <a:lnTo>
                        <a:pt x="65" y="269"/>
                      </a:lnTo>
                      <a:lnTo>
                        <a:pt x="65" y="269"/>
                      </a:lnTo>
                      <a:lnTo>
                        <a:pt x="65" y="269"/>
                      </a:lnTo>
                      <a:lnTo>
                        <a:pt x="65" y="269"/>
                      </a:lnTo>
                      <a:lnTo>
                        <a:pt x="65" y="270"/>
                      </a:lnTo>
                      <a:lnTo>
                        <a:pt x="65" y="269"/>
                      </a:lnTo>
                      <a:lnTo>
                        <a:pt x="65" y="270"/>
                      </a:lnTo>
                      <a:lnTo>
                        <a:pt x="65" y="270"/>
                      </a:lnTo>
                      <a:lnTo>
                        <a:pt x="65" y="269"/>
                      </a:lnTo>
                      <a:lnTo>
                        <a:pt x="65" y="270"/>
                      </a:lnTo>
                      <a:lnTo>
                        <a:pt x="65" y="269"/>
                      </a:lnTo>
                      <a:lnTo>
                        <a:pt x="66" y="269"/>
                      </a:lnTo>
                      <a:lnTo>
                        <a:pt x="66" y="269"/>
                      </a:lnTo>
                      <a:lnTo>
                        <a:pt x="66" y="269"/>
                      </a:lnTo>
                      <a:lnTo>
                        <a:pt x="66" y="269"/>
                      </a:lnTo>
                      <a:lnTo>
                        <a:pt x="66" y="269"/>
                      </a:lnTo>
                      <a:lnTo>
                        <a:pt x="66" y="269"/>
                      </a:lnTo>
                      <a:lnTo>
                        <a:pt x="66" y="269"/>
                      </a:lnTo>
                      <a:lnTo>
                        <a:pt x="66" y="268"/>
                      </a:lnTo>
                      <a:lnTo>
                        <a:pt x="67" y="269"/>
                      </a:lnTo>
                      <a:lnTo>
                        <a:pt x="67" y="268"/>
                      </a:lnTo>
                      <a:lnTo>
                        <a:pt x="66" y="268"/>
                      </a:lnTo>
                      <a:lnTo>
                        <a:pt x="66" y="267"/>
                      </a:lnTo>
                      <a:lnTo>
                        <a:pt x="67" y="268"/>
                      </a:lnTo>
                      <a:lnTo>
                        <a:pt x="66" y="267"/>
                      </a:lnTo>
                      <a:lnTo>
                        <a:pt x="67" y="267"/>
                      </a:lnTo>
                      <a:lnTo>
                        <a:pt x="66" y="267"/>
                      </a:lnTo>
                      <a:lnTo>
                        <a:pt x="67" y="267"/>
                      </a:lnTo>
                      <a:close/>
                      <a:moveTo>
                        <a:pt x="65" y="269"/>
                      </a:moveTo>
                      <a:lnTo>
                        <a:pt x="65" y="269"/>
                      </a:lnTo>
                      <a:lnTo>
                        <a:pt x="65" y="269"/>
                      </a:lnTo>
                      <a:close/>
                      <a:moveTo>
                        <a:pt x="65" y="270"/>
                      </a:moveTo>
                      <a:lnTo>
                        <a:pt x="65" y="270"/>
                      </a:lnTo>
                      <a:lnTo>
                        <a:pt x="65" y="270"/>
                      </a:lnTo>
                      <a:close/>
                      <a:moveTo>
                        <a:pt x="66" y="267"/>
                      </a:moveTo>
                      <a:lnTo>
                        <a:pt x="66" y="268"/>
                      </a:lnTo>
                      <a:lnTo>
                        <a:pt x="66" y="267"/>
                      </a:lnTo>
                      <a:lnTo>
                        <a:pt x="66" y="267"/>
                      </a:lnTo>
                      <a:lnTo>
                        <a:pt x="66" y="267"/>
                      </a:lnTo>
                      <a:lnTo>
                        <a:pt x="66" y="267"/>
                      </a:lnTo>
                      <a:lnTo>
                        <a:pt x="66" y="267"/>
                      </a:lnTo>
                      <a:close/>
                      <a:moveTo>
                        <a:pt x="66" y="267"/>
                      </a:moveTo>
                      <a:lnTo>
                        <a:pt x="66" y="267"/>
                      </a:lnTo>
                      <a:lnTo>
                        <a:pt x="66" y="267"/>
                      </a:lnTo>
                      <a:lnTo>
                        <a:pt x="66" y="267"/>
                      </a:lnTo>
                      <a:lnTo>
                        <a:pt x="66" y="268"/>
                      </a:lnTo>
                      <a:lnTo>
                        <a:pt x="66" y="268"/>
                      </a:lnTo>
                      <a:lnTo>
                        <a:pt x="66" y="267"/>
                      </a:lnTo>
                      <a:lnTo>
                        <a:pt x="66" y="268"/>
                      </a:lnTo>
                      <a:lnTo>
                        <a:pt x="66" y="268"/>
                      </a:lnTo>
                      <a:lnTo>
                        <a:pt x="66" y="268"/>
                      </a:lnTo>
                      <a:lnTo>
                        <a:pt x="66" y="268"/>
                      </a:lnTo>
                      <a:lnTo>
                        <a:pt x="66" y="268"/>
                      </a:lnTo>
                      <a:lnTo>
                        <a:pt x="66" y="268"/>
                      </a:lnTo>
                      <a:lnTo>
                        <a:pt x="66" y="267"/>
                      </a:lnTo>
                      <a:lnTo>
                        <a:pt x="65" y="267"/>
                      </a:lnTo>
                      <a:lnTo>
                        <a:pt x="66" y="267"/>
                      </a:lnTo>
                      <a:lnTo>
                        <a:pt x="65" y="267"/>
                      </a:lnTo>
                      <a:lnTo>
                        <a:pt x="66" y="267"/>
                      </a:lnTo>
                      <a:lnTo>
                        <a:pt x="66" y="267"/>
                      </a:lnTo>
                      <a:lnTo>
                        <a:pt x="66" y="267"/>
                      </a:lnTo>
                      <a:lnTo>
                        <a:pt x="66" y="267"/>
                      </a:lnTo>
                      <a:lnTo>
                        <a:pt x="66" y="267"/>
                      </a:lnTo>
                      <a:lnTo>
                        <a:pt x="66" y="267"/>
                      </a:lnTo>
                      <a:close/>
                      <a:moveTo>
                        <a:pt x="66" y="267"/>
                      </a:moveTo>
                      <a:lnTo>
                        <a:pt x="65" y="267"/>
                      </a:lnTo>
                      <a:lnTo>
                        <a:pt x="66" y="267"/>
                      </a:lnTo>
                      <a:lnTo>
                        <a:pt x="65" y="267"/>
                      </a:lnTo>
                      <a:lnTo>
                        <a:pt x="65" y="267"/>
                      </a:lnTo>
                      <a:lnTo>
                        <a:pt x="66" y="267"/>
                      </a:lnTo>
                      <a:lnTo>
                        <a:pt x="65" y="267"/>
                      </a:lnTo>
                      <a:lnTo>
                        <a:pt x="66" y="267"/>
                      </a:lnTo>
                      <a:close/>
                      <a:moveTo>
                        <a:pt x="65" y="267"/>
                      </a:moveTo>
                      <a:lnTo>
                        <a:pt x="64" y="267"/>
                      </a:lnTo>
                      <a:lnTo>
                        <a:pt x="65" y="267"/>
                      </a:lnTo>
                      <a:close/>
                      <a:moveTo>
                        <a:pt x="64" y="267"/>
                      </a:moveTo>
                      <a:lnTo>
                        <a:pt x="65" y="267"/>
                      </a:lnTo>
                      <a:lnTo>
                        <a:pt x="64" y="267"/>
                      </a:lnTo>
                      <a:lnTo>
                        <a:pt x="65" y="267"/>
                      </a:lnTo>
                      <a:lnTo>
                        <a:pt x="64" y="267"/>
                      </a:lnTo>
                      <a:close/>
                      <a:moveTo>
                        <a:pt x="64" y="267"/>
                      </a:moveTo>
                      <a:lnTo>
                        <a:pt x="64" y="267"/>
                      </a:lnTo>
                      <a:lnTo>
                        <a:pt x="65" y="267"/>
                      </a:lnTo>
                      <a:lnTo>
                        <a:pt x="64" y="267"/>
                      </a:lnTo>
                      <a:lnTo>
                        <a:pt x="65" y="267"/>
                      </a:lnTo>
                      <a:lnTo>
                        <a:pt x="65" y="267"/>
                      </a:lnTo>
                      <a:lnTo>
                        <a:pt x="65" y="267"/>
                      </a:lnTo>
                      <a:lnTo>
                        <a:pt x="65" y="267"/>
                      </a:lnTo>
                      <a:lnTo>
                        <a:pt x="65" y="267"/>
                      </a:lnTo>
                      <a:lnTo>
                        <a:pt x="65" y="267"/>
                      </a:lnTo>
                      <a:lnTo>
                        <a:pt x="65" y="267"/>
                      </a:lnTo>
                      <a:lnTo>
                        <a:pt x="65" y="267"/>
                      </a:lnTo>
                      <a:lnTo>
                        <a:pt x="65" y="267"/>
                      </a:lnTo>
                      <a:lnTo>
                        <a:pt x="65" y="267"/>
                      </a:lnTo>
                      <a:lnTo>
                        <a:pt x="65" y="267"/>
                      </a:lnTo>
                      <a:lnTo>
                        <a:pt x="65" y="267"/>
                      </a:lnTo>
                      <a:lnTo>
                        <a:pt x="65" y="267"/>
                      </a:lnTo>
                      <a:lnTo>
                        <a:pt x="65" y="267"/>
                      </a:lnTo>
                      <a:lnTo>
                        <a:pt x="65" y="267"/>
                      </a:lnTo>
                      <a:lnTo>
                        <a:pt x="64" y="268"/>
                      </a:lnTo>
                      <a:lnTo>
                        <a:pt x="63" y="268"/>
                      </a:lnTo>
                      <a:lnTo>
                        <a:pt x="63" y="267"/>
                      </a:lnTo>
                      <a:lnTo>
                        <a:pt x="64" y="267"/>
                      </a:lnTo>
                      <a:lnTo>
                        <a:pt x="63" y="267"/>
                      </a:lnTo>
                      <a:lnTo>
                        <a:pt x="63" y="267"/>
                      </a:lnTo>
                      <a:lnTo>
                        <a:pt x="64" y="267"/>
                      </a:lnTo>
                      <a:lnTo>
                        <a:pt x="64" y="267"/>
                      </a:lnTo>
                      <a:lnTo>
                        <a:pt x="64" y="267"/>
                      </a:lnTo>
                      <a:lnTo>
                        <a:pt x="64" y="267"/>
                      </a:lnTo>
                      <a:lnTo>
                        <a:pt x="64" y="267"/>
                      </a:lnTo>
                      <a:close/>
                      <a:moveTo>
                        <a:pt x="65" y="267"/>
                      </a:moveTo>
                      <a:lnTo>
                        <a:pt x="65" y="266"/>
                      </a:lnTo>
                      <a:lnTo>
                        <a:pt x="65" y="267"/>
                      </a:lnTo>
                      <a:close/>
                      <a:moveTo>
                        <a:pt x="66" y="266"/>
                      </a:moveTo>
                      <a:lnTo>
                        <a:pt x="66" y="266"/>
                      </a:lnTo>
                      <a:lnTo>
                        <a:pt x="66" y="266"/>
                      </a:lnTo>
                      <a:close/>
                      <a:moveTo>
                        <a:pt x="65" y="266"/>
                      </a:moveTo>
                      <a:lnTo>
                        <a:pt x="65" y="267"/>
                      </a:lnTo>
                      <a:lnTo>
                        <a:pt x="66" y="267"/>
                      </a:lnTo>
                      <a:lnTo>
                        <a:pt x="65" y="267"/>
                      </a:lnTo>
                      <a:lnTo>
                        <a:pt x="66" y="267"/>
                      </a:lnTo>
                      <a:lnTo>
                        <a:pt x="65" y="267"/>
                      </a:lnTo>
                      <a:lnTo>
                        <a:pt x="66" y="267"/>
                      </a:lnTo>
                      <a:lnTo>
                        <a:pt x="66" y="266"/>
                      </a:lnTo>
                      <a:lnTo>
                        <a:pt x="65" y="266"/>
                      </a:lnTo>
                      <a:lnTo>
                        <a:pt x="66" y="266"/>
                      </a:lnTo>
                      <a:lnTo>
                        <a:pt x="65" y="266"/>
                      </a:lnTo>
                      <a:lnTo>
                        <a:pt x="65" y="266"/>
                      </a:lnTo>
                      <a:lnTo>
                        <a:pt x="66" y="266"/>
                      </a:lnTo>
                      <a:lnTo>
                        <a:pt x="65" y="266"/>
                      </a:lnTo>
                      <a:lnTo>
                        <a:pt x="66" y="266"/>
                      </a:lnTo>
                      <a:lnTo>
                        <a:pt x="66" y="266"/>
                      </a:lnTo>
                      <a:lnTo>
                        <a:pt x="66" y="266"/>
                      </a:lnTo>
                      <a:lnTo>
                        <a:pt x="65" y="266"/>
                      </a:lnTo>
                      <a:lnTo>
                        <a:pt x="66" y="266"/>
                      </a:lnTo>
                      <a:lnTo>
                        <a:pt x="66" y="267"/>
                      </a:lnTo>
                      <a:lnTo>
                        <a:pt x="65" y="267"/>
                      </a:lnTo>
                      <a:lnTo>
                        <a:pt x="65" y="266"/>
                      </a:lnTo>
                      <a:close/>
                      <a:moveTo>
                        <a:pt x="65" y="266"/>
                      </a:moveTo>
                      <a:lnTo>
                        <a:pt x="64" y="266"/>
                      </a:lnTo>
                      <a:lnTo>
                        <a:pt x="65" y="266"/>
                      </a:lnTo>
                      <a:lnTo>
                        <a:pt x="65" y="266"/>
                      </a:lnTo>
                      <a:lnTo>
                        <a:pt x="65" y="266"/>
                      </a:lnTo>
                      <a:close/>
                      <a:moveTo>
                        <a:pt x="69" y="266"/>
                      </a:moveTo>
                      <a:lnTo>
                        <a:pt x="68" y="266"/>
                      </a:lnTo>
                      <a:lnTo>
                        <a:pt x="69" y="266"/>
                      </a:lnTo>
                      <a:close/>
                      <a:moveTo>
                        <a:pt x="66" y="266"/>
                      </a:moveTo>
                      <a:lnTo>
                        <a:pt x="66" y="266"/>
                      </a:lnTo>
                      <a:lnTo>
                        <a:pt x="66" y="266"/>
                      </a:lnTo>
                      <a:close/>
                      <a:moveTo>
                        <a:pt x="69" y="265"/>
                      </a:moveTo>
                      <a:lnTo>
                        <a:pt x="69" y="266"/>
                      </a:lnTo>
                      <a:lnTo>
                        <a:pt x="69" y="265"/>
                      </a:lnTo>
                      <a:lnTo>
                        <a:pt x="69" y="266"/>
                      </a:lnTo>
                      <a:lnTo>
                        <a:pt x="69" y="265"/>
                      </a:lnTo>
                      <a:close/>
                      <a:moveTo>
                        <a:pt x="69" y="265"/>
                      </a:moveTo>
                      <a:lnTo>
                        <a:pt x="69" y="265"/>
                      </a:lnTo>
                      <a:lnTo>
                        <a:pt x="69" y="265"/>
                      </a:lnTo>
                      <a:close/>
                      <a:moveTo>
                        <a:pt x="65" y="266"/>
                      </a:moveTo>
                      <a:lnTo>
                        <a:pt x="65" y="265"/>
                      </a:lnTo>
                      <a:lnTo>
                        <a:pt x="65" y="266"/>
                      </a:lnTo>
                      <a:close/>
                      <a:moveTo>
                        <a:pt x="66" y="265"/>
                      </a:moveTo>
                      <a:lnTo>
                        <a:pt x="66" y="265"/>
                      </a:lnTo>
                      <a:lnTo>
                        <a:pt x="66" y="266"/>
                      </a:lnTo>
                      <a:lnTo>
                        <a:pt x="66" y="265"/>
                      </a:lnTo>
                      <a:lnTo>
                        <a:pt x="66" y="265"/>
                      </a:lnTo>
                      <a:lnTo>
                        <a:pt x="66" y="265"/>
                      </a:lnTo>
                      <a:lnTo>
                        <a:pt x="66" y="265"/>
                      </a:lnTo>
                      <a:close/>
                      <a:moveTo>
                        <a:pt x="67" y="265"/>
                      </a:moveTo>
                      <a:lnTo>
                        <a:pt x="67" y="266"/>
                      </a:lnTo>
                      <a:lnTo>
                        <a:pt x="66" y="266"/>
                      </a:lnTo>
                      <a:lnTo>
                        <a:pt x="66" y="266"/>
                      </a:lnTo>
                      <a:lnTo>
                        <a:pt x="66" y="266"/>
                      </a:lnTo>
                      <a:lnTo>
                        <a:pt x="66" y="266"/>
                      </a:lnTo>
                      <a:lnTo>
                        <a:pt x="66" y="267"/>
                      </a:lnTo>
                      <a:lnTo>
                        <a:pt x="66" y="266"/>
                      </a:lnTo>
                      <a:lnTo>
                        <a:pt x="66" y="267"/>
                      </a:lnTo>
                      <a:lnTo>
                        <a:pt x="66" y="266"/>
                      </a:lnTo>
                      <a:lnTo>
                        <a:pt x="66" y="267"/>
                      </a:lnTo>
                      <a:lnTo>
                        <a:pt x="66" y="266"/>
                      </a:lnTo>
                      <a:lnTo>
                        <a:pt x="66" y="266"/>
                      </a:lnTo>
                      <a:lnTo>
                        <a:pt x="66" y="266"/>
                      </a:lnTo>
                      <a:lnTo>
                        <a:pt x="66" y="266"/>
                      </a:lnTo>
                      <a:lnTo>
                        <a:pt x="66" y="266"/>
                      </a:lnTo>
                      <a:lnTo>
                        <a:pt x="66" y="266"/>
                      </a:lnTo>
                      <a:lnTo>
                        <a:pt x="66" y="266"/>
                      </a:lnTo>
                      <a:lnTo>
                        <a:pt x="66" y="266"/>
                      </a:lnTo>
                      <a:lnTo>
                        <a:pt x="66" y="266"/>
                      </a:lnTo>
                      <a:lnTo>
                        <a:pt x="66" y="266"/>
                      </a:lnTo>
                      <a:lnTo>
                        <a:pt x="66" y="266"/>
                      </a:lnTo>
                      <a:lnTo>
                        <a:pt x="66" y="266"/>
                      </a:lnTo>
                      <a:lnTo>
                        <a:pt x="66" y="266"/>
                      </a:lnTo>
                      <a:lnTo>
                        <a:pt x="66" y="266"/>
                      </a:lnTo>
                      <a:lnTo>
                        <a:pt x="66" y="266"/>
                      </a:lnTo>
                      <a:lnTo>
                        <a:pt x="66" y="266"/>
                      </a:lnTo>
                      <a:lnTo>
                        <a:pt x="66" y="266"/>
                      </a:lnTo>
                      <a:lnTo>
                        <a:pt x="67" y="266"/>
                      </a:lnTo>
                      <a:lnTo>
                        <a:pt x="67" y="265"/>
                      </a:lnTo>
                      <a:lnTo>
                        <a:pt x="67" y="266"/>
                      </a:lnTo>
                      <a:lnTo>
                        <a:pt x="67" y="265"/>
                      </a:lnTo>
                      <a:close/>
                      <a:moveTo>
                        <a:pt x="65" y="265"/>
                      </a:moveTo>
                      <a:lnTo>
                        <a:pt x="65" y="266"/>
                      </a:lnTo>
                      <a:lnTo>
                        <a:pt x="65" y="265"/>
                      </a:lnTo>
                      <a:lnTo>
                        <a:pt x="65" y="266"/>
                      </a:lnTo>
                      <a:lnTo>
                        <a:pt x="65" y="265"/>
                      </a:lnTo>
                      <a:lnTo>
                        <a:pt x="65" y="266"/>
                      </a:lnTo>
                      <a:lnTo>
                        <a:pt x="66" y="266"/>
                      </a:lnTo>
                      <a:lnTo>
                        <a:pt x="65" y="266"/>
                      </a:lnTo>
                      <a:lnTo>
                        <a:pt x="65" y="265"/>
                      </a:lnTo>
                      <a:lnTo>
                        <a:pt x="66" y="265"/>
                      </a:lnTo>
                      <a:lnTo>
                        <a:pt x="66" y="266"/>
                      </a:lnTo>
                      <a:lnTo>
                        <a:pt x="66" y="265"/>
                      </a:lnTo>
                      <a:lnTo>
                        <a:pt x="66" y="266"/>
                      </a:lnTo>
                      <a:lnTo>
                        <a:pt x="66" y="265"/>
                      </a:lnTo>
                      <a:lnTo>
                        <a:pt x="66" y="266"/>
                      </a:lnTo>
                      <a:lnTo>
                        <a:pt x="65" y="266"/>
                      </a:lnTo>
                      <a:lnTo>
                        <a:pt x="66" y="266"/>
                      </a:lnTo>
                      <a:lnTo>
                        <a:pt x="65" y="266"/>
                      </a:lnTo>
                      <a:lnTo>
                        <a:pt x="65" y="265"/>
                      </a:lnTo>
                      <a:close/>
                      <a:moveTo>
                        <a:pt x="66" y="265"/>
                      </a:moveTo>
                      <a:lnTo>
                        <a:pt x="66" y="265"/>
                      </a:lnTo>
                      <a:lnTo>
                        <a:pt x="66" y="265"/>
                      </a:lnTo>
                      <a:lnTo>
                        <a:pt x="66" y="265"/>
                      </a:lnTo>
                      <a:lnTo>
                        <a:pt x="66" y="265"/>
                      </a:lnTo>
                      <a:close/>
                      <a:moveTo>
                        <a:pt x="66" y="265"/>
                      </a:moveTo>
                      <a:lnTo>
                        <a:pt x="66" y="266"/>
                      </a:lnTo>
                      <a:lnTo>
                        <a:pt x="66" y="265"/>
                      </a:lnTo>
                      <a:close/>
                      <a:moveTo>
                        <a:pt x="62" y="265"/>
                      </a:moveTo>
                      <a:lnTo>
                        <a:pt x="62" y="266"/>
                      </a:lnTo>
                      <a:lnTo>
                        <a:pt x="62" y="265"/>
                      </a:lnTo>
                      <a:lnTo>
                        <a:pt x="62" y="266"/>
                      </a:lnTo>
                      <a:lnTo>
                        <a:pt x="61" y="266"/>
                      </a:lnTo>
                      <a:lnTo>
                        <a:pt x="62" y="266"/>
                      </a:lnTo>
                      <a:lnTo>
                        <a:pt x="62" y="265"/>
                      </a:lnTo>
                      <a:lnTo>
                        <a:pt x="61" y="265"/>
                      </a:lnTo>
                      <a:lnTo>
                        <a:pt x="62" y="265"/>
                      </a:lnTo>
                      <a:close/>
                      <a:moveTo>
                        <a:pt x="69" y="265"/>
                      </a:moveTo>
                      <a:lnTo>
                        <a:pt x="69" y="266"/>
                      </a:lnTo>
                      <a:lnTo>
                        <a:pt x="69" y="265"/>
                      </a:lnTo>
                      <a:lnTo>
                        <a:pt x="69" y="266"/>
                      </a:lnTo>
                      <a:lnTo>
                        <a:pt x="69" y="265"/>
                      </a:lnTo>
                      <a:lnTo>
                        <a:pt x="69" y="266"/>
                      </a:lnTo>
                      <a:lnTo>
                        <a:pt x="69" y="266"/>
                      </a:lnTo>
                      <a:lnTo>
                        <a:pt x="69" y="265"/>
                      </a:lnTo>
                      <a:lnTo>
                        <a:pt x="69" y="266"/>
                      </a:lnTo>
                      <a:lnTo>
                        <a:pt x="69" y="265"/>
                      </a:lnTo>
                      <a:lnTo>
                        <a:pt x="69" y="266"/>
                      </a:lnTo>
                      <a:lnTo>
                        <a:pt x="69" y="266"/>
                      </a:lnTo>
                      <a:lnTo>
                        <a:pt x="69" y="266"/>
                      </a:lnTo>
                      <a:lnTo>
                        <a:pt x="68" y="266"/>
                      </a:lnTo>
                      <a:lnTo>
                        <a:pt x="67" y="267"/>
                      </a:lnTo>
                      <a:lnTo>
                        <a:pt x="67" y="267"/>
                      </a:lnTo>
                      <a:lnTo>
                        <a:pt x="66" y="267"/>
                      </a:lnTo>
                      <a:lnTo>
                        <a:pt x="66" y="267"/>
                      </a:lnTo>
                      <a:lnTo>
                        <a:pt x="66" y="266"/>
                      </a:lnTo>
                      <a:lnTo>
                        <a:pt x="66" y="266"/>
                      </a:lnTo>
                      <a:lnTo>
                        <a:pt x="66" y="266"/>
                      </a:lnTo>
                      <a:lnTo>
                        <a:pt x="67" y="266"/>
                      </a:lnTo>
                      <a:lnTo>
                        <a:pt x="67" y="266"/>
                      </a:lnTo>
                      <a:lnTo>
                        <a:pt x="67" y="265"/>
                      </a:lnTo>
                      <a:lnTo>
                        <a:pt x="67" y="265"/>
                      </a:lnTo>
                      <a:lnTo>
                        <a:pt x="68" y="265"/>
                      </a:lnTo>
                      <a:lnTo>
                        <a:pt x="67" y="265"/>
                      </a:lnTo>
                      <a:lnTo>
                        <a:pt x="67" y="266"/>
                      </a:lnTo>
                      <a:lnTo>
                        <a:pt x="67" y="265"/>
                      </a:lnTo>
                      <a:lnTo>
                        <a:pt x="67" y="266"/>
                      </a:lnTo>
                      <a:lnTo>
                        <a:pt x="67" y="266"/>
                      </a:lnTo>
                      <a:lnTo>
                        <a:pt x="67" y="266"/>
                      </a:lnTo>
                      <a:lnTo>
                        <a:pt x="67" y="266"/>
                      </a:lnTo>
                      <a:lnTo>
                        <a:pt x="67" y="266"/>
                      </a:lnTo>
                      <a:lnTo>
                        <a:pt x="68" y="266"/>
                      </a:lnTo>
                      <a:lnTo>
                        <a:pt x="67" y="266"/>
                      </a:lnTo>
                      <a:lnTo>
                        <a:pt x="68" y="266"/>
                      </a:lnTo>
                      <a:lnTo>
                        <a:pt x="68" y="265"/>
                      </a:lnTo>
                      <a:lnTo>
                        <a:pt x="69" y="265"/>
                      </a:lnTo>
                      <a:lnTo>
                        <a:pt x="69" y="266"/>
                      </a:lnTo>
                      <a:lnTo>
                        <a:pt x="68" y="266"/>
                      </a:lnTo>
                      <a:lnTo>
                        <a:pt x="69" y="265"/>
                      </a:lnTo>
                      <a:lnTo>
                        <a:pt x="69" y="266"/>
                      </a:lnTo>
                      <a:lnTo>
                        <a:pt x="68" y="266"/>
                      </a:lnTo>
                      <a:lnTo>
                        <a:pt x="68" y="265"/>
                      </a:lnTo>
                      <a:lnTo>
                        <a:pt x="68" y="266"/>
                      </a:lnTo>
                      <a:lnTo>
                        <a:pt x="69" y="266"/>
                      </a:lnTo>
                      <a:lnTo>
                        <a:pt x="68" y="266"/>
                      </a:lnTo>
                      <a:lnTo>
                        <a:pt x="69" y="266"/>
                      </a:lnTo>
                      <a:lnTo>
                        <a:pt x="69" y="265"/>
                      </a:lnTo>
                      <a:lnTo>
                        <a:pt x="68" y="265"/>
                      </a:lnTo>
                      <a:lnTo>
                        <a:pt x="69" y="265"/>
                      </a:lnTo>
                      <a:close/>
                      <a:moveTo>
                        <a:pt x="68" y="264"/>
                      </a:moveTo>
                      <a:lnTo>
                        <a:pt x="68" y="265"/>
                      </a:lnTo>
                      <a:lnTo>
                        <a:pt x="68" y="264"/>
                      </a:lnTo>
                      <a:close/>
                      <a:moveTo>
                        <a:pt x="61" y="265"/>
                      </a:moveTo>
                      <a:lnTo>
                        <a:pt x="61" y="264"/>
                      </a:lnTo>
                      <a:lnTo>
                        <a:pt x="61" y="265"/>
                      </a:lnTo>
                      <a:close/>
                      <a:moveTo>
                        <a:pt x="62" y="264"/>
                      </a:moveTo>
                      <a:lnTo>
                        <a:pt x="62" y="265"/>
                      </a:lnTo>
                      <a:lnTo>
                        <a:pt x="62" y="264"/>
                      </a:lnTo>
                      <a:lnTo>
                        <a:pt x="62" y="265"/>
                      </a:lnTo>
                      <a:lnTo>
                        <a:pt x="62" y="264"/>
                      </a:lnTo>
                      <a:close/>
                      <a:moveTo>
                        <a:pt x="67" y="265"/>
                      </a:moveTo>
                      <a:lnTo>
                        <a:pt x="67" y="264"/>
                      </a:lnTo>
                      <a:lnTo>
                        <a:pt x="67" y="265"/>
                      </a:lnTo>
                      <a:close/>
                      <a:moveTo>
                        <a:pt x="67" y="264"/>
                      </a:moveTo>
                      <a:lnTo>
                        <a:pt x="67" y="265"/>
                      </a:lnTo>
                      <a:lnTo>
                        <a:pt x="67" y="265"/>
                      </a:lnTo>
                      <a:lnTo>
                        <a:pt x="67" y="265"/>
                      </a:lnTo>
                      <a:lnTo>
                        <a:pt x="67" y="265"/>
                      </a:lnTo>
                      <a:lnTo>
                        <a:pt x="67" y="264"/>
                      </a:lnTo>
                      <a:lnTo>
                        <a:pt x="67" y="265"/>
                      </a:lnTo>
                      <a:lnTo>
                        <a:pt x="67" y="264"/>
                      </a:lnTo>
                      <a:lnTo>
                        <a:pt x="67" y="265"/>
                      </a:lnTo>
                      <a:lnTo>
                        <a:pt x="67" y="265"/>
                      </a:lnTo>
                      <a:lnTo>
                        <a:pt x="66" y="265"/>
                      </a:lnTo>
                      <a:lnTo>
                        <a:pt x="67" y="265"/>
                      </a:lnTo>
                      <a:lnTo>
                        <a:pt x="66" y="265"/>
                      </a:lnTo>
                      <a:lnTo>
                        <a:pt x="67" y="265"/>
                      </a:lnTo>
                      <a:lnTo>
                        <a:pt x="67" y="264"/>
                      </a:lnTo>
                      <a:lnTo>
                        <a:pt x="66" y="264"/>
                      </a:lnTo>
                      <a:lnTo>
                        <a:pt x="67" y="264"/>
                      </a:lnTo>
                      <a:close/>
                      <a:moveTo>
                        <a:pt x="61" y="264"/>
                      </a:moveTo>
                      <a:lnTo>
                        <a:pt x="61" y="265"/>
                      </a:lnTo>
                      <a:lnTo>
                        <a:pt x="61" y="264"/>
                      </a:lnTo>
                      <a:lnTo>
                        <a:pt x="61" y="265"/>
                      </a:lnTo>
                      <a:lnTo>
                        <a:pt x="61" y="264"/>
                      </a:lnTo>
                      <a:close/>
                      <a:moveTo>
                        <a:pt x="61" y="264"/>
                      </a:moveTo>
                      <a:lnTo>
                        <a:pt x="61" y="264"/>
                      </a:lnTo>
                      <a:lnTo>
                        <a:pt x="61" y="264"/>
                      </a:lnTo>
                      <a:close/>
                      <a:moveTo>
                        <a:pt x="61" y="264"/>
                      </a:moveTo>
                      <a:lnTo>
                        <a:pt x="62" y="264"/>
                      </a:lnTo>
                      <a:lnTo>
                        <a:pt x="62" y="265"/>
                      </a:lnTo>
                      <a:lnTo>
                        <a:pt x="61" y="265"/>
                      </a:lnTo>
                      <a:lnTo>
                        <a:pt x="62" y="265"/>
                      </a:lnTo>
                      <a:lnTo>
                        <a:pt x="61" y="265"/>
                      </a:lnTo>
                      <a:lnTo>
                        <a:pt x="61" y="264"/>
                      </a:lnTo>
                      <a:close/>
                      <a:moveTo>
                        <a:pt x="61" y="264"/>
                      </a:moveTo>
                      <a:lnTo>
                        <a:pt x="61" y="264"/>
                      </a:lnTo>
                      <a:lnTo>
                        <a:pt x="61" y="264"/>
                      </a:lnTo>
                      <a:close/>
                      <a:moveTo>
                        <a:pt x="68" y="264"/>
                      </a:moveTo>
                      <a:lnTo>
                        <a:pt x="68" y="265"/>
                      </a:lnTo>
                      <a:lnTo>
                        <a:pt x="68" y="264"/>
                      </a:lnTo>
                      <a:lnTo>
                        <a:pt x="68" y="265"/>
                      </a:lnTo>
                      <a:lnTo>
                        <a:pt x="67" y="264"/>
                      </a:lnTo>
                      <a:lnTo>
                        <a:pt x="67" y="265"/>
                      </a:lnTo>
                      <a:lnTo>
                        <a:pt x="67" y="264"/>
                      </a:lnTo>
                      <a:lnTo>
                        <a:pt x="68" y="264"/>
                      </a:lnTo>
                      <a:lnTo>
                        <a:pt x="67" y="264"/>
                      </a:lnTo>
                      <a:lnTo>
                        <a:pt x="68" y="264"/>
                      </a:lnTo>
                      <a:close/>
                      <a:moveTo>
                        <a:pt x="67" y="264"/>
                      </a:moveTo>
                      <a:lnTo>
                        <a:pt x="66" y="264"/>
                      </a:lnTo>
                      <a:lnTo>
                        <a:pt x="67" y="264"/>
                      </a:lnTo>
                      <a:lnTo>
                        <a:pt x="66" y="264"/>
                      </a:lnTo>
                      <a:lnTo>
                        <a:pt x="67" y="264"/>
                      </a:lnTo>
                      <a:lnTo>
                        <a:pt x="66" y="264"/>
                      </a:lnTo>
                      <a:lnTo>
                        <a:pt x="67" y="264"/>
                      </a:lnTo>
                      <a:close/>
                      <a:moveTo>
                        <a:pt x="68" y="264"/>
                      </a:moveTo>
                      <a:lnTo>
                        <a:pt x="68" y="264"/>
                      </a:lnTo>
                      <a:lnTo>
                        <a:pt x="68" y="264"/>
                      </a:lnTo>
                      <a:close/>
                      <a:moveTo>
                        <a:pt x="69" y="264"/>
                      </a:moveTo>
                      <a:lnTo>
                        <a:pt x="68" y="264"/>
                      </a:lnTo>
                      <a:lnTo>
                        <a:pt x="69" y="264"/>
                      </a:lnTo>
                      <a:close/>
                      <a:moveTo>
                        <a:pt x="62" y="264"/>
                      </a:moveTo>
                      <a:lnTo>
                        <a:pt x="62" y="264"/>
                      </a:lnTo>
                      <a:lnTo>
                        <a:pt x="62" y="264"/>
                      </a:lnTo>
                      <a:lnTo>
                        <a:pt x="61" y="264"/>
                      </a:lnTo>
                      <a:lnTo>
                        <a:pt x="62" y="264"/>
                      </a:lnTo>
                      <a:lnTo>
                        <a:pt x="61" y="264"/>
                      </a:lnTo>
                      <a:lnTo>
                        <a:pt x="62" y="264"/>
                      </a:lnTo>
                      <a:close/>
                      <a:moveTo>
                        <a:pt x="64" y="264"/>
                      </a:moveTo>
                      <a:lnTo>
                        <a:pt x="64" y="264"/>
                      </a:lnTo>
                      <a:lnTo>
                        <a:pt x="64" y="265"/>
                      </a:lnTo>
                      <a:lnTo>
                        <a:pt x="64" y="266"/>
                      </a:lnTo>
                      <a:lnTo>
                        <a:pt x="65" y="266"/>
                      </a:lnTo>
                      <a:lnTo>
                        <a:pt x="64" y="266"/>
                      </a:lnTo>
                      <a:lnTo>
                        <a:pt x="65" y="266"/>
                      </a:lnTo>
                      <a:lnTo>
                        <a:pt x="64" y="266"/>
                      </a:lnTo>
                      <a:lnTo>
                        <a:pt x="65" y="266"/>
                      </a:lnTo>
                      <a:lnTo>
                        <a:pt x="64" y="266"/>
                      </a:lnTo>
                      <a:lnTo>
                        <a:pt x="65" y="266"/>
                      </a:lnTo>
                      <a:lnTo>
                        <a:pt x="65" y="266"/>
                      </a:lnTo>
                      <a:lnTo>
                        <a:pt x="64" y="266"/>
                      </a:lnTo>
                      <a:lnTo>
                        <a:pt x="64" y="266"/>
                      </a:lnTo>
                      <a:lnTo>
                        <a:pt x="64" y="265"/>
                      </a:lnTo>
                      <a:lnTo>
                        <a:pt x="63" y="265"/>
                      </a:lnTo>
                      <a:lnTo>
                        <a:pt x="64" y="265"/>
                      </a:lnTo>
                      <a:lnTo>
                        <a:pt x="63" y="265"/>
                      </a:lnTo>
                      <a:lnTo>
                        <a:pt x="63" y="265"/>
                      </a:lnTo>
                      <a:lnTo>
                        <a:pt x="63" y="266"/>
                      </a:lnTo>
                      <a:lnTo>
                        <a:pt x="62" y="266"/>
                      </a:lnTo>
                      <a:lnTo>
                        <a:pt x="62" y="266"/>
                      </a:lnTo>
                      <a:lnTo>
                        <a:pt x="62" y="265"/>
                      </a:lnTo>
                      <a:lnTo>
                        <a:pt x="62" y="266"/>
                      </a:lnTo>
                      <a:lnTo>
                        <a:pt x="62" y="265"/>
                      </a:lnTo>
                      <a:lnTo>
                        <a:pt x="62" y="266"/>
                      </a:lnTo>
                      <a:lnTo>
                        <a:pt x="62" y="266"/>
                      </a:lnTo>
                      <a:lnTo>
                        <a:pt x="62" y="266"/>
                      </a:lnTo>
                      <a:lnTo>
                        <a:pt x="62" y="266"/>
                      </a:lnTo>
                      <a:lnTo>
                        <a:pt x="62" y="265"/>
                      </a:lnTo>
                      <a:lnTo>
                        <a:pt x="62" y="266"/>
                      </a:lnTo>
                      <a:lnTo>
                        <a:pt x="62" y="265"/>
                      </a:lnTo>
                      <a:lnTo>
                        <a:pt x="62" y="266"/>
                      </a:lnTo>
                      <a:lnTo>
                        <a:pt x="62" y="265"/>
                      </a:lnTo>
                      <a:lnTo>
                        <a:pt x="62" y="265"/>
                      </a:lnTo>
                      <a:lnTo>
                        <a:pt x="62" y="264"/>
                      </a:lnTo>
                      <a:lnTo>
                        <a:pt x="62" y="265"/>
                      </a:lnTo>
                      <a:lnTo>
                        <a:pt x="62" y="264"/>
                      </a:lnTo>
                      <a:lnTo>
                        <a:pt x="62" y="265"/>
                      </a:lnTo>
                      <a:lnTo>
                        <a:pt x="62" y="265"/>
                      </a:lnTo>
                      <a:lnTo>
                        <a:pt x="62" y="264"/>
                      </a:lnTo>
                      <a:lnTo>
                        <a:pt x="62" y="264"/>
                      </a:lnTo>
                      <a:lnTo>
                        <a:pt x="62" y="264"/>
                      </a:lnTo>
                      <a:lnTo>
                        <a:pt x="62" y="264"/>
                      </a:lnTo>
                      <a:lnTo>
                        <a:pt x="62" y="264"/>
                      </a:lnTo>
                      <a:lnTo>
                        <a:pt x="62" y="264"/>
                      </a:lnTo>
                      <a:lnTo>
                        <a:pt x="62" y="264"/>
                      </a:lnTo>
                      <a:lnTo>
                        <a:pt x="62" y="264"/>
                      </a:lnTo>
                      <a:lnTo>
                        <a:pt x="61" y="264"/>
                      </a:lnTo>
                      <a:lnTo>
                        <a:pt x="62" y="264"/>
                      </a:lnTo>
                      <a:lnTo>
                        <a:pt x="62" y="264"/>
                      </a:lnTo>
                      <a:lnTo>
                        <a:pt x="62" y="264"/>
                      </a:lnTo>
                      <a:lnTo>
                        <a:pt x="62" y="264"/>
                      </a:lnTo>
                      <a:lnTo>
                        <a:pt x="62" y="264"/>
                      </a:lnTo>
                      <a:lnTo>
                        <a:pt x="62" y="264"/>
                      </a:lnTo>
                      <a:lnTo>
                        <a:pt x="63" y="264"/>
                      </a:lnTo>
                      <a:lnTo>
                        <a:pt x="62" y="264"/>
                      </a:lnTo>
                      <a:lnTo>
                        <a:pt x="63" y="264"/>
                      </a:lnTo>
                      <a:lnTo>
                        <a:pt x="62" y="264"/>
                      </a:lnTo>
                      <a:lnTo>
                        <a:pt x="63" y="264"/>
                      </a:lnTo>
                      <a:lnTo>
                        <a:pt x="63" y="264"/>
                      </a:lnTo>
                      <a:lnTo>
                        <a:pt x="63" y="264"/>
                      </a:lnTo>
                      <a:lnTo>
                        <a:pt x="63" y="264"/>
                      </a:lnTo>
                      <a:lnTo>
                        <a:pt x="62" y="264"/>
                      </a:lnTo>
                      <a:lnTo>
                        <a:pt x="63" y="264"/>
                      </a:lnTo>
                      <a:lnTo>
                        <a:pt x="62" y="264"/>
                      </a:lnTo>
                      <a:lnTo>
                        <a:pt x="63" y="264"/>
                      </a:lnTo>
                      <a:lnTo>
                        <a:pt x="62" y="264"/>
                      </a:lnTo>
                      <a:lnTo>
                        <a:pt x="63" y="264"/>
                      </a:lnTo>
                      <a:lnTo>
                        <a:pt x="63" y="264"/>
                      </a:lnTo>
                      <a:lnTo>
                        <a:pt x="63" y="264"/>
                      </a:lnTo>
                      <a:lnTo>
                        <a:pt x="63" y="264"/>
                      </a:lnTo>
                      <a:lnTo>
                        <a:pt x="64" y="264"/>
                      </a:lnTo>
                      <a:close/>
                      <a:moveTo>
                        <a:pt x="69" y="264"/>
                      </a:moveTo>
                      <a:lnTo>
                        <a:pt x="68" y="264"/>
                      </a:lnTo>
                      <a:lnTo>
                        <a:pt x="69" y="264"/>
                      </a:lnTo>
                      <a:lnTo>
                        <a:pt x="68" y="264"/>
                      </a:lnTo>
                      <a:lnTo>
                        <a:pt x="69" y="264"/>
                      </a:lnTo>
                      <a:close/>
                      <a:moveTo>
                        <a:pt x="67" y="264"/>
                      </a:moveTo>
                      <a:lnTo>
                        <a:pt x="67" y="263"/>
                      </a:lnTo>
                      <a:lnTo>
                        <a:pt x="67" y="264"/>
                      </a:lnTo>
                      <a:close/>
                      <a:moveTo>
                        <a:pt x="66" y="263"/>
                      </a:moveTo>
                      <a:lnTo>
                        <a:pt x="66" y="264"/>
                      </a:lnTo>
                      <a:lnTo>
                        <a:pt x="66" y="263"/>
                      </a:lnTo>
                      <a:lnTo>
                        <a:pt x="66" y="264"/>
                      </a:lnTo>
                      <a:lnTo>
                        <a:pt x="66" y="263"/>
                      </a:lnTo>
                      <a:close/>
                      <a:moveTo>
                        <a:pt x="66" y="264"/>
                      </a:moveTo>
                      <a:lnTo>
                        <a:pt x="66" y="263"/>
                      </a:lnTo>
                      <a:lnTo>
                        <a:pt x="66" y="264"/>
                      </a:lnTo>
                      <a:close/>
                      <a:moveTo>
                        <a:pt x="65" y="266"/>
                      </a:moveTo>
                      <a:lnTo>
                        <a:pt x="65" y="266"/>
                      </a:lnTo>
                      <a:lnTo>
                        <a:pt x="65" y="266"/>
                      </a:lnTo>
                      <a:lnTo>
                        <a:pt x="65" y="266"/>
                      </a:lnTo>
                      <a:lnTo>
                        <a:pt x="65" y="266"/>
                      </a:lnTo>
                      <a:lnTo>
                        <a:pt x="65" y="266"/>
                      </a:lnTo>
                      <a:lnTo>
                        <a:pt x="65" y="266"/>
                      </a:lnTo>
                      <a:lnTo>
                        <a:pt x="65" y="266"/>
                      </a:lnTo>
                      <a:lnTo>
                        <a:pt x="65" y="266"/>
                      </a:lnTo>
                      <a:lnTo>
                        <a:pt x="65" y="266"/>
                      </a:lnTo>
                      <a:lnTo>
                        <a:pt x="65" y="267"/>
                      </a:lnTo>
                      <a:lnTo>
                        <a:pt x="66" y="267"/>
                      </a:lnTo>
                      <a:lnTo>
                        <a:pt x="65" y="267"/>
                      </a:lnTo>
                      <a:lnTo>
                        <a:pt x="65" y="267"/>
                      </a:lnTo>
                      <a:lnTo>
                        <a:pt x="65" y="267"/>
                      </a:lnTo>
                      <a:lnTo>
                        <a:pt x="65" y="267"/>
                      </a:lnTo>
                      <a:lnTo>
                        <a:pt x="65" y="266"/>
                      </a:lnTo>
                      <a:lnTo>
                        <a:pt x="65" y="266"/>
                      </a:lnTo>
                      <a:lnTo>
                        <a:pt x="64" y="265"/>
                      </a:lnTo>
                      <a:lnTo>
                        <a:pt x="64" y="264"/>
                      </a:lnTo>
                      <a:lnTo>
                        <a:pt x="64" y="264"/>
                      </a:lnTo>
                      <a:lnTo>
                        <a:pt x="65" y="264"/>
                      </a:lnTo>
                      <a:lnTo>
                        <a:pt x="65" y="264"/>
                      </a:lnTo>
                      <a:lnTo>
                        <a:pt x="65" y="264"/>
                      </a:lnTo>
                      <a:lnTo>
                        <a:pt x="65" y="264"/>
                      </a:lnTo>
                      <a:lnTo>
                        <a:pt x="65" y="264"/>
                      </a:lnTo>
                      <a:lnTo>
                        <a:pt x="65" y="264"/>
                      </a:lnTo>
                      <a:lnTo>
                        <a:pt x="66" y="264"/>
                      </a:lnTo>
                      <a:lnTo>
                        <a:pt x="65" y="264"/>
                      </a:lnTo>
                      <a:lnTo>
                        <a:pt x="66" y="264"/>
                      </a:lnTo>
                      <a:lnTo>
                        <a:pt x="66" y="264"/>
                      </a:lnTo>
                      <a:lnTo>
                        <a:pt x="66" y="263"/>
                      </a:lnTo>
                      <a:lnTo>
                        <a:pt x="66" y="264"/>
                      </a:lnTo>
                      <a:lnTo>
                        <a:pt x="66" y="264"/>
                      </a:lnTo>
                      <a:lnTo>
                        <a:pt x="66" y="264"/>
                      </a:lnTo>
                      <a:lnTo>
                        <a:pt x="66" y="264"/>
                      </a:lnTo>
                      <a:lnTo>
                        <a:pt x="66" y="264"/>
                      </a:lnTo>
                      <a:lnTo>
                        <a:pt x="66" y="264"/>
                      </a:lnTo>
                      <a:lnTo>
                        <a:pt x="65" y="264"/>
                      </a:lnTo>
                      <a:lnTo>
                        <a:pt x="65" y="264"/>
                      </a:lnTo>
                      <a:lnTo>
                        <a:pt x="65" y="264"/>
                      </a:lnTo>
                      <a:lnTo>
                        <a:pt x="65" y="264"/>
                      </a:lnTo>
                      <a:lnTo>
                        <a:pt x="65" y="264"/>
                      </a:lnTo>
                      <a:lnTo>
                        <a:pt x="65" y="264"/>
                      </a:lnTo>
                      <a:lnTo>
                        <a:pt x="65" y="264"/>
                      </a:lnTo>
                      <a:lnTo>
                        <a:pt x="65" y="264"/>
                      </a:lnTo>
                      <a:lnTo>
                        <a:pt x="66" y="264"/>
                      </a:lnTo>
                      <a:lnTo>
                        <a:pt x="65" y="264"/>
                      </a:lnTo>
                      <a:lnTo>
                        <a:pt x="66" y="264"/>
                      </a:lnTo>
                      <a:lnTo>
                        <a:pt x="66" y="265"/>
                      </a:lnTo>
                      <a:lnTo>
                        <a:pt x="65" y="265"/>
                      </a:lnTo>
                      <a:lnTo>
                        <a:pt x="65" y="266"/>
                      </a:lnTo>
                      <a:lnTo>
                        <a:pt x="65" y="266"/>
                      </a:lnTo>
                      <a:lnTo>
                        <a:pt x="65" y="266"/>
                      </a:lnTo>
                      <a:lnTo>
                        <a:pt x="65" y="266"/>
                      </a:lnTo>
                      <a:close/>
                      <a:moveTo>
                        <a:pt x="66" y="264"/>
                      </a:moveTo>
                      <a:lnTo>
                        <a:pt x="65" y="264"/>
                      </a:lnTo>
                      <a:lnTo>
                        <a:pt x="66" y="264"/>
                      </a:lnTo>
                      <a:close/>
                      <a:moveTo>
                        <a:pt x="67" y="263"/>
                      </a:moveTo>
                      <a:lnTo>
                        <a:pt x="67" y="264"/>
                      </a:lnTo>
                      <a:lnTo>
                        <a:pt x="66" y="264"/>
                      </a:lnTo>
                      <a:lnTo>
                        <a:pt x="67" y="264"/>
                      </a:lnTo>
                      <a:lnTo>
                        <a:pt x="66" y="264"/>
                      </a:lnTo>
                      <a:lnTo>
                        <a:pt x="67" y="264"/>
                      </a:lnTo>
                      <a:lnTo>
                        <a:pt x="66" y="264"/>
                      </a:lnTo>
                      <a:lnTo>
                        <a:pt x="67" y="264"/>
                      </a:lnTo>
                      <a:lnTo>
                        <a:pt x="67" y="263"/>
                      </a:lnTo>
                      <a:close/>
                      <a:moveTo>
                        <a:pt x="69" y="264"/>
                      </a:moveTo>
                      <a:lnTo>
                        <a:pt x="68" y="264"/>
                      </a:lnTo>
                      <a:lnTo>
                        <a:pt x="69" y="264"/>
                      </a:lnTo>
                      <a:lnTo>
                        <a:pt x="68" y="264"/>
                      </a:lnTo>
                      <a:lnTo>
                        <a:pt x="69" y="264"/>
                      </a:lnTo>
                      <a:lnTo>
                        <a:pt x="68" y="264"/>
                      </a:lnTo>
                      <a:lnTo>
                        <a:pt x="69" y="264"/>
                      </a:lnTo>
                      <a:lnTo>
                        <a:pt x="69" y="264"/>
                      </a:lnTo>
                      <a:lnTo>
                        <a:pt x="69" y="263"/>
                      </a:lnTo>
                      <a:lnTo>
                        <a:pt x="69" y="264"/>
                      </a:lnTo>
                      <a:lnTo>
                        <a:pt x="69" y="264"/>
                      </a:lnTo>
                      <a:lnTo>
                        <a:pt x="69" y="264"/>
                      </a:lnTo>
                      <a:lnTo>
                        <a:pt x="69" y="264"/>
                      </a:lnTo>
                      <a:lnTo>
                        <a:pt x="69" y="263"/>
                      </a:lnTo>
                      <a:lnTo>
                        <a:pt x="69" y="263"/>
                      </a:lnTo>
                      <a:lnTo>
                        <a:pt x="69" y="263"/>
                      </a:lnTo>
                      <a:lnTo>
                        <a:pt x="69" y="263"/>
                      </a:lnTo>
                      <a:lnTo>
                        <a:pt x="69" y="264"/>
                      </a:lnTo>
                      <a:lnTo>
                        <a:pt x="69" y="263"/>
                      </a:lnTo>
                      <a:lnTo>
                        <a:pt x="69" y="263"/>
                      </a:lnTo>
                      <a:lnTo>
                        <a:pt x="69" y="263"/>
                      </a:lnTo>
                      <a:lnTo>
                        <a:pt x="69" y="264"/>
                      </a:lnTo>
                      <a:lnTo>
                        <a:pt x="69" y="263"/>
                      </a:lnTo>
                      <a:lnTo>
                        <a:pt x="69" y="263"/>
                      </a:lnTo>
                      <a:lnTo>
                        <a:pt x="69" y="263"/>
                      </a:lnTo>
                      <a:lnTo>
                        <a:pt x="69" y="264"/>
                      </a:lnTo>
                      <a:lnTo>
                        <a:pt x="69" y="264"/>
                      </a:lnTo>
                      <a:lnTo>
                        <a:pt x="69" y="264"/>
                      </a:lnTo>
                      <a:lnTo>
                        <a:pt x="69" y="265"/>
                      </a:lnTo>
                      <a:lnTo>
                        <a:pt x="69" y="264"/>
                      </a:lnTo>
                      <a:close/>
                      <a:moveTo>
                        <a:pt x="66" y="263"/>
                      </a:moveTo>
                      <a:lnTo>
                        <a:pt x="66" y="263"/>
                      </a:lnTo>
                      <a:lnTo>
                        <a:pt x="66" y="263"/>
                      </a:lnTo>
                      <a:lnTo>
                        <a:pt x="66" y="263"/>
                      </a:lnTo>
                      <a:lnTo>
                        <a:pt x="66" y="263"/>
                      </a:lnTo>
                      <a:close/>
                      <a:moveTo>
                        <a:pt x="66" y="263"/>
                      </a:moveTo>
                      <a:lnTo>
                        <a:pt x="67" y="263"/>
                      </a:lnTo>
                      <a:lnTo>
                        <a:pt x="66" y="263"/>
                      </a:lnTo>
                      <a:close/>
                      <a:moveTo>
                        <a:pt x="66" y="263"/>
                      </a:moveTo>
                      <a:lnTo>
                        <a:pt x="66" y="264"/>
                      </a:lnTo>
                      <a:lnTo>
                        <a:pt x="66" y="263"/>
                      </a:lnTo>
                      <a:lnTo>
                        <a:pt x="66" y="264"/>
                      </a:lnTo>
                      <a:lnTo>
                        <a:pt x="66" y="263"/>
                      </a:lnTo>
                      <a:close/>
                      <a:moveTo>
                        <a:pt x="67" y="263"/>
                      </a:moveTo>
                      <a:lnTo>
                        <a:pt x="66" y="263"/>
                      </a:lnTo>
                      <a:lnTo>
                        <a:pt x="67" y="263"/>
                      </a:lnTo>
                      <a:close/>
                      <a:moveTo>
                        <a:pt x="70" y="263"/>
                      </a:moveTo>
                      <a:lnTo>
                        <a:pt x="70" y="263"/>
                      </a:lnTo>
                      <a:lnTo>
                        <a:pt x="70" y="263"/>
                      </a:lnTo>
                      <a:close/>
                      <a:moveTo>
                        <a:pt x="72" y="263"/>
                      </a:moveTo>
                      <a:lnTo>
                        <a:pt x="72" y="263"/>
                      </a:lnTo>
                      <a:lnTo>
                        <a:pt x="72" y="263"/>
                      </a:lnTo>
                      <a:close/>
                      <a:moveTo>
                        <a:pt x="68" y="263"/>
                      </a:moveTo>
                      <a:lnTo>
                        <a:pt x="68" y="263"/>
                      </a:lnTo>
                      <a:lnTo>
                        <a:pt x="68" y="263"/>
                      </a:lnTo>
                      <a:lnTo>
                        <a:pt x="69" y="263"/>
                      </a:lnTo>
                      <a:lnTo>
                        <a:pt x="68" y="263"/>
                      </a:lnTo>
                      <a:close/>
                      <a:moveTo>
                        <a:pt x="69" y="263"/>
                      </a:moveTo>
                      <a:lnTo>
                        <a:pt x="69" y="263"/>
                      </a:lnTo>
                      <a:lnTo>
                        <a:pt x="69" y="263"/>
                      </a:lnTo>
                      <a:close/>
                      <a:moveTo>
                        <a:pt x="61" y="263"/>
                      </a:moveTo>
                      <a:lnTo>
                        <a:pt x="62" y="263"/>
                      </a:lnTo>
                      <a:lnTo>
                        <a:pt x="61" y="263"/>
                      </a:lnTo>
                      <a:lnTo>
                        <a:pt x="61" y="263"/>
                      </a:lnTo>
                      <a:lnTo>
                        <a:pt x="61" y="263"/>
                      </a:lnTo>
                      <a:close/>
                      <a:moveTo>
                        <a:pt x="68" y="263"/>
                      </a:moveTo>
                      <a:lnTo>
                        <a:pt x="68" y="263"/>
                      </a:lnTo>
                      <a:lnTo>
                        <a:pt x="68" y="263"/>
                      </a:lnTo>
                      <a:lnTo>
                        <a:pt x="68" y="263"/>
                      </a:lnTo>
                      <a:lnTo>
                        <a:pt x="68" y="263"/>
                      </a:lnTo>
                      <a:close/>
                      <a:moveTo>
                        <a:pt x="68" y="263"/>
                      </a:moveTo>
                      <a:lnTo>
                        <a:pt x="68" y="263"/>
                      </a:lnTo>
                      <a:lnTo>
                        <a:pt x="68" y="263"/>
                      </a:lnTo>
                      <a:lnTo>
                        <a:pt x="68" y="263"/>
                      </a:lnTo>
                      <a:lnTo>
                        <a:pt x="68" y="263"/>
                      </a:lnTo>
                      <a:lnTo>
                        <a:pt x="68" y="263"/>
                      </a:lnTo>
                      <a:lnTo>
                        <a:pt x="68" y="263"/>
                      </a:lnTo>
                      <a:lnTo>
                        <a:pt x="68" y="263"/>
                      </a:lnTo>
                      <a:lnTo>
                        <a:pt x="68" y="263"/>
                      </a:lnTo>
                      <a:close/>
                      <a:moveTo>
                        <a:pt x="66" y="263"/>
                      </a:moveTo>
                      <a:lnTo>
                        <a:pt x="66" y="263"/>
                      </a:lnTo>
                      <a:lnTo>
                        <a:pt x="66" y="263"/>
                      </a:lnTo>
                      <a:lnTo>
                        <a:pt x="66" y="263"/>
                      </a:lnTo>
                      <a:lnTo>
                        <a:pt x="66" y="263"/>
                      </a:lnTo>
                      <a:close/>
                      <a:moveTo>
                        <a:pt x="67" y="263"/>
                      </a:moveTo>
                      <a:lnTo>
                        <a:pt x="67" y="263"/>
                      </a:lnTo>
                      <a:lnTo>
                        <a:pt x="67" y="263"/>
                      </a:lnTo>
                      <a:lnTo>
                        <a:pt x="67" y="263"/>
                      </a:lnTo>
                      <a:lnTo>
                        <a:pt x="67" y="263"/>
                      </a:lnTo>
                      <a:close/>
                      <a:moveTo>
                        <a:pt x="72" y="263"/>
                      </a:moveTo>
                      <a:lnTo>
                        <a:pt x="72" y="263"/>
                      </a:lnTo>
                      <a:lnTo>
                        <a:pt x="72" y="263"/>
                      </a:lnTo>
                      <a:close/>
                      <a:moveTo>
                        <a:pt x="66" y="263"/>
                      </a:moveTo>
                      <a:lnTo>
                        <a:pt x="66" y="263"/>
                      </a:lnTo>
                      <a:lnTo>
                        <a:pt x="66" y="263"/>
                      </a:lnTo>
                      <a:close/>
                      <a:moveTo>
                        <a:pt x="63" y="263"/>
                      </a:moveTo>
                      <a:lnTo>
                        <a:pt x="63" y="263"/>
                      </a:lnTo>
                      <a:lnTo>
                        <a:pt x="63" y="263"/>
                      </a:lnTo>
                      <a:close/>
                      <a:moveTo>
                        <a:pt x="71" y="263"/>
                      </a:moveTo>
                      <a:lnTo>
                        <a:pt x="70" y="263"/>
                      </a:lnTo>
                      <a:lnTo>
                        <a:pt x="71" y="263"/>
                      </a:lnTo>
                      <a:lnTo>
                        <a:pt x="70" y="263"/>
                      </a:lnTo>
                      <a:lnTo>
                        <a:pt x="71" y="263"/>
                      </a:lnTo>
                      <a:close/>
                      <a:moveTo>
                        <a:pt x="66" y="263"/>
                      </a:moveTo>
                      <a:lnTo>
                        <a:pt x="66" y="263"/>
                      </a:lnTo>
                      <a:lnTo>
                        <a:pt x="65" y="263"/>
                      </a:lnTo>
                      <a:lnTo>
                        <a:pt x="66" y="263"/>
                      </a:lnTo>
                      <a:close/>
                      <a:moveTo>
                        <a:pt x="72" y="263"/>
                      </a:moveTo>
                      <a:lnTo>
                        <a:pt x="72" y="263"/>
                      </a:lnTo>
                      <a:lnTo>
                        <a:pt x="72" y="263"/>
                      </a:lnTo>
                      <a:close/>
                      <a:moveTo>
                        <a:pt x="66" y="263"/>
                      </a:moveTo>
                      <a:lnTo>
                        <a:pt x="66" y="263"/>
                      </a:lnTo>
                      <a:lnTo>
                        <a:pt x="66" y="263"/>
                      </a:lnTo>
                      <a:lnTo>
                        <a:pt x="66" y="263"/>
                      </a:lnTo>
                      <a:lnTo>
                        <a:pt x="66" y="262"/>
                      </a:lnTo>
                      <a:lnTo>
                        <a:pt x="66" y="263"/>
                      </a:lnTo>
                      <a:lnTo>
                        <a:pt x="66" y="263"/>
                      </a:lnTo>
                      <a:close/>
                      <a:moveTo>
                        <a:pt x="67" y="263"/>
                      </a:moveTo>
                      <a:lnTo>
                        <a:pt x="67" y="262"/>
                      </a:lnTo>
                      <a:lnTo>
                        <a:pt x="67" y="263"/>
                      </a:lnTo>
                      <a:lnTo>
                        <a:pt x="67" y="262"/>
                      </a:lnTo>
                      <a:lnTo>
                        <a:pt x="67" y="263"/>
                      </a:lnTo>
                      <a:lnTo>
                        <a:pt x="67" y="262"/>
                      </a:lnTo>
                      <a:lnTo>
                        <a:pt x="67" y="263"/>
                      </a:lnTo>
                      <a:close/>
                      <a:moveTo>
                        <a:pt x="72" y="262"/>
                      </a:moveTo>
                      <a:lnTo>
                        <a:pt x="72" y="263"/>
                      </a:lnTo>
                      <a:lnTo>
                        <a:pt x="72" y="262"/>
                      </a:lnTo>
                      <a:close/>
                      <a:moveTo>
                        <a:pt x="66" y="262"/>
                      </a:moveTo>
                      <a:lnTo>
                        <a:pt x="66" y="263"/>
                      </a:lnTo>
                      <a:lnTo>
                        <a:pt x="66" y="262"/>
                      </a:lnTo>
                      <a:lnTo>
                        <a:pt x="66" y="263"/>
                      </a:lnTo>
                      <a:lnTo>
                        <a:pt x="66" y="262"/>
                      </a:lnTo>
                      <a:close/>
                      <a:moveTo>
                        <a:pt x="67" y="262"/>
                      </a:moveTo>
                      <a:lnTo>
                        <a:pt x="66" y="262"/>
                      </a:lnTo>
                      <a:lnTo>
                        <a:pt x="67" y="262"/>
                      </a:lnTo>
                      <a:close/>
                      <a:moveTo>
                        <a:pt x="71" y="262"/>
                      </a:moveTo>
                      <a:lnTo>
                        <a:pt x="71" y="263"/>
                      </a:lnTo>
                      <a:lnTo>
                        <a:pt x="71" y="262"/>
                      </a:lnTo>
                      <a:lnTo>
                        <a:pt x="71" y="263"/>
                      </a:lnTo>
                      <a:lnTo>
                        <a:pt x="70" y="263"/>
                      </a:lnTo>
                      <a:lnTo>
                        <a:pt x="70" y="262"/>
                      </a:lnTo>
                      <a:lnTo>
                        <a:pt x="70" y="263"/>
                      </a:lnTo>
                      <a:lnTo>
                        <a:pt x="71" y="263"/>
                      </a:lnTo>
                      <a:lnTo>
                        <a:pt x="70" y="262"/>
                      </a:lnTo>
                      <a:lnTo>
                        <a:pt x="71" y="262"/>
                      </a:lnTo>
                      <a:close/>
                      <a:moveTo>
                        <a:pt x="62" y="263"/>
                      </a:moveTo>
                      <a:lnTo>
                        <a:pt x="62" y="263"/>
                      </a:lnTo>
                      <a:lnTo>
                        <a:pt x="62" y="262"/>
                      </a:lnTo>
                      <a:lnTo>
                        <a:pt x="62" y="262"/>
                      </a:lnTo>
                      <a:lnTo>
                        <a:pt x="62" y="263"/>
                      </a:lnTo>
                      <a:lnTo>
                        <a:pt x="62" y="263"/>
                      </a:lnTo>
                      <a:close/>
                      <a:moveTo>
                        <a:pt x="67" y="262"/>
                      </a:moveTo>
                      <a:lnTo>
                        <a:pt x="67" y="263"/>
                      </a:lnTo>
                      <a:lnTo>
                        <a:pt x="67" y="262"/>
                      </a:lnTo>
                      <a:close/>
                      <a:moveTo>
                        <a:pt x="66" y="262"/>
                      </a:moveTo>
                      <a:lnTo>
                        <a:pt x="65" y="263"/>
                      </a:lnTo>
                      <a:lnTo>
                        <a:pt x="65" y="262"/>
                      </a:lnTo>
                      <a:lnTo>
                        <a:pt x="66" y="262"/>
                      </a:lnTo>
                      <a:close/>
                      <a:moveTo>
                        <a:pt x="62" y="262"/>
                      </a:moveTo>
                      <a:lnTo>
                        <a:pt x="62" y="262"/>
                      </a:lnTo>
                      <a:lnTo>
                        <a:pt x="62" y="262"/>
                      </a:lnTo>
                      <a:close/>
                      <a:moveTo>
                        <a:pt x="62" y="262"/>
                      </a:moveTo>
                      <a:lnTo>
                        <a:pt x="62" y="262"/>
                      </a:lnTo>
                      <a:lnTo>
                        <a:pt x="62" y="262"/>
                      </a:lnTo>
                      <a:close/>
                      <a:moveTo>
                        <a:pt x="67" y="262"/>
                      </a:moveTo>
                      <a:lnTo>
                        <a:pt x="67" y="262"/>
                      </a:lnTo>
                      <a:lnTo>
                        <a:pt x="67" y="262"/>
                      </a:lnTo>
                      <a:close/>
                      <a:moveTo>
                        <a:pt x="70" y="262"/>
                      </a:moveTo>
                      <a:lnTo>
                        <a:pt x="71" y="262"/>
                      </a:lnTo>
                      <a:lnTo>
                        <a:pt x="70" y="262"/>
                      </a:lnTo>
                      <a:lnTo>
                        <a:pt x="70" y="262"/>
                      </a:lnTo>
                      <a:lnTo>
                        <a:pt x="70" y="262"/>
                      </a:lnTo>
                      <a:close/>
                      <a:moveTo>
                        <a:pt x="66" y="262"/>
                      </a:moveTo>
                      <a:lnTo>
                        <a:pt x="66" y="262"/>
                      </a:lnTo>
                      <a:lnTo>
                        <a:pt x="67" y="262"/>
                      </a:lnTo>
                      <a:lnTo>
                        <a:pt x="66" y="262"/>
                      </a:lnTo>
                      <a:lnTo>
                        <a:pt x="66" y="262"/>
                      </a:lnTo>
                      <a:close/>
                      <a:moveTo>
                        <a:pt x="70" y="262"/>
                      </a:moveTo>
                      <a:lnTo>
                        <a:pt x="70" y="262"/>
                      </a:lnTo>
                      <a:lnTo>
                        <a:pt x="70" y="262"/>
                      </a:lnTo>
                      <a:lnTo>
                        <a:pt x="70" y="262"/>
                      </a:lnTo>
                      <a:lnTo>
                        <a:pt x="70" y="262"/>
                      </a:lnTo>
                      <a:lnTo>
                        <a:pt x="70" y="262"/>
                      </a:lnTo>
                      <a:lnTo>
                        <a:pt x="70" y="262"/>
                      </a:lnTo>
                      <a:lnTo>
                        <a:pt x="70" y="262"/>
                      </a:lnTo>
                      <a:lnTo>
                        <a:pt x="70" y="262"/>
                      </a:lnTo>
                      <a:lnTo>
                        <a:pt x="70" y="262"/>
                      </a:lnTo>
                      <a:lnTo>
                        <a:pt x="70" y="262"/>
                      </a:lnTo>
                      <a:lnTo>
                        <a:pt x="70" y="262"/>
                      </a:lnTo>
                      <a:lnTo>
                        <a:pt x="70" y="262"/>
                      </a:lnTo>
                      <a:lnTo>
                        <a:pt x="70" y="262"/>
                      </a:lnTo>
                      <a:lnTo>
                        <a:pt x="70" y="262"/>
                      </a:lnTo>
                      <a:lnTo>
                        <a:pt x="70" y="262"/>
                      </a:lnTo>
                      <a:lnTo>
                        <a:pt x="70" y="262"/>
                      </a:lnTo>
                      <a:lnTo>
                        <a:pt x="70" y="262"/>
                      </a:lnTo>
                      <a:lnTo>
                        <a:pt x="70" y="262"/>
                      </a:lnTo>
                      <a:close/>
                      <a:moveTo>
                        <a:pt x="70" y="262"/>
                      </a:moveTo>
                      <a:lnTo>
                        <a:pt x="70" y="262"/>
                      </a:lnTo>
                      <a:lnTo>
                        <a:pt x="70" y="262"/>
                      </a:lnTo>
                      <a:close/>
                      <a:moveTo>
                        <a:pt x="66" y="262"/>
                      </a:moveTo>
                      <a:lnTo>
                        <a:pt x="66" y="262"/>
                      </a:lnTo>
                      <a:lnTo>
                        <a:pt x="66" y="262"/>
                      </a:lnTo>
                      <a:lnTo>
                        <a:pt x="66" y="262"/>
                      </a:lnTo>
                      <a:lnTo>
                        <a:pt x="66" y="262"/>
                      </a:lnTo>
                      <a:lnTo>
                        <a:pt x="66" y="262"/>
                      </a:lnTo>
                      <a:lnTo>
                        <a:pt x="66" y="262"/>
                      </a:lnTo>
                      <a:lnTo>
                        <a:pt x="66" y="262"/>
                      </a:lnTo>
                      <a:lnTo>
                        <a:pt x="66" y="262"/>
                      </a:lnTo>
                      <a:lnTo>
                        <a:pt x="66" y="262"/>
                      </a:lnTo>
                      <a:lnTo>
                        <a:pt x="66" y="262"/>
                      </a:lnTo>
                      <a:lnTo>
                        <a:pt x="66" y="262"/>
                      </a:lnTo>
                      <a:lnTo>
                        <a:pt x="66" y="263"/>
                      </a:lnTo>
                      <a:lnTo>
                        <a:pt x="66" y="262"/>
                      </a:lnTo>
                      <a:lnTo>
                        <a:pt x="66" y="262"/>
                      </a:lnTo>
                      <a:lnTo>
                        <a:pt x="66" y="262"/>
                      </a:lnTo>
                      <a:lnTo>
                        <a:pt x="65" y="262"/>
                      </a:lnTo>
                      <a:lnTo>
                        <a:pt x="65" y="262"/>
                      </a:lnTo>
                      <a:lnTo>
                        <a:pt x="66" y="262"/>
                      </a:lnTo>
                      <a:close/>
                      <a:moveTo>
                        <a:pt x="67" y="262"/>
                      </a:moveTo>
                      <a:lnTo>
                        <a:pt x="67" y="262"/>
                      </a:lnTo>
                      <a:lnTo>
                        <a:pt x="67" y="262"/>
                      </a:lnTo>
                      <a:lnTo>
                        <a:pt x="67" y="262"/>
                      </a:lnTo>
                      <a:lnTo>
                        <a:pt x="67" y="262"/>
                      </a:lnTo>
                      <a:lnTo>
                        <a:pt x="66" y="262"/>
                      </a:lnTo>
                      <a:lnTo>
                        <a:pt x="67" y="262"/>
                      </a:lnTo>
                      <a:lnTo>
                        <a:pt x="66" y="262"/>
                      </a:lnTo>
                      <a:lnTo>
                        <a:pt x="67" y="262"/>
                      </a:lnTo>
                      <a:lnTo>
                        <a:pt x="66" y="262"/>
                      </a:lnTo>
                      <a:lnTo>
                        <a:pt x="67" y="262"/>
                      </a:lnTo>
                      <a:lnTo>
                        <a:pt x="66" y="262"/>
                      </a:lnTo>
                      <a:lnTo>
                        <a:pt x="67" y="262"/>
                      </a:lnTo>
                      <a:lnTo>
                        <a:pt x="66" y="262"/>
                      </a:lnTo>
                      <a:lnTo>
                        <a:pt x="67" y="262"/>
                      </a:lnTo>
                      <a:lnTo>
                        <a:pt x="66" y="262"/>
                      </a:lnTo>
                      <a:lnTo>
                        <a:pt x="67" y="262"/>
                      </a:lnTo>
                      <a:close/>
                      <a:moveTo>
                        <a:pt x="63" y="262"/>
                      </a:moveTo>
                      <a:lnTo>
                        <a:pt x="63" y="262"/>
                      </a:lnTo>
                      <a:lnTo>
                        <a:pt x="63" y="262"/>
                      </a:lnTo>
                      <a:close/>
                      <a:moveTo>
                        <a:pt x="67" y="262"/>
                      </a:moveTo>
                      <a:lnTo>
                        <a:pt x="67" y="261"/>
                      </a:lnTo>
                      <a:lnTo>
                        <a:pt x="67" y="262"/>
                      </a:lnTo>
                      <a:close/>
                      <a:moveTo>
                        <a:pt x="567" y="261"/>
                      </a:moveTo>
                      <a:lnTo>
                        <a:pt x="567" y="262"/>
                      </a:lnTo>
                      <a:lnTo>
                        <a:pt x="566" y="262"/>
                      </a:lnTo>
                      <a:lnTo>
                        <a:pt x="567" y="262"/>
                      </a:lnTo>
                      <a:lnTo>
                        <a:pt x="566" y="262"/>
                      </a:lnTo>
                      <a:lnTo>
                        <a:pt x="567" y="261"/>
                      </a:lnTo>
                      <a:close/>
                      <a:moveTo>
                        <a:pt x="67" y="262"/>
                      </a:moveTo>
                      <a:lnTo>
                        <a:pt x="67" y="261"/>
                      </a:lnTo>
                      <a:lnTo>
                        <a:pt x="67" y="262"/>
                      </a:lnTo>
                      <a:lnTo>
                        <a:pt x="67" y="261"/>
                      </a:lnTo>
                      <a:lnTo>
                        <a:pt x="67" y="262"/>
                      </a:lnTo>
                      <a:close/>
                      <a:moveTo>
                        <a:pt x="65" y="262"/>
                      </a:moveTo>
                      <a:lnTo>
                        <a:pt x="65" y="262"/>
                      </a:lnTo>
                      <a:lnTo>
                        <a:pt x="65" y="262"/>
                      </a:lnTo>
                      <a:lnTo>
                        <a:pt x="65" y="262"/>
                      </a:lnTo>
                      <a:lnTo>
                        <a:pt x="65" y="262"/>
                      </a:lnTo>
                      <a:lnTo>
                        <a:pt x="65" y="262"/>
                      </a:lnTo>
                      <a:lnTo>
                        <a:pt x="65" y="262"/>
                      </a:lnTo>
                      <a:lnTo>
                        <a:pt x="65" y="262"/>
                      </a:lnTo>
                      <a:lnTo>
                        <a:pt x="65" y="262"/>
                      </a:lnTo>
                      <a:lnTo>
                        <a:pt x="65" y="262"/>
                      </a:lnTo>
                      <a:lnTo>
                        <a:pt x="65" y="262"/>
                      </a:lnTo>
                      <a:lnTo>
                        <a:pt x="65" y="262"/>
                      </a:lnTo>
                      <a:lnTo>
                        <a:pt x="65" y="262"/>
                      </a:lnTo>
                      <a:lnTo>
                        <a:pt x="65" y="263"/>
                      </a:lnTo>
                      <a:lnTo>
                        <a:pt x="65" y="263"/>
                      </a:lnTo>
                      <a:lnTo>
                        <a:pt x="65" y="263"/>
                      </a:lnTo>
                      <a:lnTo>
                        <a:pt x="65" y="263"/>
                      </a:lnTo>
                      <a:lnTo>
                        <a:pt x="66" y="263"/>
                      </a:lnTo>
                      <a:lnTo>
                        <a:pt x="66" y="264"/>
                      </a:lnTo>
                      <a:lnTo>
                        <a:pt x="66" y="263"/>
                      </a:lnTo>
                      <a:lnTo>
                        <a:pt x="66" y="264"/>
                      </a:lnTo>
                      <a:lnTo>
                        <a:pt x="65" y="264"/>
                      </a:lnTo>
                      <a:lnTo>
                        <a:pt x="65" y="264"/>
                      </a:lnTo>
                      <a:lnTo>
                        <a:pt x="64" y="264"/>
                      </a:lnTo>
                      <a:lnTo>
                        <a:pt x="63" y="264"/>
                      </a:lnTo>
                      <a:lnTo>
                        <a:pt x="63" y="264"/>
                      </a:lnTo>
                      <a:lnTo>
                        <a:pt x="63" y="263"/>
                      </a:lnTo>
                      <a:lnTo>
                        <a:pt x="63" y="264"/>
                      </a:lnTo>
                      <a:lnTo>
                        <a:pt x="62" y="264"/>
                      </a:lnTo>
                      <a:lnTo>
                        <a:pt x="62" y="264"/>
                      </a:lnTo>
                      <a:lnTo>
                        <a:pt x="62" y="263"/>
                      </a:lnTo>
                      <a:lnTo>
                        <a:pt x="62" y="263"/>
                      </a:lnTo>
                      <a:lnTo>
                        <a:pt x="62" y="263"/>
                      </a:lnTo>
                      <a:lnTo>
                        <a:pt x="62" y="264"/>
                      </a:lnTo>
                      <a:lnTo>
                        <a:pt x="62" y="263"/>
                      </a:lnTo>
                      <a:lnTo>
                        <a:pt x="62" y="263"/>
                      </a:lnTo>
                      <a:lnTo>
                        <a:pt x="62" y="263"/>
                      </a:lnTo>
                      <a:lnTo>
                        <a:pt x="62" y="263"/>
                      </a:lnTo>
                      <a:lnTo>
                        <a:pt x="62" y="263"/>
                      </a:lnTo>
                      <a:lnTo>
                        <a:pt x="63" y="263"/>
                      </a:lnTo>
                      <a:lnTo>
                        <a:pt x="62" y="263"/>
                      </a:lnTo>
                      <a:lnTo>
                        <a:pt x="63" y="263"/>
                      </a:lnTo>
                      <a:lnTo>
                        <a:pt x="62" y="263"/>
                      </a:lnTo>
                      <a:lnTo>
                        <a:pt x="63" y="263"/>
                      </a:lnTo>
                      <a:lnTo>
                        <a:pt x="62" y="263"/>
                      </a:lnTo>
                      <a:lnTo>
                        <a:pt x="62" y="263"/>
                      </a:lnTo>
                      <a:lnTo>
                        <a:pt x="62" y="263"/>
                      </a:lnTo>
                      <a:lnTo>
                        <a:pt x="62" y="263"/>
                      </a:lnTo>
                      <a:lnTo>
                        <a:pt x="62" y="263"/>
                      </a:lnTo>
                      <a:lnTo>
                        <a:pt x="62" y="263"/>
                      </a:lnTo>
                      <a:lnTo>
                        <a:pt x="63" y="263"/>
                      </a:lnTo>
                      <a:lnTo>
                        <a:pt x="63" y="263"/>
                      </a:lnTo>
                      <a:lnTo>
                        <a:pt x="63" y="263"/>
                      </a:lnTo>
                      <a:lnTo>
                        <a:pt x="63" y="263"/>
                      </a:lnTo>
                      <a:lnTo>
                        <a:pt x="63" y="263"/>
                      </a:lnTo>
                      <a:lnTo>
                        <a:pt x="63" y="263"/>
                      </a:lnTo>
                      <a:lnTo>
                        <a:pt x="63" y="263"/>
                      </a:lnTo>
                      <a:lnTo>
                        <a:pt x="63" y="263"/>
                      </a:lnTo>
                      <a:lnTo>
                        <a:pt x="63" y="263"/>
                      </a:lnTo>
                      <a:lnTo>
                        <a:pt x="63" y="263"/>
                      </a:lnTo>
                      <a:lnTo>
                        <a:pt x="63" y="263"/>
                      </a:lnTo>
                      <a:lnTo>
                        <a:pt x="63" y="262"/>
                      </a:lnTo>
                      <a:lnTo>
                        <a:pt x="63" y="263"/>
                      </a:lnTo>
                      <a:lnTo>
                        <a:pt x="64" y="263"/>
                      </a:lnTo>
                      <a:lnTo>
                        <a:pt x="64" y="262"/>
                      </a:lnTo>
                      <a:lnTo>
                        <a:pt x="63" y="262"/>
                      </a:lnTo>
                      <a:lnTo>
                        <a:pt x="63" y="263"/>
                      </a:lnTo>
                      <a:lnTo>
                        <a:pt x="63" y="262"/>
                      </a:lnTo>
                      <a:lnTo>
                        <a:pt x="64" y="262"/>
                      </a:lnTo>
                      <a:lnTo>
                        <a:pt x="65" y="262"/>
                      </a:lnTo>
                      <a:lnTo>
                        <a:pt x="64" y="262"/>
                      </a:lnTo>
                      <a:lnTo>
                        <a:pt x="65" y="263"/>
                      </a:lnTo>
                      <a:lnTo>
                        <a:pt x="65" y="262"/>
                      </a:lnTo>
                      <a:lnTo>
                        <a:pt x="65" y="263"/>
                      </a:lnTo>
                      <a:lnTo>
                        <a:pt x="65" y="262"/>
                      </a:lnTo>
                      <a:lnTo>
                        <a:pt x="64" y="262"/>
                      </a:lnTo>
                      <a:lnTo>
                        <a:pt x="64" y="262"/>
                      </a:lnTo>
                      <a:lnTo>
                        <a:pt x="63" y="262"/>
                      </a:lnTo>
                      <a:lnTo>
                        <a:pt x="64" y="262"/>
                      </a:lnTo>
                      <a:lnTo>
                        <a:pt x="64" y="262"/>
                      </a:lnTo>
                      <a:lnTo>
                        <a:pt x="64" y="262"/>
                      </a:lnTo>
                      <a:lnTo>
                        <a:pt x="64" y="262"/>
                      </a:lnTo>
                      <a:lnTo>
                        <a:pt x="65" y="262"/>
                      </a:lnTo>
                      <a:lnTo>
                        <a:pt x="65" y="262"/>
                      </a:lnTo>
                      <a:lnTo>
                        <a:pt x="64" y="262"/>
                      </a:lnTo>
                      <a:lnTo>
                        <a:pt x="65" y="262"/>
                      </a:lnTo>
                      <a:lnTo>
                        <a:pt x="64" y="262"/>
                      </a:lnTo>
                      <a:lnTo>
                        <a:pt x="65" y="262"/>
                      </a:lnTo>
                      <a:lnTo>
                        <a:pt x="65" y="261"/>
                      </a:lnTo>
                      <a:lnTo>
                        <a:pt x="64" y="261"/>
                      </a:lnTo>
                      <a:lnTo>
                        <a:pt x="65" y="261"/>
                      </a:lnTo>
                      <a:lnTo>
                        <a:pt x="65" y="262"/>
                      </a:lnTo>
                      <a:close/>
                      <a:moveTo>
                        <a:pt x="67" y="262"/>
                      </a:moveTo>
                      <a:lnTo>
                        <a:pt x="66" y="262"/>
                      </a:lnTo>
                      <a:lnTo>
                        <a:pt x="66" y="261"/>
                      </a:lnTo>
                      <a:lnTo>
                        <a:pt x="67" y="261"/>
                      </a:lnTo>
                      <a:lnTo>
                        <a:pt x="67" y="262"/>
                      </a:lnTo>
                      <a:close/>
                      <a:moveTo>
                        <a:pt x="67" y="261"/>
                      </a:moveTo>
                      <a:lnTo>
                        <a:pt x="68" y="262"/>
                      </a:lnTo>
                      <a:lnTo>
                        <a:pt x="67" y="262"/>
                      </a:lnTo>
                      <a:lnTo>
                        <a:pt x="67" y="261"/>
                      </a:lnTo>
                      <a:lnTo>
                        <a:pt x="67" y="262"/>
                      </a:lnTo>
                      <a:lnTo>
                        <a:pt x="67" y="261"/>
                      </a:lnTo>
                      <a:lnTo>
                        <a:pt x="67" y="262"/>
                      </a:lnTo>
                      <a:lnTo>
                        <a:pt x="67" y="261"/>
                      </a:lnTo>
                      <a:close/>
                      <a:moveTo>
                        <a:pt x="67" y="261"/>
                      </a:moveTo>
                      <a:lnTo>
                        <a:pt x="67" y="261"/>
                      </a:lnTo>
                      <a:lnTo>
                        <a:pt x="67" y="261"/>
                      </a:lnTo>
                      <a:close/>
                      <a:moveTo>
                        <a:pt x="68" y="261"/>
                      </a:moveTo>
                      <a:lnTo>
                        <a:pt x="68" y="262"/>
                      </a:lnTo>
                      <a:lnTo>
                        <a:pt x="68" y="261"/>
                      </a:lnTo>
                      <a:lnTo>
                        <a:pt x="67" y="261"/>
                      </a:lnTo>
                      <a:lnTo>
                        <a:pt x="68" y="261"/>
                      </a:lnTo>
                      <a:close/>
                      <a:moveTo>
                        <a:pt x="68" y="263"/>
                      </a:moveTo>
                      <a:lnTo>
                        <a:pt x="68" y="262"/>
                      </a:lnTo>
                      <a:lnTo>
                        <a:pt x="67" y="262"/>
                      </a:lnTo>
                      <a:lnTo>
                        <a:pt x="68" y="262"/>
                      </a:lnTo>
                      <a:lnTo>
                        <a:pt x="67" y="262"/>
                      </a:lnTo>
                      <a:lnTo>
                        <a:pt x="67" y="263"/>
                      </a:lnTo>
                      <a:lnTo>
                        <a:pt x="68" y="263"/>
                      </a:lnTo>
                      <a:lnTo>
                        <a:pt x="67" y="263"/>
                      </a:lnTo>
                      <a:lnTo>
                        <a:pt x="67" y="262"/>
                      </a:lnTo>
                      <a:lnTo>
                        <a:pt x="67" y="262"/>
                      </a:lnTo>
                      <a:lnTo>
                        <a:pt x="67" y="262"/>
                      </a:lnTo>
                      <a:lnTo>
                        <a:pt x="67" y="262"/>
                      </a:lnTo>
                      <a:lnTo>
                        <a:pt x="68" y="262"/>
                      </a:lnTo>
                      <a:lnTo>
                        <a:pt x="68" y="261"/>
                      </a:lnTo>
                      <a:lnTo>
                        <a:pt x="68" y="262"/>
                      </a:lnTo>
                      <a:lnTo>
                        <a:pt x="68" y="261"/>
                      </a:lnTo>
                      <a:lnTo>
                        <a:pt x="69" y="261"/>
                      </a:lnTo>
                      <a:lnTo>
                        <a:pt x="68" y="261"/>
                      </a:lnTo>
                      <a:lnTo>
                        <a:pt x="69" y="261"/>
                      </a:lnTo>
                      <a:lnTo>
                        <a:pt x="68" y="261"/>
                      </a:lnTo>
                      <a:lnTo>
                        <a:pt x="69" y="261"/>
                      </a:lnTo>
                      <a:lnTo>
                        <a:pt x="68" y="262"/>
                      </a:lnTo>
                      <a:lnTo>
                        <a:pt x="69" y="262"/>
                      </a:lnTo>
                      <a:lnTo>
                        <a:pt x="68" y="262"/>
                      </a:lnTo>
                      <a:lnTo>
                        <a:pt x="69" y="262"/>
                      </a:lnTo>
                      <a:lnTo>
                        <a:pt x="69" y="262"/>
                      </a:lnTo>
                      <a:lnTo>
                        <a:pt x="69" y="262"/>
                      </a:lnTo>
                      <a:lnTo>
                        <a:pt x="68" y="262"/>
                      </a:lnTo>
                      <a:lnTo>
                        <a:pt x="69" y="262"/>
                      </a:lnTo>
                      <a:lnTo>
                        <a:pt x="68" y="262"/>
                      </a:lnTo>
                      <a:lnTo>
                        <a:pt x="69" y="262"/>
                      </a:lnTo>
                      <a:lnTo>
                        <a:pt x="69" y="262"/>
                      </a:lnTo>
                      <a:lnTo>
                        <a:pt x="69" y="262"/>
                      </a:lnTo>
                      <a:lnTo>
                        <a:pt x="69" y="262"/>
                      </a:lnTo>
                      <a:lnTo>
                        <a:pt x="69" y="262"/>
                      </a:lnTo>
                      <a:lnTo>
                        <a:pt x="69" y="262"/>
                      </a:lnTo>
                      <a:lnTo>
                        <a:pt x="69" y="262"/>
                      </a:lnTo>
                      <a:lnTo>
                        <a:pt x="68" y="262"/>
                      </a:lnTo>
                      <a:lnTo>
                        <a:pt x="69" y="262"/>
                      </a:lnTo>
                      <a:lnTo>
                        <a:pt x="68" y="262"/>
                      </a:lnTo>
                      <a:lnTo>
                        <a:pt x="68" y="263"/>
                      </a:lnTo>
                      <a:lnTo>
                        <a:pt x="68" y="262"/>
                      </a:lnTo>
                      <a:lnTo>
                        <a:pt x="69" y="262"/>
                      </a:lnTo>
                      <a:lnTo>
                        <a:pt x="69" y="263"/>
                      </a:lnTo>
                      <a:lnTo>
                        <a:pt x="69" y="262"/>
                      </a:lnTo>
                      <a:lnTo>
                        <a:pt x="69" y="263"/>
                      </a:lnTo>
                      <a:lnTo>
                        <a:pt x="69" y="263"/>
                      </a:lnTo>
                      <a:lnTo>
                        <a:pt x="69" y="263"/>
                      </a:lnTo>
                      <a:lnTo>
                        <a:pt x="69" y="263"/>
                      </a:lnTo>
                      <a:lnTo>
                        <a:pt x="69" y="263"/>
                      </a:lnTo>
                      <a:lnTo>
                        <a:pt x="69" y="263"/>
                      </a:lnTo>
                      <a:lnTo>
                        <a:pt x="69" y="262"/>
                      </a:lnTo>
                      <a:lnTo>
                        <a:pt x="69" y="263"/>
                      </a:lnTo>
                      <a:lnTo>
                        <a:pt x="69" y="262"/>
                      </a:lnTo>
                      <a:lnTo>
                        <a:pt x="69" y="263"/>
                      </a:lnTo>
                      <a:lnTo>
                        <a:pt x="69" y="262"/>
                      </a:lnTo>
                      <a:lnTo>
                        <a:pt x="69" y="262"/>
                      </a:lnTo>
                      <a:lnTo>
                        <a:pt x="69" y="262"/>
                      </a:lnTo>
                      <a:lnTo>
                        <a:pt x="70" y="262"/>
                      </a:lnTo>
                      <a:lnTo>
                        <a:pt x="69" y="262"/>
                      </a:lnTo>
                      <a:lnTo>
                        <a:pt x="69" y="262"/>
                      </a:lnTo>
                      <a:lnTo>
                        <a:pt x="69" y="262"/>
                      </a:lnTo>
                      <a:lnTo>
                        <a:pt x="70" y="262"/>
                      </a:lnTo>
                      <a:lnTo>
                        <a:pt x="69" y="262"/>
                      </a:lnTo>
                      <a:lnTo>
                        <a:pt x="70" y="262"/>
                      </a:lnTo>
                      <a:lnTo>
                        <a:pt x="69" y="262"/>
                      </a:lnTo>
                      <a:lnTo>
                        <a:pt x="69" y="262"/>
                      </a:lnTo>
                      <a:lnTo>
                        <a:pt x="69" y="262"/>
                      </a:lnTo>
                      <a:lnTo>
                        <a:pt x="70" y="262"/>
                      </a:lnTo>
                      <a:lnTo>
                        <a:pt x="70" y="262"/>
                      </a:lnTo>
                      <a:lnTo>
                        <a:pt x="70" y="263"/>
                      </a:lnTo>
                      <a:lnTo>
                        <a:pt x="69" y="263"/>
                      </a:lnTo>
                      <a:lnTo>
                        <a:pt x="69" y="263"/>
                      </a:lnTo>
                      <a:lnTo>
                        <a:pt x="68" y="263"/>
                      </a:lnTo>
                      <a:lnTo>
                        <a:pt x="69" y="263"/>
                      </a:lnTo>
                      <a:lnTo>
                        <a:pt x="68" y="263"/>
                      </a:lnTo>
                      <a:lnTo>
                        <a:pt x="69" y="263"/>
                      </a:lnTo>
                      <a:lnTo>
                        <a:pt x="68" y="263"/>
                      </a:lnTo>
                      <a:close/>
                      <a:moveTo>
                        <a:pt x="70" y="261"/>
                      </a:moveTo>
                      <a:lnTo>
                        <a:pt x="69" y="261"/>
                      </a:lnTo>
                      <a:lnTo>
                        <a:pt x="69" y="262"/>
                      </a:lnTo>
                      <a:lnTo>
                        <a:pt x="69" y="261"/>
                      </a:lnTo>
                      <a:lnTo>
                        <a:pt x="69" y="262"/>
                      </a:lnTo>
                      <a:lnTo>
                        <a:pt x="69" y="261"/>
                      </a:lnTo>
                      <a:lnTo>
                        <a:pt x="69" y="262"/>
                      </a:lnTo>
                      <a:lnTo>
                        <a:pt x="69" y="261"/>
                      </a:lnTo>
                      <a:lnTo>
                        <a:pt x="69" y="262"/>
                      </a:lnTo>
                      <a:lnTo>
                        <a:pt x="70" y="261"/>
                      </a:lnTo>
                      <a:lnTo>
                        <a:pt x="69" y="261"/>
                      </a:lnTo>
                      <a:lnTo>
                        <a:pt x="70" y="261"/>
                      </a:lnTo>
                      <a:lnTo>
                        <a:pt x="69" y="261"/>
                      </a:lnTo>
                      <a:lnTo>
                        <a:pt x="70" y="261"/>
                      </a:lnTo>
                      <a:lnTo>
                        <a:pt x="70" y="262"/>
                      </a:lnTo>
                      <a:lnTo>
                        <a:pt x="70" y="261"/>
                      </a:lnTo>
                      <a:lnTo>
                        <a:pt x="70" y="262"/>
                      </a:lnTo>
                      <a:lnTo>
                        <a:pt x="69" y="262"/>
                      </a:lnTo>
                      <a:lnTo>
                        <a:pt x="70" y="262"/>
                      </a:lnTo>
                      <a:lnTo>
                        <a:pt x="70" y="262"/>
                      </a:lnTo>
                      <a:lnTo>
                        <a:pt x="70" y="262"/>
                      </a:lnTo>
                      <a:lnTo>
                        <a:pt x="69" y="262"/>
                      </a:lnTo>
                      <a:lnTo>
                        <a:pt x="70" y="262"/>
                      </a:lnTo>
                      <a:lnTo>
                        <a:pt x="69" y="262"/>
                      </a:lnTo>
                      <a:lnTo>
                        <a:pt x="69" y="261"/>
                      </a:lnTo>
                      <a:lnTo>
                        <a:pt x="70" y="261"/>
                      </a:lnTo>
                      <a:close/>
                      <a:moveTo>
                        <a:pt x="63" y="262"/>
                      </a:moveTo>
                      <a:lnTo>
                        <a:pt x="63" y="261"/>
                      </a:lnTo>
                      <a:lnTo>
                        <a:pt x="63" y="262"/>
                      </a:lnTo>
                      <a:close/>
                      <a:moveTo>
                        <a:pt x="69" y="260"/>
                      </a:moveTo>
                      <a:lnTo>
                        <a:pt x="69" y="261"/>
                      </a:lnTo>
                      <a:lnTo>
                        <a:pt x="70" y="261"/>
                      </a:lnTo>
                      <a:lnTo>
                        <a:pt x="70" y="260"/>
                      </a:lnTo>
                      <a:lnTo>
                        <a:pt x="69" y="260"/>
                      </a:lnTo>
                      <a:lnTo>
                        <a:pt x="70" y="260"/>
                      </a:lnTo>
                      <a:lnTo>
                        <a:pt x="70" y="261"/>
                      </a:lnTo>
                      <a:lnTo>
                        <a:pt x="69" y="261"/>
                      </a:lnTo>
                      <a:lnTo>
                        <a:pt x="69" y="260"/>
                      </a:lnTo>
                      <a:lnTo>
                        <a:pt x="69" y="261"/>
                      </a:lnTo>
                      <a:lnTo>
                        <a:pt x="69" y="260"/>
                      </a:lnTo>
                      <a:close/>
                      <a:moveTo>
                        <a:pt x="70" y="261"/>
                      </a:moveTo>
                      <a:lnTo>
                        <a:pt x="70" y="260"/>
                      </a:lnTo>
                      <a:lnTo>
                        <a:pt x="70" y="261"/>
                      </a:lnTo>
                      <a:lnTo>
                        <a:pt x="70" y="260"/>
                      </a:lnTo>
                      <a:lnTo>
                        <a:pt x="70" y="261"/>
                      </a:lnTo>
                      <a:close/>
                      <a:moveTo>
                        <a:pt x="67" y="260"/>
                      </a:moveTo>
                      <a:lnTo>
                        <a:pt x="67" y="261"/>
                      </a:lnTo>
                      <a:lnTo>
                        <a:pt x="68" y="261"/>
                      </a:lnTo>
                      <a:lnTo>
                        <a:pt x="67" y="261"/>
                      </a:lnTo>
                      <a:lnTo>
                        <a:pt x="68" y="261"/>
                      </a:lnTo>
                      <a:lnTo>
                        <a:pt x="68" y="260"/>
                      </a:lnTo>
                      <a:lnTo>
                        <a:pt x="68" y="261"/>
                      </a:lnTo>
                      <a:lnTo>
                        <a:pt x="68" y="260"/>
                      </a:lnTo>
                      <a:lnTo>
                        <a:pt x="68" y="261"/>
                      </a:lnTo>
                      <a:lnTo>
                        <a:pt x="67" y="261"/>
                      </a:lnTo>
                      <a:lnTo>
                        <a:pt x="68" y="261"/>
                      </a:lnTo>
                      <a:lnTo>
                        <a:pt x="67" y="261"/>
                      </a:lnTo>
                      <a:lnTo>
                        <a:pt x="67" y="260"/>
                      </a:lnTo>
                      <a:close/>
                      <a:moveTo>
                        <a:pt x="68" y="260"/>
                      </a:moveTo>
                      <a:lnTo>
                        <a:pt x="67" y="260"/>
                      </a:lnTo>
                      <a:lnTo>
                        <a:pt x="68" y="260"/>
                      </a:lnTo>
                      <a:close/>
                      <a:moveTo>
                        <a:pt x="68" y="260"/>
                      </a:moveTo>
                      <a:lnTo>
                        <a:pt x="68" y="260"/>
                      </a:lnTo>
                      <a:lnTo>
                        <a:pt x="68" y="260"/>
                      </a:lnTo>
                      <a:lnTo>
                        <a:pt x="68" y="260"/>
                      </a:lnTo>
                      <a:lnTo>
                        <a:pt x="69" y="260"/>
                      </a:lnTo>
                      <a:lnTo>
                        <a:pt x="68" y="260"/>
                      </a:lnTo>
                      <a:lnTo>
                        <a:pt x="69" y="260"/>
                      </a:lnTo>
                      <a:lnTo>
                        <a:pt x="68" y="260"/>
                      </a:lnTo>
                      <a:lnTo>
                        <a:pt x="68" y="261"/>
                      </a:lnTo>
                      <a:lnTo>
                        <a:pt x="68" y="260"/>
                      </a:lnTo>
                      <a:lnTo>
                        <a:pt x="68" y="261"/>
                      </a:lnTo>
                      <a:lnTo>
                        <a:pt x="68" y="260"/>
                      </a:lnTo>
                      <a:lnTo>
                        <a:pt x="67" y="260"/>
                      </a:lnTo>
                      <a:lnTo>
                        <a:pt x="67" y="260"/>
                      </a:lnTo>
                      <a:lnTo>
                        <a:pt x="68" y="260"/>
                      </a:lnTo>
                      <a:lnTo>
                        <a:pt x="68" y="260"/>
                      </a:lnTo>
                      <a:lnTo>
                        <a:pt x="67" y="260"/>
                      </a:lnTo>
                      <a:lnTo>
                        <a:pt x="68" y="260"/>
                      </a:lnTo>
                      <a:lnTo>
                        <a:pt x="68" y="260"/>
                      </a:lnTo>
                      <a:lnTo>
                        <a:pt x="68" y="260"/>
                      </a:lnTo>
                      <a:lnTo>
                        <a:pt x="68" y="260"/>
                      </a:lnTo>
                      <a:lnTo>
                        <a:pt x="68" y="260"/>
                      </a:lnTo>
                      <a:lnTo>
                        <a:pt x="69" y="260"/>
                      </a:lnTo>
                      <a:lnTo>
                        <a:pt x="68" y="260"/>
                      </a:lnTo>
                      <a:lnTo>
                        <a:pt x="69" y="260"/>
                      </a:lnTo>
                      <a:lnTo>
                        <a:pt x="68" y="260"/>
                      </a:lnTo>
                      <a:close/>
                      <a:moveTo>
                        <a:pt x="63" y="260"/>
                      </a:moveTo>
                      <a:lnTo>
                        <a:pt x="63" y="260"/>
                      </a:lnTo>
                      <a:lnTo>
                        <a:pt x="64" y="260"/>
                      </a:lnTo>
                      <a:lnTo>
                        <a:pt x="64" y="260"/>
                      </a:lnTo>
                      <a:lnTo>
                        <a:pt x="63" y="260"/>
                      </a:lnTo>
                      <a:lnTo>
                        <a:pt x="64" y="260"/>
                      </a:lnTo>
                      <a:lnTo>
                        <a:pt x="63" y="260"/>
                      </a:lnTo>
                      <a:lnTo>
                        <a:pt x="64" y="260"/>
                      </a:lnTo>
                      <a:lnTo>
                        <a:pt x="63" y="260"/>
                      </a:lnTo>
                      <a:close/>
                      <a:moveTo>
                        <a:pt x="70" y="260"/>
                      </a:moveTo>
                      <a:lnTo>
                        <a:pt x="71" y="260"/>
                      </a:lnTo>
                      <a:lnTo>
                        <a:pt x="70" y="260"/>
                      </a:lnTo>
                      <a:close/>
                      <a:moveTo>
                        <a:pt x="71" y="260"/>
                      </a:moveTo>
                      <a:lnTo>
                        <a:pt x="71" y="259"/>
                      </a:lnTo>
                      <a:lnTo>
                        <a:pt x="71" y="260"/>
                      </a:lnTo>
                      <a:close/>
                      <a:moveTo>
                        <a:pt x="69" y="259"/>
                      </a:moveTo>
                      <a:lnTo>
                        <a:pt x="69" y="260"/>
                      </a:lnTo>
                      <a:lnTo>
                        <a:pt x="69" y="259"/>
                      </a:lnTo>
                      <a:close/>
                      <a:moveTo>
                        <a:pt x="66" y="260"/>
                      </a:moveTo>
                      <a:lnTo>
                        <a:pt x="66" y="260"/>
                      </a:lnTo>
                      <a:lnTo>
                        <a:pt x="66" y="260"/>
                      </a:lnTo>
                      <a:lnTo>
                        <a:pt x="66" y="260"/>
                      </a:lnTo>
                      <a:lnTo>
                        <a:pt x="66" y="259"/>
                      </a:lnTo>
                      <a:lnTo>
                        <a:pt x="66" y="259"/>
                      </a:lnTo>
                      <a:lnTo>
                        <a:pt x="66" y="259"/>
                      </a:lnTo>
                      <a:lnTo>
                        <a:pt x="66" y="260"/>
                      </a:lnTo>
                      <a:lnTo>
                        <a:pt x="66" y="260"/>
                      </a:lnTo>
                      <a:close/>
                      <a:moveTo>
                        <a:pt x="69" y="260"/>
                      </a:moveTo>
                      <a:lnTo>
                        <a:pt x="69" y="260"/>
                      </a:lnTo>
                      <a:lnTo>
                        <a:pt x="69" y="260"/>
                      </a:lnTo>
                      <a:lnTo>
                        <a:pt x="69" y="260"/>
                      </a:lnTo>
                      <a:lnTo>
                        <a:pt x="69" y="260"/>
                      </a:lnTo>
                      <a:lnTo>
                        <a:pt x="69" y="260"/>
                      </a:lnTo>
                      <a:lnTo>
                        <a:pt x="69" y="260"/>
                      </a:lnTo>
                      <a:lnTo>
                        <a:pt x="69" y="260"/>
                      </a:lnTo>
                      <a:lnTo>
                        <a:pt x="69" y="260"/>
                      </a:lnTo>
                      <a:lnTo>
                        <a:pt x="69" y="260"/>
                      </a:lnTo>
                      <a:lnTo>
                        <a:pt x="69" y="260"/>
                      </a:lnTo>
                      <a:lnTo>
                        <a:pt x="69" y="260"/>
                      </a:lnTo>
                      <a:lnTo>
                        <a:pt x="69" y="261"/>
                      </a:lnTo>
                      <a:lnTo>
                        <a:pt x="69" y="260"/>
                      </a:lnTo>
                      <a:lnTo>
                        <a:pt x="69" y="261"/>
                      </a:lnTo>
                      <a:lnTo>
                        <a:pt x="69" y="260"/>
                      </a:lnTo>
                      <a:lnTo>
                        <a:pt x="69" y="261"/>
                      </a:lnTo>
                      <a:lnTo>
                        <a:pt x="69" y="261"/>
                      </a:lnTo>
                      <a:lnTo>
                        <a:pt x="69" y="261"/>
                      </a:lnTo>
                      <a:lnTo>
                        <a:pt x="69" y="261"/>
                      </a:lnTo>
                      <a:lnTo>
                        <a:pt x="69" y="261"/>
                      </a:lnTo>
                      <a:lnTo>
                        <a:pt x="69" y="260"/>
                      </a:lnTo>
                      <a:lnTo>
                        <a:pt x="69" y="260"/>
                      </a:lnTo>
                      <a:lnTo>
                        <a:pt x="69" y="261"/>
                      </a:lnTo>
                      <a:lnTo>
                        <a:pt x="69" y="260"/>
                      </a:lnTo>
                      <a:lnTo>
                        <a:pt x="69" y="260"/>
                      </a:lnTo>
                      <a:lnTo>
                        <a:pt x="69" y="260"/>
                      </a:lnTo>
                      <a:lnTo>
                        <a:pt x="69" y="260"/>
                      </a:lnTo>
                      <a:lnTo>
                        <a:pt x="69" y="260"/>
                      </a:lnTo>
                      <a:lnTo>
                        <a:pt x="69" y="260"/>
                      </a:lnTo>
                      <a:lnTo>
                        <a:pt x="69" y="260"/>
                      </a:lnTo>
                      <a:lnTo>
                        <a:pt x="69" y="260"/>
                      </a:lnTo>
                      <a:lnTo>
                        <a:pt x="70" y="260"/>
                      </a:lnTo>
                      <a:lnTo>
                        <a:pt x="69" y="260"/>
                      </a:lnTo>
                      <a:lnTo>
                        <a:pt x="69" y="260"/>
                      </a:lnTo>
                      <a:lnTo>
                        <a:pt x="69" y="261"/>
                      </a:lnTo>
                      <a:lnTo>
                        <a:pt x="69" y="261"/>
                      </a:lnTo>
                      <a:lnTo>
                        <a:pt x="69" y="261"/>
                      </a:lnTo>
                      <a:lnTo>
                        <a:pt x="69" y="261"/>
                      </a:lnTo>
                      <a:lnTo>
                        <a:pt x="69" y="262"/>
                      </a:lnTo>
                      <a:lnTo>
                        <a:pt x="69" y="262"/>
                      </a:lnTo>
                      <a:lnTo>
                        <a:pt x="69" y="262"/>
                      </a:lnTo>
                      <a:lnTo>
                        <a:pt x="69" y="261"/>
                      </a:lnTo>
                      <a:lnTo>
                        <a:pt x="68" y="261"/>
                      </a:lnTo>
                      <a:lnTo>
                        <a:pt x="69" y="260"/>
                      </a:lnTo>
                      <a:lnTo>
                        <a:pt x="69" y="261"/>
                      </a:lnTo>
                      <a:lnTo>
                        <a:pt x="69" y="260"/>
                      </a:lnTo>
                      <a:lnTo>
                        <a:pt x="69" y="260"/>
                      </a:lnTo>
                      <a:lnTo>
                        <a:pt x="69" y="260"/>
                      </a:lnTo>
                      <a:lnTo>
                        <a:pt x="69" y="260"/>
                      </a:lnTo>
                      <a:lnTo>
                        <a:pt x="69" y="260"/>
                      </a:lnTo>
                      <a:lnTo>
                        <a:pt x="69" y="260"/>
                      </a:lnTo>
                      <a:lnTo>
                        <a:pt x="69" y="260"/>
                      </a:lnTo>
                      <a:lnTo>
                        <a:pt x="69" y="260"/>
                      </a:lnTo>
                      <a:lnTo>
                        <a:pt x="69" y="260"/>
                      </a:lnTo>
                      <a:lnTo>
                        <a:pt x="69" y="259"/>
                      </a:lnTo>
                      <a:lnTo>
                        <a:pt x="69" y="260"/>
                      </a:lnTo>
                      <a:lnTo>
                        <a:pt x="69" y="259"/>
                      </a:lnTo>
                      <a:lnTo>
                        <a:pt x="69" y="259"/>
                      </a:lnTo>
                      <a:lnTo>
                        <a:pt x="69" y="259"/>
                      </a:lnTo>
                      <a:lnTo>
                        <a:pt x="69" y="260"/>
                      </a:lnTo>
                      <a:lnTo>
                        <a:pt x="69" y="260"/>
                      </a:lnTo>
                      <a:close/>
                      <a:moveTo>
                        <a:pt x="66" y="260"/>
                      </a:moveTo>
                      <a:lnTo>
                        <a:pt x="66" y="259"/>
                      </a:lnTo>
                      <a:lnTo>
                        <a:pt x="66" y="260"/>
                      </a:lnTo>
                      <a:lnTo>
                        <a:pt x="66" y="259"/>
                      </a:lnTo>
                      <a:lnTo>
                        <a:pt x="66" y="260"/>
                      </a:lnTo>
                      <a:lnTo>
                        <a:pt x="66" y="259"/>
                      </a:lnTo>
                      <a:lnTo>
                        <a:pt x="67" y="259"/>
                      </a:lnTo>
                      <a:lnTo>
                        <a:pt x="66" y="259"/>
                      </a:lnTo>
                      <a:lnTo>
                        <a:pt x="66" y="260"/>
                      </a:lnTo>
                      <a:lnTo>
                        <a:pt x="66" y="259"/>
                      </a:lnTo>
                      <a:lnTo>
                        <a:pt x="66" y="260"/>
                      </a:lnTo>
                      <a:lnTo>
                        <a:pt x="67" y="260"/>
                      </a:lnTo>
                      <a:lnTo>
                        <a:pt x="66" y="260"/>
                      </a:lnTo>
                      <a:lnTo>
                        <a:pt x="66" y="259"/>
                      </a:lnTo>
                      <a:lnTo>
                        <a:pt x="66" y="260"/>
                      </a:lnTo>
                      <a:lnTo>
                        <a:pt x="66" y="260"/>
                      </a:lnTo>
                      <a:lnTo>
                        <a:pt x="66" y="260"/>
                      </a:lnTo>
                      <a:lnTo>
                        <a:pt x="66" y="260"/>
                      </a:lnTo>
                      <a:lnTo>
                        <a:pt x="66" y="260"/>
                      </a:lnTo>
                      <a:close/>
                      <a:moveTo>
                        <a:pt x="69" y="259"/>
                      </a:moveTo>
                      <a:lnTo>
                        <a:pt x="69" y="260"/>
                      </a:lnTo>
                      <a:lnTo>
                        <a:pt x="69" y="260"/>
                      </a:lnTo>
                      <a:lnTo>
                        <a:pt x="69" y="260"/>
                      </a:lnTo>
                      <a:lnTo>
                        <a:pt x="68" y="260"/>
                      </a:lnTo>
                      <a:lnTo>
                        <a:pt x="69" y="260"/>
                      </a:lnTo>
                      <a:lnTo>
                        <a:pt x="68" y="260"/>
                      </a:lnTo>
                      <a:lnTo>
                        <a:pt x="69" y="260"/>
                      </a:lnTo>
                      <a:lnTo>
                        <a:pt x="69" y="259"/>
                      </a:lnTo>
                      <a:lnTo>
                        <a:pt x="68" y="259"/>
                      </a:lnTo>
                      <a:lnTo>
                        <a:pt x="69" y="259"/>
                      </a:lnTo>
                      <a:lnTo>
                        <a:pt x="68" y="259"/>
                      </a:lnTo>
                      <a:lnTo>
                        <a:pt x="69" y="259"/>
                      </a:lnTo>
                      <a:close/>
                      <a:moveTo>
                        <a:pt x="65" y="260"/>
                      </a:moveTo>
                      <a:lnTo>
                        <a:pt x="65" y="259"/>
                      </a:lnTo>
                      <a:lnTo>
                        <a:pt x="66" y="259"/>
                      </a:lnTo>
                      <a:lnTo>
                        <a:pt x="65" y="259"/>
                      </a:lnTo>
                      <a:lnTo>
                        <a:pt x="66" y="259"/>
                      </a:lnTo>
                      <a:lnTo>
                        <a:pt x="65" y="259"/>
                      </a:lnTo>
                      <a:lnTo>
                        <a:pt x="65" y="260"/>
                      </a:lnTo>
                      <a:lnTo>
                        <a:pt x="66" y="260"/>
                      </a:lnTo>
                      <a:lnTo>
                        <a:pt x="65" y="260"/>
                      </a:lnTo>
                      <a:close/>
                      <a:moveTo>
                        <a:pt x="66" y="259"/>
                      </a:moveTo>
                      <a:lnTo>
                        <a:pt x="66" y="259"/>
                      </a:lnTo>
                      <a:lnTo>
                        <a:pt x="66" y="259"/>
                      </a:lnTo>
                      <a:close/>
                      <a:moveTo>
                        <a:pt x="64" y="259"/>
                      </a:moveTo>
                      <a:lnTo>
                        <a:pt x="64" y="259"/>
                      </a:lnTo>
                      <a:lnTo>
                        <a:pt x="64" y="259"/>
                      </a:lnTo>
                      <a:close/>
                      <a:moveTo>
                        <a:pt x="69" y="259"/>
                      </a:moveTo>
                      <a:lnTo>
                        <a:pt x="69" y="259"/>
                      </a:lnTo>
                      <a:lnTo>
                        <a:pt x="69" y="259"/>
                      </a:lnTo>
                      <a:close/>
                      <a:moveTo>
                        <a:pt x="64" y="259"/>
                      </a:moveTo>
                      <a:lnTo>
                        <a:pt x="64" y="259"/>
                      </a:lnTo>
                      <a:lnTo>
                        <a:pt x="65" y="259"/>
                      </a:lnTo>
                      <a:lnTo>
                        <a:pt x="64" y="259"/>
                      </a:lnTo>
                      <a:lnTo>
                        <a:pt x="64" y="259"/>
                      </a:lnTo>
                      <a:close/>
                      <a:moveTo>
                        <a:pt x="66" y="259"/>
                      </a:moveTo>
                      <a:lnTo>
                        <a:pt x="66" y="259"/>
                      </a:lnTo>
                      <a:lnTo>
                        <a:pt x="66" y="259"/>
                      </a:lnTo>
                      <a:lnTo>
                        <a:pt x="66" y="259"/>
                      </a:lnTo>
                      <a:lnTo>
                        <a:pt x="66" y="259"/>
                      </a:lnTo>
                      <a:lnTo>
                        <a:pt x="66" y="259"/>
                      </a:lnTo>
                      <a:lnTo>
                        <a:pt x="66" y="259"/>
                      </a:lnTo>
                      <a:lnTo>
                        <a:pt x="66" y="259"/>
                      </a:lnTo>
                      <a:lnTo>
                        <a:pt x="66" y="259"/>
                      </a:lnTo>
                      <a:lnTo>
                        <a:pt x="66" y="259"/>
                      </a:lnTo>
                      <a:lnTo>
                        <a:pt x="66" y="259"/>
                      </a:lnTo>
                      <a:lnTo>
                        <a:pt x="66" y="259"/>
                      </a:lnTo>
                      <a:lnTo>
                        <a:pt x="66" y="259"/>
                      </a:lnTo>
                      <a:lnTo>
                        <a:pt x="66" y="259"/>
                      </a:lnTo>
                      <a:lnTo>
                        <a:pt x="66" y="259"/>
                      </a:lnTo>
                      <a:lnTo>
                        <a:pt x="66" y="259"/>
                      </a:lnTo>
                      <a:lnTo>
                        <a:pt x="66" y="259"/>
                      </a:lnTo>
                      <a:close/>
                      <a:moveTo>
                        <a:pt x="67" y="259"/>
                      </a:moveTo>
                      <a:lnTo>
                        <a:pt x="67" y="259"/>
                      </a:lnTo>
                      <a:lnTo>
                        <a:pt x="67" y="259"/>
                      </a:lnTo>
                      <a:close/>
                      <a:moveTo>
                        <a:pt x="69" y="259"/>
                      </a:moveTo>
                      <a:lnTo>
                        <a:pt x="69" y="259"/>
                      </a:lnTo>
                      <a:lnTo>
                        <a:pt x="69" y="259"/>
                      </a:lnTo>
                      <a:lnTo>
                        <a:pt x="70" y="259"/>
                      </a:lnTo>
                      <a:lnTo>
                        <a:pt x="69" y="259"/>
                      </a:lnTo>
                      <a:lnTo>
                        <a:pt x="69" y="259"/>
                      </a:lnTo>
                      <a:close/>
                      <a:moveTo>
                        <a:pt x="69" y="259"/>
                      </a:moveTo>
                      <a:lnTo>
                        <a:pt x="69" y="259"/>
                      </a:lnTo>
                      <a:lnTo>
                        <a:pt x="69" y="259"/>
                      </a:lnTo>
                      <a:lnTo>
                        <a:pt x="69" y="259"/>
                      </a:lnTo>
                      <a:lnTo>
                        <a:pt x="69" y="259"/>
                      </a:lnTo>
                      <a:lnTo>
                        <a:pt x="69" y="259"/>
                      </a:lnTo>
                      <a:lnTo>
                        <a:pt x="69" y="259"/>
                      </a:lnTo>
                      <a:close/>
                      <a:moveTo>
                        <a:pt x="561" y="259"/>
                      </a:moveTo>
                      <a:lnTo>
                        <a:pt x="562" y="259"/>
                      </a:lnTo>
                      <a:lnTo>
                        <a:pt x="562" y="260"/>
                      </a:lnTo>
                      <a:lnTo>
                        <a:pt x="563" y="260"/>
                      </a:lnTo>
                      <a:lnTo>
                        <a:pt x="562" y="260"/>
                      </a:lnTo>
                      <a:lnTo>
                        <a:pt x="561" y="260"/>
                      </a:lnTo>
                      <a:lnTo>
                        <a:pt x="561" y="259"/>
                      </a:lnTo>
                      <a:lnTo>
                        <a:pt x="560" y="259"/>
                      </a:lnTo>
                      <a:lnTo>
                        <a:pt x="561" y="259"/>
                      </a:lnTo>
                      <a:lnTo>
                        <a:pt x="560" y="259"/>
                      </a:lnTo>
                      <a:lnTo>
                        <a:pt x="561" y="259"/>
                      </a:lnTo>
                      <a:lnTo>
                        <a:pt x="561" y="259"/>
                      </a:lnTo>
                      <a:close/>
                      <a:moveTo>
                        <a:pt x="69" y="259"/>
                      </a:moveTo>
                      <a:lnTo>
                        <a:pt x="69" y="259"/>
                      </a:lnTo>
                      <a:lnTo>
                        <a:pt x="69" y="259"/>
                      </a:lnTo>
                      <a:close/>
                      <a:moveTo>
                        <a:pt x="73" y="258"/>
                      </a:moveTo>
                      <a:lnTo>
                        <a:pt x="73" y="259"/>
                      </a:lnTo>
                      <a:lnTo>
                        <a:pt x="73" y="258"/>
                      </a:lnTo>
                      <a:close/>
                      <a:moveTo>
                        <a:pt x="70" y="259"/>
                      </a:moveTo>
                      <a:lnTo>
                        <a:pt x="70" y="259"/>
                      </a:lnTo>
                      <a:lnTo>
                        <a:pt x="70" y="259"/>
                      </a:lnTo>
                      <a:lnTo>
                        <a:pt x="70" y="260"/>
                      </a:lnTo>
                      <a:lnTo>
                        <a:pt x="70" y="260"/>
                      </a:lnTo>
                      <a:lnTo>
                        <a:pt x="70" y="260"/>
                      </a:lnTo>
                      <a:lnTo>
                        <a:pt x="70" y="261"/>
                      </a:lnTo>
                      <a:lnTo>
                        <a:pt x="70" y="260"/>
                      </a:lnTo>
                      <a:lnTo>
                        <a:pt x="69" y="260"/>
                      </a:lnTo>
                      <a:lnTo>
                        <a:pt x="70" y="260"/>
                      </a:lnTo>
                      <a:lnTo>
                        <a:pt x="69" y="260"/>
                      </a:lnTo>
                      <a:lnTo>
                        <a:pt x="70" y="260"/>
                      </a:lnTo>
                      <a:lnTo>
                        <a:pt x="69" y="259"/>
                      </a:lnTo>
                      <a:lnTo>
                        <a:pt x="70" y="259"/>
                      </a:lnTo>
                      <a:lnTo>
                        <a:pt x="69" y="259"/>
                      </a:lnTo>
                      <a:lnTo>
                        <a:pt x="70" y="259"/>
                      </a:lnTo>
                      <a:lnTo>
                        <a:pt x="69" y="259"/>
                      </a:lnTo>
                      <a:lnTo>
                        <a:pt x="70" y="259"/>
                      </a:lnTo>
                      <a:lnTo>
                        <a:pt x="69" y="259"/>
                      </a:lnTo>
                      <a:lnTo>
                        <a:pt x="70" y="259"/>
                      </a:lnTo>
                      <a:lnTo>
                        <a:pt x="70" y="260"/>
                      </a:lnTo>
                      <a:lnTo>
                        <a:pt x="70" y="259"/>
                      </a:lnTo>
                      <a:lnTo>
                        <a:pt x="70" y="259"/>
                      </a:lnTo>
                      <a:lnTo>
                        <a:pt x="70" y="259"/>
                      </a:lnTo>
                      <a:lnTo>
                        <a:pt x="70" y="259"/>
                      </a:lnTo>
                      <a:lnTo>
                        <a:pt x="70" y="259"/>
                      </a:lnTo>
                      <a:lnTo>
                        <a:pt x="70" y="259"/>
                      </a:lnTo>
                      <a:lnTo>
                        <a:pt x="70" y="259"/>
                      </a:lnTo>
                      <a:lnTo>
                        <a:pt x="70" y="259"/>
                      </a:lnTo>
                      <a:lnTo>
                        <a:pt x="70" y="259"/>
                      </a:lnTo>
                      <a:lnTo>
                        <a:pt x="70" y="259"/>
                      </a:lnTo>
                      <a:lnTo>
                        <a:pt x="70" y="259"/>
                      </a:lnTo>
                      <a:lnTo>
                        <a:pt x="71" y="259"/>
                      </a:lnTo>
                      <a:lnTo>
                        <a:pt x="70" y="259"/>
                      </a:lnTo>
                      <a:lnTo>
                        <a:pt x="71" y="259"/>
                      </a:lnTo>
                      <a:lnTo>
                        <a:pt x="71" y="258"/>
                      </a:lnTo>
                      <a:lnTo>
                        <a:pt x="71" y="259"/>
                      </a:lnTo>
                      <a:lnTo>
                        <a:pt x="71" y="258"/>
                      </a:lnTo>
                      <a:lnTo>
                        <a:pt x="71" y="259"/>
                      </a:lnTo>
                      <a:lnTo>
                        <a:pt x="71" y="258"/>
                      </a:lnTo>
                      <a:lnTo>
                        <a:pt x="71" y="259"/>
                      </a:lnTo>
                      <a:lnTo>
                        <a:pt x="70" y="259"/>
                      </a:lnTo>
                      <a:lnTo>
                        <a:pt x="70" y="259"/>
                      </a:lnTo>
                      <a:lnTo>
                        <a:pt x="70" y="259"/>
                      </a:lnTo>
                      <a:lnTo>
                        <a:pt x="70" y="259"/>
                      </a:lnTo>
                      <a:close/>
                      <a:moveTo>
                        <a:pt x="71" y="259"/>
                      </a:moveTo>
                      <a:lnTo>
                        <a:pt x="71" y="258"/>
                      </a:lnTo>
                      <a:lnTo>
                        <a:pt x="71" y="259"/>
                      </a:lnTo>
                      <a:lnTo>
                        <a:pt x="70" y="259"/>
                      </a:lnTo>
                      <a:lnTo>
                        <a:pt x="71" y="258"/>
                      </a:lnTo>
                      <a:lnTo>
                        <a:pt x="70" y="258"/>
                      </a:lnTo>
                      <a:lnTo>
                        <a:pt x="71" y="258"/>
                      </a:lnTo>
                      <a:lnTo>
                        <a:pt x="71" y="259"/>
                      </a:lnTo>
                      <a:close/>
                      <a:moveTo>
                        <a:pt x="67" y="259"/>
                      </a:moveTo>
                      <a:lnTo>
                        <a:pt x="66" y="259"/>
                      </a:lnTo>
                      <a:lnTo>
                        <a:pt x="66" y="258"/>
                      </a:lnTo>
                      <a:lnTo>
                        <a:pt x="66" y="259"/>
                      </a:lnTo>
                      <a:lnTo>
                        <a:pt x="67" y="259"/>
                      </a:lnTo>
                      <a:close/>
                      <a:moveTo>
                        <a:pt x="70" y="259"/>
                      </a:moveTo>
                      <a:lnTo>
                        <a:pt x="70" y="259"/>
                      </a:lnTo>
                      <a:lnTo>
                        <a:pt x="70" y="258"/>
                      </a:lnTo>
                      <a:lnTo>
                        <a:pt x="70" y="258"/>
                      </a:lnTo>
                      <a:lnTo>
                        <a:pt x="70" y="259"/>
                      </a:lnTo>
                      <a:lnTo>
                        <a:pt x="70" y="259"/>
                      </a:lnTo>
                      <a:lnTo>
                        <a:pt x="70" y="259"/>
                      </a:lnTo>
                      <a:lnTo>
                        <a:pt x="70" y="258"/>
                      </a:lnTo>
                      <a:lnTo>
                        <a:pt x="70" y="259"/>
                      </a:lnTo>
                      <a:close/>
                      <a:moveTo>
                        <a:pt x="69" y="258"/>
                      </a:moveTo>
                      <a:lnTo>
                        <a:pt x="69" y="259"/>
                      </a:lnTo>
                      <a:lnTo>
                        <a:pt x="69" y="258"/>
                      </a:lnTo>
                      <a:lnTo>
                        <a:pt x="69" y="259"/>
                      </a:lnTo>
                      <a:lnTo>
                        <a:pt x="69" y="258"/>
                      </a:lnTo>
                      <a:close/>
                      <a:moveTo>
                        <a:pt x="65" y="260"/>
                      </a:moveTo>
                      <a:lnTo>
                        <a:pt x="65" y="259"/>
                      </a:lnTo>
                      <a:lnTo>
                        <a:pt x="65" y="260"/>
                      </a:lnTo>
                      <a:lnTo>
                        <a:pt x="65" y="259"/>
                      </a:lnTo>
                      <a:lnTo>
                        <a:pt x="65" y="260"/>
                      </a:lnTo>
                      <a:lnTo>
                        <a:pt x="65" y="259"/>
                      </a:lnTo>
                      <a:lnTo>
                        <a:pt x="65" y="259"/>
                      </a:lnTo>
                      <a:lnTo>
                        <a:pt x="65" y="259"/>
                      </a:lnTo>
                      <a:lnTo>
                        <a:pt x="65" y="259"/>
                      </a:lnTo>
                      <a:lnTo>
                        <a:pt x="65" y="260"/>
                      </a:lnTo>
                      <a:lnTo>
                        <a:pt x="65" y="260"/>
                      </a:lnTo>
                      <a:lnTo>
                        <a:pt x="65" y="260"/>
                      </a:lnTo>
                      <a:lnTo>
                        <a:pt x="65" y="260"/>
                      </a:lnTo>
                      <a:lnTo>
                        <a:pt x="65" y="259"/>
                      </a:lnTo>
                      <a:lnTo>
                        <a:pt x="65" y="260"/>
                      </a:lnTo>
                      <a:lnTo>
                        <a:pt x="65" y="260"/>
                      </a:lnTo>
                      <a:lnTo>
                        <a:pt x="65" y="260"/>
                      </a:lnTo>
                      <a:lnTo>
                        <a:pt x="65" y="260"/>
                      </a:lnTo>
                      <a:lnTo>
                        <a:pt x="64" y="260"/>
                      </a:lnTo>
                      <a:lnTo>
                        <a:pt x="64" y="260"/>
                      </a:lnTo>
                      <a:lnTo>
                        <a:pt x="64" y="259"/>
                      </a:lnTo>
                      <a:lnTo>
                        <a:pt x="65" y="259"/>
                      </a:lnTo>
                      <a:lnTo>
                        <a:pt x="64" y="259"/>
                      </a:lnTo>
                      <a:lnTo>
                        <a:pt x="65" y="259"/>
                      </a:lnTo>
                      <a:lnTo>
                        <a:pt x="64" y="259"/>
                      </a:lnTo>
                      <a:lnTo>
                        <a:pt x="65" y="259"/>
                      </a:lnTo>
                      <a:lnTo>
                        <a:pt x="64" y="259"/>
                      </a:lnTo>
                      <a:lnTo>
                        <a:pt x="65" y="259"/>
                      </a:lnTo>
                      <a:lnTo>
                        <a:pt x="64" y="259"/>
                      </a:lnTo>
                      <a:lnTo>
                        <a:pt x="65" y="259"/>
                      </a:lnTo>
                      <a:lnTo>
                        <a:pt x="65" y="260"/>
                      </a:lnTo>
                      <a:lnTo>
                        <a:pt x="64" y="259"/>
                      </a:lnTo>
                      <a:lnTo>
                        <a:pt x="64" y="260"/>
                      </a:lnTo>
                      <a:lnTo>
                        <a:pt x="65" y="260"/>
                      </a:lnTo>
                      <a:lnTo>
                        <a:pt x="65" y="259"/>
                      </a:lnTo>
                      <a:lnTo>
                        <a:pt x="65" y="260"/>
                      </a:lnTo>
                      <a:lnTo>
                        <a:pt x="65" y="259"/>
                      </a:lnTo>
                      <a:lnTo>
                        <a:pt x="65" y="259"/>
                      </a:lnTo>
                      <a:lnTo>
                        <a:pt x="65" y="259"/>
                      </a:lnTo>
                      <a:lnTo>
                        <a:pt x="65" y="259"/>
                      </a:lnTo>
                      <a:lnTo>
                        <a:pt x="65" y="259"/>
                      </a:lnTo>
                      <a:lnTo>
                        <a:pt x="65" y="259"/>
                      </a:lnTo>
                      <a:lnTo>
                        <a:pt x="65" y="259"/>
                      </a:lnTo>
                      <a:lnTo>
                        <a:pt x="65" y="259"/>
                      </a:lnTo>
                      <a:lnTo>
                        <a:pt x="65" y="258"/>
                      </a:lnTo>
                      <a:lnTo>
                        <a:pt x="65" y="258"/>
                      </a:lnTo>
                      <a:lnTo>
                        <a:pt x="65" y="259"/>
                      </a:lnTo>
                      <a:lnTo>
                        <a:pt x="66" y="258"/>
                      </a:lnTo>
                      <a:lnTo>
                        <a:pt x="65" y="259"/>
                      </a:lnTo>
                      <a:lnTo>
                        <a:pt x="66" y="258"/>
                      </a:lnTo>
                      <a:lnTo>
                        <a:pt x="65" y="259"/>
                      </a:lnTo>
                      <a:lnTo>
                        <a:pt x="66" y="258"/>
                      </a:lnTo>
                      <a:lnTo>
                        <a:pt x="65" y="259"/>
                      </a:lnTo>
                      <a:lnTo>
                        <a:pt x="65" y="258"/>
                      </a:lnTo>
                      <a:lnTo>
                        <a:pt x="65" y="259"/>
                      </a:lnTo>
                      <a:lnTo>
                        <a:pt x="65" y="258"/>
                      </a:lnTo>
                      <a:lnTo>
                        <a:pt x="65" y="259"/>
                      </a:lnTo>
                      <a:lnTo>
                        <a:pt x="65" y="258"/>
                      </a:lnTo>
                      <a:lnTo>
                        <a:pt x="65" y="258"/>
                      </a:lnTo>
                      <a:lnTo>
                        <a:pt x="65" y="259"/>
                      </a:lnTo>
                      <a:lnTo>
                        <a:pt x="65" y="258"/>
                      </a:lnTo>
                      <a:lnTo>
                        <a:pt x="65" y="258"/>
                      </a:lnTo>
                      <a:lnTo>
                        <a:pt x="65" y="258"/>
                      </a:lnTo>
                      <a:lnTo>
                        <a:pt x="65" y="259"/>
                      </a:lnTo>
                      <a:lnTo>
                        <a:pt x="65" y="259"/>
                      </a:lnTo>
                      <a:lnTo>
                        <a:pt x="65" y="259"/>
                      </a:lnTo>
                      <a:lnTo>
                        <a:pt x="66" y="259"/>
                      </a:lnTo>
                      <a:lnTo>
                        <a:pt x="66" y="259"/>
                      </a:lnTo>
                      <a:lnTo>
                        <a:pt x="66" y="259"/>
                      </a:lnTo>
                      <a:lnTo>
                        <a:pt x="66" y="259"/>
                      </a:lnTo>
                      <a:lnTo>
                        <a:pt x="65" y="259"/>
                      </a:lnTo>
                      <a:lnTo>
                        <a:pt x="66" y="259"/>
                      </a:lnTo>
                      <a:lnTo>
                        <a:pt x="65" y="259"/>
                      </a:lnTo>
                      <a:lnTo>
                        <a:pt x="66" y="259"/>
                      </a:lnTo>
                      <a:lnTo>
                        <a:pt x="65" y="259"/>
                      </a:lnTo>
                      <a:lnTo>
                        <a:pt x="66" y="259"/>
                      </a:lnTo>
                      <a:lnTo>
                        <a:pt x="66" y="258"/>
                      </a:lnTo>
                      <a:lnTo>
                        <a:pt x="66" y="258"/>
                      </a:lnTo>
                      <a:lnTo>
                        <a:pt x="66" y="258"/>
                      </a:lnTo>
                      <a:lnTo>
                        <a:pt x="66" y="259"/>
                      </a:lnTo>
                      <a:lnTo>
                        <a:pt x="66" y="259"/>
                      </a:lnTo>
                      <a:lnTo>
                        <a:pt x="65" y="259"/>
                      </a:lnTo>
                      <a:lnTo>
                        <a:pt x="65" y="260"/>
                      </a:lnTo>
                      <a:lnTo>
                        <a:pt x="65" y="259"/>
                      </a:lnTo>
                      <a:lnTo>
                        <a:pt x="65" y="260"/>
                      </a:lnTo>
                      <a:close/>
                      <a:moveTo>
                        <a:pt x="67" y="258"/>
                      </a:moveTo>
                      <a:lnTo>
                        <a:pt x="67" y="259"/>
                      </a:lnTo>
                      <a:lnTo>
                        <a:pt x="67" y="259"/>
                      </a:lnTo>
                      <a:lnTo>
                        <a:pt x="67" y="259"/>
                      </a:lnTo>
                      <a:lnTo>
                        <a:pt x="67" y="258"/>
                      </a:lnTo>
                      <a:lnTo>
                        <a:pt x="67" y="259"/>
                      </a:lnTo>
                      <a:lnTo>
                        <a:pt x="67" y="259"/>
                      </a:lnTo>
                      <a:lnTo>
                        <a:pt x="67" y="260"/>
                      </a:lnTo>
                      <a:lnTo>
                        <a:pt x="67" y="259"/>
                      </a:lnTo>
                      <a:lnTo>
                        <a:pt x="67" y="260"/>
                      </a:lnTo>
                      <a:lnTo>
                        <a:pt x="67" y="259"/>
                      </a:lnTo>
                      <a:lnTo>
                        <a:pt x="67" y="260"/>
                      </a:lnTo>
                      <a:lnTo>
                        <a:pt x="67" y="259"/>
                      </a:lnTo>
                      <a:lnTo>
                        <a:pt x="67" y="260"/>
                      </a:lnTo>
                      <a:lnTo>
                        <a:pt x="67" y="260"/>
                      </a:lnTo>
                      <a:lnTo>
                        <a:pt x="67" y="261"/>
                      </a:lnTo>
                      <a:lnTo>
                        <a:pt x="67" y="260"/>
                      </a:lnTo>
                      <a:lnTo>
                        <a:pt x="67" y="261"/>
                      </a:lnTo>
                      <a:lnTo>
                        <a:pt x="67" y="261"/>
                      </a:lnTo>
                      <a:lnTo>
                        <a:pt x="66" y="261"/>
                      </a:lnTo>
                      <a:lnTo>
                        <a:pt x="66" y="262"/>
                      </a:lnTo>
                      <a:lnTo>
                        <a:pt x="66" y="262"/>
                      </a:lnTo>
                      <a:lnTo>
                        <a:pt x="65" y="262"/>
                      </a:lnTo>
                      <a:lnTo>
                        <a:pt x="65" y="261"/>
                      </a:lnTo>
                      <a:lnTo>
                        <a:pt x="65" y="261"/>
                      </a:lnTo>
                      <a:lnTo>
                        <a:pt x="64" y="261"/>
                      </a:lnTo>
                      <a:lnTo>
                        <a:pt x="65" y="261"/>
                      </a:lnTo>
                      <a:lnTo>
                        <a:pt x="64" y="261"/>
                      </a:lnTo>
                      <a:lnTo>
                        <a:pt x="64" y="260"/>
                      </a:lnTo>
                      <a:lnTo>
                        <a:pt x="64" y="261"/>
                      </a:lnTo>
                      <a:lnTo>
                        <a:pt x="64" y="260"/>
                      </a:lnTo>
                      <a:lnTo>
                        <a:pt x="64" y="261"/>
                      </a:lnTo>
                      <a:lnTo>
                        <a:pt x="64" y="260"/>
                      </a:lnTo>
                      <a:lnTo>
                        <a:pt x="65" y="261"/>
                      </a:lnTo>
                      <a:lnTo>
                        <a:pt x="64" y="261"/>
                      </a:lnTo>
                      <a:lnTo>
                        <a:pt x="65" y="261"/>
                      </a:lnTo>
                      <a:lnTo>
                        <a:pt x="65" y="260"/>
                      </a:lnTo>
                      <a:lnTo>
                        <a:pt x="65" y="261"/>
                      </a:lnTo>
                      <a:lnTo>
                        <a:pt x="65" y="260"/>
                      </a:lnTo>
                      <a:lnTo>
                        <a:pt x="65" y="261"/>
                      </a:lnTo>
                      <a:lnTo>
                        <a:pt x="65" y="260"/>
                      </a:lnTo>
                      <a:lnTo>
                        <a:pt x="65" y="260"/>
                      </a:lnTo>
                      <a:lnTo>
                        <a:pt x="65" y="260"/>
                      </a:lnTo>
                      <a:lnTo>
                        <a:pt x="65" y="260"/>
                      </a:lnTo>
                      <a:lnTo>
                        <a:pt x="65" y="260"/>
                      </a:lnTo>
                      <a:lnTo>
                        <a:pt x="65" y="260"/>
                      </a:lnTo>
                      <a:lnTo>
                        <a:pt x="66" y="260"/>
                      </a:lnTo>
                      <a:lnTo>
                        <a:pt x="66" y="260"/>
                      </a:lnTo>
                      <a:lnTo>
                        <a:pt x="65" y="260"/>
                      </a:lnTo>
                      <a:lnTo>
                        <a:pt x="66" y="260"/>
                      </a:lnTo>
                      <a:lnTo>
                        <a:pt x="66" y="260"/>
                      </a:lnTo>
                      <a:lnTo>
                        <a:pt x="65" y="260"/>
                      </a:lnTo>
                      <a:lnTo>
                        <a:pt x="66" y="260"/>
                      </a:lnTo>
                      <a:lnTo>
                        <a:pt x="66" y="260"/>
                      </a:lnTo>
                      <a:lnTo>
                        <a:pt x="66" y="260"/>
                      </a:lnTo>
                      <a:lnTo>
                        <a:pt x="66" y="260"/>
                      </a:lnTo>
                      <a:lnTo>
                        <a:pt x="66" y="260"/>
                      </a:lnTo>
                      <a:lnTo>
                        <a:pt x="66" y="261"/>
                      </a:lnTo>
                      <a:lnTo>
                        <a:pt x="66" y="261"/>
                      </a:lnTo>
                      <a:lnTo>
                        <a:pt x="66" y="260"/>
                      </a:lnTo>
                      <a:lnTo>
                        <a:pt x="66" y="261"/>
                      </a:lnTo>
                      <a:lnTo>
                        <a:pt x="66" y="261"/>
                      </a:lnTo>
                      <a:lnTo>
                        <a:pt x="66" y="261"/>
                      </a:lnTo>
                      <a:lnTo>
                        <a:pt x="66" y="260"/>
                      </a:lnTo>
                      <a:lnTo>
                        <a:pt x="67" y="260"/>
                      </a:lnTo>
                      <a:lnTo>
                        <a:pt x="66" y="260"/>
                      </a:lnTo>
                      <a:lnTo>
                        <a:pt x="67" y="260"/>
                      </a:lnTo>
                      <a:lnTo>
                        <a:pt x="66" y="261"/>
                      </a:lnTo>
                      <a:lnTo>
                        <a:pt x="67" y="261"/>
                      </a:lnTo>
                      <a:lnTo>
                        <a:pt x="66" y="261"/>
                      </a:lnTo>
                      <a:lnTo>
                        <a:pt x="67" y="261"/>
                      </a:lnTo>
                      <a:lnTo>
                        <a:pt x="67" y="260"/>
                      </a:lnTo>
                      <a:lnTo>
                        <a:pt x="67" y="260"/>
                      </a:lnTo>
                      <a:lnTo>
                        <a:pt x="66" y="260"/>
                      </a:lnTo>
                      <a:lnTo>
                        <a:pt x="67" y="260"/>
                      </a:lnTo>
                      <a:lnTo>
                        <a:pt x="66" y="260"/>
                      </a:lnTo>
                      <a:lnTo>
                        <a:pt x="67" y="260"/>
                      </a:lnTo>
                      <a:lnTo>
                        <a:pt x="67" y="259"/>
                      </a:lnTo>
                      <a:lnTo>
                        <a:pt x="67" y="260"/>
                      </a:lnTo>
                      <a:lnTo>
                        <a:pt x="67" y="259"/>
                      </a:lnTo>
                      <a:lnTo>
                        <a:pt x="66" y="259"/>
                      </a:lnTo>
                      <a:lnTo>
                        <a:pt x="66" y="259"/>
                      </a:lnTo>
                      <a:lnTo>
                        <a:pt x="66" y="259"/>
                      </a:lnTo>
                      <a:lnTo>
                        <a:pt x="66" y="259"/>
                      </a:lnTo>
                      <a:lnTo>
                        <a:pt x="67" y="259"/>
                      </a:lnTo>
                      <a:lnTo>
                        <a:pt x="67" y="258"/>
                      </a:lnTo>
                      <a:lnTo>
                        <a:pt x="67" y="259"/>
                      </a:lnTo>
                      <a:lnTo>
                        <a:pt x="67" y="258"/>
                      </a:lnTo>
                      <a:lnTo>
                        <a:pt x="66" y="258"/>
                      </a:lnTo>
                      <a:lnTo>
                        <a:pt x="66" y="258"/>
                      </a:lnTo>
                      <a:lnTo>
                        <a:pt x="67" y="258"/>
                      </a:lnTo>
                      <a:lnTo>
                        <a:pt x="66" y="258"/>
                      </a:lnTo>
                      <a:lnTo>
                        <a:pt x="66" y="258"/>
                      </a:lnTo>
                      <a:lnTo>
                        <a:pt x="67" y="258"/>
                      </a:lnTo>
                      <a:lnTo>
                        <a:pt x="67" y="258"/>
                      </a:lnTo>
                      <a:lnTo>
                        <a:pt x="67" y="258"/>
                      </a:lnTo>
                      <a:close/>
                      <a:moveTo>
                        <a:pt x="66" y="258"/>
                      </a:moveTo>
                      <a:lnTo>
                        <a:pt x="66" y="258"/>
                      </a:lnTo>
                      <a:lnTo>
                        <a:pt x="66" y="258"/>
                      </a:lnTo>
                      <a:lnTo>
                        <a:pt x="66" y="258"/>
                      </a:lnTo>
                      <a:lnTo>
                        <a:pt x="66" y="258"/>
                      </a:lnTo>
                      <a:lnTo>
                        <a:pt x="66" y="258"/>
                      </a:lnTo>
                      <a:lnTo>
                        <a:pt x="66" y="258"/>
                      </a:lnTo>
                      <a:close/>
                      <a:moveTo>
                        <a:pt x="66" y="258"/>
                      </a:moveTo>
                      <a:lnTo>
                        <a:pt x="66" y="258"/>
                      </a:lnTo>
                      <a:lnTo>
                        <a:pt x="66" y="258"/>
                      </a:lnTo>
                      <a:lnTo>
                        <a:pt x="66" y="258"/>
                      </a:lnTo>
                      <a:close/>
                      <a:moveTo>
                        <a:pt x="69" y="258"/>
                      </a:moveTo>
                      <a:lnTo>
                        <a:pt x="69" y="258"/>
                      </a:lnTo>
                      <a:lnTo>
                        <a:pt x="69" y="258"/>
                      </a:lnTo>
                      <a:lnTo>
                        <a:pt x="69" y="258"/>
                      </a:lnTo>
                      <a:lnTo>
                        <a:pt x="69" y="259"/>
                      </a:lnTo>
                      <a:lnTo>
                        <a:pt x="69" y="259"/>
                      </a:lnTo>
                      <a:lnTo>
                        <a:pt x="69" y="258"/>
                      </a:lnTo>
                      <a:lnTo>
                        <a:pt x="69" y="259"/>
                      </a:lnTo>
                      <a:lnTo>
                        <a:pt x="69" y="259"/>
                      </a:lnTo>
                      <a:lnTo>
                        <a:pt x="69" y="258"/>
                      </a:lnTo>
                      <a:lnTo>
                        <a:pt x="69" y="259"/>
                      </a:lnTo>
                      <a:lnTo>
                        <a:pt x="69" y="259"/>
                      </a:lnTo>
                      <a:lnTo>
                        <a:pt x="69" y="259"/>
                      </a:lnTo>
                      <a:lnTo>
                        <a:pt x="69" y="259"/>
                      </a:lnTo>
                      <a:lnTo>
                        <a:pt x="68" y="259"/>
                      </a:lnTo>
                      <a:lnTo>
                        <a:pt x="69" y="259"/>
                      </a:lnTo>
                      <a:lnTo>
                        <a:pt x="68" y="259"/>
                      </a:lnTo>
                      <a:lnTo>
                        <a:pt x="68" y="260"/>
                      </a:lnTo>
                      <a:lnTo>
                        <a:pt x="68" y="259"/>
                      </a:lnTo>
                      <a:lnTo>
                        <a:pt x="68" y="260"/>
                      </a:lnTo>
                      <a:lnTo>
                        <a:pt x="68" y="259"/>
                      </a:lnTo>
                      <a:lnTo>
                        <a:pt x="68" y="259"/>
                      </a:lnTo>
                      <a:lnTo>
                        <a:pt x="69" y="259"/>
                      </a:lnTo>
                      <a:lnTo>
                        <a:pt x="68" y="259"/>
                      </a:lnTo>
                      <a:lnTo>
                        <a:pt x="69" y="259"/>
                      </a:lnTo>
                      <a:lnTo>
                        <a:pt x="69" y="259"/>
                      </a:lnTo>
                      <a:lnTo>
                        <a:pt x="69" y="259"/>
                      </a:lnTo>
                      <a:lnTo>
                        <a:pt x="69" y="259"/>
                      </a:lnTo>
                      <a:lnTo>
                        <a:pt x="69" y="259"/>
                      </a:lnTo>
                      <a:lnTo>
                        <a:pt x="69" y="259"/>
                      </a:lnTo>
                      <a:lnTo>
                        <a:pt x="69" y="259"/>
                      </a:lnTo>
                      <a:lnTo>
                        <a:pt x="68" y="259"/>
                      </a:lnTo>
                      <a:lnTo>
                        <a:pt x="68" y="259"/>
                      </a:lnTo>
                      <a:lnTo>
                        <a:pt x="67" y="259"/>
                      </a:lnTo>
                      <a:lnTo>
                        <a:pt x="67" y="259"/>
                      </a:lnTo>
                      <a:lnTo>
                        <a:pt x="67" y="258"/>
                      </a:lnTo>
                      <a:lnTo>
                        <a:pt x="68" y="258"/>
                      </a:lnTo>
                      <a:lnTo>
                        <a:pt x="67" y="258"/>
                      </a:lnTo>
                      <a:lnTo>
                        <a:pt x="68" y="258"/>
                      </a:lnTo>
                      <a:lnTo>
                        <a:pt x="69" y="258"/>
                      </a:lnTo>
                      <a:lnTo>
                        <a:pt x="68" y="258"/>
                      </a:lnTo>
                      <a:lnTo>
                        <a:pt x="69" y="258"/>
                      </a:lnTo>
                      <a:lnTo>
                        <a:pt x="68" y="258"/>
                      </a:lnTo>
                      <a:lnTo>
                        <a:pt x="69" y="258"/>
                      </a:lnTo>
                      <a:lnTo>
                        <a:pt x="68" y="258"/>
                      </a:lnTo>
                      <a:lnTo>
                        <a:pt x="69" y="258"/>
                      </a:lnTo>
                      <a:lnTo>
                        <a:pt x="68" y="258"/>
                      </a:lnTo>
                      <a:lnTo>
                        <a:pt x="69" y="258"/>
                      </a:lnTo>
                      <a:lnTo>
                        <a:pt x="69" y="258"/>
                      </a:lnTo>
                      <a:lnTo>
                        <a:pt x="69" y="258"/>
                      </a:lnTo>
                      <a:lnTo>
                        <a:pt x="69" y="258"/>
                      </a:lnTo>
                      <a:close/>
                      <a:moveTo>
                        <a:pt x="69" y="258"/>
                      </a:moveTo>
                      <a:lnTo>
                        <a:pt x="69" y="258"/>
                      </a:lnTo>
                      <a:lnTo>
                        <a:pt x="69" y="258"/>
                      </a:lnTo>
                      <a:close/>
                      <a:moveTo>
                        <a:pt x="69" y="258"/>
                      </a:moveTo>
                      <a:lnTo>
                        <a:pt x="69" y="259"/>
                      </a:lnTo>
                      <a:lnTo>
                        <a:pt x="69" y="258"/>
                      </a:lnTo>
                      <a:close/>
                      <a:moveTo>
                        <a:pt x="70" y="258"/>
                      </a:moveTo>
                      <a:lnTo>
                        <a:pt x="70" y="258"/>
                      </a:lnTo>
                      <a:lnTo>
                        <a:pt x="69" y="258"/>
                      </a:lnTo>
                      <a:lnTo>
                        <a:pt x="69" y="258"/>
                      </a:lnTo>
                      <a:lnTo>
                        <a:pt x="69" y="258"/>
                      </a:lnTo>
                      <a:lnTo>
                        <a:pt x="69" y="258"/>
                      </a:lnTo>
                      <a:lnTo>
                        <a:pt x="69" y="258"/>
                      </a:lnTo>
                      <a:lnTo>
                        <a:pt x="69" y="258"/>
                      </a:lnTo>
                      <a:lnTo>
                        <a:pt x="69" y="258"/>
                      </a:lnTo>
                      <a:lnTo>
                        <a:pt x="70" y="258"/>
                      </a:lnTo>
                      <a:lnTo>
                        <a:pt x="70" y="258"/>
                      </a:lnTo>
                      <a:close/>
                      <a:moveTo>
                        <a:pt x="71" y="257"/>
                      </a:moveTo>
                      <a:lnTo>
                        <a:pt x="71" y="258"/>
                      </a:lnTo>
                      <a:lnTo>
                        <a:pt x="71" y="257"/>
                      </a:lnTo>
                      <a:close/>
                      <a:moveTo>
                        <a:pt x="71" y="258"/>
                      </a:moveTo>
                      <a:lnTo>
                        <a:pt x="71" y="257"/>
                      </a:lnTo>
                      <a:lnTo>
                        <a:pt x="71" y="258"/>
                      </a:lnTo>
                      <a:close/>
                      <a:moveTo>
                        <a:pt x="70" y="258"/>
                      </a:moveTo>
                      <a:lnTo>
                        <a:pt x="70" y="257"/>
                      </a:lnTo>
                      <a:lnTo>
                        <a:pt x="70" y="258"/>
                      </a:lnTo>
                      <a:close/>
                      <a:moveTo>
                        <a:pt x="69" y="257"/>
                      </a:moveTo>
                      <a:lnTo>
                        <a:pt x="69" y="258"/>
                      </a:lnTo>
                      <a:lnTo>
                        <a:pt x="69" y="257"/>
                      </a:lnTo>
                      <a:close/>
                      <a:moveTo>
                        <a:pt x="70" y="256"/>
                      </a:moveTo>
                      <a:lnTo>
                        <a:pt x="70" y="257"/>
                      </a:lnTo>
                      <a:lnTo>
                        <a:pt x="70" y="256"/>
                      </a:lnTo>
                      <a:close/>
                      <a:moveTo>
                        <a:pt x="70" y="258"/>
                      </a:moveTo>
                      <a:lnTo>
                        <a:pt x="70" y="258"/>
                      </a:lnTo>
                      <a:lnTo>
                        <a:pt x="70" y="258"/>
                      </a:lnTo>
                      <a:lnTo>
                        <a:pt x="70" y="258"/>
                      </a:lnTo>
                      <a:lnTo>
                        <a:pt x="71" y="258"/>
                      </a:lnTo>
                      <a:lnTo>
                        <a:pt x="70" y="258"/>
                      </a:lnTo>
                      <a:lnTo>
                        <a:pt x="71" y="258"/>
                      </a:lnTo>
                      <a:lnTo>
                        <a:pt x="70" y="258"/>
                      </a:lnTo>
                      <a:lnTo>
                        <a:pt x="71" y="258"/>
                      </a:lnTo>
                      <a:lnTo>
                        <a:pt x="70" y="258"/>
                      </a:lnTo>
                      <a:lnTo>
                        <a:pt x="71" y="258"/>
                      </a:lnTo>
                      <a:lnTo>
                        <a:pt x="70" y="258"/>
                      </a:lnTo>
                      <a:lnTo>
                        <a:pt x="70" y="258"/>
                      </a:lnTo>
                      <a:lnTo>
                        <a:pt x="70" y="258"/>
                      </a:lnTo>
                      <a:lnTo>
                        <a:pt x="70" y="258"/>
                      </a:lnTo>
                      <a:lnTo>
                        <a:pt x="71" y="258"/>
                      </a:lnTo>
                      <a:lnTo>
                        <a:pt x="70" y="258"/>
                      </a:lnTo>
                      <a:lnTo>
                        <a:pt x="71" y="258"/>
                      </a:lnTo>
                      <a:lnTo>
                        <a:pt x="71" y="258"/>
                      </a:lnTo>
                      <a:lnTo>
                        <a:pt x="71" y="258"/>
                      </a:lnTo>
                      <a:lnTo>
                        <a:pt x="71" y="258"/>
                      </a:lnTo>
                      <a:lnTo>
                        <a:pt x="71" y="258"/>
                      </a:lnTo>
                      <a:lnTo>
                        <a:pt x="71" y="257"/>
                      </a:lnTo>
                      <a:lnTo>
                        <a:pt x="71" y="258"/>
                      </a:lnTo>
                      <a:lnTo>
                        <a:pt x="71" y="257"/>
                      </a:lnTo>
                      <a:lnTo>
                        <a:pt x="71" y="258"/>
                      </a:lnTo>
                      <a:lnTo>
                        <a:pt x="71" y="257"/>
                      </a:lnTo>
                      <a:lnTo>
                        <a:pt x="71" y="256"/>
                      </a:lnTo>
                      <a:lnTo>
                        <a:pt x="70" y="256"/>
                      </a:lnTo>
                      <a:lnTo>
                        <a:pt x="71" y="256"/>
                      </a:lnTo>
                      <a:lnTo>
                        <a:pt x="71" y="257"/>
                      </a:lnTo>
                      <a:lnTo>
                        <a:pt x="71" y="258"/>
                      </a:lnTo>
                      <a:lnTo>
                        <a:pt x="71" y="258"/>
                      </a:lnTo>
                      <a:lnTo>
                        <a:pt x="72" y="258"/>
                      </a:lnTo>
                      <a:lnTo>
                        <a:pt x="71" y="258"/>
                      </a:lnTo>
                      <a:lnTo>
                        <a:pt x="72" y="258"/>
                      </a:lnTo>
                      <a:lnTo>
                        <a:pt x="71" y="258"/>
                      </a:lnTo>
                      <a:lnTo>
                        <a:pt x="72" y="258"/>
                      </a:lnTo>
                      <a:lnTo>
                        <a:pt x="71" y="258"/>
                      </a:lnTo>
                      <a:lnTo>
                        <a:pt x="72" y="258"/>
                      </a:lnTo>
                      <a:lnTo>
                        <a:pt x="71" y="258"/>
                      </a:lnTo>
                      <a:lnTo>
                        <a:pt x="72" y="258"/>
                      </a:lnTo>
                      <a:lnTo>
                        <a:pt x="72" y="258"/>
                      </a:lnTo>
                      <a:lnTo>
                        <a:pt x="72" y="258"/>
                      </a:lnTo>
                      <a:lnTo>
                        <a:pt x="71" y="258"/>
                      </a:lnTo>
                      <a:lnTo>
                        <a:pt x="70" y="258"/>
                      </a:lnTo>
                      <a:lnTo>
                        <a:pt x="70" y="258"/>
                      </a:lnTo>
                      <a:lnTo>
                        <a:pt x="70" y="259"/>
                      </a:lnTo>
                      <a:lnTo>
                        <a:pt x="70" y="259"/>
                      </a:lnTo>
                      <a:lnTo>
                        <a:pt x="70" y="259"/>
                      </a:lnTo>
                      <a:lnTo>
                        <a:pt x="69" y="259"/>
                      </a:lnTo>
                      <a:lnTo>
                        <a:pt x="70" y="259"/>
                      </a:lnTo>
                      <a:lnTo>
                        <a:pt x="69" y="259"/>
                      </a:lnTo>
                      <a:lnTo>
                        <a:pt x="70" y="259"/>
                      </a:lnTo>
                      <a:lnTo>
                        <a:pt x="69" y="259"/>
                      </a:lnTo>
                      <a:lnTo>
                        <a:pt x="70" y="259"/>
                      </a:lnTo>
                      <a:lnTo>
                        <a:pt x="70" y="258"/>
                      </a:lnTo>
                      <a:lnTo>
                        <a:pt x="69" y="258"/>
                      </a:lnTo>
                      <a:lnTo>
                        <a:pt x="70" y="258"/>
                      </a:lnTo>
                      <a:lnTo>
                        <a:pt x="70" y="259"/>
                      </a:lnTo>
                      <a:lnTo>
                        <a:pt x="70" y="258"/>
                      </a:lnTo>
                      <a:lnTo>
                        <a:pt x="70" y="258"/>
                      </a:lnTo>
                      <a:lnTo>
                        <a:pt x="70" y="257"/>
                      </a:lnTo>
                      <a:lnTo>
                        <a:pt x="70" y="258"/>
                      </a:lnTo>
                      <a:lnTo>
                        <a:pt x="70" y="257"/>
                      </a:lnTo>
                      <a:lnTo>
                        <a:pt x="70" y="258"/>
                      </a:lnTo>
                      <a:lnTo>
                        <a:pt x="70" y="258"/>
                      </a:lnTo>
                      <a:lnTo>
                        <a:pt x="70" y="258"/>
                      </a:lnTo>
                      <a:lnTo>
                        <a:pt x="70" y="258"/>
                      </a:lnTo>
                      <a:lnTo>
                        <a:pt x="70" y="258"/>
                      </a:lnTo>
                      <a:lnTo>
                        <a:pt x="70" y="258"/>
                      </a:lnTo>
                      <a:lnTo>
                        <a:pt x="70" y="258"/>
                      </a:lnTo>
                      <a:lnTo>
                        <a:pt x="70" y="258"/>
                      </a:lnTo>
                      <a:close/>
                      <a:moveTo>
                        <a:pt x="70" y="256"/>
                      </a:moveTo>
                      <a:lnTo>
                        <a:pt x="70" y="257"/>
                      </a:lnTo>
                      <a:lnTo>
                        <a:pt x="70" y="256"/>
                      </a:lnTo>
                      <a:close/>
                      <a:moveTo>
                        <a:pt x="66" y="256"/>
                      </a:moveTo>
                      <a:lnTo>
                        <a:pt x="66" y="256"/>
                      </a:lnTo>
                      <a:lnTo>
                        <a:pt x="66" y="256"/>
                      </a:lnTo>
                      <a:close/>
                      <a:moveTo>
                        <a:pt x="70" y="256"/>
                      </a:moveTo>
                      <a:lnTo>
                        <a:pt x="70" y="256"/>
                      </a:lnTo>
                      <a:lnTo>
                        <a:pt x="70" y="256"/>
                      </a:lnTo>
                      <a:close/>
                      <a:moveTo>
                        <a:pt x="69" y="256"/>
                      </a:moveTo>
                      <a:lnTo>
                        <a:pt x="70" y="256"/>
                      </a:lnTo>
                      <a:lnTo>
                        <a:pt x="69" y="256"/>
                      </a:lnTo>
                      <a:lnTo>
                        <a:pt x="70" y="256"/>
                      </a:lnTo>
                      <a:lnTo>
                        <a:pt x="69" y="256"/>
                      </a:lnTo>
                      <a:lnTo>
                        <a:pt x="70" y="256"/>
                      </a:lnTo>
                      <a:lnTo>
                        <a:pt x="69" y="256"/>
                      </a:lnTo>
                      <a:close/>
                      <a:moveTo>
                        <a:pt x="67" y="256"/>
                      </a:moveTo>
                      <a:lnTo>
                        <a:pt x="67" y="256"/>
                      </a:lnTo>
                      <a:lnTo>
                        <a:pt x="67" y="256"/>
                      </a:lnTo>
                      <a:close/>
                      <a:moveTo>
                        <a:pt x="67" y="256"/>
                      </a:moveTo>
                      <a:lnTo>
                        <a:pt x="68" y="256"/>
                      </a:lnTo>
                      <a:lnTo>
                        <a:pt x="67" y="256"/>
                      </a:lnTo>
                      <a:lnTo>
                        <a:pt x="67" y="256"/>
                      </a:lnTo>
                      <a:close/>
                      <a:moveTo>
                        <a:pt x="68" y="256"/>
                      </a:moveTo>
                      <a:lnTo>
                        <a:pt x="67" y="256"/>
                      </a:lnTo>
                      <a:lnTo>
                        <a:pt x="67" y="256"/>
                      </a:lnTo>
                      <a:lnTo>
                        <a:pt x="67" y="256"/>
                      </a:lnTo>
                      <a:lnTo>
                        <a:pt x="67" y="256"/>
                      </a:lnTo>
                      <a:lnTo>
                        <a:pt x="67" y="256"/>
                      </a:lnTo>
                      <a:lnTo>
                        <a:pt x="68" y="256"/>
                      </a:lnTo>
                      <a:close/>
                      <a:moveTo>
                        <a:pt x="67" y="256"/>
                      </a:moveTo>
                      <a:lnTo>
                        <a:pt x="67" y="256"/>
                      </a:lnTo>
                      <a:lnTo>
                        <a:pt x="67" y="256"/>
                      </a:lnTo>
                      <a:lnTo>
                        <a:pt x="67" y="256"/>
                      </a:lnTo>
                      <a:lnTo>
                        <a:pt x="67" y="256"/>
                      </a:lnTo>
                      <a:lnTo>
                        <a:pt x="67" y="256"/>
                      </a:lnTo>
                      <a:lnTo>
                        <a:pt x="67" y="256"/>
                      </a:lnTo>
                      <a:close/>
                      <a:moveTo>
                        <a:pt x="69" y="256"/>
                      </a:moveTo>
                      <a:lnTo>
                        <a:pt x="69" y="256"/>
                      </a:lnTo>
                      <a:lnTo>
                        <a:pt x="69" y="256"/>
                      </a:lnTo>
                      <a:lnTo>
                        <a:pt x="69" y="256"/>
                      </a:lnTo>
                      <a:lnTo>
                        <a:pt x="69" y="256"/>
                      </a:lnTo>
                      <a:lnTo>
                        <a:pt x="69" y="256"/>
                      </a:lnTo>
                      <a:lnTo>
                        <a:pt x="69" y="256"/>
                      </a:lnTo>
                      <a:close/>
                      <a:moveTo>
                        <a:pt x="69" y="256"/>
                      </a:moveTo>
                      <a:lnTo>
                        <a:pt x="69" y="256"/>
                      </a:lnTo>
                      <a:lnTo>
                        <a:pt x="69" y="256"/>
                      </a:lnTo>
                      <a:lnTo>
                        <a:pt x="69" y="257"/>
                      </a:lnTo>
                      <a:lnTo>
                        <a:pt x="69" y="256"/>
                      </a:lnTo>
                      <a:lnTo>
                        <a:pt x="69" y="256"/>
                      </a:lnTo>
                      <a:lnTo>
                        <a:pt x="69" y="257"/>
                      </a:lnTo>
                      <a:lnTo>
                        <a:pt x="69" y="257"/>
                      </a:lnTo>
                      <a:lnTo>
                        <a:pt x="69" y="257"/>
                      </a:lnTo>
                      <a:lnTo>
                        <a:pt x="69" y="256"/>
                      </a:lnTo>
                      <a:lnTo>
                        <a:pt x="69" y="257"/>
                      </a:lnTo>
                      <a:lnTo>
                        <a:pt x="69" y="257"/>
                      </a:lnTo>
                      <a:lnTo>
                        <a:pt x="69" y="257"/>
                      </a:lnTo>
                      <a:lnTo>
                        <a:pt x="69" y="258"/>
                      </a:lnTo>
                      <a:lnTo>
                        <a:pt x="69" y="257"/>
                      </a:lnTo>
                      <a:lnTo>
                        <a:pt x="69" y="258"/>
                      </a:lnTo>
                      <a:lnTo>
                        <a:pt x="69" y="258"/>
                      </a:lnTo>
                      <a:lnTo>
                        <a:pt x="69" y="258"/>
                      </a:lnTo>
                      <a:lnTo>
                        <a:pt x="69" y="258"/>
                      </a:lnTo>
                      <a:lnTo>
                        <a:pt x="68" y="258"/>
                      </a:lnTo>
                      <a:lnTo>
                        <a:pt x="68" y="258"/>
                      </a:lnTo>
                      <a:lnTo>
                        <a:pt x="68" y="258"/>
                      </a:lnTo>
                      <a:lnTo>
                        <a:pt x="68" y="258"/>
                      </a:lnTo>
                      <a:lnTo>
                        <a:pt x="68" y="258"/>
                      </a:lnTo>
                      <a:lnTo>
                        <a:pt x="68" y="258"/>
                      </a:lnTo>
                      <a:lnTo>
                        <a:pt x="67" y="258"/>
                      </a:lnTo>
                      <a:lnTo>
                        <a:pt x="67" y="258"/>
                      </a:lnTo>
                      <a:lnTo>
                        <a:pt x="67" y="258"/>
                      </a:lnTo>
                      <a:lnTo>
                        <a:pt x="67" y="258"/>
                      </a:lnTo>
                      <a:lnTo>
                        <a:pt x="67" y="258"/>
                      </a:lnTo>
                      <a:lnTo>
                        <a:pt x="66" y="257"/>
                      </a:lnTo>
                      <a:lnTo>
                        <a:pt x="67" y="257"/>
                      </a:lnTo>
                      <a:lnTo>
                        <a:pt x="66" y="257"/>
                      </a:lnTo>
                      <a:lnTo>
                        <a:pt x="67" y="257"/>
                      </a:lnTo>
                      <a:lnTo>
                        <a:pt x="66" y="257"/>
                      </a:lnTo>
                      <a:lnTo>
                        <a:pt x="67" y="257"/>
                      </a:lnTo>
                      <a:lnTo>
                        <a:pt x="66" y="257"/>
                      </a:lnTo>
                      <a:lnTo>
                        <a:pt x="67" y="257"/>
                      </a:lnTo>
                      <a:lnTo>
                        <a:pt x="67" y="256"/>
                      </a:lnTo>
                      <a:lnTo>
                        <a:pt x="67" y="257"/>
                      </a:lnTo>
                      <a:lnTo>
                        <a:pt x="67" y="258"/>
                      </a:lnTo>
                      <a:lnTo>
                        <a:pt x="67" y="257"/>
                      </a:lnTo>
                      <a:lnTo>
                        <a:pt x="67" y="256"/>
                      </a:lnTo>
                      <a:lnTo>
                        <a:pt x="67" y="256"/>
                      </a:lnTo>
                      <a:lnTo>
                        <a:pt x="67" y="256"/>
                      </a:lnTo>
                      <a:lnTo>
                        <a:pt x="67" y="256"/>
                      </a:lnTo>
                      <a:lnTo>
                        <a:pt x="67" y="257"/>
                      </a:lnTo>
                      <a:lnTo>
                        <a:pt x="67" y="257"/>
                      </a:lnTo>
                      <a:lnTo>
                        <a:pt x="67" y="256"/>
                      </a:lnTo>
                      <a:lnTo>
                        <a:pt x="67" y="257"/>
                      </a:lnTo>
                      <a:lnTo>
                        <a:pt x="67" y="258"/>
                      </a:lnTo>
                      <a:lnTo>
                        <a:pt x="67" y="257"/>
                      </a:lnTo>
                      <a:lnTo>
                        <a:pt x="67" y="258"/>
                      </a:lnTo>
                      <a:lnTo>
                        <a:pt x="67" y="257"/>
                      </a:lnTo>
                      <a:lnTo>
                        <a:pt x="68" y="257"/>
                      </a:lnTo>
                      <a:lnTo>
                        <a:pt x="67" y="257"/>
                      </a:lnTo>
                      <a:lnTo>
                        <a:pt x="68" y="257"/>
                      </a:lnTo>
                      <a:lnTo>
                        <a:pt x="68" y="256"/>
                      </a:lnTo>
                      <a:lnTo>
                        <a:pt x="68" y="256"/>
                      </a:lnTo>
                      <a:lnTo>
                        <a:pt x="68" y="256"/>
                      </a:lnTo>
                      <a:lnTo>
                        <a:pt x="68" y="257"/>
                      </a:lnTo>
                      <a:lnTo>
                        <a:pt x="68" y="256"/>
                      </a:lnTo>
                      <a:lnTo>
                        <a:pt x="68" y="257"/>
                      </a:lnTo>
                      <a:lnTo>
                        <a:pt x="69" y="257"/>
                      </a:lnTo>
                      <a:lnTo>
                        <a:pt x="69" y="256"/>
                      </a:lnTo>
                      <a:lnTo>
                        <a:pt x="68" y="256"/>
                      </a:lnTo>
                      <a:lnTo>
                        <a:pt x="68" y="256"/>
                      </a:lnTo>
                      <a:lnTo>
                        <a:pt x="69" y="256"/>
                      </a:lnTo>
                      <a:lnTo>
                        <a:pt x="69" y="256"/>
                      </a:lnTo>
                      <a:lnTo>
                        <a:pt x="69" y="257"/>
                      </a:lnTo>
                      <a:lnTo>
                        <a:pt x="69" y="256"/>
                      </a:lnTo>
                      <a:close/>
                      <a:moveTo>
                        <a:pt x="68" y="257"/>
                      </a:moveTo>
                      <a:lnTo>
                        <a:pt x="68" y="256"/>
                      </a:lnTo>
                      <a:lnTo>
                        <a:pt x="68" y="257"/>
                      </a:lnTo>
                      <a:lnTo>
                        <a:pt x="68" y="256"/>
                      </a:lnTo>
                      <a:lnTo>
                        <a:pt x="68" y="257"/>
                      </a:lnTo>
                      <a:close/>
                      <a:moveTo>
                        <a:pt x="67" y="258"/>
                      </a:moveTo>
                      <a:lnTo>
                        <a:pt x="68" y="258"/>
                      </a:lnTo>
                      <a:lnTo>
                        <a:pt x="67" y="258"/>
                      </a:lnTo>
                      <a:lnTo>
                        <a:pt x="68" y="258"/>
                      </a:lnTo>
                      <a:lnTo>
                        <a:pt x="67" y="258"/>
                      </a:lnTo>
                      <a:close/>
                      <a:moveTo>
                        <a:pt x="66" y="256"/>
                      </a:moveTo>
                      <a:lnTo>
                        <a:pt x="66" y="256"/>
                      </a:lnTo>
                      <a:lnTo>
                        <a:pt x="66" y="256"/>
                      </a:lnTo>
                      <a:lnTo>
                        <a:pt x="67" y="256"/>
                      </a:lnTo>
                      <a:lnTo>
                        <a:pt x="67" y="256"/>
                      </a:lnTo>
                      <a:lnTo>
                        <a:pt x="67" y="256"/>
                      </a:lnTo>
                      <a:lnTo>
                        <a:pt x="66" y="256"/>
                      </a:lnTo>
                      <a:lnTo>
                        <a:pt x="66" y="257"/>
                      </a:lnTo>
                      <a:lnTo>
                        <a:pt x="66" y="256"/>
                      </a:lnTo>
                      <a:close/>
                      <a:moveTo>
                        <a:pt x="69" y="256"/>
                      </a:moveTo>
                      <a:lnTo>
                        <a:pt x="69" y="255"/>
                      </a:lnTo>
                      <a:lnTo>
                        <a:pt x="69" y="256"/>
                      </a:lnTo>
                      <a:close/>
                      <a:moveTo>
                        <a:pt x="67" y="256"/>
                      </a:moveTo>
                      <a:lnTo>
                        <a:pt x="67" y="256"/>
                      </a:lnTo>
                      <a:lnTo>
                        <a:pt x="67" y="256"/>
                      </a:lnTo>
                      <a:lnTo>
                        <a:pt x="67" y="256"/>
                      </a:lnTo>
                      <a:lnTo>
                        <a:pt x="67" y="256"/>
                      </a:lnTo>
                      <a:lnTo>
                        <a:pt x="67" y="256"/>
                      </a:lnTo>
                      <a:lnTo>
                        <a:pt x="67" y="256"/>
                      </a:lnTo>
                      <a:lnTo>
                        <a:pt x="67" y="256"/>
                      </a:lnTo>
                      <a:lnTo>
                        <a:pt x="67" y="256"/>
                      </a:lnTo>
                      <a:lnTo>
                        <a:pt x="67" y="256"/>
                      </a:lnTo>
                      <a:lnTo>
                        <a:pt x="67" y="256"/>
                      </a:lnTo>
                      <a:lnTo>
                        <a:pt x="68" y="256"/>
                      </a:lnTo>
                      <a:lnTo>
                        <a:pt x="69" y="256"/>
                      </a:lnTo>
                      <a:lnTo>
                        <a:pt x="69" y="255"/>
                      </a:lnTo>
                      <a:lnTo>
                        <a:pt x="69" y="256"/>
                      </a:lnTo>
                      <a:lnTo>
                        <a:pt x="68" y="256"/>
                      </a:lnTo>
                      <a:lnTo>
                        <a:pt x="67" y="256"/>
                      </a:lnTo>
                      <a:close/>
                      <a:moveTo>
                        <a:pt x="72" y="255"/>
                      </a:moveTo>
                      <a:lnTo>
                        <a:pt x="72" y="256"/>
                      </a:lnTo>
                      <a:lnTo>
                        <a:pt x="72" y="255"/>
                      </a:lnTo>
                      <a:lnTo>
                        <a:pt x="72" y="256"/>
                      </a:lnTo>
                      <a:lnTo>
                        <a:pt x="72" y="255"/>
                      </a:lnTo>
                      <a:close/>
                      <a:moveTo>
                        <a:pt x="70" y="256"/>
                      </a:moveTo>
                      <a:lnTo>
                        <a:pt x="69" y="256"/>
                      </a:lnTo>
                      <a:lnTo>
                        <a:pt x="70" y="256"/>
                      </a:lnTo>
                      <a:lnTo>
                        <a:pt x="69" y="256"/>
                      </a:lnTo>
                      <a:lnTo>
                        <a:pt x="70" y="256"/>
                      </a:lnTo>
                      <a:lnTo>
                        <a:pt x="69" y="256"/>
                      </a:lnTo>
                      <a:lnTo>
                        <a:pt x="69" y="256"/>
                      </a:lnTo>
                      <a:lnTo>
                        <a:pt x="69" y="256"/>
                      </a:lnTo>
                      <a:lnTo>
                        <a:pt x="69" y="256"/>
                      </a:lnTo>
                      <a:lnTo>
                        <a:pt x="69" y="256"/>
                      </a:lnTo>
                      <a:lnTo>
                        <a:pt x="69" y="256"/>
                      </a:lnTo>
                      <a:lnTo>
                        <a:pt x="69" y="256"/>
                      </a:lnTo>
                      <a:lnTo>
                        <a:pt x="70" y="256"/>
                      </a:lnTo>
                      <a:lnTo>
                        <a:pt x="70" y="256"/>
                      </a:lnTo>
                      <a:lnTo>
                        <a:pt x="69" y="256"/>
                      </a:lnTo>
                      <a:lnTo>
                        <a:pt x="69" y="256"/>
                      </a:lnTo>
                      <a:lnTo>
                        <a:pt x="69" y="256"/>
                      </a:lnTo>
                      <a:lnTo>
                        <a:pt x="69" y="256"/>
                      </a:lnTo>
                      <a:lnTo>
                        <a:pt x="69" y="255"/>
                      </a:lnTo>
                      <a:lnTo>
                        <a:pt x="69" y="256"/>
                      </a:lnTo>
                      <a:lnTo>
                        <a:pt x="70" y="256"/>
                      </a:lnTo>
                      <a:close/>
                      <a:moveTo>
                        <a:pt x="70" y="256"/>
                      </a:moveTo>
                      <a:lnTo>
                        <a:pt x="70" y="255"/>
                      </a:lnTo>
                      <a:lnTo>
                        <a:pt x="70" y="256"/>
                      </a:lnTo>
                      <a:lnTo>
                        <a:pt x="70" y="255"/>
                      </a:lnTo>
                      <a:lnTo>
                        <a:pt x="70" y="256"/>
                      </a:lnTo>
                      <a:close/>
                      <a:moveTo>
                        <a:pt x="71" y="255"/>
                      </a:moveTo>
                      <a:lnTo>
                        <a:pt x="71" y="256"/>
                      </a:lnTo>
                      <a:lnTo>
                        <a:pt x="70" y="256"/>
                      </a:lnTo>
                      <a:lnTo>
                        <a:pt x="71" y="256"/>
                      </a:lnTo>
                      <a:lnTo>
                        <a:pt x="71" y="255"/>
                      </a:lnTo>
                      <a:lnTo>
                        <a:pt x="71" y="256"/>
                      </a:lnTo>
                      <a:lnTo>
                        <a:pt x="70" y="256"/>
                      </a:lnTo>
                      <a:lnTo>
                        <a:pt x="71" y="255"/>
                      </a:lnTo>
                      <a:lnTo>
                        <a:pt x="71" y="256"/>
                      </a:lnTo>
                      <a:lnTo>
                        <a:pt x="71" y="255"/>
                      </a:lnTo>
                      <a:close/>
                      <a:moveTo>
                        <a:pt x="72" y="255"/>
                      </a:moveTo>
                      <a:lnTo>
                        <a:pt x="72" y="256"/>
                      </a:lnTo>
                      <a:lnTo>
                        <a:pt x="72" y="255"/>
                      </a:lnTo>
                      <a:lnTo>
                        <a:pt x="71" y="255"/>
                      </a:lnTo>
                      <a:lnTo>
                        <a:pt x="72" y="255"/>
                      </a:lnTo>
                      <a:lnTo>
                        <a:pt x="71" y="255"/>
                      </a:lnTo>
                      <a:lnTo>
                        <a:pt x="72" y="255"/>
                      </a:lnTo>
                      <a:close/>
                      <a:moveTo>
                        <a:pt x="956" y="255"/>
                      </a:moveTo>
                      <a:lnTo>
                        <a:pt x="956" y="255"/>
                      </a:lnTo>
                      <a:lnTo>
                        <a:pt x="956" y="255"/>
                      </a:lnTo>
                      <a:lnTo>
                        <a:pt x="957" y="255"/>
                      </a:lnTo>
                      <a:lnTo>
                        <a:pt x="957" y="256"/>
                      </a:lnTo>
                      <a:lnTo>
                        <a:pt x="956" y="256"/>
                      </a:lnTo>
                      <a:lnTo>
                        <a:pt x="956" y="256"/>
                      </a:lnTo>
                      <a:lnTo>
                        <a:pt x="956" y="256"/>
                      </a:lnTo>
                      <a:lnTo>
                        <a:pt x="956" y="255"/>
                      </a:lnTo>
                      <a:lnTo>
                        <a:pt x="956" y="255"/>
                      </a:lnTo>
                      <a:lnTo>
                        <a:pt x="956" y="255"/>
                      </a:lnTo>
                      <a:close/>
                      <a:moveTo>
                        <a:pt x="69" y="255"/>
                      </a:moveTo>
                      <a:lnTo>
                        <a:pt x="69" y="255"/>
                      </a:lnTo>
                      <a:lnTo>
                        <a:pt x="69" y="256"/>
                      </a:lnTo>
                      <a:lnTo>
                        <a:pt x="69" y="255"/>
                      </a:lnTo>
                      <a:lnTo>
                        <a:pt x="69" y="255"/>
                      </a:lnTo>
                      <a:close/>
                      <a:moveTo>
                        <a:pt x="66" y="255"/>
                      </a:moveTo>
                      <a:lnTo>
                        <a:pt x="66" y="256"/>
                      </a:lnTo>
                      <a:lnTo>
                        <a:pt x="66" y="255"/>
                      </a:lnTo>
                      <a:close/>
                      <a:moveTo>
                        <a:pt x="70" y="255"/>
                      </a:moveTo>
                      <a:lnTo>
                        <a:pt x="70" y="255"/>
                      </a:lnTo>
                      <a:lnTo>
                        <a:pt x="70" y="255"/>
                      </a:lnTo>
                      <a:close/>
                      <a:moveTo>
                        <a:pt x="70" y="256"/>
                      </a:moveTo>
                      <a:lnTo>
                        <a:pt x="70" y="256"/>
                      </a:lnTo>
                      <a:lnTo>
                        <a:pt x="70" y="256"/>
                      </a:lnTo>
                      <a:lnTo>
                        <a:pt x="70" y="255"/>
                      </a:lnTo>
                      <a:lnTo>
                        <a:pt x="70" y="255"/>
                      </a:lnTo>
                      <a:lnTo>
                        <a:pt x="70" y="255"/>
                      </a:lnTo>
                      <a:lnTo>
                        <a:pt x="70" y="255"/>
                      </a:lnTo>
                      <a:lnTo>
                        <a:pt x="70" y="256"/>
                      </a:lnTo>
                      <a:lnTo>
                        <a:pt x="70" y="256"/>
                      </a:lnTo>
                      <a:lnTo>
                        <a:pt x="70" y="255"/>
                      </a:lnTo>
                      <a:lnTo>
                        <a:pt x="70" y="256"/>
                      </a:lnTo>
                      <a:lnTo>
                        <a:pt x="70" y="255"/>
                      </a:lnTo>
                      <a:lnTo>
                        <a:pt x="70" y="256"/>
                      </a:lnTo>
                      <a:lnTo>
                        <a:pt x="70" y="255"/>
                      </a:lnTo>
                      <a:lnTo>
                        <a:pt x="71" y="255"/>
                      </a:lnTo>
                      <a:lnTo>
                        <a:pt x="70" y="255"/>
                      </a:lnTo>
                      <a:lnTo>
                        <a:pt x="70" y="256"/>
                      </a:lnTo>
                      <a:lnTo>
                        <a:pt x="70" y="256"/>
                      </a:lnTo>
                      <a:lnTo>
                        <a:pt x="70" y="256"/>
                      </a:lnTo>
                      <a:lnTo>
                        <a:pt x="70" y="256"/>
                      </a:lnTo>
                      <a:lnTo>
                        <a:pt x="70" y="255"/>
                      </a:lnTo>
                      <a:lnTo>
                        <a:pt x="70" y="256"/>
                      </a:lnTo>
                      <a:close/>
                      <a:moveTo>
                        <a:pt x="66" y="255"/>
                      </a:moveTo>
                      <a:lnTo>
                        <a:pt x="66" y="255"/>
                      </a:lnTo>
                      <a:lnTo>
                        <a:pt x="66" y="255"/>
                      </a:lnTo>
                      <a:lnTo>
                        <a:pt x="66" y="255"/>
                      </a:lnTo>
                      <a:lnTo>
                        <a:pt x="66" y="255"/>
                      </a:lnTo>
                      <a:lnTo>
                        <a:pt x="66" y="255"/>
                      </a:lnTo>
                      <a:lnTo>
                        <a:pt x="66" y="255"/>
                      </a:lnTo>
                      <a:close/>
                      <a:moveTo>
                        <a:pt x="71" y="255"/>
                      </a:moveTo>
                      <a:lnTo>
                        <a:pt x="71" y="255"/>
                      </a:lnTo>
                      <a:lnTo>
                        <a:pt x="71" y="255"/>
                      </a:lnTo>
                      <a:lnTo>
                        <a:pt x="71" y="255"/>
                      </a:lnTo>
                      <a:lnTo>
                        <a:pt x="71" y="255"/>
                      </a:lnTo>
                      <a:close/>
                      <a:moveTo>
                        <a:pt x="70" y="255"/>
                      </a:moveTo>
                      <a:lnTo>
                        <a:pt x="70" y="255"/>
                      </a:lnTo>
                      <a:lnTo>
                        <a:pt x="70" y="255"/>
                      </a:lnTo>
                      <a:lnTo>
                        <a:pt x="70" y="255"/>
                      </a:lnTo>
                      <a:lnTo>
                        <a:pt x="71" y="255"/>
                      </a:lnTo>
                      <a:lnTo>
                        <a:pt x="70" y="255"/>
                      </a:lnTo>
                      <a:lnTo>
                        <a:pt x="71" y="255"/>
                      </a:lnTo>
                      <a:lnTo>
                        <a:pt x="71" y="255"/>
                      </a:lnTo>
                      <a:lnTo>
                        <a:pt x="71" y="255"/>
                      </a:lnTo>
                      <a:lnTo>
                        <a:pt x="71" y="255"/>
                      </a:lnTo>
                      <a:lnTo>
                        <a:pt x="71" y="255"/>
                      </a:lnTo>
                      <a:lnTo>
                        <a:pt x="71" y="255"/>
                      </a:lnTo>
                      <a:lnTo>
                        <a:pt x="70" y="255"/>
                      </a:lnTo>
                      <a:lnTo>
                        <a:pt x="70" y="255"/>
                      </a:lnTo>
                      <a:close/>
                      <a:moveTo>
                        <a:pt x="66" y="255"/>
                      </a:moveTo>
                      <a:lnTo>
                        <a:pt x="66" y="255"/>
                      </a:lnTo>
                      <a:lnTo>
                        <a:pt x="66" y="255"/>
                      </a:lnTo>
                      <a:lnTo>
                        <a:pt x="66" y="255"/>
                      </a:lnTo>
                      <a:lnTo>
                        <a:pt x="66" y="255"/>
                      </a:lnTo>
                      <a:lnTo>
                        <a:pt x="66" y="255"/>
                      </a:lnTo>
                      <a:lnTo>
                        <a:pt x="66" y="255"/>
                      </a:lnTo>
                      <a:lnTo>
                        <a:pt x="66" y="255"/>
                      </a:lnTo>
                      <a:lnTo>
                        <a:pt x="66" y="255"/>
                      </a:lnTo>
                      <a:close/>
                      <a:moveTo>
                        <a:pt x="71" y="255"/>
                      </a:moveTo>
                      <a:lnTo>
                        <a:pt x="70" y="255"/>
                      </a:lnTo>
                      <a:lnTo>
                        <a:pt x="71" y="255"/>
                      </a:lnTo>
                      <a:close/>
                      <a:moveTo>
                        <a:pt x="69" y="255"/>
                      </a:moveTo>
                      <a:lnTo>
                        <a:pt x="69" y="254"/>
                      </a:lnTo>
                      <a:lnTo>
                        <a:pt x="69" y="255"/>
                      </a:lnTo>
                      <a:close/>
                      <a:moveTo>
                        <a:pt x="69" y="254"/>
                      </a:moveTo>
                      <a:lnTo>
                        <a:pt x="69" y="254"/>
                      </a:lnTo>
                      <a:lnTo>
                        <a:pt x="69" y="254"/>
                      </a:lnTo>
                      <a:lnTo>
                        <a:pt x="69" y="254"/>
                      </a:lnTo>
                      <a:lnTo>
                        <a:pt x="69" y="254"/>
                      </a:lnTo>
                      <a:close/>
                      <a:moveTo>
                        <a:pt x="68" y="254"/>
                      </a:moveTo>
                      <a:lnTo>
                        <a:pt x="67" y="254"/>
                      </a:lnTo>
                      <a:lnTo>
                        <a:pt x="68" y="254"/>
                      </a:lnTo>
                      <a:close/>
                      <a:moveTo>
                        <a:pt x="70" y="254"/>
                      </a:moveTo>
                      <a:lnTo>
                        <a:pt x="70" y="254"/>
                      </a:lnTo>
                      <a:lnTo>
                        <a:pt x="70" y="254"/>
                      </a:lnTo>
                      <a:close/>
                      <a:moveTo>
                        <a:pt x="68" y="254"/>
                      </a:moveTo>
                      <a:lnTo>
                        <a:pt x="68" y="254"/>
                      </a:lnTo>
                      <a:lnTo>
                        <a:pt x="68" y="254"/>
                      </a:lnTo>
                      <a:close/>
                      <a:moveTo>
                        <a:pt x="69" y="254"/>
                      </a:moveTo>
                      <a:lnTo>
                        <a:pt x="69" y="254"/>
                      </a:lnTo>
                      <a:lnTo>
                        <a:pt x="69" y="254"/>
                      </a:lnTo>
                      <a:lnTo>
                        <a:pt x="69" y="254"/>
                      </a:lnTo>
                      <a:lnTo>
                        <a:pt x="69" y="254"/>
                      </a:lnTo>
                      <a:close/>
                      <a:moveTo>
                        <a:pt x="70" y="254"/>
                      </a:moveTo>
                      <a:lnTo>
                        <a:pt x="70" y="254"/>
                      </a:lnTo>
                      <a:lnTo>
                        <a:pt x="70" y="254"/>
                      </a:lnTo>
                      <a:lnTo>
                        <a:pt x="70" y="254"/>
                      </a:lnTo>
                      <a:lnTo>
                        <a:pt x="70" y="254"/>
                      </a:lnTo>
                      <a:close/>
                      <a:moveTo>
                        <a:pt x="70" y="254"/>
                      </a:moveTo>
                      <a:lnTo>
                        <a:pt x="70" y="254"/>
                      </a:lnTo>
                      <a:lnTo>
                        <a:pt x="70" y="254"/>
                      </a:lnTo>
                      <a:lnTo>
                        <a:pt x="70" y="254"/>
                      </a:lnTo>
                      <a:lnTo>
                        <a:pt x="70" y="254"/>
                      </a:lnTo>
                      <a:lnTo>
                        <a:pt x="70" y="254"/>
                      </a:lnTo>
                      <a:lnTo>
                        <a:pt x="70" y="254"/>
                      </a:lnTo>
                      <a:lnTo>
                        <a:pt x="70" y="254"/>
                      </a:lnTo>
                      <a:lnTo>
                        <a:pt x="70" y="254"/>
                      </a:lnTo>
                      <a:lnTo>
                        <a:pt x="70" y="254"/>
                      </a:lnTo>
                      <a:lnTo>
                        <a:pt x="70" y="254"/>
                      </a:lnTo>
                      <a:lnTo>
                        <a:pt x="71" y="254"/>
                      </a:lnTo>
                      <a:lnTo>
                        <a:pt x="71" y="254"/>
                      </a:lnTo>
                      <a:lnTo>
                        <a:pt x="70" y="254"/>
                      </a:lnTo>
                      <a:lnTo>
                        <a:pt x="71" y="254"/>
                      </a:lnTo>
                      <a:lnTo>
                        <a:pt x="71" y="254"/>
                      </a:lnTo>
                      <a:lnTo>
                        <a:pt x="70" y="254"/>
                      </a:lnTo>
                      <a:lnTo>
                        <a:pt x="71" y="254"/>
                      </a:lnTo>
                      <a:lnTo>
                        <a:pt x="70" y="254"/>
                      </a:lnTo>
                      <a:lnTo>
                        <a:pt x="70" y="255"/>
                      </a:lnTo>
                      <a:lnTo>
                        <a:pt x="71" y="255"/>
                      </a:lnTo>
                      <a:lnTo>
                        <a:pt x="70" y="255"/>
                      </a:lnTo>
                      <a:lnTo>
                        <a:pt x="71" y="255"/>
                      </a:lnTo>
                      <a:lnTo>
                        <a:pt x="70" y="255"/>
                      </a:lnTo>
                      <a:lnTo>
                        <a:pt x="71" y="255"/>
                      </a:lnTo>
                      <a:lnTo>
                        <a:pt x="70" y="255"/>
                      </a:lnTo>
                      <a:lnTo>
                        <a:pt x="71" y="255"/>
                      </a:lnTo>
                      <a:lnTo>
                        <a:pt x="71" y="254"/>
                      </a:lnTo>
                      <a:lnTo>
                        <a:pt x="71" y="254"/>
                      </a:lnTo>
                      <a:lnTo>
                        <a:pt x="70" y="254"/>
                      </a:lnTo>
                      <a:lnTo>
                        <a:pt x="71" y="254"/>
                      </a:lnTo>
                      <a:lnTo>
                        <a:pt x="71" y="254"/>
                      </a:lnTo>
                      <a:lnTo>
                        <a:pt x="71" y="255"/>
                      </a:lnTo>
                      <a:lnTo>
                        <a:pt x="70" y="255"/>
                      </a:lnTo>
                      <a:lnTo>
                        <a:pt x="70" y="254"/>
                      </a:lnTo>
                      <a:lnTo>
                        <a:pt x="70" y="254"/>
                      </a:lnTo>
                      <a:lnTo>
                        <a:pt x="70" y="254"/>
                      </a:lnTo>
                      <a:lnTo>
                        <a:pt x="70" y="254"/>
                      </a:lnTo>
                      <a:lnTo>
                        <a:pt x="70" y="254"/>
                      </a:lnTo>
                      <a:lnTo>
                        <a:pt x="70" y="254"/>
                      </a:lnTo>
                      <a:lnTo>
                        <a:pt x="70" y="254"/>
                      </a:lnTo>
                      <a:close/>
                      <a:moveTo>
                        <a:pt x="70" y="255"/>
                      </a:moveTo>
                      <a:lnTo>
                        <a:pt x="70" y="254"/>
                      </a:lnTo>
                      <a:lnTo>
                        <a:pt x="70" y="255"/>
                      </a:lnTo>
                      <a:close/>
                      <a:moveTo>
                        <a:pt x="69" y="254"/>
                      </a:moveTo>
                      <a:lnTo>
                        <a:pt x="69" y="254"/>
                      </a:lnTo>
                      <a:lnTo>
                        <a:pt x="69" y="254"/>
                      </a:lnTo>
                      <a:close/>
                      <a:moveTo>
                        <a:pt x="69" y="254"/>
                      </a:moveTo>
                      <a:lnTo>
                        <a:pt x="69" y="253"/>
                      </a:lnTo>
                      <a:lnTo>
                        <a:pt x="69" y="254"/>
                      </a:lnTo>
                      <a:close/>
                      <a:moveTo>
                        <a:pt x="69" y="253"/>
                      </a:moveTo>
                      <a:lnTo>
                        <a:pt x="69" y="254"/>
                      </a:lnTo>
                      <a:lnTo>
                        <a:pt x="69" y="253"/>
                      </a:lnTo>
                      <a:lnTo>
                        <a:pt x="69" y="254"/>
                      </a:lnTo>
                      <a:lnTo>
                        <a:pt x="69" y="254"/>
                      </a:lnTo>
                      <a:lnTo>
                        <a:pt x="69" y="254"/>
                      </a:lnTo>
                      <a:lnTo>
                        <a:pt x="69" y="253"/>
                      </a:lnTo>
                      <a:lnTo>
                        <a:pt x="69" y="253"/>
                      </a:lnTo>
                      <a:close/>
                      <a:moveTo>
                        <a:pt x="68" y="255"/>
                      </a:moveTo>
                      <a:lnTo>
                        <a:pt x="69" y="255"/>
                      </a:lnTo>
                      <a:lnTo>
                        <a:pt x="68" y="255"/>
                      </a:lnTo>
                      <a:lnTo>
                        <a:pt x="69" y="255"/>
                      </a:lnTo>
                      <a:lnTo>
                        <a:pt x="69" y="255"/>
                      </a:lnTo>
                      <a:lnTo>
                        <a:pt x="69" y="255"/>
                      </a:lnTo>
                      <a:lnTo>
                        <a:pt x="68" y="256"/>
                      </a:lnTo>
                      <a:lnTo>
                        <a:pt x="67" y="256"/>
                      </a:lnTo>
                      <a:lnTo>
                        <a:pt x="68" y="256"/>
                      </a:lnTo>
                      <a:lnTo>
                        <a:pt x="67" y="256"/>
                      </a:lnTo>
                      <a:lnTo>
                        <a:pt x="67" y="256"/>
                      </a:lnTo>
                      <a:lnTo>
                        <a:pt x="66" y="256"/>
                      </a:lnTo>
                      <a:lnTo>
                        <a:pt x="66" y="255"/>
                      </a:lnTo>
                      <a:lnTo>
                        <a:pt x="66" y="256"/>
                      </a:lnTo>
                      <a:lnTo>
                        <a:pt x="66" y="255"/>
                      </a:lnTo>
                      <a:lnTo>
                        <a:pt x="66" y="255"/>
                      </a:lnTo>
                      <a:lnTo>
                        <a:pt x="67" y="255"/>
                      </a:lnTo>
                      <a:lnTo>
                        <a:pt x="67" y="255"/>
                      </a:lnTo>
                      <a:lnTo>
                        <a:pt x="68" y="255"/>
                      </a:lnTo>
                      <a:lnTo>
                        <a:pt x="67" y="255"/>
                      </a:lnTo>
                      <a:lnTo>
                        <a:pt x="67" y="254"/>
                      </a:lnTo>
                      <a:lnTo>
                        <a:pt x="67" y="255"/>
                      </a:lnTo>
                      <a:lnTo>
                        <a:pt x="68" y="255"/>
                      </a:lnTo>
                      <a:lnTo>
                        <a:pt x="68" y="254"/>
                      </a:lnTo>
                      <a:lnTo>
                        <a:pt x="67" y="254"/>
                      </a:lnTo>
                      <a:lnTo>
                        <a:pt x="68" y="254"/>
                      </a:lnTo>
                      <a:lnTo>
                        <a:pt x="67" y="254"/>
                      </a:lnTo>
                      <a:lnTo>
                        <a:pt x="67" y="254"/>
                      </a:lnTo>
                      <a:lnTo>
                        <a:pt x="68" y="254"/>
                      </a:lnTo>
                      <a:lnTo>
                        <a:pt x="68" y="253"/>
                      </a:lnTo>
                      <a:lnTo>
                        <a:pt x="68" y="254"/>
                      </a:lnTo>
                      <a:lnTo>
                        <a:pt x="67" y="254"/>
                      </a:lnTo>
                      <a:lnTo>
                        <a:pt x="67" y="254"/>
                      </a:lnTo>
                      <a:lnTo>
                        <a:pt x="68" y="254"/>
                      </a:lnTo>
                      <a:lnTo>
                        <a:pt x="69" y="254"/>
                      </a:lnTo>
                      <a:lnTo>
                        <a:pt x="69" y="254"/>
                      </a:lnTo>
                      <a:lnTo>
                        <a:pt x="69" y="254"/>
                      </a:lnTo>
                      <a:lnTo>
                        <a:pt x="69" y="254"/>
                      </a:lnTo>
                      <a:lnTo>
                        <a:pt x="69" y="254"/>
                      </a:lnTo>
                      <a:lnTo>
                        <a:pt x="69" y="254"/>
                      </a:lnTo>
                      <a:lnTo>
                        <a:pt x="69" y="254"/>
                      </a:lnTo>
                      <a:lnTo>
                        <a:pt x="69" y="254"/>
                      </a:lnTo>
                      <a:lnTo>
                        <a:pt x="69" y="254"/>
                      </a:lnTo>
                      <a:lnTo>
                        <a:pt x="69" y="254"/>
                      </a:lnTo>
                      <a:lnTo>
                        <a:pt x="68" y="254"/>
                      </a:lnTo>
                      <a:lnTo>
                        <a:pt x="68" y="255"/>
                      </a:lnTo>
                      <a:lnTo>
                        <a:pt x="69" y="255"/>
                      </a:lnTo>
                      <a:lnTo>
                        <a:pt x="68" y="255"/>
                      </a:lnTo>
                      <a:lnTo>
                        <a:pt x="69" y="255"/>
                      </a:lnTo>
                      <a:lnTo>
                        <a:pt x="69" y="255"/>
                      </a:lnTo>
                      <a:lnTo>
                        <a:pt x="69" y="255"/>
                      </a:lnTo>
                      <a:lnTo>
                        <a:pt x="69" y="255"/>
                      </a:lnTo>
                      <a:lnTo>
                        <a:pt x="69" y="255"/>
                      </a:lnTo>
                      <a:lnTo>
                        <a:pt x="69" y="255"/>
                      </a:lnTo>
                      <a:lnTo>
                        <a:pt x="69" y="255"/>
                      </a:lnTo>
                      <a:lnTo>
                        <a:pt x="69" y="255"/>
                      </a:lnTo>
                      <a:lnTo>
                        <a:pt x="70" y="255"/>
                      </a:lnTo>
                      <a:lnTo>
                        <a:pt x="70" y="254"/>
                      </a:lnTo>
                      <a:lnTo>
                        <a:pt x="70" y="255"/>
                      </a:lnTo>
                      <a:lnTo>
                        <a:pt x="70" y="254"/>
                      </a:lnTo>
                      <a:lnTo>
                        <a:pt x="70" y="255"/>
                      </a:lnTo>
                      <a:lnTo>
                        <a:pt x="70" y="254"/>
                      </a:lnTo>
                      <a:lnTo>
                        <a:pt x="69" y="254"/>
                      </a:lnTo>
                      <a:lnTo>
                        <a:pt x="70" y="254"/>
                      </a:lnTo>
                      <a:lnTo>
                        <a:pt x="70" y="254"/>
                      </a:lnTo>
                      <a:lnTo>
                        <a:pt x="69" y="254"/>
                      </a:lnTo>
                      <a:lnTo>
                        <a:pt x="69" y="254"/>
                      </a:lnTo>
                      <a:lnTo>
                        <a:pt x="70" y="254"/>
                      </a:lnTo>
                      <a:lnTo>
                        <a:pt x="69" y="254"/>
                      </a:lnTo>
                      <a:lnTo>
                        <a:pt x="69" y="253"/>
                      </a:lnTo>
                      <a:lnTo>
                        <a:pt x="69" y="253"/>
                      </a:lnTo>
                      <a:lnTo>
                        <a:pt x="69" y="253"/>
                      </a:lnTo>
                      <a:lnTo>
                        <a:pt x="69" y="254"/>
                      </a:lnTo>
                      <a:lnTo>
                        <a:pt x="70" y="254"/>
                      </a:lnTo>
                      <a:lnTo>
                        <a:pt x="70" y="254"/>
                      </a:lnTo>
                      <a:lnTo>
                        <a:pt x="70" y="255"/>
                      </a:lnTo>
                      <a:lnTo>
                        <a:pt x="70" y="255"/>
                      </a:lnTo>
                      <a:lnTo>
                        <a:pt x="69" y="255"/>
                      </a:lnTo>
                      <a:lnTo>
                        <a:pt x="69" y="255"/>
                      </a:lnTo>
                      <a:lnTo>
                        <a:pt x="69" y="255"/>
                      </a:lnTo>
                      <a:lnTo>
                        <a:pt x="69" y="255"/>
                      </a:lnTo>
                      <a:lnTo>
                        <a:pt x="68" y="255"/>
                      </a:lnTo>
                      <a:close/>
                      <a:moveTo>
                        <a:pt x="70" y="253"/>
                      </a:moveTo>
                      <a:lnTo>
                        <a:pt x="70" y="254"/>
                      </a:lnTo>
                      <a:lnTo>
                        <a:pt x="70" y="253"/>
                      </a:lnTo>
                      <a:lnTo>
                        <a:pt x="70" y="253"/>
                      </a:lnTo>
                      <a:lnTo>
                        <a:pt x="70" y="253"/>
                      </a:lnTo>
                      <a:lnTo>
                        <a:pt x="69" y="253"/>
                      </a:lnTo>
                      <a:lnTo>
                        <a:pt x="70" y="253"/>
                      </a:lnTo>
                      <a:lnTo>
                        <a:pt x="70" y="253"/>
                      </a:lnTo>
                      <a:lnTo>
                        <a:pt x="70" y="253"/>
                      </a:lnTo>
                      <a:lnTo>
                        <a:pt x="70" y="253"/>
                      </a:lnTo>
                      <a:lnTo>
                        <a:pt x="70" y="254"/>
                      </a:lnTo>
                      <a:lnTo>
                        <a:pt x="70" y="254"/>
                      </a:lnTo>
                      <a:lnTo>
                        <a:pt x="69" y="253"/>
                      </a:lnTo>
                      <a:lnTo>
                        <a:pt x="70" y="253"/>
                      </a:lnTo>
                      <a:lnTo>
                        <a:pt x="70" y="254"/>
                      </a:lnTo>
                      <a:lnTo>
                        <a:pt x="70" y="253"/>
                      </a:lnTo>
                      <a:close/>
                      <a:moveTo>
                        <a:pt x="955" y="254"/>
                      </a:moveTo>
                      <a:lnTo>
                        <a:pt x="955" y="253"/>
                      </a:lnTo>
                      <a:lnTo>
                        <a:pt x="955" y="254"/>
                      </a:lnTo>
                      <a:lnTo>
                        <a:pt x="955" y="254"/>
                      </a:lnTo>
                      <a:lnTo>
                        <a:pt x="955" y="253"/>
                      </a:lnTo>
                      <a:lnTo>
                        <a:pt x="955" y="253"/>
                      </a:lnTo>
                      <a:lnTo>
                        <a:pt x="955" y="254"/>
                      </a:lnTo>
                      <a:close/>
                      <a:moveTo>
                        <a:pt x="67" y="253"/>
                      </a:moveTo>
                      <a:lnTo>
                        <a:pt x="67" y="252"/>
                      </a:lnTo>
                      <a:lnTo>
                        <a:pt x="67" y="253"/>
                      </a:lnTo>
                      <a:close/>
                      <a:moveTo>
                        <a:pt x="67" y="252"/>
                      </a:moveTo>
                      <a:lnTo>
                        <a:pt x="67" y="253"/>
                      </a:lnTo>
                      <a:lnTo>
                        <a:pt x="67" y="252"/>
                      </a:lnTo>
                      <a:close/>
                      <a:moveTo>
                        <a:pt x="67" y="253"/>
                      </a:moveTo>
                      <a:lnTo>
                        <a:pt x="66" y="253"/>
                      </a:lnTo>
                      <a:lnTo>
                        <a:pt x="67" y="253"/>
                      </a:lnTo>
                      <a:lnTo>
                        <a:pt x="66" y="253"/>
                      </a:lnTo>
                      <a:lnTo>
                        <a:pt x="66" y="252"/>
                      </a:lnTo>
                      <a:lnTo>
                        <a:pt x="67" y="252"/>
                      </a:lnTo>
                      <a:lnTo>
                        <a:pt x="67" y="253"/>
                      </a:lnTo>
                      <a:lnTo>
                        <a:pt x="67" y="252"/>
                      </a:lnTo>
                      <a:lnTo>
                        <a:pt x="67" y="253"/>
                      </a:lnTo>
                      <a:close/>
                      <a:moveTo>
                        <a:pt x="67" y="253"/>
                      </a:moveTo>
                      <a:lnTo>
                        <a:pt x="67" y="252"/>
                      </a:lnTo>
                      <a:lnTo>
                        <a:pt x="67" y="253"/>
                      </a:lnTo>
                      <a:close/>
                      <a:moveTo>
                        <a:pt x="68" y="252"/>
                      </a:moveTo>
                      <a:lnTo>
                        <a:pt x="68" y="253"/>
                      </a:lnTo>
                      <a:lnTo>
                        <a:pt x="68" y="252"/>
                      </a:lnTo>
                      <a:close/>
                      <a:moveTo>
                        <a:pt x="66" y="254"/>
                      </a:moveTo>
                      <a:lnTo>
                        <a:pt x="66" y="254"/>
                      </a:lnTo>
                      <a:lnTo>
                        <a:pt x="66" y="254"/>
                      </a:lnTo>
                      <a:lnTo>
                        <a:pt x="67" y="254"/>
                      </a:lnTo>
                      <a:lnTo>
                        <a:pt x="66" y="254"/>
                      </a:lnTo>
                      <a:lnTo>
                        <a:pt x="67" y="254"/>
                      </a:lnTo>
                      <a:lnTo>
                        <a:pt x="67" y="254"/>
                      </a:lnTo>
                      <a:lnTo>
                        <a:pt x="66" y="254"/>
                      </a:lnTo>
                      <a:lnTo>
                        <a:pt x="66" y="254"/>
                      </a:lnTo>
                      <a:lnTo>
                        <a:pt x="66" y="254"/>
                      </a:lnTo>
                      <a:lnTo>
                        <a:pt x="66" y="254"/>
                      </a:lnTo>
                      <a:lnTo>
                        <a:pt x="66" y="254"/>
                      </a:lnTo>
                      <a:lnTo>
                        <a:pt x="66" y="254"/>
                      </a:lnTo>
                      <a:lnTo>
                        <a:pt x="67" y="254"/>
                      </a:lnTo>
                      <a:lnTo>
                        <a:pt x="66" y="254"/>
                      </a:lnTo>
                      <a:lnTo>
                        <a:pt x="67" y="254"/>
                      </a:lnTo>
                      <a:lnTo>
                        <a:pt x="67" y="254"/>
                      </a:lnTo>
                      <a:lnTo>
                        <a:pt x="67" y="254"/>
                      </a:lnTo>
                      <a:lnTo>
                        <a:pt x="67" y="253"/>
                      </a:lnTo>
                      <a:lnTo>
                        <a:pt x="67" y="253"/>
                      </a:lnTo>
                      <a:lnTo>
                        <a:pt x="67" y="253"/>
                      </a:lnTo>
                      <a:lnTo>
                        <a:pt x="67" y="253"/>
                      </a:lnTo>
                      <a:lnTo>
                        <a:pt x="67" y="253"/>
                      </a:lnTo>
                      <a:lnTo>
                        <a:pt x="68" y="253"/>
                      </a:lnTo>
                      <a:lnTo>
                        <a:pt x="67" y="253"/>
                      </a:lnTo>
                      <a:lnTo>
                        <a:pt x="68" y="253"/>
                      </a:lnTo>
                      <a:lnTo>
                        <a:pt x="67" y="253"/>
                      </a:lnTo>
                      <a:lnTo>
                        <a:pt x="67" y="252"/>
                      </a:lnTo>
                      <a:lnTo>
                        <a:pt x="67" y="253"/>
                      </a:lnTo>
                      <a:lnTo>
                        <a:pt x="67" y="252"/>
                      </a:lnTo>
                      <a:lnTo>
                        <a:pt x="68" y="252"/>
                      </a:lnTo>
                      <a:lnTo>
                        <a:pt x="68" y="253"/>
                      </a:lnTo>
                      <a:lnTo>
                        <a:pt x="68" y="254"/>
                      </a:lnTo>
                      <a:lnTo>
                        <a:pt x="67" y="254"/>
                      </a:lnTo>
                      <a:lnTo>
                        <a:pt x="67" y="254"/>
                      </a:lnTo>
                      <a:lnTo>
                        <a:pt x="67" y="255"/>
                      </a:lnTo>
                      <a:lnTo>
                        <a:pt x="67" y="255"/>
                      </a:lnTo>
                      <a:lnTo>
                        <a:pt x="66" y="255"/>
                      </a:lnTo>
                      <a:lnTo>
                        <a:pt x="66" y="255"/>
                      </a:lnTo>
                      <a:lnTo>
                        <a:pt x="66" y="254"/>
                      </a:lnTo>
                      <a:lnTo>
                        <a:pt x="66" y="254"/>
                      </a:lnTo>
                      <a:lnTo>
                        <a:pt x="66" y="254"/>
                      </a:lnTo>
                      <a:lnTo>
                        <a:pt x="66" y="253"/>
                      </a:lnTo>
                      <a:lnTo>
                        <a:pt x="67" y="253"/>
                      </a:lnTo>
                      <a:lnTo>
                        <a:pt x="66" y="253"/>
                      </a:lnTo>
                      <a:lnTo>
                        <a:pt x="66" y="254"/>
                      </a:lnTo>
                      <a:lnTo>
                        <a:pt x="67" y="254"/>
                      </a:lnTo>
                      <a:lnTo>
                        <a:pt x="66" y="254"/>
                      </a:lnTo>
                      <a:lnTo>
                        <a:pt x="67" y="254"/>
                      </a:lnTo>
                      <a:lnTo>
                        <a:pt x="66" y="254"/>
                      </a:lnTo>
                      <a:lnTo>
                        <a:pt x="66" y="254"/>
                      </a:lnTo>
                      <a:lnTo>
                        <a:pt x="66" y="254"/>
                      </a:lnTo>
                      <a:lnTo>
                        <a:pt x="66" y="254"/>
                      </a:lnTo>
                      <a:lnTo>
                        <a:pt x="66" y="254"/>
                      </a:lnTo>
                      <a:close/>
                      <a:moveTo>
                        <a:pt x="67" y="252"/>
                      </a:moveTo>
                      <a:lnTo>
                        <a:pt x="67" y="252"/>
                      </a:lnTo>
                      <a:lnTo>
                        <a:pt x="67" y="252"/>
                      </a:lnTo>
                      <a:lnTo>
                        <a:pt x="67" y="252"/>
                      </a:lnTo>
                      <a:lnTo>
                        <a:pt x="67" y="252"/>
                      </a:lnTo>
                      <a:lnTo>
                        <a:pt x="67" y="252"/>
                      </a:lnTo>
                      <a:lnTo>
                        <a:pt x="67" y="252"/>
                      </a:lnTo>
                      <a:lnTo>
                        <a:pt x="67" y="252"/>
                      </a:lnTo>
                      <a:lnTo>
                        <a:pt x="67" y="252"/>
                      </a:lnTo>
                      <a:close/>
                      <a:moveTo>
                        <a:pt x="65" y="252"/>
                      </a:moveTo>
                      <a:lnTo>
                        <a:pt x="65" y="252"/>
                      </a:lnTo>
                      <a:lnTo>
                        <a:pt x="65" y="252"/>
                      </a:lnTo>
                      <a:close/>
                      <a:moveTo>
                        <a:pt x="67" y="252"/>
                      </a:moveTo>
                      <a:lnTo>
                        <a:pt x="67" y="252"/>
                      </a:lnTo>
                      <a:lnTo>
                        <a:pt x="67" y="252"/>
                      </a:lnTo>
                      <a:close/>
                      <a:moveTo>
                        <a:pt x="68" y="252"/>
                      </a:moveTo>
                      <a:lnTo>
                        <a:pt x="69" y="252"/>
                      </a:lnTo>
                      <a:lnTo>
                        <a:pt x="68" y="252"/>
                      </a:lnTo>
                      <a:lnTo>
                        <a:pt x="69" y="252"/>
                      </a:lnTo>
                      <a:lnTo>
                        <a:pt x="69" y="252"/>
                      </a:lnTo>
                      <a:lnTo>
                        <a:pt x="69" y="253"/>
                      </a:lnTo>
                      <a:lnTo>
                        <a:pt x="69" y="252"/>
                      </a:lnTo>
                      <a:lnTo>
                        <a:pt x="68" y="252"/>
                      </a:lnTo>
                      <a:lnTo>
                        <a:pt x="68" y="252"/>
                      </a:lnTo>
                      <a:lnTo>
                        <a:pt x="68" y="252"/>
                      </a:lnTo>
                      <a:close/>
                      <a:moveTo>
                        <a:pt x="65" y="252"/>
                      </a:moveTo>
                      <a:lnTo>
                        <a:pt x="64" y="252"/>
                      </a:lnTo>
                      <a:lnTo>
                        <a:pt x="65" y="252"/>
                      </a:lnTo>
                      <a:close/>
                      <a:moveTo>
                        <a:pt x="68" y="252"/>
                      </a:moveTo>
                      <a:lnTo>
                        <a:pt x="68" y="253"/>
                      </a:lnTo>
                      <a:lnTo>
                        <a:pt x="68" y="252"/>
                      </a:lnTo>
                      <a:lnTo>
                        <a:pt x="67" y="252"/>
                      </a:lnTo>
                      <a:lnTo>
                        <a:pt x="67" y="252"/>
                      </a:lnTo>
                      <a:lnTo>
                        <a:pt x="67" y="252"/>
                      </a:lnTo>
                      <a:lnTo>
                        <a:pt x="67" y="252"/>
                      </a:lnTo>
                      <a:lnTo>
                        <a:pt x="67" y="252"/>
                      </a:lnTo>
                      <a:lnTo>
                        <a:pt x="68" y="252"/>
                      </a:lnTo>
                      <a:lnTo>
                        <a:pt x="67" y="252"/>
                      </a:lnTo>
                      <a:lnTo>
                        <a:pt x="68" y="252"/>
                      </a:lnTo>
                      <a:lnTo>
                        <a:pt x="67" y="252"/>
                      </a:lnTo>
                      <a:lnTo>
                        <a:pt x="67" y="252"/>
                      </a:lnTo>
                      <a:lnTo>
                        <a:pt x="67" y="252"/>
                      </a:lnTo>
                      <a:lnTo>
                        <a:pt x="68" y="252"/>
                      </a:lnTo>
                      <a:lnTo>
                        <a:pt x="67" y="252"/>
                      </a:lnTo>
                      <a:lnTo>
                        <a:pt x="68" y="252"/>
                      </a:lnTo>
                      <a:lnTo>
                        <a:pt x="68" y="252"/>
                      </a:lnTo>
                      <a:lnTo>
                        <a:pt x="68" y="252"/>
                      </a:lnTo>
                      <a:close/>
                      <a:moveTo>
                        <a:pt x="68" y="252"/>
                      </a:moveTo>
                      <a:lnTo>
                        <a:pt x="67" y="252"/>
                      </a:lnTo>
                      <a:lnTo>
                        <a:pt x="68" y="252"/>
                      </a:lnTo>
                      <a:close/>
                      <a:moveTo>
                        <a:pt x="70" y="252"/>
                      </a:moveTo>
                      <a:lnTo>
                        <a:pt x="71" y="252"/>
                      </a:lnTo>
                      <a:lnTo>
                        <a:pt x="71" y="252"/>
                      </a:lnTo>
                      <a:lnTo>
                        <a:pt x="71" y="253"/>
                      </a:lnTo>
                      <a:lnTo>
                        <a:pt x="70" y="253"/>
                      </a:lnTo>
                      <a:lnTo>
                        <a:pt x="70" y="253"/>
                      </a:lnTo>
                      <a:lnTo>
                        <a:pt x="70" y="252"/>
                      </a:lnTo>
                      <a:lnTo>
                        <a:pt x="69" y="252"/>
                      </a:lnTo>
                      <a:lnTo>
                        <a:pt x="69" y="253"/>
                      </a:lnTo>
                      <a:lnTo>
                        <a:pt x="69" y="252"/>
                      </a:lnTo>
                      <a:lnTo>
                        <a:pt x="69" y="252"/>
                      </a:lnTo>
                      <a:lnTo>
                        <a:pt x="68" y="252"/>
                      </a:lnTo>
                      <a:lnTo>
                        <a:pt x="68" y="252"/>
                      </a:lnTo>
                      <a:lnTo>
                        <a:pt x="69" y="252"/>
                      </a:lnTo>
                      <a:lnTo>
                        <a:pt x="69" y="252"/>
                      </a:lnTo>
                      <a:lnTo>
                        <a:pt x="69" y="252"/>
                      </a:lnTo>
                      <a:lnTo>
                        <a:pt x="69" y="252"/>
                      </a:lnTo>
                      <a:lnTo>
                        <a:pt x="69" y="252"/>
                      </a:lnTo>
                      <a:lnTo>
                        <a:pt x="69" y="252"/>
                      </a:lnTo>
                      <a:lnTo>
                        <a:pt x="69" y="252"/>
                      </a:lnTo>
                      <a:lnTo>
                        <a:pt x="69" y="252"/>
                      </a:lnTo>
                      <a:lnTo>
                        <a:pt x="69" y="252"/>
                      </a:lnTo>
                      <a:lnTo>
                        <a:pt x="69" y="252"/>
                      </a:lnTo>
                      <a:lnTo>
                        <a:pt x="69" y="252"/>
                      </a:lnTo>
                      <a:lnTo>
                        <a:pt x="69" y="252"/>
                      </a:lnTo>
                      <a:lnTo>
                        <a:pt x="69" y="252"/>
                      </a:lnTo>
                      <a:lnTo>
                        <a:pt x="69" y="252"/>
                      </a:lnTo>
                      <a:lnTo>
                        <a:pt x="69" y="252"/>
                      </a:lnTo>
                      <a:lnTo>
                        <a:pt x="70" y="252"/>
                      </a:lnTo>
                      <a:lnTo>
                        <a:pt x="70" y="252"/>
                      </a:lnTo>
                      <a:lnTo>
                        <a:pt x="69" y="252"/>
                      </a:lnTo>
                      <a:lnTo>
                        <a:pt x="70" y="252"/>
                      </a:lnTo>
                      <a:lnTo>
                        <a:pt x="70" y="252"/>
                      </a:lnTo>
                      <a:lnTo>
                        <a:pt x="70" y="252"/>
                      </a:lnTo>
                      <a:lnTo>
                        <a:pt x="70" y="252"/>
                      </a:lnTo>
                      <a:lnTo>
                        <a:pt x="70" y="252"/>
                      </a:lnTo>
                      <a:lnTo>
                        <a:pt x="69" y="252"/>
                      </a:lnTo>
                      <a:lnTo>
                        <a:pt x="70" y="252"/>
                      </a:lnTo>
                      <a:lnTo>
                        <a:pt x="70" y="252"/>
                      </a:lnTo>
                      <a:lnTo>
                        <a:pt x="70" y="252"/>
                      </a:lnTo>
                      <a:lnTo>
                        <a:pt x="70" y="252"/>
                      </a:lnTo>
                      <a:close/>
                      <a:moveTo>
                        <a:pt x="70" y="252"/>
                      </a:moveTo>
                      <a:lnTo>
                        <a:pt x="70" y="252"/>
                      </a:lnTo>
                      <a:lnTo>
                        <a:pt x="70" y="252"/>
                      </a:lnTo>
                      <a:lnTo>
                        <a:pt x="70" y="252"/>
                      </a:lnTo>
                      <a:lnTo>
                        <a:pt x="70" y="252"/>
                      </a:lnTo>
                      <a:close/>
                      <a:moveTo>
                        <a:pt x="71" y="252"/>
                      </a:moveTo>
                      <a:lnTo>
                        <a:pt x="71" y="253"/>
                      </a:lnTo>
                      <a:lnTo>
                        <a:pt x="71" y="252"/>
                      </a:lnTo>
                      <a:close/>
                      <a:moveTo>
                        <a:pt x="65" y="252"/>
                      </a:moveTo>
                      <a:lnTo>
                        <a:pt x="65" y="252"/>
                      </a:lnTo>
                      <a:lnTo>
                        <a:pt x="65" y="252"/>
                      </a:lnTo>
                      <a:lnTo>
                        <a:pt x="65" y="252"/>
                      </a:lnTo>
                      <a:lnTo>
                        <a:pt x="65" y="252"/>
                      </a:lnTo>
                      <a:lnTo>
                        <a:pt x="66" y="252"/>
                      </a:lnTo>
                      <a:lnTo>
                        <a:pt x="66" y="253"/>
                      </a:lnTo>
                      <a:lnTo>
                        <a:pt x="66" y="252"/>
                      </a:lnTo>
                      <a:lnTo>
                        <a:pt x="65" y="252"/>
                      </a:lnTo>
                      <a:lnTo>
                        <a:pt x="66" y="252"/>
                      </a:lnTo>
                      <a:lnTo>
                        <a:pt x="65" y="252"/>
                      </a:lnTo>
                      <a:lnTo>
                        <a:pt x="65" y="252"/>
                      </a:lnTo>
                      <a:lnTo>
                        <a:pt x="66" y="252"/>
                      </a:lnTo>
                      <a:lnTo>
                        <a:pt x="66" y="253"/>
                      </a:lnTo>
                      <a:lnTo>
                        <a:pt x="66" y="254"/>
                      </a:lnTo>
                      <a:lnTo>
                        <a:pt x="66" y="254"/>
                      </a:lnTo>
                      <a:lnTo>
                        <a:pt x="66" y="254"/>
                      </a:lnTo>
                      <a:lnTo>
                        <a:pt x="65" y="254"/>
                      </a:lnTo>
                      <a:lnTo>
                        <a:pt x="65" y="254"/>
                      </a:lnTo>
                      <a:lnTo>
                        <a:pt x="66" y="254"/>
                      </a:lnTo>
                      <a:lnTo>
                        <a:pt x="65" y="254"/>
                      </a:lnTo>
                      <a:lnTo>
                        <a:pt x="65" y="254"/>
                      </a:lnTo>
                      <a:lnTo>
                        <a:pt x="65" y="254"/>
                      </a:lnTo>
                      <a:lnTo>
                        <a:pt x="65" y="253"/>
                      </a:lnTo>
                      <a:lnTo>
                        <a:pt x="65" y="253"/>
                      </a:lnTo>
                      <a:lnTo>
                        <a:pt x="65" y="252"/>
                      </a:lnTo>
                      <a:lnTo>
                        <a:pt x="64" y="253"/>
                      </a:lnTo>
                      <a:lnTo>
                        <a:pt x="64" y="252"/>
                      </a:lnTo>
                      <a:lnTo>
                        <a:pt x="65" y="252"/>
                      </a:lnTo>
                      <a:lnTo>
                        <a:pt x="64" y="252"/>
                      </a:lnTo>
                      <a:lnTo>
                        <a:pt x="65" y="252"/>
                      </a:lnTo>
                      <a:lnTo>
                        <a:pt x="64" y="252"/>
                      </a:lnTo>
                      <a:lnTo>
                        <a:pt x="65" y="252"/>
                      </a:lnTo>
                      <a:lnTo>
                        <a:pt x="65" y="253"/>
                      </a:lnTo>
                      <a:lnTo>
                        <a:pt x="65" y="252"/>
                      </a:lnTo>
                      <a:lnTo>
                        <a:pt x="65" y="252"/>
                      </a:lnTo>
                      <a:lnTo>
                        <a:pt x="65" y="253"/>
                      </a:lnTo>
                      <a:lnTo>
                        <a:pt x="65" y="253"/>
                      </a:lnTo>
                      <a:lnTo>
                        <a:pt x="65" y="253"/>
                      </a:lnTo>
                      <a:lnTo>
                        <a:pt x="65" y="253"/>
                      </a:lnTo>
                      <a:lnTo>
                        <a:pt x="65" y="253"/>
                      </a:lnTo>
                      <a:lnTo>
                        <a:pt x="65" y="254"/>
                      </a:lnTo>
                      <a:lnTo>
                        <a:pt x="65" y="253"/>
                      </a:lnTo>
                      <a:lnTo>
                        <a:pt x="66" y="253"/>
                      </a:lnTo>
                      <a:lnTo>
                        <a:pt x="65" y="253"/>
                      </a:lnTo>
                      <a:lnTo>
                        <a:pt x="66" y="253"/>
                      </a:lnTo>
                      <a:lnTo>
                        <a:pt x="65" y="253"/>
                      </a:lnTo>
                      <a:lnTo>
                        <a:pt x="65" y="252"/>
                      </a:lnTo>
                      <a:lnTo>
                        <a:pt x="65" y="252"/>
                      </a:lnTo>
                      <a:lnTo>
                        <a:pt x="65" y="252"/>
                      </a:lnTo>
                      <a:lnTo>
                        <a:pt x="65" y="252"/>
                      </a:lnTo>
                      <a:lnTo>
                        <a:pt x="65" y="252"/>
                      </a:lnTo>
                      <a:lnTo>
                        <a:pt x="65" y="252"/>
                      </a:lnTo>
                      <a:lnTo>
                        <a:pt x="65" y="252"/>
                      </a:lnTo>
                      <a:lnTo>
                        <a:pt x="65" y="252"/>
                      </a:lnTo>
                      <a:lnTo>
                        <a:pt x="65" y="252"/>
                      </a:lnTo>
                      <a:lnTo>
                        <a:pt x="64" y="252"/>
                      </a:lnTo>
                      <a:lnTo>
                        <a:pt x="65" y="252"/>
                      </a:lnTo>
                      <a:lnTo>
                        <a:pt x="64" y="252"/>
                      </a:lnTo>
                      <a:lnTo>
                        <a:pt x="65" y="252"/>
                      </a:lnTo>
                      <a:lnTo>
                        <a:pt x="65" y="252"/>
                      </a:lnTo>
                      <a:lnTo>
                        <a:pt x="65" y="252"/>
                      </a:lnTo>
                      <a:lnTo>
                        <a:pt x="65" y="252"/>
                      </a:lnTo>
                      <a:lnTo>
                        <a:pt x="65" y="252"/>
                      </a:lnTo>
                      <a:lnTo>
                        <a:pt x="65" y="252"/>
                      </a:lnTo>
                      <a:lnTo>
                        <a:pt x="65" y="252"/>
                      </a:lnTo>
                      <a:lnTo>
                        <a:pt x="65" y="251"/>
                      </a:lnTo>
                      <a:lnTo>
                        <a:pt x="65" y="252"/>
                      </a:lnTo>
                      <a:lnTo>
                        <a:pt x="65" y="252"/>
                      </a:lnTo>
                      <a:lnTo>
                        <a:pt x="65" y="252"/>
                      </a:lnTo>
                      <a:close/>
                      <a:moveTo>
                        <a:pt x="69" y="251"/>
                      </a:moveTo>
                      <a:lnTo>
                        <a:pt x="69" y="252"/>
                      </a:lnTo>
                      <a:lnTo>
                        <a:pt x="69" y="252"/>
                      </a:lnTo>
                      <a:lnTo>
                        <a:pt x="69" y="251"/>
                      </a:lnTo>
                      <a:lnTo>
                        <a:pt x="69" y="251"/>
                      </a:lnTo>
                      <a:lnTo>
                        <a:pt x="69" y="251"/>
                      </a:lnTo>
                      <a:lnTo>
                        <a:pt x="69" y="252"/>
                      </a:lnTo>
                      <a:lnTo>
                        <a:pt x="69" y="251"/>
                      </a:lnTo>
                      <a:lnTo>
                        <a:pt x="69" y="251"/>
                      </a:lnTo>
                      <a:lnTo>
                        <a:pt x="69" y="251"/>
                      </a:lnTo>
                      <a:close/>
                      <a:moveTo>
                        <a:pt x="65" y="251"/>
                      </a:moveTo>
                      <a:lnTo>
                        <a:pt x="65" y="251"/>
                      </a:lnTo>
                      <a:lnTo>
                        <a:pt x="65" y="252"/>
                      </a:lnTo>
                      <a:lnTo>
                        <a:pt x="65" y="251"/>
                      </a:lnTo>
                      <a:lnTo>
                        <a:pt x="65" y="252"/>
                      </a:lnTo>
                      <a:lnTo>
                        <a:pt x="66" y="252"/>
                      </a:lnTo>
                      <a:lnTo>
                        <a:pt x="66" y="251"/>
                      </a:lnTo>
                      <a:lnTo>
                        <a:pt x="65" y="251"/>
                      </a:lnTo>
                      <a:lnTo>
                        <a:pt x="66" y="251"/>
                      </a:lnTo>
                      <a:lnTo>
                        <a:pt x="65" y="251"/>
                      </a:lnTo>
                      <a:lnTo>
                        <a:pt x="66" y="251"/>
                      </a:lnTo>
                      <a:lnTo>
                        <a:pt x="66" y="252"/>
                      </a:lnTo>
                      <a:lnTo>
                        <a:pt x="66" y="252"/>
                      </a:lnTo>
                      <a:lnTo>
                        <a:pt x="66" y="252"/>
                      </a:lnTo>
                      <a:lnTo>
                        <a:pt x="66" y="252"/>
                      </a:lnTo>
                      <a:lnTo>
                        <a:pt x="66" y="252"/>
                      </a:lnTo>
                      <a:lnTo>
                        <a:pt x="66" y="252"/>
                      </a:lnTo>
                      <a:lnTo>
                        <a:pt x="66" y="252"/>
                      </a:lnTo>
                      <a:lnTo>
                        <a:pt x="65" y="252"/>
                      </a:lnTo>
                      <a:lnTo>
                        <a:pt x="65" y="251"/>
                      </a:lnTo>
                      <a:lnTo>
                        <a:pt x="65" y="251"/>
                      </a:lnTo>
                      <a:lnTo>
                        <a:pt x="65" y="251"/>
                      </a:lnTo>
                      <a:lnTo>
                        <a:pt x="65" y="251"/>
                      </a:lnTo>
                      <a:close/>
                      <a:moveTo>
                        <a:pt x="70" y="252"/>
                      </a:moveTo>
                      <a:lnTo>
                        <a:pt x="70" y="252"/>
                      </a:lnTo>
                      <a:lnTo>
                        <a:pt x="70" y="251"/>
                      </a:lnTo>
                      <a:lnTo>
                        <a:pt x="70" y="252"/>
                      </a:lnTo>
                      <a:lnTo>
                        <a:pt x="70" y="251"/>
                      </a:lnTo>
                      <a:lnTo>
                        <a:pt x="70" y="252"/>
                      </a:lnTo>
                      <a:lnTo>
                        <a:pt x="70" y="251"/>
                      </a:lnTo>
                      <a:lnTo>
                        <a:pt x="70" y="252"/>
                      </a:lnTo>
                      <a:lnTo>
                        <a:pt x="70" y="251"/>
                      </a:lnTo>
                      <a:lnTo>
                        <a:pt x="70" y="252"/>
                      </a:lnTo>
                      <a:lnTo>
                        <a:pt x="70" y="251"/>
                      </a:lnTo>
                      <a:lnTo>
                        <a:pt x="69" y="251"/>
                      </a:lnTo>
                      <a:lnTo>
                        <a:pt x="70" y="251"/>
                      </a:lnTo>
                      <a:lnTo>
                        <a:pt x="70" y="252"/>
                      </a:lnTo>
                      <a:close/>
                      <a:moveTo>
                        <a:pt x="69" y="251"/>
                      </a:moveTo>
                      <a:lnTo>
                        <a:pt x="69" y="251"/>
                      </a:lnTo>
                      <a:lnTo>
                        <a:pt x="69" y="251"/>
                      </a:lnTo>
                      <a:close/>
                      <a:moveTo>
                        <a:pt x="66" y="251"/>
                      </a:moveTo>
                      <a:lnTo>
                        <a:pt x="66" y="251"/>
                      </a:lnTo>
                      <a:lnTo>
                        <a:pt x="66" y="251"/>
                      </a:lnTo>
                      <a:close/>
                      <a:moveTo>
                        <a:pt x="67" y="252"/>
                      </a:moveTo>
                      <a:lnTo>
                        <a:pt x="66" y="252"/>
                      </a:lnTo>
                      <a:lnTo>
                        <a:pt x="66" y="253"/>
                      </a:lnTo>
                      <a:lnTo>
                        <a:pt x="67" y="253"/>
                      </a:lnTo>
                      <a:lnTo>
                        <a:pt x="66" y="253"/>
                      </a:lnTo>
                      <a:lnTo>
                        <a:pt x="66" y="252"/>
                      </a:lnTo>
                      <a:lnTo>
                        <a:pt x="66" y="252"/>
                      </a:lnTo>
                      <a:lnTo>
                        <a:pt x="66" y="252"/>
                      </a:lnTo>
                      <a:lnTo>
                        <a:pt x="66" y="252"/>
                      </a:lnTo>
                      <a:lnTo>
                        <a:pt x="66" y="252"/>
                      </a:lnTo>
                      <a:lnTo>
                        <a:pt x="66" y="252"/>
                      </a:lnTo>
                      <a:lnTo>
                        <a:pt x="66" y="251"/>
                      </a:lnTo>
                      <a:lnTo>
                        <a:pt x="66" y="252"/>
                      </a:lnTo>
                      <a:lnTo>
                        <a:pt x="66" y="252"/>
                      </a:lnTo>
                      <a:lnTo>
                        <a:pt x="66" y="251"/>
                      </a:lnTo>
                      <a:lnTo>
                        <a:pt x="66" y="252"/>
                      </a:lnTo>
                      <a:lnTo>
                        <a:pt x="66" y="251"/>
                      </a:lnTo>
                      <a:lnTo>
                        <a:pt x="67" y="251"/>
                      </a:lnTo>
                      <a:lnTo>
                        <a:pt x="66" y="251"/>
                      </a:lnTo>
                      <a:lnTo>
                        <a:pt x="67" y="251"/>
                      </a:lnTo>
                      <a:lnTo>
                        <a:pt x="67" y="252"/>
                      </a:lnTo>
                      <a:lnTo>
                        <a:pt x="67" y="251"/>
                      </a:lnTo>
                      <a:lnTo>
                        <a:pt x="66" y="251"/>
                      </a:lnTo>
                      <a:lnTo>
                        <a:pt x="67" y="251"/>
                      </a:lnTo>
                      <a:lnTo>
                        <a:pt x="67" y="251"/>
                      </a:lnTo>
                      <a:lnTo>
                        <a:pt x="67" y="252"/>
                      </a:lnTo>
                      <a:lnTo>
                        <a:pt x="67" y="252"/>
                      </a:lnTo>
                      <a:lnTo>
                        <a:pt x="67" y="252"/>
                      </a:lnTo>
                      <a:lnTo>
                        <a:pt x="67" y="252"/>
                      </a:lnTo>
                      <a:lnTo>
                        <a:pt x="67" y="252"/>
                      </a:lnTo>
                      <a:lnTo>
                        <a:pt x="67" y="252"/>
                      </a:lnTo>
                      <a:lnTo>
                        <a:pt x="67" y="252"/>
                      </a:lnTo>
                      <a:lnTo>
                        <a:pt x="67" y="252"/>
                      </a:lnTo>
                      <a:lnTo>
                        <a:pt x="67" y="252"/>
                      </a:lnTo>
                      <a:close/>
                      <a:moveTo>
                        <a:pt x="65" y="251"/>
                      </a:moveTo>
                      <a:lnTo>
                        <a:pt x="65" y="251"/>
                      </a:lnTo>
                      <a:lnTo>
                        <a:pt x="65" y="251"/>
                      </a:lnTo>
                      <a:lnTo>
                        <a:pt x="65" y="251"/>
                      </a:lnTo>
                      <a:lnTo>
                        <a:pt x="65" y="251"/>
                      </a:lnTo>
                      <a:lnTo>
                        <a:pt x="65" y="251"/>
                      </a:lnTo>
                      <a:close/>
                      <a:moveTo>
                        <a:pt x="66" y="251"/>
                      </a:moveTo>
                      <a:lnTo>
                        <a:pt x="66" y="251"/>
                      </a:lnTo>
                      <a:lnTo>
                        <a:pt x="66" y="251"/>
                      </a:lnTo>
                      <a:close/>
                      <a:moveTo>
                        <a:pt x="69" y="251"/>
                      </a:moveTo>
                      <a:lnTo>
                        <a:pt x="69" y="251"/>
                      </a:lnTo>
                      <a:lnTo>
                        <a:pt x="69" y="251"/>
                      </a:lnTo>
                      <a:lnTo>
                        <a:pt x="69" y="251"/>
                      </a:lnTo>
                      <a:lnTo>
                        <a:pt x="69" y="251"/>
                      </a:lnTo>
                      <a:lnTo>
                        <a:pt x="68" y="251"/>
                      </a:lnTo>
                      <a:lnTo>
                        <a:pt x="69" y="251"/>
                      </a:lnTo>
                      <a:close/>
                      <a:moveTo>
                        <a:pt x="69" y="250"/>
                      </a:moveTo>
                      <a:lnTo>
                        <a:pt x="69" y="251"/>
                      </a:lnTo>
                      <a:lnTo>
                        <a:pt x="70" y="251"/>
                      </a:lnTo>
                      <a:lnTo>
                        <a:pt x="69" y="251"/>
                      </a:lnTo>
                      <a:lnTo>
                        <a:pt x="70" y="251"/>
                      </a:lnTo>
                      <a:lnTo>
                        <a:pt x="69" y="251"/>
                      </a:lnTo>
                      <a:lnTo>
                        <a:pt x="70" y="251"/>
                      </a:lnTo>
                      <a:lnTo>
                        <a:pt x="70" y="251"/>
                      </a:lnTo>
                      <a:lnTo>
                        <a:pt x="69" y="251"/>
                      </a:lnTo>
                      <a:lnTo>
                        <a:pt x="69" y="251"/>
                      </a:lnTo>
                      <a:lnTo>
                        <a:pt x="69" y="251"/>
                      </a:lnTo>
                      <a:lnTo>
                        <a:pt x="69" y="251"/>
                      </a:lnTo>
                      <a:lnTo>
                        <a:pt x="69" y="250"/>
                      </a:lnTo>
                      <a:lnTo>
                        <a:pt x="69" y="251"/>
                      </a:lnTo>
                      <a:lnTo>
                        <a:pt x="69" y="250"/>
                      </a:lnTo>
                      <a:lnTo>
                        <a:pt x="69" y="251"/>
                      </a:lnTo>
                      <a:lnTo>
                        <a:pt x="70" y="251"/>
                      </a:lnTo>
                      <a:lnTo>
                        <a:pt x="69" y="251"/>
                      </a:lnTo>
                      <a:lnTo>
                        <a:pt x="69" y="250"/>
                      </a:lnTo>
                      <a:close/>
                      <a:moveTo>
                        <a:pt x="68" y="251"/>
                      </a:moveTo>
                      <a:lnTo>
                        <a:pt x="68" y="252"/>
                      </a:lnTo>
                      <a:lnTo>
                        <a:pt x="68" y="251"/>
                      </a:lnTo>
                      <a:lnTo>
                        <a:pt x="67" y="251"/>
                      </a:lnTo>
                      <a:lnTo>
                        <a:pt x="67" y="252"/>
                      </a:lnTo>
                      <a:lnTo>
                        <a:pt x="67" y="251"/>
                      </a:lnTo>
                      <a:lnTo>
                        <a:pt x="67" y="251"/>
                      </a:lnTo>
                      <a:lnTo>
                        <a:pt x="67" y="251"/>
                      </a:lnTo>
                      <a:lnTo>
                        <a:pt x="67" y="251"/>
                      </a:lnTo>
                      <a:lnTo>
                        <a:pt x="66" y="251"/>
                      </a:lnTo>
                      <a:lnTo>
                        <a:pt x="66" y="251"/>
                      </a:lnTo>
                      <a:lnTo>
                        <a:pt x="66" y="251"/>
                      </a:lnTo>
                      <a:lnTo>
                        <a:pt x="66" y="251"/>
                      </a:lnTo>
                      <a:lnTo>
                        <a:pt x="66" y="250"/>
                      </a:lnTo>
                      <a:lnTo>
                        <a:pt x="66" y="251"/>
                      </a:lnTo>
                      <a:lnTo>
                        <a:pt x="67" y="251"/>
                      </a:lnTo>
                      <a:lnTo>
                        <a:pt x="67" y="251"/>
                      </a:lnTo>
                      <a:lnTo>
                        <a:pt x="67" y="251"/>
                      </a:lnTo>
                      <a:lnTo>
                        <a:pt x="67" y="251"/>
                      </a:lnTo>
                      <a:lnTo>
                        <a:pt x="67" y="251"/>
                      </a:lnTo>
                      <a:lnTo>
                        <a:pt x="67" y="251"/>
                      </a:lnTo>
                      <a:lnTo>
                        <a:pt x="67" y="251"/>
                      </a:lnTo>
                      <a:lnTo>
                        <a:pt x="67" y="251"/>
                      </a:lnTo>
                      <a:lnTo>
                        <a:pt x="67" y="251"/>
                      </a:lnTo>
                      <a:lnTo>
                        <a:pt x="67" y="251"/>
                      </a:lnTo>
                      <a:lnTo>
                        <a:pt x="67" y="251"/>
                      </a:lnTo>
                      <a:lnTo>
                        <a:pt x="67" y="251"/>
                      </a:lnTo>
                      <a:lnTo>
                        <a:pt x="67" y="251"/>
                      </a:lnTo>
                      <a:lnTo>
                        <a:pt x="67" y="251"/>
                      </a:lnTo>
                      <a:lnTo>
                        <a:pt x="67" y="251"/>
                      </a:lnTo>
                      <a:lnTo>
                        <a:pt x="67" y="251"/>
                      </a:lnTo>
                      <a:lnTo>
                        <a:pt x="67" y="251"/>
                      </a:lnTo>
                      <a:lnTo>
                        <a:pt x="68" y="251"/>
                      </a:lnTo>
                      <a:lnTo>
                        <a:pt x="69" y="251"/>
                      </a:lnTo>
                      <a:lnTo>
                        <a:pt x="68" y="251"/>
                      </a:lnTo>
                      <a:lnTo>
                        <a:pt x="68" y="252"/>
                      </a:lnTo>
                      <a:lnTo>
                        <a:pt x="69" y="252"/>
                      </a:lnTo>
                      <a:lnTo>
                        <a:pt x="68" y="252"/>
                      </a:lnTo>
                      <a:lnTo>
                        <a:pt x="68" y="251"/>
                      </a:lnTo>
                      <a:lnTo>
                        <a:pt x="67" y="251"/>
                      </a:lnTo>
                      <a:lnTo>
                        <a:pt x="68" y="251"/>
                      </a:lnTo>
                      <a:lnTo>
                        <a:pt x="67" y="251"/>
                      </a:lnTo>
                      <a:lnTo>
                        <a:pt x="68" y="251"/>
                      </a:lnTo>
                      <a:lnTo>
                        <a:pt x="68" y="252"/>
                      </a:lnTo>
                      <a:lnTo>
                        <a:pt x="68" y="251"/>
                      </a:lnTo>
                      <a:lnTo>
                        <a:pt x="68" y="252"/>
                      </a:lnTo>
                      <a:lnTo>
                        <a:pt x="68" y="251"/>
                      </a:lnTo>
                      <a:lnTo>
                        <a:pt x="68" y="252"/>
                      </a:lnTo>
                      <a:lnTo>
                        <a:pt x="68" y="251"/>
                      </a:lnTo>
                      <a:close/>
                      <a:moveTo>
                        <a:pt x="66" y="251"/>
                      </a:moveTo>
                      <a:lnTo>
                        <a:pt x="66" y="251"/>
                      </a:lnTo>
                      <a:lnTo>
                        <a:pt x="66" y="251"/>
                      </a:lnTo>
                      <a:close/>
                      <a:moveTo>
                        <a:pt x="66" y="251"/>
                      </a:moveTo>
                      <a:lnTo>
                        <a:pt x="66" y="250"/>
                      </a:lnTo>
                      <a:lnTo>
                        <a:pt x="66" y="251"/>
                      </a:lnTo>
                      <a:lnTo>
                        <a:pt x="66" y="250"/>
                      </a:lnTo>
                      <a:lnTo>
                        <a:pt x="65" y="250"/>
                      </a:lnTo>
                      <a:lnTo>
                        <a:pt x="66" y="250"/>
                      </a:lnTo>
                      <a:lnTo>
                        <a:pt x="66" y="251"/>
                      </a:lnTo>
                      <a:lnTo>
                        <a:pt x="66" y="250"/>
                      </a:lnTo>
                      <a:lnTo>
                        <a:pt x="66" y="250"/>
                      </a:lnTo>
                      <a:lnTo>
                        <a:pt x="66" y="250"/>
                      </a:lnTo>
                      <a:lnTo>
                        <a:pt x="66" y="249"/>
                      </a:lnTo>
                      <a:lnTo>
                        <a:pt x="66" y="250"/>
                      </a:lnTo>
                      <a:lnTo>
                        <a:pt x="66" y="249"/>
                      </a:lnTo>
                      <a:lnTo>
                        <a:pt x="66" y="250"/>
                      </a:lnTo>
                      <a:lnTo>
                        <a:pt x="66" y="251"/>
                      </a:lnTo>
                      <a:lnTo>
                        <a:pt x="66" y="251"/>
                      </a:lnTo>
                      <a:lnTo>
                        <a:pt x="66" y="251"/>
                      </a:lnTo>
                      <a:lnTo>
                        <a:pt x="66" y="251"/>
                      </a:lnTo>
                      <a:lnTo>
                        <a:pt x="66" y="251"/>
                      </a:lnTo>
                      <a:lnTo>
                        <a:pt x="65" y="251"/>
                      </a:lnTo>
                      <a:lnTo>
                        <a:pt x="65" y="251"/>
                      </a:lnTo>
                      <a:lnTo>
                        <a:pt x="65" y="251"/>
                      </a:lnTo>
                      <a:lnTo>
                        <a:pt x="65" y="250"/>
                      </a:lnTo>
                      <a:lnTo>
                        <a:pt x="65" y="249"/>
                      </a:lnTo>
                      <a:lnTo>
                        <a:pt x="65" y="250"/>
                      </a:lnTo>
                      <a:lnTo>
                        <a:pt x="65" y="250"/>
                      </a:lnTo>
                      <a:lnTo>
                        <a:pt x="65" y="250"/>
                      </a:lnTo>
                      <a:lnTo>
                        <a:pt x="65" y="250"/>
                      </a:lnTo>
                      <a:lnTo>
                        <a:pt x="65" y="250"/>
                      </a:lnTo>
                      <a:lnTo>
                        <a:pt x="65" y="251"/>
                      </a:lnTo>
                      <a:lnTo>
                        <a:pt x="65" y="250"/>
                      </a:lnTo>
                      <a:lnTo>
                        <a:pt x="65" y="251"/>
                      </a:lnTo>
                      <a:lnTo>
                        <a:pt x="65" y="251"/>
                      </a:lnTo>
                      <a:lnTo>
                        <a:pt x="66" y="251"/>
                      </a:lnTo>
                      <a:lnTo>
                        <a:pt x="65" y="251"/>
                      </a:lnTo>
                      <a:lnTo>
                        <a:pt x="66" y="251"/>
                      </a:lnTo>
                      <a:close/>
                      <a:moveTo>
                        <a:pt x="66" y="249"/>
                      </a:moveTo>
                      <a:lnTo>
                        <a:pt x="67" y="249"/>
                      </a:lnTo>
                      <a:lnTo>
                        <a:pt x="66" y="249"/>
                      </a:lnTo>
                      <a:lnTo>
                        <a:pt x="66" y="250"/>
                      </a:lnTo>
                      <a:lnTo>
                        <a:pt x="67" y="250"/>
                      </a:lnTo>
                      <a:lnTo>
                        <a:pt x="66" y="250"/>
                      </a:lnTo>
                      <a:lnTo>
                        <a:pt x="67" y="250"/>
                      </a:lnTo>
                      <a:lnTo>
                        <a:pt x="67" y="251"/>
                      </a:lnTo>
                      <a:lnTo>
                        <a:pt x="67" y="250"/>
                      </a:lnTo>
                      <a:lnTo>
                        <a:pt x="67" y="251"/>
                      </a:lnTo>
                      <a:lnTo>
                        <a:pt x="66" y="251"/>
                      </a:lnTo>
                      <a:lnTo>
                        <a:pt x="66" y="250"/>
                      </a:lnTo>
                      <a:lnTo>
                        <a:pt x="67" y="250"/>
                      </a:lnTo>
                      <a:lnTo>
                        <a:pt x="66" y="250"/>
                      </a:lnTo>
                      <a:lnTo>
                        <a:pt x="66" y="249"/>
                      </a:lnTo>
                      <a:close/>
                      <a:moveTo>
                        <a:pt x="66" y="249"/>
                      </a:moveTo>
                      <a:lnTo>
                        <a:pt x="66" y="250"/>
                      </a:lnTo>
                      <a:lnTo>
                        <a:pt x="66" y="249"/>
                      </a:lnTo>
                      <a:lnTo>
                        <a:pt x="66" y="250"/>
                      </a:lnTo>
                      <a:lnTo>
                        <a:pt x="66" y="249"/>
                      </a:lnTo>
                      <a:lnTo>
                        <a:pt x="66" y="249"/>
                      </a:lnTo>
                      <a:lnTo>
                        <a:pt x="66" y="249"/>
                      </a:lnTo>
                      <a:lnTo>
                        <a:pt x="66" y="250"/>
                      </a:lnTo>
                      <a:lnTo>
                        <a:pt x="66" y="249"/>
                      </a:lnTo>
                      <a:close/>
                      <a:moveTo>
                        <a:pt x="67" y="250"/>
                      </a:moveTo>
                      <a:lnTo>
                        <a:pt x="67" y="250"/>
                      </a:lnTo>
                      <a:lnTo>
                        <a:pt x="67" y="250"/>
                      </a:lnTo>
                      <a:lnTo>
                        <a:pt x="67" y="249"/>
                      </a:lnTo>
                      <a:lnTo>
                        <a:pt x="67" y="249"/>
                      </a:lnTo>
                      <a:lnTo>
                        <a:pt x="67" y="250"/>
                      </a:lnTo>
                      <a:lnTo>
                        <a:pt x="67" y="249"/>
                      </a:lnTo>
                      <a:lnTo>
                        <a:pt x="67" y="250"/>
                      </a:lnTo>
                      <a:lnTo>
                        <a:pt x="67" y="249"/>
                      </a:lnTo>
                      <a:lnTo>
                        <a:pt x="67" y="250"/>
                      </a:lnTo>
                      <a:lnTo>
                        <a:pt x="67" y="251"/>
                      </a:lnTo>
                      <a:lnTo>
                        <a:pt x="67" y="250"/>
                      </a:lnTo>
                      <a:lnTo>
                        <a:pt x="67" y="250"/>
                      </a:lnTo>
                      <a:lnTo>
                        <a:pt x="67" y="249"/>
                      </a:lnTo>
                      <a:lnTo>
                        <a:pt x="67" y="250"/>
                      </a:lnTo>
                      <a:lnTo>
                        <a:pt x="67" y="250"/>
                      </a:lnTo>
                      <a:close/>
                      <a:moveTo>
                        <a:pt x="65" y="249"/>
                      </a:moveTo>
                      <a:lnTo>
                        <a:pt x="65" y="249"/>
                      </a:lnTo>
                      <a:lnTo>
                        <a:pt x="65" y="249"/>
                      </a:lnTo>
                      <a:close/>
                      <a:moveTo>
                        <a:pt x="66" y="248"/>
                      </a:moveTo>
                      <a:lnTo>
                        <a:pt x="65" y="248"/>
                      </a:lnTo>
                      <a:lnTo>
                        <a:pt x="66" y="248"/>
                      </a:lnTo>
                      <a:close/>
                      <a:moveTo>
                        <a:pt x="65" y="249"/>
                      </a:moveTo>
                      <a:lnTo>
                        <a:pt x="65" y="248"/>
                      </a:lnTo>
                      <a:lnTo>
                        <a:pt x="65" y="249"/>
                      </a:lnTo>
                      <a:close/>
                      <a:moveTo>
                        <a:pt x="64" y="248"/>
                      </a:moveTo>
                      <a:lnTo>
                        <a:pt x="64" y="248"/>
                      </a:lnTo>
                      <a:lnTo>
                        <a:pt x="63" y="248"/>
                      </a:lnTo>
                      <a:lnTo>
                        <a:pt x="64" y="248"/>
                      </a:lnTo>
                      <a:lnTo>
                        <a:pt x="64" y="248"/>
                      </a:lnTo>
                      <a:close/>
                      <a:moveTo>
                        <a:pt x="63" y="248"/>
                      </a:moveTo>
                      <a:lnTo>
                        <a:pt x="63" y="248"/>
                      </a:lnTo>
                      <a:lnTo>
                        <a:pt x="63" y="248"/>
                      </a:lnTo>
                      <a:close/>
                      <a:moveTo>
                        <a:pt x="64" y="248"/>
                      </a:moveTo>
                      <a:lnTo>
                        <a:pt x="63" y="248"/>
                      </a:lnTo>
                      <a:lnTo>
                        <a:pt x="64" y="248"/>
                      </a:lnTo>
                      <a:close/>
                      <a:moveTo>
                        <a:pt x="545" y="248"/>
                      </a:moveTo>
                      <a:lnTo>
                        <a:pt x="545" y="248"/>
                      </a:lnTo>
                      <a:lnTo>
                        <a:pt x="545" y="248"/>
                      </a:lnTo>
                      <a:lnTo>
                        <a:pt x="545" y="248"/>
                      </a:lnTo>
                      <a:lnTo>
                        <a:pt x="545" y="248"/>
                      </a:lnTo>
                      <a:lnTo>
                        <a:pt x="545" y="249"/>
                      </a:lnTo>
                      <a:lnTo>
                        <a:pt x="545" y="249"/>
                      </a:lnTo>
                      <a:lnTo>
                        <a:pt x="545" y="248"/>
                      </a:lnTo>
                      <a:lnTo>
                        <a:pt x="544" y="248"/>
                      </a:lnTo>
                      <a:lnTo>
                        <a:pt x="544" y="248"/>
                      </a:lnTo>
                      <a:lnTo>
                        <a:pt x="543" y="248"/>
                      </a:lnTo>
                      <a:lnTo>
                        <a:pt x="544" y="248"/>
                      </a:lnTo>
                      <a:lnTo>
                        <a:pt x="545" y="248"/>
                      </a:lnTo>
                      <a:close/>
                      <a:moveTo>
                        <a:pt x="65" y="248"/>
                      </a:moveTo>
                      <a:lnTo>
                        <a:pt x="65" y="247"/>
                      </a:lnTo>
                      <a:lnTo>
                        <a:pt x="65" y="248"/>
                      </a:lnTo>
                      <a:close/>
                      <a:moveTo>
                        <a:pt x="61" y="247"/>
                      </a:moveTo>
                      <a:lnTo>
                        <a:pt x="62" y="247"/>
                      </a:lnTo>
                      <a:lnTo>
                        <a:pt x="61" y="247"/>
                      </a:lnTo>
                      <a:close/>
                      <a:moveTo>
                        <a:pt x="65" y="247"/>
                      </a:moveTo>
                      <a:lnTo>
                        <a:pt x="65" y="247"/>
                      </a:lnTo>
                      <a:lnTo>
                        <a:pt x="65" y="247"/>
                      </a:lnTo>
                      <a:lnTo>
                        <a:pt x="65" y="248"/>
                      </a:lnTo>
                      <a:lnTo>
                        <a:pt x="65" y="248"/>
                      </a:lnTo>
                      <a:lnTo>
                        <a:pt x="65" y="247"/>
                      </a:lnTo>
                      <a:close/>
                      <a:moveTo>
                        <a:pt x="63" y="248"/>
                      </a:moveTo>
                      <a:lnTo>
                        <a:pt x="64" y="248"/>
                      </a:lnTo>
                      <a:lnTo>
                        <a:pt x="63" y="247"/>
                      </a:lnTo>
                      <a:lnTo>
                        <a:pt x="64" y="247"/>
                      </a:lnTo>
                      <a:lnTo>
                        <a:pt x="64" y="248"/>
                      </a:lnTo>
                      <a:lnTo>
                        <a:pt x="64" y="247"/>
                      </a:lnTo>
                      <a:lnTo>
                        <a:pt x="64" y="248"/>
                      </a:lnTo>
                      <a:lnTo>
                        <a:pt x="64" y="247"/>
                      </a:lnTo>
                      <a:lnTo>
                        <a:pt x="63" y="247"/>
                      </a:lnTo>
                      <a:lnTo>
                        <a:pt x="64" y="247"/>
                      </a:lnTo>
                      <a:lnTo>
                        <a:pt x="65" y="248"/>
                      </a:lnTo>
                      <a:lnTo>
                        <a:pt x="64" y="248"/>
                      </a:lnTo>
                      <a:lnTo>
                        <a:pt x="65" y="248"/>
                      </a:lnTo>
                      <a:lnTo>
                        <a:pt x="64" y="247"/>
                      </a:lnTo>
                      <a:lnTo>
                        <a:pt x="65" y="247"/>
                      </a:lnTo>
                      <a:lnTo>
                        <a:pt x="65" y="248"/>
                      </a:lnTo>
                      <a:lnTo>
                        <a:pt x="64" y="248"/>
                      </a:lnTo>
                      <a:lnTo>
                        <a:pt x="63" y="248"/>
                      </a:lnTo>
                      <a:lnTo>
                        <a:pt x="63" y="248"/>
                      </a:lnTo>
                      <a:lnTo>
                        <a:pt x="63" y="247"/>
                      </a:lnTo>
                      <a:lnTo>
                        <a:pt x="63" y="248"/>
                      </a:lnTo>
                      <a:close/>
                      <a:moveTo>
                        <a:pt x="59" y="247"/>
                      </a:moveTo>
                      <a:lnTo>
                        <a:pt x="59" y="247"/>
                      </a:lnTo>
                      <a:lnTo>
                        <a:pt x="59" y="247"/>
                      </a:lnTo>
                      <a:close/>
                      <a:moveTo>
                        <a:pt x="59" y="247"/>
                      </a:moveTo>
                      <a:lnTo>
                        <a:pt x="59" y="247"/>
                      </a:lnTo>
                      <a:lnTo>
                        <a:pt x="59" y="247"/>
                      </a:lnTo>
                      <a:close/>
                      <a:moveTo>
                        <a:pt x="59" y="247"/>
                      </a:moveTo>
                      <a:lnTo>
                        <a:pt x="59" y="247"/>
                      </a:lnTo>
                      <a:lnTo>
                        <a:pt x="59" y="247"/>
                      </a:lnTo>
                      <a:close/>
                      <a:moveTo>
                        <a:pt x="69" y="247"/>
                      </a:moveTo>
                      <a:lnTo>
                        <a:pt x="69" y="247"/>
                      </a:lnTo>
                      <a:lnTo>
                        <a:pt x="69" y="247"/>
                      </a:lnTo>
                      <a:close/>
                      <a:moveTo>
                        <a:pt x="63" y="247"/>
                      </a:moveTo>
                      <a:lnTo>
                        <a:pt x="63" y="247"/>
                      </a:lnTo>
                      <a:lnTo>
                        <a:pt x="63" y="247"/>
                      </a:lnTo>
                      <a:close/>
                      <a:moveTo>
                        <a:pt x="63" y="247"/>
                      </a:moveTo>
                      <a:lnTo>
                        <a:pt x="63" y="246"/>
                      </a:lnTo>
                      <a:lnTo>
                        <a:pt x="63" y="247"/>
                      </a:lnTo>
                      <a:close/>
                      <a:moveTo>
                        <a:pt x="66" y="249"/>
                      </a:moveTo>
                      <a:lnTo>
                        <a:pt x="65" y="249"/>
                      </a:lnTo>
                      <a:lnTo>
                        <a:pt x="66" y="249"/>
                      </a:lnTo>
                      <a:lnTo>
                        <a:pt x="65" y="249"/>
                      </a:lnTo>
                      <a:lnTo>
                        <a:pt x="66" y="249"/>
                      </a:lnTo>
                      <a:lnTo>
                        <a:pt x="66" y="249"/>
                      </a:lnTo>
                      <a:lnTo>
                        <a:pt x="66" y="249"/>
                      </a:lnTo>
                      <a:lnTo>
                        <a:pt x="65" y="249"/>
                      </a:lnTo>
                      <a:lnTo>
                        <a:pt x="66" y="249"/>
                      </a:lnTo>
                      <a:lnTo>
                        <a:pt x="65" y="249"/>
                      </a:lnTo>
                      <a:lnTo>
                        <a:pt x="66" y="249"/>
                      </a:lnTo>
                      <a:lnTo>
                        <a:pt x="65" y="249"/>
                      </a:lnTo>
                      <a:lnTo>
                        <a:pt x="65" y="249"/>
                      </a:lnTo>
                      <a:lnTo>
                        <a:pt x="65" y="249"/>
                      </a:lnTo>
                      <a:lnTo>
                        <a:pt x="65" y="248"/>
                      </a:lnTo>
                      <a:lnTo>
                        <a:pt x="65" y="249"/>
                      </a:lnTo>
                      <a:lnTo>
                        <a:pt x="65" y="249"/>
                      </a:lnTo>
                      <a:lnTo>
                        <a:pt x="65" y="249"/>
                      </a:lnTo>
                      <a:lnTo>
                        <a:pt x="65" y="249"/>
                      </a:lnTo>
                      <a:lnTo>
                        <a:pt x="65" y="249"/>
                      </a:lnTo>
                      <a:lnTo>
                        <a:pt x="65" y="249"/>
                      </a:lnTo>
                      <a:lnTo>
                        <a:pt x="65" y="249"/>
                      </a:lnTo>
                      <a:lnTo>
                        <a:pt x="65" y="249"/>
                      </a:lnTo>
                      <a:lnTo>
                        <a:pt x="65" y="249"/>
                      </a:lnTo>
                      <a:lnTo>
                        <a:pt x="66" y="249"/>
                      </a:lnTo>
                      <a:lnTo>
                        <a:pt x="66" y="249"/>
                      </a:lnTo>
                      <a:lnTo>
                        <a:pt x="66" y="249"/>
                      </a:lnTo>
                      <a:lnTo>
                        <a:pt x="66" y="249"/>
                      </a:lnTo>
                      <a:lnTo>
                        <a:pt x="66" y="249"/>
                      </a:lnTo>
                      <a:lnTo>
                        <a:pt x="66" y="249"/>
                      </a:lnTo>
                      <a:lnTo>
                        <a:pt x="66" y="249"/>
                      </a:lnTo>
                      <a:lnTo>
                        <a:pt x="66" y="249"/>
                      </a:lnTo>
                      <a:lnTo>
                        <a:pt x="66" y="249"/>
                      </a:lnTo>
                      <a:lnTo>
                        <a:pt x="66" y="249"/>
                      </a:lnTo>
                      <a:lnTo>
                        <a:pt x="65" y="249"/>
                      </a:lnTo>
                      <a:lnTo>
                        <a:pt x="66" y="249"/>
                      </a:lnTo>
                      <a:lnTo>
                        <a:pt x="65" y="249"/>
                      </a:lnTo>
                      <a:lnTo>
                        <a:pt x="65" y="248"/>
                      </a:lnTo>
                      <a:lnTo>
                        <a:pt x="65" y="249"/>
                      </a:lnTo>
                      <a:lnTo>
                        <a:pt x="65" y="248"/>
                      </a:lnTo>
                      <a:lnTo>
                        <a:pt x="65" y="249"/>
                      </a:lnTo>
                      <a:lnTo>
                        <a:pt x="65" y="248"/>
                      </a:lnTo>
                      <a:lnTo>
                        <a:pt x="66" y="248"/>
                      </a:lnTo>
                      <a:lnTo>
                        <a:pt x="66" y="249"/>
                      </a:lnTo>
                      <a:lnTo>
                        <a:pt x="66" y="248"/>
                      </a:lnTo>
                      <a:lnTo>
                        <a:pt x="66" y="249"/>
                      </a:lnTo>
                      <a:lnTo>
                        <a:pt x="66" y="248"/>
                      </a:lnTo>
                      <a:lnTo>
                        <a:pt x="66" y="249"/>
                      </a:lnTo>
                      <a:lnTo>
                        <a:pt x="66" y="249"/>
                      </a:lnTo>
                      <a:lnTo>
                        <a:pt x="66" y="248"/>
                      </a:lnTo>
                      <a:lnTo>
                        <a:pt x="66" y="248"/>
                      </a:lnTo>
                      <a:lnTo>
                        <a:pt x="66" y="248"/>
                      </a:lnTo>
                      <a:lnTo>
                        <a:pt x="66" y="248"/>
                      </a:lnTo>
                      <a:lnTo>
                        <a:pt x="66" y="248"/>
                      </a:lnTo>
                      <a:lnTo>
                        <a:pt x="65" y="248"/>
                      </a:lnTo>
                      <a:lnTo>
                        <a:pt x="66" y="248"/>
                      </a:lnTo>
                      <a:lnTo>
                        <a:pt x="65" y="248"/>
                      </a:lnTo>
                      <a:lnTo>
                        <a:pt x="66" y="248"/>
                      </a:lnTo>
                      <a:lnTo>
                        <a:pt x="65" y="248"/>
                      </a:lnTo>
                      <a:lnTo>
                        <a:pt x="65" y="247"/>
                      </a:lnTo>
                      <a:lnTo>
                        <a:pt x="65" y="248"/>
                      </a:lnTo>
                      <a:lnTo>
                        <a:pt x="66" y="248"/>
                      </a:lnTo>
                      <a:lnTo>
                        <a:pt x="65" y="248"/>
                      </a:lnTo>
                      <a:lnTo>
                        <a:pt x="66" y="248"/>
                      </a:lnTo>
                      <a:lnTo>
                        <a:pt x="66" y="247"/>
                      </a:lnTo>
                      <a:lnTo>
                        <a:pt x="66" y="248"/>
                      </a:lnTo>
                      <a:lnTo>
                        <a:pt x="66" y="247"/>
                      </a:lnTo>
                      <a:lnTo>
                        <a:pt x="65" y="247"/>
                      </a:lnTo>
                      <a:lnTo>
                        <a:pt x="65" y="247"/>
                      </a:lnTo>
                      <a:lnTo>
                        <a:pt x="66" y="247"/>
                      </a:lnTo>
                      <a:lnTo>
                        <a:pt x="65" y="247"/>
                      </a:lnTo>
                      <a:lnTo>
                        <a:pt x="66" y="247"/>
                      </a:lnTo>
                      <a:lnTo>
                        <a:pt x="65" y="247"/>
                      </a:lnTo>
                      <a:lnTo>
                        <a:pt x="65" y="247"/>
                      </a:lnTo>
                      <a:lnTo>
                        <a:pt x="66" y="247"/>
                      </a:lnTo>
                      <a:lnTo>
                        <a:pt x="66" y="247"/>
                      </a:lnTo>
                      <a:lnTo>
                        <a:pt x="66" y="248"/>
                      </a:lnTo>
                      <a:lnTo>
                        <a:pt x="66" y="247"/>
                      </a:lnTo>
                      <a:lnTo>
                        <a:pt x="66" y="248"/>
                      </a:lnTo>
                      <a:lnTo>
                        <a:pt x="66" y="247"/>
                      </a:lnTo>
                      <a:lnTo>
                        <a:pt x="66" y="247"/>
                      </a:lnTo>
                      <a:lnTo>
                        <a:pt x="66" y="247"/>
                      </a:lnTo>
                      <a:lnTo>
                        <a:pt x="66" y="247"/>
                      </a:lnTo>
                      <a:lnTo>
                        <a:pt x="66" y="247"/>
                      </a:lnTo>
                      <a:lnTo>
                        <a:pt x="66" y="247"/>
                      </a:lnTo>
                      <a:lnTo>
                        <a:pt x="66" y="247"/>
                      </a:lnTo>
                      <a:lnTo>
                        <a:pt x="66" y="247"/>
                      </a:lnTo>
                      <a:lnTo>
                        <a:pt x="65" y="247"/>
                      </a:lnTo>
                      <a:lnTo>
                        <a:pt x="66" y="247"/>
                      </a:lnTo>
                      <a:lnTo>
                        <a:pt x="65" y="247"/>
                      </a:lnTo>
                      <a:lnTo>
                        <a:pt x="66" y="247"/>
                      </a:lnTo>
                      <a:lnTo>
                        <a:pt x="66" y="247"/>
                      </a:lnTo>
                      <a:lnTo>
                        <a:pt x="66" y="247"/>
                      </a:lnTo>
                      <a:lnTo>
                        <a:pt x="66" y="247"/>
                      </a:lnTo>
                      <a:lnTo>
                        <a:pt x="67" y="247"/>
                      </a:lnTo>
                      <a:lnTo>
                        <a:pt x="66" y="247"/>
                      </a:lnTo>
                      <a:lnTo>
                        <a:pt x="67" y="247"/>
                      </a:lnTo>
                      <a:lnTo>
                        <a:pt x="66" y="247"/>
                      </a:lnTo>
                      <a:lnTo>
                        <a:pt x="67" y="247"/>
                      </a:lnTo>
                      <a:lnTo>
                        <a:pt x="67" y="247"/>
                      </a:lnTo>
                      <a:lnTo>
                        <a:pt x="67" y="247"/>
                      </a:lnTo>
                      <a:lnTo>
                        <a:pt x="67" y="247"/>
                      </a:lnTo>
                      <a:lnTo>
                        <a:pt x="67" y="247"/>
                      </a:lnTo>
                      <a:lnTo>
                        <a:pt x="67" y="247"/>
                      </a:lnTo>
                      <a:lnTo>
                        <a:pt x="67" y="247"/>
                      </a:lnTo>
                      <a:lnTo>
                        <a:pt x="67" y="247"/>
                      </a:lnTo>
                      <a:lnTo>
                        <a:pt x="67" y="247"/>
                      </a:lnTo>
                      <a:lnTo>
                        <a:pt x="67" y="247"/>
                      </a:lnTo>
                      <a:lnTo>
                        <a:pt x="67" y="247"/>
                      </a:lnTo>
                      <a:lnTo>
                        <a:pt x="68" y="247"/>
                      </a:lnTo>
                      <a:lnTo>
                        <a:pt x="67" y="247"/>
                      </a:lnTo>
                      <a:lnTo>
                        <a:pt x="67" y="247"/>
                      </a:lnTo>
                      <a:lnTo>
                        <a:pt x="67" y="247"/>
                      </a:lnTo>
                      <a:lnTo>
                        <a:pt x="67" y="247"/>
                      </a:lnTo>
                      <a:lnTo>
                        <a:pt x="67" y="247"/>
                      </a:lnTo>
                      <a:lnTo>
                        <a:pt x="68" y="247"/>
                      </a:lnTo>
                      <a:lnTo>
                        <a:pt x="67" y="247"/>
                      </a:lnTo>
                      <a:lnTo>
                        <a:pt x="67" y="246"/>
                      </a:lnTo>
                      <a:lnTo>
                        <a:pt x="67" y="247"/>
                      </a:lnTo>
                      <a:lnTo>
                        <a:pt x="68" y="247"/>
                      </a:lnTo>
                      <a:lnTo>
                        <a:pt x="67" y="247"/>
                      </a:lnTo>
                      <a:lnTo>
                        <a:pt x="68" y="246"/>
                      </a:lnTo>
                      <a:lnTo>
                        <a:pt x="67" y="246"/>
                      </a:lnTo>
                      <a:lnTo>
                        <a:pt x="68" y="246"/>
                      </a:lnTo>
                      <a:lnTo>
                        <a:pt x="68" y="247"/>
                      </a:lnTo>
                      <a:lnTo>
                        <a:pt x="68" y="246"/>
                      </a:lnTo>
                      <a:lnTo>
                        <a:pt x="67" y="246"/>
                      </a:lnTo>
                      <a:lnTo>
                        <a:pt x="67" y="247"/>
                      </a:lnTo>
                      <a:lnTo>
                        <a:pt x="67" y="247"/>
                      </a:lnTo>
                      <a:lnTo>
                        <a:pt x="67" y="246"/>
                      </a:lnTo>
                      <a:lnTo>
                        <a:pt x="68" y="246"/>
                      </a:lnTo>
                      <a:lnTo>
                        <a:pt x="68" y="247"/>
                      </a:lnTo>
                      <a:lnTo>
                        <a:pt x="68" y="247"/>
                      </a:lnTo>
                      <a:lnTo>
                        <a:pt x="68" y="247"/>
                      </a:lnTo>
                      <a:lnTo>
                        <a:pt x="68" y="246"/>
                      </a:lnTo>
                      <a:lnTo>
                        <a:pt x="67" y="246"/>
                      </a:lnTo>
                      <a:lnTo>
                        <a:pt x="68" y="246"/>
                      </a:lnTo>
                      <a:lnTo>
                        <a:pt x="68" y="247"/>
                      </a:lnTo>
                      <a:lnTo>
                        <a:pt x="68" y="246"/>
                      </a:lnTo>
                      <a:lnTo>
                        <a:pt x="67" y="246"/>
                      </a:lnTo>
                      <a:lnTo>
                        <a:pt x="68" y="246"/>
                      </a:lnTo>
                      <a:lnTo>
                        <a:pt x="68" y="247"/>
                      </a:lnTo>
                      <a:lnTo>
                        <a:pt x="68" y="247"/>
                      </a:lnTo>
                      <a:lnTo>
                        <a:pt x="67" y="247"/>
                      </a:lnTo>
                      <a:lnTo>
                        <a:pt x="67" y="248"/>
                      </a:lnTo>
                      <a:lnTo>
                        <a:pt x="67" y="248"/>
                      </a:lnTo>
                      <a:lnTo>
                        <a:pt x="67" y="249"/>
                      </a:lnTo>
                      <a:lnTo>
                        <a:pt x="67" y="249"/>
                      </a:lnTo>
                      <a:lnTo>
                        <a:pt x="67" y="249"/>
                      </a:lnTo>
                      <a:lnTo>
                        <a:pt x="67" y="248"/>
                      </a:lnTo>
                      <a:lnTo>
                        <a:pt x="67" y="249"/>
                      </a:lnTo>
                      <a:lnTo>
                        <a:pt x="67" y="249"/>
                      </a:lnTo>
                      <a:lnTo>
                        <a:pt x="67" y="249"/>
                      </a:lnTo>
                      <a:lnTo>
                        <a:pt x="66" y="249"/>
                      </a:lnTo>
                      <a:lnTo>
                        <a:pt x="67" y="249"/>
                      </a:lnTo>
                      <a:lnTo>
                        <a:pt x="67" y="249"/>
                      </a:lnTo>
                      <a:lnTo>
                        <a:pt x="67" y="249"/>
                      </a:lnTo>
                      <a:lnTo>
                        <a:pt x="67" y="249"/>
                      </a:lnTo>
                      <a:lnTo>
                        <a:pt x="66" y="249"/>
                      </a:lnTo>
                      <a:lnTo>
                        <a:pt x="66" y="249"/>
                      </a:lnTo>
                      <a:lnTo>
                        <a:pt x="67" y="249"/>
                      </a:lnTo>
                      <a:lnTo>
                        <a:pt x="66" y="249"/>
                      </a:lnTo>
                      <a:lnTo>
                        <a:pt x="67" y="249"/>
                      </a:lnTo>
                      <a:lnTo>
                        <a:pt x="67" y="250"/>
                      </a:lnTo>
                      <a:lnTo>
                        <a:pt x="67" y="249"/>
                      </a:lnTo>
                      <a:lnTo>
                        <a:pt x="67" y="250"/>
                      </a:lnTo>
                      <a:lnTo>
                        <a:pt x="67" y="249"/>
                      </a:lnTo>
                      <a:lnTo>
                        <a:pt x="66" y="249"/>
                      </a:lnTo>
                      <a:lnTo>
                        <a:pt x="66" y="249"/>
                      </a:lnTo>
                      <a:lnTo>
                        <a:pt x="66" y="249"/>
                      </a:lnTo>
                      <a:lnTo>
                        <a:pt x="66" y="249"/>
                      </a:lnTo>
                      <a:lnTo>
                        <a:pt x="66" y="249"/>
                      </a:lnTo>
                      <a:lnTo>
                        <a:pt x="66" y="249"/>
                      </a:lnTo>
                      <a:close/>
                      <a:moveTo>
                        <a:pt x="66" y="246"/>
                      </a:moveTo>
                      <a:lnTo>
                        <a:pt x="66" y="246"/>
                      </a:lnTo>
                      <a:lnTo>
                        <a:pt x="66" y="246"/>
                      </a:lnTo>
                      <a:lnTo>
                        <a:pt x="66" y="246"/>
                      </a:lnTo>
                      <a:lnTo>
                        <a:pt x="66" y="246"/>
                      </a:lnTo>
                      <a:close/>
                      <a:moveTo>
                        <a:pt x="63" y="246"/>
                      </a:moveTo>
                      <a:lnTo>
                        <a:pt x="63" y="247"/>
                      </a:lnTo>
                      <a:lnTo>
                        <a:pt x="63" y="247"/>
                      </a:lnTo>
                      <a:lnTo>
                        <a:pt x="63" y="247"/>
                      </a:lnTo>
                      <a:lnTo>
                        <a:pt x="63" y="247"/>
                      </a:lnTo>
                      <a:lnTo>
                        <a:pt x="63" y="247"/>
                      </a:lnTo>
                      <a:lnTo>
                        <a:pt x="63" y="247"/>
                      </a:lnTo>
                      <a:lnTo>
                        <a:pt x="63" y="247"/>
                      </a:lnTo>
                      <a:lnTo>
                        <a:pt x="64" y="247"/>
                      </a:lnTo>
                      <a:lnTo>
                        <a:pt x="64" y="247"/>
                      </a:lnTo>
                      <a:lnTo>
                        <a:pt x="64" y="247"/>
                      </a:lnTo>
                      <a:lnTo>
                        <a:pt x="64" y="247"/>
                      </a:lnTo>
                      <a:lnTo>
                        <a:pt x="63" y="247"/>
                      </a:lnTo>
                      <a:lnTo>
                        <a:pt x="64" y="247"/>
                      </a:lnTo>
                      <a:lnTo>
                        <a:pt x="65" y="247"/>
                      </a:lnTo>
                      <a:lnTo>
                        <a:pt x="65" y="247"/>
                      </a:lnTo>
                      <a:lnTo>
                        <a:pt x="65" y="247"/>
                      </a:lnTo>
                      <a:lnTo>
                        <a:pt x="65" y="247"/>
                      </a:lnTo>
                      <a:lnTo>
                        <a:pt x="65" y="248"/>
                      </a:lnTo>
                      <a:lnTo>
                        <a:pt x="65" y="247"/>
                      </a:lnTo>
                      <a:lnTo>
                        <a:pt x="64" y="247"/>
                      </a:lnTo>
                      <a:lnTo>
                        <a:pt x="63" y="247"/>
                      </a:lnTo>
                      <a:lnTo>
                        <a:pt x="63" y="247"/>
                      </a:lnTo>
                      <a:lnTo>
                        <a:pt x="63" y="247"/>
                      </a:lnTo>
                      <a:lnTo>
                        <a:pt x="63" y="247"/>
                      </a:lnTo>
                      <a:lnTo>
                        <a:pt x="63" y="247"/>
                      </a:lnTo>
                      <a:lnTo>
                        <a:pt x="62" y="247"/>
                      </a:lnTo>
                      <a:lnTo>
                        <a:pt x="63" y="247"/>
                      </a:lnTo>
                      <a:lnTo>
                        <a:pt x="63" y="246"/>
                      </a:lnTo>
                      <a:close/>
                      <a:moveTo>
                        <a:pt x="544" y="247"/>
                      </a:moveTo>
                      <a:lnTo>
                        <a:pt x="544" y="246"/>
                      </a:lnTo>
                      <a:lnTo>
                        <a:pt x="544" y="247"/>
                      </a:lnTo>
                      <a:lnTo>
                        <a:pt x="543" y="246"/>
                      </a:lnTo>
                      <a:lnTo>
                        <a:pt x="544" y="246"/>
                      </a:lnTo>
                      <a:lnTo>
                        <a:pt x="544" y="247"/>
                      </a:lnTo>
                      <a:lnTo>
                        <a:pt x="545" y="247"/>
                      </a:lnTo>
                      <a:lnTo>
                        <a:pt x="545" y="247"/>
                      </a:lnTo>
                      <a:lnTo>
                        <a:pt x="545" y="247"/>
                      </a:lnTo>
                      <a:lnTo>
                        <a:pt x="545" y="247"/>
                      </a:lnTo>
                      <a:lnTo>
                        <a:pt x="545" y="247"/>
                      </a:lnTo>
                      <a:lnTo>
                        <a:pt x="545" y="247"/>
                      </a:lnTo>
                      <a:lnTo>
                        <a:pt x="545" y="247"/>
                      </a:lnTo>
                      <a:lnTo>
                        <a:pt x="545" y="247"/>
                      </a:lnTo>
                      <a:lnTo>
                        <a:pt x="544" y="247"/>
                      </a:lnTo>
                      <a:close/>
                      <a:moveTo>
                        <a:pt x="66" y="246"/>
                      </a:moveTo>
                      <a:lnTo>
                        <a:pt x="66" y="246"/>
                      </a:lnTo>
                      <a:lnTo>
                        <a:pt x="66" y="246"/>
                      </a:lnTo>
                      <a:lnTo>
                        <a:pt x="66" y="246"/>
                      </a:lnTo>
                      <a:lnTo>
                        <a:pt x="66" y="246"/>
                      </a:lnTo>
                      <a:lnTo>
                        <a:pt x="65" y="246"/>
                      </a:lnTo>
                      <a:lnTo>
                        <a:pt x="66" y="246"/>
                      </a:lnTo>
                      <a:close/>
                      <a:moveTo>
                        <a:pt x="67" y="246"/>
                      </a:moveTo>
                      <a:lnTo>
                        <a:pt x="67" y="245"/>
                      </a:lnTo>
                      <a:lnTo>
                        <a:pt x="67" y="246"/>
                      </a:lnTo>
                      <a:close/>
                      <a:moveTo>
                        <a:pt x="61" y="246"/>
                      </a:moveTo>
                      <a:lnTo>
                        <a:pt x="61" y="245"/>
                      </a:lnTo>
                      <a:lnTo>
                        <a:pt x="61" y="246"/>
                      </a:lnTo>
                      <a:close/>
                      <a:moveTo>
                        <a:pt x="68" y="245"/>
                      </a:moveTo>
                      <a:lnTo>
                        <a:pt x="69" y="245"/>
                      </a:lnTo>
                      <a:lnTo>
                        <a:pt x="68" y="245"/>
                      </a:lnTo>
                      <a:close/>
                      <a:moveTo>
                        <a:pt x="64" y="246"/>
                      </a:moveTo>
                      <a:lnTo>
                        <a:pt x="64" y="245"/>
                      </a:lnTo>
                      <a:lnTo>
                        <a:pt x="65" y="245"/>
                      </a:lnTo>
                      <a:lnTo>
                        <a:pt x="64" y="245"/>
                      </a:lnTo>
                      <a:lnTo>
                        <a:pt x="65" y="245"/>
                      </a:lnTo>
                      <a:lnTo>
                        <a:pt x="64" y="245"/>
                      </a:lnTo>
                      <a:lnTo>
                        <a:pt x="64" y="246"/>
                      </a:lnTo>
                      <a:close/>
                      <a:moveTo>
                        <a:pt x="67" y="246"/>
                      </a:moveTo>
                      <a:lnTo>
                        <a:pt x="67" y="245"/>
                      </a:lnTo>
                      <a:lnTo>
                        <a:pt x="67" y="246"/>
                      </a:lnTo>
                      <a:lnTo>
                        <a:pt x="67" y="245"/>
                      </a:lnTo>
                      <a:lnTo>
                        <a:pt x="68" y="246"/>
                      </a:lnTo>
                      <a:lnTo>
                        <a:pt x="69" y="246"/>
                      </a:lnTo>
                      <a:lnTo>
                        <a:pt x="68" y="246"/>
                      </a:lnTo>
                      <a:lnTo>
                        <a:pt x="69" y="246"/>
                      </a:lnTo>
                      <a:lnTo>
                        <a:pt x="68" y="246"/>
                      </a:lnTo>
                      <a:lnTo>
                        <a:pt x="69" y="246"/>
                      </a:lnTo>
                      <a:lnTo>
                        <a:pt x="68" y="246"/>
                      </a:lnTo>
                      <a:lnTo>
                        <a:pt x="67" y="246"/>
                      </a:lnTo>
                      <a:lnTo>
                        <a:pt x="67" y="246"/>
                      </a:lnTo>
                      <a:lnTo>
                        <a:pt x="66" y="246"/>
                      </a:lnTo>
                      <a:lnTo>
                        <a:pt x="66" y="246"/>
                      </a:lnTo>
                      <a:lnTo>
                        <a:pt x="66" y="245"/>
                      </a:lnTo>
                      <a:lnTo>
                        <a:pt x="66" y="246"/>
                      </a:lnTo>
                      <a:lnTo>
                        <a:pt x="66" y="245"/>
                      </a:lnTo>
                      <a:lnTo>
                        <a:pt x="66" y="245"/>
                      </a:lnTo>
                      <a:lnTo>
                        <a:pt x="66" y="246"/>
                      </a:lnTo>
                      <a:lnTo>
                        <a:pt x="67" y="246"/>
                      </a:lnTo>
                      <a:lnTo>
                        <a:pt x="67" y="245"/>
                      </a:lnTo>
                      <a:lnTo>
                        <a:pt x="66" y="245"/>
                      </a:lnTo>
                      <a:lnTo>
                        <a:pt x="67" y="245"/>
                      </a:lnTo>
                      <a:lnTo>
                        <a:pt x="66" y="245"/>
                      </a:lnTo>
                      <a:lnTo>
                        <a:pt x="67" y="245"/>
                      </a:lnTo>
                      <a:lnTo>
                        <a:pt x="67" y="246"/>
                      </a:lnTo>
                      <a:lnTo>
                        <a:pt x="66" y="246"/>
                      </a:lnTo>
                      <a:lnTo>
                        <a:pt x="67" y="246"/>
                      </a:lnTo>
                      <a:lnTo>
                        <a:pt x="67" y="245"/>
                      </a:lnTo>
                      <a:lnTo>
                        <a:pt x="66" y="245"/>
                      </a:lnTo>
                      <a:lnTo>
                        <a:pt x="67" y="245"/>
                      </a:lnTo>
                      <a:lnTo>
                        <a:pt x="66" y="245"/>
                      </a:lnTo>
                      <a:lnTo>
                        <a:pt x="66" y="245"/>
                      </a:lnTo>
                      <a:lnTo>
                        <a:pt x="66" y="245"/>
                      </a:lnTo>
                      <a:lnTo>
                        <a:pt x="67" y="245"/>
                      </a:lnTo>
                      <a:lnTo>
                        <a:pt x="67" y="245"/>
                      </a:lnTo>
                      <a:lnTo>
                        <a:pt x="67" y="246"/>
                      </a:lnTo>
                      <a:lnTo>
                        <a:pt x="67" y="245"/>
                      </a:lnTo>
                      <a:lnTo>
                        <a:pt x="67" y="246"/>
                      </a:lnTo>
                      <a:close/>
                      <a:moveTo>
                        <a:pt x="67" y="245"/>
                      </a:moveTo>
                      <a:lnTo>
                        <a:pt x="67" y="245"/>
                      </a:lnTo>
                      <a:lnTo>
                        <a:pt x="67" y="246"/>
                      </a:lnTo>
                      <a:lnTo>
                        <a:pt x="67" y="246"/>
                      </a:lnTo>
                      <a:lnTo>
                        <a:pt x="67" y="245"/>
                      </a:lnTo>
                      <a:close/>
                      <a:moveTo>
                        <a:pt x="542" y="245"/>
                      </a:moveTo>
                      <a:lnTo>
                        <a:pt x="542" y="246"/>
                      </a:lnTo>
                      <a:lnTo>
                        <a:pt x="542" y="245"/>
                      </a:lnTo>
                      <a:lnTo>
                        <a:pt x="542" y="245"/>
                      </a:lnTo>
                      <a:lnTo>
                        <a:pt x="541" y="245"/>
                      </a:lnTo>
                      <a:lnTo>
                        <a:pt x="541" y="245"/>
                      </a:lnTo>
                      <a:lnTo>
                        <a:pt x="542" y="245"/>
                      </a:lnTo>
                      <a:lnTo>
                        <a:pt x="542" y="245"/>
                      </a:lnTo>
                      <a:lnTo>
                        <a:pt x="542" y="245"/>
                      </a:lnTo>
                      <a:lnTo>
                        <a:pt x="542" y="245"/>
                      </a:lnTo>
                      <a:lnTo>
                        <a:pt x="542" y="245"/>
                      </a:lnTo>
                      <a:close/>
                      <a:moveTo>
                        <a:pt x="61" y="244"/>
                      </a:moveTo>
                      <a:lnTo>
                        <a:pt x="62" y="244"/>
                      </a:lnTo>
                      <a:lnTo>
                        <a:pt x="61" y="244"/>
                      </a:lnTo>
                      <a:lnTo>
                        <a:pt x="62" y="245"/>
                      </a:lnTo>
                      <a:lnTo>
                        <a:pt x="62" y="244"/>
                      </a:lnTo>
                      <a:lnTo>
                        <a:pt x="62" y="245"/>
                      </a:lnTo>
                      <a:lnTo>
                        <a:pt x="61" y="245"/>
                      </a:lnTo>
                      <a:lnTo>
                        <a:pt x="62" y="245"/>
                      </a:lnTo>
                      <a:lnTo>
                        <a:pt x="61" y="245"/>
                      </a:lnTo>
                      <a:lnTo>
                        <a:pt x="62" y="245"/>
                      </a:lnTo>
                      <a:lnTo>
                        <a:pt x="61" y="245"/>
                      </a:lnTo>
                      <a:lnTo>
                        <a:pt x="62" y="245"/>
                      </a:lnTo>
                      <a:lnTo>
                        <a:pt x="61" y="245"/>
                      </a:lnTo>
                      <a:lnTo>
                        <a:pt x="62" y="245"/>
                      </a:lnTo>
                      <a:lnTo>
                        <a:pt x="61" y="245"/>
                      </a:lnTo>
                      <a:lnTo>
                        <a:pt x="62" y="245"/>
                      </a:lnTo>
                      <a:lnTo>
                        <a:pt x="62" y="245"/>
                      </a:lnTo>
                      <a:lnTo>
                        <a:pt x="62" y="246"/>
                      </a:lnTo>
                      <a:lnTo>
                        <a:pt x="63" y="246"/>
                      </a:lnTo>
                      <a:lnTo>
                        <a:pt x="62" y="246"/>
                      </a:lnTo>
                      <a:lnTo>
                        <a:pt x="62" y="245"/>
                      </a:lnTo>
                      <a:lnTo>
                        <a:pt x="62" y="246"/>
                      </a:lnTo>
                      <a:lnTo>
                        <a:pt x="63" y="246"/>
                      </a:lnTo>
                      <a:lnTo>
                        <a:pt x="62" y="246"/>
                      </a:lnTo>
                      <a:lnTo>
                        <a:pt x="62" y="245"/>
                      </a:lnTo>
                      <a:lnTo>
                        <a:pt x="62" y="246"/>
                      </a:lnTo>
                      <a:lnTo>
                        <a:pt x="62" y="245"/>
                      </a:lnTo>
                      <a:lnTo>
                        <a:pt x="62" y="245"/>
                      </a:lnTo>
                      <a:lnTo>
                        <a:pt x="62" y="245"/>
                      </a:lnTo>
                      <a:lnTo>
                        <a:pt x="62" y="245"/>
                      </a:lnTo>
                      <a:lnTo>
                        <a:pt x="62" y="245"/>
                      </a:lnTo>
                      <a:lnTo>
                        <a:pt x="62" y="245"/>
                      </a:lnTo>
                      <a:lnTo>
                        <a:pt x="62" y="245"/>
                      </a:lnTo>
                      <a:lnTo>
                        <a:pt x="62" y="245"/>
                      </a:lnTo>
                      <a:lnTo>
                        <a:pt x="62" y="245"/>
                      </a:lnTo>
                      <a:lnTo>
                        <a:pt x="63" y="245"/>
                      </a:lnTo>
                      <a:lnTo>
                        <a:pt x="63" y="246"/>
                      </a:lnTo>
                      <a:lnTo>
                        <a:pt x="62" y="246"/>
                      </a:lnTo>
                      <a:lnTo>
                        <a:pt x="62" y="247"/>
                      </a:lnTo>
                      <a:lnTo>
                        <a:pt x="62" y="246"/>
                      </a:lnTo>
                      <a:lnTo>
                        <a:pt x="62" y="247"/>
                      </a:lnTo>
                      <a:lnTo>
                        <a:pt x="62" y="246"/>
                      </a:lnTo>
                      <a:lnTo>
                        <a:pt x="62" y="246"/>
                      </a:lnTo>
                      <a:lnTo>
                        <a:pt x="62" y="245"/>
                      </a:lnTo>
                      <a:lnTo>
                        <a:pt x="61" y="246"/>
                      </a:lnTo>
                      <a:lnTo>
                        <a:pt x="61" y="245"/>
                      </a:lnTo>
                      <a:lnTo>
                        <a:pt x="61" y="245"/>
                      </a:lnTo>
                      <a:lnTo>
                        <a:pt x="61" y="244"/>
                      </a:lnTo>
                      <a:lnTo>
                        <a:pt x="61" y="245"/>
                      </a:lnTo>
                      <a:lnTo>
                        <a:pt x="61" y="244"/>
                      </a:lnTo>
                      <a:lnTo>
                        <a:pt x="61" y="245"/>
                      </a:lnTo>
                      <a:lnTo>
                        <a:pt x="61" y="245"/>
                      </a:lnTo>
                      <a:lnTo>
                        <a:pt x="61" y="244"/>
                      </a:lnTo>
                      <a:lnTo>
                        <a:pt x="62" y="245"/>
                      </a:lnTo>
                      <a:lnTo>
                        <a:pt x="61" y="244"/>
                      </a:lnTo>
                      <a:close/>
                      <a:moveTo>
                        <a:pt x="61" y="244"/>
                      </a:moveTo>
                      <a:lnTo>
                        <a:pt x="61" y="244"/>
                      </a:lnTo>
                      <a:lnTo>
                        <a:pt x="61" y="244"/>
                      </a:lnTo>
                      <a:close/>
                      <a:moveTo>
                        <a:pt x="61" y="244"/>
                      </a:moveTo>
                      <a:lnTo>
                        <a:pt x="61" y="244"/>
                      </a:lnTo>
                      <a:lnTo>
                        <a:pt x="61" y="244"/>
                      </a:lnTo>
                      <a:lnTo>
                        <a:pt x="61" y="244"/>
                      </a:lnTo>
                      <a:lnTo>
                        <a:pt x="61" y="244"/>
                      </a:lnTo>
                      <a:lnTo>
                        <a:pt x="61" y="244"/>
                      </a:lnTo>
                      <a:lnTo>
                        <a:pt x="61" y="244"/>
                      </a:lnTo>
                      <a:lnTo>
                        <a:pt x="61" y="244"/>
                      </a:lnTo>
                      <a:lnTo>
                        <a:pt x="61" y="244"/>
                      </a:lnTo>
                      <a:lnTo>
                        <a:pt x="61" y="244"/>
                      </a:lnTo>
                      <a:lnTo>
                        <a:pt x="61" y="244"/>
                      </a:lnTo>
                      <a:lnTo>
                        <a:pt x="61" y="244"/>
                      </a:lnTo>
                      <a:lnTo>
                        <a:pt x="61" y="244"/>
                      </a:lnTo>
                      <a:lnTo>
                        <a:pt x="61" y="244"/>
                      </a:lnTo>
                      <a:lnTo>
                        <a:pt x="61" y="244"/>
                      </a:lnTo>
                      <a:close/>
                      <a:moveTo>
                        <a:pt x="61" y="244"/>
                      </a:moveTo>
                      <a:lnTo>
                        <a:pt x="61" y="244"/>
                      </a:lnTo>
                      <a:lnTo>
                        <a:pt x="61" y="243"/>
                      </a:lnTo>
                      <a:lnTo>
                        <a:pt x="61" y="243"/>
                      </a:lnTo>
                      <a:lnTo>
                        <a:pt x="61" y="244"/>
                      </a:lnTo>
                      <a:lnTo>
                        <a:pt x="61" y="244"/>
                      </a:lnTo>
                      <a:lnTo>
                        <a:pt x="61" y="244"/>
                      </a:lnTo>
                      <a:lnTo>
                        <a:pt x="62" y="244"/>
                      </a:lnTo>
                      <a:lnTo>
                        <a:pt x="61" y="244"/>
                      </a:lnTo>
                      <a:lnTo>
                        <a:pt x="62" y="244"/>
                      </a:lnTo>
                      <a:lnTo>
                        <a:pt x="61" y="244"/>
                      </a:lnTo>
                      <a:lnTo>
                        <a:pt x="62" y="244"/>
                      </a:lnTo>
                      <a:lnTo>
                        <a:pt x="61" y="244"/>
                      </a:lnTo>
                      <a:lnTo>
                        <a:pt x="62" y="244"/>
                      </a:lnTo>
                      <a:lnTo>
                        <a:pt x="61" y="244"/>
                      </a:lnTo>
                      <a:lnTo>
                        <a:pt x="62" y="244"/>
                      </a:lnTo>
                      <a:lnTo>
                        <a:pt x="61" y="244"/>
                      </a:lnTo>
                      <a:lnTo>
                        <a:pt x="62" y="244"/>
                      </a:lnTo>
                      <a:lnTo>
                        <a:pt x="61" y="244"/>
                      </a:lnTo>
                      <a:lnTo>
                        <a:pt x="61" y="243"/>
                      </a:lnTo>
                      <a:lnTo>
                        <a:pt x="61" y="244"/>
                      </a:lnTo>
                      <a:lnTo>
                        <a:pt x="62" y="244"/>
                      </a:lnTo>
                      <a:lnTo>
                        <a:pt x="62" y="244"/>
                      </a:lnTo>
                      <a:lnTo>
                        <a:pt x="61" y="244"/>
                      </a:lnTo>
                      <a:lnTo>
                        <a:pt x="61" y="244"/>
                      </a:lnTo>
                      <a:close/>
                      <a:moveTo>
                        <a:pt x="67" y="241"/>
                      </a:moveTo>
                      <a:lnTo>
                        <a:pt x="67" y="242"/>
                      </a:lnTo>
                      <a:lnTo>
                        <a:pt x="66" y="242"/>
                      </a:lnTo>
                      <a:lnTo>
                        <a:pt x="67" y="242"/>
                      </a:lnTo>
                      <a:lnTo>
                        <a:pt x="66" y="242"/>
                      </a:lnTo>
                      <a:lnTo>
                        <a:pt x="67" y="242"/>
                      </a:lnTo>
                      <a:lnTo>
                        <a:pt x="67" y="241"/>
                      </a:lnTo>
                      <a:close/>
                      <a:moveTo>
                        <a:pt x="67" y="242"/>
                      </a:moveTo>
                      <a:lnTo>
                        <a:pt x="67" y="241"/>
                      </a:lnTo>
                      <a:lnTo>
                        <a:pt x="67" y="242"/>
                      </a:lnTo>
                      <a:close/>
                      <a:moveTo>
                        <a:pt x="67" y="241"/>
                      </a:moveTo>
                      <a:lnTo>
                        <a:pt x="67" y="241"/>
                      </a:lnTo>
                      <a:lnTo>
                        <a:pt x="67" y="241"/>
                      </a:lnTo>
                      <a:lnTo>
                        <a:pt x="67" y="242"/>
                      </a:lnTo>
                      <a:lnTo>
                        <a:pt x="67" y="241"/>
                      </a:lnTo>
                      <a:lnTo>
                        <a:pt x="67" y="241"/>
                      </a:lnTo>
                      <a:close/>
                      <a:moveTo>
                        <a:pt x="538" y="241"/>
                      </a:moveTo>
                      <a:lnTo>
                        <a:pt x="538" y="241"/>
                      </a:lnTo>
                      <a:lnTo>
                        <a:pt x="538" y="241"/>
                      </a:lnTo>
                      <a:lnTo>
                        <a:pt x="538" y="241"/>
                      </a:lnTo>
                      <a:lnTo>
                        <a:pt x="538" y="242"/>
                      </a:lnTo>
                      <a:lnTo>
                        <a:pt x="539" y="243"/>
                      </a:lnTo>
                      <a:lnTo>
                        <a:pt x="538" y="243"/>
                      </a:lnTo>
                      <a:lnTo>
                        <a:pt x="538" y="242"/>
                      </a:lnTo>
                      <a:lnTo>
                        <a:pt x="538" y="242"/>
                      </a:lnTo>
                      <a:lnTo>
                        <a:pt x="538" y="241"/>
                      </a:lnTo>
                      <a:lnTo>
                        <a:pt x="538" y="241"/>
                      </a:lnTo>
                      <a:close/>
                      <a:moveTo>
                        <a:pt x="687" y="241"/>
                      </a:moveTo>
                      <a:lnTo>
                        <a:pt x="687" y="240"/>
                      </a:lnTo>
                      <a:lnTo>
                        <a:pt x="687" y="241"/>
                      </a:lnTo>
                      <a:close/>
                      <a:moveTo>
                        <a:pt x="61" y="240"/>
                      </a:moveTo>
                      <a:lnTo>
                        <a:pt x="61" y="240"/>
                      </a:lnTo>
                      <a:lnTo>
                        <a:pt x="61" y="240"/>
                      </a:lnTo>
                      <a:lnTo>
                        <a:pt x="61" y="240"/>
                      </a:lnTo>
                      <a:lnTo>
                        <a:pt x="61" y="240"/>
                      </a:lnTo>
                      <a:close/>
                      <a:moveTo>
                        <a:pt x="60" y="240"/>
                      </a:moveTo>
                      <a:lnTo>
                        <a:pt x="60" y="239"/>
                      </a:lnTo>
                      <a:lnTo>
                        <a:pt x="61" y="239"/>
                      </a:lnTo>
                      <a:lnTo>
                        <a:pt x="60" y="240"/>
                      </a:lnTo>
                      <a:lnTo>
                        <a:pt x="61" y="240"/>
                      </a:lnTo>
                      <a:lnTo>
                        <a:pt x="60" y="240"/>
                      </a:lnTo>
                      <a:close/>
                      <a:moveTo>
                        <a:pt x="63" y="239"/>
                      </a:moveTo>
                      <a:lnTo>
                        <a:pt x="63" y="240"/>
                      </a:lnTo>
                      <a:lnTo>
                        <a:pt x="63" y="239"/>
                      </a:lnTo>
                      <a:lnTo>
                        <a:pt x="63" y="240"/>
                      </a:lnTo>
                      <a:lnTo>
                        <a:pt x="63" y="240"/>
                      </a:lnTo>
                      <a:lnTo>
                        <a:pt x="63" y="240"/>
                      </a:lnTo>
                      <a:lnTo>
                        <a:pt x="63" y="240"/>
                      </a:lnTo>
                      <a:lnTo>
                        <a:pt x="63" y="240"/>
                      </a:lnTo>
                      <a:lnTo>
                        <a:pt x="63" y="240"/>
                      </a:lnTo>
                      <a:lnTo>
                        <a:pt x="63" y="240"/>
                      </a:lnTo>
                      <a:lnTo>
                        <a:pt x="63" y="240"/>
                      </a:lnTo>
                      <a:lnTo>
                        <a:pt x="63" y="240"/>
                      </a:lnTo>
                      <a:lnTo>
                        <a:pt x="63" y="240"/>
                      </a:lnTo>
                      <a:lnTo>
                        <a:pt x="63" y="240"/>
                      </a:lnTo>
                      <a:lnTo>
                        <a:pt x="63" y="239"/>
                      </a:lnTo>
                      <a:lnTo>
                        <a:pt x="64" y="239"/>
                      </a:lnTo>
                      <a:lnTo>
                        <a:pt x="63" y="239"/>
                      </a:lnTo>
                      <a:lnTo>
                        <a:pt x="64" y="239"/>
                      </a:lnTo>
                      <a:lnTo>
                        <a:pt x="63" y="239"/>
                      </a:lnTo>
                      <a:lnTo>
                        <a:pt x="63" y="240"/>
                      </a:lnTo>
                      <a:lnTo>
                        <a:pt x="63" y="240"/>
                      </a:lnTo>
                      <a:lnTo>
                        <a:pt x="63" y="240"/>
                      </a:lnTo>
                      <a:lnTo>
                        <a:pt x="63" y="241"/>
                      </a:lnTo>
                      <a:lnTo>
                        <a:pt x="63" y="241"/>
                      </a:lnTo>
                      <a:lnTo>
                        <a:pt x="63" y="241"/>
                      </a:lnTo>
                      <a:lnTo>
                        <a:pt x="63" y="241"/>
                      </a:lnTo>
                      <a:lnTo>
                        <a:pt x="63" y="242"/>
                      </a:lnTo>
                      <a:lnTo>
                        <a:pt x="62" y="242"/>
                      </a:lnTo>
                      <a:lnTo>
                        <a:pt x="63" y="242"/>
                      </a:lnTo>
                      <a:lnTo>
                        <a:pt x="63" y="243"/>
                      </a:lnTo>
                      <a:lnTo>
                        <a:pt x="62" y="243"/>
                      </a:lnTo>
                      <a:lnTo>
                        <a:pt x="63" y="243"/>
                      </a:lnTo>
                      <a:lnTo>
                        <a:pt x="63" y="242"/>
                      </a:lnTo>
                      <a:lnTo>
                        <a:pt x="62" y="242"/>
                      </a:lnTo>
                      <a:lnTo>
                        <a:pt x="63" y="242"/>
                      </a:lnTo>
                      <a:lnTo>
                        <a:pt x="63" y="241"/>
                      </a:lnTo>
                      <a:lnTo>
                        <a:pt x="63" y="241"/>
                      </a:lnTo>
                      <a:lnTo>
                        <a:pt x="63" y="241"/>
                      </a:lnTo>
                      <a:lnTo>
                        <a:pt x="63" y="241"/>
                      </a:lnTo>
                      <a:lnTo>
                        <a:pt x="63" y="240"/>
                      </a:lnTo>
                      <a:lnTo>
                        <a:pt x="63" y="240"/>
                      </a:lnTo>
                      <a:lnTo>
                        <a:pt x="63" y="241"/>
                      </a:lnTo>
                      <a:lnTo>
                        <a:pt x="63" y="240"/>
                      </a:lnTo>
                      <a:lnTo>
                        <a:pt x="63" y="241"/>
                      </a:lnTo>
                      <a:lnTo>
                        <a:pt x="63" y="240"/>
                      </a:lnTo>
                      <a:lnTo>
                        <a:pt x="63" y="241"/>
                      </a:lnTo>
                      <a:lnTo>
                        <a:pt x="64" y="241"/>
                      </a:lnTo>
                      <a:lnTo>
                        <a:pt x="63" y="241"/>
                      </a:lnTo>
                      <a:lnTo>
                        <a:pt x="64" y="241"/>
                      </a:lnTo>
                      <a:lnTo>
                        <a:pt x="63" y="240"/>
                      </a:lnTo>
                      <a:lnTo>
                        <a:pt x="64" y="241"/>
                      </a:lnTo>
                      <a:lnTo>
                        <a:pt x="63" y="241"/>
                      </a:lnTo>
                      <a:lnTo>
                        <a:pt x="64" y="241"/>
                      </a:lnTo>
                      <a:lnTo>
                        <a:pt x="64" y="241"/>
                      </a:lnTo>
                      <a:lnTo>
                        <a:pt x="64" y="242"/>
                      </a:lnTo>
                      <a:lnTo>
                        <a:pt x="63" y="242"/>
                      </a:lnTo>
                      <a:lnTo>
                        <a:pt x="64" y="242"/>
                      </a:lnTo>
                      <a:lnTo>
                        <a:pt x="64" y="243"/>
                      </a:lnTo>
                      <a:lnTo>
                        <a:pt x="63" y="243"/>
                      </a:lnTo>
                      <a:lnTo>
                        <a:pt x="63" y="243"/>
                      </a:lnTo>
                      <a:lnTo>
                        <a:pt x="63" y="243"/>
                      </a:lnTo>
                      <a:lnTo>
                        <a:pt x="63" y="243"/>
                      </a:lnTo>
                      <a:lnTo>
                        <a:pt x="63" y="243"/>
                      </a:lnTo>
                      <a:lnTo>
                        <a:pt x="63" y="244"/>
                      </a:lnTo>
                      <a:lnTo>
                        <a:pt x="63" y="244"/>
                      </a:lnTo>
                      <a:lnTo>
                        <a:pt x="63" y="243"/>
                      </a:lnTo>
                      <a:lnTo>
                        <a:pt x="63" y="243"/>
                      </a:lnTo>
                      <a:lnTo>
                        <a:pt x="63" y="243"/>
                      </a:lnTo>
                      <a:lnTo>
                        <a:pt x="63" y="243"/>
                      </a:lnTo>
                      <a:lnTo>
                        <a:pt x="63" y="243"/>
                      </a:lnTo>
                      <a:lnTo>
                        <a:pt x="63" y="243"/>
                      </a:lnTo>
                      <a:lnTo>
                        <a:pt x="63" y="243"/>
                      </a:lnTo>
                      <a:lnTo>
                        <a:pt x="63" y="243"/>
                      </a:lnTo>
                      <a:lnTo>
                        <a:pt x="63" y="243"/>
                      </a:lnTo>
                      <a:lnTo>
                        <a:pt x="63" y="243"/>
                      </a:lnTo>
                      <a:lnTo>
                        <a:pt x="63" y="243"/>
                      </a:lnTo>
                      <a:lnTo>
                        <a:pt x="63" y="243"/>
                      </a:lnTo>
                      <a:lnTo>
                        <a:pt x="63" y="243"/>
                      </a:lnTo>
                      <a:lnTo>
                        <a:pt x="63" y="243"/>
                      </a:lnTo>
                      <a:lnTo>
                        <a:pt x="63" y="244"/>
                      </a:lnTo>
                      <a:lnTo>
                        <a:pt x="63" y="244"/>
                      </a:lnTo>
                      <a:lnTo>
                        <a:pt x="63" y="244"/>
                      </a:lnTo>
                      <a:lnTo>
                        <a:pt x="63" y="244"/>
                      </a:lnTo>
                      <a:lnTo>
                        <a:pt x="63" y="244"/>
                      </a:lnTo>
                      <a:lnTo>
                        <a:pt x="63" y="245"/>
                      </a:lnTo>
                      <a:lnTo>
                        <a:pt x="63" y="245"/>
                      </a:lnTo>
                      <a:lnTo>
                        <a:pt x="63" y="245"/>
                      </a:lnTo>
                      <a:lnTo>
                        <a:pt x="63" y="245"/>
                      </a:lnTo>
                      <a:lnTo>
                        <a:pt x="63" y="245"/>
                      </a:lnTo>
                      <a:lnTo>
                        <a:pt x="63" y="245"/>
                      </a:lnTo>
                      <a:lnTo>
                        <a:pt x="63" y="244"/>
                      </a:lnTo>
                      <a:lnTo>
                        <a:pt x="63" y="245"/>
                      </a:lnTo>
                      <a:lnTo>
                        <a:pt x="63" y="244"/>
                      </a:lnTo>
                      <a:lnTo>
                        <a:pt x="63" y="244"/>
                      </a:lnTo>
                      <a:lnTo>
                        <a:pt x="63" y="244"/>
                      </a:lnTo>
                      <a:lnTo>
                        <a:pt x="63" y="245"/>
                      </a:lnTo>
                      <a:lnTo>
                        <a:pt x="64" y="245"/>
                      </a:lnTo>
                      <a:lnTo>
                        <a:pt x="63" y="245"/>
                      </a:lnTo>
                      <a:lnTo>
                        <a:pt x="64" y="245"/>
                      </a:lnTo>
                      <a:lnTo>
                        <a:pt x="64" y="245"/>
                      </a:lnTo>
                      <a:lnTo>
                        <a:pt x="64" y="245"/>
                      </a:lnTo>
                      <a:lnTo>
                        <a:pt x="64" y="245"/>
                      </a:lnTo>
                      <a:lnTo>
                        <a:pt x="64" y="245"/>
                      </a:lnTo>
                      <a:lnTo>
                        <a:pt x="64" y="244"/>
                      </a:lnTo>
                      <a:lnTo>
                        <a:pt x="64" y="245"/>
                      </a:lnTo>
                      <a:lnTo>
                        <a:pt x="65" y="245"/>
                      </a:lnTo>
                      <a:lnTo>
                        <a:pt x="64" y="245"/>
                      </a:lnTo>
                      <a:lnTo>
                        <a:pt x="65" y="245"/>
                      </a:lnTo>
                      <a:lnTo>
                        <a:pt x="64" y="245"/>
                      </a:lnTo>
                      <a:lnTo>
                        <a:pt x="64" y="246"/>
                      </a:lnTo>
                      <a:lnTo>
                        <a:pt x="65" y="246"/>
                      </a:lnTo>
                      <a:lnTo>
                        <a:pt x="65" y="246"/>
                      </a:lnTo>
                      <a:lnTo>
                        <a:pt x="65" y="247"/>
                      </a:lnTo>
                      <a:lnTo>
                        <a:pt x="65" y="247"/>
                      </a:lnTo>
                      <a:lnTo>
                        <a:pt x="65" y="247"/>
                      </a:lnTo>
                      <a:lnTo>
                        <a:pt x="65" y="247"/>
                      </a:lnTo>
                      <a:lnTo>
                        <a:pt x="65" y="247"/>
                      </a:lnTo>
                      <a:lnTo>
                        <a:pt x="65" y="247"/>
                      </a:lnTo>
                      <a:lnTo>
                        <a:pt x="66" y="247"/>
                      </a:lnTo>
                      <a:lnTo>
                        <a:pt x="65" y="247"/>
                      </a:lnTo>
                      <a:lnTo>
                        <a:pt x="65" y="248"/>
                      </a:lnTo>
                      <a:lnTo>
                        <a:pt x="65" y="248"/>
                      </a:lnTo>
                      <a:lnTo>
                        <a:pt x="65" y="248"/>
                      </a:lnTo>
                      <a:lnTo>
                        <a:pt x="64" y="248"/>
                      </a:lnTo>
                      <a:lnTo>
                        <a:pt x="65" y="248"/>
                      </a:lnTo>
                      <a:lnTo>
                        <a:pt x="65" y="248"/>
                      </a:lnTo>
                      <a:lnTo>
                        <a:pt x="65" y="248"/>
                      </a:lnTo>
                      <a:lnTo>
                        <a:pt x="65" y="248"/>
                      </a:lnTo>
                      <a:lnTo>
                        <a:pt x="65" y="248"/>
                      </a:lnTo>
                      <a:lnTo>
                        <a:pt x="65" y="248"/>
                      </a:lnTo>
                      <a:lnTo>
                        <a:pt x="65" y="247"/>
                      </a:lnTo>
                      <a:lnTo>
                        <a:pt x="65" y="247"/>
                      </a:lnTo>
                      <a:lnTo>
                        <a:pt x="65" y="247"/>
                      </a:lnTo>
                      <a:lnTo>
                        <a:pt x="65" y="247"/>
                      </a:lnTo>
                      <a:lnTo>
                        <a:pt x="65" y="247"/>
                      </a:lnTo>
                      <a:lnTo>
                        <a:pt x="65" y="247"/>
                      </a:lnTo>
                      <a:lnTo>
                        <a:pt x="65" y="247"/>
                      </a:lnTo>
                      <a:lnTo>
                        <a:pt x="65" y="247"/>
                      </a:lnTo>
                      <a:lnTo>
                        <a:pt x="65" y="247"/>
                      </a:lnTo>
                      <a:lnTo>
                        <a:pt x="65" y="247"/>
                      </a:lnTo>
                      <a:lnTo>
                        <a:pt x="65" y="247"/>
                      </a:lnTo>
                      <a:lnTo>
                        <a:pt x="65" y="247"/>
                      </a:lnTo>
                      <a:lnTo>
                        <a:pt x="65" y="247"/>
                      </a:lnTo>
                      <a:lnTo>
                        <a:pt x="65" y="247"/>
                      </a:lnTo>
                      <a:lnTo>
                        <a:pt x="65" y="247"/>
                      </a:lnTo>
                      <a:lnTo>
                        <a:pt x="65" y="247"/>
                      </a:lnTo>
                      <a:lnTo>
                        <a:pt x="64" y="247"/>
                      </a:lnTo>
                      <a:lnTo>
                        <a:pt x="63" y="247"/>
                      </a:lnTo>
                      <a:lnTo>
                        <a:pt x="63" y="246"/>
                      </a:lnTo>
                      <a:lnTo>
                        <a:pt x="64" y="246"/>
                      </a:lnTo>
                      <a:lnTo>
                        <a:pt x="63" y="246"/>
                      </a:lnTo>
                      <a:lnTo>
                        <a:pt x="63" y="245"/>
                      </a:lnTo>
                      <a:lnTo>
                        <a:pt x="63" y="246"/>
                      </a:lnTo>
                      <a:lnTo>
                        <a:pt x="63" y="247"/>
                      </a:lnTo>
                      <a:lnTo>
                        <a:pt x="63" y="246"/>
                      </a:lnTo>
                      <a:lnTo>
                        <a:pt x="63" y="246"/>
                      </a:lnTo>
                      <a:lnTo>
                        <a:pt x="63" y="246"/>
                      </a:lnTo>
                      <a:lnTo>
                        <a:pt x="63" y="246"/>
                      </a:lnTo>
                      <a:lnTo>
                        <a:pt x="63" y="245"/>
                      </a:lnTo>
                      <a:lnTo>
                        <a:pt x="62" y="245"/>
                      </a:lnTo>
                      <a:lnTo>
                        <a:pt x="62" y="245"/>
                      </a:lnTo>
                      <a:lnTo>
                        <a:pt x="62" y="245"/>
                      </a:lnTo>
                      <a:lnTo>
                        <a:pt x="62" y="245"/>
                      </a:lnTo>
                      <a:lnTo>
                        <a:pt x="62" y="245"/>
                      </a:lnTo>
                      <a:lnTo>
                        <a:pt x="62" y="245"/>
                      </a:lnTo>
                      <a:lnTo>
                        <a:pt x="62" y="245"/>
                      </a:lnTo>
                      <a:lnTo>
                        <a:pt x="62" y="245"/>
                      </a:lnTo>
                      <a:lnTo>
                        <a:pt x="62" y="245"/>
                      </a:lnTo>
                      <a:lnTo>
                        <a:pt x="62" y="245"/>
                      </a:lnTo>
                      <a:lnTo>
                        <a:pt x="62" y="245"/>
                      </a:lnTo>
                      <a:lnTo>
                        <a:pt x="62" y="244"/>
                      </a:lnTo>
                      <a:lnTo>
                        <a:pt x="62" y="244"/>
                      </a:lnTo>
                      <a:lnTo>
                        <a:pt x="62" y="244"/>
                      </a:lnTo>
                      <a:lnTo>
                        <a:pt x="62" y="244"/>
                      </a:lnTo>
                      <a:lnTo>
                        <a:pt x="62" y="243"/>
                      </a:lnTo>
                      <a:lnTo>
                        <a:pt x="61" y="243"/>
                      </a:lnTo>
                      <a:lnTo>
                        <a:pt x="61" y="243"/>
                      </a:lnTo>
                      <a:lnTo>
                        <a:pt x="61" y="243"/>
                      </a:lnTo>
                      <a:lnTo>
                        <a:pt x="61" y="242"/>
                      </a:lnTo>
                      <a:lnTo>
                        <a:pt x="62" y="242"/>
                      </a:lnTo>
                      <a:lnTo>
                        <a:pt x="61" y="242"/>
                      </a:lnTo>
                      <a:lnTo>
                        <a:pt x="61" y="242"/>
                      </a:lnTo>
                      <a:lnTo>
                        <a:pt x="61" y="241"/>
                      </a:lnTo>
                      <a:lnTo>
                        <a:pt x="61" y="241"/>
                      </a:lnTo>
                      <a:lnTo>
                        <a:pt x="61" y="241"/>
                      </a:lnTo>
                      <a:lnTo>
                        <a:pt x="61" y="241"/>
                      </a:lnTo>
                      <a:lnTo>
                        <a:pt x="61" y="240"/>
                      </a:lnTo>
                      <a:lnTo>
                        <a:pt x="61" y="240"/>
                      </a:lnTo>
                      <a:lnTo>
                        <a:pt x="60" y="240"/>
                      </a:lnTo>
                      <a:lnTo>
                        <a:pt x="61" y="240"/>
                      </a:lnTo>
                      <a:lnTo>
                        <a:pt x="61" y="240"/>
                      </a:lnTo>
                      <a:lnTo>
                        <a:pt x="61" y="240"/>
                      </a:lnTo>
                      <a:lnTo>
                        <a:pt x="61" y="240"/>
                      </a:lnTo>
                      <a:lnTo>
                        <a:pt x="61" y="240"/>
                      </a:lnTo>
                      <a:lnTo>
                        <a:pt x="61" y="240"/>
                      </a:lnTo>
                      <a:lnTo>
                        <a:pt x="61" y="240"/>
                      </a:lnTo>
                      <a:lnTo>
                        <a:pt x="61" y="240"/>
                      </a:lnTo>
                      <a:lnTo>
                        <a:pt x="61" y="240"/>
                      </a:lnTo>
                      <a:lnTo>
                        <a:pt x="61" y="240"/>
                      </a:lnTo>
                      <a:lnTo>
                        <a:pt x="61" y="240"/>
                      </a:lnTo>
                      <a:lnTo>
                        <a:pt x="61" y="240"/>
                      </a:lnTo>
                      <a:lnTo>
                        <a:pt x="61" y="240"/>
                      </a:lnTo>
                      <a:lnTo>
                        <a:pt x="61" y="240"/>
                      </a:lnTo>
                      <a:lnTo>
                        <a:pt x="61" y="240"/>
                      </a:lnTo>
                      <a:lnTo>
                        <a:pt x="61" y="240"/>
                      </a:lnTo>
                      <a:lnTo>
                        <a:pt x="61" y="241"/>
                      </a:lnTo>
                      <a:lnTo>
                        <a:pt x="61" y="241"/>
                      </a:lnTo>
                      <a:lnTo>
                        <a:pt x="61" y="241"/>
                      </a:lnTo>
                      <a:lnTo>
                        <a:pt x="61" y="240"/>
                      </a:lnTo>
                      <a:lnTo>
                        <a:pt x="61" y="241"/>
                      </a:lnTo>
                      <a:lnTo>
                        <a:pt x="61" y="241"/>
                      </a:lnTo>
                      <a:lnTo>
                        <a:pt x="61" y="241"/>
                      </a:lnTo>
                      <a:lnTo>
                        <a:pt x="61" y="241"/>
                      </a:lnTo>
                      <a:lnTo>
                        <a:pt x="61" y="241"/>
                      </a:lnTo>
                      <a:lnTo>
                        <a:pt x="62" y="241"/>
                      </a:lnTo>
                      <a:lnTo>
                        <a:pt x="61" y="241"/>
                      </a:lnTo>
                      <a:lnTo>
                        <a:pt x="61" y="241"/>
                      </a:lnTo>
                      <a:lnTo>
                        <a:pt x="61" y="242"/>
                      </a:lnTo>
                      <a:lnTo>
                        <a:pt x="62" y="242"/>
                      </a:lnTo>
                      <a:lnTo>
                        <a:pt x="61" y="242"/>
                      </a:lnTo>
                      <a:lnTo>
                        <a:pt x="62" y="242"/>
                      </a:lnTo>
                      <a:lnTo>
                        <a:pt x="61" y="241"/>
                      </a:lnTo>
                      <a:lnTo>
                        <a:pt x="61" y="241"/>
                      </a:lnTo>
                      <a:lnTo>
                        <a:pt x="62" y="241"/>
                      </a:lnTo>
                      <a:lnTo>
                        <a:pt x="62" y="241"/>
                      </a:lnTo>
                      <a:lnTo>
                        <a:pt x="62" y="240"/>
                      </a:lnTo>
                      <a:lnTo>
                        <a:pt x="62" y="241"/>
                      </a:lnTo>
                      <a:lnTo>
                        <a:pt x="63" y="241"/>
                      </a:lnTo>
                      <a:lnTo>
                        <a:pt x="62" y="241"/>
                      </a:lnTo>
                      <a:lnTo>
                        <a:pt x="62" y="241"/>
                      </a:lnTo>
                      <a:lnTo>
                        <a:pt x="62" y="241"/>
                      </a:lnTo>
                      <a:lnTo>
                        <a:pt x="62" y="241"/>
                      </a:lnTo>
                      <a:lnTo>
                        <a:pt x="62" y="241"/>
                      </a:lnTo>
                      <a:lnTo>
                        <a:pt x="62" y="241"/>
                      </a:lnTo>
                      <a:lnTo>
                        <a:pt x="62" y="241"/>
                      </a:lnTo>
                      <a:lnTo>
                        <a:pt x="62" y="241"/>
                      </a:lnTo>
                      <a:lnTo>
                        <a:pt x="62" y="241"/>
                      </a:lnTo>
                      <a:lnTo>
                        <a:pt x="62" y="241"/>
                      </a:lnTo>
                      <a:lnTo>
                        <a:pt x="62" y="241"/>
                      </a:lnTo>
                      <a:lnTo>
                        <a:pt x="62" y="241"/>
                      </a:lnTo>
                      <a:lnTo>
                        <a:pt x="62" y="241"/>
                      </a:lnTo>
                      <a:lnTo>
                        <a:pt x="63" y="241"/>
                      </a:lnTo>
                      <a:lnTo>
                        <a:pt x="63" y="241"/>
                      </a:lnTo>
                      <a:lnTo>
                        <a:pt x="62" y="241"/>
                      </a:lnTo>
                      <a:lnTo>
                        <a:pt x="62" y="241"/>
                      </a:lnTo>
                      <a:lnTo>
                        <a:pt x="62" y="241"/>
                      </a:lnTo>
                      <a:lnTo>
                        <a:pt x="63" y="241"/>
                      </a:lnTo>
                      <a:lnTo>
                        <a:pt x="62" y="241"/>
                      </a:lnTo>
                      <a:lnTo>
                        <a:pt x="63" y="241"/>
                      </a:lnTo>
                      <a:lnTo>
                        <a:pt x="62" y="241"/>
                      </a:lnTo>
                      <a:lnTo>
                        <a:pt x="63" y="241"/>
                      </a:lnTo>
                      <a:lnTo>
                        <a:pt x="62" y="241"/>
                      </a:lnTo>
                      <a:lnTo>
                        <a:pt x="63" y="240"/>
                      </a:lnTo>
                      <a:lnTo>
                        <a:pt x="63" y="241"/>
                      </a:lnTo>
                      <a:lnTo>
                        <a:pt x="62" y="241"/>
                      </a:lnTo>
                      <a:lnTo>
                        <a:pt x="63" y="241"/>
                      </a:lnTo>
                      <a:lnTo>
                        <a:pt x="63" y="240"/>
                      </a:lnTo>
                      <a:lnTo>
                        <a:pt x="63" y="241"/>
                      </a:lnTo>
                      <a:lnTo>
                        <a:pt x="63" y="240"/>
                      </a:lnTo>
                      <a:lnTo>
                        <a:pt x="62" y="240"/>
                      </a:lnTo>
                      <a:lnTo>
                        <a:pt x="63" y="240"/>
                      </a:lnTo>
                      <a:lnTo>
                        <a:pt x="63" y="240"/>
                      </a:lnTo>
                      <a:lnTo>
                        <a:pt x="63" y="240"/>
                      </a:lnTo>
                      <a:lnTo>
                        <a:pt x="63" y="239"/>
                      </a:lnTo>
                      <a:close/>
                      <a:moveTo>
                        <a:pt x="63" y="242"/>
                      </a:moveTo>
                      <a:lnTo>
                        <a:pt x="62" y="242"/>
                      </a:lnTo>
                      <a:lnTo>
                        <a:pt x="63" y="242"/>
                      </a:lnTo>
                      <a:close/>
                      <a:moveTo>
                        <a:pt x="62" y="243"/>
                      </a:moveTo>
                      <a:lnTo>
                        <a:pt x="62" y="243"/>
                      </a:lnTo>
                      <a:lnTo>
                        <a:pt x="62" y="243"/>
                      </a:lnTo>
                      <a:close/>
                      <a:moveTo>
                        <a:pt x="62" y="243"/>
                      </a:moveTo>
                      <a:lnTo>
                        <a:pt x="62" y="244"/>
                      </a:lnTo>
                      <a:lnTo>
                        <a:pt x="62" y="243"/>
                      </a:lnTo>
                      <a:lnTo>
                        <a:pt x="62" y="244"/>
                      </a:lnTo>
                      <a:lnTo>
                        <a:pt x="63" y="244"/>
                      </a:lnTo>
                      <a:lnTo>
                        <a:pt x="63" y="244"/>
                      </a:lnTo>
                      <a:lnTo>
                        <a:pt x="63" y="244"/>
                      </a:lnTo>
                      <a:lnTo>
                        <a:pt x="62" y="244"/>
                      </a:lnTo>
                      <a:lnTo>
                        <a:pt x="63" y="244"/>
                      </a:lnTo>
                      <a:lnTo>
                        <a:pt x="62" y="244"/>
                      </a:lnTo>
                      <a:lnTo>
                        <a:pt x="63" y="243"/>
                      </a:lnTo>
                      <a:lnTo>
                        <a:pt x="62" y="243"/>
                      </a:lnTo>
                      <a:lnTo>
                        <a:pt x="63" y="243"/>
                      </a:lnTo>
                      <a:lnTo>
                        <a:pt x="62" y="243"/>
                      </a:lnTo>
                      <a:lnTo>
                        <a:pt x="63" y="243"/>
                      </a:lnTo>
                      <a:lnTo>
                        <a:pt x="62" y="243"/>
                      </a:lnTo>
                      <a:lnTo>
                        <a:pt x="63" y="243"/>
                      </a:lnTo>
                      <a:lnTo>
                        <a:pt x="62" y="243"/>
                      </a:lnTo>
                      <a:close/>
                      <a:moveTo>
                        <a:pt x="63" y="244"/>
                      </a:moveTo>
                      <a:lnTo>
                        <a:pt x="63" y="244"/>
                      </a:lnTo>
                      <a:lnTo>
                        <a:pt x="63" y="244"/>
                      </a:lnTo>
                      <a:lnTo>
                        <a:pt x="63" y="244"/>
                      </a:lnTo>
                      <a:lnTo>
                        <a:pt x="63" y="244"/>
                      </a:lnTo>
                      <a:lnTo>
                        <a:pt x="63" y="244"/>
                      </a:lnTo>
                      <a:lnTo>
                        <a:pt x="63" y="244"/>
                      </a:lnTo>
                      <a:lnTo>
                        <a:pt x="63" y="244"/>
                      </a:lnTo>
                      <a:close/>
                      <a:moveTo>
                        <a:pt x="63" y="244"/>
                      </a:moveTo>
                      <a:lnTo>
                        <a:pt x="63" y="244"/>
                      </a:lnTo>
                      <a:lnTo>
                        <a:pt x="63" y="244"/>
                      </a:lnTo>
                      <a:lnTo>
                        <a:pt x="63" y="244"/>
                      </a:lnTo>
                      <a:lnTo>
                        <a:pt x="63" y="244"/>
                      </a:lnTo>
                      <a:close/>
                      <a:moveTo>
                        <a:pt x="62" y="244"/>
                      </a:moveTo>
                      <a:lnTo>
                        <a:pt x="62" y="244"/>
                      </a:lnTo>
                      <a:lnTo>
                        <a:pt x="62" y="244"/>
                      </a:lnTo>
                      <a:close/>
                      <a:moveTo>
                        <a:pt x="63" y="245"/>
                      </a:moveTo>
                      <a:lnTo>
                        <a:pt x="63" y="244"/>
                      </a:lnTo>
                      <a:lnTo>
                        <a:pt x="63" y="245"/>
                      </a:lnTo>
                      <a:close/>
                      <a:moveTo>
                        <a:pt x="63" y="245"/>
                      </a:moveTo>
                      <a:lnTo>
                        <a:pt x="63" y="245"/>
                      </a:lnTo>
                      <a:lnTo>
                        <a:pt x="63" y="245"/>
                      </a:lnTo>
                      <a:close/>
                      <a:moveTo>
                        <a:pt x="63" y="245"/>
                      </a:moveTo>
                      <a:lnTo>
                        <a:pt x="63" y="245"/>
                      </a:lnTo>
                      <a:lnTo>
                        <a:pt x="63" y="245"/>
                      </a:lnTo>
                      <a:lnTo>
                        <a:pt x="63" y="245"/>
                      </a:lnTo>
                      <a:lnTo>
                        <a:pt x="63" y="245"/>
                      </a:lnTo>
                      <a:lnTo>
                        <a:pt x="63" y="245"/>
                      </a:lnTo>
                      <a:lnTo>
                        <a:pt x="63" y="246"/>
                      </a:lnTo>
                      <a:lnTo>
                        <a:pt x="63" y="245"/>
                      </a:lnTo>
                      <a:lnTo>
                        <a:pt x="63" y="246"/>
                      </a:lnTo>
                      <a:lnTo>
                        <a:pt x="63" y="245"/>
                      </a:lnTo>
                      <a:lnTo>
                        <a:pt x="64" y="245"/>
                      </a:lnTo>
                      <a:lnTo>
                        <a:pt x="63" y="245"/>
                      </a:lnTo>
                      <a:lnTo>
                        <a:pt x="63" y="245"/>
                      </a:lnTo>
                      <a:close/>
                      <a:moveTo>
                        <a:pt x="64" y="245"/>
                      </a:moveTo>
                      <a:lnTo>
                        <a:pt x="63" y="245"/>
                      </a:lnTo>
                      <a:lnTo>
                        <a:pt x="64" y="245"/>
                      </a:lnTo>
                      <a:close/>
                      <a:moveTo>
                        <a:pt x="64" y="245"/>
                      </a:moveTo>
                      <a:lnTo>
                        <a:pt x="63" y="245"/>
                      </a:lnTo>
                      <a:lnTo>
                        <a:pt x="64" y="245"/>
                      </a:lnTo>
                      <a:lnTo>
                        <a:pt x="63" y="245"/>
                      </a:lnTo>
                      <a:lnTo>
                        <a:pt x="63" y="246"/>
                      </a:lnTo>
                      <a:lnTo>
                        <a:pt x="64" y="246"/>
                      </a:lnTo>
                      <a:lnTo>
                        <a:pt x="64" y="245"/>
                      </a:lnTo>
                      <a:close/>
                      <a:moveTo>
                        <a:pt x="63" y="245"/>
                      </a:moveTo>
                      <a:lnTo>
                        <a:pt x="63" y="245"/>
                      </a:lnTo>
                      <a:lnTo>
                        <a:pt x="63" y="245"/>
                      </a:lnTo>
                      <a:close/>
                      <a:moveTo>
                        <a:pt x="63" y="243"/>
                      </a:moveTo>
                      <a:lnTo>
                        <a:pt x="63" y="242"/>
                      </a:lnTo>
                      <a:lnTo>
                        <a:pt x="63" y="243"/>
                      </a:lnTo>
                      <a:close/>
                      <a:moveTo>
                        <a:pt x="64" y="239"/>
                      </a:moveTo>
                      <a:lnTo>
                        <a:pt x="65" y="239"/>
                      </a:lnTo>
                      <a:lnTo>
                        <a:pt x="64" y="239"/>
                      </a:lnTo>
                      <a:close/>
                      <a:moveTo>
                        <a:pt x="63" y="239"/>
                      </a:moveTo>
                      <a:lnTo>
                        <a:pt x="64" y="239"/>
                      </a:lnTo>
                      <a:lnTo>
                        <a:pt x="63" y="239"/>
                      </a:lnTo>
                      <a:close/>
                      <a:moveTo>
                        <a:pt x="64" y="239"/>
                      </a:moveTo>
                      <a:lnTo>
                        <a:pt x="63" y="239"/>
                      </a:lnTo>
                      <a:lnTo>
                        <a:pt x="64" y="239"/>
                      </a:lnTo>
                      <a:close/>
                      <a:moveTo>
                        <a:pt x="66" y="238"/>
                      </a:moveTo>
                      <a:lnTo>
                        <a:pt x="66" y="238"/>
                      </a:lnTo>
                      <a:lnTo>
                        <a:pt x="66" y="238"/>
                      </a:lnTo>
                      <a:close/>
                      <a:moveTo>
                        <a:pt x="64" y="237"/>
                      </a:moveTo>
                      <a:lnTo>
                        <a:pt x="64" y="237"/>
                      </a:lnTo>
                      <a:lnTo>
                        <a:pt x="64" y="237"/>
                      </a:lnTo>
                      <a:close/>
                      <a:moveTo>
                        <a:pt x="66" y="237"/>
                      </a:moveTo>
                      <a:lnTo>
                        <a:pt x="66" y="236"/>
                      </a:lnTo>
                      <a:lnTo>
                        <a:pt x="66" y="237"/>
                      </a:lnTo>
                      <a:lnTo>
                        <a:pt x="66" y="236"/>
                      </a:lnTo>
                      <a:lnTo>
                        <a:pt x="66" y="237"/>
                      </a:lnTo>
                      <a:lnTo>
                        <a:pt x="66" y="236"/>
                      </a:lnTo>
                      <a:lnTo>
                        <a:pt x="66" y="237"/>
                      </a:lnTo>
                      <a:close/>
                      <a:moveTo>
                        <a:pt x="66" y="236"/>
                      </a:moveTo>
                      <a:lnTo>
                        <a:pt x="65" y="236"/>
                      </a:lnTo>
                      <a:lnTo>
                        <a:pt x="65" y="237"/>
                      </a:lnTo>
                      <a:lnTo>
                        <a:pt x="65" y="236"/>
                      </a:lnTo>
                      <a:lnTo>
                        <a:pt x="66" y="236"/>
                      </a:lnTo>
                      <a:close/>
                      <a:moveTo>
                        <a:pt x="63" y="236"/>
                      </a:moveTo>
                      <a:lnTo>
                        <a:pt x="63" y="236"/>
                      </a:lnTo>
                      <a:lnTo>
                        <a:pt x="63" y="236"/>
                      </a:lnTo>
                      <a:lnTo>
                        <a:pt x="63" y="236"/>
                      </a:lnTo>
                      <a:lnTo>
                        <a:pt x="63" y="236"/>
                      </a:lnTo>
                      <a:close/>
                      <a:moveTo>
                        <a:pt x="63" y="236"/>
                      </a:moveTo>
                      <a:lnTo>
                        <a:pt x="63" y="236"/>
                      </a:lnTo>
                      <a:lnTo>
                        <a:pt x="63" y="236"/>
                      </a:lnTo>
                      <a:close/>
                      <a:moveTo>
                        <a:pt x="66" y="237"/>
                      </a:moveTo>
                      <a:lnTo>
                        <a:pt x="66" y="237"/>
                      </a:lnTo>
                      <a:lnTo>
                        <a:pt x="66" y="237"/>
                      </a:lnTo>
                      <a:lnTo>
                        <a:pt x="66" y="237"/>
                      </a:lnTo>
                      <a:lnTo>
                        <a:pt x="66" y="237"/>
                      </a:lnTo>
                      <a:lnTo>
                        <a:pt x="66" y="237"/>
                      </a:lnTo>
                      <a:lnTo>
                        <a:pt x="66" y="237"/>
                      </a:lnTo>
                      <a:lnTo>
                        <a:pt x="65" y="237"/>
                      </a:lnTo>
                      <a:lnTo>
                        <a:pt x="66" y="237"/>
                      </a:lnTo>
                      <a:lnTo>
                        <a:pt x="65" y="237"/>
                      </a:lnTo>
                      <a:lnTo>
                        <a:pt x="65" y="237"/>
                      </a:lnTo>
                      <a:lnTo>
                        <a:pt x="65" y="237"/>
                      </a:lnTo>
                      <a:lnTo>
                        <a:pt x="64" y="237"/>
                      </a:lnTo>
                      <a:lnTo>
                        <a:pt x="65" y="237"/>
                      </a:lnTo>
                      <a:lnTo>
                        <a:pt x="65" y="237"/>
                      </a:lnTo>
                      <a:lnTo>
                        <a:pt x="65" y="237"/>
                      </a:lnTo>
                      <a:lnTo>
                        <a:pt x="65" y="237"/>
                      </a:lnTo>
                      <a:lnTo>
                        <a:pt x="65" y="237"/>
                      </a:lnTo>
                      <a:lnTo>
                        <a:pt x="65" y="237"/>
                      </a:lnTo>
                      <a:lnTo>
                        <a:pt x="65" y="237"/>
                      </a:lnTo>
                      <a:lnTo>
                        <a:pt x="65" y="237"/>
                      </a:lnTo>
                      <a:lnTo>
                        <a:pt x="65" y="237"/>
                      </a:lnTo>
                      <a:lnTo>
                        <a:pt x="65" y="237"/>
                      </a:lnTo>
                      <a:lnTo>
                        <a:pt x="66" y="237"/>
                      </a:lnTo>
                      <a:lnTo>
                        <a:pt x="65" y="237"/>
                      </a:lnTo>
                      <a:lnTo>
                        <a:pt x="66" y="237"/>
                      </a:lnTo>
                      <a:lnTo>
                        <a:pt x="65" y="237"/>
                      </a:lnTo>
                      <a:lnTo>
                        <a:pt x="66" y="237"/>
                      </a:lnTo>
                      <a:lnTo>
                        <a:pt x="65" y="237"/>
                      </a:lnTo>
                      <a:lnTo>
                        <a:pt x="66" y="237"/>
                      </a:lnTo>
                      <a:lnTo>
                        <a:pt x="66" y="236"/>
                      </a:lnTo>
                      <a:lnTo>
                        <a:pt x="66" y="237"/>
                      </a:lnTo>
                      <a:lnTo>
                        <a:pt x="66" y="236"/>
                      </a:lnTo>
                      <a:lnTo>
                        <a:pt x="66" y="236"/>
                      </a:lnTo>
                      <a:lnTo>
                        <a:pt x="66" y="236"/>
                      </a:lnTo>
                      <a:lnTo>
                        <a:pt x="66" y="236"/>
                      </a:lnTo>
                      <a:lnTo>
                        <a:pt x="66" y="236"/>
                      </a:lnTo>
                      <a:lnTo>
                        <a:pt x="66" y="236"/>
                      </a:lnTo>
                      <a:lnTo>
                        <a:pt x="66" y="237"/>
                      </a:lnTo>
                      <a:close/>
                      <a:moveTo>
                        <a:pt x="65" y="237"/>
                      </a:moveTo>
                      <a:lnTo>
                        <a:pt x="66" y="237"/>
                      </a:lnTo>
                      <a:lnTo>
                        <a:pt x="65" y="237"/>
                      </a:lnTo>
                      <a:close/>
                      <a:moveTo>
                        <a:pt x="67" y="236"/>
                      </a:moveTo>
                      <a:lnTo>
                        <a:pt x="67" y="236"/>
                      </a:lnTo>
                      <a:lnTo>
                        <a:pt x="67" y="236"/>
                      </a:lnTo>
                      <a:lnTo>
                        <a:pt x="67" y="236"/>
                      </a:lnTo>
                      <a:lnTo>
                        <a:pt x="67" y="236"/>
                      </a:lnTo>
                      <a:close/>
                      <a:moveTo>
                        <a:pt x="73" y="236"/>
                      </a:moveTo>
                      <a:lnTo>
                        <a:pt x="73" y="236"/>
                      </a:lnTo>
                      <a:lnTo>
                        <a:pt x="73" y="236"/>
                      </a:lnTo>
                      <a:close/>
                      <a:moveTo>
                        <a:pt x="66" y="236"/>
                      </a:moveTo>
                      <a:lnTo>
                        <a:pt x="66" y="236"/>
                      </a:lnTo>
                      <a:lnTo>
                        <a:pt x="66" y="236"/>
                      </a:lnTo>
                      <a:close/>
                      <a:moveTo>
                        <a:pt x="66" y="236"/>
                      </a:moveTo>
                      <a:lnTo>
                        <a:pt x="66" y="236"/>
                      </a:lnTo>
                      <a:lnTo>
                        <a:pt x="66" y="236"/>
                      </a:lnTo>
                      <a:lnTo>
                        <a:pt x="66" y="236"/>
                      </a:lnTo>
                      <a:lnTo>
                        <a:pt x="66" y="236"/>
                      </a:lnTo>
                      <a:close/>
                      <a:moveTo>
                        <a:pt x="67" y="236"/>
                      </a:moveTo>
                      <a:lnTo>
                        <a:pt x="67" y="236"/>
                      </a:lnTo>
                      <a:lnTo>
                        <a:pt x="67" y="236"/>
                      </a:lnTo>
                      <a:close/>
                      <a:moveTo>
                        <a:pt x="63" y="236"/>
                      </a:moveTo>
                      <a:lnTo>
                        <a:pt x="63" y="236"/>
                      </a:lnTo>
                      <a:lnTo>
                        <a:pt x="63" y="235"/>
                      </a:lnTo>
                      <a:lnTo>
                        <a:pt x="63" y="236"/>
                      </a:lnTo>
                      <a:lnTo>
                        <a:pt x="63" y="236"/>
                      </a:lnTo>
                      <a:close/>
                      <a:moveTo>
                        <a:pt x="66" y="236"/>
                      </a:moveTo>
                      <a:lnTo>
                        <a:pt x="66" y="235"/>
                      </a:lnTo>
                      <a:lnTo>
                        <a:pt x="66" y="236"/>
                      </a:lnTo>
                      <a:lnTo>
                        <a:pt x="66" y="235"/>
                      </a:lnTo>
                      <a:lnTo>
                        <a:pt x="66" y="236"/>
                      </a:lnTo>
                      <a:close/>
                      <a:moveTo>
                        <a:pt x="67" y="235"/>
                      </a:moveTo>
                      <a:lnTo>
                        <a:pt x="66" y="235"/>
                      </a:lnTo>
                      <a:lnTo>
                        <a:pt x="67" y="235"/>
                      </a:lnTo>
                      <a:lnTo>
                        <a:pt x="66" y="235"/>
                      </a:lnTo>
                      <a:lnTo>
                        <a:pt x="67" y="235"/>
                      </a:lnTo>
                      <a:lnTo>
                        <a:pt x="66" y="235"/>
                      </a:lnTo>
                      <a:lnTo>
                        <a:pt x="67" y="235"/>
                      </a:lnTo>
                      <a:close/>
                      <a:moveTo>
                        <a:pt x="63" y="235"/>
                      </a:moveTo>
                      <a:lnTo>
                        <a:pt x="64" y="235"/>
                      </a:lnTo>
                      <a:lnTo>
                        <a:pt x="63" y="235"/>
                      </a:lnTo>
                      <a:close/>
                      <a:moveTo>
                        <a:pt x="69" y="235"/>
                      </a:moveTo>
                      <a:lnTo>
                        <a:pt x="69" y="236"/>
                      </a:lnTo>
                      <a:lnTo>
                        <a:pt x="69" y="235"/>
                      </a:lnTo>
                      <a:lnTo>
                        <a:pt x="69" y="236"/>
                      </a:lnTo>
                      <a:lnTo>
                        <a:pt x="69" y="235"/>
                      </a:lnTo>
                      <a:lnTo>
                        <a:pt x="69" y="236"/>
                      </a:lnTo>
                      <a:lnTo>
                        <a:pt x="69" y="236"/>
                      </a:lnTo>
                      <a:lnTo>
                        <a:pt x="69" y="237"/>
                      </a:lnTo>
                      <a:lnTo>
                        <a:pt x="68" y="237"/>
                      </a:lnTo>
                      <a:lnTo>
                        <a:pt x="68" y="237"/>
                      </a:lnTo>
                      <a:lnTo>
                        <a:pt x="68" y="238"/>
                      </a:lnTo>
                      <a:lnTo>
                        <a:pt x="68" y="237"/>
                      </a:lnTo>
                      <a:lnTo>
                        <a:pt x="68" y="238"/>
                      </a:lnTo>
                      <a:lnTo>
                        <a:pt x="68" y="238"/>
                      </a:lnTo>
                      <a:lnTo>
                        <a:pt x="67" y="238"/>
                      </a:lnTo>
                      <a:lnTo>
                        <a:pt x="68" y="239"/>
                      </a:lnTo>
                      <a:lnTo>
                        <a:pt x="67" y="238"/>
                      </a:lnTo>
                      <a:lnTo>
                        <a:pt x="68" y="238"/>
                      </a:lnTo>
                      <a:lnTo>
                        <a:pt x="68" y="239"/>
                      </a:lnTo>
                      <a:lnTo>
                        <a:pt x="68" y="240"/>
                      </a:lnTo>
                      <a:lnTo>
                        <a:pt x="68" y="240"/>
                      </a:lnTo>
                      <a:lnTo>
                        <a:pt x="67" y="240"/>
                      </a:lnTo>
                      <a:lnTo>
                        <a:pt x="68" y="240"/>
                      </a:lnTo>
                      <a:lnTo>
                        <a:pt x="67" y="240"/>
                      </a:lnTo>
                      <a:lnTo>
                        <a:pt x="67" y="241"/>
                      </a:lnTo>
                      <a:lnTo>
                        <a:pt x="67" y="241"/>
                      </a:lnTo>
                      <a:lnTo>
                        <a:pt x="66" y="241"/>
                      </a:lnTo>
                      <a:lnTo>
                        <a:pt x="66" y="242"/>
                      </a:lnTo>
                      <a:lnTo>
                        <a:pt x="66" y="242"/>
                      </a:lnTo>
                      <a:lnTo>
                        <a:pt x="66" y="243"/>
                      </a:lnTo>
                      <a:lnTo>
                        <a:pt x="66" y="243"/>
                      </a:lnTo>
                      <a:lnTo>
                        <a:pt x="65" y="243"/>
                      </a:lnTo>
                      <a:lnTo>
                        <a:pt x="65" y="244"/>
                      </a:lnTo>
                      <a:lnTo>
                        <a:pt x="65" y="244"/>
                      </a:lnTo>
                      <a:lnTo>
                        <a:pt x="65" y="245"/>
                      </a:lnTo>
                      <a:lnTo>
                        <a:pt x="65" y="245"/>
                      </a:lnTo>
                      <a:lnTo>
                        <a:pt x="64" y="245"/>
                      </a:lnTo>
                      <a:lnTo>
                        <a:pt x="65" y="245"/>
                      </a:lnTo>
                      <a:lnTo>
                        <a:pt x="64" y="245"/>
                      </a:lnTo>
                      <a:lnTo>
                        <a:pt x="65" y="245"/>
                      </a:lnTo>
                      <a:lnTo>
                        <a:pt x="65" y="245"/>
                      </a:lnTo>
                      <a:lnTo>
                        <a:pt x="64" y="245"/>
                      </a:lnTo>
                      <a:lnTo>
                        <a:pt x="65" y="245"/>
                      </a:lnTo>
                      <a:lnTo>
                        <a:pt x="64" y="245"/>
                      </a:lnTo>
                      <a:lnTo>
                        <a:pt x="64" y="244"/>
                      </a:lnTo>
                      <a:lnTo>
                        <a:pt x="63" y="244"/>
                      </a:lnTo>
                      <a:lnTo>
                        <a:pt x="63" y="243"/>
                      </a:lnTo>
                      <a:lnTo>
                        <a:pt x="63" y="243"/>
                      </a:lnTo>
                      <a:lnTo>
                        <a:pt x="63" y="243"/>
                      </a:lnTo>
                      <a:lnTo>
                        <a:pt x="64" y="243"/>
                      </a:lnTo>
                      <a:lnTo>
                        <a:pt x="63" y="243"/>
                      </a:lnTo>
                      <a:lnTo>
                        <a:pt x="64" y="243"/>
                      </a:lnTo>
                      <a:lnTo>
                        <a:pt x="64" y="242"/>
                      </a:lnTo>
                      <a:lnTo>
                        <a:pt x="63" y="242"/>
                      </a:lnTo>
                      <a:lnTo>
                        <a:pt x="64" y="242"/>
                      </a:lnTo>
                      <a:lnTo>
                        <a:pt x="64" y="241"/>
                      </a:lnTo>
                      <a:lnTo>
                        <a:pt x="64" y="242"/>
                      </a:lnTo>
                      <a:lnTo>
                        <a:pt x="64" y="241"/>
                      </a:lnTo>
                      <a:lnTo>
                        <a:pt x="65" y="241"/>
                      </a:lnTo>
                      <a:lnTo>
                        <a:pt x="64" y="241"/>
                      </a:lnTo>
                      <a:lnTo>
                        <a:pt x="65" y="241"/>
                      </a:lnTo>
                      <a:lnTo>
                        <a:pt x="65" y="242"/>
                      </a:lnTo>
                      <a:lnTo>
                        <a:pt x="64" y="242"/>
                      </a:lnTo>
                      <a:lnTo>
                        <a:pt x="65" y="242"/>
                      </a:lnTo>
                      <a:lnTo>
                        <a:pt x="64" y="242"/>
                      </a:lnTo>
                      <a:lnTo>
                        <a:pt x="65" y="242"/>
                      </a:lnTo>
                      <a:lnTo>
                        <a:pt x="65" y="243"/>
                      </a:lnTo>
                      <a:lnTo>
                        <a:pt x="64" y="243"/>
                      </a:lnTo>
                      <a:lnTo>
                        <a:pt x="64" y="242"/>
                      </a:lnTo>
                      <a:lnTo>
                        <a:pt x="64" y="243"/>
                      </a:lnTo>
                      <a:lnTo>
                        <a:pt x="65" y="243"/>
                      </a:lnTo>
                      <a:lnTo>
                        <a:pt x="65" y="242"/>
                      </a:lnTo>
                      <a:lnTo>
                        <a:pt x="65" y="243"/>
                      </a:lnTo>
                      <a:lnTo>
                        <a:pt x="65" y="242"/>
                      </a:lnTo>
                      <a:lnTo>
                        <a:pt x="65" y="243"/>
                      </a:lnTo>
                      <a:lnTo>
                        <a:pt x="65" y="242"/>
                      </a:lnTo>
                      <a:lnTo>
                        <a:pt x="65" y="243"/>
                      </a:lnTo>
                      <a:lnTo>
                        <a:pt x="65" y="243"/>
                      </a:lnTo>
                      <a:lnTo>
                        <a:pt x="65" y="243"/>
                      </a:lnTo>
                      <a:lnTo>
                        <a:pt x="65" y="243"/>
                      </a:lnTo>
                      <a:lnTo>
                        <a:pt x="65" y="243"/>
                      </a:lnTo>
                      <a:lnTo>
                        <a:pt x="66" y="243"/>
                      </a:lnTo>
                      <a:lnTo>
                        <a:pt x="65" y="243"/>
                      </a:lnTo>
                      <a:lnTo>
                        <a:pt x="65" y="242"/>
                      </a:lnTo>
                      <a:lnTo>
                        <a:pt x="65" y="241"/>
                      </a:lnTo>
                      <a:lnTo>
                        <a:pt x="65" y="242"/>
                      </a:lnTo>
                      <a:lnTo>
                        <a:pt x="65" y="241"/>
                      </a:lnTo>
                      <a:lnTo>
                        <a:pt x="65" y="241"/>
                      </a:lnTo>
                      <a:lnTo>
                        <a:pt x="65" y="241"/>
                      </a:lnTo>
                      <a:lnTo>
                        <a:pt x="65" y="242"/>
                      </a:lnTo>
                      <a:lnTo>
                        <a:pt x="65" y="242"/>
                      </a:lnTo>
                      <a:lnTo>
                        <a:pt x="65" y="241"/>
                      </a:lnTo>
                      <a:lnTo>
                        <a:pt x="65" y="242"/>
                      </a:lnTo>
                      <a:lnTo>
                        <a:pt x="65" y="241"/>
                      </a:lnTo>
                      <a:lnTo>
                        <a:pt x="65" y="242"/>
                      </a:lnTo>
                      <a:lnTo>
                        <a:pt x="65" y="241"/>
                      </a:lnTo>
                      <a:lnTo>
                        <a:pt x="65" y="242"/>
                      </a:lnTo>
                      <a:lnTo>
                        <a:pt x="65" y="241"/>
                      </a:lnTo>
                      <a:lnTo>
                        <a:pt x="65" y="241"/>
                      </a:lnTo>
                      <a:lnTo>
                        <a:pt x="65" y="241"/>
                      </a:lnTo>
                      <a:lnTo>
                        <a:pt x="64" y="241"/>
                      </a:lnTo>
                      <a:lnTo>
                        <a:pt x="64" y="241"/>
                      </a:lnTo>
                      <a:lnTo>
                        <a:pt x="63" y="241"/>
                      </a:lnTo>
                      <a:lnTo>
                        <a:pt x="64" y="241"/>
                      </a:lnTo>
                      <a:lnTo>
                        <a:pt x="63" y="240"/>
                      </a:lnTo>
                      <a:lnTo>
                        <a:pt x="63" y="240"/>
                      </a:lnTo>
                      <a:lnTo>
                        <a:pt x="64" y="240"/>
                      </a:lnTo>
                      <a:lnTo>
                        <a:pt x="64" y="239"/>
                      </a:lnTo>
                      <a:lnTo>
                        <a:pt x="65" y="239"/>
                      </a:lnTo>
                      <a:lnTo>
                        <a:pt x="64" y="239"/>
                      </a:lnTo>
                      <a:lnTo>
                        <a:pt x="65" y="239"/>
                      </a:lnTo>
                      <a:lnTo>
                        <a:pt x="65" y="240"/>
                      </a:lnTo>
                      <a:lnTo>
                        <a:pt x="65" y="240"/>
                      </a:lnTo>
                      <a:lnTo>
                        <a:pt x="65" y="240"/>
                      </a:lnTo>
                      <a:lnTo>
                        <a:pt x="65" y="240"/>
                      </a:lnTo>
                      <a:lnTo>
                        <a:pt x="65" y="240"/>
                      </a:lnTo>
                      <a:lnTo>
                        <a:pt x="65" y="240"/>
                      </a:lnTo>
                      <a:lnTo>
                        <a:pt x="65" y="240"/>
                      </a:lnTo>
                      <a:lnTo>
                        <a:pt x="65" y="240"/>
                      </a:lnTo>
                      <a:lnTo>
                        <a:pt x="65" y="240"/>
                      </a:lnTo>
                      <a:lnTo>
                        <a:pt x="65" y="240"/>
                      </a:lnTo>
                      <a:lnTo>
                        <a:pt x="65" y="239"/>
                      </a:lnTo>
                      <a:lnTo>
                        <a:pt x="65" y="240"/>
                      </a:lnTo>
                      <a:lnTo>
                        <a:pt x="66" y="240"/>
                      </a:lnTo>
                      <a:lnTo>
                        <a:pt x="66" y="239"/>
                      </a:lnTo>
                      <a:lnTo>
                        <a:pt x="65" y="239"/>
                      </a:lnTo>
                      <a:lnTo>
                        <a:pt x="66" y="239"/>
                      </a:lnTo>
                      <a:lnTo>
                        <a:pt x="66" y="240"/>
                      </a:lnTo>
                      <a:lnTo>
                        <a:pt x="66" y="239"/>
                      </a:lnTo>
                      <a:lnTo>
                        <a:pt x="65" y="239"/>
                      </a:lnTo>
                      <a:lnTo>
                        <a:pt x="65" y="238"/>
                      </a:lnTo>
                      <a:lnTo>
                        <a:pt x="65" y="239"/>
                      </a:lnTo>
                      <a:lnTo>
                        <a:pt x="65" y="238"/>
                      </a:lnTo>
                      <a:lnTo>
                        <a:pt x="65" y="239"/>
                      </a:lnTo>
                      <a:lnTo>
                        <a:pt x="66" y="239"/>
                      </a:lnTo>
                      <a:lnTo>
                        <a:pt x="66" y="238"/>
                      </a:lnTo>
                      <a:lnTo>
                        <a:pt x="66" y="239"/>
                      </a:lnTo>
                      <a:lnTo>
                        <a:pt x="66" y="238"/>
                      </a:lnTo>
                      <a:lnTo>
                        <a:pt x="65" y="238"/>
                      </a:lnTo>
                      <a:lnTo>
                        <a:pt x="65" y="239"/>
                      </a:lnTo>
                      <a:lnTo>
                        <a:pt x="65" y="238"/>
                      </a:lnTo>
                      <a:lnTo>
                        <a:pt x="65" y="238"/>
                      </a:lnTo>
                      <a:lnTo>
                        <a:pt x="65" y="238"/>
                      </a:lnTo>
                      <a:lnTo>
                        <a:pt x="65" y="237"/>
                      </a:lnTo>
                      <a:lnTo>
                        <a:pt x="65" y="238"/>
                      </a:lnTo>
                      <a:lnTo>
                        <a:pt x="65" y="237"/>
                      </a:lnTo>
                      <a:lnTo>
                        <a:pt x="66" y="237"/>
                      </a:lnTo>
                      <a:lnTo>
                        <a:pt x="65" y="237"/>
                      </a:lnTo>
                      <a:lnTo>
                        <a:pt x="66" y="237"/>
                      </a:lnTo>
                      <a:lnTo>
                        <a:pt x="66" y="237"/>
                      </a:lnTo>
                      <a:lnTo>
                        <a:pt x="66" y="237"/>
                      </a:lnTo>
                      <a:lnTo>
                        <a:pt x="66" y="237"/>
                      </a:lnTo>
                      <a:lnTo>
                        <a:pt x="66" y="238"/>
                      </a:lnTo>
                      <a:lnTo>
                        <a:pt x="66" y="238"/>
                      </a:lnTo>
                      <a:lnTo>
                        <a:pt x="66" y="238"/>
                      </a:lnTo>
                      <a:lnTo>
                        <a:pt x="66" y="238"/>
                      </a:lnTo>
                      <a:lnTo>
                        <a:pt x="66" y="238"/>
                      </a:lnTo>
                      <a:lnTo>
                        <a:pt x="66" y="238"/>
                      </a:lnTo>
                      <a:lnTo>
                        <a:pt x="66" y="238"/>
                      </a:lnTo>
                      <a:lnTo>
                        <a:pt x="65" y="238"/>
                      </a:lnTo>
                      <a:lnTo>
                        <a:pt x="65" y="238"/>
                      </a:lnTo>
                      <a:lnTo>
                        <a:pt x="65" y="238"/>
                      </a:lnTo>
                      <a:lnTo>
                        <a:pt x="66" y="238"/>
                      </a:lnTo>
                      <a:lnTo>
                        <a:pt x="65" y="238"/>
                      </a:lnTo>
                      <a:lnTo>
                        <a:pt x="66" y="238"/>
                      </a:lnTo>
                      <a:lnTo>
                        <a:pt x="66" y="238"/>
                      </a:lnTo>
                      <a:lnTo>
                        <a:pt x="66" y="238"/>
                      </a:lnTo>
                      <a:lnTo>
                        <a:pt x="66" y="238"/>
                      </a:lnTo>
                      <a:lnTo>
                        <a:pt x="67" y="238"/>
                      </a:lnTo>
                      <a:lnTo>
                        <a:pt x="67" y="238"/>
                      </a:lnTo>
                      <a:lnTo>
                        <a:pt x="67" y="237"/>
                      </a:lnTo>
                      <a:lnTo>
                        <a:pt x="68" y="237"/>
                      </a:lnTo>
                      <a:lnTo>
                        <a:pt x="68" y="236"/>
                      </a:lnTo>
                      <a:lnTo>
                        <a:pt x="69" y="236"/>
                      </a:lnTo>
                      <a:lnTo>
                        <a:pt x="69" y="235"/>
                      </a:lnTo>
                      <a:lnTo>
                        <a:pt x="69" y="235"/>
                      </a:lnTo>
                      <a:close/>
                      <a:moveTo>
                        <a:pt x="64" y="235"/>
                      </a:moveTo>
                      <a:lnTo>
                        <a:pt x="64" y="234"/>
                      </a:lnTo>
                      <a:lnTo>
                        <a:pt x="64" y="235"/>
                      </a:lnTo>
                      <a:close/>
                      <a:moveTo>
                        <a:pt x="66" y="234"/>
                      </a:moveTo>
                      <a:lnTo>
                        <a:pt x="66" y="235"/>
                      </a:lnTo>
                      <a:lnTo>
                        <a:pt x="66" y="234"/>
                      </a:lnTo>
                      <a:lnTo>
                        <a:pt x="66" y="235"/>
                      </a:lnTo>
                      <a:lnTo>
                        <a:pt x="66" y="234"/>
                      </a:lnTo>
                      <a:close/>
                      <a:moveTo>
                        <a:pt x="66" y="234"/>
                      </a:moveTo>
                      <a:lnTo>
                        <a:pt x="67" y="234"/>
                      </a:lnTo>
                      <a:lnTo>
                        <a:pt x="66" y="234"/>
                      </a:lnTo>
                      <a:close/>
                      <a:moveTo>
                        <a:pt x="67" y="234"/>
                      </a:moveTo>
                      <a:lnTo>
                        <a:pt x="67" y="234"/>
                      </a:lnTo>
                      <a:lnTo>
                        <a:pt x="67" y="234"/>
                      </a:lnTo>
                      <a:lnTo>
                        <a:pt x="67" y="234"/>
                      </a:lnTo>
                      <a:lnTo>
                        <a:pt x="67" y="234"/>
                      </a:lnTo>
                      <a:close/>
                      <a:moveTo>
                        <a:pt x="67" y="234"/>
                      </a:moveTo>
                      <a:lnTo>
                        <a:pt x="67" y="234"/>
                      </a:lnTo>
                      <a:lnTo>
                        <a:pt x="67" y="234"/>
                      </a:lnTo>
                      <a:close/>
                      <a:moveTo>
                        <a:pt x="68" y="233"/>
                      </a:moveTo>
                      <a:lnTo>
                        <a:pt x="68" y="234"/>
                      </a:lnTo>
                      <a:lnTo>
                        <a:pt x="68" y="233"/>
                      </a:lnTo>
                      <a:close/>
                      <a:moveTo>
                        <a:pt x="66" y="233"/>
                      </a:moveTo>
                      <a:lnTo>
                        <a:pt x="67" y="233"/>
                      </a:lnTo>
                      <a:lnTo>
                        <a:pt x="66" y="233"/>
                      </a:lnTo>
                      <a:close/>
                      <a:moveTo>
                        <a:pt x="70" y="233"/>
                      </a:moveTo>
                      <a:lnTo>
                        <a:pt x="70" y="233"/>
                      </a:lnTo>
                      <a:lnTo>
                        <a:pt x="70" y="233"/>
                      </a:lnTo>
                      <a:close/>
                      <a:moveTo>
                        <a:pt x="67" y="233"/>
                      </a:moveTo>
                      <a:lnTo>
                        <a:pt x="66" y="233"/>
                      </a:lnTo>
                      <a:lnTo>
                        <a:pt x="67" y="233"/>
                      </a:lnTo>
                      <a:close/>
                      <a:moveTo>
                        <a:pt x="70" y="233"/>
                      </a:moveTo>
                      <a:lnTo>
                        <a:pt x="70" y="233"/>
                      </a:lnTo>
                      <a:lnTo>
                        <a:pt x="70" y="233"/>
                      </a:lnTo>
                      <a:close/>
                      <a:moveTo>
                        <a:pt x="70" y="233"/>
                      </a:moveTo>
                      <a:lnTo>
                        <a:pt x="70" y="233"/>
                      </a:lnTo>
                      <a:lnTo>
                        <a:pt x="70" y="233"/>
                      </a:lnTo>
                      <a:close/>
                      <a:moveTo>
                        <a:pt x="68" y="233"/>
                      </a:moveTo>
                      <a:lnTo>
                        <a:pt x="69" y="233"/>
                      </a:lnTo>
                      <a:lnTo>
                        <a:pt x="68" y="233"/>
                      </a:lnTo>
                      <a:close/>
                      <a:moveTo>
                        <a:pt x="68" y="233"/>
                      </a:moveTo>
                      <a:lnTo>
                        <a:pt x="68" y="233"/>
                      </a:lnTo>
                      <a:lnTo>
                        <a:pt x="68" y="233"/>
                      </a:lnTo>
                      <a:close/>
                      <a:moveTo>
                        <a:pt x="69" y="233"/>
                      </a:moveTo>
                      <a:lnTo>
                        <a:pt x="69" y="232"/>
                      </a:lnTo>
                      <a:lnTo>
                        <a:pt x="69" y="233"/>
                      </a:lnTo>
                      <a:close/>
                      <a:moveTo>
                        <a:pt x="68" y="232"/>
                      </a:moveTo>
                      <a:lnTo>
                        <a:pt x="67" y="232"/>
                      </a:lnTo>
                      <a:lnTo>
                        <a:pt x="67" y="233"/>
                      </a:lnTo>
                      <a:lnTo>
                        <a:pt x="68" y="233"/>
                      </a:lnTo>
                      <a:lnTo>
                        <a:pt x="67" y="233"/>
                      </a:lnTo>
                      <a:lnTo>
                        <a:pt x="67" y="233"/>
                      </a:lnTo>
                      <a:lnTo>
                        <a:pt x="67" y="233"/>
                      </a:lnTo>
                      <a:lnTo>
                        <a:pt x="67" y="233"/>
                      </a:lnTo>
                      <a:lnTo>
                        <a:pt x="67" y="233"/>
                      </a:lnTo>
                      <a:lnTo>
                        <a:pt x="67" y="233"/>
                      </a:lnTo>
                      <a:lnTo>
                        <a:pt x="68" y="233"/>
                      </a:lnTo>
                      <a:lnTo>
                        <a:pt x="67" y="233"/>
                      </a:lnTo>
                      <a:lnTo>
                        <a:pt x="68" y="233"/>
                      </a:lnTo>
                      <a:lnTo>
                        <a:pt x="68" y="233"/>
                      </a:lnTo>
                      <a:lnTo>
                        <a:pt x="68" y="233"/>
                      </a:lnTo>
                      <a:lnTo>
                        <a:pt x="68" y="233"/>
                      </a:lnTo>
                      <a:lnTo>
                        <a:pt x="68" y="233"/>
                      </a:lnTo>
                      <a:lnTo>
                        <a:pt x="68" y="234"/>
                      </a:lnTo>
                      <a:lnTo>
                        <a:pt x="68" y="234"/>
                      </a:lnTo>
                      <a:lnTo>
                        <a:pt x="68" y="235"/>
                      </a:lnTo>
                      <a:lnTo>
                        <a:pt x="68" y="236"/>
                      </a:lnTo>
                      <a:lnTo>
                        <a:pt x="68" y="235"/>
                      </a:lnTo>
                      <a:lnTo>
                        <a:pt x="68" y="234"/>
                      </a:lnTo>
                      <a:lnTo>
                        <a:pt x="67" y="234"/>
                      </a:lnTo>
                      <a:lnTo>
                        <a:pt x="68" y="234"/>
                      </a:lnTo>
                      <a:lnTo>
                        <a:pt x="68" y="233"/>
                      </a:lnTo>
                      <a:lnTo>
                        <a:pt x="67" y="233"/>
                      </a:lnTo>
                      <a:lnTo>
                        <a:pt x="67" y="234"/>
                      </a:lnTo>
                      <a:lnTo>
                        <a:pt x="67" y="233"/>
                      </a:lnTo>
                      <a:lnTo>
                        <a:pt x="67" y="234"/>
                      </a:lnTo>
                      <a:lnTo>
                        <a:pt x="67" y="234"/>
                      </a:lnTo>
                      <a:lnTo>
                        <a:pt x="67" y="234"/>
                      </a:lnTo>
                      <a:lnTo>
                        <a:pt x="67" y="234"/>
                      </a:lnTo>
                      <a:lnTo>
                        <a:pt x="66" y="234"/>
                      </a:lnTo>
                      <a:lnTo>
                        <a:pt x="67" y="234"/>
                      </a:lnTo>
                      <a:lnTo>
                        <a:pt x="66" y="234"/>
                      </a:lnTo>
                      <a:lnTo>
                        <a:pt x="67" y="234"/>
                      </a:lnTo>
                      <a:lnTo>
                        <a:pt x="67" y="235"/>
                      </a:lnTo>
                      <a:lnTo>
                        <a:pt x="67" y="234"/>
                      </a:lnTo>
                      <a:lnTo>
                        <a:pt x="67" y="235"/>
                      </a:lnTo>
                      <a:lnTo>
                        <a:pt x="67" y="234"/>
                      </a:lnTo>
                      <a:lnTo>
                        <a:pt x="67" y="235"/>
                      </a:lnTo>
                      <a:lnTo>
                        <a:pt x="67" y="234"/>
                      </a:lnTo>
                      <a:lnTo>
                        <a:pt x="66" y="234"/>
                      </a:lnTo>
                      <a:lnTo>
                        <a:pt x="67" y="234"/>
                      </a:lnTo>
                      <a:lnTo>
                        <a:pt x="67" y="235"/>
                      </a:lnTo>
                      <a:lnTo>
                        <a:pt x="67" y="234"/>
                      </a:lnTo>
                      <a:lnTo>
                        <a:pt x="67" y="235"/>
                      </a:lnTo>
                      <a:lnTo>
                        <a:pt x="66" y="235"/>
                      </a:lnTo>
                      <a:lnTo>
                        <a:pt x="67" y="235"/>
                      </a:lnTo>
                      <a:lnTo>
                        <a:pt x="66" y="235"/>
                      </a:lnTo>
                      <a:lnTo>
                        <a:pt x="66" y="234"/>
                      </a:lnTo>
                      <a:lnTo>
                        <a:pt x="66" y="235"/>
                      </a:lnTo>
                      <a:lnTo>
                        <a:pt x="66" y="234"/>
                      </a:lnTo>
                      <a:lnTo>
                        <a:pt x="66" y="235"/>
                      </a:lnTo>
                      <a:lnTo>
                        <a:pt x="66" y="234"/>
                      </a:lnTo>
                      <a:lnTo>
                        <a:pt x="67" y="234"/>
                      </a:lnTo>
                      <a:lnTo>
                        <a:pt x="67" y="233"/>
                      </a:lnTo>
                      <a:lnTo>
                        <a:pt x="67" y="233"/>
                      </a:lnTo>
                      <a:lnTo>
                        <a:pt x="67" y="233"/>
                      </a:lnTo>
                      <a:lnTo>
                        <a:pt x="67" y="232"/>
                      </a:lnTo>
                      <a:lnTo>
                        <a:pt x="67" y="233"/>
                      </a:lnTo>
                      <a:lnTo>
                        <a:pt x="67" y="232"/>
                      </a:lnTo>
                      <a:lnTo>
                        <a:pt x="67" y="233"/>
                      </a:lnTo>
                      <a:lnTo>
                        <a:pt x="67" y="232"/>
                      </a:lnTo>
                      <a:lnTo>
                        <a:pt x="68" y="232"/>
                      </a:lnTo>
                      <a:lnTo>
                        <a:pt x="69" y="232"/>
                      </a:lnTo>
                      <a:lnTo>
                        <a:pt x="69" y="232"/>
                      </a:lnTo>
                      <a:lnTo>
                        <a:pt x="69" y="232"/>
                      </a:lnTo>
                      <a:lnTo>
                        <a:pt x="68" y="232"/>
                      </a:lnTo>
                      <a:close/>
                      <a:moveTo>
                        <a:pt x="68" y="233"/>
                      </a:moveTo>
                      <a:lnTo>
                        <a:pt x="67" y="233"/>
                      </a:lnTo>
                      <a:lnTo>
                        <a:pt x="68" y="233"/>
                      </a:lnTo>
                      <a:close/>
                      <a:moveTo>
                        <a:pt x="64" y="231"/>
                      </a:moveTo>
                      <a:lnTo>
                        <a:pt x="65" y="231"/>
                      </a:lnTo>
                      <a:lnTo>
                        <a:pt x="64" y="232"/>
                      </a:lnTo>
                      <a:lnTo>
                        <a:pt x="64" y="231"/>
                      </a:lnTo>
                      <a:close/>
                      <a:moveTo>
                        <a:pt x="70" y="231"/>
                      </a:moveTo>
                      <a:lnTo>
                        <a:pt x="69" y="231"/>
                      </a:lnTo>
                      <a:lnTo>
                        <a:pt x="70" y="231"/>
                      </a:lnTo>
                      <a:close/>
                      <a:moveTo>
                        <a:pt x="69" y="232"/>
                      </a:moveTo>
                      <a:lnTo>
                        <a:pt x="70" y="232"/>
                      </a:lnTo>
                      <a:lnTo>
                        <a:pt x="69" y="232"/>
                      </a:lnTo>
                      <a:lnTo>
                        <a:pt x="70" y="232"/>
                      </a:lnTo>
                      <a:lnTo>
                        <a:pt x="69" y="232"/>
                      </a:lnTo>
                      <a:lnTo>
                        <a:pt x="70" y="232"/>
                      </a:lnTo>
                      <a:lnTo>
                        <a:pt x="70" y="231"/>
                      </a:lnTo>
                      <a:lnTo>
                        <a:pt x="70" y="232"/>
                      </a:lnTo>
                      <a:lnTo>
                        <a:pt x="70" y="231"/>
                      </a:lnTo>
                      <a:lnTo>
                        <a:pt x="69" y="231"/>
                      </a:lnTo>
                      <a:lnTo>
                        <a:pt x="70" y="231"/>
                      </a:lnTo>
                      <a:lnTo>
                        <a:pt x="70" y="232"/>
                      </a:lnTo>
                      <a:lnTo>
                        <a:pt x="70" y="232"/>
                      </a:lnTo>
                      <a:lnTo>
                        <a:pt x="70" y="233"/>
                      </a:lnTo>
                      <a:lnTo>
                        <a:pt x="70" y="232"/>
                      </a:lnTo>
                      <a:lnTo>
                        <a:pt x="70" y="233"/>
                      </a:lnTo>
                      <a:lnTo>
                        <a:pt x="70" y="233"/>
                      </a:lnTo>
                      <a:lnTo>
                        <a:pt x="70" y="234"/>
                      </a:lnTo>
                      <a:lnTo>
                        <a:pt x="70" y="234"/>
                      </a:lnTo>
                      <a:lnTo>
                        <a:pt x="70" y="235"/>
                      </a:lnTo>
                      <a:lnTo>
                        <a:pt x="69" y="235"/>
                      </a:lnTo>
                      <a:lnTo>
                        <a:pt x="70" y="234"/>
                      </a:lnTo>
                      <a:lnTo>
                        <a:pt x="69" y="235"/>
                      </a:lnTo>
                      <a:lnTo>
                        <a:pt x="70" y="234"/>
                      </a:lnTo>
                      <a:lnTo>
                        <a:pt x="70" y="234"/>
                      </a:lnTo>
                      <a:lnTo>
                        <a:pt x="69" y="234"/>
                      </a:lnTo>
                      <a:lnTo>
                        <a:pt x="70" y="233"/>
                      </a:lnTo>
                      <a:lnTo>
                        <a:pt x="70" y="233"/>
                      </a:lnTo>
                      <a:lnTo>
                        <a:pt x="70" y="232"/>
                      </a:lnTo>
                      <a:lnTo>
                        <a:pt x="69" y="232"/>
                      </a:lnTo>
                      <a:lnTo>
                        <a:pt x="69" y="232"/>
                      </a:lnTo>
                      <a:lnTo>
                        <a:pt x="69" y="232"/>
                      </a:lnTo>
                      <a:lnTo>
                        <a:pt x="69" y="232"/>
                      </a:lnTo>
                      <a:lnTo>
                        <a:pt x="69" y="232"/>
                      </a:lnTo>
                      <a:lnTo>
                        <a:pt x="69" y="232"/>
                      </a:lnTo>
                      <a:lnTo>
                        <a:pt x="69" y="232"/>
                      </a:lnTo>
                      <a:lnTo>
                        <a:pt x="69" y="232"/>
                      </a:lnTo>
                      <a:lnTo>
                        <a:pt x="69" y="232"/>
                      </a:lnTo>
                      <a:lnTo>
                        <a:pt x="69" y="232"/>
                      </a:lnTo>
                      <a:lnTo>
                        <a:pt x="69" y="232"/>
                      </a:lnTo>
                      <a:lnTo>
                        <a:pt x="69" y="232"/>
                      </a:lnTo>
                      <a:lnTo>
                        <a:pt x="69" y="232"/>
                      </a:lnTo>
                      <a:lnTo>
                        <a:pt x="70" y="232"/>
                      </a:lnTo>
                      <a:lnTo>
                        <a:pt x="69" y="232"/>
                      </a:lnTo>
                      <a:lnTo>
                        <a:pt x="69" y="232"/>
                      </a:lnTo>
                      <a:lnTo>
                        <a:pt x="69" y="231"/>
                      </a:lnTo>
                      <a:lnTo>
                        <a:pt x="69" y="231"/>
                      </a:lnTo>
                      <a:lnTo>
                        <a:pt x="69" y="231"/>
                      </a:lnTo>
                      <a:lnTo>
                        <a:pt x="69" y="232"/>
                      </a:lnTo>
                      <a:lnTo>
                        <a:pt x="69" y="231"/>
                      </a:lnTo>
                      <a:lnTo>
                        <a:pt x="69" y="231"/>
                      </a:lnTo>
                      <a:lnTo>
                        <a:pt x="69" y="232"/>
                      </a:lnTo>
                      <a:close/>
                      <a:moveTo>
                        <a:pt x="69" y="230"/>
                      </a:moveTo>
                      <a:lnTo>
                        <a:pt x="69" y="230"/>
                      </a:lnTo>
                      <a:lnTo>
                        <a:pt x="69" y="230"/>
                      </a:lnTo>
                      <a:close/>
                      <a:moveTo>
                        <a:pt x="121" y="229"/>
                      </a:moveTo>
                      <a:lnTo>
                        <a:pt x="121" y="229"/>
                      </a:lnTo>
                      <a:lnTo>
                        <a:pt x="121" y="229"/>
                      </a:lnTo>
                      <a:close/>
                      <a:moveTo>
                        <a:pt x="74" y="228"/>
                      </a:moveTo>
                      <a:lnTo>
                        <a:pt x="73" y="228"/>
                      </a:lnTo>
                      <a:lnTo>
                        <a:pt x="74" y="229"/>
                      </a:lnTo>
                      <a:lnTo>
                        <a:pt x="74" y="228"/>
                      </a:lnTo>
                      <a:lnTo>
                        <a:pt x="74" y="228"/>
                      </a:lnTo>
                      <a:lnTo>
                        <a:pt x="74" y="229"/>
                      </a:lnTo>
                      <a:lnTo>
                        <a:pt x="74" y="229"/>
                      </a:lnTo>
                      <a:lnTo>
                        <a:pt x="74" y="229"/>
                      </a:lnTo>
                      <a:lnTo>
                        <a:pt x="74" y="228"/>
                      </a:lnTo>
                      <a:lnTo>
                        <a:pt x="74" y="228"/>
                      </a:lnTo>
                      <a:lnTo>
                        <a:pt x="74" y="228"/>
                      </a:lnTo>
                      <a:lnTo>
                        <a:pt x="74" y="228"/>
                      </a:lnTo>
                      <a:lnTo>
                        <a:pt x="74" y="228"/>
                      </a:lnTo>
                      <a:lnTo>
                        <a:pt x="74" y="228"/>
                      </a:lnTo>
                      <a:lnTo>
                        <a:pt x="74" y="227"/>
                      </a:lnTo>
                      <a:lnTo>
                        <a:pt x="74" y="227"/>
                      </a:lnTo>
                      <a:lnTo>
                        <a:pt x="74" y="227"/>
                      </a:lnTo>
                      <a:lnTo>
                        <a:pt x="74" y="228"/>
                      </a:lnTo>
                      <a:lnTo>
                        <a:pt x="74" y="227"/>
                      </a:lnTo>
                      <a:lnTo>
                        <a:pt x="74" y="228"/>
                      </a:lnTo>
                      <a:lnTo>
                        <a:pt x="75" y="228"/>
                      </a:lnTo>
                      <a:lnTo>
                        <a:pt x="75" y="229"/>
                      </a:lnTo>
                      <a:lnTo>
                        <a:pt x="76" y="229"/>
                      </a:lnTo>
                      <a:lnTo>
                        <a:pt x="75" y="229"/>
                      </a:lnTo>
                      <a:lnTo>
                        <a:pt x="75" y="229"/>
                      </a:lnTo>
                      <a:lnTo>
                        <a:pt x="75" y="230"/>
                      </a:lnTo>
                      <a:lnTo>
                        <a:pt x="74" y="230"/>
                      </a:lnTo>
                      <a:lnTo>
                        <a:pt x="74" y="230"/>
                      </a:lnTo>
                      <a:lnTo>
                        <a:pt x="74" y="231"/>
                      </a:lnTo>
                      <a:lnTo>
                        <a:pt x="73" y="230"/>
                      </a:lnTo>
                      <a:lnTo>
                        <a:pt x="73" y="230"/>
                      </a:lnTo>
                      <a:lnTo>
                        <a:pt x="72" y="231"/>
                      </a:lnTo>
                      <a:lnTo>
                        <a:pt x="72" y="231"/>
                      </a:lnTo>
                      <a:lnTo>
                        <a:pt x="71" y="230"/>
                      </a:lnTo>
                      <a:lnTo>
                        <a:pt x="72" y="230"/>
                      </a:lnTo>
                      <a:lnTo>
                        <a:pt x="71" y="230"/>
                      </a:lnTo>
                      <a:lnTo>
                        <a:pt x="72" y="231"/>
                      </a:lnTo>
                      <a:lnTo>
                        <a:pt x="71" y="232"/>
                      </a:lnTo>
                      <a:lnTo>
                        <a:pt x="70" y="232"/>
                      </a:lnTo>
                      <a:lnTo>
                        <a:pt x="71" y="232"/>
                      </a:lnTo>
                      <a:lnTo>
                        <a:pt x="70" y="232"/>
                      </a:lnTo>
                      <a:lnTo>
                        <a:pt x="70" y="232"/>
                      </a:lnTo>
                      <a:lnTo>
                        <a:pt x="70" y="232"/>
                      </a:lnTo>
                      <a:lnTo>
                        <a:pt x="70" y="231"/>
                      </a:lnTo>
                      <a:lnTo>
                        <a:pt x="70" y="231"/>
                      </a:lnTo>
                      <a:lnTo>
                        <a:pt x="70" y="230"/>
                      </a:lnTo>
                      <a:lnTo>
                        <a:pt x="70" y="231"/>
                      </a:lnTo>
                      <a:lnTo>
                        <a:pt x="70" y="231"/>
                      </a:lnTo>
                      <a:lnTo>
                        <a:pt x="69" y="231"/>
                      </a:lnTo>
                      <a:lnTo>
                        <a:pt x="69" y="230"/>
                      </a:lnTo>
                      <a:lnTo>
                        <a:pt x="70" y="230"/>
                      </a:lnTo>
                      <a:lnTo>
                        <a:pt x="70" y="230"/>
                      </a:lnTo>
                      <a:lnTo>
                        <a:pt x="70" y="229"/>
                      </a:lnTo>
                      <a:lnTo>
                        <a:pt x="71" y="229"/>
                      </a:lnTo>
                      <a:lnTo>
                        <a:pt x="70" y="229"/>
                      </a:lnTo>
                      <a:lnTo>
                        <a:pt x="70" y="230"/>
                      </a:lnTo>
                      <a:lnTo>
                        <a:pt x="71" y="230"/>
                      </a:lnTo>
                      <a:lnTo>
                        <a:pt x="71" y="230"/>
                      </a:lnTo>
                      <a:lnTo>
                        <a:pt x="71" y="230"/>
                      </a:lnTo>
                      <a:lnTo>
                        <a:pt x="70" y="230"/>
                      </a:lnTo>
                      <a:lnTo>
                        <a:pt x="70" y="229"/>
                      </a:lnTo>
                      <a:lnTo>
                        <a:pt x="71" y="229"/>
                      </a:lnTo>
                      <a:lnTo>
                        <a:pt x="72" y="229"/>
                      </a:lnTo>
                      <a:lnTo>
                        <a:pt x="72" y="229"/>
                      </a:lnTo>
                      <a:lnTo>
                        <a:pt x="72" y="229"/>
                      </a:lnTo>
                      <a:lnTo>
                        <a:pt x="73" y="229"/>
                      </a:lnTo>
                      <a:lnTo>
                        <a:pt x="73" y="228"/>
                      </a:lnTo>
                      <a:lnTo>
                        <a:pt x="73" y="227"/>
                      </a:lnTo>
                      <a:lnTo>
                        <a:pt x="74" y="227"/>
                      </a:lnTo>
                      <a:lnTo>
                        <a:pt x="74" y="228"/>
                      </a:lnTo>
                      <a:lnTo>
                        <a:pt x="74" y="228"/>
                      </a:lnTo>
                      <a:close/>
                      <a:moveTo>
                        <a:pt x="70" y="230"/>
                      </a:moveTo>
                      <a:lnTo>
                        <a:pt x="71" y="230"/>
                      </a:lnTo>
                      <a:lnTo>
                        <a:pt x="70" y="230"/>
                      </a:lnTo>
                      <a:close/>
                      <a:moveTo>
                        <a:pt x="107" y="227"/>
                      </a:moveTo>
                      <a:lnTo>
                        <a:pt x="107" y="227"/>
                      </a:lnTo>
                      <a:lnTo>
                        <a:pt x="107" y="227"/>
                      </a:lnTo>
                      <a:lnTo>
                        <a:pt x="107" y="227"/>
                      </a:lnTo>
                      <a:lnTo>
                        <a:pt x="107" y="227"/>
                      </a:lnTo>
                      <a:lnTo>
                        <a:pt x="107" y="227"/>
                      </a:lnTo>
                      <a:lnTo>
                        <a:pt x="107" y="227"/>
                      </a:lnTo>
                      <a:lnTo>
                        <a:pt x="107" y="227"/>
                      </a:lnTo>
                      <a:lnTo>
                        <a:pt x="107" y="227"/>
                      </a:lnTo>
                      <a:close/>
                      <a:moveTo>
                        <a:pt x="106" y="227"/>
                      </a:moveTo>
                      <a:lnTo>
                        <a:pt x="106" y="227"/>
                      </a:lnTo>
                      <a:lnTo>
                        <a:pt x="106" y="227"/>
                      </a:lnTo>
                      <a:lnTo>
                        <a:pt x="106" y="227"/>
                      </a:lnTo>
                      <a:lnTo>
                        <a:pt x="106" y="227"/>
                      </a:lnTo>
                      <a:lnTo>
                        <a:pt x="106" y="227"/>
                      </a:lnTo>
                      <a:lnTo>
                        <a:pt x="106" y="227"/>
                      </a:lnTo>
                      <a:lnTo>
                        <a:pt x="106" y="227"/>
                      </a:lnTo>
                      <a:close/>
                      <a:moveTo>
                        <a:pt x="111" y="227"/>
                      </a:moveTo>
                      <a:lnTo>
                        <a:pt x="111" y="227"/>
                      </a:lnTo>
                      <a:lnTo>
                        <a:pt x="111" y="227"/>
                      </a:lnTo>
                      <a:lnTo>
                        <a:pt x="111" y="227"/>
                      </a:lnTo>
                      <a:lnTo>
                        <a:pt x="111" y="227"/>
                      </a:lnTo>
                      <a:lnTo>
                        <a:pt x="111" y="227"/>
                      </a:lnTo>
                      <a:lnTo>
                        <a:pt x="112" y="227"/>
                      </a:lnTo>
                      <a:lnTo>
                        <a:pt x="111" y="227"/>
                      </a:lnTo>
                      <a:lnTo>
                        <a:pt x="112" y="227"/>
                      </a:lnTo>
                      <a:lnTo>
                        <a:pt x="111" y="227"/>
                      </a:lnTo>
                      <a:lnTo>
                        <a:pt x="111" y="227"/>
                      </a:lnTo>
                      <a:close/>
                      <a:moveTo>
                        <a:pt x="76" y="228"/>
                      </a:moveTo>
                      <a:lnTo>
                        <a:pt x="76" y="229"/>
                      </a:lnTo>
                      <a:lnTo>
                        <a:pt x="75" y="229"/>
                      </a:lnTo>
                      <a:lnTo>
                        <a:pt x="76" y="229"/>
                      </a:lnTo>
                      <a:lnTo>
                        <a:pt x="76" y="228"/>
                      </a:lnTo>
                      <a:lnTo>
                        <a:pt x="76" y="229"/>
                      </a:lnTo>
                      <a:lnTo>
                        <a:pt x="76" y="229"/>
                      </a:lnTo>
                      <a:lnTo>
                        <a:pt x="76" y="229"/>
                      </a:lnTo>
                      <a:lnTo>
                        <a:pt x="75" y="229"/>
                      </a:lnTo>
                      <a:lnTo>
                        <a:pt x="75" y="228"/>
                      </a:lnTo>
                      <a:lnTo>
                        <a:pt x="74" y="228"/>
                      </a:lnTo>
                      <a:lnTo>
                        <a:pt x="74" y="227"/>
                      </a:lnTo>
                      <a:lnTo>
                        <a:pt x="74" y="227"/>
                      </a:lnTo>
                      <a:lnTo>
                        <a:pt x="74" y="227"/>
                      </a:lnTo>
                      <a:lnTo>
                        <a:pt x="74" y="227"/>
                      </a:lnTo>
                      <a:lnTo>
                        <a:pt x="75" y="227"/>
                      </a:lnTo>
                      <a:lnTo>
                        <a:pt x="76" y="227"/>
                      </a:lnTo>
                      <a:lnTo>
                        <a:pt x="75" y="227"/>
                      </a:lnTo>
                      <a:lnTo>
                        <a:pt x="76" y="227"/>
                      </a:lnTo>
                      <a:lnTo>
                        <a:pt x="76" y="227"/>
                      </a:lnTo>
                      <a:lnTo>
                        <a:pt x="76" y="227"/>
                      </a:lnTo>
                      <a:lnTo>
                        <a:pt x="76" y="228"/>
                      </a:lnTo>
                      <a:lnTo>
                        <a:pt x="76" y="227"/>
                      </a:lnTo>
                      <a:lnTo>
                        <a:pt x="76" y="228"/>
                      </a:lnTo>
                      <a:lnTo>
                        <a:pt x="75" y="228"/>
                      </a:lnTo>
                      <a:lnTo>
                        <a:pt x="76" y="228"/>
                      </a:lnTo>
                      <a:close/>
                      <a:moveTo>
                        <a:pt x="104" y="227"/>
                      </a:moveTo>
                      <a:lnTo>
                        <a:pt x="104" y="226"/>
                      </a:lnTo>
                      <a:lnTo>
                        <a:pt x="104" y="227"/>
                      </a:lnTo>
                      <a:lnTo>
                        <a:pt x="105" y="227"/>
                      </a:lnTo>
                      <a:lnTo>
                        <a:pt x="104" y="227"/>
                      </a:lnTo>
                      <a:close/>
                      <a:moveTo>
                        <a:pt x="112" y="226"/>
                      </a:moveTo>
                      <a:lnTo>
                        <a:pt x="113" y="226"/>
                      </a:lnTo>
                      <a:lnTo>
                        <a:pt x="113" y="227"/>
                      </a:lnTo>
                      <a:lnTo>
                        <a:pt x="112" y="227"/>
                      </a:lnTo>
                      <a:lnTo>
                        <a:pt x="113" y="227"/>
                      </a:lnTo>
                      <a:lnTo>
                        <a:pt x="112" y="227"/>
                      </a:lnTo>
                      <a:lnTo>
                        <a:pt x="113" y="227"/>
                      </a:lnTo>
                      <a:lnTo>
                        <a:pt x="112" y="227"/>
                      </a:lnTo>
                      <a:lnTo>
                        <a:pt x="113" y="227"/>
                      </a:lnTo>
                      <a:lnTo>
                        <a:pt x="112" y="227"/>
                      </a:lnTo>
                      <a:lnTo>
                        <a:pt x="113" y="227"/>
                      </a:lnTo>
                      <a:lnTo>
                        <a:pt x="112" y="227"/>
                      </a:lnTo>
                      <a:lnTo>
                        <a:pt x="113" y="227"/>
                      </a:lnTo>
                      <a:lnTo>
                        <a:pt x="112" y="227"/>
                      </a:lnTo>
                      <a:lnTo>
                        <a:pt x="113" y="227"/>
                      </a:lnTo>
                      <a:lnTo>
                        <a:pt x="112" y="226"/>
                      </a:lnTo>
                      <a:lnTo>
                        <a:pt x="112" y="227"/>
                      </a:lnTo>
                      <a:lnTo>
                        <a:pt x="112" y="226"/>
                      </a:lnTo>
                      <a:lnTo>
                        <a:pt x="112" y="227"/>
                      </a:lnTo>
                      <a:lnTo>
                        <a:pt x="112" y="226"/>
                      </a:lnTo>
                      <a:close/>
                      <a:moveTo>
                        <a:pt x="103" y="226"/>
                      </a:moveTo>
                      <a:lnTo>
                        <a:pt x="103" y="226"/>
                      </a:lnTo>
                      <a:lnTo>
                        <a:pt x="103" y="226"/>
                      </a:lnTo>
                      <a:close/>
                      <a:moveTo>
                        <a:pt x="102" y="226"/>
                      </a:moveTo>
                      <a:lnTo>
                        <a:pt x="101" y="226"/>
                      </a:lnTo>
                      <a:lnTo>
                        <a:pt x="102" y="226"/>
                      </a:lnTo>
                      <a:close/>
                      <a:moveTo>
                        <a:pt x="690" y="226"/>
                      </a:moveTo>
                      <a:lnTo>
                        <a:pt x="690" y="226"/>
                      </a:lnTo>
                      <a:lnTo>
                        <a:pt x="690" y="225"/>
                      </a:lnTo>
                      <a:lnTo>
                        <a:pt x="690" y="226"/>
                      </a:lnTo>
                      <a:lnTo>
                        <a:pt x="690" y="225"/>
                      </a:lnTo>
                      <a:lnTo>
                        <a:pt x="690" y="225"/>
                      </a:lnTo>
                      <a:lnTo>
                        <a:pt x="690" y="226"/>
                      </a:lnTo>
                      <a:close/>
                      <a:moveTo>
                        <a:pt x="104" y="226"/>
                      </a:moveTo>
                      <a:lnTo>
                        <a:pt x="104" y="226"/>
                      </a:lnTo>
                      <a:lnTo>
                        <a:pt x="104" y="226"/>
                      </a:lnTo>
                      <a:lnTo>
                        <a:pt x="103" y="226"/>
                      </a:lnTo>
                      <a:lnTo>
                        <a:pt x="103" y="225"/>
                      </a:lnTo>
                      <a:lnTo>
                        <a:pt x="103" y="225"/>
                      </a:lnTo>
                      <a:lnTo>
                        <a:pt x="103" y="225"/>
                      </a:lnTo>
                      <a:lnTo>
                        <a:pt x="104" y="225"/>
                      </a:lnTo>
                      <a:lnTo>
                        <a:pt x="104" y="225"/>
                      </a:lnTo>
                      <a:lnTo>
                        <a:pt x="104" y="225"/>
                      </a:lnTo>
                      <a:lnTo>
                        <a:pt x="104" y="225"/>
                      </a:lnTo>
                      <a:lnTo>
                        <a:pt x="104" y="225"/>
                      </a:lnTo>
                      <a:lnTo>
                        <a:pt x="104" y="225"/>
                      </a:lnTo>
                      <a:lnTo>
                        <a:pt x="104" y="225"/>
                      </a:lnTo>
                      <a:lnTo>
                        <a:pt x="104" y="226"/>
                      </a:lnTo>
                      <a:close/>
                      <a:moveTo>
                        <a:pt x="111" y="225"/>
                      </a:moveTo>
                      <a:lnTo>
                        <a:pt x="110" y="225"/>
                      </a:lnTo>
                      <a:lnTo>
                        <a:pt x="110" y="225"/>
                      </a:lnTo>
                      <a:lnTo>
                        <a:pt x="109" y="225"/>
                      </a:lnTo>
                      <a:lnTo>
                        <a:pt x="110" y="225"/>
                      </a:lnTo>
                      <a:lnTo>
                        <a:pt x="109" y="226"/>
                      </a:lnTo>
                      <a:lnTo>
                        <a:pt x="109" y="226"/>
                      </a:lnTo>
                      <a:lnTo>
                        <a:pt x="109" y="226"/>
                      </a:lnTo>
                      <a:lnTo>
                        <a:pt x="109" y="226"/>
                      </a:lnTo>
                      <a:lnTo>
                        <a:pt x="108" y="226"/>
                      </a:lnTo>
                      <a:lnTo>
                        <a:pt x="108" y="225"/>
                      </a:lnTo>
                      <a:lnTo>
                        <a:pt x="108" y="226"/>
                      </a:lnTo>
                      <a:lnTo>
                        <a:pt x="108" y="225"/>
                      </a:lnTo>
                      <a:lnTo>
                        <a:pt x="109" y="225"/>
                      </a:lnTo>
                      <a:lnTo>
                        <a:pt x="109" y="225"/>
                      </a:lnTo>
                      <a:lnTo>
                        <a:pt x="110" y="225"/>
                      </a:lnTo>
                      <a:lnTo>
                        <a:pt x="110" y="225"/>
                      </a:lnTo>
                      <a:lnTo>
                        <a:pt x="111" y="225"/>
                      </a:lnTo>
                      <a:close/>
                      <a:moveTo>
                        <a:pt x="106" y="225"/>
                      </a:moveTo>
                      <a:lnTo>
                        <a:pt x="106" y="225"/>
                      </a:lnTo>
                      <a:lnTo>
                        <a:pt x="106" y="225"/>
                      </a:lnTo>
                      <a:close/>
                      <a:moveTo>
                        <a:pt x="104" y="225"/>
                      </a:moveTo>
                      <a:lnTo>
                        <a:pt x="104" y="225"/>
                      </a:lnTo>
                      <a:lnTo>
                        <a:pt x="104" y="225"/>
                      </a:lnTo>
                      <a:close/>
                      <a:moveTo>
                        <a:pt x="104" y="225"/>
                      </a:moveTo>
                      <a:lnTo>
                        <a:pt x="104" y="225"/>
                      </a:lnTo>
                      <a:lnTo>
                        <a:pt x="104" y="225"/>
                      </a:lnTo>
                      <a:lnTo>
                        <a:pt x="104" y="225"/>
                      </a:lnTo>
                      <a:lnTo>
                        <a:pt x="104" y="225"/>
                      </a:lnTo>
                      <a:lnTo>
                        <a:pt x="104" y="225"/>
                      </a:lnTo>
                      <a:lnTo>
                        <a:pt x="104" y="225"/>
                      </a:lnTo>
                      <a:lnTo>
                        <a:pt x="104" y="225"/>
                      </a:lnTo>
                      <a:lnTo>
                        <a:pt x="104" y="225"/>
                      </a:lnTo>
                      <a:lnTo>
                        <a:pt x="104" y="225"/>
                      </a:lnTo>
                      <a:lnTo>
                        <a:pt x="104" y="225"/>
                      </a:lnTo>
                      <a:lnTo>
                        <a:pt x="104" y="225"/>
                      </a:lnTo>
                      <a:lnTo>
                        <a:pt x="104" y="225"/>
                      </a:lnTo>
                      <a:lnTo>
                        <a:pt x="103" y="225"/>
                      </a:lnTo>
                      <a:lnTo>
                        <a:pt x="103" y="225"/>
                      </a:lnTo>
                      <a:lnTo>
                        <a:pt x="104" y="225"/>
                      </a:lnTo>
                      <a:lnTo>
                        <a:pt x="104" y="225"/>
                      </a:lnTo>
                      <a:close/>
                      <a:moveTo>
                        <a:pt x="103" y="226"/>
                      </a:moveTo>
                      <a:lnTo>
                        <a:pt x="102" y="226"/>
                      </a:lnTo>
                      <a:lnTo>
                        <a:pt x="103" y="226"/>
                      </a:lnTo>
                      <a:lnTo>
                        <a:pt x="103" y="226"/>
                      </a:lnTo>
                      <a:lnTo>
                        <a:pt x="103" y="226"/>
                      </a:lnTo>
                      <a:lnTo>
                        <a:pt x="103" y="226"/>
                      </a:lnTo>
                      <a:lnTo>
                        <a:pt x="103" y="226"/>
                      </a:lnTo>
                      <a:lnTo>
                        <a:pt x="103" y="226"/>
                      </a:lnTo>
                      <a:lnTo>
                        <a:pt x="103" y="226"/>
                      </a:lnTo>
                      <a:lnTo>
                        <a:pt x="103" y="226"/>
                      </a:lnTo>
                      <a:lnTo>
                        <a:pt x="103" y="226"/>
                      </a:lnTo>
                      <a:lnTo>
                        <a:pt x="102" y="226"/>
                      </a:lnTo>
                      <a:lnTo>
                        <a:pt x="103" y="226"/>
                      </a:lnTo>
                      <a:lnTo>
                        <a:pt x="103" y="226"/>
                      </a:lnTo>
                      <a:lnTo>
                        <a:pt x="102" y="226"/>
                      </a:lnTo>
                      <a:lnTo>
                        <a:pt x="102" y="226"/>
                      </a:lnTo>
                      <a:lnTo>
                        <a:pt x="102" y="226"/>
                      </a:lnTo>
                      <a:lnTo>
                        <a:pt x="102" y="226"/>
                      </a:lnTo>
                      <a:lnTo>
                        <a:pt x="102" y="226"/>
                      </a:lnTo>
                      <a:lnTo>
                        <a:pt x="101" y="226"/>
                      </a:lnTo>
                      <a:lnTo>
                        <a:pt x="102" y="226"/>
                      </a:lnTo>
                      <a:lnTo>
                        <a:pt x="101" y="226"/>
                      </a:lnTo>
                      <a:lnTo>
                        <a:pt x="100" y="226"/>
                      </a:lnTo>
                      <a:lnTo>
                        <a:pt x="101" y="226"/>
                      </a:lnTo>
                      <a:lnTo>
                        <a:pt x="100" y="226"/>
                      </a:lnTo>
                      <a:lnTo>
                        <a:pt x="101" y="226"/>
                      </a:lnTo>
                      <a:lnTo>
                        <a:pt x="101" y="225"/>
                      </a:lnTo>
                      <a:lnTo>
                        <a:pt x="100" y="225"/>
                      </a:lnTo>
                      <a:lnTo>
                        <a:pt x="101" y="225"/>
                      </a:lnTo>
                      <a:lnTo>
                        <a:pt x="100" y="225"/>
                      </a:lnTo>
                      <a:lnTo>
                        <a:pt x="100" y="225"/>
                      </a:lnTo>
                      <a:lnTo>
                        <a:pt x="101" y="225"/>
                      </a:lnTo>
                      <a:lnTo>
                        <a:pt x="102" y="225"/>
                      </a:lnTo>
                      <a:lnTo>
                        <a:pt x="102" y="225"/>
                      </a:lnTo>
                      <a:lnTo>
                        <a:pt x="102" y="225"/>
                      </a:lnTo>
                      <a:lnTo>
                        <a:pt x="103" y="225"/>
                      </a:lnTo>
                      <a:lnTo>
                        <a:pt x="103" y="226"/>
                      </a:lnTo>
                      <a:lnTo>
                        <a:pt x="103" y="226"/>
                      </a:lnTo>
                      <a:lnTo>
                        <a:pt x="103" y="226"/>
                      </a:lnTo>
                      <a:lnTo>
                        <a:pt x="103" y="226"/>
                      </a:lnTo>
                      <a:lnTo>
                        <a:pt x="103" y="226"/>
                      </a:lnTo>
                      <a:close/>
                      <a:moveTo>
                        <a:pt x="98" y="225"/>
                      </a:moveTo>
                      <a:lnTo>
                        <a:pt x="98" y="225"/>
                      </a:lnTo>
                      <a:lnTo>
                        <a:pt x="98" y="225"/>
                      </a:lnTo>
                      <a:close/>
                      <a:moveTo>
                        <a:pt x="103" y="224"/>
                      </a:moveTo>
                      <a:lnTo>
                        <a:pt x="104" y="225"/>
                      </a:lnTo>
                      <a:lnTo>
                        <a:pt x="104" y="225"/>
                      </a:lnTo>
                      <a:lnTo>
                        <a:pt x="104" y="225"/>
                      </a:lnTo>
                      <a:lnTo>
                        <a:pt x="103" y="225"/>
                      </a:lnTo>
                      <a:lnTo>
                        <a:pt x="103" y="224"/>
                      </a:lnTo>
                      <a:lnTo>
                        <a:pt x="104" y="224"/>
                      </a:lnTo>
                      <a:lnTo>
                        <a:pt x="103" y="224"/>
                      </a:lnTo>
                      <a:close/>
                      <a:moveTo>
                        <a:pt x="100" y="225"/>
                      </a:moveTo>
                      <a:lnTo>
                        <a:pt x="100" y="225"/>
                      </a:lnTo>
                      <a:lnTo>
                        <a:pt x="100" y="225"/>
                      </a:lnTo>
                      <a:lnTo>
                        <a:pt x="100" y="225"/>
                      </a:lnTo>
                      <a:lnTo>
                        <a:pt x="100" y="225"/>
                      </a:lnTo>
                      <a:lnTo>
                        <a:pt x="100" y="225"/>
                      </a:lnTo>
                      <a:lnTo>
                        <a:pt x="100" y="225"/>
                      </a:lnTo>
                      <a:lnTo>
                        <a:pt x="100" y="225"/>
                      </a:lnTo>
                      <a:lnTo>
                        <a:pt x="100" y="225"/>
                      </a:lnTo>
                      <a:lnTo>
                        <a:pt x="100" y="224"/>
                      </a:lnTo>
                      <a:lnTo>
                        <a:pt x="100" y="225"/>
                      </a:lnTo>
                      <a:lnTo>
                        <a:pt x="100" y="225"/>
                      </a:lnTo>
                      <a:lnTo>
                        <a:pt x="100" y="225"/>
                      </a:lnTo>
                      <a:close/>
                      <a:moveTo>
                        <a:pt x="113" y="224"/>
                      </a:moveTo>
                      <a:lnTo>
                        <a:pt x="112" y="224"/>
                      </a:lnTo>
                      <a:lnTo>
                        <a:pt x="113" y="224"/>
                      </a:lnTo>
                      <a:close/>
                      <a:moveTo>
                        <a:pt x="97" y="224"/>
                      </a:moveTo>
                      <a:lnTo>
                        <a:pt x="98" y="224"/>
                      </a:lnTo>
                      <a:lnTo>
                        <a:pt x="97" y="224"/>
                      </a:lnTo>
                      <a:lnTo>
                        <a:pt x="98" y="224"/>
                      </a:lnTo>
                      <a:lnTo>
                        <a:pt x="98" y="224"/>
                      </a:lnTo>
                      <a:lnTo>
                        <a:pt x="98" y="225"/>
                      </a:lnTo>
                      <a:lnTo>
                        <a:pt x="98" y="224"/>
                      </a:lnTo>
                      <a:lnTo>
                        <a:pt x="98" y="225"/>
                      </a:lnTo>
                      <a:lnTo>
                        <a:pt x="98" y="224"/>
                      </a:lnTo>
                      <a:lnTo>
                        <a:pt x="98" y="224"/>
                      </a:lnTo>
                      <a:lnTo>
                        <a:pt x="97" y="224"/>
                      </a:lnTo>
                      <a:lnTo>
                        <a:pt x="98" y="224"/>
                      </a:lnTo>
                      <a:lnTo>
                        <a:pt x="97" y="224"/>
                      </a:lnTo>
                      <a:close/>
                      <a:moveTo>
                        <a:pt x="104" y="224"/>
                      </a:moveTo>
                      <a:lnTo>
                        <a:pt x="104" y="223"/>
                      </a:lnTo>
                      <a:lnTo>
                        <a:pt x="104" y="224"/>
                      </a:lnTo>
                      <a:close/>
                      <a:moveTo>
                        <a:pt x="104" y="224"/>
                      </a:moveTo>
                      <a:lnTo>
                        <a:pt x="104" y="223"/>
                      </a:lnTo>
                      <a:lnTo>
                        <a:pt x="104" y="224"/>
                      </a:lnTo>
                      <a:lnTo>
                        <a:pt x="104" y="224"/>
                      </a:lnTo>
                      <a:lnTo>
                        <a:pt x="104" y="224"/>
                      </a:lnTo>
                      <a:close/>
                      <a:moveTo>
                        <a:pt x="108" y="223"/>
                      </a:moveTo>
                      <a:lnTo>
                        <a:pt x="108" y="223"/>
                      </a:lnTo>
                      <a:lnTo>
                        <a:pt x="109" y="223"/>
                      </a:lnTo>
                      <a:lnTo>
                        <a:pt x="108" y="223"/>
                      </a:lnTo>
                      <a:lnTo>
                        <a:pt x="109" y="223"/>
                      </a:lnTo>
                      <a:lnTo>
                        <a:pt x="109" y="223"/>
                      </a:lnTo>
                      <a:lnTo>
                        <a:pt x="110" y="223"/>
                      </a:lnTo>
                      <a:lnTo>
                        <a:pt x="110" y="224"/>
                      </a:lnTo>
                      <a:lnTo>
                        <a:pt x="110" y="224"/>
                      </a:lnTo>
                      <a:lnTo>
                        <a:pt x="111" y="224"/>
                      </a:lnTo>
                      <a:lnTo>
                        <a:pt x="111" y="225"/>
                      </a:lnTo>
                      <a:lnTo>
                        <a:pt x="111" y="225"/>
                      </a:lnTo>
                      <a:lnTo>
                        <a:pt x="111" y="225"/>
                      </a:lnTo>
                      <a:lnTo>
                        <a:pt x="111" y="225"/>
                      </a:lnTo>
                      <a:lnTo>
                        <a:pt x="111" y="225"/>
                      </a:lnTo>
                      <a:lnTo>
                        <a:pt x="110" y="225"/>
                      </a:lnTo>
                      <a:lnTo>
                        <a:pt x="111" y="225"/>
                      </a:lnTo>
                      <a:lnTo>
                        <a:pt x="111" y="225"/>
                      </a:lnTo>
                      <a:lnTo>
                        <a:pt x="111" y="225"/>
                      </a:lnTo>
                      <a:lnTo>
                        <a:pt x="110" y="225"/>
                      </a:lnTo>
                      <a:lnTo>
                        <a:pt x="110" y="225"/>
                      </a:lnTo>
                      <a:lnTo>
                        <a:pt x="110" y="225"/>
                      </a:lnTo>
                      <a:lnTo>
                        <a:pt x="109" y="225"/>
                      </a:lnTo>
                      <a:lnTo>
                        <a:pt x="109" y="225"/>
                      </a:lnTo>
                      <a:lnTo>
                        <a:pt x="109" y="225"/>
                      </a:lnTo>
                      <a:lnTo>
                        <a:pt x="109" y="225"/>
                      </a:lnTo>
                      <a:lnTo>
                        <a:pt x="109" y="225"/>
                      </a:lnTo>
                      <a:lnTo>
                        <a:pt x="110" y="225"/>
                      </a:lnTo>
                      <a:lnTo>
                        <a:pt x="110" y="225"/>
                      </a:lnTo>
                      <a:lnTo>
                        <a:pt x="110" y="225"/>
                      </a:lnTo>
                      <a:lnTo>
                        <a:pt x="110" y="225"/>
                      </a:lnTo>
                      <a:lnTo>
                        <a:pt x="111" y="225"/>
                      </a:lnTo>
                      <a:lnTo>
                        <a:pt x="110" y="225"/>
                      </a:lnTo>
                      <a:lnTo>
                        <a:pt x="110" y="225"/>
                      </a:lnTo>
                      <a:lnTo>
                        <a:pt x="109" y="225"/>
                      </a:lnTo>
                      <a:lnTo>
                        <a:pt x="109" y="225"/>
                      </a:lnTo>
                      <a:lnTo>
                        <a:pt x="108" y="225"/>
                      </a:lnTo>
                      <a:lnTo>
                        <a:pt x="107" y="225"/>
                      </a:lnTo>
                      <a:lnTo>
                        <a:pt x="107" y="225"/>
                      </a:lnTo>
                      <a:lnTo>
                        <a:pt x="106" y="225"/>
                      </a:lnTo>
                      <a:lnTo>
                        <a:pt x="106" y="225"/>
                      </a:lnTo>
                      <a:lnTo>
                        <a:pt x="107" y="225"/>
                      </a:lnTo>
                      <a:lnTo>
                        <a:pt x="106" y="225"/>
                      </a:lnTo>
                      <a:lnTo>
                        <a:pt x="106" y="225"/>
                      </a:lnTo>
                      <a:lnTo>
                        <a:pt x="106" y="225"/>
                      </a:lnTo>
                      <a:lnTo>
                        <a:pt x="106" y="225"/>
                      </a:lnTo>
                      <a:lnTo>
                        <a:pt x="106" y="225"/>
                      </a:lnTo>
                      <a:lnTo>
                        <a:pt x="106" y="225"/>
                      </a:lnTo>
                      <a:lnTo>
                        <a:pt x="106" y="225"/>
                      </a:lnTo>
                      <a:lnTo>
                        <a:pt x="106" y="225"/>
                      </a:lnTo>
                      <a:lnTo>
                        <a:pt x="106" y="225"/>
                      </a:lnTo>
                      <a:lnTo>
                        <a:pt x="106" y="224"/>
                      </a:lnTo>
                      <a:lnTo>
                        <a:pt x="106" y="225"/>
                      </a:lnTo>
                      <a:lnTo>
                        <a:pt x="106" y="224"/>
                      </a:lnTo>
                      <a:lnTo>
                        <a:pt x="105" y="224"/>
                      </a:lnTo>
                      <a:lnTo>
                        <a:pt x="106" y="224"/>
                      </a:lnTo>
                      <a:lnTo>
                        <a:pt x="105" y="224"/>
                      </a:lnTo>
                      <a:lnTo>
                        <a:pt x="106" y="224"/>
                      </a:lnTo>
                      <a:lnTo>
                        <a:pt x="106" y="223"/>
                      </a:lnTo>
                      <a:lnTo>
                        <a:pt x="106" y="223"/>
                      </a:lnTo>
                      <a:lnTo>
                        <a:pt x="106" y="224"/>
                      </a:lnTo>
                      <a:lnTo>
                        <a:pt x="107" y="224"/>
                      </a:lnTo>
                      <a:lnTo>
                        <a:pt x="106" y="224"/>
                      </a:lnTo>
                      <a:lnTo>
                        <a:pt x="106" y="223"/>
                      </a:lnTo>
                      <a:lnTo>
                        <a:pt x="107" y="223"/>
                      </a:lnTo>
                      <a:lnTo>
                        <a:pt x="107" y="223"/>
                      </a:lnTo>
                      <a:lnTo>
                        <a:pt x="107" y="223"/>
                      </a:lnTo>
                      <a:lnTo>
                        <a:pt x="108" y="223"/>
                      </a:lnTo>
                      <a:lnTo>
                        <a:pt x="107" y="223"/>
                      </a:lnTo>
                      <a:lnTo>
                        <a:pt x="108" y="223"/>
                      </a:lnTo>
                      <a:lnTo>
                        <a:pt x="108" y="223"/>
                      </a:lnTo>
                      <a:close/>
                      <a:moveTo>
                        <a:pt x="81" y="223"/>
                      </a:moveTo>
                      <a:lnTo>
                        <a:pt x="80" y="224"/>
                      </a:lnTo>
                      <a:lnTo>
                        <a:pt x="80" y="223"/>
                      </a:lnTo>
                      <a:lnTo>
                        <a:pt x="80" y="223"/>
                      </a:lnTo>
                      <a:lnTo>
                        <a:pt x="80" y="224"/>
                      </a:lnTo>
                      <a:lnTo>
                        <a:pt x="80" y="224"/>
                      </a:lnTo>
                      <a:lnTo>
                        <a:pt x="81" y="224"/>
                      </a:lnTo>
                      <a:lnTo>
                        <a:pt x="81" y="223"/>
                      </a:lnTo>
                      <a:lnTo>
                        <a:pt x="81" y="223"/>
                      </a:lnTo>
                      <a:lnTo>
                        <a:pt x="81" y="224"/>
                      </a:lnTo>
                      <a:lnTo>
                        <a:pt x="81" y="223"/>
                      </a:lnTo>
                      <a:lnTo>
                        <a:pt x="81" y="224"/>
                      </a:lnTo>
                      <a:lnTo>
                        <a:pt x="81" y="224"/>
                      </a:lnTo>
                      <a:lnTo>
                        <a:pt x="81" y="225"/>
                      </a:lnTo>
                      <a:lnTo>
                        <a:pt x="80" y="225"/>
                      </a:lnTo>
                      <a:lnTo>
                        <a:pt x="79" y="225"/>
                      </a:lnTo>
                      <a:lnTo>
                        <a:pt x="78" y="224"/>
                      </a:lnTo>
                      <a:lnTo>
                        <a:pt x="78" y="224"/>
                      </a:lnTo>
                      <a:lnTo>
                        <a:pt x="77" y="224"/>
                      </a:lnTo>
                      <a:lnTo>
                        <a:pt x="77" y="223"/>
                      </a:lnTo>
                      <a:lnTo>
                        <a:pt x="77" y="223"/>
                      </a:lnTo>
                      <a:lnTo>
                        <a:pt x="76" y="223"/>
                      </a:lnTo>
                      <a:lnTo>
                        <a:pt x="76" y="223"/>
                      </a:lnTo>
                      <a:lnTo>
                        <a:pt x="75" y="223"/>
                      </a:lnTo>
                      <a:lnTo>
                        <a:pt x="74" y="223"/>
                      </a:lnTo>
                      <a:lnTo>
                        <a:pt x="75" y="223"/>
                      </a:lnTo>
                      <a:lnTo>
                        <a:pt x="76" y="223"/>
                      </a:lnTo>
                      <a:lnTo>
                        <a:pt x="76" y="223"/>
                      </a:lnTo>
                      <a:lnTo>
                        <a:pt x="77" y="223"/>
                      </a:lnTo>
                      <a:lnTo>
                        <a:pt x="77" y="223"/>
                      </a:lnTo>
                      <a:lnTo>
                        <a:pt x="77" y="223"/>
                      </a:lnTo>
                      <a:lnTo>
                        <a:pt x="77" y="223"/>
                      </a:lnTo>
                      <a:lnTo>
                        <a:pt x="78" y="223"/>
                      </a:lnTo>
                      <a:lnTo>
                        <a:pt x="78" y="223"/>
                      </a:lnTo>
                      <a:lnTo>
                        <a:pt x="78" y="223"/>
                      </a:lnTo>
                      <a:lnTo>
                        <a:pt x="79" y="223"/>
                      </a:lnTo>
                      <a:lnTo>
                        <a:pt x="79" y="223"/>
                      </a:lnTo>
                      <a:lnTo>
                        <a:pt x="79" y="223"/>
                      </a:lnTo>
                      <a:lnTo>
                        <a:pt x="80" y="223"/>
                      </a:lnTo>
                      <a:lnTo>
                        <a:pt x="80" y="223"/>
                      </a:lnTo>
                      <a:lnTo>
                        <a:pt x="81" y="223"/>
                      </a:lnTo>
                      <a:lnTo>
                        <a:pt x="80" y="223"/>
                      </a:lnTo>
                      <a:lnTo>
                        <a:pt x="81" y="223"/>
                      </a:lnTo>
                      <a:close/>
                      <a:moveTo>
                        <a:pt x="91" y="223"/>
                      </a:moveTo>
                      <a:lnTo>
                        <a:pt x="91" y="223"/>
                      </a:lnTo>
                      <a:lnTo>
                        <a:pt x="91" y="223"/>
                      </a:lnTo>
                      <a:lnTo>
                        <a:pt x="90" y="223"/>
                      </a:lnTo>
                      <a:lnTo>
                        <a:pt x="91" y="223"/>
                      </a:lnTo>
                      <a:lnTo>
                        <a:pt x="91" y="223"/>
                      </a:lnTo>
                      <a:close/>
                      <a:moveTo>
                        <a:pt x="104" y="223"/>
                      </a:moveTo>
                      <a:lnTo>
                        <a:pt x="104" y="224"/>
                      </a:lnTo>
                      <a:lnTo>
                        <a:pt x="104" y="223"/>
                      </a:lnTo>
                      <a:lnTo>
                        <a:pt x="104" y="223"/>
                      </a:lnTo>
                      <a:lnTo>
                        <a:pt x="103" y="223"/>
                      </a:lnTo>
                      <a:lnTo>
                        <a:pt x="103" y="223"/>
                      </a:lnTo>
                      <a:lnTo>
                        <a:pt x="103" y="223"/>
                      </a:lnTo>
                      <a:lnTo>
                        <a:pt x="103" y="223"/>
                      </a:lnTo>
                      <a:lnTo>
                        <a:pt x="104" y="223"/>
                      </a:lnTo>
                      <a:lnTo>
                        <a:pt x="104" y="223"/>
                      </a:lnTo>
                      <a:lnTo>
                        <a:pt x="104" y="223"/>
                      </a:lnTo>
                      <a:close/>
                      <a:moveTo>
                        <a:pt x="98" y="224"/>
                      </a:moveTo>
                      <a:lnTo>
                        <a:pt x="98" y="223"/>
                      </a:lnTo>
                      <a:lnTo>
                        <a:pt x="98" y="224"/>
                      </a:lnTo>
                      <a:lnTo>
                        <a:pt x="98" y="224"/>
                      </a:lnTo>
                      <a:lnTo>
                        <a:pt x="98" y="223"/>
                      </a:lnTo>
                      <a:lnTo>
                        <a:pt x="97" y="223"/>
                      </a:lnTo>
                      <a:lnTo>
                        <a:pt x="97" y="223"/>
                      </a:lnTo>
                      <a:lnTo>
                        <a:pt x="97" y="223"/>
                      </a:lnTo>
                      <a:lnTo>
                        <a:pt x="97" y="223"/>
                      </a:lnTo>
                      <a:lnTo>
                        <a:pt x="98" y="223"/>
                      </a:lnTo>
                      <a:lnTo>
                        <a:pt x="98" y="223"/>
                      </a:lnTo>
                      <a:lnTo>
                        <a:pt x="98" y="223"/>
                      </a:lnTo>
                      <a:lnTo>
                        <a:pt x="99" y="224"/>
                      </a:lnTo>
                      <a:lnTo>
                        <a:pt x="98" y="224"/>
                      </a:lnTo>
                      <a:close/>
                      <a:moveTo>
                        <a:pt x="98" y="223"/>
                      </a:moveTo>
                      <a:lnTo>
                        <a:pt x="98" y="223"/>
                      </a:lnTo>
                      <a:lnTo>
                        <a:pt x="98" y="223"/>
                      </a:lnTo>
                      <a:close/>
                      <a:moveTo>
                        <a:pt x="99" y="223"/>
                      </a:moveTo>
                      <a:lnTo>
                        <a:pt x="99" y="224"/>
                      </a:lnTo>
                      <a:lnTo>
                        <a:pt x="99" y="223"/>
                      </a:lnTo>
                      <a:lnTo>
                        <a:pt x="98" y="223"/>
                      </a:lnTo>
                      <a:lnTo>
                        <a:pt x="98" y="223"/>
                      </a:lnTo>
                      <a:lnTo>
                        <a:pt x="98" y="223"/>
                      </a:lnTo>
                      <a:lnTo>
                        <a:pt x="98" y="223"/>
                      </a:lnTo>
                      <a:lnTo>
                        <a:pt x="98" y="223"/>
                      </a:lnTo>
                      <a:lnTo>
                        <a:pt x="98" y="223"/>
                      </a:lnTo>
                      <a:lnTo>
                        <a:pt x="98" y="222"/>
                      </a:lnTo>
                      <a:lnTo>
                        <a:pt x="98" y="223"/>
                      </a:lnTo>
                      <a:lnTo>
                        <a:pt x="98" y="223"/>
                      </a:lnTo>
                      <a:lnTo>
                        <a:pt x="99" y="223"/>
                      </a:lnTo>
                      <a:close/>
                      <a:moveTo>
                        <a:pt x="111" y="224"/>
                      </a:moveTo>
                      <a:lnTo>
                        <a:pt x="112" y="224"/>
                      </a:lnTo>
                      <a:lnTo>
                        <a:pt x="111" y="224"/>
                      </a:lnTo>
                      <a:lnTo>
                        <a:pt x="112" y="224"/>
                      </a:lnTo>
                      <a:lnTo>
                        <a:pt x="111" y="224"/>
                      </a:lnTo>
                      <a:lnTo>
                        <a:pt x="112" y="224"/>
                      </a:lnTo>
                      <a:lnTo>
                        <a:pt x="112" y="225"/>
                      </a:lnTo>
                      <a:lnTo>
                        <a:pt x="112" y="224"/>
                      </a:lnTo>
                      <a:lnTo>
                        <a:pt x="111" y="224"/>
                      </a:lnTo>
                      <a:lnTo>
                        <a:pt x="111" y="224"/>
                      </a:lnTo>
                      <a:lnTo>
                        <a:pt x="110" y="224"/>
                      </a:lnTo>
                      <a:lnTo>
                        <a:pt x="110" y="223"/>
                      </a:lnTo>
                      <a:lnTo>
                        <a:pt x="109" y="223"/>
                      </a:lnTo>
                      <a:lnTo>
                        <a:pt x="109" y="223"/>
                      </a:lnTo>
                      <a:lnTo>
                        <a:pt x="108" y="223"/>
                      </a:lnTo>
                      <a:lnTo>
                        <a:pt x="109" y="223"/>
                      </a:lnTo>
                      <a:lnTo>
                        <a:pt x="109" y="222"/>
                      </a:lnTo>
                      <a:lnTo>
                        <a:pt x="109" y="223"/>
                      </a:lnTo>
                      <a:lnTo>
                        <a:pt x="109" y="223"/>
                      </a:lnTo>
                      <a:lnTo>
                        <a:pt x="110" y="223"/>
                      </a:lnTo>
                      <a:lnTo>
                        <a:pt x="110" y="223"/>
                      </a:lnTo>
                      <a:lnTo>
                        <a:pt x="110" y="223"/>
                      </a:lnTo>
                      <a:lnTo>
                        <a:pt x="111" y="223"/>
                      </a:lnTo>
                      <a:lnTo>
                        <a:pt x="111" y="223"/>
                      </a:lnTo>
                      <a:lnTo>
                        <a:pt x="111" y="224"/>
                      </a:lnTo>
                      <a:lnTo>
                        <a:pt x="112" y="224"/>
                      </a:lnTo>
                      <a:lnTo>
                        <a:pt x="111" y="224"/>
                      </a:lnTo>
                      <a:close/>
                      <a:moveTo>
                        <a:pt x="97" y="222"/>
                      </a:moveTo>
                      <a:lnTo>
                        <a:pt x="97" y="223"/>
                      </a:lnTo>
                      <a:lnTo>
                        <a:pt x="97" y="222"/>
                      </a:lnTo>
                      <a:close/>
                      <a:moveTo>
                        <a:pt x="107" y="223"/>
                      </a:moveTo>
                      <a:lnTo>
                        <a:pt x="107" y="223"/>
                      </a:lnTo>
                      <a:lnTo>
                        <a:pt x="108" y="223"/>
                      </a:lnTo>
                      <a:lnTo>
                        <a:pt x="107" y="223"/>
                      </a:lnTo>
                      <a:lnTo>
                        <a:pt x="107" y="223"/>
                      </a:lnTo>
                      <a:lnTo>
                        <a:pt x="106" y="223"/>
                      </a:lnTo>
                      <a:lnTo>
                        <a:pt x="106" y="223"/>
                      </a:lnTo>
                      <a:lnTo>
                        <a:pt x="106" y="223"/>
                      </a:lnTo>
                      <a:lnTo>
                        <a:pt x="106" y="223"/>
                      </a:lnTo>
                      <a:lnTo>
                        <a:pt x="105" y="223"/>
                      </a:lnTo>
                      <a:lnTo>
                        <a:pt x="105" y="223"/>
                      </a:lnTo>
                      <a:lnTo>
                        <a:pt x="104" y="223"/>
                      </a:lnTo>
                      <a:lnTo>
                        <a:pt x="104" y="222"/>
                      </a:lnTo>
                      <a:lnTo>
                        <a:pt x="105" y="222"/>
                      </a:lnTo>
                      <a:lnTo>
                        <a:pt x="106" y="222"/>
                      </a:lnTo>
                      <a:lnTo>
                        <a:pt x="106" y="222"/>
                      </a:lnTo>
                      <a:lnTo>
                        <a:pt x="107" y="222"/>
                      </a:lnTo>
                      <a:lnTo>
                        <a:pt x="107" y="222"/>
                      </a:lnTo>
                      <a:lnTo>
                        <a:pt x="107" y="223"/>
                      </a:lnTo>
                      <a:lnTo>
                        <a:pt x="107" y="222"/>
                      </a:lnTo>
                      <a:lnTo>
                        <a:pt x="107" y="223"/>
                      </a:lnTo>
                      <a:lnTo>
                        <a:pt x="107" y="222"/>
                      </a:lnTo>
                      <a:lnTo>
                        <a:pt x="107" y="222"/>
                      </a:lnTo>
                      <a:lnTo>
                        <a:pt x="107" y="223"/>
                      </a:lnTo>
                      <a:lnTo>
                        <a:pt x="107" y="223"/>
                      </a:lnTo>
                      <a:lnTo>
                        <a:pt x="107" y="223"/>
                      </a:lnTo>
                      <a:close/>
                      <a:moveTo>
                        <a:pt x="98" y="222"/>
                      </a:moveTo>
                      <a:lnTo>
                        <a:pt x="99" y="222"/>
                      </a:lnTo>
                      <a:lnTo>
                        <a:pt x="99" y="223"/>
                      </a:lnTo>
                      <a:lnTo>
                        <a:pt x="99" y="222"/>
                      </a:lnTo>
                      <a:lnTo>
                        <a:pt x="99" y="223"/>
                      </a:lnTo>
                      <a:lnTo>
                        <a:pt x="98" y="223"/>
                      </a:lnTo>
                      <a:lnTo>
                        <a:pt x="98" y="222"/>
                      </a:lnTo>
                      <a:close/>
                      <a:moveTo>
                        <a:pt x="533" y="222"/>
                      </a:moveTo>
                      <a:lnTo>
                        <a:pt x="534" y="222"/>
                      </a:lnTo>
                      <a:lnTo>
                        <a:pt x="533" y="222"/>
                      </a:lnTo>
                      <a:lnTo>
                        <a:pt x="534" y="222"/>
                      </a:lnTo>
                      <a:lnTo>
                        <a:pt x="534" y="223"/>
                      </a:lnTo>
                      <a:lnTo>
                        <a:pt x="533" y="223"/>
                      </a:lnTo>
                      <a:lnTo>
                        <a:pt x="533" y="223"/>
                      </a:lnTo>
                      <a:lnTo>
                        <a:pt x="533" y="223"/>
                      </a:lnTo>
                      <a:lnTo>
                        <a:pt x="534" y="223"/>
                      </a:lnTo>
                      <a:lnTo>
                        <a:pt x="534" y="223"/>
                      </a:lnTo>
                      <a:lnTo>
                        <a:pt x="534" y="223"/>
                      </a:lnTo>
                      <a:lnTo>
                        <a:pt x="534" y="224"/>
                      </a:lnTo>
                      <a:lnTo>
                        <a:pt x="534" y="224"/>
                      </a:lnTo>
                      <a:lnTo>
                        <a:pt x="534" y="224"/>
                      </a:lnTo>
                      <a:lnTo>
                        <a:pt x="534" y="225"/>
                      </a:lnTo>
                      <a:lnTo>
                        <a:pt x="534" y="224"/>
                      </a:lnTo>
                      <a:lnTo>
                        <a:pt x="534" y="225"/>
                      </a:lnTo>
                      <a:lnTo>
                        <a:pt x="534" y="225"/>
                      </a:lnTo>
                      <a:lnTo>
                        <a:pt x="534" y="224"/>
                      </a:lnTo>
                      <a:lnTo>
                        <a:pt x="534" y="225"/>
                      </a:lnTo>
                      <a:lnTo>
                        <a:pt x="534" y="224"/>
                      </a:lnTo>
                      <a:lnTo>
                        <a:pt x="533" y="224"/>
                      </a:lnTo>
                      <a:lnTo>
                        <a:pt x="533" y="223"/>
                      </a:lnTo>
                      <a:lnTo>
                        <a:pt x="533" y="223"/>
                      </a:lnTo>
                      <a:lnTo>
                        <a:pt x="532" y="223"/>
                      </a:lnTo>
                      <a:lnTo>
                        <a:pt x="533" y="222"/>
                      </a:lnTo>
                      <a:lnTo>
                        <a:pt x="533" y="223"/>
                      </a:lnTo>
                      <a:lnTo>
                        <a:pt x="533" y="222"/>
                      </a:lnTo>
                      <a:close/>
                      <a:moveTo>
                        <a:pt x="104" y="224"/>
                      </a:moveTo>
                      <a:lnTo>
                        <a:pt x="104" y="223"/>
                      </a:lnTo>
                      <a:lnTo>
                        <a:pt x="103" y="223"/>
                      </a:lnTo>
                      <a:lnTo>
                        <a:pt x="104" y="223"/>
                      </a:lnTo>
                      <a:lnTo>
                        <a:pt x="104" y="224"/>
                      </a:lnTo>
                      <a:lnTo>
                        <a:pt x="103" y="224"/>
                      </a:lnTo>
                      <a:lnTo>
                        <a:pt x="103" y="224"/>
                      </a:lnTo>
                      <a:lnTo>
                        <a:pt x="103" y="223"/>
                      </a:lnTo>
                      <a:lnTo>
                        <a:pt x="102" y="223"/>
                      </a:lnTo>
                      <a:lnTo>
                        <a:pt x="102" y="223"/>
                      </a:lnTo>
                      <a:lnTo>
                        <a:pt x="102" y="223"/>
                      </a:lnTo>
                      <a:lnTo>
                        <a:pt x="103" y="223"/>
                      </a:lnTo>
                      <a:lnTo>
                        <a:pt x="103" y="224"/>
                      </a:lnTo>
                      <a:lnTo>
                        <a:pt x="103" y="224"/>
                      </a:lnTo>
                      <a:lnTo>
                        <a:pt x="104" y="224"/>
                      </a:lnTo>
                      <a:lnTo>
                        <a:pt x="103" y="224"/>
                      </a:lnTo>
                      <a:lnTo>
                        <a:pt x="103" y="224"/>
                      </a:lnTo>
                      <a:lnTo>
                        <a:pt x="102" y="224"/>
                      </a:lnTo>
                      <a:lnTo>
                        <a:pt x="102" y="224"/>
                      </a:lnTo>
                      <a:lnTo>
                        <a:pt x="102" y="223"/>
                      </a:lnTo>
                      <a:lnTo>
                        <a:pt x="101" y="223"/>
                      </a:lnTo>
                      <a:lnTo>
                        <a:pt x="101" y="223"/>
                      </a:lnTo>
                      <a:lnTo>
                        <a:pt x="100" y="223"/>
                      </a:lnTo>
                      <a:lnTo>
                        <a:pt x="100" y="223"/>
                      </a:lnTo>
                      <a:lnTo>
                        <a:pt x="100" y="222"/>
                      </a:lnTo>
                      <a:lnTo>
                        <a:pt x="99" y="222"/>
                      </a:lnTo>
                      <a:lnTo>
                        <a:pt x="100" y="222"/>
                      </a:lnTo>
                      <a:lnTo>
                        <a:pt x="100" y="222"/>
                      </a:lnTo>
                      <a:lnTo>
                        <a:pt x="100" y="222"/>
                      </a:lnTo>
                      <a:lnTo>
                        <a:pt x="100" y="222"/>
                      </a:lnTo>
                      <a:lnTo>
                        <a:pt x="101" y="222"/>
                      </a:lnTo>
                      <a:lnTo>
                        <a:pt x="102" y="222"/>
                      </a:lnTo>
                      <a:lnTo>
                        <a:pt x="102" y="222"/>
                      </a:lnTo>
                      <a:lnTo>
                        <a:pt x="102" y="223"/>
                      </a:lnTo>
                      <a:lnTo>
                        <a:pt x="103" y="223"/>
                      </a:lnTo>
                      <a:lnTo>
                        <a:pt x="103" y="223"/>
                      </a:lnTo>
                      <a:lnTo>
                        <a:pt x="103" y="223"/>
                      </a:lnTo>
                      <a:lnTo>
                        <a:pt x="104" y="223"/>
                      </a:lnTo>
                      <a:lnTo>
                        <a:pt x="104" y="224"/>
                      </a:lnTo>
                      <a:close/>
                      <a:moveTo>
                        <a:pt x="102" y="223"/>
                      </a:moveTo>
                      <a:lnTo>
                        <a:pt x="102" y="223"/>
                      </a:lnTo>
                      <a:lnTo>
                        <a:pt x="102" y="223"/>
                      </a:lnTo>
                      <a:close/>
                      <a:moveTo>
                        <a:pt x="102" y="223"/>
                      </a:moveTo>
                      <a:lnTo>
                        <a:pt x="102" y="223"/>
                      </a:lnTo>
                      <a:lnTo>
                        <a:pt x="102" y="223"/>
                      </a:lnTo>
                      <a:close/>
                      <a:moveTo>
                        <a:pt x="103" y="225"/>
                      </a:moveTo>
                      <a:lnTo>
                        <a:pt x="103" y="225"/>
                      </a:lnTo>
                      <a:lnTo>
                        <a:pt x="103" y="225"/>
                      </a:lnTo>
                      <a:lnTo>
                        <a:pt x="103" y="225"/>
                      </a:lnTo>
                      <a:lnTo>
                        <a:pt x="103" y="225"/>
                      </a:lnTo>
                      <a:lnTo>
                        <a:pt x="102" y="225"/>
                      </a:lnTo>
                      <a:lnTo>
                        <a:pt x="102" y="225"/>
                      </a:lnTo>
                      <a:lnTo>
                        <a:pt x="102" y="225"/>
                      </a:lnTo>
                      <a:lnTo>
                        <a:pt x="101" y="225"/>
                      </a:lnTo>
                      <a:lnTo>
                        <a:pt x="100" y="225"/>
                      </a:lnTo>
                      <a:lnTo>
                        <a:pt x="100" y="225"/>
                      </a:lnTo>
                      <a:lnTo>
                        <a:pt x="100" y="224"/>
                      </a:lnTo>
                      <a:lnTo>
                        <a:pt x="100" y="223"/>
                      </a:lnTo>
                      <a:lnTo>
                        <a:pt x="99" y="223"/>
                      </a:lnTo>
                      <a:lnTo>
                        <a:pt x="99" y="223"/>
                      </a:lnTo>
                      <a:lnTo>
                        <a:pt x="99" y="222"/>
                      </a:lnTo>
                      <a:lnTo>
                        <a:pt x="99" y="222"/>
                      </a:lnTo>
                      <a:lnTo>
                        <a:pt x="99" y="222"/>
                      </a:lnTo>
                      <a:lnTo>
                        <a:pt x="99" y="222"/>
                      </a:lnTo>
                      <a:lnTo>
                        <a:pt x="99" y="223"/>
                      </a:lnTo>
                      <a:lnTo>
                        <a:pt x="100" y="223"/>
                      </a:lnTo>
                      <a:lnTo>
                        <a:pt x="100" y="223"/>
                      </a:lnTo>
                      <a:lnTo>
                        <a:pt x="100" y="223"/>
                      </a:lnTo>
                      <a:lnTo>
                        <a:pt x="101" y="223"/>
                      </a:lnTo>
                      <a:lnTo>
                        <a:pt x="102" y="223"/>
                      </a:lnTo>
                      <a:lnTo>
                        <a:pt x="102" y="224"/>
                      </a:lnTo>
                      <a:lnTo>
                        <a:pt x="102" y="224"/>
                      </a:lnTo>
                      <a:lnTo>
                        <a:pt x="103" y="224"/>
                      </a:lnTo>
                      <a:lnTo>
                        <a:pt x="103" y="224"/>
                      </a:lnTo>
                      <a:lnTo>
                        <a:pt x="103" y="225"/>
                      </a:lnTo>
                      <a:close/>
                      <a:moveTo>
                        <a:pt x="100" y="222"/>
                      </a:moveTo>
                      <a:lnTo>
                        <a:pt x="100" y="222"/>
                      </a:lnTo>
                      <a:lnTo>
                        <a:pt x="100" y="222"/>
                      </a:lnTo>
                      <a:lnTo>
                        <a:pt x="100" y="222"/>
                      </a:lnTo>
                      <a:lnTo>
                        <a:pt x="101" y="222"/>
                      </a:lnTo>
                      <a:lnTo>
                        <a:pt x="100" y="222"/>
                      </a:lnTo>
                      <a:lnTo>
                        <a:pt x="100" y="222"/>
                      </a:lnTo>
                      <a:lnTo>
                        <a:pt x="100" y="222"/>
                      </a:lnTo>
                      <a:close/>
                      <a:moveTo>
                        <a:pt x="99" y="222"/>
                      </a:moveTo>
                      <a:lnTo>
                        <a:pt x="99" y="222"/>
                      </a:lnTo>
                      <a:lnTo>
                        <a:pt x="99" y="222"/>
                      </a:lnTo>
                      <a:lnTo>
                        <a:pt x="99" y="222"/>
                      </a:lnTo>
                      <a:lnTo>
                        <a:pt x="99" y="222"/>
                      </a:lnTo>
                      <a:lnTo>
                        <a:pt x="98" y="222"/>
                      </a:lnTo>
                      <a:lnTo>
                        <a:pt x="98" y="222"/>
                      </a:lnTo>
                      <a:lnTo>
                        <a:pt x="98" y="222"/>
                      </a:lnTo>
                      <a:lnTo>
                        <a:pt x="98" y="222"/>
                      </a:lnTo>
                      <a:lnTo>
                        <a:pt x="99" y="222"/>
                      </a:lnTo>
                      <a:lnTo>
                        <a:pt x="99" y="222"/>
                      </a:lnTo>
                      <a:close/>
                      <a:moveTo>
                        <a:pt x="92" y="222"/>
                      </a:moveTo>
                      <a:lnTo>
                        <a:pt x="91" y="222"/>
                      </a:lnTo>
                      <a:lnTo>
                        <a:pt x="91" y="222"/>
                      </a:lnTo>
                      <a:lnTo>
                        <a:pt x="90" y="222"/>
                      </a:lnTo>
                      <a:lnTo>
                        <a:pt x="91" y="222"/>
                      </a:lnTo>
                      <a:lnTo>
                        <a:pt x="90" y="222"/>
                      </a:lnTo>
                      <a:lnTo>
                        <a:pt x="91" y="222"/>
                      </a:lnTo>
                      <a:lnTo>
                        <a:pt x="90" y="222"/>
                      </a:lnTo>
                      <a:lnTo>
                        <a:pt x="91" y="222"/>
                      </a:lnTo>
                      <a:lnTo>
                        <a:pt x="90" y="222"/>
                      </a:lnTo>
                      <a:lnTo>
                        <a:pt x="91" y="222"/>
                      </a:lnTo>
                      <a:lnTo>
                        <a:pt x="90" y="222"/>
                      </a:lnTo>
                      <a:lnTo>
                        <a:pt x="91" y="222"/>
                      </a:lnTo>
                      <a:lnTo>
                        <a:pt x="91" y="223"/>
                      </a:lnTo>
                      <a:lnTo>
                        <a:pt x="90" y="223"/>
                      </a:lnTo>
                      <a:lnTo>
                        <a:pt x="90" y="222"/>
                      </a:lnTo>
                      <a:lnTo>
                        <a:pt x="90" y="223"/>
                      </a:lnTo>
                      <a:lnTo>
                        <a:pt x="89" y="223"/>
                      </a:lnTo>
                      <a:lnTo>
                        <a:pt x="90" y="223"/>
                      </a:lnTo>
                      <a:lnTo>
                        <a:pt x="89" y="223"/>
                      </a:lnTo>
                      <a:lnTo>
                        <a:pt x="89" y="222"/>
                      </a:lnTo>
                      <a:lnTo>
                        <a:pt x="89" y="222"/>
                      </a:lnTo>
                      <a:lnTo>
                        <a:pt x="88" y="222"/>
                      </a:lnTo>
                      <a:lnTo>
                        <a:pt x="88" y="222"/>
                      </a:lnTo>
                      <a:lnTo>
                        <a:pt x="88" y="223"/>
                      </a:lnTo>
                      <a:lnTo>
                        <a:pt x="88" y="223"/>
                      </a:lnTo>
                      <a:lnTo>
                        <a:pt x="88" y="223"/>
                      </a:lnTo>
                      <a:lnTo>
                        <a:pt x="88" y="223"/>
                      </a:lnTo>
                      <a:lnTo>
                        <a:pt x="89" y="223"/>
                      </a:lnTo>
                      <a:lnTo>
                        <a:pt x="89" y="223"/>
                      </a:lnTo>
                      <a:lnTo>
                        <a:pt x="89" y="223"/>
                      </a:lnTo>
                      <a:lnTo>
                        <a:pt x="89" y="223"/>
                      </a:lnTo>
                      <a:lnTo>
                        <a:pt x="89" y="223"/>
                      </a:lnTo>
                      <a:lnTo>
                        <a:pt x="90" y="223"/>
                      </a:lnTo>
                      <a:lnTo>
                        <a:pt x="91" y="223"/>
                      </a:lnTo>
                      <a:lnTo>
                        <a:pt x="91" y="223"/>
                      </a:lnTo>
                      <a:lnTo>
                        <a:pt x="91" y="223"/>
                      </a:lnTo>
                      <a:lnTo>
                        <a:pt x="91" y="223"/>
                      </a:lnTo>
                      <a:lnTo>
                        <a:pt x="91" y="223"/>
                      </a:lnTo>
                      <a:lnTo>
                        <a:pt x="90" y="223"/>
                      </a:lnTo>
                      <a:lnTo>
                        <a:pt x="89" y="223"/>
                      </a:lnTo>
                      <a:lnTo>
                        <a:pt x="89" y="223"/>
                      </a:lnTo>
                      <a:lnTo>
                        <a:pt x="88" y="223"/>
                      </a:lnTo>
                      <a:lnTo>
                        <a:pt x="88" y="223"/>
                      </a:lnTo>
                      <a:lnTo>
                        <a:pt x="88" y="224"/>
                      </a:lnTo>
                      <a:lnTo>
                        <a:pt x="87" y="224"/>
                      </a:lnTo>
                      <a:lnTo>
                        <a:pt x="87" y="223"/>
                      </a:lnTo>
                      <a:lnTo>
                        <a:pt x="87" y="224"/>
                      </a:lnTo>
                      <a:lnTo>
                        <a:pt x="88" y="224"/>
                      </a:lnTo>
                      <a:lnTo>
                        <a:pt x="88" y="223"/>
                      </a:lnTo>
                      <a:lnTo>
                        <a:pt x="88" y="223"/>
                      </a:lnTo>
                      <a:lnTo>
                        <a:pt x="89" y="223"/>
                      </a:lnTo>
                      <a:lnTo>
                        <a:pt x="89" y="223"/>
                      </a:lnTo>
                      <a:lnTo>
                        <a:pt x="90" y="223"/>
                      </a:lnTo>
                      <a:lnTo>
                        <a:pt x="89" y="223"/>
                      </a:lnTo>
                      <a:lnTo>
                        <a:pt x="89" y="224"/>
                      </a:lnTo>
                      <a:lnTo>
                        <a:pt x="89" y="224"/>
                      </a:lnTo>
                      <a:lnTo>
                        <a:pt x="89" y="224"/>
                      </a:lnTo>
                      <a:lnTo>
                        <a:pt x="89" y="224"/>
                      </a:lnTo>
                      <a:lnTo>
                        <a:pt x="89" y="224"/>
                      </a:lnTo>
                      <a:lnTo>
                        <a:pt x="89" y="224"/>
                      </a:lnTo>
                      <a:lnTo>
                        <a:pt x="89" y="225"/>
                      </a:lnTo>
                      <a:lnTo>
                        <a:pt x="88" y="225"/>
                      </a:lnTo>
                      <a:lnTo>
                        <a:pt x="89" y="225"/>
                      </a:lnTo>
                      <a:lnTo>
                        <a:pt x="89" y="224"/>
                      </a:lnTo>
                      <a:lnTo>
                        <a:pt x="89" y="224"/>
                      </a:lnTo>
                      <a:lnTo>
                        <a:pt x="89" y="224"/>
                      </a:lnTo>
                      <a:lnTo>
                        <a:pt x="89" y="224"/>
                      </a:lnTo>
                      <a:lnTo>
                        <a:pt x="90" y="224"/>
                      </a:lnTo>
                      <a:lnTo>
                        <a:pt x="89" y="224"/>
                      </a:lnTo>
                      <a:lnTo>
                        <a:pt x="90" y="223"/>
                      </a:lnTo>
                      <a:lnTo>
                        <a:pt x="91" y="223"/>
                      </a:lnTo>
                      <a:lnTo>
                        <a:pt x="91" y="223"/>
                      </a:lnTo>
                      <a:lnTo>
                        <a:pt x="92" y="223"/>
                      </a:lnTo>
                      <a:lnTo>
                        <a:pt x="91" y="223"/>
                      </a:lnTo>
                      <a:lnTo>
                        <a:pt x="91" y="222"/>
                      </a:lnTo>
                      <a:lnTo>
                        <a:pt x="92" y="222"/>
                      </a:lnTo>
                      <a:lnTo>
                        <a:pt x="92" y="222"/>
                      </a:lnTo>
                      <a:lnTo>
                        <a:pt x="92" y="223"/>
                      </a:lnTo>
                      <a:lnTo>
                        <a:pt x="92" y="222"/>
                      </a:lnTo>
                      <a:lnTo>
                        <a:pt x="92" y="223"/>
                      </a:lnTo>
                      <a:lnTo>
                        <a:pt x="92" y="223"/>
                      </a:lnTo>
                      <a:lnTo>
                        <a:pt x="92" y="223"/>
                      </a:lnTo>
                      <a:lnTo>
                        <a:pt x="91" y="223"/>
                      </a:lnTo>
                      <a:lnTo>
                        <a:pt x="91" y="224"/>
                      </a:lnTo>
                      <a:lnTo>
                        <a:pt x="91" y="224"/>
                      </a:lnTo>
                      <a:lnTo>
                        <a:pt x="90" y="225"/>
                      </a:lnTo>
                      <a:lnTo>
                        <a:pt x="89" y="225"/>
                      </a:lnTo>
                      <a:lnTo>
                        <a:pt x="89" y="225"/>
                      </a:lnTo>
                      <a:lnTo>
                        <a:pt x="89" y="225"/>
                      </a:lnTo>
                      <a:lnTo>
                        <a:pt x="88" y="225"/>
                      </a:lnTo>
                      <a:lnTo>
                        <a:pt x="88" y="225"/>
                      </a:lnTo>
                      <a:lnTo>
                        <a:pt x="87" y="225"/>
                      </a:lnTo>
                      <a:lnTo>
                        <a:pt x="87" y="225"/>
                      </a:lnTo>
                      <a:lnTo>
                        <a:pt x="87" y="225"/>
                      </a:lnTo>
                      <a:lnTo>
                        <a:pt x="86" y="225"/>
                      </a:lnTo>
                      <a:lnTo>
                        <a:pt x="85" y="225"/>
                      </a:lnTo>
                      <a:lnTo>
                        <a:pt x="85" y="224"/>
                      </a:lnTo>
                      <a:lnTo>
                        <a:pt x="84" y="224"/>
                      </a:lnTo>
                      <a:lnTo>
                        <a:pt x="84" y="224"/>
                      </a:lnTo>
                      <a:lnTo>
                        <a:pt x="84" y="223"/>
                      </a:lnTo>
                      <a:lnTo>
                        <a:pt x="83" y="223"/>
                      </a:lnTo>
                      <a:lnTo>
                        <a:pt x="83" y="223"/>
                      </a:lnTo>
                      <a:lnTo>
                        <a:pt x="83" y="223"/>
                      </a:lnTo>
                      <a:lnTo>
                        <a:pt x="83" y="222"/>
                      </a:lnTo>
                      <a:lnTo>
                        <a:pt x="84" y="222"/>
                      </a:lnTo>
                      <a:lnTo>
                        <a:pt x="84" y="222"/>
                      </a:lnTo>
                      <a:lnTo>
                        <a:pt x="84" y="222"/>
                      </a:lnTo>
                      <a:lnTo>
                        <a:pt x="85" y="222"/>
                      </a:lnTo>
                      <a:lnTo>
                        <a:pt x="85" y="222"/>
                      </a:lnTo>
                      <a:lnTo>
                        <a:pt x="86" y="222"/>
                      </a:lnTo>
                      <a:lnTo>
                        <a:pt x="87" y="222"/>
                      </a:lnTo>
                      <a:lnTo>
                        <a:pt x="87" y="222"/>
                      </a:lnTo>
                      <a:lnTo>
                        <a:pt x="87" y="222"/>
                      </a:lnTo>
                      <a:lnTo>
                        <a:pt x="88" y="222"/>
                      </a:lnTo>
                      <a:lnTo>
                        <a:pt x="88" y="221"/>
                      </a:lnTo>
                      <a:lnTo>
                        <a:pt x="88" y="221"/>
                      </a:lnTo>
                      <a:lnTo>
                        <a:pt x="89" y="221"/>
                      </a:lnTo>
                      <a:lnTo>
                        <a:pt x="89" y="222"/>
                      </a:lnTo>
                      <a:lnTo>
                        <a:pt x="89" y="222"/>
                      </a:lnTo>
                      <a:lnTo>
                        <a:pt x="90" y="222"/>
                      </a:lnTo>
                      <a:lnTo>
                        <a:pt x="91" y="222"/>
                      </a:lnTo>
                      <a:lnTo>
                        <a:pt x="91" y="222"/>
                      </a:lnTo>
                      <a:lnTo>
                        <a:pt x="92" y="222"/>
                      </a:lnTo>
                      <a:lnTo>
                        <a:pt x="91" y="222"/>
                      </a:lnTo>
                      <a:lnTo>
                        <a:pt x="92" y="222"/>
                      </a:lnTo>
                      <a:lnTo>
                        <a:pt x="92" y="222"/>
                      </a:lnTo>
                      <a:close/>
                      <a:moveTo>
                        <a:pt x="84" y="222"/>
                      </a:moveTo>
                      <a:lnTo>
                        <a:pt x="84" y="222"/>
                      </a:lnTo>
                      <a:lnTo>
                        <a:pt x="84" y="222"/>
                      </a:lnTo>
                      <a:close/>
                      <a:moveTo>
                        <a:pt x="84" y="222"/>
                      </a:moveTo>
                      <a:lnTo>
                        <a:pt x="84" y="223"/>
                      </a:lnTo>
                      <a:lnTo>
                        <a:pt x="84" y="222"/>
                      </a:lnTo>
                      <a:close/>
                      <a:moveTo>
                        <a:pt x="83" y="223"/>
                      </a:moveTo>
                      <a:lnTo>
                        <a:pt x="83" y="222"/>
                      </a:lnTo>
                      <a:lnTo>
                        <a:pt x="83" y="223"/>
                      </a:lnTo>
                      <a:close/>
                      <a:moveTo>
                        <a:pt x="87" y="223"/>
                      </a:moveTo>
                      <a:lnTo>
                        <a:pt x="88" y="223"/>
                      </a:lnTo>
                      <a:lnTo>
                        <a:pt x="87" y="223"/>
                      </a:lnTo>
                      <a:close/>
                      <a:moveTo>
                        <a:pt x="88" y="223"/>
                      </a:moveTo>
                      <a:lnTo>
                        <a:pt x="89" y="223"/>
                      </a:lnTo>
                      <a:lnTo>
                        <a:pt x="88" y="223"/>
                      </a:lnTo>
                      <a:close/>
                      <a:moveTo>
                        <a:pt x="102" y="221"/>
                      </a:moveTo>
                      <a:lnTo>
                        <a:pt x="101" y="222"/>
                      </a:lnTo>
                      <a:lnTo>
                        <a:pt x="101" y="221"/>
                      </a:lnTo>
                      <a:lnTo>
                        <a:pt x="100" y="221"/>
                      </a:lnTo>
                      <a:lnTo>
                        <a:pt x="101" y="221"/>
                      </a:lnTo>
                      <a:lnTo>
                        <a:pt x="102" y="221"/>
                      </a:lnTo>
                      <a:lnTo>
                        <a:pt x="102" y="221"/>
                      </a:lnTo>
                      <a:lnTo>
                        <a:pt x="102" y="222"/>
                      </a:lnTo>
                      <a:lnTo>
                        <a:pt x="102" y="222"/>
                      </a:lnTo>
                      <a:lnTo>
                        <a:pt x="102" y="221"/>
                      </a:lnTo>
                      <a:close/>
                      <a:moveTo>
                        <a:pt x="102" y="221"/>
                      </a:moveTo>
                      <a:lnTo>
                        <a:pt x="103" y="221"/>
                      </a:lnTo>
                      <a:lnTo>
                        <a:pt x="102" y="221"/>
                      </a:lnTo>
                      <a:lnTo>
                        <a:pt x="103" y="221"/>
                      </a:lnTo>
                      <a:lnTo>
                        <a:pt x="102" y="221"/>
                      </a:lnTo>
                      <a:lnTo>
                        <a:pt x="102" y="222"/>
                      </a:lnTo>
                      <a:lnTo>
                        <a:pt x="102" y="221"/>
                      </a:lnTo>
                      <a:close/>
                      <a:moveTo>
                        <a:pt x="167" y="223"/>
                      </a:moveTo>
                      <a:lnTo>
                        <a:pt x="166" y="223"/>
                      </a:lnTo>
                      <a:lnTo>
                        <a:pt x="166" y="223"/>
                      </a:lnTo>
                      <a:lnTo>
                        <a:pt x="166" y="223"/>
                      </a:lnTo>
                      <a:lnTo>
                        <a:pt x="166" y="223"/>
                      </a:lnTo>
                      <a:lnTo>
                        <a:pt x="166" y="222"/>
                      </a:lnTo>
                      <a:lnTo>
                        <a:pt x="166" y="222"/>
                      </a:lnTo>
                      <a:lnTo>
                        <a:pt x="166" y="222"/>
                      </a:lnTo>
                      <a:lnTo>
                        <a:pt x="165" y="222"/>
                      </a:lnTo>
                      <a:lnTo>
                        <a:pt x="166" y="222"/>
                      </a:lnTo>
                      <a:lnTo>
                        <a:pt x="165" y="221"/>
                      </a:lnTo>
                      <a:lnTo>
                        <a:pt x="166" y="221"/>
                      </a:lnTo>
                      <a:lnTo>
                        <a:pt x="166" y="221"/>
                      </a:lnTo>
                      <a:lnTo>
                        <a:pt x="166" y="222"/>
                      </a:lnTo>
                      <a:lnTo>
                        <a:pt x="167" y="222"/>
                      </a:lnTo>
                      <a:lnTo>
                        <a:pt x="167" y="222"/>
                      </a:lnTo>
                      <a:lnTo>
                        <a:pt x="166" y="222"/>
                      </a:lnTo>
                      <a:lnTo>
                        <a:pt x="166" y="223"/>
                      </a:lnTo>
                      <a:lnTo>
                        <a:pt x="166" y="222"/>
                      </a:lnTo>
                      <a:lnTo>
                        <a:pt x="167" y="222"/>
                      </a:lnTo>
                      <a:lnTo>
                        <a:pt x="167" y="223"/>
                      </a:lnTo>
                      <a:lnTo>
                        <a:pt x="166" y="223"/>
                      </a:lnTo>
                      <a:lnTo>
                        <a:pt x="167" y="223"/>
                      </a:lnTo>
                      <a:close/>
                      <a:moveTo>
                        <a:pt x="94" y="221"/>
                      </a:moveTo>
                      <a:lnTo>
                        <a:pt x="95" y="221"/>
                      </a:lnTo>
                      <a:lnTo>
                        <a:pt x="94" y="221"/>
                      </a:lnTo>
                      <a:lnTo>
                        <a:pt x="95" y="221"/>
                      </a:lnTo>
                      <a:lnTo>
                        <a:pt x="95" y="221"/>
                      </a:lnTo>
                      <a:lnTo>
                        <a:pt x="96" y="221"/>
                      </a:lnTo>
                      <a:lnTo>
                        <a:pt x="95" y="221"/>
                      </a:lnTo>
                      <a:lnTo>
                        <a:pt x="96" y="221"/>
                      </a:lnTo>
                      <a:lnTo>
                        <a:pt x="96" y="221"/>
                      </a:lnTo>
                      <a:lnTo>
                        <a:pt x="96" y="221"/>
                      </a:lnTo>
                      <a:lnTo>
                        <a:pt x="95" y="221"/>
                      </a:lnTo>
                      <a:lnTo>
                        <a:pt x="95" y="222"/>
                      </a:lnTo>
                      <a:lnTo>
                        <a:pt x="95" y="222"/>
                      </a:lnTo>
                      <a:lnTo>
                        <a:pt x="94" y="222"/>
                      </a:lnTo>
                      <a:lnTo>
                        <a:pt x="93" y="222"/>
                      </a:lnTo>
                      <a:lnTo>
                        <a:pt x="93" y="221"/>
                      </a:lnTo>
                      <a:lnTo>
                        <a:pt x="94" y="221"/>
                      </a:lnTo>
                      <a:close/>
                      <a:moveTo>
                        <a:pt x="114" y="220"/>
                      </a:moveTo>
                      <a:lnTo>
                        <a:pt x="115" y="220"/>
                      </a:lnTo>
                      <a:lnTo>
                        <a:pt x="114" y="220"/>
                      </a:lnTo>
                      <a:lnTo>
                        <a:pt x="114" y="220"/>
                      </a:lnTo>
                      <a:lnTo>
                        <a:pt x="114" y="221"/>
                      </a:lnTo>
                      <a:lnTo>
                        <a:pt x="113" y="221"/>
                      </a:lnTo>
                      <a:lnTo>
                        <a:pt x="113" y="220"/>
                      </a:lnTo>
                      <a:lnTo>
                        <a:pt x="114" y="220"/>
                      </a:lnTo>
                      <a:lnTo>
                        <a:pt x="114" y="220"/>
                      </a:lnTo>
                      <a:lnTo>
                        <a:pt x="114" y="219"/>
                      </a:lnTo>
                      <a:lnTo>
                        <a:pt x="114" y="220"/>
                      </a:lnTo>
                      <a:close/>
                      <a:moveTo>
                        <a:pt x="687" y="219"/>
                      </a:moveTo>
                      <a:lnTo>
                        <a:pt x="686" y="219"/>
                      </a:lnTo>
                      <a:lnTo>
                        <a:pt x="687" y="219"/>
                      </a:lnTo>
                      <a:lnTo>
                        <a:pt x="686" y="219"/>
                      </a:lnTo>
                      <a:lnTo>
                        <a:pt x="687" y="219"/>
                      </a:lnTo>
                      <a:lnTo>
                        <a:pt x="686" y="219"/>
                      </a:lnTo>
                      <a:lnTo>
                        <a:pt x="686" y="218"/>
                      </a:lnTo>
                      <a:lnTo>
                        <a:pt x="686" y="219"/>
                      </a:lnTo>
                      <a:lnTo>
                        <a:pt x="686" y="218"/>
                      </a:lnTo>
                      <a:lnTo>
                        <a:pt x="686" y="219"/>
                      </a:lnTo>
                      <a:lnTo>
                        <a:pt x="687" y="219"/>
                      </a:lnTo>
                      <a:close/>
                      <a:moveTo>
                        <a:pt x="533" y="218"/>
                      </a:moveTo>
                      <a:lnTo>
                        <a:pt x="533" y="219"/>
                      </a:lnTo>
                      <a:lnTo>
                        <a:pt x="533" y="218"/>
                      </a:lnTo>
                      <a:lnTo>
                        <a:pt x="533" y="219"/>
                      </a:lnTo>
                      <a:lnTo>
                        <a:pt x="533" y="219"/>
                      </a:lnTo>
                      <a:lnTo>
                        <a:pt x="532" y="219"/>
                      </a:lnTo>
                      <a:lnTo>
                        <a:pt x="532" y="219"/>
                      </a:lnTo>
                      <a:lnTo>
                        <a:pt x="532" y="218"/>
                      </a:lnTo>
                      <a:lnTo>
                        <a:pt x="532" y="218"/>
                      </a:lnTo>
                      <a:lnTo>
                        <a:pt x="533" y="218"/>
                      </a:lnTo>
                      <a:lnTo>
                        <a:pt x="533" y="218"/>
                      </a:lnTo>
                      <a:close/>
                      <a:moveTo>
                        <a:pt x="184" y="216"/>
                      </a:moveTo>
                      <a:lnTo>
                        <a:pt x="183" y="216"/>
                      </a:lnTo>
                      <a:lnTo>
                        <a:pt x="184" y="216"/>
                      </a:lnTo>
                      <a:lnTo>
                        <a:pt x="184" y="216"/>
                      </a:lnTo>
                      <a:lnTo>
                        <a:pt x="184" y="216"/>
                      </a:lnTo>
                      <a:lnTo>
                        <a:pt x="184" y="216"/>
                      </a:lnTo>
                      <a:lnTo>
                        <a:pt x="183" y="216"/>
                      </a:lnTo>
                      <a:lnTo>
                        <a:pt x="183" y="216"/>
                      </a:lnTo>
                      <a:lnTo>
                        <a:pt x="183" y="216"/>
                      </a:lnTo>
                      <a:lnTo>
                        <a:pt x="184" y="216"/>
                      </a:lnTo>
                      <a:lnTo>
                        <a:pt x="184" y="215"/>
                      </a:lnTo>
                      <a:lnTo>
                        <a:pt x="184" y="216"/>
                      </a:lnTo>
                      <a:lnTo>
                        <a:pt x="184" y="215"/>
                      </a:lnTo>
                      <a:lnTo>
                        <a:pt x="184" y="216"/>
                      </a:lnTo>
                      <a:lnTo>
                        <a:pt x="184" y="215"/>
                      </a:lnTo>
                      <a:lnTo>
                        <a:pt x="184" y="216"/>
                      </a:lnTo>
                      <a:lnTo>
                        <a:pt x="185" y="216"/>
                      </a:lnTo>
                      <a:lnTo>
                        <a:pt x="185" y="216"/>
                      </a:lnTo>
                      <a:lnTo>
                        <a:pt x="186" y="216"/>
                      </a:lnTo>
                      <a:lnTo>
                        <a:pt x="186" y="216"/>
                      </a:lnTo>
                      <a:lnTo>
                        <a:pt x="186" y="216"/>
                      </a:lnTo>
                      <a:lnTo>
                        <a:pt x="187" y="216"/>
                      </a:lnTo>
                      <a:lnTo>
                        <a:pt x="186" y="216"/>
                      </a:lnTo>
                      <a:lnTo>
                        <a:pt x="186" y="217"/>
                      </a:lnTo>
                      <a:lnTo>
                        <a:pt x="187" y="217"/>
                      </a:lnTo>
                      <a:lnTo>
                        <a:pt x="188" y="217"/>
                      </a:lnTo>
                      <a:lnTo>
                        <a:pt x="188" y="218"/>
                      </a:lnTo>
                      <a:lnTo>
                        <a:pt x="188" y="218"/>
                      </a:lnTo>
                      <a:lnTo>
                        <a:pt x="188" y="218"/>
                      </a:lnTo>
                      <a:lnTo>
                        <a:pt x="187" y="218"/>
                      </a:lnTo>
                      <a:lnTo>
                        <a:pt x="188" y="218"/>
                      </a:lnTo>
                      <a:lnTo>
                        <a:pt x="187" y="218"/>
                      </a:lnTo>
                      <a:lnTo>
                        <a:pt x="186" y="218"/>
                      </a:lnTo>
                      <a:lnTo>
                        <a:pt x="186" y="217"/>
                      </a:lnTo>
                      <a:lnTo>
                        <a:pt x="185" y="217"/>
                      </a:lnTo>
                      <a:lnTo>
                        <a:pt x="185" y="217"/>
                      </a:lnTo>
                      <a:lnTo>
                        <a:pt x="184" y="217"/>
                      </a:lnTo>
                      <a:lnTo>
                        <a:pt x="184" y="218"/>
                      </a:lnTo>
                      <a:lnTo>
                        <a:pt x="184" y="218"/>
                      </a:lnTo>
                      <a:lnTo>
                        <a:pt x="184" y="218"/>
                      </a:lnTo>
                      <a:lnTo>
                        <a:pt x="184" y="217"/>
                      </a:lnTo>
                      <a:lnTo>
                        <a:pt x="184" y="217"/>
                      </a:lnTo>
                      <a:lnTo>
                        <a:pt x="184" y="217"/>
                      </a:lnTo>
                      <a:lnTo>
                        <a:pt x="184" y="217"/>
                      </a:lnTo>
                      <a:lnTo>
                        <a:pt x="184" y="218"/>
                      </a:lnTo>
                      <a:lnTo>
                        <a:pt x="184" y="217"/>
                      </a:lnTo>
                      <a:lnTo>
                        <a:pt x="183" y="217"/>
                      </a:lnTo>
                      <a:lnTo>
                        <a:pt x="184" y="217"/>
                      </a:lnTo>
                      <a:lnTo>
                        <a:pt x="184" y="216"/>
                      </a:lnTo>
                      <a:lnTo>
                        <a:pt x="184" y="217"/>
                      </a:lnTo>
                      <a:lnTo>
                        <a:pt x="184" y="216"/>
                      </a:lnTo>
                      <a:lnTo>
                        <a:pt x="184" y="217"/>
                      </a:lnTo>
                      <a:lnTo>
                        <a:pt x="184" y="216"/>
                      </a:lnTo>
                      <a:lnTo>
                        <a:pt x="184" y="217"/>
                      </a:lnTo>
                      <a:lnTo>
                        <a:pt x="184" y="217"/>
                      </a:lnTo>
                      <a:lnTo>
                        <a:pt x="184" y="216"/>
                      </a:lnTo>
                      <a:lnTo>
                        <a:pt x="184" y="217"/>
                      </a:lnTo>
                      <a:lnTo>
                        <a:pt x="184" y="216"/>
                      </a:lnTo>
                      <a:lnTo>
                        <a:pt x="184" y="216"/>
                      </a:lnTo>
                      <a:lnTo>
                        <a:pt x="183" y="216"/>
                      </a:lnTo>
                      <a:lnTo>
                        <a:pt x="184" y="216"/>
                      </a:lnTo>
                      <a:lnTo>
                        <a:pt x="183" y="216"/>
                      </a:lnTo>
                      <a:lnTo>
                        <a:pt x="184" y="216"/>
                      </a:lnTo>
                      <a:lnTo>
                        <a:pt x="183" y="216"/>
                      </a:lnTo>
                      <a:lnTo>
                        <a:pt x="182" y="216"/>
                      </a:lnTo>
                      <a:lnTo>
                        <a:pt x="183" y="216"/>
                      </a:lnTo>
                      <a:lnTo>
                        <a:pt x="184" y="216"/>
                      </a:lnTo>
                      <a:close/>
                      <a:moveTo>
                        <a:pt x="178" y="214"/>
                      </a:moveTo>
                      <a:lnTo>
                        <a:pt x="178" y="214"/>
                      </a:lnTo>
                      <a:lnTo>
                        <a:pt x="178" y="213"/>
                      </a:lnTo>
                      <a:lnTo>
                        <a:pt x="177" y="213"/>
                      </a:lnTo>
                      <a:lnTo>
                        <a:pt x="177" y="212"/>
                      </a:lnTo>
                      <a:lnTo>
                        <a:pt x="178" y="212"/>
                      </a:lnTo>
                      <a:lnTo>
                        <a:pt x="178" y="213"/>
                      </a:lnTo>
                      <a:lnTo>
                        <a:pt x="178" y="214"/>
                      </a:lnTo>
                      <a:lnTo>
                        <a:pt x="179" y="214"/>
                      </a:lnTo>
                      <a:lnTo>
                        <a:pt x="180" y="214"/>
                      </a:lnTo>
                      <a:lnTo>
                        <a:pt x="180" y="214"/>
                      </a:lnTo>
                      <a:lnTo>
                        <a:pt x="180" y="215"/>
                      </a:lnTo>
                      <a:lnTo>
                        <a:pt x="180" y="215"/>
                      </a:lnTo>
                      <a:lnTo>
                        <a:pt x="180" y="215"/>
                      </a:lnTo>
                      <a:lnTo>
                        <a:pt x="180" y="215"/>
                      </a:lnTo>
                      <a:lnTo>
                        <a:pt x="180" y="215"/>
                      </a:lnTo>
                      <a:lnTo>
                        <a:pt x="180" y="216"/>
                      </a:lnTo>
                      <a:lnTo>
                        <a:pt x="179" y="215"/>
                      </a:lnTo>
                      <a:lnTo>
                        <a:pt x="178" y="215"/>
                      </a:lnTo>
                      <a:lnTo>
                        <a:pt x="178" y="215"/>
                      </a:lnTo>
                      <a:lnTo>
                        <a:pt x="179" y="215"/>
                      </a:lnTo>
                      <a:lnTo>
                        <a:pt x="178" y="215"/>
                      </a:lnTo>
                      <a:lnTo>
                        <a:pt x="179" y="215"/>
                      </a:lnTo>
                      <a:lnTo>
                        <a:pt x="179" y="214"/>
                      </a:lnTo>
                      <a:lnTo>
                        <a:pt x="179" y="215"/>
                      </a:lnTo>
                      <a:lnTo>
                        <a:pt x="178" y="215"/>
                      </a:lnTo>
                      <a:lnTo>
                        <a:pt x="178" y="215"/>
                      </a:lnTo>
                      <a:lnTo>
                        <a:pt x="177" y="215"/>
                      </a:lnTo>
                      <a:lnTo>
                        <a:pt x="177" y="214"/>
                      </a:lnTo>
                      <a:lnTo>
                        <a:pt x="177" y="214"/>
                      </a:lnTo>
                      <a:lnTo>
                        <a:pt x="176" y="214"/>
                      </a:lnTo>
                      <a:lnTo>
                        <a:pt x="176" y="214"/>
                      </a:lnTo>
                      <a:lnTo>
                        <a:pt x="176" y="213"/>
                      </a:lnTo>
                      <a:lnTo>
                        <a:pt x="177" y="213"/>
                      </a:lnTo>
                      <a:lnTo>
                        <a:pt x="177" y="212"/>
                      </a:lnTo>
                      <a:lnTo>
                        <a:pt x="177" y="212"/>
                      </a:lnTo>
                      <a:lnTo>
                        <a:pt x="177" y="212"/>
                      </a:lnTo>
                      <a:lnTo>
                        <a:pt x="177" y="212"/>
                      </a:lnTo>
                      <a:lnTo>
                        <a:pt x="177" y="212"/>
                      </a:lnTo>
                      <a:lnTo>
                        <a:pt x="177" y="212"/>
                      </a:lnTo>
                      <a:lnTo>
                        <a:pt x="177" y="212"/>
                      </a:lnTo>
                      <a:lnTo>
                        <a:pt x="177" y="212"/>
                      </a:lnTo>
                      <a:lnTo>
                        <a:pt x="177" y="213"/>
                      </a:lnTo>
                      <a:lnTo>
                        <a:pt x="177" y="214"/>
                      </a:lnTo>
                      <a:lnTo>
                        <a:pt x="178" y="214"/>
                      </a:lnTo>
                      <a:lnTo>
                        <a:pt x="178" y="213"/>
                      </a:lnTo>
                      <a:lnTo>
                        <a:pt x="178" y="214"/>
                      </a:lnTo>
                      <a:lnTo>
                        <a:pt x="178" y="214"/>
                      </a:lnTo>
                      <a:lnTo>
                        <a:pt x="179" y="214"/>
                      </a:lnTo>
                      <a:lnTo>
                        <a:pt x="179" y="214"/>
                      </a:lnTo>
                      <a:lnTo>
                        <a:pt x="179" y="214"/>
                      </a:lnTo>
                      <a:lnTo>
                        <a:pt x="179" y="214"/>
                      </a:lnTo>
                      <a:lnTo>
                        <a:pt x="179" y="214"/>
                      </a:lnTo>
                      <a:lnTo>
                        <a:pt x="178" y="214"/>
                      </a:lnTo>
                      <a:close/>
                      <a:moveTo>
                        <a:pt x="706" y="204"/>
                      </a:moveTo>
                      <a:lnTo>
                        <a:pt x="706" y="204"/>
                      </a:lnTo>
                      <a:lnTo>
                        <a:pt x="706" y="204"/>
                      </a:lnTo>
                      <a:lnTo>
                        <a:pt x="706" y="204"/>
                      </a:lnTo>
                      <a:lnTo>
                        <a:pt x="707" y="204"/>
                      </a:lnTo>
                      <a:lnTo>
                        <a:pt x="708" y="204"/>
                      </a:lnTo>
                      <a:lnTo>
                        <a:pt x="708" y="204"/>
                      </a:lnTo>
                      <a:lnTo>
                        <a:pt x="708" y="204"/>
                      </a:lnTo>
                      <a:lnTo>
                        <a:pt x="708" y="204"/>
                      </a:lnTo>
                      <a:lnTo>
                        <a:pt x="707" y="204"/>
                      </a:lnTo>
                      <a:lnTo>
                        <a:pt x="706" y="204"/>
                      </a:lnTo>
                      <a:lnTo>
                        <a:pt x="707" y="204"/>
                      </a:lnTo>
                      <a:lnTo>
                        <a:pt x="706" y="204"/>
                      </a:lnTo>
                      <a:lnTo>
                        <a:pt x="706" y="204"/>
                      </a:lnTo>
                      <a:lnTo>
                        <a:pt x="706" y="204"/>
                      </a:lnTo>
                      <a:close/>
                      <a:moveTo>
                        <a:pt x="814" y="203"/>
                      </a:moveTo>
                      <a:lnTo>
                        <a:pt x="814" y="203"/>
                      </a:lnTo>
                      <a:lnTo>
                        <a:pt x="814" y="203"/>
                      </a:lnTo>
                      <a:lnTo>
                        <a:pt x="814" y="203"/>
                      </a:lnTo>
                      <a:lnTo>
                        <a:pt x="814" y="203"/>
                      </a:lnTo>
                      <a:close/>
                      <a:moveTo>
                        <a:pt x="623" y="200"/>
                      </a:moveTo>
                      <a:lnTo>
                        <a:pt x="624" y="200"/>
                      </a:lnTo>
                      <a:lnTo>
                        <a:pt x="623" y="200"/>
                      </a:lnTo>
                      <a:close/>
                      <a:moveTo>
                        <a:pt x="616" y="196"/>
                      </a:moveTo>
                      <a:lnTo>
                        <a:pt x="616" y="196"/>
                      </a:lnTo>
                      <a:lnTo>
                        <a:pt x="616" y="196"/>
                      </a:lnTo>
                      <a:lnTo>
                        <a:pt x="616" y="196"/>
                      </a:lnTo>
                      <a:lnTo>
                        <a:pt x="616" y="196"/>
                      </a:lnTo>
                      <a:close/>
                      <a:moveTo>
                        <a:pt x="618" y="196"/>
                      </a:moveTo>
                      <a:lnTo>
                        <a:pt x="617" y="196"/>
                      </a:lnTo>
                      <a:lnTo>
                        <a:pt x="618" y="196"/>
                      </a:lnTo>
                      <a:lnTo>
                        <a:pt x="618" y="195"/>
                      </a:lnTo>
                      <a:lnTo>
                        <a:pt x="618" y="196"/>
                      </a:lnTo>
                      <a:close/>
                      <a:moveTo>
                        <a:pt x="722" y="194"/>
                      </a:moveTo>
                      <a:lnTo>
                        <a:pt x="722" y="194"/>
                      </a:lnTo>
                      <a:lnTo>
                        <a:pt x="722" y="194"/>
                      </a:lnTo>
                      <a:close/>
                      <a:moveTo>
                        <a:pt x="817" y="194"/>
                      </a:moveTo>
                      <a:lnTo>
                        <a:pt x="817" y="193"/>
                      </a:lnTo>
                      <a:lnTo>
                        <a:pt x="818" y="193"/>
                      </a:lnTo>
                      <a:lnTo>
                        <a:pt x="818" y="193"/>
                      </a:lnTo>
                      <a:lnTo>
                        <a:pt x="818" y="194"/>
                      </a:lnTo>
                      <a:lnTo>
                        <a:pt x="818" y="193"/>
                      </a:lnTo>
                      <a:lnTo>
                        <a:pt x="819" y="194"/>
                      </a:lnTo>
                      <a:lnTo>
                        <a:pt x="818" y="194"/>
                      </a:lnTo>
                      <a:lnTo>
                        <a:pt x="817" y="194"/>
                      </a:lnTo>
                      <a:lnTo>
                        <a:pt x="817" y="194"/>
                      </a:lnTo>
                      <a:lnTo>
                        <a:pt x="817" y="194"/>
                      </a:lnTo>
                      <a:close/>
                      <a:moveTo>
                        <a:pt x="822" y="195"/>
                      </a:moveTo>
                      <a:lnTo>
                        <a:pt x="822" y="194"/>
                      </a:lnTo>
                      <a:lnTo>
                        <a:pt x="822" y="195"/>
                      </a:lnTo>
                      <a:lnTo>
                        <a:pt x="821" y="195"/>
                      </a:lnTo>
                      <a:lnTo>
                        <a:pt x="821" y="195"/>
                      </a:lnTo>
                      <a:lnTo>
                        <a:pt x="821" y="195"/>
                      </a:lnTo>
                      <a:lnTo>
                        <a:pt x="821" y="195"/>
                      </a:lnTo>
                      <a:lnTo>
                        <a:pt x="821" y="194"/>
                      </a:lnTo>
                      <a:lnTo>
                        <a:pt x="820" y="194"/>
                      </a:lnTo>
                      <a:lnTo>
                        <a:pt x="820" y="194"/>
                      </a:lnTo>
                      <a:lnTo>
                        <a:pt x="820" y="194"/>
                      </a:lnTo>
                      <a:lnTo>
                        <a:pt x="819" y="194"/>
                      </a:lnTo>
                      <a:lnTo>
                        <a:pt x="819" y="193"/>
                      </a:lnTo>
                      <a:lnTo>
                        <a:pt x="818" y="193"/>
                      </a:lnTo>
                      <a:lnTo>
                        <a:pt x="819" y="193"/>
                      </a:lnTo>
                      <a:lnTo>
                        <a:pt x="818" y="193"/>
                      </a:lnTo>
                      <a:lnTo>
                        <a:pt x="819" y="193"/>
                      </a:lnTo>
                      <a:lnTo>
                        <a:pt x="819" y="193"/>
                      </a:lnTo>
                      <a:lnTo>
                        <a:pt x="820" y="193"/>
                      </a:lnTo>
                      <a:lnTo>
                        <a:pt x="820" y="193"/>
                      </a:lnTo>
                      <a:lnTo>
                        <a:pt x="821" y="193"/>
                      </a:lnTo>
                      <a:lnTo>
                        <a:pt x="821" y="193"/>
                      </a:lnTo>
                      <a:lnTo>
                        <a:pt x="821" y="194"/>
                      </a:lnTo>
                      <a:lnTo>
                        <a:pt x="822" y="194"/>
                      </a:lnTo>
                      <a:lnTo>
                        <a:pt x="822" y="193"/>
                      </a:lnTo>
                      <a:lnTo>
                        <a:pt x="822" y="193"/>
                      </a:lnTo>
                      <a:lnTo>
                        <a:pt x="823" y="193"/>
                      </a:lnTo>
                      <a:lnTo>
                        <a:pt x="823" y="194"/>
                      </a:lnTo>
                      <a:lnTo>
                        <a:pt x="824" y="194"/>
                      </a:lnTo>
                      <a:lnTo>
                        <a:pt x="824" y="194"/>
                      </a:lnTo>
                      <a:lnTo>
                        <a:pt x="824" y="194"/>
                      </a:lnTo>
                      <a:lnTo>
                        <a:pt x="824" y="194"/>
                      </a:lnTo>
                      <a:lnTo>
                        <a:pt x="824" y="194"/>
                      </a:lnTo>
                      <a:lnTo>
                        <a:pt x="824" y="194"/>
                      </a:lnTo>
                      <a:lnTo>
                        <a:pt x="824" y="194"/>
                      </a:lnTo>
                      <a:lnTo>
                        <a:pt x="825" y="194"/>
                      </a:lnTo>
                      <a:lnTo>
                        <a:pt x="824" y="194"/>
                      </a:lnTo>
                      <a:lnTo>
                        <a:pt x="824" y="195"/>
                      </a:lnTo>
                      <a:lnTo>
                        <a:pt x="825" y="195"/>
                      </a:lnTo>
                      <a:lnTo>
                        <a:pt x="825" y="195"/>
                      </a:lnTo>
                      <a:lnTo>
                        <a:pt x="825" y="196"/>
                      </a:lnTo>
                      <a:lnTo>
                        <a:pt x="825" y="196"/>
                      </a:lnTo>
                      <a:lnTo>
                        <a:pt x="824" y="196"/>
                      </a:lnTo>
                      <a:lnTo>
                        <a:pt x="824" y="196"/>
                      </a:lnTo>
                      <a:lnTo>
                        <a:pt x="823" y="196"/>
                      </a:lnTo>
                      <a:lnTo>
                        <a:pt x="822" y="196"/>
                      </a:lnTo>
                      <a:lnTo>
                        <a:pt x="822" y="196"/>
                      </a:lnTo>
                      <a:lnTo>
                        <a:pt x="822" y="195"/>
                      </a:lnTo>
                      <a:close/>
                      <a:moveTo>
                        <a:pt x="97" y="192"/>
                      </a:moveTo>
                      <a:lnTo>
                        <a:pt x="98" y="192"/>
                      </a:lnTo>
                      <a:lnTo>
                        <a:pt x="97" y="192"/>
                      </a:lnTo>
                      <a:lnTo>
                        <a:pt x="96" y="192"/>
                      </a:lnTo>
                      <a:lnTo>
                        <a:pt x="96" y="192"/>
                      </a:lnTo>
                      <a:lnTo>
                        <a:pt x="96" y="192"/>
                      </a:lnTo>
                      <a:lnTo>
                        <a:pt x="97" y="192"/>
                      </a:lnTo>
                      <a:lnTo>
                        <a:pt x="97" y="191"/>
                      </a:lnTo>
                      <a:lnTo>
                        <a:pt x="97" y="192"/>
                      </a:lnTo>
                      <a:close/>
                      <a:moveTo>
                        <a:pt x="158" y="189"/>
                      </a:moveTo>
                      <a:lnTo>
                        <a:pt x="159" y="189"/>
                      </a:lnTo>
                      <a:lnTo>
                        <a:pt x="159" y="189"/>
                      </a:lnTo>
                      <a:lnTo>
                        <a:pt x="158" y="189"/>
                      </a:lnTo>
                      <a:lnTo>
                        <a:pt x="158" y="190"/>
                      </a:lnTo>
                      <a:lnTo>
                        <a:pt x="158" y="189"/>
                      </a:lnTo>
                      <a:lnTo>
                        <a:pt x="158" y="189"/>
                      </a:lnTo>
                      <a:lnTo>
                        <a:pt x="158" y="189"/>
                      </a:lnTo>
                      <a:lnTo>
                        <a:pt x="158" y="189"/>
                      </a:lnTo>
                      <a:lnTo>
                        <a:pt x="158" y="189"/>
                      </a:lnTo>
                      <a:lnTo>
                        <a:pt x="157" y="189"/>
                      </a:lnTo>
                      <a:lnTo>
                        <a:pt x="158" y="189"/>
                      </a:lnTo>
                      <a:lnTo>
                        <a:pt x="157" y="189"/>
                      </a:lnTo>
                      <a:lnTo>
                        <a:pt x="157" y="188"/>
                      </a:lnTo>
                      <a:lnTo>
                        <a:pt x="158" y="188"/>
                      </a:lnTo>
                      <a:lnTo>
                        <a:pt x="158" y="189"/>
                      </a:lnTo>
                      <a:lnTo>
                        <a:pt x="158" y="189"/>
                      </a:lnTo>
                      <a:close/>
                      <a:moveTo>
                        <a:pt x="880" y="184"/>
                      </a:moveTo>
                      <a:lnTo>
                        <a:pt x="881" y="184"/>
                      </a:lnTo>
                      <a:lnTo>
                        <a:pt x="881" y="184"/>
                      </a:lnTo>
                      <a:lnTo>
                        <a:pt x="881" y="184"/>
                      </a:lnTo>
                      <a:lnTo>
                        <a:pt x="880" y="184"/>
                      </a:lnTo>
                      <a:lnTo>
                        <a:pt x="881" y="184"/>
                      </a:lnTo>
                      <a:lnTo>
                        <a:pt x="880" y="184"/>
                      </a:lnTo>
                      <a:lnTo>
                        <a:pt x="880" y="184"/>
                      </a:lnTo>
                      <a:lnTo>
                        <a:pt x="880" y="184"/>
                      </a:lnTo>
                      <a:lnTo>
                        <a:pt x="880" y="184"/>
                      </a:lnTo>
                      <a:lnTo>
                        <a:pt x="880" y="184"/>
                      </a:lnTo>
                      <a:close/>
                      <a:moveTo>
                        <a:pt x="540" y="183"/>
                      </a:moveTo>
                      <a:lnTo>
                        <a:pt x="539" y="183"/>
                      </a:lnTo>
                      <a:lnTo>
                        <a:pt x="540" y="183"/>
                      </a:lnTo>
                      <a:lnTo>
                        <a:pt x="540" y="182"/>
                      </a:lnTo>
                      <a:lnTo>
                        <a:pt x="539" y="182"/>
                      </a:lnTo>
                      <a:lnTo>
                        <a:pt x="540" y="182"/>
                      </a:lnTo>
                      <a:lnTo>
                        <a:pt x="541" y="182"/>
                      </a:lnTo>
                      <a:lnTo>
                        <a:pt x="541" y="182"/>
                      </a:lnTo>
                      <a:lnTo>
                        <a:pt x="542" y="182"/>
                      </a:lnTo>
                      <a:lnTo>
                        <a:pt x="541" y="182"/>
                      </a:lnTo>
                      <a:lnTo>
                        <a:pt x="542" y="182"/>
                      </a:lnTo>
                      <a:lnTo>
                        <a:pt x="541" y="183"/>
                      </a:lnTo>
                      <a:lnTo>
                        <a:pt x="541" y="182"/>
                      </a:lnTo>
                      <a:lnTo>
                        <a:pt x="541" y="182"/>
                      </a:lnTo>
                      <a:lnTo>
                        <a:pt x="541" y="183"/>
                      </a:lnTo>
                      <a:lnTo>
                        <a:pt x="540" y="183"/>
                      </a:lnTo>
                      <a:lnTo>
                        <a:pt x="540" y="184"/>
                      </a:lnTo>
                      <a:lnTo>
                        <a:pt x="539" y="184"/>
                      </a:lnTo>
                      <a:lnTo>
                        <a:pt x="539" y="183"/>
                      </a:lnTo>
                      <a:lnTo>
                        <a:pt x="540" y="183"/>
                      </a:lnTo>
                      <a:close/>
                      <a:moveTo>
                        <a:pt x="229" y="181"/>
                      </a:moveTo>
                      <a:lnTo>
                        <a:pt x="228" y="181"/>
                      </a:lnTo>
                      <a:lnTo>
                        <a:pt x="229" y="181"/>
                      </a:lnTo>
                      <a:lnTo>
                        <a:pt x="229" y="181"/>
                      </a:lnTo>
                      <a:lnTo>
                        <a:pt x="229" y="182"/>
                      </a:lnTo>
                      <a:lnTo>
                        <a:pt x="229" y="181"/>
                      </a:lnTo>
                      <a:lnTo>
                        <a:pt x="228" y="181"/>
                      </a:lnTo>
                      <a:lnTo>
                        <a:pt x="227" y="181"/>
                      </a:lnTo>
                      <a:lnTo>
                        <a:pt x="227" y="181"/>
                      </a:lnTo>
                      <a:lnTo>
                        <a:pt x="226" y="180"/>
                      </a:lnTo>
                      <a:lnTo>
                        <a:pt x="226" y="179"/>
                      </a:lnTo>
                      <a:lnTo>
                        <a:pt x="226" y="179"/>
                      </a:lnTo>
                      <a:lnTo>
                        <a:pt x="226" y="179"/>
                      </a:lnTo>
                      <a:lnTo>
                        <a:pt x="227" y="179"/>
                      </a:lnTo>
                      <a:lnTo>
                        <a:pt x="227" y="179"/>
                      </a:lnTo>
                      <a:lnTo>
                        <a:pt x="228" y="180"/>
                      </a:lnTo>
                      <a:lnTo>
                        <a:pt x="229" y="181"/>
                      </a:lnTo>
                      <a:close/>
                      <a:moveTo>
                        <a:pt x="213" y="179"/>
                      </a:moveTo>
                      <a:lnTo>
                        <a:pt x="214" y="179"/>
                      </a:lnTo>
                      <a:lnTo>
                        <a:pt x="214" y="179"/>
                      </a:lnTo>
                      <a:lnTo>
                        <a:pt x="214" y="179"/>
                      </a:lnTo>
                      <a:lnTo>
                        <a:pt x="213" y="179"/>
                      </a:lnTo>
                      <a:lnTo>
                        <a:pt x="213" y="179"/>
                      </a:lnTo>
                      <a:lnTo>
                        <a:pt x="212" y="179"/>
                      </a:lnTo>
                      <a:lnTo>
                        <a:pt x="212" y="178"/>
                      </a:lnTo>
                      <a:lnTo>
                        <a:pt x="212" y="178"/>
                      </a:lnTo>
                      <a:lnTo>
                        <a:pt x="212" y="178"/>
                      </a:lnTo>
                      <a:lnTo>
                        <a:pt x="212" y="178"/>
                      </a:lnTo>
                      <a:lnTo>
                        <a:pt x="213" y="178"/>
                      </a:lnTo>
                      <a:lnTo>
                        <a:pt x="213" y="179"/>
                      </a:lnTo>
                      <a:lnTo>
                        <a:pt x="214" y="179"/>
                      </a:lnTo>
                      <a:lnTo>
                        <a:pt x="214" y="179"/>
                      </a:lnTo>
                      <a:lnTo>
                        <a:pt x="214" y="179"/>
                      </a:lnTo>
                      <a:lnTo>
                        <a:pt x="214" y="180"/>
                      </a:lnTo>
                      <a:lnTo>
                        <a:pt x="213" y="180"/>
                      </a:lnTo>
                      <a:lnTo>
                        <a:pt x="214" y="180"/>
                      </a:lnTo>
                      <a:lnTo>
                        <a:pt x="213" y="180"/>
                      </a:lnTo>
                      <a:lnTo>
                        <a:pt x="212" y="179"/>
                      </a:lnTo>
                      <a:lnTo>
                        <a:pt x="212" y="179"/>
                      </a:lnTo>
                      <a:lnTo>
                        <a:pt x="211" y="179"/>
                      </a:lnTo>
                      <a:lnTo>
                        <a:pt x="211" y="179"/>
                      </a:lnTo>
                      <a:lnTo>
                        <a:pt x="211" y="178"/>
                      </a:lnTo>
                      <a:lnTo>
                        <a:pt x="212" y="178"/>
                      </a:lnTo>
                      <a:lnTo>
                        <a:pt x="212" y="178"/>
                      </a:lnTo>
                      <a:lnTo>
                        <a:pt x="212" y="178"/>
                      </a:lnTo>
                      <a:lnTo>
                        <a:pt x="212" y="179"/>
                      </a:lnTo>
                      <a:lnTo>
                        <a:pt x="213" y="179"/>
                      </a:lnTo>
                      <a:lnTo>
                        <a:pt x="213" y="179"/>
                      </a:lnTo>
                      <a:close/>
                      <a:moveTo>
                        <a:pt x="549" y="177"/>
                      </a:moveTo>
                      <a:lnTo>
                        <a:pt x="549" y="177"/>
                      </a:lnTo>
                      <a:lnTo>
                        <a:pt x="549" y="177"/>
                      </a:lnTo>
                      <a:lnTo>
                        <a:pt x="549" y="177"/>
                      </a:lnTo>
                      <a:lnTo>
                        <a:pt x="548" y="177"/>
                      </a:lnTo>
                      <a:lnTo>
                        <a:pt x="548" y="177"/>
                      </a:lnTo>
                      <a:lnTo>
                        <a:pt x="548" y="177"/>
                      </a:lnTo>
                      <a:lnTo>
                        <a:pt x="549" y="177"/>
                      </a:lnTo>
                      <a:close/>
                      <a:moveTo>
                        <a:pt x="203" y="176"/>
                      </a:moveTo>
                      <a:lnTo>
                        <a:pt x="204" y="177"/>
                      </a:lnTo>
                      <a:lnTo>
                        <a:pt x="204" y="176"/>
                      </a:lnTo>
                      <a:lnTo>
                        <a:pt x="204" y="177"/>
                      </a:lnTo>
                      <a:lnTo>
                        <a:pt x="204" y="177"/>
                      </a:lnTo>
                      <a:lnTo>
                        <a:pt x="204" y="177"/>
                      </a:lnTo>
                      <a:lnTo>
                        <a:pt x="204" y="176"/>
                      </a:lnTo>
                      <a:lnTo>
                        <a:pt x="204" y="177"/>
                      </a:lnTo>
                      <a:lnTo>
                        <a:pt x="203" y="176"/>
                      </a:lnTo>
                      <a:lnTo>
                        <a:pt x="204" y="176"/>
                      </a:lnTo>
                      <a:lnTo>
                        <a:pt x="204" y="176"/>
                      </a:lnTo>
                      <a:lnTo>
                        <a:pt x="206" y="177"/>
                      </a:lnTo>
                      <a:lnTo>
                        <a:pt x="206" y="177"/>
                      </a:lnTo>
                      <a:lnTo>
                        <a:pt x="207" y="177"/>
                      </a:lnTo>
                      <a:lnTo>
                        <a:pt x="207" y="177"/>
                      </a:lnTo>
                      <a:lnTo>
                        <a:pt x="206" y="177"/>
                      </a:lnTo>
                      <a:lnTo>
                        <a:pt x="207" y="177"/>
                      </a:lnTo>
                      <a:lnTo>
                        <a:pt x="207" y="177"/>
                      </a:lnTo>
                      <a:lnTo>
                        <a:pt x="206" y="177"/>
                      </a:lnTo>
                      <a:lnTo>
                        <a:pt x="206" y="177"/>
                      </a:lnTo>
                      <a:lnTo>
                        <a:pt x="204" y="176"/>
                      </a:lnTo>
                      <a:lnTo>
                        <a:pt x="205" y="176"/>
                      </a:lnTo>
                      <a:lnTo>
                        <a:pt x="206" y="176"/>
                      </a:lnTo>
                      <a:lnTo>
                        <a:pt x="206" y="176"/>
                      </a:lnTo>
                      <a:lnTo>
                        <a:pt x="206" y="177"/>
                      </a:lnTo>
                      <a:lnTo>
                        <a:pt x="207" y="177"/>
                      </a:lnTo>
                      <a:lnTo>
                        <a:pt x="207" y="177"/>
                      </a:lnTo>
                      <a:lnTo>
                        <a:pt x="208" y="177"/>
                      </a:lnTo>
                      <a:lnTo>
                        <a:pt x="208" y="177"/>
                      </a:lnTo>
                      <a:lnTo>
                        <a:pt x="208" y="177"/>
                      </a:lnTo>
                      <a:lnTo>
                        <a:pt x="209" y="177"/>
                      </a:lnTo>
                      <a:lnTo>
                        <a:pt x="209" y="178"/>
                      </a:lnTo>
                      <a:lnTo>
                        <a:pt x="208" y="178"/>
                      </a:lnTo>
                      <a:lnTo>
                        <a:pt x="208" y="178"/>
                      </a:lnTo>
                      <a:lnTo>
                        <a:pt x="207" y="178"/>
                      </a:lnTo>
                      <a:lnTo>
                        <a:pt x="207" y="178"/>
                      </a:lnTo>
                      <a:lnTo>
                        <a:pt x="207" y="177"/>
                      </a:lnTo>
                      <a:lnTo>
                        <a:pt x="206" y="177"/>
                      </a:lnTo>
                      <a:lnTo>
                        <a:pt x="207" y="177"/>
                      </a:lnTo>
                      <a:lnTo>
                        <a:pt x="207" y="178"/>
                      </a:lnTo>
                      <a:lnTo>
                        <a:pt x="206" y="178"/>
                      </a:lnTo>
                      <a:lnTo>
                        <a:pt x="206" y="178"/>
                      </a:lnTo>
                      <a:lnTo>
                        <a:pt x="206" y="177"/>
                      </a:lnTo>
                      <a:lnTo>
                        <a:pt x="206" y="178"/>
                      </a:lnTo>
                      <a:lnTo>
                        <a:pt x="205" y="178"/>
                      </a:lnTo>
                      <a:lnTo>
                        <a:pt x="205" y="177"/>
                      </a:lnTo>
                      <a:lnTo>
                        <a:pt x="204" y="177"/>
                      </a:lnTo>
                      <a:lnTo>
                        <a:pt x="204" y="177"/>
                      </a:lnTo>
                      <a:lnTo>
                        <a:pt x="203" y="177"/>
                      </a:lnTo>
                      <a:lnTo>
                        <a:pt x="203" y="177"/>
                      </a:lnTo>
                      <a:lnTo>
                        <a:pt x="202" y="177"/>
                      </a:lnTo>
                      <a:lnTo>
                        <a:pt x="202" y="176"/>
                      </a:lnTo>
                      <a:lnTo>
                        <a:pt x="202" y="175"/>
                      </a:lnTo>
                      <a:lnTo>
                        <a:pt x="202" y="175"/>
                      </a:lnTo>
                      <a:lnTo>
                        <a:pt x="201" y="175"/>
                      </a:lnTo>
                      <a:lnTo>
                        <a:pt x="201" y="174"/>
                      </a:lnTo>
                      <a:lnTo>
                        <a:pt x="202" y="174"/>
                      </a:lnTo>
                      <a:lnTo>
                        <a:pt x="202" y="174"/>
                      </a:lnTo>
                      <a:lnTo>
                        <a:pt x="202" y="174"/>
                      </a:lnTo>
                      <a:lnTo>
                        <a:pt x="202" y="174"/>
                      </a:lnTo>
                      <a:lnTo>
                        <a:pt x="202" y="175"/>
                      </a:lnTo>
                      <a:lnTo>
                        <a:pt x="202" y="175"/>
                      </a:lnTo>
                      <a:lnTo>
                        <a:pt x="202" y="175"/>
                      </a:lnTo>
                      <a:lnTo>
                        <a:pt x="203" y="175"/>
                      </a:lnTo>
                      <a:lnTo>
                        <a:pt x="202" y="175"/>
                      </a:lnTo>
                      <a:lnTo>
                        <a:pt x="203" y="175"/>
                      </a:lnTo>
                      <a:lnTo>
                        <a:pt x="203" y="176"/>
                      </a:lnTo>
                      <a:lnTo>
                        <a:pt x="203" y="176"/>
                      </a:lnTo>
                      <a:close/>
                      <a:moveTo>
                        <a:pt x="208" y="174"/>
                      </a:moveTo>
                      <a:lnTo>
                        <a:pt x="208" y="174"/>
                      </a:lnTo>
                      <a:lnTo>
                        <a:pt x="207" y="174"/>
                      </a:lnTo>
                      <a:lnTo>
                        <a:pt x="207" y="173"/>
                      </a:lnTo>
                      <a:lnTo>
                        <a:pt x="207" y="173"/>
                      </a:lnTo>
                      <a:lnTo>
                        <a:pt x="207" y="173"/>
                      </a:lnTo>
                      <a:lnTo>
                        <a:pt x="207" y="173"/>
                      </a:lnTo>
                      <a:lnTo>
                        <a:pt x="208" y="173"/>
                      </a:lnTo>
                      <a:lnTo>
                        <a:pt x="208" y="174"/>
                      </a:lnTo>
                      <a:lnTo>
                        <a:pt x="208" y="174"/>
                      </a:lnTo>
                      <a:lnTo>
                        <a:pt x="208" y="174"/>
                      </a:lnTo>
                      <a:lnTo>
                        <a:pt x="208" y="175"/>
                      </a:lnTo>
                      <a:lnTo>
                        <a:pt x="208" y="174"/>
                      </a:lnTo>
                      <a:lnTo>
                        <a:pt x="207" y="174"/>
                      </a:lnTo>
                      <a:lnTo>
                        <a:pt x="207" y="174"/>
                      </a:lnTo>
                      <a:lnTo>
                        <a:pt x="207" y="173"/>
                      </a:lnTo>
                      <a:lnTo>
                        <a:pt x="207" y="174"/>
                      </a:lnTo>
                      <a:lnTo>
                        <a:pt x="208" y="174"/>
                      </a:lnTo>
                      <a:lnTo>
                        <a:pt x="208" y="174"/>
                      </a:lnTo>
                      <a:close/>
                      <a:moveTo>
                        <a:pt x="553" y="172"/>
                      </a:moveTo>
                      <a:lnTo>
                        <a:pt x="553" y="173"/>
                      </a:lnTo>
                      <a:lnTo>
                        <a:pt x="554" y="173"/>
                      </a:lnTo>
                      <a:lnTo>
                        <a:pt x="554" y="172"/>
                      </a:lnTo>
                      <a:lnTo>
                        <a:pt x="554" y="173"/>
                      </a:lnTo>
                      <a:lnTo>
                        <a:pt x="553" y="173"/>
                      </a:lnTo>
                      <a:lnTo>
                        <a:pt x="554" y="172"/>
                      </a:lnTo>
                      <a:lnTo>
                        <a:pt x="553" y="173"/>
                      </a:lnTo>
                      <a:lnTo>
                        <a:pt x="553" y="172"/>
                      </a:lnTo>
                      <a:lnTo>
                        <a:pt x="554" y="172"/>
                      </a:lnTo>
                      <a:lnTo>
                        <a:pt x="553" y="172"/>
                      </a:lnTo>
                      <a:lnTo>
                        <a:pt x="554" y="172"/>
                      </a:lnTo>
                      <a:lnTo>
                        <a:pt x="554" y="173"/>
                      </a:lnTo>
                      <a:lnTo>
                        <a:pt x="554" y="172"/>
                      </a:lnTo>
                      <a:lnTo>
                        <a:pt x="554" y="173"/>
                      </a:lnTo>
                      <a:lnTo>
                        <a:pt x="553" y="173"/>
                      </a:lnTo>
                      <a:lnTo>
                        <a:pt x="553" y="172"/>
                      </a:lnTo>
                      <a:lnTo>
                        <a:pt x="553" y="172"/>
                      </a:lnTo>
                      <a:lnTo>
                        <a:pt x="553" y="171"/>
                      </a:lnTo>
                      <a:lnTo>
                        <a:pt x="553" y="172"/>
                      </a:lnTo>
                      <a:lnTo>
                        <a:pt x="553" y="172"/>
                      </a:lnTo>
                      <a:lnTo>
                        <a:pt x="553" y="173"/>
                      </a:lnTo>
                      <a:lnTo>
                        <a:pt x="553" y="172"/>
                      </a:lnTo>
                      <a:close/>
                      <a:moveTo>
                        <a:pt x="553" y="171"/>
                      </a:moveTo>
                      <a:lnTo>
                        <a:pt x="553" y="172"/>
                      </a:lnTo>
                      <a:lnTo>
                        <a:pt x="553" y="171"/>
                      </a:lnTo>
                      <a:close/>
                      <a:moveTo>
                        <a:pt x="203" y="171"/>
                      </a:moveTo>
                      <a:lnTo>
                        <a:pt x="203" y="172"/>
                      </a:lnTo>
                      <a:lnTo>
                        <a:pt x="203" y="172"/>
                      </a:lnTo>
                      <a:lnTo>
                        <a:pt x="203" y="173"/>
                      </a:lnTo>
                      <a:lnTo>
                        <a:pt x="204" y="173"/>
                      </a:lnTo>
                      <a:lnTo>
                        <a:pt x="204" y="173"/>
                      </a:lnTo>
                      <a:lnTo>
                        <a:pt x="204" y="173"/>
                      </a:lnTo>
                      <a:lnTo>
                        <a:pt x="204" y="173"/>
                      </a:lnTo>
                      <a:lnTo>
                        <a:pt x="204" y="174"/>
                      </a:lnTo>
                      <a:lnTo>
                        <a:pt x="204" y="173"/>
                      </a:lnTo>
                      <a:lnTo>
                        <a:pt x="204" y="173"/>
                      </a:lnTo>
                      <a:lnTo>
                        <a:pt x="203" y="173"/>
                      </a:lnTo>
                      <a:lnTo>
                        <a:pt x="204" y="173"/>
                      </a:lnTo>
                      <a:lnTo>
                        <a:pt x="204" y="173"/>
                      </a:lnTo>
                      <a:lnTo>
                        <a:pt x="204" y="174"/>
                      </a:lnTo>
                      <a:lnTo>
                        <a:pt x="203" y="173"/>
                      </a:lnTo>
                      <a:lnTo>
                        <a:pt x="203" y="173"/>
                      </a:lnTo>
                      <a:lnTo>
                        <a:pt x="203" y="173"/>
                      </a:lnTo>
                      <a:lnTo>
                        <a:pt x="203" y="173"/>
                      </a:lnTo>
                      <a:lnTo>
                        <a:pt x="203" y="173"/>
                      </a:lnTo>
                      <a:lnTo>
                        <a:pt x="203" y="173"/>
                      </a:lnTo>
                      <a:lnTo>
                        <a:pt x="203" y="172"/>
                      </a:lnTo>
                      <a:lnTo>
                        <a:pt x="202" y="171"/>
                      </a:lnTo>
                      <a:lnTo>
                        <a:pt x="203" y="171"/>
                      </a:lnTo>
                      <a:close/>
                      <a:moveTo>
                        <a:pt x="203" y="173"/>
                      </a:moveTo>
                      <a:lnTo>
                        <a:pt x="203" y="173"/>
                      </a:lnTo>
                      <a:lnTo>
                        <a:pt x="202" y="173"/>
                      </a:lnTo>
                      <a:lnTo>
                        <a:pt x="202" y="173"/>
                      </a:lnTo>
                      <a:lnTo>
                        <a:pt x="202" y="172"/>
                      </a:lnTo>
                      <a:lnTo>
                        <a:pt x="202" y="172"/>
                      </a:lnTo>
                      <a:lnTo>
                        <a:pt x="202" y="173"/>
                      </a:lnTo>
                      <a:lnTo>
                        <a:pt x="203" y="173"/>
                      </a:lnTo>
                      <a:lnTo>
                        <a:pt x="203" y="172"/>
                      </a:lnTo>
                      <a:lnTo>
                        <a:pt x="202" y="172"/>
                      </a:lnTo>
                      <a:lnTo>
                        <a:pt x="202" y="172"/>
                      </a:lnTo>
                      <a:lnTo>
                        <a:pt x="202" y="171"/>
                      </a:lnTo>
                      <a:lnTo>
                        <a:pt x="201" y="171"/>
                      </a:lnTo>
                      <a:lnTo>
                        <a:pt x="202" y="171"/>
                      </a:lnTo>
                      <a:lnTo>
                        <a:pt x="202" y="171"/>
                      </a:lnTo>
                      <a:lnTo>
                        <a:pt x="202" y="171"/>
                      </a:lnTo>
                      <a:lnTo>
                        <a:pt x="202" y="172"/>
                      </a:lnTo>
                      <a:lnTo>
                        <a:pt x="203" y="172"/>
                      </a:lnTo>
                      <a:lnTo>
                        <a:pt x="203" y="173"/>
                      </a:lnTo>
                      <a:lnTo>
                        <a:pt x="203" y="173"/>
                      </a:lnTo>
                      <a:lnTo>
                        <a:pt x="203" y="173"/>
                      </a:lnTo>
                      <a:lnTo>
                        <a:pt x="203" y="173"/>
                      </a:lnTo>
                      <a:lnTo>
                        <a:pt x="203" y="173"/>
                      </a:lnTo>
                      <a:close/>
                      <a:moveTo>
                        <a:pt x="199" y="171"/>
                      </a:moveTo>
                      <a:lnTo>
                        <a:pt x="199" y="171"/>
                      </a:lnTo>
                      <a:lnTo>
                        <a:pt x="200" y="171"/>
                      </a:lnTo>
                      <a:lnTo>
                        <a:pt x="200" y="171"/>
                      </a:lnTo>
                      <a:lnTo>
                        <a:pt x="200" y="171"/>
                      </a:lnTo>
                      <a:lnTo>
                        <a:pt x="200" y="171"/>
                      </a:lnTo>
                      <a:lnTo>
                        <a:pt x="200" y="171"/>
                      </a:lnTo>
                      <a:lnTo>
                        <a:pt x="200" y="171"/>
                      </a:lnTo>
                      <a:lnTo>
                        <a:pt x="200" y="171"/>
                      </a:lnTo>
                      <a:lnTo>
                        <a:pt x="200" y="171"/>
                      </a:lnTo>
                      <a:lnTo>
                        <a:pt x="200" y="170"/>
                      </a:lnTo>
                      <a:lnTo>
                        <a:pt x="201" y="170"/>
                      </a:lnTo>
                      <a:lnTo>
                        <a:pt x="201" y="171"/>
                      </a:lnTo>
                      <a:lnTo>
                        <a:pt x="200" y="171"/>
                      </a:lnTo>
                      <a:lnTo>
                        <a:pt x="201" y="171"/>
                      </a:lnTo>
                      <a:lnTo>
                        <a:pt x="201" y="171"/>
                      </a:lnTo>
                      <a:lnTo>
                        <a:pt x="201" y="172"/>
                      </a:lnTo>
                      <a:lnTo>
                        <a:pt x="200" y="172"/>
                      </a:lnTo>
                      <a:lnTo>
                        <a:pt x="200" y="171"/>
                      </a:lnTo>
                      <a:lnTo>
                        <a:pt x="200" y="171"/>
                      </a:lnTo>
                      <a:lnTo>
                        <a:pt x="200" y="171"/>
                      </a:lnTo>
                      <a:lnTo>
                        <a:pt x="200" y="172"/>
                      </a:lnTo>
                      <a:lnTo>
                        <a:pt x="201" y="172"/>
                      </a:lnTo>
                      <a:lnTo>
                        <a:pt x="200" y="172"/>
                      </a:lnTo>
                      <a:lnTo>
                        <a:pt x="200" y="172"/>
                      </a:lnTo>
                      <a:lnTo>
                        <a:pt x="199" y="172"/>
                      </a:lnTo>
                      <a:lnTo>
                        <a:pt x="199" y="171"/>
                      </a:lnTo>
                      <a:lnTo>
                        <a:pt x="199" y="171"/>
                      </a:lnTo>
                      <a:lnTo>
                        <a:pt x="199" y="171"/>
                      </a:lnTo>
                      <a:lnTo>
                        <a:pt x="199" y="170"/>
                      </a:lnTo>
                      <a:lnTo>
                        <a:pt x="199" y="170"/>
                      </a:lnTo>
                      <a:lnTo>
                        <a:pt x="200" y="170"/>
                      </a:lnTo>
                      <a:lnTo>
                        <a:pt x="200" y="171"/>
                      </a:lnTo>
                      <a:lnTo>
                        <a:pt x="199" y="171"/>
                      </a:lnTo>
                      <a:lnTo>
                        <a:pt x="199" y="171"/>
                      </a:lnTo>
                      <a:close/>
                      <a:moveTo>
                        <a:pt x="203" y="171"/>
                      </a:moveTo>
                      <a:lnTo>
                        <a:pt x="202" y="171"/>
                      </a:lnTo>
                      <a:lnTo>
                        <a:pt x="202" y="171"/>
                      </a:lnTo>
                      <a:lnTo>
                        <a:pt x="202" y="170"/>
                      </a:lnTo>
                      <a:lnTo>
                        <a:pt x="202" y="170"/>
                      </a:lnTo>
                      <a:lnTo>
                        <a:pt x="202" y="170"/>
                      </a:lnTo>
                      <a:lnTo>
                        <a:pt x="203" y="171"/>
                      </a:lnTo>
                      <a:lnTo>
                        <a:pt x="203" y="171"/>
                      </a:lnTo>
                      <a:lnTo>
                        <a:pt x="203" y="171"/>
                      </a:lnTo>
                      <a:lnTo>
                        <a:pt x="203" y="172"/>
                      </a:lnTo>
                      <a:lnTo>
                        <a:pt x="204" y="172"/>
                      </a:lnTo>
                      <a:lnTo>
                        <a:pt x="204" y="173"/>
                      </a:lnTo>
                      <a:lnTo>
                        <a:pt x="204" y="173"/>
                      </a:lnTo>
                      <a:lnTo>
                        <a:pt x="204" y="173"/>
                      </a:lnTo>
                      <a:lnTo>
                        <a:pt x="203" y="173"/>
                      </a:lnTo>
                      <a:lnTo>
                        <a:pt x="203" y="172"/>
                      </a:lnTo>
                      <a:lnTo>
                        <a:pt x="203" y="172"/>
                      </a:lnTo>
                      <a:lnTo>
                        <a:pt x="203" y="171"/>
                      </a:lnTo>
                      <a:close/>
                      <a:moveTo>
                        <a:pt x="83" y="170"/>
                      </a:moveTo>
                      <a:lnTo>
                        <a:pt x="83" y="171"/>
                      </a:lnTo>
                      <a:lnTo>
                        <a:pt x="84" y="171"/>
                      </a:lnTo>
                      <a:lnTo>
                        <a:pt x="84" y="171"/>
                      </a:lnTo>
                      <a:lnTo>
                        <a:pt x="84" y="171"/>
                      </a:lnTo>
                      <a:lnTo>
                        <a:pt x="85" y="171"/>
                      </a:lnTo>
                      <a:lnTo>
                        <a:pt x="85" y="171"/>
                      </a:lnTo>
                      <a:lnTo>
                        <a:pt x="86" y="171"/>
                      </a:lnTo>
                      <a:lnTo>
                        <a:pt x="86" y="172"/>
                      </a:lnTo>
                      <a:lnTo>
                        <a:pt x="85" y="172"/>
                      </a:lnTo>
                      <a:lnTo>
                        <a:pt x="85" y="172"/>
                      </a:lnTo>
                      <a:lnTo>
                        <a:pt x="85" y="171"/>
                      </a:lnTo>
                      <a:lnTo>
                        <a:pt x="85" y="172"/>
                      </a:lnTo>
                      <a:lnTo>
                        <a:pt x="84" y="172"/>
                      </a:lnTo>
                      <a:lnTo>
                        <a:pt x="84" y="172"/>
                      </a:lnTo>
                      <a:lnTo>
                        <a:pt x="83" y="172"/>
                      </a:lnTo>
                      <a:lnTo>
                        <a:pt x="84" y="172"/>
                      </a:lnTo>
                      <a:lnTo>
                        <a:pt x="84" y="171"/>
                      </a:lnTo>
                      <a:lnTo>
                        <a:pt x="83" y="171"/>
                      </a:lnTo>
                      <a:lnTo>
                        <a:pt x="83" y="172"/>
                      </a:lnTo>
                      <a:lnTo>
                        <a:pt x="83" y="172"/>
                      </a:lnTo>
                      <a:lnTo>
                        <a:pt x="83" y="171"/>
                      </a:lnTo>
                      <a:lnTo>
                        <a:pt x="83" y="171"/>
                      </a:lnTo>
                      <a:lnTo>
                        <a:pt x="82" y="171"/>
                      </a:lnTo>
                      <a:lnTo>
                        <a:pt x="81" y="171"/>
                      </a:lnTo>
                      <a:lnTo>
                        <a:pt x="81" y="170"/>
                      </a:lnTo>
                      <a:lnTo>
                        <a:pt x="82" y="170"/>
                      </a:lnTo>
                      <a:lnTo>
                        <a:pt x="83" y="170"/>
                      </a:lnTo>
                      <a:lnTo>
                        <a:pt x="83" y="170"/>
                      </a:lnTo>
                      <a:close/>
                      <a:moveTo>
                        <a:pt x="212" y="170"/>
                      </a:moveTo>
                      <a:lnTo>
                        <a:pt x="212" y="170"/>
                      </a:lnTo>
                      <a:lnTo>
                        <a:pt x="212" y="170"/>
                      </a:lnTo>
                      <a:lnTo>
                        <a:pt x="211" y="170"/>
                      </a:lnTo>
                      <a:lnTo>
                        <a:pt x="211" y="170"/>
                      </a:lnTo>
                      <a:lnTo>
                        <a:pt x="211" y="170"/>
                      </a:lnTo>
                      <a:lnTo>
                        <a:pt x="211" y="170"/>
                      </a:lnTo>
                      <a:lnTo>
                        <a:pt x="211" y="170"/>
                      </a:lnTo>
                      <a:lnTo>
                        <a:pt x="211" y="170"/>
                      </a:lnTo>
                      <a:lnTo>
                        <a:pt x="212" y="170"/>
                      </a:lnTo>
                      <a:lnTo>
                        <a:pt x="212" y="169"/>
                      </a:lnTo>
                      <a:lnTo>
                        <a:pt x="212" y="168"/>
                      </a:lnTo>
                      <a:lnTo>
                        <a:pt x="212" y="168"/>
                      </a:lnTo>
                      <a:lnTo>
                        <a:pt x="212" y="169"/>
                      </a:lnTo>
                      <a:lnTo>
                        <a:pt x="212" y="170"/>
                      </a:lnTo>
                      <a:close/>
                      <a:moveTo>
                        <a:pt x="204" y="170"/>
                      </a:moveTo>
                      <a:lnTo>
                        <a:pt x="203" y="170"/>
                      </a:lnTo>
                      <a:lnTo>
                        <a:pt x="203" y="170"/>
                      </a:lnTo>
                      <a:lnTo>
                        <a:pt x="203" y="170"/>
                      </a:lnTo>
                      <a:lnTo>
                        <a:pt x="202" y="170"/>
                      </a:lnTo>
                      <a:lnTo>
                        <a:pt x="202" y="170"/>
                      </a:lnTo>
                      <a:lnTo>
                        <a:pt x="202" y="170"/>
                      </a:lnTo>
                      <a:lnTo>
                        <a:pt x="203" y="170"/>
                      </a:lnTo>
                      <a:lnTo>
                        <a:pt x="203" y="170"/>
                      </a:lnTo>
                      <a:lnTo>
                        <a:pt x="203" y="170"/>
                      </a:lnTo>
                      <a:lnTo>
                        <a:pt x="203" y="171"/>
                      </a:lnTo>
                      <a:lnTo>
                        <a:pt x="204" y="171"/>
                      </a:lnTo>
                      <a:lnTo>
                        <a:pt x="203" y="171"/>
                      </a:lnTo>
                      <a:lnTo>
                        <a:pt x="203" y="170"/>
                      </a:lnTo>
                      <a:lnTo>
                        <a:pt x="204" y="170"/>
                      </a:lnTo>
                      <a:lnTo>
                        <a:pt x="204" y="170"/>
                      </a:lnTo>
                      <a:lnTo>
                        <a:pt x="205" y="170"/>
                      </a:lnTo>
                      <a:lnTo>
                        <a:pt x="204" y="170"/>
                      </a:lnTo>
                      <a:lnTo>
                        <a:pt x="204" y="170"/>
                      </a:lnTo>
                      <a:lnTo>
                        <a:pt x="204" y="170"/>
                      </a:lnTo>
                      <a:lnTo>
                        <a:pt x="203" y="170"/>
                      </a:lnTo>
                      <a:lnTo>
                        <a:pt x="203" y="169"/>
                      </a:lnTo>
                      <a:lnTo>
                        <a:pt x="203" y="170"/>
                      </a:lnTo>
                      <a:lnTo>
                        <a:pt x="203" y="170"/>
                      </a:lnTo>
                      <a:lnTo>
                        <a:pt x="202" y="170"/>
                      </a:lnTo>
                      <a:lnTo>
                        <a:pt x="202" y="169"/>
                      </a:lnTo>
                      <a:lnTo>
                        <a:pt x="202" y="169"/>
                      </a:lnTo>
                      <a:lnTo>
                        <a:pt x="201" y="169"/>
                      </a:lnTo>
                      <a:lnTo>
                        <a:pt x="202" y="168"/>
                      </a:lnTo>
                      <a:lnTo>
                        <a:pt x="202" y="168"/>
                      </a:lnTo>
                      <a:lnTo>
                        <a:pt x="202" y="168"/>
                      </a:lnTo>
                      <a:lnTo>
                        <a:pt x="203" y="168"/>
                      </a:lnTo>
                      <a:lnTo>
                        <a:pt x="203" y="167"/>
                      </a:lnTo>
                      <a:lnTo>
                        <a:pt x="203" y="167"/>
                      </a:lnTo>
                      <a:lnTo>
                        <a:pt x="203" y="168"/>
                      </a:lnTo>
                      <a:lnTo>
                        <a:pt x="204" y="168"/>
                      </a:lnTo>
                      <a:lnTo>
                        <a:pt x="204" y="168"/>
                      </a:lnTo>
                      <a:lnTo>
                        <a:pt x="204" y="168"/>
                      </a:lnTo>
                      <a:lnTo>
                        <a:pt x="204" y="168"/>
                      </a:lnTo>
                      <a:lnTo>
                        <a:pt x="204" y="169"/>
                      </a:lnTo>
                      <a:lnTo>
                        <a:pt x="204" y="169"/>
                      </a:lnTo>
                      <a:lnTo>
                        <a:pt x="204" y="169"/>
                      </a:lnTo>
                      <a:lnTo>
                        <a:pt x="203" y="169"/>
                      </a:lnTo>
                      <a:lnTo>
                        <a:pt x="204" y="169"/>
                      </a:lnTo>
                      <a:lnTo>
                        <a:pt x="204" y="169"/>
                      </a:lnTo>
                      <a:lnTo>
                        <a:pt x="204" y="169"/>
                      </a:lnTo>
                      <a:lnTo>
                        <a:pt x="204" y="168"/>
                      </a:lnTo>
                      <a:lnTo>
                        <a:pt x="204" y="168"/>
                      </a:lnTo>
                      <a:lnTo>
                        <a:pt x="204" y="169"/>
                      </a:lnTo>
                      <a:lnTo>
                        <a:pt x="204" y="170"/>
                      </a:lnTo>
                      <a:lnTo>
                        <a:pt x="205" y="170"/>
                      </a:lnTo>
                      <a:lnTo>
                        <a:pt x="205" y="170"/>
                      </a:lnTo>
                      <a:lnTo>
                        <a:pt x="206" y="171"/>
                      </a:lnTo>
                      <a:lnTo>
                        <a:pt x="205" y="171"/>
                      </a:lnTo>
                      <a:lnTo>
                        <a:pt x="206" y="171"/>
                      </a:lnTo>
                      <a:lnTo>
                        <a:pt x="205" y="171"/>
                      </a:lnTo>
                      <a:lnTo>
                        <a:pt x="206" y="171"/>
                      </a:lnTo>
                      <a:lnTo>
                        <a:pt x="206" y="171"/>
                      </a:lnTo>
                      <a:lnTo>
                        <a:pt x="206" y="172"/>
                      </a:lnTo>
                      <a:lnTo>
                        <a:pt x="205" y="172"/>
                      </a:lnTo>
                      <a:lnTo>
                        <a:pt x="205" y="173"/>
                      </a:lnTo>
                      <a:lnTo>
                        <a:pt x="204" y="173"/>
                      </a:lnTo>
                      <a:lnTo>
                        <a:pt x="204" y="172"/>
                      </a:lnTo>
                      <a:lnTo>
                        <a:pt x="204" y="173"/>
                      </a:lnTo>
                      <a:lnTo>
                        <a:pt x="204" y="173"/>
                      </a:lnTo>
                      <a:lnTo>
                        <a:pt x="204" y="172"/>
                      </a:lnTo>
                      <a:lnTo>
                        <a:pt x="203" y="172"/>
                      </a:lnTo>
                      <a:lnTo>
                        <a:pt x="203" y="171"/>
                      </a:lnTo>
                      <a:lnTo>
                        <a:pt x="203" y="171"/>
                      </a:lnTo>
                      <a:lnTo>
                        <a:pt x="203" y="171"/>
                      </a:lnTo>
                      <a:lnTo>
                        <a:pt x="202" y="171"/>
                      </a:lnTo>
                      <a:lnTo>
                        <a:pt x="202" y="170"/>
                      </a:lnTo>
                      <a:lnTo>
                        <a:pt x="202" y="170"/>
                      </a:lnTo>
                      <a:lnTo>
                        <a:pt x="201" y="170"/>
                      </a:lnTo>
                      <a:lnTo>
                        <a:pt x="201" y="170"/>
                      </a:lnTo>
                      <a:lnTo>
                        <a:pt x="202" y="170"/>
                      </a:lnTo>
                      <a:lnTo>
                        <a:pt x="201" y="169"/>
                      </a:lnTo>
                      <a:lnTo>
                        <a:pt x="202" y="169"/>
                      </a:lnTo>
                      <a:lnTo>
                        <a:pt x="202" y="169"/>
                      </a:lnTo>
                      <a:lnTo>
                        <a:pt x="202" y="170"/>
                      </a:lnTo>
                      <a:lnTo>
                        <a:pt x="203" y="170"/>
                      </a:lnTo>
                      <a:lnTo>
                        <a:pt x="203" y="170"/>
                      </a:lnTo>
                      <a:lnTo>
                        <a:pt x="204" y="170"/>
                      </a:lnTo>
                      <a:lnTo>
                        <a:pt x="204" y="170"/>
                      </a:lnTo>
                      <a:lnTo>
                        <a:pt x="204" y="170"/>
                      </a:lnTo>
                      <a:lnTo>
                        <a:pt x="204" y="170"/>
                      </a:lnTo>
                      <a:close/>
                      <a:moveTo>
                        <a:pt x="206" y="168"/>
                      </a:moveTo>
                      <a:lnTo>
                        <a:pt x="207" y="168"/>
                      </a:lnTo>
                      <a:lnTo>
                        <a:pt x="207" y="168"/>
                      </a:lnTo>
                      <a:lnTo>
                        <a:pt x="206" y="168"/>
                      </a:lnTo>
                      <a:lnTo>
                        <a:pt x="207" y="168"/>
                      </a:lnTo>
                      <a:lnTo>
                        <a:pt x="207" y="168"/>
                      </a:lnTo>
                      <a:lnTo>
                        <a:pt x="207" y="168"/>
                      </a:lnTo>
                      <a:lnTo>
                        <a:pt x="207" y="168"/>
                      </a:lnTo>
                      <a:lnTo>
                        <a:pt x="207" y="169"/>
                      </a:lnTo>
                      <a:lnTo>
                        <a:pt x="208" y="168"/>
                      </a:lnTo>
                      <a:lnTo>
                        <a:pt x="208" y="169"/>
                      </a:lnTo>
                      <a:lnTo>
                        <a:pt x="208" y="170"/>
                      </a:lnTo>
                      <a:lnTo>
                        <a:pt x="207" y="170"/>
                      </a:lnTo>
                      <a:lnTo>
                        <a:pt x="207" y="170"/>
                      </a:lnTo>
                      <a:lnTo>
                        <a:pt x="207" y="171"/>
                      </a:lnTo>
                      <a:lnTo>
                        <a:pt x="207" y="171"/>
                      </a:lnTo>
                      <a:lnTo>
                        <a:pt x="207" y="170"/>
                      </a:lnTo>
                      <a:lnTo>
                        <a:pt x="206" y="170"/>
                      </a:lnTo>
                      <a:lnTo>
                        <a:pt x="206" y="170"/>
                      </a:lnTo>
                      <a:lnTo>
                        <a:pt x="206" y="170"/>
                      </a:lnTo>
                      <a:lnTo>
                        <a:pt x="205" y="170"/>
                      </a:lnTo>
                      <a:lnTo>
                        <a:pt x="205" y="169"/>
                      </a:lnTo>
                      <a:lnTo>
                        <a:pt x="204" y="169"/>
                      </a:lnTo>
                      <a:lnTo>
                        <a:pt x="205" y="169"/>
                      </a:lnTo>
                      <a:lnTo>
                        <a:pt x="204" y="169"/>
                      </a:lnTo>
                      <a:lnTo>
                        <a:pt x="204" y="168"/>
                      </a:lnTo>
                      <a:lnTo>
                        <a:pt x="204" y="168"/>
                      </a:lnTo>
                      <a:lnTo>
                        <a:pt x="204" y="168"/>
                      </a:lnTo>
                      <a:lnTo>
                        <a:pt x="203" y="167"/>
                      </a:lnTo>
                      <a:lnTo>
                        <a:pt x="203" y="167"/>
                      </a:lnTo>
                      <a:lnTo>
                        <a:pt x="203" y="166"/>
                      </a:lnTo>
                      <a:lnTo>
                        <a:pt x="203" y="166"/>
                      </a:lnTo>
                      <a:lnTo>
                        <a:pt x="203" y="166"/>
                      </a:lnTo>
                      <a:lnTo>
                        <a:pt x="204" y="166"/>
                      </a:lnTo>
                      <a:lnTo>
                        <a:pt x="204" y="165"/>
                      </a:lnTo>
                      <a:lnTo>
                        <a:pt x="204" y="166"/>
                      </a:lnTo>
                      <a:lnTo>
                        <a:pt x="204" y="166"/>
                      </a:lnTo>
                      <a:lnTo>
                        <a:pt x="203" y="166"/>
                      </a:lnTo>
                      <a:lnTo>
                        <a:pt x="204" y="166"/>
                      </a:lnTo>
                      <a:lnTo>
                        <a:pt x="204" y="166"/>
                      </a:lnTo>
                      <a:lnTo>
                        <a:pt x="204" y="166"/>
                      </a:lnTo>
                      <a:lnTo>
                        <a:pt x="204" y="166"/>
                      </a:lnTo>
                      <a:lnTo>
                        <a:pt x="205" y="167"/>
                      </a:lnTo>
                      <a:lnTo>
                        <a:pt x="206" y="167"/>
                      </a:lnTo>
                      <a:lnTo>
                        <a:pt x="206" y="167"/>
                      </a:lnTo>
                      <a:lnTo>
                        <a:pt x="207" y="167"/>
                      </a:lnTo>
                      <a:lnTo>
                        <a:pt x="207" y="167"/>
                      </a:lnTo>
                      <a:lnTo>
                        <a:pt x="206" y="167"/>
                      </a:lnTo>
                      <a:lnTo>
                        <a:pt x="206" y="168"/>
                      </a:lnTo>
                      <a:lnTo>
                        <a:pt x="206" y="168"/>
                      </a:lnTo>
                      <a:lnTo>
                        <a:pt x="205" y="168"/>
                      </a:lnTo>
                      <a:lnTo>
                        <a:pt x="205" y="168"/>
                      </a:lnTo>
                      <a:lnTo>
                        <a:pt x="205" y="169"/>
                      </a:lnTo>
                      <a:lnTo>
                        <a:pt x="205" y="168"/>
                      </a:lnTo>
                      <a:lnTo>
                        <a:pt x="205" y="168"/>
                      </a:lnTo>
                      <a:lnTo>
                        <a:pt x="206" y="168"/>
                      </a:lnTo>
                      <a:lnTo>
                        <a:pt x="206" y="168"/>
                      </a:lnTo>
                      <a:close/>
                      <a:moveTo>
                        <a:pt x="769" y="164"/>
                      </a:moveTo>
                      <a:lnTo>
                        <a:pt x="769" y="164"/>
                      </a:lnTo>
                      <a:lnTo>
                        <a:pt x="769" y="164"/>
                      </a:lnTo>
                      <a:close/>
                      <a:moveTo>
                        <a:pt x="741" y="163"/>
                      </a:moveTo>
                      <a:lnTo>
                        <a:pt x="742" y="163"/>
                      </a:lnTo>
                      <a:lnTo>
                        <a:pt x="741" y="163"/>
                      </a:lnTo>
                      <a:lnTo>
                        <a:pt x="742" y="163"/>
                      </a:lnTo>
                      <a:lnTo>
                        <a:pt x="742" y="163"/>
                      </a:lnTo>
                      <a:lnTo>
                        <a:pt x="742" y="163"/>
                      </a:lnTo>
                      <a:lnTo>
                        <a:pt x="742" y="163"/>
                      </a:lnTo>
                      <a:lnTo>
                        <a:pt x="741" y="163"/>
                      </a:lnTo>
                      <a:close/>
                      <a:moveTo>
                        <a:pt x="207" y="164"/>
                      </a:moveTo>
                      <a:lnTo>
                        <a:pt x="207" y="165"/>
                      </a:lnTo>
                      <a:lnTo>
                        <a:pt x="208" y="165"/>
                      </a:lnTo>
                      <a:lnTo>
                        <a:pt x="208" y="166"/>
                      </a:lnTo>
                      <a:lnTo>
                        <a:pt x="208" y="165"/>
                      </a:lnTo>
                      <a:lnTo>
                        <a:pt x="208" y="166"/>
                      </a:lnTo>
                      <a:lnTo>
                        <a:pt x="207" y="166"/>
                      </a:lnTo>
                      <a:lnTo>
                        <a:pt x="207" y="166"/>
                      </a:lnTo>
                      <a:lnTo>
                        <a:pt x="207" y="166"/>
                      </a:lnTo>
                      <a:lnTo>
                        <a:pt x="206" y="166"/>
                      </a:lnTo>
                      <a:lnTo>
                        <a:pt x="206" y="166"/>
                      </a:lnTo>
                      <a:lnTo>
                        <a:pt x="206" y="166"/>
                      </a:lnTo>
                      <a:lnTo>
                        <a:pt x="205" y="166"/>
                      </a:lnTo>
                      <a:lnTo>
                        <a:pt x="206" y="166"/>
                      </a:lnTo>
                      <a:lnTo>
                        <a:pt x="205" y="166"/>
                      </a:lnTo>
                      <a:lnTo>
                        <a:pt x="205" y="165"/>
                      </a:lnTo>
                      <a:lnTo>
                        <a:pt x="204" y="165"/>
                      </a:lnTo>
                      <a:lnTo>
                        <a:pt x="205" y="164"/>
                      </a:lnTo>
                      <a:lnTo>
                        <a:pt x="205" y="164"/>
                      </a:lnTo>
                      <a:lnTo>
                        <a:pt x="206" y="164"/>
                      </a:lnTo>
                      <a:lnTo>
                        <a:pt x="206" y="163"/>
                      </a:lnTo>
                      <a:lnTo>
                        <a:pt x="206" y="163"/>
                      </a:lnTo>
                      <a:lnTo>
                        <a:pt x="206" y="163"/>
                      </a:lnTo>
                      <a:lnTo>
                        <a:pt x="206" y="163"/>
                      </a:lnTo>
                      <a:lnTo>
                        <a:pt x="206" y="162"/>
                      </a:lnTo>
                      <a:lnTo>
                        <a:pt x="206" y="162"/>
                      </a:lnTo>
                      <a:lnTo>
                        <a:pt x="206" y="163"/>
                      </a:lnTo>
                      <a:lnTo>
                        <a:pt x="206" y="163"/>
                      </a:lnTo>
                      <a:lnTo>
                        <a:pt x="206" y="163"/>
                      </a:lnTo>
                      <a:lnTo>
                        <a:pt x="206" y="163"/>
                      </a:lnTo>
                      <a:lnTo>
                        <a:pt x="207" y="164"/>
                      </a:lnTo>
                      <a:lnTo>
                        <a:pt x="207" y="164"/>
                      </a:lnTo>
                      <a:lnTo>
                        <a:pt x="207" y="164"/>
                      </a:lnTo>
                      <a:close/>
                      <a:moveTo>
                        <a:pt x="733" y="164"/>
                      </a:moveTo>
                      <a:lnTo>
                        <a:pt x="733" y="164"/>
                      </a:lnTo>
                      <a:lnTo>
                        <a:pt x="733" y="164"/>
                      </a:lnTo>
                      <a:lnTo>
                        <a:pt x="733" y="164"/>
                      </a:lnTo>
                      <a:lnTo>
                        <a:pt x="733" y="164"/>
                      </a:lnTo>
                      <a:lnTo>
                        <a:pt x="733" y="164"/>
                      </a:lnTo>
                      <a:lnTo>
                        <a:pt x="733" y="164"/>
                      </a:lnTo>
                      <a:lnTo>
                        <a:pt x="734" y="164"/>
                      </a:lnTo>
                      <a:lnTo>
                        <a:pt x="734" y="163"/>
                      </a:lnTo>
                      <a:lnTo>
                        <a:pt x="734" y="163"/>
                      </a:lnTo>
                      <a:lnTo>
                        <a:pt x="734" y="163"/>
                      </a:lnTo>
                      <a:lnTo>
                        <a:pt x="734" y="163"/>
                      </a:lnTo>
                      <a:lnTo>
                        <a:pt x="735" y="163"/>
                      </a:lnTo>
                      <a:lnTo>
                        <a:pt x="735" y="163"/>
                      </a:lnTo>
                      <a:lnTo>
                        <a:pt x="736" y="163"/>
                      </a:lnTo>
                      <a:lnTo>
                        <a:pt x="736" y="163"/>
                      </a:lnTo>
                      <a:lnTo>
                        <a:pt x="736" y="163"/>
                      </a:lnTo>
                      <a:lnTo>
                        <a:pt x="736" y="162"/>
                      </a:lnTo>
                      <a:lnTo>
                        <a:pt x="736" y="162"/>
                      </a:lnTo>
                      <a:lnTo>
                        <a:pt x="737" y="162"/>
                      </a:lnTo>
                      <a:lnTo>
                        <a:pt x="736" y="162"/>
                      </a:lnTo>
                      <a:lnTo>
                        <a:pt x="736" y="162"/>
                      </a:lnTo>
                      <a:lnTo>
                        <a:pt x="737" y="162"/>
                      </a:lnTo>
                      <a:lnTo>
                        <a:pt x="738" y="162"/>
                      </a:lnTo>
                      <a:lnTo>
                        <a:pt x="738" y="162"/>
                      </a:lnTo>
                      <a:lnTo>
                        <a:pt x="738" y="163"/>
                      </a:lnTo>
                      <a:lnTo>
                        <a:pt x="738" y="163"/>
                      </a:lnTo>
                      <a:lnTo>
                        <a:pt x="738" y="163"/>
                      </a:lnTo>
                      <a:lnTo>
                        <a:pt x="738" y="163"/>
                      </a:lnTo>
                      <a:lnTo>
                        <a:pt x="737" y="163"/>
                      </a:lnTo>
                      <a:lnTo>
                        <a:pt x="737" y="163"/>
                      </a:lnTo>
                      <a:lnTo>
                        <a:pt x="737" y="164"/>
                      </a:lnTo>
                      <a:lnTo>
                        <a:pt x="736" y="164"/>
                      </a:lnTo>
                      <a:lnTo>
                        <a:pt x="736" y="164"/>
                      </a:lnTo>
                      <a:lnTo>
                        <a:pt x="735" y="164"/>
                      </a:lnTo>
                      <a:lnTo>
                        <a:pt x="735" y="164"/>
                      </a:lnTo>
                      <a:lnTo>
                        <a:pt x="735" y="165"/>
                      </a:lnTo>
                      <a:lnTo>
                        <a:pt x="734" y="165"/>
                      </a:lnTo>
                      <a:lnTo>
                        <a:pt x="734" y="166"/>
                      </a:lnTo>
                      <a:lnTo>
                        <a:pt x="734" y="165"/>
                      </a:lnTo>
                      <a:lnTo>
                        <a:pt x="734" y="165"/>
                      </a:lnTo>
                      <a:lnTo>
                        <a:pt x="733" y="165"/>
                      </a:lnTo>
                      <a:lnTo>
                        <a:pt x="734" y="165"/>
                      </a:lnTo>
                      <a:lnTo>
                        <a:pt x="734" y="165"/>
                      </a:lnTo>
                      <a:lnTo>
                        <a:pt x="734" y="166"/>
                      </a:lnTo>
                      <a:lnTo>
                        <a:pt x="734" y="165"/>
                      </a:lnTo>
                      <a:lnTo>
                        <a:pt x="735" y="165"/>
                      </a:lnTo>
                      <a:lnTo>
                        <a:pt x="735" y="165"/>
                      </a:lnTo>
                      <a:lnTo>
                        <a:pt x="735" y="166"/>
                      </a:lnTo>
                      <a:lnTo>
                        <a:pt x="735" y="166"/>
                      </a:lnTo>
                      <a:lnTo>
                        <a:pt x="735" y="167"/>
                      </a:lnTo>
                      <a:lnTo>
                        <a:pt x="734" y="166"/>
                      </a:lnTo>
                      <a:lnTo>
                        <a:pt x="734" y="167"/>
                      </a:lnTo>
                      <a:lnTo>
                        <a:pt x="733" y="167"/>
                      </a:lnTo>
                      <a:lnTo>
                        <a:pt x="732" y="167"/>
                      </a:lnTo>
                      <a:lnTo>
                        <a:pt x="732" y="167"/>
                      </a:lnTo>
                      <a:lnTo>
                        <a:pt x="732" y="166"/>
                      </a:lnTo>
                      <a:lnTo>
                        <a:pt x="732" y="167"/>
                      </a:lnTo>
                      <a:lnTo>
                        <a:pt x="732" y="167"/>
                      </a:lnTo>
                      <a:lnTo>
                        <a:pt x="732" y="167"/>
                      </a:lnTo>
                      <a:lnTo>
                        <a:pt x="732" y="167"/>
                      </a:lnTo>
                      <a:lnTo>
                        <a:pt x="731" y="167"/>
                      </a:lnTo>
                      <a:lnTo>
                        <a:pt x="731" y="167"/>
                      </a:lnTo>
                      <a:lnTo>
                        <a:pt x="731" y="167"/>
                      </a:lnTo>
                      <a:lnTo>
                        <a:pt x="731" y="166"/>
                      </a:lnTo>
                      <a:lnTo>
                        <a:pt x="730" y="166"/>
                      </a:lnTo>
                      <a:lnTo>
                        <a:pt x="730" y="166"/>
                      </a:lnTo>
                      <a:lnTo>
                        <a:pt x="731" y="166"/>
                      </a:lnTo>
                      <a:lnTo>
                        <a:pt x="730" y="166"/>
                      </a:lnTo>
                      <a:lnTo>
                        <a:pt x="730" y="165"/>
                      </a:lnTo>
                      <a:lnTo>
                        <a:pt x="731" y="165"/>
                      </a:lnTo>
                      <a:lnTo>
                        <a:pt x="731" y="166"/>
                      </a:lnTo>
                      <a:lnTo>
                        <a:pt x="731" y="166"/>
                      </a:lnTo>
                      <a:lnTo>
                        <a:pt x="731" y="165"/>
                      </a:lnTo>
                      <a:lnTo>
                        <a:pt x="731" y="164"/>
                      </a:lnTo>
                      <a:lnTo>
                        <a:pt x="732" y="164"/>
                      </a:lnTo>
                      <a:lnTo>
                        <a:pt x="732" y="164"/>
                      </a:lnTo>
                      <a:lnTo>
                        <a:pt x="732" y="164"/>
                      </a:lnTo>
                      <a:lnTo>
                        <a:pt x="733" y="164"/>
                      </a:lnTo>
                      <a:close/>
                      <a:moveTo>
                        <a:pt x="584" y="160"/>
                      </a:moveTo>
                      <a:lnTo>
                        <a:pt x="584" y="160"/>
                      </a:lnTo>
                      <a:lnTo>
                        <a:pt x="584" y="160"/>
                      </a:lnTo>
                      <a:lnTo>
                        <a:pt x="584" y="160"/>
                      </a:lnTo>
                      <a:lnTo>
                        <a:pt x="584" y="160"/>
                      </a:lnTo>
                      <a:close/>
                      <a:moveTo>
                        <a:pt x="742" y="160"/>
                      </a:moveTo>
                      <a:lnTo>
                        <a:pt x="742" y="160"/>
                      </a:lnTo>
                      <a:lnTo>
                        <a:pt x="742" y="160"/>
                      </a:lnTo>
                      <a:lnTo>
                        <a:pt x="742" y="160"/>
                      </a:lnTo>
                      <a:lnTo>
                        <a:pt x="743" y="160"/>
                      </a:lnTo>
                      <a:lnTo>
                        <a:pt x="742" y="160"/>
                      </a:lnTo>
                      <a:lnTo>
                        <a:pt x="743" y="160"/>
                      </a:lnTo>
                      <a:lnTo>
                        <a:pt x="743" y="159"/>
                      </a:lnTo>
                      <a:lnTo>
                        <a:pt x="743" y="159"/>
                      </a:lnTo>
                      <a:lnTo>
                        <a:pt x="743" y="159"/>
                      </a:lnTo>
                      <a:lnTo>
                        <a:pt x="744" y="159"/>
                      </a:lnTo>
                      <a:lnTo>
                        <a:pt x="744" y="159"/>
                      </a:lnTo>
                      <a:lnTo>
                        <a:pt x="744" y="159"/>
                      </a:lnTo>
                      <a:lnTo>
                        <a:pt x="744" y="159"/>
                      </a:lnTo>
                      <a:lnTo>
                        <a:pt x="745" y="159"/>
                      </a:lnTo>
                      <a:lnTo>
                        <a:pt x="745" y="158"/>
                      </a:lnTo>
                      <a:lnTo>
                        <a:pt x="745" y="159"/>
                      </a:lnTo>
                      <a:lnTo>
                        <a:pt x="744" y="159"/>
                      </a:lnTo>
                      <a:lnTo>
                        <a:pt x="744" y="160"/>
                      </a:lnTo>
                      <a:lnTo>
                        <a:pt x="745" y="160"/>
                      </a:lnTo>
                      <a:lnTo>
                        <a:pt x="745" y="160"/>
                      </a:lnTo>
                      <a:lnTo>
                        <a:pt x="744" y="160"/>
                      </a:lnTo>
                      <a:lnTo>
                        <a:pt x="744" y="160"/>
                      </a:lnTo>
                      <a:lnTo>
                        <a:pt x="743" y="160"/>
                      </a:lnTo>
                      <a:lnTo>
                        <a:pt x="743" y="161"/>
                      </a:lnTo>
                      <a:lnTo>
                        <a:pt x="743" y="161"/>
                      </a:lnTo>
                      <a:lnTo>
                        <a:pt x="742" y="161"/>
                      </a:lnTo>
                      <a:lnTo>
                        <a:pt x="742" y="162"/>
                      </a:lnTo>
                      <a:lnTo>
                        <a:pt x="743" y="162"/>
                      </a:lnTo>
                      <a:lnTo>
                        <a:pt x="743" y="162"/>
                      </a:lnTo>
                      <a:lnTo>
                        <a:pt x="742" y="162"/>
                      </a:lnTo>
                      <a:lnTo>
                        <a:pt x="742" y="162"/>
                      </a:lnTo>
                      <a:lnTo>
                        <a:pt x="742" y="162"/>
                      </a:lnTo>
                      <a:lnTo>
                        <a:pt x="742" y="163"/>
                      </a:lnTo>
                      <a:lnTo>
                        <a:pt x="742" y="163"/>
                      </a:lnTo>
                      <a:lnTo>
                        <a:pt x="741" y="163"/>
                      </a:lnTo>
                      <a:lnTo>
                        <a:pt x="740" y="163"/>
                      </a:lnTo>
                      <a:lnTo>
                        <a:pt x="740" y="163"/>
                      </a:lnTo>
                      <a:lnTo>
                        <a:pt x="740" y="163"/>
                      </a:lnTo>
                      <a:lnTo>
                        <a:pt x="739" y="163"/>
                      </a:lnTo>
                      <a:lnTo>
                        <a:pt x="739" y="163"/>
                      </a:lnTo>
                      <a:lnTo>
                        <a:pt x="738" y="164"/>
                      </a:lnTo>
                      <a:lnTo>
                        <a:pt x="738" y="164"/>
                      </a:lnTo>
                      <a:lnTo>
                        <a:pt x="738" y="164"/>
                      </a:lnTo>
                      <a:lnTo>
                        <a:pt x="738" y="164"/>
                      </a:lnTo>
                      <a:lnTo>
                        <a:pt x="738" y="164"/>
                      </a:lnTo>
                      <a:lnTo>
                        <a:pt x="737" y="164"/>
                      </a:lnTo>
                      <a:lnTo>
                        <a:pt x="737" y="164"/>
                      </a:lnTo>
                      <a:lnTo>
                        <a:pt x="737" y="163"/>
                      </a:lnTo>
                      <a:lnTo>
                        <a:pt x="738" y="163"/>
                      </a:lnTo>
                      <a:lnTo>
                        <a:pt x="738" y="163"/>
                      </a:lnTo>
                      <a:lnTo>
                        <a:pt x="738" y="163"/>
                      </a:lnTo>
                      <a:lnTo>
                        <a:pt x="738" y="163"/>
                      </a:lnTo>
                      <a:lnTo>
                        <a:pt x="738" y="163"/>
                      </a:lnTo>
                      <a:lnTo>
                        <a:pt x="739" y="162"/>
                      </a:lnTo>
                      <a:lnTo>
                        <a:pt x="738" y="162"/>
                      </a:lnTo>
                      <a:lnTo>
                        <a:pt x="738" y="162"/>
                      </a:lnTo>
                      <a:lnTo>
                        <a:pt x="739" y="162"/>
                      </a:lnTo>
                      <a:lnTo>
                        <a:pt x="738" y="162"/>
                      </a:lnTo>
                      <a:lnTo>
                        <a:pt x="738" y="161"/>
                      </a:lnTo>
                      <a:lnTo>
                        <a:pt x="738" y="162"/>
                      </a:lnTo>
                      <a:lnTo>
                        <a:pt x="738" y="161"/>
                      </a:lnTo>
                      <a:lnTo>
                        <a:pt x="739" y="161"/>
                      </a:lnTo>
                      <a:lnTo>
                        <a:pt x="739" y="160"/>
                      </a:lnTo>
                      <a:lnTo>
                        <a:pt x="739" y="160"/>
                      </a:lnTo>
                      <a:lnTo>
                        <a:pt x="740" y="160"/>
                      </a:lnTo>
                      <a:lnTo>
                        <a:pt x="740" y="160"/>
                      </a:lnTo>
                      <a:lnTo>
                        <a:pt x="740" y="159"/>
                      </a:lnTo>
                      <a:lnTo>
                        <a:pt x="740" y="160"/>
                      </a:lnTo>
                      <a:lnTo>
                        <a:pt x="740" y="159"/>
                      </a:lnTo>
                      <a:lnTo>
                        <a:pt x="740" y="159"/>
                      </a:lnTo>
                      <a:lnTo>
                        <a:pt x="741" y="159"/>
                      </a:lnTo>
                      <a:lnTo>
                        <a:pt x="742" y="160"/>
                      </a:lnTo>
                      <a:lnTo>
                        <a:pt x="742" y="160"/>
                      </a:lnTo>
                      <a:lnTo>
                        <a:pt x="742" y="160"/>
                      </a:lnTo>
                      <a:close/>
                      <a:moveTo>
                        <a:pt x="750" y="157"/>
                      </a:moveTo>
                      <a:lnTo>
                        <a:pt x="750" y="157"/>
                      </a:lnTo>
                      <a:lnTo>
                        <a:pt x="750" y="157"/>
                      </a:lnTo>
                      <a:lnTo>
                        <a:pt x="750" y="158"/>
                      </a:lnTo>
                      <a:lnTo>
                        <a:pt x="750" y="157"/>
                      </a:lnTo>
                      <a:lnTo>
                        <a:pt x="750" y="157"/>
                      </a:lnTo>
                      <a:lnTo>
                        <a:pt x="750" y="157"/>
                      </a:lnTo>
                      <a:lnTo>
                        <a:pt x="750" y="157"/>
                      </a:lnTo>
                      <a:lnTo>
                        <a:pt x="750" y="157"/>
                      </a:lnTo>
                      <a:lnTo>
                        <a:pt x="750" y="157"/>
                      </a:lnTo>
                      <a:lnTo>
                        <a:pt x="750" y="158"/>
                      </a:lnTo>
                      <a:lnTo>
                        <a:pt x="750" y="158"/>
                      </a:lnTo>
                      <a:lnTo>
                        <a:pt x="750" y="159"/>
                      </a:lnTo>
                      <a:lnTo>
                        <a:pt x="750" y="159"/>
                      </a:lnTo>
                      <a:lnTo>
                        <a:pt x="750" y="159"/>
                      </a:lnTo>
                      <a:lnTo>
                        <a:pt x="750" y="160"/>
                      </a:lnTo>
                      <a:lnTo>
                        <a:pt x="749" y="160"/>
                      </a:lnTo>
                      <a:lnTo>
                        <a:pt x="749" y="160"/>
                      </a:lnTo>
                      <a:lnTo>
                        <a:pt x="749" y="160"/>
                      </a:lnTo>
                      <a:lnTo>
                        <a:pt x="748" y="160"/>
                      </a:lnTo>
                      <a:lnTo>
                        <a:pt x="747" y="160"/>
                      </a:lnTo>
                      <a:lnTo>
                        <a:pt x="747" y="160"/>
                      </a:lnTo>
                      <a:lnTo>
                        <a:pt x="747" y="161"/>
                      </a:lnTo>
                      <a:lnTo>
                        <a:pt x="746" y="162"/>
                      </a:lnTo>
                      <a:lnTo>
                        <a:pt x="746" y="162"/>
                      </a:lnTo>
                      <a:lnTo>
                        <a:pt x="746" y="161"/>
                      </a:lnTo>
                      <a:lnTo>
                        <a:pt x="745" y="161"/>
                      </a:lnTo>
                      <a:lnTo>
                        <a:pt x="746" y="161"/>
                      </a:lnTo>
                      <a:lnTo>
                        <a:pt x="746" y="162"/>
                      </a:lnTo>
                      <a:lnTo>
                        <a:pt x="746" y="162"/>
                      </a:lnTo>
                      <a:lnTo>
                        <a:pt x="747" y="161"/>
                      </a:lnTo>
                      <a:lnTo>
                        <a:pt x="747" y="160"/>
                      </a:lnTo>
                      <a:lnTo>
                        <a:pt x="747" y="160"/>
                      </a:lnTo>
                      <a:lnTo>
                        <a:pt x="748" y="160"/>
                      </a:lnTo>
                      <a:lnTo>
                        <a:pt x="749" y="160"/>
                      </a:lnTo>
                      <a:lnTo>
                        <a:pt x="749" y="160"/>
                      </a:lnTo>
                      <a:lnTo>
                        <a:pt x="749" y="160"/>
                      </a:lnTo>
                      <a:lnTo>
                        <a:pt x="750" y="160"/>
                      </a:lnTo>
                      <a:lnTo>
                        <a:pt x="750" y="160"/>
                      </a:lnTo>
                      <a:lnTo>
                        <a:pt x="749" y="160"/>
                      </a:lnTo>
                      <a:lnTo>
                        <a:pt x="750" y="160"/>
                      </a:lnTo>
                      <a:lnTo>
                        <a:pt x="750" y="161"/>
                      </a:lnTo>
                      <a:lnTo>
                        <a:pt x="749" y="161"/>
                      </a:lnTo>
                      <a:lnTo>
                        <a:pt x="749" y="161"/>
                      </a:lnTo>
                      <a:lnTo>
                        <a:pt x="749" y="161"/>
                      </a:lnTo>
                      <a:lnTo>
                        <a:pt x="749" y="161"/>
                      </a:lnTo>
                      <a:lnTo>
                        <a:pt x="749" y="162"/>
                      </a:lnTo>
                      <a:lnTo>
                        <a:pt x="749" y="162"/>
                      </a:lnTo>
                      <a:lnTo>
                        <a:pt x="749" y="162"/>
                      </a:lnTo>
                      <a:lnTo>
                        <a:pt x="748" y="162"/>
                      </a:lnTo>
                      <a:lnTo>
                        <a:pt x="747" y="162"/>
                      </a:lnTo>
                      <a:lnTo>
                        <a:pt x="747" y="162"/>
                      </a:lnTo>
                      <a:lnTo>
                        <a:pt x="747" y="162"/>
                      </a:lnTo>
                      <a:lnTo>
                        <a:pt x="747" y="163"/>
                      </a:lnTo>
                      <a:lnTo>
                        <a:pt x="746" y="163"/>
                      </a:lnTo>
                      <a:lnTo>
                        <a:pt x="747" y="163"/>
                      </a:lnTo>
                      <a:lnTo>
                        <a:pt x="746" y="163"/>
                      </a:lnTo>
                      <a:lnTo>
                        <a:pt x="746" y="163"/>
                      </a:lnTo>
                      <a:lnTo>
                        <a:pt x="745" y="163"/>
                      </a:lnTo>
                      <a:lnTo>
                        <a:pt x="745" y="163"/>
                      </a:lnTo>
                      <a:lnTo>
                        <a:pt x="745" y="163"/>
                      </a:lnTo>
                      <a:lnTo>
                        <a:pt x="744" y="163"/>
                      </a:lnTo>
                      <a:lnTo>
                        <a:pt x="744" y="163"/>
                      </a:lnTo>
                      <a:lnTo>
                        <a:pt x="743" y="163"/>
                      </a:lnTo>
                      <a:lnTo>
                        <a:pt x="743" y="163"/>
                      </a:lnTo>
                      <a:lnTo>
                        <a:pt x="743" y="162"/>
                      </a:lnTo>
                      <a:lnTo>
                        <a:pt x="743" y="162"/>
                      </a:lnTo>
                      <a:lnTo>
                        <a:pt x="744" y="163"/>
                      </a:lnTo>
                      <a:lnTo>
                        <a:pt x="744" y="162"/>
                      </a:lnTo>
                      <a:lnTo>
                        <a:pt x="743" y="162"/>
                      </a:lnTo>
                      <a:lnTo>
                        <a:pt x="743" y="162"/>
                      </a:lnTo>
                      <a:lnTo>
                        <a:pt x="743" y="163"/>
                      </a:lnTo>
                      <a:lnTo>
                        <a:pt x="742" y="163"/>
                      </a:lnTo>
                      <a:lnTo>
                        <a:pt x="742" y="162"/>
                      </a:lnTo>
                      <a:lnTo>
                        <a:pt x="743" y="162"/>
                      </a:lnTo>
                      <a:lnTo>
                        <a:pt x="743" y="162"/>
                      </a:lnTo>
                      <a:lnTo>
                        <a:pt x="742" y="162"/>
                      </a:lnTo>
                      <a:lnTo>
                        <a:pt x="742" y="161"/>
                      </a:lnTo>
                      <a:lnTo>
                        <a:pt x="743" y="161"/>
                      </a:lnTo>
                      <a:lnTo>
                        <a:pt x="743" y="161"/>
                      </a:lnTo>
                      <a:lnTo>
                        <a:pt x="743" y="160"/>
                      </a:lnTo>
                      <a:lnTo>
                        <a:pt x="744" y="160"/>
                      </a:lnTo>
                      <a:lnTo>
                        <a:pt x="744" y="160"/>
                      </a:lnTo>
                      <a:lnTo>
                        <a:pt x="744" y="161"/>
                      </a:lnTo>
                      <a:lnTo>
                        <a:pt x="744" y="160"/>
                      </a:lnTo>
                      <a:lnTo>
                        <a:pt x="744" y="160"/>
                      </a:lnTo>
                      <a:lnTo>
                        <a:pt x="744" y="160"/>
                      </a:lnTo>
                      <a:lnTo>
                        <a:pt x="745" y="160"/>
                      </a:lnTo>
                      <a:lnTo>
                        <a:pt x="745" y="160"/>
                      </a:lnTo>
                      <a:lnTo>
                        <a:pt x="745" y="159"/>
                      </a:lnTo>
                      <a:lnTo>
                        <a:pt x="744" y="159"/>
                      </a:lnTo>
                      <a:lnTo>
                        <a:pt x="745" y="159"/>
                      </a:lnTo>
                      <a:lnTo>
                        <a:pt x="745" y="159"/>
                      </a:lnTo>
                      <a:lnTo>
                        <a:pt x="746" y="158"/>
                      </a:lnTo>
                      <a:lnTo>
                        <a:pt x="746" y="158"/>
                      </a:lnTo>
                      <a:lnTo>
                        <a:pt x="746" y="158"/>
                      </a:lnTo>
                      <a:lnTo>
                        <a:pt x="746" y="158"/>
                      </a:lnTo>
                      <a:lnTo>
                        <a:pt x="747" y="158"/>
                      </a:lnTo>
                      <a:lnTo>
                        <a:pt x="747" y="157"/>
                      </a:lnTo>
                      <a:lnTo>
                        <a:pt x="748" y="157"/>
                      </a:lnTo>
                      <a:lnTo>
                        <a:pt x="749" y="157"/>
                      </a:lnTo>
                      <a:lnTo>
                        <a:pt x="749" y="158"/>
                      </a:lnTo>
                      <a:lnTo>
                        <a:pt x="749" y="157"/>
                      </a:lnTo>
                      <a:lnTo>
                        <a:pt x="749" y="157"/>
                      </a:lnTo>
                      <a:lnTo>
                        <a:pt x="749" y="157"/>
                      </a:lnTo>
                      <a:lnTo>
                        <a:pt x="749" y="157"/>
                      </a:lnTo>
                      <a:lnTo>
                        <a:pt x="749" y="157"/>
                      </a:lnTo>
                      <a:lnTo>
                        <a:pt x="750" y="157"/>
                      </a:lnTo>
                      <a:lnTo>
                        <a:pt x="750" y="156"/>
                      </a:lnTo>
                      <a:lnTo>
                        <a:pt x="751" y="156"/>
                      </a:lnTo>
                      <a:lnTo>
                        <a:pt x="751" y="156"/>
                      </a:lnTo>
                      <a:lnTo>
                        <a:pt x="751" y="156"/>
                      </a:lnTo>
                      <a:lnTo>
                        <a:pt x="751" y="156"/>
                      </a:lnTo>
                      <a:lnTo>
                        <a:pt x="751" y="157"/>
                      </a:lnTo>
                      <a:lnTo>
                        <a:pt x="750" y="157"/>
                      </a:lnTo>
                      <a:lnTo>
                        <a:pt x="750" y="157"/>
                      </a:lnTo>
                      <a:lnTo>
                        <a:pt x="750" y="157"/>
                      </a:lnTo>
                      <a:close/>
                      <a:moveTo>
                        <a:pt x="751" y="156"/>
                      </a:moveTo>
                      <a:lnTo>
                        <a:pt x="752" y="156"/>
                      </a:lnTo>
                      <a:lnTo>
                        <a:pt x="751" y="156"/>
                      </a:lnTo>
                      <a:lnTo>
                        <a:pt x="751" y="156"/>
                      </a:lnTo>
                      <a:lnTo>
                        <a:pt x="751" y="156"/>
                      </a:lnTo>
                      <a:lnTo>
                        <a:pt x="751" y="156"/>
                      </a:lnTo>
                      <a:lnTo>
                        <a:pt x="751" y="156"/>
                      </a:lnTo>
                      <a:lnTo>
                        <a:pt x="751" y="156"/>
                      </a:lnTo>
                      <a:lnTo>
                        <a:pt x="751" y="155"/>
                      </a:lnTo>
                      <a:lnTo>
                        <a:pt x="752" y="155"/>
                      </a:lnTo>
                      <a:lnTo>
                        <a:pt x="751" y="155"/>
                      </a:lnTo>
                      <a:lnTo>
                        <a:pt x="752" y="155"/>
                      </a:lnTo>
                      <a:lnTo>
                        <a:pt x="751" y="155"/>
                      </a:lnTo>
                      <a:lnTo>
                        <a:pt x="752" y="155"/>
                      </a:lnTo>
                      <a:lnTo>
                        <a:pt x="753" y="155"/>
                      </a:lnTo>
                      <a:lnTo>
                        <a:pt x="752" y="155"/>
                      </a:lnTo>
                      <a:lnTo>
                        <a:pt x="753" y="155"/>
                      </a:lnTo>
                      <a:lnTo>
                        <a:pt x="752" y="155"/>
                      </a:lnTo>
                      <a:lnTo>
                        <a:pt x="752" y="156"/>
                      </a:lnTo>
                      <a:lnTo>
                        <a:pt x="752" y="155"/>
                      </a:lnTo>
                      <a:lnTo>
                        <a:pt x="752" y="156"/>
                      </a:lnTo>
                      <a:lnTo>
                        <a:pt x="753" y="155"/>
                      </a:lnTo>
                      <a:lnTo>
                        <a:pt x="753" y="156"/>
                      </a:lnTo>
                      <a:lnTo>
                        <a:pt x="753" y="156"/>
                      </a:lnTo>
                      <a:lnTo>
                        <a:pt x="753" y="156"/>
                      </a:lnTo>
                      <a:lnTo>
                        <a:pt x="752" y="156"/>
                      </a:lnTo>
                      <a:lnTo>
                        <a:pt x="751" y="156"/>
                      </a:lnTo>
                      <a:close/>
                      <a:moveTo>
                        <a:pt x="623" y="155"/>
                      </a:moveTo>
                      <a:lnTo>
                        <a:pt x="623" y="155"/>
                      </a:lnTo>
                      <a:lnTo>
                        <a:pt x="624" y="155"/>
                      </a:lnTo>
                      <a:lnTo>
                        <a:pt x="623" y="155"/>
                      </a:lnTo>
                      <a:lnTo>
                        <a:pt x="623" y="155"/>
                      </a:lnTo>
                      <a:lnTo>
                        <a:pt x="623" y="155"/>
                      </a:lnTo>
                      <a:lnTo>
                        <a:pt x="623" y="155"/>
                      </a:lnTo>
                      <a:close/>
                      <a:moveTo>
                        <a:pt x="753" y="155"/>
                      </a:moveTo>
                      <a:lnTo>
                        <a:pt x="754" y="155"/>
                      </a:lnTo>
                      <a:lnTo>
                        <a:pt x="754" y="155"/>
                      </a:lnTo>
                      <a:lnTo>
                        <a:pt x="754" y="155"/>
                      </a:lnTo>
                      <a:lnTo>
                        <a:pt x="753" y="155"/>
                      </a:lnTo>
                      <a:lnTo>
                        <a:pt x="753" y="155"/>
                      </a:lnTo>
                      <a:lnTo>
                        <a:pt x="753" y="155"/>
                      </a:lnTo>
                      <a:lnTo>
                        <a:pt x="753" y="155"/>
                      </a:lnTo>
                      <a:lnTo>
                        <a:pt x="753" y="155"/>
                      </a:lnTo>
                      <a:close/>
                      <a:moveTo>
                        <a:pt x="750" y="154"/>
                      </a:moveTo>
                      <a:lnTo>
                        <a:pt x="750" y="154"/>
                      </a:lnTo>
                      <a:lnTo>
                        <a:pt x="750" y="154"/>
                      </a:lnTo>
                      <a:close/>
                      <a:moveTo>
                        <a:pt x="743" y="157"/>
                      </a:moveTo>
                      <a:lnTo>
                        <a:pt x="743" y="158"/>
                      </a:lnTo>
                      <a:lnTo>
                        <a:pt x="743" y="157"/>
                      </a:lnTo>
                      <a:lnTo>
                        <a:pt x="743" y="157"/>
                      </a:lnTo>
                      <a:lnTo>
                        <a:pt x="743" y="157"/>
                      </a:lnTo>
                      <a:lnTo>
                        <a:pt x="743" y="157"/>
                      </a:lnTo>
                      <a:lnTo>
                        <a:pt x="744" y="157"/>
                      </a:lnTo>
                      <a:lnTo>
                        <a:pt x="743" y="157"/>
                      </a:lnTo>
                      <a:lnTo>
                        <a:pt x="743" y="157"/>
                      </a:lnTo>
                      <a:lnTo>
                        <a:pt x="743" y="157"/>
                      </a:lnTo>
                      <a:lnTo>
                        <a:pt x="743" y="157"/>
                      </a:lnTo>
                      <a:lnTo>
                        <a:pt x="743" y="158"/>
                      </a:lnTo>
                      <a:lnTo>
                        <a:pt x="743" y="157"/>
                      </a:lnTo>
                      <a:lnTo>
                        <a:pt x="742" y="157"/>
                      </a:lnTo>
                      <a:lnTo>
                        <a:pt x="742" y="158"/>
                      </a:lnTo>
                      <a:lnTo>
                        <a:pt x="742" y="158"/>
                      </a:lnTo>
                      <a:lnTo>
                        <a:pt x="741" y="158"/>
                      </a:lnTo>
                      <a:lnTo>
                        <a:pt x="741" y="157"/>
                      </a:lnTo>
                      <a:lnTo>
                        <a:pt x="742" y="157"/>
                      </a:lnTo>
                      <a:lnTo>
                        <a:pt x="742" y="157"/>
                      </a:lnTo>
                      <a:lnTo>
                        <a:pt x="742" y="157"/>
                      </a:lnTo>
                      <a:lnTo>
                        <a:pt x="742" y="157"/>
                      </a:lnTo>
                      <a:lnTo>
                        <a:pt x="743" y="157"/>
                      </a:lnTo>
                      <a:lnTo>
                        <a:pt x="743" y="156"/>
                      </a:lnTo>
                      <a:lnTo>
                        <a:pt x="744" y="156"/>
                      </a:lnTo>
                      <a:lnTo>
                        <a:pt x="744" y="157"/>
                      </a:lnTo>
                      <a:lnTo>
                        <a:pt x="744" y="157"/>
                      </a:lnTo>
                      <a:lnTo>
                        <a:pt x="744" y="157"/>
                      </a:lnTo>
                      <a:lnTo>
                        <a:pt x="744" y="157"/>
                      </a:lnTo>
                      <a:lnTo>
                        <a:pt x="744" y="157"/>
                      </a:lnTo>
                      <a:lnTo>
                        <a:pt x="744" y="156"/>
                      </a:lnTo>
                      <a:lnTo>
                        <a:pt x="744" y="156"/>
                      </a:lnTo>
                      <a:lnTo>
                        <a:pt x="745" y="156"/>
                      </a:lnTo>
                      <a:lnTo>
                        <a:pt x="745" y="156"/>
                      </a:lnTo>
                      <a:lnTo>
                        <a:pt x="746" y="156"/>
                      </a:lnTo>
                      <a:lnTo>
                        <a:pt x="746" y="155"/>
                      </a:lnTo>
                      <a:lnTo>
                        <a:pt x="746" y="155"/>
                      </a:lnTo>
                      <a:lnTo>
                        <a:pt x="746" y="155"/>
                      </a:lnTo>
                      <a:lnTo>
                        <a:pt x="746" y="154"/>
                      </a:lnTo>
                      <a:lnTo>
                        <a:pt x="747" y="154"/>
                      </a:lnTo>
                      <a:lnTo>
                        <a:pt x="747" y="154"/>
                      </a:lnTo>
                      <a:lnTo>
                        <a:pt x="747" y="154"/>
                      </a:lnTo>
                      <a:lnTo>
                        <a:pt x="747" y="154"/>
                      </a:lnTo>
                      <a:lnTo>
                        <a:pt x="748" y="154"/>
                      </a:lnTo>
                      <a:lnTo>
                        <a:pt x="749" y="154"/>
                      </a:lnTo>
                      <a:lnTo>
                        <a:pt x="748" y="154"/>
                      </a:lnTo>
                      <a:lnTo>
                        <a:pt x="749" y="154"/>
                      </a:lnTo>
                      <a:lnTo>
                        <a:pt x="748" y="154"/>
                      </a:lnTo>
                      <a:lnTo>
                        <a:pt x="748" y="155"/>
                      </a:lnTo>
                      <a:lnTo>
                        <a:pt x="749" y="154"/>
                      </a:lnTo>
                      <a:lnTo>
                        <a:pt x="749" y="154"/>
                      </a:lnTo>
                      <a:lnTo>
                        <a:pt x="750" y="154"/>
                      </a:lnTo>
                      <a:lnTo>
                        <a:pt x="749" y="154"/>
                      </a:lnTo>
                      <a:lnTo>
                        <a:pt x="750" y="154"/>
                      </a:lnTo>
                      <a:lnTo>
                        <a:pt x="749" y="154"/>
                      </a:lnTo>
                      <a:lnTo>
                        <a:pt x="749" y="155"/>
                      </a:lnTo>
                      <a:lnTo>
                        <a:pt x="749" y="155"/>
                      </a:lnTo>
                      <a:lnTo>
                        <a:pt x="749" y="156"/>
                      </a:lnTo>
                      <a:lnTo>
                        <a:pt x="748" y="156"/>
                      </a:lnTo>
                      <a:lnTo>
                        <a:pt x="748" y="156"/>
                      </a:lnTo>
                      <a:lnTo>
                        <a:pt x="748" y="156"/>
                      </a:lnTo>
                      <a:lnTo>
                        <a:pt x="749" y="156"/>
                      </a:lnTo>
                      <a:lnTo>
                        <a:pt x="749" y="156"/>
                      </a:lnTo>
                      <a:lnTo>
                        <a:pt x="749" y="156"/>
                      </a:lnTo>
                      <a:lnTo>
                        <a:pt x="749" y="156"/>
                      </a:lnTo>
                      <a:lnTo>
                        <a:pt x="749" y="156"/>
                      </a:lnTo>
                      <a:lnTo>
                        <a:pt x="749" y="156"/>
                      </a:lnTo>
                      <a:lnTo>
                        <a:pt x="749" y="157"/>
                      </a:lnTo>
                      <a:lnTo>
                        <a:pt x="748" y="157"/>
                      </a:lnTo>
                      <a:lnTo>
                        <a:pt x="747" y="157"/>
                      </a:lnTo>
                      <a:lnTo>
                        <a:pt x="747" y="158"/>
                      </a:lnTo>
                      <a:lnTo>
                        <a:pt x="746" y="158"/>
                      </a:lnTo>
                      <a:lnTo>
                        <a:pt x="746" y="158"/>
                      </a:lnTo>
                      <a:lnTo>
                        <a:pt x="745" y="158"/>
                      </a:lnTo>
                      <a:lnTo>
                        <a:pt x="745" y="159"/>
                      </a:lnTo>
                      <a:lnTo>
                        <a:pt x="744" y="159"/>
                      </a:lnTo>
                      <a:lnTo>
                        <a:pt x="744" y="158"/>
                      </a:lnTo>
                      <a:lnTo>
                        <a:pt x="745" y="158"/>
                      </a:lnTo>
                      <a:lnTo>
                        <a:pt x="744" y="158"/>
                      </a:lnTo>
                      <a:lnTo>
                        <a:pt x="744" y="159"/>
                      </a:lnTo>
                      <a:lnTo>
                        <a:pt x="744" y="158"/>
                      </a:lnTo>
                      <a:lnTo>
                        <a:pt x="744" y="159"/>
                      </a:lnTo>
                      <a:lnTo>
                        <a:pt x="744" y="159"/>
                      </a:lnTo>
                      <a:lnTo>
                        <a:pt x="744" y="159"/>
                      </a:lnTo>
                      <a:lnTo>
                        <a:pt x="744" y="159"/>
                      </a:lnTo>
                      <a:lnTo>
                        <a:pt x="744" y="159"/>
                      </a:lnTo>
                      <a:lnTo>
                        <a:pt x="744" y="159"/>
                      </a:lnTo>
                      <a:lnTo>
                        <a:pt x="744" y="159"/>
                      </a:lnTo>
                      <a:lnTo>
                        <a:pt x="744" y="159"/>
                      </a:lnTo>
                      <a:lnTo>
                        <a:pt x="743" y="159"/>
                      </a:lnTo>
                      <a:lnTo>
                        <a:pt x="743" y="159"/>
                      </a:lnTo>
                      <a:lnTo>
                        <a:pt x="743" y="159"/>
                      </a:lnTo>
                      <a:lnTo>
                        <a:pt x="743" y="160"/>
                      </a:lnTo>
                      <a:lnTo>
                        <a:pt x="742" y="160"/>
                      </a:lnTo>
                      <a:lnTo>
                        <a:pt x="742" y="160"/>
                      </a:lnTo>
                      <a:lnTo>
                        <a:pt x="741" y="159"/>
                      </a:lnTo>
                      <a:lnTo>
                        <a:pt x="740" y="159"/>
                      </a:lnTo>
                      <a:lnTo>
                        <a:pt x="740" y="159"/>
                      </a:lnTo>
                      <a:lnTo>
                        <a:pt x="741" y="159"/>
                      </a:lnTo>
                      <a:lnTo>
                        <a:pt x="742" y="159"/>
                      </a:lnTo>
                      <a:lnTo>
                        <a:pt x="742" y="158"/>
                      </a:lnTo>
                      <a:lnTo>
                        <a:pt x="742" y="158"/>
                      </a:lnTo>
                      <a:lnTo>
                        <a:pt x="742" y="157"/>
                      </a:lnTo>
                      <a:lnTo>
                        <a:pt x="743" y="157"/>
                      </a:lnTo>
                      <a:close/>
                      <a:moveTo>
                        <a:pt x="643" y="154"/>
                      </a:moveTo>
                      <a:lnTo>
                        <a:pt x="643" y="154"/>
                      </a:lnTo>
                      <a:lnTo>
                        <a:pt x="643" y="154"/>
                      </a:lnTo>
                      <a:lnTo>
                        <a:pt x="643" y="153"/>
                      </a:lnTo>
                      <a:lnTo>
                        <a:pt x="642" y="153"/>
                      </a:lnTo>
                      <a:lnTo>
                        <a:pt x="642" y="153"/>
                      </a:lnTo>
                      <a:lnTo>
                        <a:pt x="642" y="153"/>
                      </a:lnTo>
                      <a:lnTo>
                        <a:pt x="642" y="153"/>
                      </a:lnTo>
                      <a:lnTo>
                        <a:pt x="643" y="153"/>
                      </a:lnTo>
                      <a:lnTo>
                        <a:pt x="642" y="153"/>
                      </a:lnTo>
                      <a:lnTo>
                        <a:pt x="643" y="153"/>
                      </a:lnTo>
                      <a:lnTo>
                        <a:pt x="643" y="153"/>
                      </a:lnTo>
                      <a:lnTo>
                        <a:pt x="644" y="153"/>
                      </a:lnTo>
                      <a:lnTo>
                        <a:pt x="645" y="153"/>
                      </a:lnTo>
                      <a:lnTo>
                        <a:pt x="645" y="152"/>
                      </a:lnTo>
                      <a:lnTo>
                        <a:pt x="646" y="152"/>
                      </a:lnTo>
                      <a:lnTo>
                        <a:pt x="647" y="152"/>
                      </a:lnTo>
                      <a:lnTo>
                        <a:pt x="647" y="152"/>
                      </a:lnTo>
                      <a:lnTo>
                        <a:pt x="647" y="152"/>
                      </a:lnTo>
                      <a:lnTo>
                        <a:pt x="647" y="152"/>
                      </a:lnTo>
                      <a:lnTo>
                        <a:pt x="647" y="153"/>
                      </a:lnTo>
                      <a:lnTo>
                        <a:pt x="648" y="153"/>
                      </a:lnTo>
                      <a:lnTo>
                        <a:pt x="648" y="152"/>
                      </a:lnTo>
                      <a:lnTo>
                        <a:pt x="648" y="153"/>
                      </a:lnTo>
                      <a:lnTo>
                        <a:pt x="649" y="153"/>
                      </a:lnTo>
                      <a:lnTo>
                        <a:pt x="649" y="153"/>
                      </a:lnTo>
                      <a:lnTo>
                        <a:pt x="649" y="153"/>
                      </a:lnTo>
                      <a:lnTo>
                        <a:pt x="649" y="154"/>
                      </a:lnTo>
                      <a:lnTo>
                        <a:pt x="649" y="155"/>
                      </a:lnTo>
                      <a:lnTo>
                        <a:pt x="648" y="155"/>
                      </a:lnTo>
                      <a:lnTo>
                        <a:pt x="648" y="155"/>
                      </a:lnTo>
                      <a:lnTo>
                        <a:pt x="647" y="155"/>
                      </a:lnTo>
                      <a:lnTo>
                        <a:pt x="647" y="155"/>
                      </a:lnTo>
                      <a:lnTo>
                        <a:pt x="646" y="155"/>
                      </a:lnTo>
                      <a:lnTo>
                        <a:pt x="646" y="155"/>
                      </a:lnTo>
                      <a:lnTo>
                        <a:pt x="646" y="155"/>
                      </a:lnTo>
                      <a:lnTo>
                        <a:pt x="645" y="155"/>
                      </a:lnTo>
                      <a:lnTo>
                        <a:pt x="645" y="154"/>
                      </a:lnTo>
                      <a:lnTo>
                        <a:pt x="645" y="155"/>
                      </a:lnTo>
                      <a:lnTo>
                        <a:pt x="645" y="154"/>
                      </a:lnTo>
                      <a:lnTo>
                        <a:pt x="645" y="155"/>
                      </a:lnTo>
                      <a:lnTo>
                        <a:pt x="644" y="154"/>
                      </a:lnTo>
                      <a:lnTo>
                        <a:pt x="643" y="154"/>
                      </a:lnTo>
                      <a:lnTo>
                        <a:pt x="644" y="154"/>
                      </a:lnTo>
                      <a:lnTo>
                        <a:pt x="643" y="154"/>
                      </a:lnTo>
                      <a:lnTo>
                        <a:pt x="643" y="155"/>
                      </a:lnTo>
                      <a:lnTo>
                        <a:pt x="643" y="154"/>
                      </a:lnTo>
                      <a:lnTo>
                        <a:pt x="643" y="154"/>
                      </a:lnTo>
                      <a:lnTo>
                        <a:pt x="643" y="155"/>
                      </a:lnTo>
                      <a:lnTo>
                        <a:pt x="643" y="154"/>
                      </a:lnTo>
                      <a:lnTo>
                        <a:pt x="642" y="154"/>
                      </a:lnTo>
                      <a:lnTo>
                        <a:pt x="642" y="154"/>
                      </a:lnTo>
                      <a:lnTo>
                        <a:pt x="641" y="154"/>
                      </a:lnTo>
                      <a:lnTo>
                        <a:pt x="641" y="153"/>
                      </a:lnTo>
                      <a:lnTo>
                        <a:pt x="642" y="153"/>
                      </a:lnTo>
                      <a:lnTo>
                        <a:pt x="642" y="153"/>
                      </a:lnTo>
                      <a:lnTo>
                        <a:pt x="643" y="153"/>
                      </a:lnTo>
                      <a:lnTo>
                        <a:pt x="643" y="154"/>
                      </a:lnTo>
                      <a:close/>
                      <a:moveTo>
                        <a:pt x="624" y="155"/>
                      </a:moveTo>
                      <a:lnTo>
                        <a:pt x="625" y="155"/>
                      </a:lnTo>
                      <a:lnTo>
                        <a:pt x="625" y="156"/>
                      </a:lnTo>
                      <a:lnTo>
                        <a:pt x="625" y="155"/>
                      </a:lnTo>
                      <a:lnTo>
                        <a:pt x="624" y="155"/>
                      </a:lnTo>
                      <a:lnTo>
                        <a:pt x="624" y="155"/>
                      </a:lnTo>
                      <a:lnTo>
                        <a:pt x="624" y="155"/>
                      </a:lnTo>
                      <a:lnTo>
                        <a:pt x="624" y="154"/>
                      </a:lnTo>
                      <a:lnTo>
                        <a:pt x="624" y="155"/>
                      </a:lnTo>
                      <a:lnTo>
                        <a:pt x="624" y="155"/>
                      </a:lnTo>
                      <a:lnTo>
                        <a:pt x="624" y="154"/>
                      </a:lnTo>
                      <a:lnTo>
                        <a:pt x="624" y="154"/>
                      </a:lnTo>
                      <a:lnTo>
                        <a:pt x="624" y="155"/>
                      </a:lnTo>
                      <a:lnTo>
                        <a:pt x="624" y="155"/>
                      </a:lnTo>
                      <a:lnTo>
                        <a:pt x="624" y="155"/>
                      </a:lnTo>
                      <a:lnTo>
                        <a:pt x="625" y="155"/>
                      </a:lnTo>
                      <a:lnTo>
                        <a:pt x="624" y="155"/>
                      </a:lnTo>
                      <a:lnTo>
                        <a:pt x="624" y="154"/>
                      </a:lnTo>
                      <a:lnTo>
                        <a:pt x="625" y="154"/>
                      </a:lnTo>
                      <a:lnTo>
                        <a:pt x="625" y="154"/>
                      </a:lnTo>
                      <a:lnTo>
                        <a:pt x="625" y="154"/>
                      </a:lnTo>
                      <a:lnTo>
                        <a:pt x="625" y="154"/>
                      </a:lnTo>
                      <a:lnTo>
                        <a:pt x="625" y="153"/>
                      </a:lnTo>
                      <a:lnTo>
                        <a:pt x="626" y="153"/>
                      </a:lnTo>
                      <a:lnTo>
                        <a:pt x="627" y="153"/>
                      </a:lnTo>
                      <a:lnTo>
                        <a:pt x="627" y="153"/>
                      </a:lnTo>
                      <a:lnTo>
                        <a:pt x="627" y="153"/>
                      </a:lnTo>
                      <a:lnTo>
                        <a:pt x="627" y="153"/>
                      </a:lnTo>
                      <a:lnTo>
                        <a:pt x="627" y="153"/>
                      </a:lnTo>
                      <a:lnTo>
                        <a:pt x="628" y="153"/>
                      </a:lnTo>
                      <a:lnTo>
                        <a:pt x="628" y="153"/>
                      </a:lnTo>
                      <a:lnTo>
                        <a:pt x="627" y="153"/>
                      </a:lnTo>
                      <a:lnTo>
                        <a:pt x="628" y="153"/>
                      </a:lnTo>
                      <a:lnTo>
                        <a:pt x="627" y="153"/>
                      </a:lnTo>
                      <a:lnTo>
                        <a:pt x="628" y="153"/>
                      </a:lnTo>
                      <a:lnTo>
                        <a:pt x="628" y="153"/>
                      </a:lnTo>
                      <a:lnTo>
                        <a:pt x="628" y="153"/>
                      </a:lnTo>
                      <a:lnTo>
                        <a:pt x="628" y="153"/>
                      </a:lnTo>
                      <a:lnTo>
                        <a:pt x="629" y="153"/>
                      </a:lnTo>
                      <a:lnTo>
                        <a:pt x="629" y="154"/>
                      </a:lnTo>
                      <a:lnTo>
                        <a:pt x="630" y="154"/>
                      </a:lnTo>
                      <a:lnTo>
                        <a:pt x="630" y="155"/>
                      </a:lnTo>
                      <a:lnTo>
                        <a:pt x="631" y="155"/>
                      </a:lnTo>
                      <a:lnTo>
                        <a:pt x="630" y="155"/>
                      </a:lnTo>
                      <a:lnTo>
                        <a:pt x="630" y="155"/>
                      </a:lnTo>
                      <a:lnTo>
                        <a:pt x="631" y="155"/>
                      </a:lnTo>
                      <a:lnTo>
                        <a:pt x="630" y="155"/>
                      </a:lnTo>
                      <a:lnTo>
                        <a:pt x="630" y="155"/>
                      </a:lnTo>
                      <a:lnTo>
                        <a:pt x="630" y="156"/>
                      </a:lnTo>
                      <a:lnTo>
                        <a:pt x="630" y="156"/>
                      </a:lnTo>
                      <a:lnTo>
                        <a:pt x="630" y="156"/>
                      </a:lnTo>
                      <a:lnTo>
                        <a:pt x="630" y="155"/>
                      </a:lnTo>
                      <a:lnTo>
                        <a:pt x="630" y="155"/>
                      </a:lnTo>
                      <a:lnTo>
                        <a:pt x="631" y="156"/>
                      </a:lnTo>
                      <a:lnTo>
                        <a:pt x="631" y="155"/>
                      </a:lnTo>
                      <a:lnTo>
                        <a:pt x="630" y="155"/>
                      </a:lnTo>
                      <a:lnTo>
                        <a:pt x="631" y="155"/>
                      </a:lnTo>
                      <a:lnTo>
                        <a:pt x="630" y="155"/>
                      </a:lnTo>
                      <a:lnTo>
                        <a:pt x="630" y="154"/>
                      </a:lnTo>
                      <a:lnTo>
                        <a:pt x="630" y="154"/>
                      </a:lnTo>
                      <a:lnTo>
                        <a:pt x="629" y="154"/>
                      </a:lnTo>
                      <a:lnTo>
                        <a:pt x="629" y="153"/>
                      </a:lnTo>
                      <a:lnTo>
                        <a:pt x="628" y="153"/>
                      </a:lnTo>
                      <a:lnTo>
                        <a:pt x="628" y="153"/>
                      </a:lnTo>
                      <a:lnTo>
                        <a:pt x="628" y="153"/>
                      </a:lnTo>
                      <a:lnTo>
                        <a:pt x="628" y="153"/>
                      </a:lnTo>
                      <a:lnTo>
                        <a:pt x="628" y="153"/>
                      </a:lnTo>
                      <a:lnTo>
                        <a:pt x="628" y="153"/>
                      </a:lnTo>
                      <a:lnTo>
                        <a:pt x="629" y="153"/>
                      </a:lnTo>
                      <a:lnTo>
                        <a:pt x="629" y="152"/>
                      </a:lnTo>
                      <a:lnTo>
                        <a:pt x="630" y="152"/>
                      </a:lnTo>
                      <a:lnTo>
                        <a:pt x="630" y="152"/>
                      </a:lnTo>
                      <a:lnTo>
                        <a:pt x="631" y="152"/>
                      </a:lnTo>
                      <a:lnTo>
                        <a:pt x="631" y="152"/>
                      </a:lnTo>
                      <a:lnTo>
                        <a:pt x="632" y="152"/>
                      </a:lnTo>
                      <a:lnTo>
                        <a:pt x="632" y="152"/>
                      </a:lnTo>
                      <a:lnTo>
                        <a:pt x="633" y="152"/>
                      </a:lnTo>
                      <a:lnTo>
                        <a:pt x="634" y="152"/>
                      </a:lnTo>
                      <a:lnTo>
                        <a:pt x="634" y="152"/>
                      </a:lnTo>
                      <a:lnTo>
                        <a:pt x="635" y="152"/>
                      </a:lnTo>
                      <a:lnTo>
                        <a:pt x="635" y="152"/>
                      </a:lnTo>
                      <a:lnTo>
                        <a:pt x="635" y="152"/>
                      </a:lnTo>
                      <a:lnTo>
                        <a:pt x="635" y="152"/>
                      </a:lnTo>
                      <a:lnTo>
                        <a:pt x="635" y="152"/>
                      </a:lnTo>
                      <a:lnTo>
                        <a:pt x="635" y="152"/>
                      </a:lnTo>
                      <a:lnTo>
                        <a:pt x="635" y="152"/>
                      </a:lnTo>
                      <a:lnTo>
                        <a:pt x="634" y="152"/>
                      </a:lnTo>
                      <a:lnTo>
                        <a:pt x="634" y="152"/>
                      </a:lnTo>
                      <a:lnTo>
                        <a:pt x="633" y="152"/>
                      </a:lnTo>
                      <a:lnTo>
                        <a:pt x="634" y="152"/>
                      </a:lnTo>
                      <a:lnTo>
                        <a:pt x="634" y="152"/>
                      </a:lnTo>
                      <a:lnTo>
                        <a:pt x="634" y="152"/>
                      </a:lnTo>
                      <a:lnTo>
                        <a:pt x="634" y="152"/>
                      </a:lnTo>
                      <a:lnTo>
                        <a:pt x="634" y="152"/>
                      </a:lnTo>
                      <a:lnTo>
                        <a:pt x="635" y="152"/>
                      </a:lnTo>
                      <a:lnTo>
                        <a:pt x="635" y="152"/>
                      </a:lnTo>
                      <a:lnTo>
                        <a:pt x="636" y="152"/>
                      </a:lnTo>
                      <a:lnTo>
                        <a:pt x="636" y="153"/>
                      </a:lnTo>
                      <a:lnTo>
                        <a:pt x="636" y="152"/>
                      </a:lnTo>
                      <a:lnTo>
                        <a:pt x="636" y="153"/>
                      </a:lnTo>
                      <a:lnTo>
                        <a:pt x="636" y="153"/>
                      </a:lnTo>
                      <a:lnTo>
                        <a:pt x="636" y="153"/>
                      </a:lnTo>
                      <a:lnTo>
                        <a:pt x="636" y="153"/>
                      </a:lnTo>
                      <a:lnTo>
                        <a:pt x="635" y="153"/>
                      </a:lnTo>
                      <a:lnTo>
                        <a:pt x="635" y="154"/>
                      </a:lnTo>
                      <a:lnTo>
                        <a:pt x="636" y="154"/>
                      </a:lnTo>
                      <a:lnTo>
                        <a:pt x="636" y="153"/>
                      </a:lnTo>
                      <a:lnTo>
                        <a:pt x="636" y="153"/>
                      </a:lnTo>
                      <a:lnTo>
                        <a:pt x="636" y="153"/>
                      </a:lnTo>
                      <a:lnTo>
                        <a:pt x="637" y="153"/>
                      </a:lnTo>
                      <a:lnTo>
                        <a:pt x="636" y="153"/>
                      </a:lnTo>
                      <a:lnTo>
                        <a:pt x="637" y="153"/>
                      </a:lnTo>
                      <a:lnTo>
                        <a:pt x="636" y="153"/>
                      </a:lnTo>
                      <a:lnTo>
                        <a:pt x="637" y="153"/>
                      </a:lnTo>
                      <a:lnTo>
                        <a:pt x="638" y="153"/>
                      </a:lnTo>
                      <a:lnTo>
                        <a:pt x="637" y="153"/>
                      </a:lnTo>
                      <a:lnTo>
                        <a:pt x="636" y="153"/>
                      </a:lnTo>
                      <a:lnTo>
                        <a:pt x="637" y="153"/>
                      </a:lnTo>
                      <a:lnTo>
                        <a:pt x="638" y="152"/>
                      </a:lnTo>
                      <a:lnTo>
                        <a:pt x="637" y="152"/>
                      </a:lnTo>
                      <a:lnTo>
                        <a:pt x="637" y="153"/>
                      </a:lnTo>
                      <a:lnTo>
                        <a:pt x="636" y="152"/>
                      </a:lnTo>
                      <a:lnTo>
                        <a:pt x="636" y="153"/>
                      </a:lnTo>
                      <a:lnTo>
                        <a:pt x="636" y="153"/>
                      </a:lnTo>
                      <a:lnTo>
                        <a:pt x="636" y="152"/>
                      </a:lnTo>
                      <a:lnTo>
                        <a:pt x="635" y="152"/>
                      </a:lnTo>
                      <a:lnTo>
                        <a:pt x="636" y="152"/>
                      </a:lnTo>
                      <a:lnTo>
                        <a:pt x="636" y="152"/>
                      </a:lnTo>
                      <a:lnTo>
                        <a:pt x="637" y="152"/>
                      </a:lnTo>
                      <a:lnTo>
                        <a:pt x="638" y="152"/>
                      </a:lnTo>
                      <a:lnTo>
                        <a:pt x="638" y="152"/>
                      </a:lnTo>
                      <a:lnTo>
                        <a:pt x="638" y="152"/>
                      </a:lnTo>
                      <a:lnTo>
                        <a:pt x="638" y="152"/>
                      </a:lnTo>
                      <a:lnTo>
                        <a:pt x="638" y="152"/>
                      </a:lnTo>
                      <a:lnTo>
                        <a:pt x="638" y="153"/>
                      </a:lnTo>
                      <a:lnTo>
                        <a:pt x="638" y="153"/>
                      </a:lnTo>
                      <a:lnTo>
                        <a:pt x="638" y="153"/>
                      </a:lnTo>
                      <a:lnTo>
                        <a:pt x="638" y="153"/>
                      </a:lnTo>
                      <a:lnTo>
                        <a:pt x="638" y="153"/>
                      </a:lnTo>
                      <a:lnTo>
                        <a:pt x="638" y="153"/>
                      </a:lnTo>
                      <a:lnTo>
                        <a:pt x="638" y="153"/>
                      </a:lnTo>
                      <a:lnTo>
                        <a:pt x="638" y="153"/>
                      </a:lnTo>
                      <a:lnTo>
                        <a:pt x="639" y="153"/>
                      </a:lnTo>
                      <a:lnTo>
                        <a:pt x="639" y="153"/>
                      </a:lnTo>
                      <a:lnTo>
                        <a:pt x="639" y="153"/>
                      </a:lnTo>
                      <a:lnTo>
                        <a:pt x="639" y="153"/>
                      </a:lnTo>
                      <a:lnTo>
                        <a:pt x="639" y="153"/>
                      </a:lnTo>
                      <a:lnTo>
                        <a:pt x="639" y="153"/>
                      </a:lnTo>
                      <a:lnTo>
                        <a:pt x="638" y="153"/>
                      </a:lnTo>
                      <a:lnTo>
                        <a:pt x="638" y="153"/>
                      </a:lnTo>
                      <a:lnTo>
                        <a:pt x="638" y="154"/>
                      </a:lnTo>
                      <a:lnTo>
                        <a:pt x="637" y="154"/>
                      </a:lnTo>
                      <a:lnTo>
                        <a:pt x="636" y="154"/>
                      </a:lnTo>
                      <a:lnTo>
                        <a:pt x="636" y="154"/>
                      </a:lnTo>
                      <a:lnTo>
                        <a:pt x="636" y="155"/>
                      </a:lnTo>
                      <a:lnTo>
                        <a:pt x="635" y="155"/>
                      </a:lnTo>
                      <a:lnTo>
                        <a:pt x="635" y="154"/>
                      </a:lnTo>
                      <a:lnTo>
                        <a:pt x="636" y="154"/>
                      </a:lnTo>
                      <a:lnTo>
                        <a:pt x="635" y="154"/>
                      </a:lnTo>
                      <a:lnTo>
                        <a:pt x="635" y="155"/>
                      </a:lnTo>
                      <a:lnTo>
                        <a:pt x="635" y="155"/>
                      </a:lnTo>
                      <a:lnTo>
                        <a:pt x="635" y="155"/>
                      </a:lnTo>
                      <a:lnTo>
                        <a:pt x="635" y="155"/>
                      </a:lnTo>
                      <a:lnTo>
                        <a:pt x="635" y="155"/>
                      </a:lnTo>
                      <a:lnTo>
                        <a:pt x="635" y="155"/>
                      </a:lnTo>
                      <a:lnTo>
                        <a:pt x="635" y="155"/>
                      </a:lnTo>
                      <a:lnTo>
                        <a:pt x="634" y="155"/>
                      </a:lnTo>
                      <a:lnTo>
                        <a:pt x="634" y="155"/>
                      </a:lnTo>
                      <a:lnTo>
                        <a:pt x="634" y="156"/>
                      </a:lnTo>
                      <a:lnTo>
                        <a:pt x="635" y="156"/>
                      </a:lnTo>
                      <a:lnTo>
                        <a:pt x="634" y="156"/>
                      </a:lnTo>
                      <a:lnTo>
                        <a:pt x="634" y="156"/>
                      </a:lnTo>
                      <a:lnTo>
                        <a:pt x="634" y="156"/>
                      </a:lnTo>
                      <a:lnTo>
                        <a:pt x="634" y="157"/>
                      </a:lnTo>
                      <a:lnTo>
                        <a:pt x="633" y="157"/>
                      </a:lnTo>
                      <a:lnTo>
                        <a:pt x="634" y="157"/>
                      </a:lnTo>
                      <a:lnTo>
                        <a:pt x="634" y="157"/>
                      </a:lnTo>
                      <a:lnTo>
                        <a:pt x="634" y="157"/>
                      </a:lnTo>
                      <a:lnTo>
                        <a:pt x="635" y="158"/>
                      </a:lnTo>
                      <a:lnTo>
                        <a:pt x="634" y="158"/>
                      </a:lnTo>
                      <a:lnTo>
                        <a:pt x="634" y="158"/>
                      </a:lnTo>
                      <a:lnTo>
                        <a:pt x="634" y="158"/>
                      </a:lnTo>
                      <a:lnTo>
                        <a:pt x="634" y="159"/>
                      </a:lnTo>
                      <a:lnTo>
                        <a:pt x="634" y="159"/>
                      </a:lnTo>
                      <a:lnTo>
                        <a:pt x="634" y="159"/>
                      </a:lnTo>
                      <a:lnTo>
                        <a:pt x="634" y="159"/>
                      </a:lnTo>
                      <a:lnTo>
                        <a:pt x="635" y="159"/>
                      </a:lnTo>
                      <a:lnTo>
                        <a:pt x="634" y="159"/>
                      </a:lnTo>
                      <a:lnTo>
                        <a:pt x="634" y="159"/>
                      </a:lnTo>
                      <a:lnTo>
                        <a:pt x="633" y="159"/>
                      </a:lnTo>
                      <a:lnTo>
                        <a:pt x="633" y="159"/>
                      </a:lnTo>
                      <a:lnTo>
                        <a:pt x="632" y="159"/>
                      </a:lnTo>
                      <a:lnTo>
                        <a:pt x="632" y="159"/>
                      </a:lnTo>
                      <a:lnTo>
                        <a:pt x="632" y="159"/>
                      </a:lnTo>
                      <a:lnTo>
                        <a:pt x="632" y="158"/>
                      </a:lnTo>
                      <a:lnTo>
                        <a:pt x="632" y="157"/>
                      </a:lnTo>
                      <a:lnTo>
                        <a:pt x="632" y="157"/>
                      </a:lnTo>
                      <a:lnTo>
                        <a:pt x="631" y="157"/>
                      </a:lnTo>
                      <a:lnTo>
                        <a:pt x="631" y="157"/>
                      </a:lnTo>
                      <a:lnTo>
                        <a:pt x="631" y="157"/>
                      </a:lnTo>
                      <a:lnTo>
                        <a:pt x="631" y="157"/>
                      </a:lnTo>
                      <a:lnTo>
                        <a:pt x="631" y="157"/>
                      </a:lnTo>
                      <a:lnTo>
                        <a:pt x="630" y="157"/>
                      </a:lnTo>
                      <a:lnTo>
                        <a:pt x="630" y="157"/>
                      </a:lnTo>
                      <a:lnTo>
                        <a:pt x="631" y="157"/>
                      </a:lnTo>
                      <a:lnTo>
                        <a:pt x="631" y="156"/>
                      </a:lnTo>
                      <a:lnTo>
                        <a:pt x="630" y="156"/>
                      </a:lnTo>
                      <a:lnTo>
                        <a:pt x="630" y="156"/>
                      </a:lnTo>
                      <a:lnTo>
                        <a:pt x="630" y="156"/>
                      </a:lnTo>
                      <a:lnTo>
                        <a:pt x="629" y="156"/>
                      </a:lnTo>
                      <a:lnTo>
                        <a:pt x="629" y="156"/>
                      </a:lnTo>
                      <a:lnTo>
                        <a:pt x="629" y="156"/>
                      </a:lnTo>
                      <a:lnTo>
                        <a:pt x="629" y="156"/>
                      </a:lnTo>
                      <a:lnTo>
                        <a:pt x="628" y="156"/>
                      </a:lnTo>
                      <a:lnTo>
                        <a:pt x="628" y="156"/>
                      </a:lnTo>
                      <a:lnTo>
                        <a:pt x="628" y="156"/>
                      </a:lnTo>
                      <a:lnTo>
                        <a:pt x="627" y="156"/>
                      </a:lnTo>
                      <a:lnTo>
                        <a:pt x="627" y="156"/>
                      </a:lnTo>
                      <a:lnTo>
                        <a:pt x="627" y="156"/>
                      </a:lnTo>
                      <a:lnTo>
                        <a:pt x="627" y="156"/>
                      </a:lnTo>
                      <a:lnTo>
                        <a:pt x="626" y="156"/>
                      </a:lnTo>
                      <a:lnTo>
                        <a:pt x="626" y="156"/>
                      </a:lnTo>
                      <a:lnTo>
                        <a:pt x="626" y="156"/>
                      </a:lnTo>
                      <a:lnTo>
                        <a:pt x="625" y="156"/>
                      </a:lnTo>
                      <a:lnTo>
                        <a:pt x="625" y="156"/>
                      </a:lnTo>
                      <a:lnTo>
                        <a:pt x="625" y="156"/>
                      </a:lnTo>
                      <a:lnTo>
                        <a:pt x="625" y="156"/>
                      </a:lnTo>
                      <a:lnTo>
                        <a:pt x="624" y="156"/>
                      </a:lnTo>
                      <a:lnTo>
                        <a:pt x="624" y="155"/>
                      </a:lnTo>
                      <a:close/>
                      <a:moveTo>
                        <a:pt x="746" y="152"/>
                      </a:moveTo>
                      <a:lnTo>
                        <a:pt x="746" y="153"/>
                      </a:lnTo>
                      <a:lnTo>
                        <a:pt x="745" y="153"/>
                      </a:lnTo>
                      <a:lnTo>
                        <a:pt x="746" y="153"/>
                      </a:lnTo>
                      <a:lnTo>
                        <a:pt x="745" y="153"/>
                      </a:lnTo>
                      <a:lnTo>
                        <a:pt x="746" y="153"/>
                      </a:lnTo>
                      <a:lnTo>
                        <a:pt x="746" y="153"/>
                      </a:lnTo>
                      <a:lnTo>
                        <a:pt x="745" y="153"/>
                      </a:lnTo>
                      <a:lnTo>
                        <a:pt x="746" y="153"/>
                      </a:lnTo>
                      <a:lnTo>
                        <a:pt x="745" y="154"/>
                      </a:lnTo>
                      <a:lnTo>
                        <a:pt x="745" y="153"/>
                      </a:lnTo>
                      <a:lnTo>
                        <a:pt x="745" y="154"/>
                      </a:lnTo>
                      <a:lnTo>
                        <a:pt x="744" y="154"/>
                      </a:lnTo>
                      <a:lnTo>
                        <a:pt x="744" y="153"/>
                      </a:lnTo>
                      <a:lnTo>
                        <a:pt x="744" y="153"/>
                      </a:lnTo>
                      <a:lnTo>
                        <a:pt x="744" y="153"/>
                      </a:lnTo>
                      <a:lnTo>
                        <a:pt x="744" y="153"/>
                      </a:lnTo>
                      <a:lnTo>
                        <a:pt x="744" y="152"/>
                      </a:lnTo>
                      <a:lnTo>
                        <a:pt x="743" y="152"/>
                      </a:lnTo>
                      <a:lnTo>
                        <a:pt x="743" y="152"/>
                      </a:lnTo>
                      <a:lnTo>
                        <a:pt x="744" y="152"/>
                      </a:lnTo>
                      <a:lnTo>
                        <a:pt x="744" y="152"/>
                      </a:lnTo>
                      <a:lnTo>
                        <a:pt x="744" y="152"/>
                      </a:lnTo>
                      <a:lnTo>
                        <a:pt x="744" y="152"/>
                      </a:lnTo>
                      <a:lnTo>
                        <a:pt x="745" y="152"/>
                      </a:lnTo>
                      <a:lnTo>
                        <a:pt x="746" y="152"/>
                      </a:lnTo>
                      <a:lnTo>
                        <a:pt x="745" y="152"/>
                      </a:lnTo>
                      <a:lnTo>
                        <a:pt x="746" y="152"/>
                      </a:lnTo>
                      <a:lnTo>
                        <a:pt x="746" y="152"/>
                      </a:lnTo>
                      <a:lnTo>
                        <a:pt x="746" y="152"/>
                      </a:lnTo>
                      <a:close/>
                      <a:moveTo>
                        <a:pt x="376" y="140"/>
                      </a:moveTo>
                      <a:lnTo>
                        <a:pt x="377" y="139"/>
                      </a:lnTo>
                      <a:lnTo>
                        <a:pt x="376" y="139"/>
                      </a:lnTo>
                      <a:lnTo>
                        <a:pt x="377" y="139"/>
                      </a:lnTo>
                      <a:lnTo>
                        <a:pt x="377" y="139"/>
                      </a:lnTo>
                      <a:lnTo>
                        <a:pt x="378" y="139"/>
                      </a:lnTo>
                      <a:lnTo>
                        <a:pt x="378" y="140"/>
                      </a:lnTo>
                      <a:lnTo>
                        <a:pt x="377" y="140"/>
                      </a:lnTo>
                      <a:lnTo>
                        <a:pt x="377" y="140"/>
                      </a:lnTo>
                      <a:lnTo>
                        <a:pt x="376" y="140"/>
                      </a:lnTo>
                      <a:lnTo>
                        <a:pt x="375" y="140"/>
                      </a:lnTo>
                      <a:lnTo>
                        <a:pt x="375" y="140"/>
                      </a:lnTo>
                      <a:lnTo>
                        <a:pt x="374" y="140"/>
                      </a:lnTo>
                      <a:lnTo>
                        <a:pt x="374" y="141"/>
                      </a:lnTo>
                      <a:lnTo>
                        <a:pt x="373" y="140"/>
                      </a:lnTo>
                      <a:lnTo>
                        <a:pt x="372" y="140"/>
                      </a:lnTo>
                      <a:lnTo>
                        <a:pt x="372" y="140"/>
                      </a:lnTo>
                      <a:lnTo>
                        <a:pt x="372" y="140"/>
                      </a:lnTo>
                      <a:lnTo>
                        <a:pt x="372" y="140"/>
                      </a:lnTo>
                      <a:lnTo>
                        <a:pt x="373" y="140"/>
                      </a:lnTo>
                      <a:lnTo>
                        <a:pt x="374" y="140"/>
                      </a:lnTo>
                      <a:lnTo>
                        <a:pt x="374" y="140"/>
                      </a:lnTo>
                      <a:lnTo>
                        <a:pt x="374" y="140"/>
                      </a:lnTo>
                      <a:lnTo>
                        <a:pt x="375" y="140"/>
                      </a:lnTo>
                      <a:lnTo>
                        <a:pt x="375" y="140"/>
                      </a:lnTo>
                      <a:lnTo>
                        <a:pt x="376" y="139"/>
                      </a:lnTo>
                      <a:lnTo>
                        <a:pt x="377" y="139"/>
                      </a:lnTo>
                      <a:lnTo>
                        <a:pt x="376" y="140"/>
                      </a:lnTo>
                      <a:close/>
                      <a:moveTo>
                        <a:pt x="504" y="130"/>
                      </a:moveTo>
                      <a:lnTo>
                        <a:pt x="504" y="130"/>
                      </a:lnTo>
                      <a:lnTo>
                        <a:pt x="505" y="130"/>
                      </a:lnTo>
                      <a:lnTo>
                        <a:pt x="505" y="129"/>
                      </a:lnTo>
                      <a:lnTo>
                        <a:pt x="505" y="130"/>
                      </a:lnTo>
                      <a:lnTo>
                        <a:pt x="505" y="129"/>
                      </a:lnTo>
                      <a:lnTo>
                        <a:pt x="505" y="130"/>
                      </a:lnTo>
                      <a:lnTo>
                        <a:pt x="505" y="130"/>
                      </a:lnTo>
                      <a:lnTo>
                        <a:pt x="504" y="130"/>
                      </a:lnTo>
                      <a:lnTo>
                        <a:pt x="505" y="130"/>
                      </a:lnTo>
                      <a:lnTo>
                        <a:pt x="504" y="130"/>
                      </a:lnTo>
                      <a:close/>
                      <a:moveTo>
                        <a:pt x="503" y="130"/>
                      </a:moveTo>
                      <a:lnTo>
                        <a:pt x="504" y="130"/>
                      </a:lnTo>
                      <a:lnTo>
                        <a:pt x="504" y="130"/>
                      </a:lnTo>
                      <a:lnTo>
                        <a:pt x="504" y="130"/>
                      </a:lnTo>
                      <a:lnTo>
                        <a:pt x="504" y="131"/>
                      </a:lnTo>
                      <a:lnTo>
                        <a:pt x="504" y="130"/>
                      </a:lnTo>
                      <a:lnTo>
                        <a:pt x="504" y="130"/>
                      </a:lnTo>
                      <a:lnTo>
                        <a:pt x="504" y="131"/>
                      </a:lnTo>
                      <a:lnTo>
                        <a:pt x="504" y="131"/>
                      </a:lnTo>
                      <a:lnTo>
                        <a:pt x="504" y="131"/>
                      </a:lnTo>
                      <a:lnTo>
                        <a:pt x="504" y="131"/>
                      </a:lnTo>
                      <a:lnTo>
                        <a:pt x="504" y="131"/>
                      </a:lnTo>
                      <a:lnTo>
                        <a:pt x="504" y="130"/>
                      </a:lnTo>
                      <a:lnTo>
                        <a:pt x="504" y="131"/>
                      </a:lnTo>
                      <a:lnTo>
                        <a:pt x="504" y="130"/>
                      </a:lnTo>
                      <a:lnTo>
                        <a:pt x="505" y="130"/>
                      </a:lnTo>
                      <a:lnTo>
                        <a:pt x="505" y="130"/>
                      </a:lnTo>
                      <a:lnTo>
                        <a:pt x="505" y="130"/>
                      </a:lnTo>
                      <a:lnTo>
                        <a:pt x="506" y="130"/>
                      </a:lnTo>
                      <a:lnTo>
                        <a:pt x="505" y="130"/>
                      </a:lnTo>
                      <a:lnTo>
                        <a:pt x="505" y="130"/>
                      </a:lnTo>
                      <a:lnTo>
                        <a:pt x="504" y="130"/>
                      </a:lnTo>
                      <a:lnTo>
                        <a:pt x="505" y="130"/>
                      </a:lnTo>
                      <a:lnTo>
                        <a:pt x="505" y="130"/>
                      </a:lnTo>
                      <a:lnTo>
                        <a:pt x="506" y="130"/>
                      </a:lnTo>
                      <a:lnTo>
                        <a:pt x="507" y="130"/>
                      </a:lnTo>
                      <a:lnTo>
                        <a:pt x="507" y="130"/>
                      </a:lnTo>
                      <a:lnTo>
                        <a:pt x="507" y="130"/>
                      </a:lnTo>
                      <a:lnTo>
                        <a:pt x="507" y="130"/>
                      </a:lnTo>
                      <a:lnTo>
                        <a:pt x="507" y="131"/>
                      </a:lnTo>
                      <a:lnTo>
                        <a:pt x="507" y="131"/>
                      </a:lnTo>
                      <a:lnTo>
                        <a:pt x="506" y="131"/>
                      </a:lnTo>
                      <a:lnTo>
                        <a:pt x="505" y="131"/>
                      </a:lnTo>
                      <a:lnTo>
                        <a:pt x="505" y="131"/>
                      </a:lnTo>
                      <a:lnTo>
                        <a:pt x="504" y="131"/>
                      </a:lnTo>
                      <a:lnTo>
                        <a:pt x="505" y="131"/>
                      </a:lnTo>
                      <a:lnTo>
                        <a:pt x="504" y="131"/>
                      </a:lnTo>
                      <a:lnTo>
                        <a:pt x="504" y="131"/>
                      </a:lnTo>
                      <a:lnTo>
                        <a:pt x="503" y="131"/>
                      </a:lnTo>
                      <a:lnTo>
                        <a:pt x="502" y="131"/>
                      </a:lnTo>
                      <a:lnTo>
                        <a:pt x="502" y="131"/>
                      </a:lnTo>
                      <a:lnTo>
                        <a:pt x="503" y="131"/>
                      </a:lnTo>
                      <a:lnTo>
                        <a:pt x="503" y="130"/>
                      </a:lnTo>
                      <a:lnTo>
                        <a:pt x="503" y="131"/>
                      </a:lnTo>
                      <a:lnTo>
                        <a:pt x="503" y="130"/>
                      </a:lnTo>
                      <a:lnTo>
                        <a:pt x="502" y="130"/>
                      </a:lnTo>
                      <a:lnTo>
                        <a:pt x="502" y="130"/>
                      </a:lnTo>
                      <a:lnTo>
                        <a:pt x="502" y="130"/>
                      </a:lnTo>
                      <a:lnTo>
                        <a:pt x="502" y="130"/>
                      </a:lnTo>
                      <a:lnTo>
                        <a:pt x="502" y="129"/>
                      </a:lnTo>
                      <a:lnTo>
                        <a:pt x="503" y="129"/>
                      </a:lnTo>
                      <a:lnTo>
                        <a:pt x="503" y="130"/>
                      </a:lnTo>
                      <a:lnTo>
                        <a:pt x="503" y="130"/>
                      </a:lnTo>
                      <a:lnTo>
                        <a:pt x="503" y="130"/>
                      </a:lnTo>
                      <a:lnTo>
                        <a:pt x="503" y="129"/>
                      </a:lnTo>
                      <a:lnTo>
                        <a:pt x="504" y="130"/>
                      </a:lnTo>
                      <a:lnTo>
                        <a:pt x="503" y="130"/>
                      </a:lnTo>
                      <a:lnTo>
                        <a:pt x="504" y="130"/>
                      </a:lnTo>
                      <a:lnTo>
                        <a:pt x="504" y="130"/>
                      </a:lnTo>
                      <a:lnTo>
                        <a:pt x="503" y="130"/>
                      </a:lnTo>
                      <a:close/>
                      <a:moveTo>
                        <a:pt x="501" y="129"/>
                      </a:moveTo>
                      <a:lnTo>
                        <a:pt x="501" y="129"/>
                      </a:lnTo>
                      <a:lnTo>
                        <a:pt x="501" y="130"/>
                      </a:lnTo>
                      <a:lnTo>
                        <a:pt x="501" y="129"/>
                      </a:lnTo>
                      <a:lnTo>
                        <a:pt x="501" y="130"/>
                      </a:lnTo>
                      <a:lnTo>
                        <a:pt x="501" y="129"/>
                      </a:lnTo>
                      <a:lnTo>
                        <a:pt x="501" y="129"/>
                      </a:lnTo>
                      <a:lnTo>
                        <a:pt x="501" y="129"/>
                      </a:lnTo>
                      <a:lnTo>
                        <a:pt x="501" y="129"/>
                      </a:lnTo>
                      <a:lnTo>
                        <a:pt x="502" y="129"/>
                      </a:lnTo>
                      <a:lnTo>
                        <a:pt x="502" y="130"/>
                      </a:lnTo>
                      <a:lnTo>
                        <a:pt x="501" y="130"/>
                      </a:lnTo>
                      <a:lnTo>
                        <a:pt x="501" y="130"/>
                      </a:lnTo>
                      <a:lnTo>
                        <a:pt x="501" y="129"/>
                      </a:lnTo>
                      <a:close/>
                      <a:moveTo>
                        <a:pt x="449" y="125"/>
                      </a:moveTo>
                      <a:lnTo>
                        <a:pt x="449" y="125"/>
                      </a:lnTo>
                      <a:lnTo>
                        <a:pt x="449" y="125"/>
                      </a:lnTo>
                      <a:close/>
                      <a:moveTo>
                        <a:pt x="465" y="122"/>
                      </a:moveTo>
                      <a:lnTo>
                        <a:pt x="465" y="122"/>
                      </a:lnTo>
                      <a:lnTo>
                        <a:pt x="465" y="122"/>
                      </a:lnTo>
                      <a:lnTo>
                        <a:pt x="465" y="122"/>
                      </a:lnTo>
                      <a:lnTo>
                        <a:pt x="466" y="122"/>
                      </a:lnTo>
                      <a:lnTo>
                        <a:pt x="467" y="122"/>
                      </a:lnTo>
                      <a:lnTo>
                        <a:pt x="466" y="122"/>
                      </a:lnTo>
                      <a:lnTo>
                        <a:pt x="465" y="122"/>
                      </a:lnTo>
                      <a:lnTo>
                        <a:pt x="466" y="122"/>
                      </a:lnTo>
                      <a:lnTo>
                        <a:pt x="465" y="122"/>
                      </a:lnTo>
                      <a:close/>
                      <a:moveTo>
                        <a:pt x="674" y="121"/>
                      </a:moveTo>
                      <a:lnTo>
                        <a:pt x="673" y="121"/>
                      </a:lnTo>
                      <a:lnTo>
                        <a:pt x="674" y="121"/>
                      </a:lnTo>
                      <a:close/>
                      <a:moveTo>
                        <a:pt x="434" y="119"/>
                      </a:moveTo>
                      <a:lnTo>
                        <a:pt x="434" y="118"/>
                      </a:lnTo>
                      <a:lnTo>
                        <a:pt x="434" y="119"/>
                      </a:lnTo>
                      <a:close/>
                      <a:moveTo>
                        <a:pt x="663" y="102"/>
                      </a:moveTo>
                      <a:lnTo>
                        <a:pt x="664" y="102"/>
                      </a:lnTo>
                      <a:lnTo>
                        <a:pt x="663" y="102"/>
                      </a:lnTo>
                      <a:close/>
                      <a:moveTo>
                        <a:pt x="701" y="101"/>
                      </a:moveTo>
                      <a:lnTo>
                        <a:pt x="701" y="100"/>
                      </a:lnTo>
                      <a:lnTo>
                        <a:pt x="701" y="101"/>
                      </a:lnTo>
                      <a:close/>
                      <a:moveTo>
                        <a:pt x="389" y="97"/>
                      </a:moveTo>
                      <a:lnTo>
                        <a:pt x="389" y="96"/>
                      </a:lnTo>
                      <a:lnTo>
                        <a:pt x="390" y="96"/>
                      </a:lnTo>
                      <a:lnTo>
                        <a:pt x="390" y="97"/>
                      </a:lnTo>
                      <a:lnTo>
                        <a:pt x="389" y="97"/>
                      </a:lnTo>
                      <a:close/>
                      <a:moveTo>
                        <a:pt x="341" y="89"/>
                      </a:moveTo>
                      <a:lnTo>
                        <a:pt x="341" y="89"/>
                      </a:lnTo>
                      <a:lnTo>
                        <a:pt x="341" y="89"/>
                      </a:lnTo>
                      <a:lnTo>
                        <a:pt x="341" y="89"/>
                      </a:lnTo>
                      <a:lnTo>
                        <a:pt x="341" y="89"/>
                      </a:lnTo>
                      <a:lnTo>
                        <a:pt x="341" y="89"/>
                      </a:lnTo>
                      <a:lnTo>
                        <a:pt x="341" y="89"/>
                      </a:lnTo>
                      <a:close/>
                      <a:moveTo>
                        <a:pt x="677" y="85"/>
                      </a:moveTo>
                      <a:lnTo>
                        <a:pt x="676" y="85"/>
                      </a:lnTo>
                      <a:lnTo>
                        <a:pt x="677" y="85"/>
                      </a:lnTo>
                      <a:close/>
                      <a:moveTo>
                        <a:pt x="362" y="64"/>
                      </a:moveTo>
                      <a:lnTo>
                        <a:pt x="362" y="64"/>
                      </a:lnTo>
                      <a:lnTo>
                        <a:pt x="362" y="64"/>
                      </a:lnTo>
                      <a:lnTo>
                        <a:pt x="362" y="64"/>
                      </a:lnTo>
                      <a:lnTo>
                        <a:pt x="362" y="64"/>
                      </a:lnTo>
                      <a:lnTo>
                        <a:pt x="362" y="64"/>
                      </a:lnTo>
                      <a:lnTo>
                        <a:pt x="362" y="64"/>
                      </a:lnTo>
                      <a:lnTo>
                        <a:pt x="361" y="64"/>
                      </a:lnTo>
                      <a:lnTo>
                        <a:pt x="360" y="64"/>
                      </a:lnTo>
                      <a:lnTo>
                        <a:pt x="361" y="64"/>
                      </a:lnTo>
                      <a:lnTo>
                        <a:pt x="360" y="64"/>
                      </a:lnTo>
                      <a:lnTo>
                        <a:pt x="361" y="64"/>
                      </a:lnTo>
                      <a:lnTo>
                        <a:pt x="362" y="64"/>
                      </a:lnTo>
                      <a:lnTo>
                        <a:pt x="362" y="64"/>
                      </a:lnTo>
                      <a:lnTo>
                        <a:pt x="362" y="64"/>
                      </a:lnTo>
                      <a:lnTo>
                        <a:pt x="362" y="64"/>
                      </a:lnTo>
                      <a:lnTo>
                        <a:pt x="362" y="64"/>
                      </a:lnTo>
                      <a:lnTo>
                        <a:pt x="362" y="64"/>
                      </a:lnTo>
                      <a:lnTo>
                        <a:pt x="362" y="64"/>
                      </a:lnTo>
                      <a:lnTo>
                        <a:pt x="362" y="64"/>
                      </a:lnTo>
                      <a:lnTo>
                        <a:pt x="362" y="64"/>
                      </a:lnTo>
                      <a:close/>
                      <a:moveTo>
                        <a:pt x="383" y="60"/>
                      </a:moveTo>
                      <a:lnTo>
                        <a:pt x="382" y="60"/>
                      </a:lnTo>
                      <a:lnTo>
                        <a:pt x="383" y="60"/>
                      </a:lnTo>
                      <a:lnTo>
                        <a:pt x="383" y="61"/>
                      </a:lnTo>
                      <a:lnTo>
                        <a:pt x="384" y="61"/>
                      </a:lnTo>
                      <a:lnTo>
                        <a:pt x="383" y="61"/>
                      </a:lnTo>
                      <a:lnTo>
                        <a:pt x="384" y="61"/>
                      </a:lnTo>
                      <a:lnTo>
                        <a:pt x="383" y="61"/>
                      </a:lnTo>
                      <a:lnTo>
                        <a:pt x="384" y="61"/>
                      </a:lnTo>
                      <a:lnTo>
                        <a:pt x="384" y="61"/>
                      </a:lnTo>
                      <a:lnTo>
                        <a:pt x="384" y="61"/>
                      </a:lnTo>
                      <a:lnTo>
                        <a:pt x="385" y="61"/>
                      </a:lnTo>
                      <a:lnTo>
                        <a:pt x="384" y="61"/>
                      </a:lnTo>
                      <a:lnTo>
                        <a:pt x="385" y="61"/>
                      </a:lnTo>
                      <a:lnTo>
                        <a:pt x="385" y="61"/>
                      </a:lnTo>
                      <a:lnTo>
                        <a:pt x="386" y="61"/>
                      </a:lnTo>
                      <a:lnTo>
                        <a:pt x="385" y="61"/>
                      </a:lnTo>
                      <a:lnTo>
                        <a:pt x="386" y="61"/>
                      </a:lnTo>
                      <a:lnTo>
                        <a:pt x="386" y="61"/>
                      </a:lnTo>
                      <a:lnTo>
                        <a:pt x="386" y="61"/>
                      </a:lnTo>
                      <a:lnTo>
                        <a:pt x="386" y="61"/>
                      </a:lnTo>
                      <a:lnTo>
                        <a:pt x="386" y="61"/>
                      </a:lnTo>
                      <a:lnTo>
                        <a:pt x="386" y="61"/>
                      </a:lnTo>
                      <a:lnTo>
                        <a:pt x="387" y="61"/>
                      </a:lnTo>
                      <a:lnTo>
                        <a:pt x="386" y="61"/>
                      </a:lnTo>
                      <a:lnTo>
                        <a:pt x="387" y="61"/>
                      </a:lnTo>
                      <a:lnTo>
                        <a:pt x="386" y="61"/>
                      </a:lnTo>
                      <a:lnTo>
                        <a:pt x="387" y="61"/>
                      </a:lnTo>
                      <a:lnTo>
                        <a:pt x="388" y="61"/>
                      </a:lnTo>
                      <a:lnTo>
                        <a:pt x="388" y="61"/>
                      </a:lnTo>
                      <a:lnTo>
                        <a:pt x="389" y="61"/>
                      </a:lnTo>
                      <a:lnTo>
                        <a:pt x="389" y="61"/>
                      </a:lnTo>
                      <a:lnTo>
                        <a:pt x="390" y="61"/>
                      </a:lnTo>
                      <a:lnTo>
                        <a:pt x="389" y="61"/>
                      </a:lnTo>
                      <a:lnTo>
                        <a:pt x="390" y="61"/>
                      </a:lnTo>
                      <a:lnTo>
                        <a:pt x="390" y="61"/>
                      </a:lnTo>
                      <a:lnTo>
                        <a:pt x="390" y="61"/>
                      </a:lnTo>
                      <a:lnTo>
                        <a:pt x="390" y="61"/>
                      </a:lnTo>
                      <a:lnTo>
                        <a:pt x="390" y="61"/>
                      </a:lnTo>
                      <a:lnTo>
                        <a:pt x="390" y="61"/>
                      </a:lnTo>
                      <a:lnTo>
                        <a:pt x="390" y="61"/>
                      </a:lnTo>
                      <a:lnTo>
                        <a:pt x="390" y="61"/>
                      </a:lnTo>
                      <a:lnTo>
                        <a:pt x="390" y="61"/>
                      </a:lnTo>
                      <a:lnTo>
                        <a:pt x="390" y="61"/>
                      </a:lnTo>
                      <a:lnTo>
                        <a:pt x="391" y="61"/>
                      </a:lnTo>
                      <a:lnTo>
                        <a:pt x="392" y="61"/>
                      </a:lnTo>
                      <a:lnTo>
                        <a:pt x="391" y="61"/>
                      </a:lnTo>
                      <a:lnTo>
                        <a:pt x="392" y="61"/>
                      </a:lnTo>
                      <a:lnTo>
                        <a:pt x="391" y="61"/>
                      </a:lnTo>
                      <a:lnTo>
                        <a:pt x="392" y="61"/>
                      </a:lnTo>
                      <a:lnTo>
                        <a:pt x="391" y="61"/>
                      </a:lnTo>
                      <a:lnTo>
                        <a:pt x="392" y="61"/>
                      </a:lnTo>
                      <a:lnTo>
                        <a:pt x="392" y="62"/>
                      </a:lnTo>
                      <a:lnTo>
                        <a:pt x="392" y="63"/>
                      </a:lnTo>
                      <a:lnTo>
                        <a:pt x="392" y="62"/>
                      </a:lnTo>
                      <a:lnTo>
                        <a:pt x="392" y="63"/>
                      </a:lnTo>
                      <a:lnTo>
                        <a:pt x="392" y="63"/>
                      </a:lnTo>
                      <a:lnTo>
                        <a:pt x="392" y="64"/>
                      </a:lnTo>
                      <a:lnTo>
                        <a:pt x="393" y="64"/>
                      </a:lnTo>
                      <a:lnTo>
                        <a:pt x="393" y="64"/>
                      </a:lnTo>
                      <a:lnTo>
                        <a:pt x="393" y="64"/>
                      </a:lnTo>
                      <a:lnTo>
                        <a:pt x="393" y="64"/>
                      </a:lnTo>
                      <a:lnTo>
                        <a:pt x="393" y="64"/>
                      </a:lnTo>
                      <a:lnTo>
                        <a:pt x="393" y="64"/>
                      </a:lnTo>
                      <a:lnTo>
                        <a:pt x="394" y="64"/>
                      </a:lnTo>
                      <a:lnTo>
                        <a:pt x="393" y="64"/>
                      </a:lnTo>
                      <a:lnTo>
                        <a:pt x="394" y="64"/>
                      </a:lnTo>
                      <a:lnTo>
                        <a:pt x="394" y="64"/>
                      </a:lnTo>
                      <a:lnTo>
                        <a:pt x="394" y="64"/>
                      </a:lnTo>
                      <a:lnTo>
                        <a:pt x="394" y="64"/>
                      </a:lnTo>
                      <a:lnTo>
                        <a:pt x="394" y="64"/>
                      </a:lnTo>
                      <a:lnTo>
                        <a:pt x="394" y="64"/>
                      </a:lnTo>
                      <a:lnTo>
                        <a:pt x="394" y="65"/>
                      </a:lnTo>
                      <a:lnTo>
                        <a:pt x="394" y="64"/>
                      </a:lnTo>
                      <a:lnTo>
                        <a:pt x="394" y="65"/>
                      </a:lnTo>
                      <a:lnTo>
                        <a:pt x="394" y="64"/>
                      </a:lnTo>
                      <a:lnTo>
                        <a:pt x="394" y="65"/>
                      </a:lnTo>
                      <a:lnTo>
                        <a:pt x="393" y="65"/>
                      </a:lnTo>
                      <a:lnTo>
                        <a:pt x="394" y="65"/>
                      </a:lnTo>
                      <a:lnTo>
                        <a:pt x="393" y="65"/>
                      </a:lnTo>
                      <a:lnTo>
                        <a:pt x="393" y="64"/>
                      </a:lnTo>
                      <a:lnTo>
                        <a:pt x="393" y="65"/>
                      </a:lnTo>
                      <a:lnTo>
                        <a:pt x="393" y="64"/>
                      </a:lnTo>
                      <a:lnTo>
                        <a:pt x="393" y="64"/>
                      </a:lnTo>
                      <a:lnTo>
                        <a:pt x="392" y="64"/>
                      </a:lnTo>
                      <a:lnTo>
                        <a:pt x="392" y="64"/>
                      </a:lnTo>
                      <a:lnTo>
                        <a:pt x="391" y="64"/>
                      </a:lnTo>
                      <a:lnTo>
                        <a:pt x="392" y="64"/>
                      </a:lnTo>
                      <a:lnTo>
                        <a:pt x="391" y="64"/>
                      </a:lnTo>
                      <a:lnTo>
                        <a:pt x="390" y="64"/>
                      </a:lnTo>
                      <a:lnTo>
                        <a:pt x="391" y="64"/>
                      </a:lnTo>
                      <a:lnTo>
                        <a:pt x="390" y="64"/>
                      </a:lnTo>
                      <a:lnTo>
                        <a:pt x="390" y="64"/>
                      </a:lnTo>
                      <a:lnTo>
                        <a:pt x="389" y="64"/>
                      </a:lnTo>
                      <a:lnTo>
                        <a:pt x="389" y="64"/>
                      </a:lnTo>
                      <a:lnTo>
                        <a:pt x="389" y="65"/>
                      </a:lnTo>
                      <a:lnTo>
                        <a:pt x="388" y="65"/>
                      </a:lnTo>
                      <a:lnTo>
                        <a:pt x="389" y="65"/>
                      </a:lnTo>
                      <a:lnTo>
                        <a:pt x="388" y="65"/>
                      </a:lnTo>
                      <a:lnTo>
                        <a:pt x="388" y="65"/>
                      </a:lnTo>
                      <a:lnTo>
                        <a:pt x="387" y="65"/>
                      </a:lnTo>
                      <a:lnTo>
                        <a:pt x="386" y="65"/>
                      </a:lnTo>
                      <a:lnTo>
                        <a:pt x="386" y="65"/>
                      </a:lnTo>
                      <a:lnTo>
                        <a:pt x="386" y="65"/>
                      </a:lnTo>
                      <a:lnTo>
                        <a:pt x="385" y="65"/>
                      </a:lnTo>
                      <a:lnTo>
                        <a:pt x="385" y="65"/>
                      </a:lnTo>
                      <a:lnTo>
                        <a:pt x="386" y="65"/>
                      </a:lnTo>
                      <a:lnTo>
                        <a:pt x="385" y="65"/>
                      </a:lnTo>
                      <a:lnTo>
                        <a:pt x="386" y="65"/>
                      </a:lnTo>
                      <a:lnTo>
                        <a:pt x="386" y="65"/>
                      </a:lnTo>
                      <a:lnTo>
                        <a:pt x="386" y="65"/>
                      </a:lnTo>
                      <a:lnTo>
                        <a:pt x="386" y="65"/>
                      </a:lnTo>
                      <a:lnTo>
                        <a:pt x="386" y="65"/>
                      </a:lnTo>
                      <a:lnTo>
                        <a:pt x="387" y="65"/>
                      </a:lnTo>
                      <a:lnTo>
                        <a:pt x="388" y="65"/>
                      </a:lnTo>
                      <a:lnTo>
                        <a:pt x="388" y="65"/>
                      </a:lnTo>
                      <a:lnTo>
                        <a:pt x="389" y="65"/>
                      </a:lnTo>
                      <a:lnTo>
                        <a:pt x="389" y="64"/>
                      </a:lnTo>
                      <a:lnTo>
                        <a:pt x="389" y="64"/>
                      </a:lnTo>
                      <a:lnTo>
                        <a:pt x="390" y="64"/>
                      </a:lnTo>
                      <a:lnTo>
                        <a:pt x="390" y="64"/>
                      </a:lnTo>
                      <a:lnTo>
                        <a:pt x="390" y="64"/>
                      </a:lnTo>
                      <a:lnTo>
                        <a:pt x="390" y="64"/>
                      </a:lnTo>
                      <a:lnTo>
                        <a:pt x="391" y="64"/>
                      </a:lnTo>
                      <a:lnTo>
                        <a:pt x="390" y="64"/>
                      </a:lnTo>
                      <a:lnTo>
                        <a:pt x="390" y="65"/>
                      </a:lnTo>
                      <a:lnTo>
                        <a:pt x="390" y="64"/>
                      </a:lnTo>
                      <a:lnTo>
                        <a:pt x="391" y="64"/>
                      </a:lnTo>
                      <a:lnTo>
                        <a:pt x="390" y="64"/>
                      </a:lnTo>
                      <a:lnTo>
                        <a:pt x="390" y="65"/>
                      </a:lnTo>
                      <a:lnTo>
                        <a:pt x="390" y="65"/>
                      </a:lnTo>
                      <a:lnTo>
                        <a:pt x="390" y="65"/>
                      </a:lnTo>
                      <a:lnTo>
                        <a:pt x="389" y="65"/>
                      </a:lnTo>
                      <a:lnTo>
                        <a:pt x="389" y="65"/>
                      </a:lnTo>
                      <a:lnTo>
                        <a:pt x="388" y="65"/>
                      </a:lnTo>
                      <a:lnTo>
                        <a:pt x="388" y="66"/>
                      </a:lnTo>
                      <a:lnTo>
                        <a:pt x="389" y="66"/>
                      </a:lnTo>
                      <a:lnTo>
                        <a:pt x="389" y="66"/>
                      </a:lnTo>
                      <a:lnTo>
                        <a:pt x="389" y="66"/>
                      </a:lnTo>
                      <a:lnTo>
                        <a:pt x="388" y="66"/>
                      </a:lnTo>
                      <a:lnTo>
                        <a:pt x="389" y="66"/>
                      </a:lnTo>
                      <a:lnTo>
                        <a:pt x="388" y="66"/>
                      </a:lnTo>
                      <a:lnTo>
                        <a:pt x="388" y="67"/>
                      </a:lnTo>
                      <a:lnTo>
                        <a:pt x="388" y="67"/>
                      </a:lnTo>
                      <a:lnTo>
                        <a:pt x="387" y="67"/>
                      </a:lnTo>
                      <a:lnTo>
                        <a:pt x="388" y="67"/>
                      </a:lnTo>
                      <a:lnTo>
                        <a:pt x="387" y="67"/>
                      </a:lnTo>
                      <a:lnTo>
                        <a:pt x="387" y="67"/>
                      </a:lnTo>
                      <a:lnTo>
                        <a:pt x="386" y="67"/>
                      </a:lnTo>
                      <a:lnTo>
                        <a:pt x="386" y="67"/>
                      </a:lnTo>
                      <a:lnTo>
                        <a:pt x="385" y="67"/>
                      </a:lnTo>
                      <a:lnTo>
                        <a:pt x="385" y="67"/>
                      </a:lnTo>
                      <a:lnTo>
                        <a:pt x="384" y="67"/>
                      </a:lnTo>
                      <a:lnTo>
                        <a:pt x="383" y="68"/>
                      </a:lnTo>
                      <a:lnTo>
                        <a:pt x="383" y="67"/>
                      </a:lnTo>
                      <a:lnTo>
                        <a:pt x="382" y="67"/>
                      </a:lnTo>
                      <a:lnTo>
                        <a:pt x="382" y="67"/>
                      </a:lnTo>
                      <a:lnTo>
                        <a:pt x="381" y="68"/>
                      </a:lnTo>
                      <a:lnTo>
                        <a:pt x="381" y="68"/>
                      </a:lnTo>
                      <a:lnTo>
                        <a:pt x="381" y="68"/>
                      </a:lnTo>
                      <a:lnTo>
                        <a:pt x="380" y="68"/>
                      </a:lnTo>
                      <a:lnTo>
                        <a:pt x="380" y="68"/>
                      </a:lnTo>
                      <a:lnTo>
                        <a:pt x="379" y="68"/>
                      </a:lnTo>
                      <a:lnTo>
                        <a:pt x="380" y="68"/>
                      </a:lnTo>
                      <a:lnTo>
                        <a:pt x="379" y="68"/>
                      </a:lnTo>
                      <a:lnTo>
                        <a:pt x="380" y="68"/>
                      </a:lnTo>
                      <a:lnTo>
                        <a:pt x="379" y="68"/>
                      </a:lnTo>
                      <a:lnTo>
                        <a:pt x="379" y="68"/>
                      </a:lnTo>
                      <a:lnTo>
                        <a:pt x="379" y="68"/>
                      </a:lnTo>
                      <a:lnTo>
                        <a:pt x="378" y="68"/>
                      </a:lnTo>
                      <a:lnTo>
                        <a:pt x="378" y="68"/>
                      </a:lnTo>
                      <a:lnTo>
                        <a:pt x="377" y="68"/>
                      </a:lnTo>
                      <a:lnTo>
                        <a:pt x="378" y="68"/>
                      </a:lnTo>
                      <a:lnTo>
                        <a:pt x="377" y="68"/>
                      </a:lnTo>
                      <a:lnTo>
                        <a:pt x="378" y="68"/>
                      </a:lnTo>
                      <a:lnTo>
                        <a:pt x="377" y="68"/>
                      </a:lnTo>
                      <a:lnTo>
                        <a:pt x="378" y="68"/>
                      </a:lnTo>
                      <a:lnTo>
                        <a:pt x="378" y="69"/>
                      </a:lnTo>
                      <a:lnTo>
                        <a:pt x="378" y="68"/>
                      </a:lnTo>
                      <a:lnTo>
                        <a:pt x="378" y="69"/>
                      </a:lnTo>
                      <a:lnTo>
                        <a:pt x="378" y="68"/>
                      </a:lnTo>
                      <a:lnTo>
                        <a:pt x="377" y="69"/>
                      </a:lnTo>
                      <a:lnTo>
                        <a:pt x="377" y="68"/>
                      </a:lnTo>
                      <a:lnTo>
                        <a:pt x="377" y="69"/>
                      </a:lnTo>
                      <a:lnTo>
                        <a:pt x="377" y="69"/>
                      </a:lnTo>
                      <a:lnTo>
                        <a:pt x="377" y="70"/>
                      </a:lnTo>
                      <a:lnTo>
                        <a:pt x="377" y="70"/>
                      </a:lnTo>
                      <a:lnTo>
                        <a:pt x="377" y="70"/>
                      </a:lnTo>
                      <a:lnTo>
                        <a:pt x="377" y="70"/>
                      </a:lnTo>
                      <a:lnTo>
                        <a:pt x="377" y="70"/>
                      </a:lnTo>
                      <a:lnTo>
                        <a:pt x="378" y="70"/>
                      </a:lnTo>
                      <a:lnTo>
                        <a:pt x="378" y="71"/>
                      </a:lnTo>
                      <a:lnTo>
                        <a:pt x="378" y="71"/>
                      </a:lnTo>
                      <a:lnTo>
                        <a:pt x="378" y="71"/>
                      </a:lnTo>
                      <a:lnTo>
                        <a:pt x="378" y="71"/>
                      </a:lnTo>
                      <a:lnTo>
                        <a:pt x="378" y="71"/>
                      </a:lnTo>
                      <a:lnTo>
                        <a:pt x="378" y="71"/>
                      </a:lnTo>
                      <a:lnTo>
                        <a:pt x="378" y="71"/>
                      </a:lnTo>
                      <a:lnTo>
                        <a:pt x="378" y="71"/>
                      </a:lnTo>
                      <a:lnTo>
                        <a:pt x="378" y="71"/>
                      </a:lnTo>
                      <a:lnTo>
                        <a:pt x="378" y="71"/>
                      </a:lnTo>
                      <a:lnTo>
                        <a:pt x="378" y="71"/>
                      </a:lnTo>
                      <a:lnTo>
                        <a:pt x="379" y="71"/>
                      </a:lnTo>
                      <a:lnTo>
                        <a:pt x="379" y="71"/>
                      </a:lnTo>
                      <a:lnTo>
                        <a:pt x="380" y="71"/>
                      </a:lnTo>
                      <a:lnTo>
                        <a:pt x="379" y="72"/>
                      </a:lnTo>
                      <a:lnTo>
                        <a:pt x="380" y="72"/>
                      </a:lnTo>
                      <a:lnTo>
                        <a:pt x="380" y="72"/>
                      </a:lnTo>
                      <a:lnTo>
                        <a:pt x="381" y="72"/>
                      </a:lnTo>
                      <a:lnTo>
                        <a:pt x="381" y="73"/>
                      </a:lnTo>
                      <a:lnTo>
                        <a:pt x="380" y="73"/>
                      </a:lnTo>
                      <a:lnTo>
                        <a:pt x="381" y="73"/>
                      </a:lnTo>
                      <a:lnTo>
                        <a:pt x="380" y="73"/>
                      </a:lnTo>
                      <a:lnTo>
                        <a:pt x="380" y="74"/>
                      </a:lnTo>
                      <a:lnTo>
                        <a:pt x="380" y="73"/>
                      </a:lnTo>
                      <a:lnTo>
                        <a:pt x="380" y="74"/>
                      </a:lnTo>
                      <a:lnTo>
                        <a:pt x="380" y="73"/>
                      </a:lnTo>
                      <a:lnTo>
                        <a:pt x="380" y="74"/>
                      </a:lnTo>
                      <a:lnTo>
                        <a:pt x="380" y="73"/>
                      </a:lnTo>
                      <a:lnTo>
                        <a:pt x="381" y="74"/>
                      </a:lnTo>
                      <a:lnTo>
                        <a:pt x="380" y="74"/>
                      </a:lnTo>
                      <a:lnTo>
                        <a:pt x="381" y="74"/>
                      </a:lnTo>
                      <a:lnTo>
                        <a:pt x="381" y="73"/>
                      </a:lnTo>
                      <a:lnTo>
                        <a:pt x="380" y="73"/>
                      </a:lnTo>
                      <a:lnTo>
                        <a:pt x="381" y="73"/>
                      </a:lnTo>
                      <a:lnTo>
                        <a:pt x="381" y="73"/>
                      </a:lnTo>
                      <a:lnTo>
                        <a:pt x="381" y="73"/>
                      </a:lnTo>
                      <a:lnTo>
                        <a:pt x="381" y="72"/>
                      </a:lnTo>
                      <a:lnTo>
                        <a:pt x="381" y="72"/>
                      </a:lnTo>
                      <a:lnTo>
                        <a:pt x="380" y="72"/>
                      </a:lnTo>
                      <a:lnTo>
                        <a:pt x="380" y="71"/>
                      </a:lnTo>
                      <a:lnTo>
                        <a:pt x="379" y="71"/>
                      </a:lnTo>
                      <a:lnTo>
                        <a:pt x="379" y="71"/>
                      </a:lnTo>
                      <a:lnTo>
                        <a:pt x="378" y="71"/>
                      </a:lnTo>
                      <a:lnTo>
                        <a:pt x="378" y="71"/>
                      </a:lnTo>
                      <a:lnTo>
                        <a:pt x="378" y="71"/>
                      </a:lnTo>
                      <a:lnTo>
                        <a:pt x="378" y="71"/>
                      </a:lnTo>
                      <a:lnTo>
                        <a:pt x="378" y="71"/>
                      </a:lnTo>
                      <a:lnTo>
                        <a:pt x="378" y="71"/>
                      </a:lnTo>
                      <a:lnTo>
                        <a:pt x="378" y="71"/>
                      </a:lnTo>
                      <a:lnTo>
                        <a:pt x="378" y="71"/>
                      </a:lnTo>
                      <a:lnTo>
                        <a:pt x="378" y="71"/>
                      </a:lnTo>
                      <a:lnTo>
                        <a:pt x="378" y="70"/>
                      </a:lnTo>
                      <a:lnTo>
                        <a:pt x="377" y="70"/>
                      </a:lnTo>
                      <a:lnTo>
                        <a:pt x="377" y="70"/>
                      </a:lnTo>
                      <a:lnTo>
                        <a:pt x="377" y="70"/>
                      </a:lnTo>
                      <a:lnTo>
                        <a:pt x="377" y="70"/>
                      </a:lnTo>
                      <a:lnTo>
                        <a:pt x="377" y="70"/>
                      </a:lnTo>
                      <a:lnTo>
                        <a:pt x="377" y="70"/>
                      </a:lnTo>
                      <a:lnTo>
                        <a:pt x="377" y="70"/>
                      </a:lnTo>
                      <a:lnTo>
                        <a:pt x="377" y="70"/>
                      </a:lnTo>
                      <a:lnTo>
                        <a:pt x="377" y="69"/>
                      </a:lnTo>
                      <a:lnTo>
                        <a:pt x="377" y="69"/>
                      </a:lnTo>
                      <a:lnTo>
                        <a:pt x="377" y="69"/>
                      </a:lnTo>
                      <a:lnTo>
                        <a:pt x="377" y="69"/>
                      </a:lnTo>
                      <a:lnTo>
                        <a:pt x="378" y="69"/>
                      </a:lnTo>
                      <a:lnTo>
                        <a:pt x="378" y="69"/>
                      </a:lnTo>
                      <a:lnTo>
                        <a:pt x="379" y="69"/>
                      </a:lnTo>
                      <a:lnTo>
                        <a:pt x="379" y="69"/>
                      </a:lnTo>
                      <a:lnTo>
                        <a:pt x="380" y="69"/>
                      </a:lnTo>
                      <a:lnTo>
                        <a:pt x="381" y="69"/>
                      </a:lnTo>
                      <a:lnTo>
                        <a:pt x="381" y="68"/>
                      </a:lnTo>
                      <a:lnTo>
                        <a:pt x="381" y="69"/>
                      </a:lnTo>
                      <a:lnTo>
                        <a:pt x="381" y="68"/>
                      </a:lnTo>
                      <a:lnTo>
                        <a:pt x="381" y="69"/>
                      </a:lnTo>
                      <a:lnTo>
                        <a:pt x="381" y="69"/>
                      </a:lnTo>
                      <a:lnTo>
                        <a:pt x="381" y="68"/>
                      </a:lnTo>
                      <a:lnTo>
                        <a:pt x="381" y="69"/>
                      </a:lnTo>
                      <a:lnTo>
                        <a:pt x="382" y="69"/>
                      </a:lnTo>
                      <a:lnTo>
                        <a:pt x="382" y="68"/>
                      </a:lnTo>
                      <a:lnTo>
                        <a:pt x="382" y="68"/>
                      </a:lnTo>
                      <a:lnTo>
                        <a:pt x="382" y="69"/>
                      </a:lnTo>
                      <a:lnTo>
                        <a:pt x="383" y="68"/>
                      </a:lnTo>
                      <a:lnTo>
                        <a:pt x="383" y="69"/>
                      </a:lnTo>
                      <a:lnTo>
                        <a:pt x="382" y="69"/>
                      </a:lnTo>
                      <a:lnTo>
                        <a:pt x="383" y="69"/>
                      </a:lnTo>
                      <a:lnTo>
                        <a:pt x="382" y="69"/>
                      </a:lnTo>
                      <a:lnTo>
                        <a:pt x="383" y="69"/>
                      </a:lnTo>
                      <a:lnTo>
                        <a:pt x="383" y="69"/>
                      </a:lnTo>
                      <a:lnTo>
                        <a:pt x="384" y="69"/>
                      </a:lnTo>
                      <a:lnTo>
                        <a:pt x="385" y="69"/>
                      </a:lnTo>
                      <a:lnTo>
                        <a:pt x="385" y="69"/>
                      </a:lnTo>
                      <a:lnTo>
                        <a:pt x="386" y="69"/>
                      </a:lnTo>
                      <a:lnTo>
                        <a:pt x="386" y="68"/>
                      </a:lnTo>
                      <a:lnTo>
                        <a:pt x="386" y="69"/>
                      </a:lnTo>
                      <a:lnTo>
                        <a:pt x="386" y="69"/>
                      </a:lnTo>
                      <a:lnTo>
                        <a:pt x="387" y="69"/>
                      </a:lnTo>
                      <a:lnTo>
                        <a:pt x="388" y="69"/>
                      </a:lnTo>
                      <a:lnTo>
                        <a:pt x="388" y="69"/>
                      </a:lnTo>
                      <a:lnTo>
                        <a:pt x="389" y="69"/>
                      </a:lnTo>
                      <a:lnTo>
                        <a:pt x="389" y="68"/>
                      </a:lnTo>
                      <a:lnTo>
                        <a:pt x="389" y="68"/>
                      </a:lnTo>
                      <a:lnTo>
                        <a:pt x="390" y="68"/>
                      </a:lnTo>
                      <a:lnTo>
                        <a:pt x="390" y="68"/>
                      </a:lnTo>
                      <a:lnTo>
                        <a:pt x="391" y="68"/>
                      </a:lnTo>
                      <a:lnTo>
                        <a:pt x="392" y="68"/>
                      </a:lnTo>
                      <a:lnTo>
                        <a:pt x="392" y="68"/>
                      </a:lnTo>
                      <a:lnTo>
                        <a:pt x="391" y="68"/>
                      </a:lnTo>
                      <a:lnTo>
                        <a:pt x="392" y="68"/>
                      </a:lnTo>
                      <a:lnTo>
                        <a:pt x="391" y="68"/>
                      </a:lnTo>
                      <a:lnTo>
                        <a:pt x="391" y="69"/>
                      </a:lnTo>
                      <a:lnTo>
                        <a:pt x="392" y="69"/>
                      </a:lnTo>
                      <a:lnTo>
                        <a:pt x="391" y="69"/>
                      </a:lnTo>
                      <a:lnTo>
                        <a:pt x="392" y="69"/>
                      </a:lnTo>
                      <a:lnTo>
                        <a:pt x="391" y="69"/>
                      </a:lnTo>
                      <a:lnTo>
                        <a:pt x="390" y="69"/>
                      </a:lnTo>
                      <a:lnTo>
                        <a:pt x="390" y="70"/>
                      </a:lnTo>
                      <a:lnTo>
                        <a:pt x="390" y="70"/>
                      </a:lnTo>
                      <a:lnTo>
                        <a:pt x="389" y="70"/>
                      </a:lnTo>
                      <a:lnTo>
                        <a:pt x="389" y="70"/>
                      </a:lnTo>
                      <a:lnTo>
                        <a:pt x="388" y="70"/>
                      </a:lnTo>
                      <a:lnTo>
                        <a:pt x="388" y="70"/>
                      </a:lnTo>
                      <a:lnTo>
                        <a:pt x="388" y="70"/>
                      </a:lnTo>
                      <a:lnTo>
                        <a:pt x="388" y="70"/>
                      </a:lnTo>
                      <a:lnTo>
                        <a:pt x="388" y="70"/>
                      </a:lnTo>
                      <a:lnTo>
                        <a:pt x="387" y="70"/>
                      </a:lnTo>
                      <a:lnTo>
                        <a:pt x="388" y="70"/>
                      </a:lnTo>
                      <a:lnTo>
                        <a:pt x="388" y="70"/>
                      </a:lnTo>
                      <a:lnTo>
                        <a:pt x="388" y="71"/>
                      </a:lnTo>
                      <a:lnTo>
                        <a:pt x="388" y="70"/>
                      </a:lnTo>
                      <a:lnTo>
                        <a:pt x="388" y="71"/>
                      </a:lnTo>
                      <a:lnTo>
                        <a:pt x="389" y="71"/>
                      </a:lnTo>
                      <a:lnTo>
                        <a:pt x="388" y="71"/>
                      </a:lnTo>
                      <a:lnTo>
                        <a:pt x="389" y="71"/>
                      </a:lnTo>
                      <a:lnTo>
                        <a:pt x="388" y="71"/>
                      </a:lnTo>
                      <a:lnTo>
                        <a:pt x="389" y="71"/>
                      </a:lnTo>
                      <a:lnTo>
                        <a:pt x="388" y="71"/>
                      </a:lnTo>
                      <a:lnTo>
                        <a:pt x="388" y="70"/>
                      </a:lnTo>
                      <a:lnTo>
                        <a:pt x="389" y="70"/>
                      </a:lnTo>
                      <a:lnTo>
                        <a:pt x="389" y="71"/>
                      </a:lnTo>
                      <a:lnTo>
                        <a:pt x="389" y="70"/>
                      </a:lnTo>
                      <a:lnTo>
                        <a:pt x="389" y="71"/>
                      </a:lnTo>
                      <a:lnTo>
                        <a:pt x="390" y="71"/>
                      </a:lnTo>
                      <a:lnTo>
                        <a:pt x="390" y="70"/>
                      </a:lnTo>
                      <a:lnTo>
                        <a:pt x="390" y="70"/>
                      </a:lnTo>
                      <a:lnTo>
                        <a:pt x="391" y="70"/>
                      </a:lnTo>
                      <a:lnTo>
                        <a:pt x="392" y="70"/>
                      </a:lnTo>
                      <a:lnTo>
                        <a:pt x="392" y="70"/>
                      </a:lnTo>
                      <a:lnTo>
                        <a:pt x="392" y="70"/>
                      </a:lnTo>
                      <a:lnTo>
                        <a:pt x="392" y="70"/>
                      </a:lnTo>
                      <a:lnTo>
                        <a:pt x="393" y="70"/>
                      </a:lnTo>
                      <a:lnTo>
                        <a:pt x="393" y="70"/>
                      </a:lnTo>
                      <a:lnTo>
                        <a:pt x="393" y="70"/>
                      </a:lnTo>
                      <a:lnTo>
                        <a:pt x="393" y="70"/>
                      </a:lnTo>
                      <a:lnTo>
                        <a:pt x="393" y="70"/>
                      </a:lnTo>
                      <a:lnTo>
                        <a:pt x="393" y="70"/>
                      </a:lnTo>
                      <a:lnTo>
                        <a:pt x="393" y="69"/>
                      </a:lnTo>
                      <a:lnTo>
                        <a:pt x="394" y="69"/>
                      </a:lnTo>
                      <a:lnTo>
                        <a:pt x="394" y="69"/>
                      </a:lnTo>
                      <a:lnTo>
                        <a:pt x="394" y="70"/>
                      </a:lnTo>
                      <a:lnTo>
                        <a:pt x="395" y="70"/>
                      </a:lnTo>
                      <a:lnTo>
                        <a:pt x="396" y="70"/>
                      </a:lnTo>
                      <a:lnTo>
                        <a:pt x="395" y="70"/>
                      </a:lnTo>
                      <a:lnTo>
                        <a:pt x="396" y="70"/>
                      </a:lnTo>
                      <a:lnTo>
                        <a:pt x="396" y="70"/>
                      </a:lnTo>
                      <a:lnTo>
                        <a:pt x="396" y="70"/>
                      </a:lnTo>
                      <a:lnTo>
                        <a:pt x="396" y="70"/>
                      </a:lnTo>
                      <a:lnTo>
                        <a:pt x="396" y="70"/>
                      </a:lnTo>
                      <a:lnTo>
                        <a:pt x="396" y="70"/>
                      </a:lnTo>
                      <a:lnTo>
                        <a:pt x="396" y="70"/>
                      </a:lnTo>
                      <a:lnTo>
                        <a:pt x="396" y="70"/>
                      </a:lnTo>
                      <a:lnTo>
                        <a:pt x="396" y="70"/>
                      </a:lnTo>
                      <a:lnTo>
                        <a:pt x="396" y="70"/>
                      </a:lnTo>
                      <a:lnTo>
                        <a:pt x="396" y="70"/>
                      </a:lnTo>
                      <a:lnTo>
                        <a:pt x="396" y="70"/>
                      </a:lnTo>
                      <a:lnTo>
                        <a:pt x="396" y="70"/>
                      </a:lnTo>
                      <a:lnTo>
                        <a:pt x="397" y="70"/>
                      </a:lnTo>
                      <a:lnTo>
                        <a:pt x="397" y="70"/>
                      </a:lnTo>
                      <a:lnTo>
                        <a:pt x="397" y="70"/>
                      </a:lnTo>
                      <a:lnTo>
                        <a:pt x="397" y="70"/>
                      </a:lnTo>
                      <a:lnTo>
                        <a:pt x="397" y="70"/>
                      </a:lnTo>
                      <a:lnTo>
                        <a:pt x="397" y="70"/>
                      </a:lnTo>
                      <a:lnTo>
                        <a:pt x="397" y="70"/>
                      </a:lnTo>
                      <a:lnTo>
                        <a:pt x="397" y="70"/>
                      </a:lnTo>
                      <a:lnTo>
                        <a:pt x="397" y="70"/>
                      </a:lnTo>
                      <a:lnTo>
                        <a:pt x="396" y="70"/>
                      </a:lnTo>
                      <a:lnTo>
                        <a:pt x="396" y="71"/>
                      </a:lnTo>
                      <a:lnTo>
                        <a:pt x="396" y="70"/>
                      </a:lnTo>
                      <a:lnTo>
                        <a:pt x="396" y="71"/>
                      </a:lnTo>
                      <a:lnTo>
                        <a:pt x="396" y="70"/>
                      </a:lnTo>
                      <a:lnTo>
                        <a:pt x="396" y="71"/>
                      </a:lnTo>
                      <a:lnTo>
                        <a:pt x="397" y="71"/>
                      </a:lnTo>
                      <a:lnTo>
                        <a:pt x="397" y="70"/>
                      </a:lnTo>
                      <a:lnTo>
                        <a:pt x="397" y="71"/>
                      </a:lnTo>
                      <a:lnTo>
                        <a:pt x="397" y="70"/>
                      </a:lnTo>
                      <a:lnTo>
                        <a:pt x="397" y="70"/>
                      </a:lnTo>
                      <a:lnTo>
                        <a:pt x="397" y="70"/>
                      </a:lnTo>
                      <a:lnTo>
                        <a:pt x="397" y="70"/>
                      </a:lnTo>
                      <a:lnTo>
                        <a:pt x="397" y="70"/>
                      </a:lnTo>
                      <a:lnTo>
                        <a:pt x="397" y="70"/>
                      </a:lnTo>
                      <a:lnTo>
                        <a:pt x="397" y="70"/>
                      </a:lnTo>
                      <a:lnTo>
                        <a:pt x="397" y="70"/>
                      </a:lnTo>
                      <a:lnTo>
                        <a:pt x="398" y="70"/>
                      </a:lnTo>
                      <a:lnTo>
                        <a:pt x="398" y="70"/>
                      </a:lnTo>
                      <a:lnTo>
                        <a:pt x="398" y="70"/>
                      </a:lnTo>
                      <a:lnTo>
                        <a:pt x="398" y="70"/>
                      </a:lnTo>
                      <a:lnTo>
                        <a:pt x="399" y="70"/>
                      </a:lnTo>
                      <a:lnTo>
                        <a:pt x="398" y="70"/>
                      </a:lnTo>
                      <a:lnTo>
                        <a:pt x="399" y="70"/>
                      </a:lnTo>
                      <a:lnTo>
                        <a:pt x="398" y="70"/>
                      </a:lnTo>
                      <a:lnTo>
                        <a:pt x="398" y="70"/>
                      </a:lnTo>
                      <a:lnTo>
                        <a:pt x="397" y="70"/>
                      </a:lnTo>
                      <a:lnTo>
                        <a:pt x="397" y="70"/>
                      </a:lnTo>
                      <a:lnTo>
                        <a:pt x="397" y="70"/>
                      </a:lnTo>
                      <a:lnTo>
                        <a:pt x="397" y="70"/>
                      </a:lnTo>
                      <a:lnTo>
                        <a:pt x="398" y="70"/>
                      </a:lnTo>
                      <a:lnTo>
                        <a:pt x="398" y="70"/>
                      </a:lnTo>
                      <a:lnTo>
                        <a:pt x="398" y="70"/>
                      </a:lnTo>
                      <a:lnTo>
                        <a:pt x="398" y="70"/>
                      </a:lnTo>
                      <a:lnTo>
                        <a:pt x="398" y="70"/>
                      </a:lnTo>
                      <a:lnTo>
                        <a:pt x="398" y="70"/>
                      </a:lnTo>
                      <a:lnTo>
                        <a:pt x="398" y="69"/>
                      </a:lnTo>
                      <a:lnTo>
                        <a:pt x="398" y="70"/>
                      </a:lnTo>
                      <a:lnTo>
                        <a:pt x="398" y="69"/>
                      </a:lnTo>
                      <a:lnTo>
                        <a:pt x="398" y="70"/>
                      </a:lnTo>
                      <a:lnTo>
                        <a:pt x="399" y="69"/>
                      </a:lnTo>
                      <a:lnTo>
                        <a:pt x="399" y="70"/>
                      </a:lnTo>
                      <a:lnTo>
                        <a:pt x="399" y="69"/>
                      </a:lnTo>
                      <a:lnTo>
                        <a:pt x="399" y="70"/>
                      </a:lnTo>
                      <a:lnTo>
                        <a:pt x="400" y="70"/>
                      </a:lnTo>
                      <a:lnTo>
                        <a:pt x="399" y="70"/>
                      </a:lnTo>
                      <a:lnTo>
                        <a:pt x="400" y="70"/>
                      </a:lnTo>
                      <a:lnTo>
                        <a:pt x="399" y="70"/>
                      </a:lnTo>
                      <a:lnTo>
                        <a:pt x="400" y="70"/>
                      </a:lnTo>
                      <a:lnTo>
                        <a:pt x="400" y="70"/>
                      </a:lnTo>
                      <a:lnTo>
                        <a:pt x="400" y="70"/>
                      </a:lnTo>
                      <a:lnTo>
                        <a:pt x="400" y="70"/>
                      </a:lnTo>
                      <a:lnTo>
                        <a:pt x="400" y="70"/>
                      </a:lnTo>
                      <a:lnTo>
                        <a:pt x="400" y="70"/>
                      </a:lnTo>
                      <a:lnTo>
                        <a:pt x="400" y="70"/>
                      </a:lnTo>
                      <a:lnTo>
                        <a:pt x="400" y="70"/>
                      </a:lnTo>
                      <a:lnTo>
                        <a:pt x="400" y="70"/>
                      </a:lnTo>
                      <a:lnTo>
                        <a:pt x="401" y="70"/>
                      </a:lnTo>
                      <a:lnTo>
                        <a:pt x="400" y="70"/>
                      </a:lnTo>
                      <a:lnTo>
                        <a:pt x="401" y="70"/>
                      </a:lnTo>
                      <a:lnTo>
                        <a:pt x="401" y="70"/>
                      </a:lnTo>
                      <a:lnTo>
                        <a:pt x="400" y="70"/>
                      </a:lnTo>
                      <a:lnTo>
                        <a:pt x="401" y="70"/>
                      </a:lnTo>
                      <a:lnTo>
                        <a:pt x="400" y="70"/>
                      </a:lnTo>
                      <a:lnTo>
                        <a:pt x="401" y="70"/>
                      </a:lnTo>
                      <a:lnTo>
                        <a:pt x="401" y="70"/>
                      </a:lnTo>
                      <a:lnTo>
                        <a:pt x="402" y="70"/>
                      </a:lnTo>
                      <a:lnTo>
                        <a:pt x="403" y="70"/>
                      </a:lnTo>
                      <a:lnTo>
                        <a:pt x="403" y="71"/>
                      </a:lnTo>
                      <a:lnTo>
                        <a:pt x="403" y="71"/>
                      </a:lnTo>
                      <a:lnTo>
                        <a:pt x="403" y="71"/>
                      </a:lnTo>
                      <a:lnTo>
                        <a:pt x="403" y="71"/>
                      </a:lnTo>
                      <a:lnTo>
                        <a:pt x="403" y="71"/>
                      </a:lnTo>
                      <a:lnTo>
                        <a:pt x="403" y="71"/>
                      </a:lnTo>
                      <a:lnTo>
                        <a:pt x="403" y="71"/>
                      </a:lnTo>
                      <a:lnTo>
                        <a:pt x="403" y="71"/>
                      </a:lnTo>
                      <a:lnTo>
                        <a:pt x="403" y="71"/>
                      </a:lnTo>
                      <a:lnTo>
                        <a:pt x="403" y="71"/>
                      </a:lnTo>
                      <a:lnTo>
                        <a:pt x="403" y="71"/>
                      </a:lnTo>
                      <a:lnTo>
                        <a:pt x="403" y="71"/>
                      </a:lnTo>
                      <a:lnTo>
                        <a:pt x="403" y="71"/>
                      </a:lnTo>
                      <a:lnTo>
                        <a:pt x="403" y="71"/>
                      </a:lnTo>
                      <a:lnTo>
                        <a:pt x="403" y="71"/>
                      </a:lnTo>
                      <a:lnTo>
                        <a:pt x="403" y="71"/>
                      </a:lnTo>
                      <a:lnTo>
                        <a:pt x="404" y="71"/>
                      </a:lnTo>
                      <a:lnTo>
                        <a:pt x="404" y="71"/>
                      </a:lnTo>
                      <a:lnTo>
                        <a:pt x="404" y="72"/>
                      </a:lnTo>
                      <a:lnTo>
                        <a:pt x="404" y="71"/>
                      </a:lnTo>
                      <a:lnTo>
                        <a:pt x="404" y="72"/>
                      </a:lnTo>
                      <a:lnTo>
                        <a:pt x="404" y="71"/>
                      </a:lnTo>
                      <a:lnTo>
                        <a:pt x="404" y="72"/>
                      </a:lnTo>
                      <a:lnTo>
                        <a:pt x="403" y="72"/>
                      </a:lnTo>
                      <a:lnTo>
                        <a:pt x="403" y="72"/>
                      </a:lnTo>
                      <a:lnTo>
                        <a:pt x="402" y="72"/>
                      </a:lnTo>
                      <a:lnTo>
                        <a:pt x="403" y="72"/>
                      </a:lnTo>
                      <a:lnTo>
                        <a:pt x="403" y="72"/>
                      </a:lnTo>
                      <a:lnTo>
                        <a:pt x="403" y="72"/>
                      </a:lnTo>
                      <a:lnTo>
                        <a:pt x="403" y="72"/>
                      </a:lnTo>
                      <a:lnTo>
                        <a:pt x="403" y="72"/>
                      </a:lnTo>
                      <a:lnTo>
                        <a:pt x="403" y="72"/>
                      </a:lnTo>
                      <a:lnTo>
                        <a:pt x="402" y="72"/>
                      </a:lnTo>
                      <a:lnTo>
                        <a:pt x="401" y="72"/>
                      </a:lnTo>
                      <a:lnTo>
                        <a:pt x="402" y="72"/>
                      </a:lnTo>
                      <a:lnTo>
                        <a:pt x="402" y="73"/>
                      </a:lnTo>
                      <a:lnTo>
                        <a:pt x="402" y="72"/>
                      </a:lnTo>
                      <a:lnTo>
                        <a:pt x="402" y="73"/>
                      </a:lnTo>
                      <a:lnTo>
                        <a:pt x="402" y="72"/>
                      </a:lnTo>
                      <a:lnTo>
                        <a:pt x="403" y="72"/>
                      </a:lnTo>
                      <a:lnTo>
                        <a:pt x="403" y="73"/>
                      </a:lnTo>
                      <a:lnTo>
                        <a:pt x="403" y="72"/>
                      </a:lnTo>
                      <a:lnTo>
                        <a:pt x="403" y="73"/>
                      </a:lnTo>
                      <a:lnTo>
                        <a:pt x="402" y="73"/>
                      </a:lnTo>
                      <a:lnTo>
                        <a:pt x="401" y="73"/>
                      </a:lnTo>
                      <a:lnTo>
                        <a:pt x="401" y="73"/>
                      </a:lnTo>
                      <a:lnTo>
                        <a:pt x="401" y="74"/>
                      </a:lnTo>
                      <a:lnTo>
                        <a:pt x="400" y="74"/>
                      </a:lnTo>
                      <a:lnTo>
                        <a:pt x="401" y="74"/>
                      </a:lnTo>
                      <a:lnTo>
                        <a:pt x="400" y="74"/>
                      </a:lnTo>
                      <a:lnTo>
                        <a:pt x="401" y="74"/>
                      </a:lnTo>
                      <a:lnTo>
                        <a:pt x="400" y="74"/>
                      </a:lnTo>
                      <a:lnTo>
                        <a:pt x="401" y="74"/>
                      </a:lnTo>
                      <a:lnTo>
                        <a:pt x="400" y="74"/>
                      </a:lnTo>
                      <a:lnTo>
                        <a:pt x="401" y="74"/>
                      </a:lnTo>
                      <a:lnTo>
                        <a:pt x="400" y="74"/>
                      </a:lnTo>
                      <a:lnTo>
                        <a:pt x="400" y="74"/>
                      </a:lnTo>
                      <a:lnTo>
                        <a:pt x="400" y="75"/>
                      </a:lnTo>
                      <a:lnTo>
                        <a:pt x="399" y="75"/>
                      </a:lnTo>
                      <a:lnTo>
                        <a:pt x="399" y="74"/>
                      </a:lnTo>
                      <a:lnTo>
                        <a:pt x="398" y="74"/>
                      </a:lnTo>
                      <a:lnTo>
                        <a:pt x="398" y="74"/>
                      </a:lnTo>
                      <a:lnTo>
                        <a:pt x="398" y="74"/>
                      </a:lnTo>
                      <a:lnTo>
                        <a:pt x="398" y="75"/>
                      </a:lnTo>
                      <a:lnTo>
                        <a:pt x="398" y="75"/>
                      </a:lnTo>
                      <a:lnTo>
                        <a:pt x="399" y="75"/>
                      </a:lnTo>
                      <a:lnTo>
                        <a:pt x="398" y="75"/>
                      </a:lnTo>
                      <a:lnTo>
                        <a:pt x="398" y="76"/>
                      </a:lnTo>
                      <a:lnTo>
                        <a:pt x="398" y="76"/>
                      </a:lnTo>
                      <a:lnTo>
                        <a:pt x="398" y="76"/>
                      </a:lnTo>
                      <a:lnTo>
                        <a:pt x="398" y="77"/>
                      </a:lnTo>
                      <a:lnTo>
                        <a:pt x="397" y="77"/>
                      </a:lnTo>
                      <a:lnTo>
                        <a:pt x="397" y="77"/>
                      </a:lnTo>
                      <a:lnTo>
                        <a:pt x="397" y="76"/>
                      </a:lnTo>
                      <a:lnTo>
                        <a:pt x="396" y="76"/>
                      </a:lnTo>
                      <a:lnTo>
                        <a:pt x="396" y="76"/>
                      </a:lnTo>
                      <a:lnTo>
                        <a:pt x="396" y="76"/>
                      </a:lnTo>
                      <a:lnTo>
                        <a:pt x="396" y="76"/>
                      </a:lnTo>
                      <a:lnTo>
                        <a:pt x="396" y="77"/>
                      </a:lnTo>
                      <a:lnTo>
                        <a:pt x="396" y="78"/>
                      </a:lnTo>
                      <a:lnTo>
                        <a:pt x="396" y="78"/>
                      </a:lnTo>
                      <a:lnTo>
                        <a:pt x="397" y="78"/>
                      </a:lnTo>
                      <a:lnTo>
                        <a:pt x="397" y="78"/>
                      </a:lnTo>
                      <a:lnTo>
                        <a:pt x="398" y="78"/>
                      </a:lnTo>
                      <a:lnTo>
                        <a:pt x="398" y="78"/>
                      </a:lnTo>
                      <a:lnTo>
                        <a:pt x="398" y="78"/>
                      </a:lnTo>
                      <a:lnTo>
                        <a:pt x="398" y="78"/>
                      </a:lnTo>
                      <a:lnTo>
                        <a:pt x="398" y="79"/>
                      </a:lnTo>
                      <a:lnTo>
                        <a:pt x="399" y="79"/>
                      </a:lnTo>
                      <a:lnTo>
                        <a:pt x="399" y="78"/>
                      </a:lnTo>
                      <a:lnTo>
                        <a:pt x="399" y="78"/>
                      </a:lnTo>
                      <a:lnTo>
                        <a:pt x="400" y="78"/>
                      </a:lnTo>
                      <a:lnTo>
                        <a:pt x="400" y="78"/>
                      </a:lnTo>
                      <a:lnTo>
                        <a:pt x="400" y="78"/>
                      </a:lnTo>
                      <a:lnTo>
                        <a:pt x="401" y="78"/>
                      </a:lnTo>
                      <a:lnTo>
                        <a:pt x="401" y="78"/>
                      </a:lnTo>
                      <a:lnTo>
                        <a:pt x="401" y="78"/>
                      </a:lnTo>
                      <a:lnTo>
                        <a:pt x="401" y="78"/>
                      </a:lnTo>
                      <a:lnTo>
                        <a:pt x="401" y="78"/>
                      </a:lnTo>
                      <a:lnTo>
                        <a:pt x="401" y="78"/>
                      </a:lnTo>
                      <a:lnTo>
                        <a:pt x="401" y="78"/>
                      </a:lnTo>
                      <a:lnTo>
                        <a:pt x="402" y="78"/>
                      </a:lnTo>
                      <a:lnTo>
                        <a:pt x="402" y="78"/>
                      </a:lnTo>
                      <a:lnTo>
                        <a:pt x="403" y="78"/>
                      </a:lnTo>
                      <a:lnTo>
                        <a:pt x="402" y="78"/>
                      </a:lnTo>
                      <a:lnTo>
                        <a:pt x="403" y="78"/>
                      </a:lnTo>
                      <a:lnTo>
                        <a:pt x="403" y="78"/>
                      </a:lnTo>
                      <a:lnTo>
                        <a:pt x="404" y="78"/>
                      </a:lnTo>
                      <a:lnTo>
                        <a:pt x="404" y="78"/>
                      </a:lnTo>
                      <a:lnTo>
                        <a:pt x="405" y="78"/>
                      </a:lnTo>
                      <a:lnTo>
                        <a:pt x="405" y="78"/>
                      </a:lnTo>
                      <a:lnTo>
                        <a:pt x="406" y="78"/>
                      </a:lnTo>
                      <a:lnTo>
                        <a:pt x="407" y="78"/>
                      </a:lnTo>
                      <a:lnTo>
                        <a:pt x="407" y="78"/>
                      </a:lnTo>
                      <a:lnTo>
                        <a:pt x="408" y="77"/>
                      </a:lnTo>
                      <a:lnTo>
                        <a:pt x="408" y="77"/>
                      </a:lnTo>
                      <a:lnTo>
                        <a:pt x="408" y="76"/>
                      </a:lnTo>
                      <a:lnTo>
                        <a:pt x="408" y="76"/>
                      </a:lnTo>
                      <a:lnTo>
                        <a:pt x="409" y="76"/>
                      </a:lnTo>
                      <a:lnTo>
                        <a:pt x="409" y="75"/>
                      </a:lnTo>
                      <a:lnTo>
                        <a:pt x="409" y="75"/>
                      </a:lnTo>
                      <a:lnTo>
                        <a:pt x="409" y="76"/>
                      </a:lnTo>
                      <a:lnTo>
                        <a:pt x="409" y="75"/>
                      </a:lnTo>
                      <a:lnTo>
                        <a:pt x="409" y="75"/>
                      </a:lnTo>
                      <a:lnTo>
                        <a:pt x="408" y="76"/>
                      </a:lnTo>
                      <a:lnTo>
                        <a:pt x="408" y="75"/>
                      </a:lnTo>
                      <a:lnTo>
                        <a:pt x="408" y="75"/>
                      </a:lnTo>
                      <a:lnTo>
                        <a:pt x="408" y="75"/>
                      </a:lnTo>
                      <a:lnTo>
                        <a:pt x="408" y="75"/>
                      </a:lnTo>
                      <a:lnTo>
                        <a:pt x="408" y="74"/>
                      </a:lnTo>
                      <a:lnTo>
                        <a:pt x="408" y="74"/>
                      </a:lnTo>
                      <a:lnTo>
                        <a:pt x="409" y="74"/>
                      </a:lnTo>
                      <a:lnTo>
                        <a:pt x="409" y="74"/>
                      </a:lnTo>
                      <a:lnTo>
                        <a:pt x="410" y="74"/>
                      </a:lnTo>
                      <a:lnTo>
                        <a:pt x="411" y="74"/>
                      </a:lnTo>
                      <a:lnTo>
                        <a:pt x="410" y="74"/>
                      </a:lnTo>
                      <a:lnTo>
                        <a:pt x="411" y="74"/>
                      </a:lnTo>
                      <a:lnTo>
                        <a:pt x="411" y="74"/>
                      </a:lnTo>
                      <a:lnTo>
                        <a:pt x="411" y="74"/>
                      </a:lnTo>
                      <a:lnTo>
                        <a:pt x="411" y="75"/>
                      </a:lnTo>
                      <a:lnTo>
                        <a:pt x="410" y="75"/>
                      </a:lnTo>
                      <a:lnTo>
                        <a:pt x="411" y="75"/>
                      </a:lnTo>
                      <a:lnTo>
                        <a:pt x="411" y="75"/>
                      </a:lnTo>
                      <a:lnTo>
                        <a:pt x="411" y="76"/>
                      </a:lnTo>
                      <a:lnTo>
                        <a:pt x="411" y="75"/>
                      </a:lnTo>
                      <a:lnTo>
                        <a:pt x="412" y="75"/>
                      </a:lnTo>
                      <a:lnTo>
                        <a:pt x="411" y="75"/>
                      </a:lnTo>
                      <a:lnTo>
                        <a:pt x="411" y="76"/>
                      </a:lnTo>
                      <a:lnTo>
                        <a:pt x="412" y="75"/>
                      </a:lnTo>
                      <a:lnTo>
                        <a:pt x="412" y="76"/>
                      </a:lnTo>
                      <a:lnTo>
                        <a:pt x="411" y="76"/>
                      </a:lnTo>
                      <a:lnTo>
                        <a:pt x="412" y="76"/>
                      </a:lnTo>
                      <a:lnTo>
                        <a:pt x="412" y="76"/>
                      </a:lnTo>
                      <a:lnTo>
                        <a:pt x="412" y="76"/>
                      </a:lnTo>
                      <a:lnTo>
                        <a:pt x="412" y="76"/>
                      </a:lnTo>
                      <a:lnTo>
                        <a:pt x="412" y="77"/>
                      </a:lnTo>
                      <a:lnTo>
                        <a:pt x="412" y="78"/>
                      </a:lnTo>
                      <a:lnTo>
                        <a:pt x="412" y="77"/>
                      </a:lnTo>
                      <a:lnTo>
                        <a:pt x="412" y="78"/>
                      </a:lnTo>
                      <a:lnTo>
                        <a:pt x="412" y="77"/>
                      </a:lnTo>
                      <a:lnTo>
                        <a:pt x="412" y="77"/>
                      </a:lnTo>
                      <a:lnTo>
                        <a:pt x="412" y="77"/>
                      </a:lnTo>
                      <a:lnTo>
                        <a:pt x="412" y="77"/>
                      </a:lnTo>
                      <a:lnTo>
                        <a:pt x="412" y="77"/>
                      </a:lnTo>
                      <a:lnTo>
                        <a:pt x="412" y="76"/>
                      </a:lnTo>
                      <a:lnTo>
                        <a:pt x="412" y="77"/>
                      </a:lnTo>
                      <a:lnTo>
                        <a:pt x="412" y="76"/>
                      </a:lnTo>
                      <a:lnTo>
                        <a:pt x="412" y="76"/>
                      </a:lnTo>
                      <a:lnTo>
                        <a:pt x="412" y="76"/>
                      </a:lnTo>
                      <a:lnTo>
                        <a:pt x="412" y="75"/>
                      </a:lnTo>
                      <a:lnTo>
                        <a:pt x="411" y="75"/>
                      </a:lnTo>
                      <a:lnTo>
                        <a:pt x="411" y="75"/>
                      </a:lnTo>
                      <a:lnTo>
                        <a:pt x="411" y="75"/>
                      </a:lnTo>
                      <a:lnTo>
                        <a:pt x="411" y="75"/>
                      </a:lnTo>
                      <a:lnTo>
                        <a:pt x="412" y="75"/>
                      </a:lnTo>
                      <a:lnTo>
                        <a:pt x="412" y="75"/>
                      </a:lnTo>
                      <a:lnTo>
                        <a:pt x="413" y="75"/>
                      </a:lnTo>
                      <a:lnTo>
                        <a:pt x="412" y="75"/>
                      </a:lnTo>
                      <a:lnTo>
                        <a:pt x="413" y="75"/>
                      </a:lnTo>
                      <a:lnTo>
                        <a:pt x="413" y="75"/>
                      </a:lnTo>
                      <a:lnTo>
                        <a:pt x="414" y="75"/>
                      </a:lnTo>
                      <a:lnTo>
                        <a:pt x="415" y="75"/>
                      </a:lnTo>
                      <a:lnTo>
                        <a:pt x="415" y="75"/>
                      </a:lnTo>
                      <a:lnTo>
                        <a:pt x="416" y="75"/>
                      </a:lnTo>
                      <a:lnTo>
                        <a:pt x="416" y="75"/>
                      </a:lnTo>
                      <a:lnTo>
                        <a:pt x="417" y="75"/>
                      </a:lnTo>
                      <a:lnTo>
                        <a:pt x="418" y="74"/>
                      </a:lnTo>
                      <a:lnTo>
                        <a:pt x="418" y="75"/>
                      </a:lnTo>
                      <a:lnTo>
                        <a:pt x="417" y="75"/>
                      </a:lnTo>
                      <a:lnTo>
                        <a:pt x="418" y="75"/>
                      </a:lnTo>
                      <a:lnTo>
                        <a:pt x="417" y="75"/>
                      </a:lnTo>
                      <a:lnTo>
                        <a:pt x="418" y="75"/>
                      </a:lnTo>
                      <a:lnTo>
                        <a:pt x="418" y="75"/>
                      </a:lnTo>
                      <a:lnTo>
                        <a:pt x="418" y="74"/>
                      </a:lnTo>
                      <a:lnTo>
                        <a:pt x="419" y="74"/>
                      </a:lnTo>
                      <a:lnTo>
                        <a:pt x="419" y="74"/>
                      </a:lnTo>
                      <a:lnTo>
                        <a:pt x="420" y="74"/>
                      </a:lnTo>
                      <a:lnTo>
                        <a:pt x="420" y="74"/>
                      </a:lnTo>
                      <a:lnTo>
                        <a:pt x="421" y="74"/>
                      </a:lnTo>
                      <a:lnTo>
                        <a:pt x="422" y="74"/>
                      </a:lnTo>
                      <a:lnTo>
                        <a:pt x="422" y="75"/>
                      </a:lnTo>
                      <a:lnTo>
                        <a:pt x="422" y="75"/>
                      </a:lnTo>
                      <a:lnTo>
                        <a:pt x="423" y="75"/>
                      </a:lnTo>
                      <a:lnTo>
                        <a:pt x="423" y="75"/>
                      </a:lnTo>
                      <a:lnTo>
                        <a:pt x="423" y="75"/>
                      </a:lnTo>
                      <a:lnTo>
                        <a:pt x="424" y="75"/>
                      </a:lnTo>
                      <a:lnTo>
                        <a:pt x="424" y="75"/>
                      </a:lnTo>
                      <a:lnTo>
                        <a:pt x="424" y="75"/>
                      </a:lnTo>
                      <a:lnTo>
                        <a:pt x="424" y="75"/>
                      </a:lnTo>
                      <a:lnTo>
                        <a:pt x="425" y="75"/>
                      </a:lnTo>
                      <a:lnTo>
                        <a:pt x="424" y="75"/>
                      </a:lnTo>
                      <a:lnTo>
                        <a:pt x="424" y="75"/>
                      </a:lnTo>
                      <a:lnTo>
                        <a:pt x="424" y="75"/>
                      </a:lnTo>
                      <a:lnTo>
                        <a:pt x="425" y="75"/>
                      </a:lnTo>
                      <a:lnTo>
                        <a:pt x="425" y="75"/>
                      </a:lnTo>
                      <a:lnTo>
                        <a:pt x="426" y="75"/>
                      </a:lnTo>
                      <a:lnTo>
                        <a:pt x="426" y="75"/>
                      </a:lnTo>
                      <a:lnTo>
                        <a:pt x="427" y="74"/>
                      </a:lnTo>
                      <a:lnTo>
                        <a:pt x="427" y="74"/>
                      </a:lnTo>
                      <a:lnTo>
                        <a:pt x="428" y="74"/>
                      </a:lnTo>
                      <a:lnTo>
                        <a:pt x="427" y="74"/>
                      </a:lnTo>
                      <a:lnTo>
                        <a:pt x="428" y="74"/>
                      </a:lnTo>
                      <a:lnTo>
                        <a:pt x="429" y="74"/>
                      </a:lnTo>
                      <a:lnTo>
                        <a:pt x="429" y="74"/>
                      </a:lnTo>
                      <a:lnTo>
                        <a:pt x="430" y="74"/>
                      </a:lnTo>
                      <a:lnTo>
                        <a:pt x="429" y="74"/>
                      </a:lnTo>
                      <a:lnTo>
                        <a:pt x="430" y="74"/>
                      </a:lnTo>
                      <a:lnTo>
                        <a:pt x="430" y="75"/>
                      </a:lnTo>
                      <a:lnTo>
                        <a:pt x="430" y="74"/>
                      </a:lnTo>
                      <a:lnTo>
                        <a:pt x="430" y="75"/>
                      </a:lnTo>
                      <a:lnTo>
                        <a:pt x="430" y="74"/>
                      </a:lnTo>
                      <a:lnTo>
                        <a:pt x="430" y="75"/>
                      </a:lnTo>
                      <a:lnTo>
                        <a:pt x="431" y="75"/>
                      </a:lnTo>
                      <a:lnTo>
                        <a:pt x="431" y="75"/>
                      </a:lnTo>
                      <a:lnTo>
                        <a:pt x="432" y="75"/>
                      </a:lnTo>
                      <a:lnTo>
                        <a:pt x="433" y="74"/>
                      </a:lnTo>
                      <a:lnTo>
                        <a:pt x="432" y="74"/>
                      </a:lnTo>
                      <a:lnTo>
                        <a:pt x="433" y="74"/>
                      </a:lnTo>
                      <a:lnTo>
                        <a:pt x="433" y="74"/>
                      </a:lnTo>
                      <a:lnTo>
                        <a:pt x="433" y="74"/>
                      </a:lnTo>
                      <a:lnTo>
                        <a:pt x="433" y="74"/>
                      </a:lnTo>
                      <a:lnTo>
                        <a:pt x="433" y="74"/>
                      </a:lnTo>
                      <a:lnTo>
                        <a:pt x="433" y="74"/>
                      </a:lnTo>
                      <a:lnTo>
                        <a:pt x="434" y="74"/>
                      </a:lnTo>
                      <a:lnTo>
                        <a:pt x="433" y="74"/>
                      </a:lnTo>
                      <a:lnTo>
                        <a:pt x="434" y="74"/>
                      </a:lnTo>
                      <a:lnTo>
                        <a:pt x="434" y="74"/>
                      </a:lnTo>
                      <a:lnTo>
                        <a:pt x="434" y="74"/>
                      </a:lnTo>
                      <a:lnTo>
                        <a:pt x="434" y="75"/>
                      </a:lnTo>
                      <a:lnTo>
                        <a:pt x="433" y="75"/>
                      </a:lnTo>
                      <a:lnTo>
                        <a:pt x="434" y="75"/>
                      </a:lnTo>
                      <a:lnTo>
                        <a:pt x="433" y="75"/>
                      </a:lnTo>
                      <a:lnTo>
                        <a:pt x="434" y="75"/>
                      </a:lnTo>
                      <a:lnTo>
                        <a:pt x="434" y="75"/>
                      </a:lnTo>
                      <a:lnTo>
                        <a:pt x="433" y="75"/>
                      </a:lnTo>
                      <a:lnTo>
                        <a:pt x="433" y="76"/>
                      </a:lnTo>
                      <a:lnTo>
                        <a:pt x="433" y="76"/>
                      </a:lnTo>
                      <a:lnTo>
                        <a:pt x="432" y="76"/>
                      </a:lnTo>
                      <a:lnTo>
                        <a:pt x="431" y="76"/>
                      </a:lnTo>
                      <a:lnTo>
                        <a:pt x="431" y="76"/>
                      </a:lnTo>
                      <a:lnTo>
                        <a:pt x="431" y="76"/>
                      </a:lnTo>
                      <a:lnTo>
                        <a:pt x="431" y="76"/>
                      </a:lnTo>
                      <a:lnTo>
                        <a:pt x="431" y="76"/>
                      </a:lnTo>
                      <a:lnTo>
                        <a:pt x="430" y="76"/>
                      </a:lnTo>
                      <a:lnTo>
                        <a:pt x="430" y="76"/>
                      </a:lnTo>
                      <a:lnTo>
                        <a:pt x="430" y="77"/>
                      </a:lnTo>
                      <a:lnTo>
                        <a:pt x="429" y="77"/>
                      </a:lnTo>
                      <a:lnTo>
                        <a:pt x="429" y="78"/>
                      </a:lnTo>
                      <a:lnTo>
                        <a:pt x="429" y="78"/>
                      </a:lnTo>
                      <a:lnTo>
                        <a:pt x="429" y="78"/>
                      </a:lnTo>
                      <a:lnTo>
                        <a:pt x="429" y="79"/>
                      </a:lnTo>
                      <a:lnTo>
                        <a:pt x="428" y="79"/>
                      </a:lnTo>
                      <a:lnTo>
                        <a:pt x="428" y="79"/>
                      </a:lnTo>
                      <a:lnTo>
                        <a:pt x="427" y="79"/>
                      </a:lnTo>
                      <a:lnTo>
                        <a:pt x="427" y="79"/>
                      </a:lnTo>
                      <a:lnTo>
                        <a:pt x="427" y="79"/>
                      </a:lnTo>
                      <a:lnTo>
                        <a:pt x="428" y="79"/>
                      </a:lnTo>
                      <a:lnTo>
                        <a:pt x="428" y="79"/>
                      </a:lnTo>
                      <a:lnTo>
                        <a:pt x="429" y="79"/>
                      </a:lnTo>
                      <a:lnTo>
                        <a:pt x="429" y="78"/>
                      </a:lnTo>
                      <a:lnTo>
                        <a:pt x="429" y="78"/>
                      </a:lnTo>
                      <a:lnTo>
                        <a:pt x="429" y="78"/>
                      </a:lnTo>
                      <a:lnTo>
                        <a:pt x="429" y="77"/>
                      </a:lnTo>
                      <a:lnTo>
                        <a:pt x="430" y="77"/>
                      </a:lnTo>
                      <a:lnTo>
                        <a:pt x="430" y="76"/>
                      </a:lnTo>
                      <a:lnTo>
                        <a:pt x="430" y="76"/>
                      </a:lnTo>
                      <a:lnTo>
                        <a:pt x="431" y="76"/>
                      </a:lnTo>
                      <a:lnTo>
                        <a:pt x="430" y="76"/>
                      </a:lnTo>
                      <a:lnTo>
                        <a:pt x="431" y="76"/>
                      </a:lnTo>
                      <a:lnTo>
                        <a:pt x="431" y="76"/>
                      </a:lnTo>
                      <a:lnTo>
                        <a:pt x="431" y="76"/>
                      </a:lnTo>
                      <a:lnTo>
                        <a:pt x="432" y="76"/>
                      </a:lnTo>
                      <a:lnTo>
                        <a:pt x="433" y="76"/>
                      </a:lnTo>
                      <a:lnTo>
                        <a:pt x="433" y="76"/>
                      </a:lnTo>
                      <a:lnTo>
                        <a:pt x="433" y="75"/>
                      </a:lnTo>
                      <a:lnTo>
                        <a:pt x="433" y="76"/>
                      </a:lnTo>
                      <a:lnTo>
                        <a:pt x="433" y="75"/>
                      </a:lnTo>
                      <a:lnTo>
                        <a:pt x="434" y="75"/>
                      </a:lnTo>
                      <a:lnTo>
                        <a:pt x="433" y="75"/>
                      </a:lnTo>
                      <a:lnTo>
                        <a:pt x="434" y="75"/>
                      </a:lnTo>
                      <a:lnTo>
                        <a:pt x="434" y="75"/>
                      </a:lnTo>
                      <a:lnTo>
                        <a:pt x="434" y="75"/>
                      </a:lnTo>
                      <a:lnTo>
                        <a:pt x="434" y="75"/>
                      </a:lnTo>
                      <a:lnTo>
                        <a:pt x="434" y="75"/>
                      </a:lnTo>
                      <a:lnTo>
                        <a:pt x="434" y="75"/>
                      </a:lnTo>
                      <a:lnTo>
                        <a:pt x="434" y="75"/>
                      </a:lnTo>
                      <a:lnTo>
                        <a:pt x="435" y="75"/>
                      </a:lnTo>
                      <a:lnTo>
                        <a:pt x="435" y="75"/>
                      </a:lnTo>
                      <a:lnTo>
                        <a:pt x="435" y="75"/>
                      </a:lnTo>
                      <a:lnTo>
                        <a:pt x="435" y="75"/>
                      </a:lnTo>
                      <a:lnTo>
                        <a:pt x="435" y="75"/>
                      </a:lnTo>
                      <a:lnTo>
                        <a:pt x="436" y="75"/>
                      </a:lnTo>
                      <a:lnTo>
                        <a:pt x="437" y="75"/>
                      </a:lnTo>
                      <a:lnTo>
                        <a:pt x="437" y="75"/>
                      </a:lnTo>
                      <a:lnTo>
                        <a:pt x="437" y="75"/>
                      </a:lnTo>
                      <a:lnTo>
                        <a:pt x="436" y="76"/>
                      </a:lnTo>
                      <a:lnTo>
                        <a:pt x="437" y="75"/>
                      </a:lnTo>
                      <a:lnTo>
                        <a:pt x="437" y="76"/>
                      </a:lnTo>
                      <a:lnTo>
                        <a:pt x="437" y="75"/>
                      </a:lnTo>
                      <a:lnTo>
                        <a:pt x="437" y="76"/>
                      </a:lnTo>
                      <a:lnTo>
                        <a:pt x="437" y="76"/>
                      </a:lnTo>
                      <a:lnTo>
                        <a:pt x="437" y="75"/>
                      </a:lnTo>
                      <a:lnTo>
                        <a:pt x="437" y="76"/>
                      </a:lnTo>
                      <a:lnTo>
                        <a:pt x="437" y="76"/>
                      </a:lnTo>
                      <a:lnTo>
                        <a:pt x="437" y="76"/>
                      </a:lnTo>
                      <a:lnTo>
                        <a:pt x="436" y="76"/>
                      </a:lnTo>
                      <a:lnTo>
                        <a:pt x="435" y="76"/>
                      </a:lnTo>
                      <a:lnTo>
                        <a:pt x="435" y="77"/>
                      </a:lnTo>
                      <a:lnTo>
                        <a:pt x="436" y="77"/>
                      </a:lnTo>
                      <a:lnTo>
                        <a:pt x="435" y="77"/>
                      </a:lnTo>
                      <a:lnTo>
                        <a:pt x="436" y="77"/>
                      </a:lnTo>
                      <a:lnTo>
                        <a:pt x="435" y="78"/>
                      </a:lnTo>
                      <a:lnTo>
                        <a:pt x="436" y="78"/>
                      </a:lnTo>
                      <a:lnTo>
                        <a:pt x="435" y="78"/>
                      </a:lnTo>
                      <a:lnTo>
                        <a:pt x="436" y="77"/>
                      </a:lnTo>
                      <a:lnTo>
                        <a:pt x="435" y="77"/>
                      </a:lnTo>
                      <a:lnTo>
                        <a:pt x="436" y="77"/>
                      </a:lnTo>
                      <a:lnTo>
                        <a:pt x="435" y="76"/>
                      </a:lnTo>
                      <a:lnTo>
                        <a:pt x="436" y="76"/>
                      </a:lnTo>
                      <a:lnTo>
                        <a:pt x="435" y="76"/>
                      </a:lnTo>
                      <a:lnTo>
                        <a:pt x="436" y="76"/>
                      </a:lnTo>
                      <a:lnTo>
                        <a:pt x="437" y="76"/>
                      </a:lnTo>
                      <a:lnTo>
                        <a:pt x="437" y="76"/>
                      </a:lnTo>
                      <a:lnTo>
                        <a:pt x="437" y="76"/>
                      </a:lnTo>
                      <a:lnTo>
                        <a:pt x="437" y="76"/>
                      </a:lnTo>
                      <a:lnTo>
                        <a:pt x="437" y="76"/>
                      </a:lnTo>
                      <a:lnTo>
                        <a:pt x="437" y="76"/>
                      </a:lnTo>
                      <a:lnTo>
                        <a:pt x="437" y="76"/>
                      </a:lnTo>
                      <a:lnTo>
                        <a:pt x="438" y="76"/>
                      </a:lnTo>
                      <a:lnTo>
                        <a:pt x="438" y="76"/>
                      </a:lnTo>
                      <a:lnTo>
                        <a:pt x="439" y="76"/>
                      </a:lnTo>
                      <a:lnTo>
                        <a:pt x="439" y="77"/>
                      </a:lnTo>
                      <a:lnTo>
                        <a:pt x="440" y="77"/>
                      </a:lnTo>
                      <a:lnTo>
                        <a:pt x="439" y="77"/>
                      </a:lnTo>
                      <a:lnTo>
                        <a:pt x="440" y="77"/>
                      </a:lnTo>
                      <a:lnTo>
                        <a:pt x="440" y="78"/>
                      </a:lnTo>
                      <a:lnTo>
                        <a:pt x="441" y="78"/>
                      </a:lnTo>
                      <a:lnTo>
                        <a:pt x="441" y="78"/>
                      </a:lnTo>
                      <a:lnTo>
                        <a:pt x="441" y="78"/>
                      </a:lnTo>
                      <a:lnTo>
                        <a:pt x="442" y="78"/>
                      </a:lnTo>
                      <a:lnTo>
                        <a:pt x="442" y="79"/>
                      </a:lnTo>
                      <a:lnTo>
                        <a:pt x="442" y="79"/>
                      </a:lnTo>
                      <a:lnTo>
                        <a:pt x="442" y="79"/>
                      </a:lnTo>
                      <a:lnTo>
                        <a:pt x="441" y="79"/>
                      </a:lnTo>
                      <a:lnTo>
                        <a:pt x="442" y="79"/>
                      </a:lnTo>
                      <a:lnTo>
                        <a:pt x="441" y="79"/>
                      </a:lnTo>
                      <a:lnTo>
                        <a:pt x="441" y="80"/>
                      </a:lnTo>
                      <a:lnTo>
                        <a:pt x="440" y="80"/>
                      </a:lnTo>
                      <a:lnTo>
                        <a:pt x="440" y="81"/>
                      </a:lnTo>
                      <a:lnTo>
                        <a:pt x="439" y="81"/>
                      </a:lnTo>
                      <a:lnTo>
                        <a:pt x="439" y="81"/>
                      </a:lnTo>
                      <a:lnTo>
                        <a:pt x="440" y="82"/>
                      </a:lnTo>
                      <a:lnTo>
                        <a:pt x="440" y="82"/>
                      </a:lnTo>
                      <a:lnTo>
                        <a:pt x="439" y="82"/>
                      </a:lnTo>
                      <a:lnTo>
                        <a:pt x="440" y="82"/>
                      </a:lnTo>
                      <a:lnTo>
                        <a:pt x="439" y="82"/>
                      </a:lnTo>
                      <a:lnTo>
                        <a:pt x="440" y="82"/>
                      </a:lnTo>
                      <a:lnTo>
                        <a:pt x="440" y="82"/>
                      </a:lnTo>
                      <a:lnTo>
                        <a:pt x="440" y="81"/>
                      </a:lnTo>
                      <a:lnTo>
                        <a:pt x="440" y="82"/>
                      </a:lnTo>
                      <a:lnTo>
                        <a:pt x="440" y="81"/>
                      </a:lnTo>
                      <a:lnTo>
                        <a:pt x="439" y="81"/>
                      </a:lnTo>
                      <a:lnTo>
                        <a:pt x="439" y="81"/>
                      </a:lnTo>
                      <a:lnTo>
                        <a:pt x="439" y="81"/>
                      </a:lnTo>
                      <a:lnTo>
                        <a:pt x="439" y="81"/>
                      </a:lnTo>
                      <a:lnTo>
                        <a:pt x="440" y="81"/>
                      </a:lnTo>
                      <a:lnTo>
                        <a:pt x="440" y="80"/>
                      </a:lnTo>
                      <a:lnTo>
                        <a:pt x="441" y="80"/>
                      </a:lnTo>
                      <a:lnTo>
                        <a:pt x="441" y="80"/>
                      </a:lnTo>
                      <a:lnTo>
                        <a:pt x="441" y="79"/>
                      </a:lnTo>
                      <a:lnTo>
                        <a:pt x="442" y="79"/>
                      </a:lnTo>
                      <a:lnTo>
                        <a:pt x="442" y="79"/>
                      </a:lnTo>
                      <a:lnTo>
                        <a:pt x="442" y="79"/>
                      </a:lnTo>
                      <a:lnTo>
                        <a:pt x="442" y="79"/>
                      </a:lnTo>
                      <a:lnTo>
                        <a:pt x="442" y="79"/>
                      </a:lnTo>
                      <a:lnTo>
                        <a:pt x="443" y="79"/>
                      </a:lnTo>
                      <a:lnTo>
                        <a:pt x="444" y="79"/>
                      </a:lnTo>
                      <a:lnTo>
                        <a:pt x="444" y="79"/>
                      </a:lnTo>
                      <a:lnTo>
                        <a:pt x="444" y="80"/>
                      </a:lnTo>
                      <a:lnTo>
                        <a:pt x="445" y="80"/>
                      </a:lnTo>
                      <a:lnTo>
                        <a:pt x="445" y="80"/>
                      </a:lnTo>
                      <a:lnTo>
                        <a:pt x="445" y="81"/>
                      </a:lnTo>
                      <a:lnTo>
                        <a:pt x="446" y="81"/>
                      </a:lnTo>
                      <a:lnTo>
                        <a:pt x="446" y="81"/>
                      </a:lnTo>
                      <a:lnTo>
                        <a:pt x="447" y="81"/>
                      </a:lnTo>
                      <a:lnTo>
                        <a:pt x="446" y="81"/>
                      </a:lnTo>
                      <a:lnTo>
                        <a:pt x="446" y="81"/>
                      </a:lnTo>
                      <a:lnTo>
                        <a:pt x="446" y="81"/>
                      </a:lnTo>
                      <a:lnTo>
                        <a:pt x="446" y="82"/>
                      </a:lnTo>
                      <a:lnTo>
                        <a:pt x="446" y="82"/>
                      </a:lnTo>
                      <a:lnTo>
                        <a:pt x="446" y="82"/>
                      </a:lnTo>
                      <a:lnTo>
                        <a:pt x="446" y="82"/>
                      </a:lnTo>
                      <a:lnTo>
                        <a:pt x="446" y="82"/>
                      </a:lnTo>
                      <a:lnTo>
                        <a:pt x="446" y="83"/>
                      </a:lnTo>
                      <a:lnTo>
                        <a:pt x="446" y="82"/>
                      </a:lnTo>
                      <a:lnTo>
                        <a:pt x="445" y="82"/>
                      </a:lnTo>
                      <a:lnTo>
                        <a:pt x="445" y="82"/>
                      </a:lnTo>
                      <a:lnTo>
                        <a:pt x="444" y="82"/>
                      </a:lnTo>
                      <a:lnTo>
                        <a:pt x="445" y="82"/>
                      </a:lnTo>
                      <a:lnTo>
                        <a:pt x="445" y="83"/>
                      </a:lnTo>
                      <a:lnTo>
                        <a:pt x="445" y="83"/>
                      </a:lnTo>
                      <a:lnTo>
                        <a:pt x="445" y="83"/>
                      </a:lnTo>
                      <a:lnTo>
                        <a:pt x="446" y="83"/>
                      </a:lnTo>
                      <a:lnTo>
                        <a:pt x="445" y="83"/>
                      </a:lnTo>
                      <a:lnTo>
                        <a:pt x="446" y="83"/>
                      </a:lnTo>
                      <a:lnTo>
                        <a:pt x="446" y="83"/>
                      </a:lnTo>
                      <a:lnTo>
                        <a:pt x="446" y="83"/>
                      </a:lnTo>
                      <a:lnTo>
                        <a:pt x="447" y="83"/>
                      </a:lnTo>
                      <a:lnTo>
                        <a:pt x="448" y="84"/>
                      </a:lnTo>
                      <a:lnTo>
                        <a:pt x="447" y="84"/>
                      </a:lnTo>
                      <a:lnTo>
                        <a:pt x="448" y="85"/>
                      </a:lnTo>
                      <a:lnTo>
                        <a:pt x="447" y="85"/>
                      </a:lnTo>
                      <a:lnTo>
                        <a:pt x="446" y="85"/>
                      </a:lnTo>
                      <a:lnTo>
                        <a:pt x="446" y="85"/>
                      </a:lnTo>
                      <a:lnTo>
                        <a:pt x="446" y="85"/>
                      </a:lnTo>
                      <a:lnTo>
                        <a:pt x="447" y="85"/>
                      </a:lnTo>
                      <a:lnTo>
                        <a:pt x="448" y="85"/>
                      </a:lnTo>
                      <a:lnTo>
                        <a:pt x="448" y="85"/>
                      </a:lnTo>
                      <a:lnTo>
                        <a:pt x="448" y="85"/>
                      </a:lnTo>
                      <a:lnTo>
                        <a:pt x="449" y="85"/>
                      </a:lnTo>
                      <a:lnTo>
                        <a:pt x="449" y="84"/>
                      </a:lnTo>
                      <a:lnTo>
                        <a:pt x="448" y="84"/>
                      </a:lnTo>
                      <a:lnTo>
                        <a:pt x="449" y="84"/>
                      </a:lnTo>
                      <a:lnTo>
                        <a:pt x="449" y="83"/>
                      </a:lnTo>
                      <a:lnTo>
                        <a:pt x="449" y="83"/>
                      </a:lnTo>
                      <a:lnTo>
                        <a:pt x="450" y="83"/>
                      </a:lnTo>
                      <a:lnTo>
                        <a:pt x="450" y="84"/>
                      </a:lnTo>
                      <a:lnTo>
                        <a:pt x="450" y="83"/>
                      </a:lnTo>
                      <a:lnTo>
                        <a:pt x="449" y="83"/>
                      </a:lnTo>
                      <a:lnTo>
                        <a:pt x="450" y="83"/>
                      </a:lnTo>
                      <a:lnTo>
                        <a:pt x="450" y="83"/>
                      </a:lnTo>
                      <a:lnTo>
                        <a:pt x="451" y="84"/>
                      </a:lnTo>
                      <a:lnTo>
                        <a:pt x="451" y="83"/>
                      </a:lnTo>
                      <a:lnTo>
                        <a:pt x="450" y="83"/>
                      </a:lnTo>
                      <a:lnTo>
                        <a:pt x="451" y="83"/>
                      </a:lnTo>
                      <a:lnTo>
                        <a:pt x="450" y="83"/>
                      </a:lnTo>
                      <a:lnTo>
                        <a:pt x="450" y="83"/>
                      </a:lnTo>
                      <a:lnTo>
                        <a:pt x="450" y="83"/>
                      </a:lnTo>
                      <a:lnTo>
                        <a:pt x="449" y="83"/>
                      </a:lnTo>
                      <a:lnTo>
                        <a:pt x="449" y="83"/>
                      </a:lnTo>
                      <a:lnTo>
                        <a:pt x="448" y="83"/>
                      </a:lnTo>
                      <a:lnTo>
                        <a:pt x="448" y="82"/>
                      </a:lnTo>
                      <a:lnTo>
                        <a:pt x="448" y="82"/>
                      </a:lnTo>
                      <a:lnTo>
                        <a:pt x="448" y="82"/>
                      </a:lnTo>
                      <a:lnTo>
                        <a:pt x="449" y="82"/>
                      </a:lnTo>
                      <a:lnTo>
                        <a:pt x="449" y="82"/>
                      </a:lnTo>
                      <a:lnTo>
                        <a:pt x="449" y="82"/>
                      </a:lnTo>
                      <a:lnTo>
                        <a:pt x="450" y="82"/>
                      </a:lnTo>
                      <a:lnTo>
                        <a:pt x="450" y="82"/>
                      </a:lnTo>
                      <a:lnTo>
                        <a:pt x="450" y="82"/>
                      </a:lnTo>
                      <a:lnTo>
                        <a:pt x="451" y="82"/>
                      </a:lnTo>
                      <a:lnTo>
                        <a:pt x="450" y="82"/>
                      </a:lnTo>
                      <a:lnTo>
                        <a:pt x="451" y="82"/>
                      </a:lnTo>
                      <a:lnTo>
                        <a:pt x="451" y="83"/>
                      </a:lnTo>
                      <a:lnTo>
                        <a:pt x="450" y="83"/>
                      </a:lnTo>
                      <a:lnTo>
                        <a:pt x="451" y="83"/>
                      </a:lnTo>
                      <a:lnTo>
                        <a:pt x="452" y="83"/>
                      </a:lnTo>
                      <a:lnTo>
                        <a:pt x="452" y="82"/>
                      </a:lnTo>
                      <a:lnTo>
                        <a:pt x="452" y="83"/>
                      </a:lnTo>
                      <a:lnTo>
                        <a:pt x="452" y="83"/>
                      </a:lnTo>
                      <a:lnTo>
                        <a:pt x="452" y="84"/>
                      </a:lnTo>
                      <a:lnTo>
                        <a:pt x="452" y="85"/>
                      </a:lnTo>
                      <a:lnTo>
                        <a:pt x="452" y="85"/>
                      </a:lnTo>
                      <a:lnTo>
                        <a:pt x="452" y="85"/>
                      </a:lnTo>
                      <a:lnTo>
                        <a:pt x="452" y="85"/>
                      </a:lnTo>
                      <a:lnTo>
                        <a:pt x="452" y="85"/>
                      </a:lnTo>
                      <a:lnTo>
                        <a:pt x="453" y="85"/>
                      </a:lnTo>
                      <a:lnTo>
                        <a:pt x="453" y="86"/>
                      </a:lnTo>
                      <a:lnTo>
                        <a:pt x="453" y="86"/>
                      </a:lnTo>
                      <a:lnTo>
                        <a:pt x="453" y="87"/>
                      </a:lnTo>
                      <a:lnTo>
                        <a:pt x="452" y="87"/>
                      </a:lnTo>
                      <a:lnTo>
                        <a:pt x="452" y="87"/>
                      </a:lnTo>
                      <a:lnTo>
                        <a:pt x="452" y="87"/>
                      </a:lnTo>
                      <a:lnTo>
                        <a:pt x="453" y="87"/>
                      </a:lnTo>
                      <a:lnTo>
                        <a:pt x="453" y="87"/>
                      </a:lnTo>
                      <a:lnTo>
                        <a:pt x="453" y="87"/>
                      </a:lnTo>
                      <a:lnTo>
                        <a:pt x="453" y="87"/>
                      </a:lnTo>
                      <a:lnTo>
                        <a:pt x="453" y="87"/>
                      </a:lnTo>
                      <a:lnTo>
                        <a:pt x="453" y="87"/>
                      </a:lnTo>
                      <a:lnTo>
                        <a:pt x="453" y="87"/>
                      </a:lnTo>
                      <a:lnTo>
                        <a:pt x="453" y="88"/>
                      </a:lnTo>
                      <a:lnTo>
                        <a:pt x="453" y="88"/>
                      </a:lnTo>
                      <a:lnTo>
                        <a:pt x="453" y="88"/>
                      </a:lnTo>
                      <a:lnTo>
                        <a:pt x="452" y="88"/>
                      </a:lnTo>
                      <a:lnTo>
                        <a:pt x="452" y="89"/>
                      </a:lnTo>
                      <a:lnTo>
                        <a:pt x="452" y="88"/>
                      </a:lnTo>
                      <a:lnTo>
                        <a:pt x="453" y="88"/>
                      </a:lnTo>
                      <a:lnTo>
                        <a:pt x="453" y="88"/>
                      </a:lnTo>
                      <a:lnTo>
                        <a:pt x="453" y="87"/>
                      </a:lnTo>
                      <a:lnTo>
                        <a:pt x="453" y="87"/>
                      </a:lnTo>
                      <a:lnTo>
                        <a:pt x="453" y="87"/>
                      </a:lnTo>
                      <a:lnTo>
                        <a:pt x="453" y="87"/>
                      </a:lnTo>
                      <a:lnTo>
                        <a:pt x="454" y="87"/>
                      </a:lnTo>
                      <a:lnTo>
                        <a:pt x="455" y="87"/>
                      </a:lnTo>
                      <a:lnTo>
                        <a:pt x="454" y="87"/>
                      </a:lnTo>
                      <a:lnTo>
                        <a:pt x="454" y="87"/>
                      </a:lnTo>
                      <a:lnTo>
                        <a:pt x="454" y="87"/>
                      </a:lnTo>
                      <a:lnTo>
                        <a:pt x="454" y="87"/>
                      </a:lnTo>
                      <a:lnTo>
                        <a:pt x="455" y="87"/>
                      </a:lnTo>
                      <a:lnTo>
                        <a:pt x="455" y="87"/>
                      </a:lnTo>
                      <a:lnTo>
                        <a:pt x="455" y="87"/>
                      </a:lnTo>
                      <a:lnTo>
                        <a:pt x="456" y="87"/>
                      </a:lnTo>
                      <a:lnTo>
                        <a:pt x="456" y="87"/>
                      </a:lnTo>
                      <a:lnTo>
                        <a:pt x="456" y="87"/>
                      </a:lnTo>
                      <a:lnTo>
                        <a:pt x="456" y="87"/>
                      </a:lnTo>
                      <a:lnTo>
                        <a:pt x="455" y="87"/>
                      </a:lnTo>
                      <a:lnTo>
                        <a:pt x="456" y="87"/>
                      </a:lnTo>
                      <a:lnTo>
                        <a:pt x="456" y="88"/>
                      </a:lnTo>
                      <a:lnTo>
                        <a:pt x="456" y="89"/>
                      </a:lnTo>
                      <a:lnTo>
                        <a:pt x="455" y="90"/>
                      </a:lnTo>
                      <a:lnTo>
                        <a:pt x="455" y="90"/>
                      </a:lnTo>
                      <a:lnTo>
                        <a:pt x="455" y="90"/>
                      </a:lnTo>
                      <a:lnTo>
                        <a:pt x="454" y="92"/>
                      </a:lnTo>
                      <a:lnTo>
                        <a:pt x="454" y="92"/>
                      </a:lnTo>
                      <a:lnTo>
                        <a:pt x="453" y="92"/>
                      </a:lnTo>
                      <a:lnTo>
                        <a:pt x="453" y="93"/>
                      </a:lnTo>
                      <a:lnTo>
                        <a:pt x="453" y="92"/>
                      </a:lnTo>
                      <a:lnTo>
                        <a:pt x="453" y="93"/>
                      </a:lnTo>
                      <a:lnTo>
                        <a:pt x="453" y="93"/>
                      </a:lnTo>
                      <a:lnTo>
                        <a:pt x="453" y="93"/>
                      </a:lnTo>
                      <a:lnTo>
                        <a:pt x="453" y="93"/>
                      </a:lnTo>
                      <a:lnTo>
                        <a:pt x="452" y="93"/>
                      </a:lnTo>
                      <a:lnTo>
                        <a:pt x="452" y="93"/>
                      </a:lnTo>
                      <a:lnTo>
                        <a:pt x="452" y="93"/>
                      </a:lnTo>
                      <a:lnTo>
                        <a:pt x="452" y="93"/>
                      </a:lnTo>
                      <a:lnTo>
                        <a:pt x="453" y="92"/>
                      </a:lnTo>
                      <a:lnTo>
                        <a:pt x="453" y="92"/>
                      </a:lnTo>
                      <a:lnTo>
                        <a:pt x="453" y="92"/>
                      </a:lnTo>
                      <a:lnTo>
                        <a:pt x="453" y="91"/>
                      </a:lnTo>
                      <a:lnTo>
                        <a:pt x="452" y="91"/>
                      </a:lnTo>
                      <a:lnTo>
                        <a:pt x="452" y="91"/>
                      </a:lnTo>
                      <a:lnTo>
                        <a:pt x="451" y="91"/>
                      </a:lnTo>
                      <a:lnTo>
                        <a:pt x="450" y="91"/>
                      </a:lnTo>
                      <a:lnTo>
                        <a:pt x="450" y="91"/>
                      </a:lnTo>
                      <a:lnTo>
                        <a:pt x="449" y="91"/>
                      </a:lnTo>
                      <a:lnTo>
                        <a:pt x="449" y="90"/>
                      </a:lnTo>
                      <a:lnTo>
                        <a:pt x="449" y="90"/>
                      </a:lnTo>
                      <a:lnTo>
                        <a:pt x="449" y="90"/>
                      </a:lnTo>
                      <a:lnTo>
                        <a:pt x="448" y="90"/>
                      </a:lnTo>
                      <a:lnTo>
                        <a:pt x="448" y="90"/>
                      </a:lnTo>
                      <a:lnTo>
                        <a:pt x="447" y="89"/>
                      </a:lnTo>
                      <a:lnTo>
                        <a:pt x="446" y="89"/>
                      </a:lnTo>
                      <a:lnTo>
                        <a:pt x="446" y="89"/>
                      </a:lnTo>
                      <a:lnTo>
                        <a:pt x="446" y="89"/>
                      </a:lnTo>
                      <a:lnTo>
                        <a:pt x="445" y="89"/>
                      </a:lnTo>
                      <a:lnTo>
                        <a:pt x="445" y="89"/>
                      </a:lnTo>
                      <a:lnTo>
                        <a:pt x="445" y="88"/>
                      </a:lnTo>
                      <a:lnTo>
                        <a:pt x="444" y="88"/>
                      </a:lnTo>
                      <a:lnTo>
                        <a:pt x="444" y="88"/>
                      </a:lnTo>
                      <a:lnTo>
                        <a:pt x="443" y="88"/>
                      </a:lnTo>
                      <a:lnTo>
                        <a:pt x="442" y="88"/>
                      </a:lnTo>
                      <a:lnTo>
                        <a:pt x="442" y="87"/>
                      </a:lnTo>
                      <a:lnTo>
                        <a:pt x="442" y="87"/>
                      </a:lnTo>
                      <a:lnTo>
                        <a:pt x="441" y="87"/>
                      </a:lnTo>
                      <a:lnTo>
                        <a:pt x="441" y="87"/>
                      </a:lnTo>
                      <a:lnTo>
                        <a:pt x="441" y="87"/>
                      </a:lnTo>
                      <a:lnTo>
                        <a:pt x="442" y="87"/>
                      </a:lnTo>
                      <a:lnTo>
                        <a:pt x="442" y="87"/>
                      </a:lnTo>
                      <a:lnTo>
                        <a:pt x="442" y="87"/>
                      </a:lnTo>
                      <a:lnTo>
                        <a:pt x="442" y="87"/>
                      </a:lnTo>
                      <a:lnTo>
                        <a:pt x="442" y="88"/>
                      </a:lnTo>
                      <a:lnTo>
                        <a:pt x="443" y="88"/>
                      </a:lnTo>
                      <a:lnTo>
                        <a:pt x="443" y="89"/>
                      </a:lnTo>
                      <a:lnTo>
                        <a:pt x="444" y="89"/>
                      </a:lnTo>
                      <a:lnTo>
                        <a:pt x="444" y="89"/>
                      </a:lnTo>
                      <a:lnTo>
                        <a:pt x="444" y="89"/>
                      </a:lnTo>
                      <a:lnTo>
                        <a:pt x="445" y="89"/>
                      </a:lnTo>
                      <a:lnTo>
                        <a:pt x="446" y="89"/>
                      </a:lnTo>
                      <a:lnTo>
                        <a:pt x="446" y="90"/>
                      </a:lnTo>
                      <a:lnTo>
                        <a:pt x="446" y="90"/>
                      </a:lnTo>
                      <a:lnTo>
                        <a:pt x="447" y="90"/>
                      </a:lnTo>
                      <a:lnTo>
                        <a:pt x="447" y="90"/>
                      </a:lnTo>
                      <a:lnTo>
                        <a:pt x="448" y="90"/>
                      </a:lnTo>
                      <a:lnTo>
                        <a:pt x="447" y="90"/>
                      </a:lnTo>
                      <a:lnTo>
                        <a:pt x="447" y="91"/>
                      </a:lnTo>
                      <a:lnTo>
                        <a:pt x="446" y="91"/>
                      </a:lnTo>
                      <a:lnTo>
                        <a:pt x="446" y="90"/>
                      </a:lnTo>
                      <a:lnTo>
                        <a:pt x="446" y="90"/>
                      </a:lnTo>
                      <a:lnTo>
                        <a:pt x="446" y="90"/>
                      </a:lnTo>
                      <a:lnTo>
                        <a:pt x="446" y="91"/>
                      </a:lnTo>
                      <a:lnTo>
                        <a:pt x="446" y="91"/>
                      </a:lnTo>
                      <a:lnTo>
                        <a:pt x="446" y="91"/>
                      </a:lnTo>
                      <a:lnTo>
                        <a:pt x="447" y="91"/>
                      </a:lnTo>
                      <a:lnTo>
                        <a:pt x="446" y="91"/>
                      </a:lnTo>
                      <a:lnTo>
                        <a:pt x="446" y="92"/>
                      </a:lnTo>
                      <a:lnTo>
                        <a:pt x="447" y="92"/>
                      </a:lnTo>
                      <a:lnTo>
                        <a:pt x="448" y="92"/>
                      </a:lnTo>
                      <a:lnTo>
                        <a:pt x="447" y="92"/>
                      </a:lnTo>
                      <a:lnTo>
                        <a:pt x="448" y="92"/>
                      </a:lnTo>
                      <a:lnTo>
                        <a:pt x="447" y="92"/>
                      </a:lnTo>
                      <a:lnTo>
                        <a:pt x="447" y="92"/>
                      </a:lnTo>
                      <a:lnTo>
                        <a:pt x="446" y="92"/>
                      </a:lnTo>
                      <a:lnTo>
                        <a:pt x="446" y="93"/>
                      </a:lnTo>
                      <a:lnTo>
                        <a:pt x="447" y="93"/>
                      </a:lnTo>
                      <a:lnTo>
                        <a:pt x="448" y="93"/>
                      </a:lnTo>
                      <a:lnTo>
                        <a:pt x="447" y="93"/>
                      </a:lnTo>
                      <a:lnTo>
                        <a:pt x="448" y="93"/>
                      </a:lnTo>
                      <a:lnTo>
                        <a:pt x="448" y="93"/>
                      </a:lnTo>
                      <a:lnTo>
                        <a:pt x="449" y="93"/>
                      </a:lnTo>
                      <a:lnTo>
                        <a:pt x="448" y="92"/>
                      </a:lnTo>
                      <a:lnTo>
                        <a:pt x="449" y="92"/>
                      </a:lnTo>
                      <a:lnTo>
                        <a:pt x="449" y="92"/>
                      </a:lnTo>
                      <a:lnTo>
                        <a:pt x="450" y="92"/>
                      </a:lnTo>
                      <a:lnTo>
                        <a:pt x="450" y="91"/>
                      </a:lnTo>
                      <a:lnTo>
                        <a:pt x="450" y="91"/>
                      </a:lnTo>
                      <a:lnTo>
                        <a:pt x="451" y="92"/>
                      </a:lnTo>
                      <a:lnTo>
                        <a:pt x="450" y="92"/>
                      </a:lnTo>
                      <a:lnTo>
                        <a:pt x="450" y="92"/>
                      </a:lnTo>
                      <a:lnTo>
                        <a:pt x="451" y="92"/>
                      </a:lnTo>
                      <a:lnTo>
                        <a:pt x="450" y="92"/>
                      </a:lnTo>
                      <a:lnTo>
                        <a:pt x="450" y="93"/>
                      </a:lnTo>
                      <a:lnTo>
                        <a:pt x="451" y="93"/>
                      </a:lnTo>
                      <a:lnTo>
                        <a:pt x="451" y="93"/>
                      </a:lnTo>
                      <a:lnTo>
                        <a:pt x="452" y="93"/>
                      </a:lnTo>
                      <a:lnTo>
                        <a:pt x="452" y="93"/>
                      </a:lnTo>
                      <a:lnTo>
                        <a:pt x="453" y="93"/>
                      </a:lnTo>
                      <a:lnTo>
                        <a:pt x="453" y="94"/>
                      </a:lnTo>
                      <a:lnTo>
                        <a:pt x="453" y="93"/>
                      </a:lnTo>
                      <a:lnTo>
                        <a:pt x="453" y="94"/>
                      </a:lnTo>
                      <a:lnTo>
                        <a:pt x="453" y="94"/>
                      </a:lnTo>
                      <a:lnTo>
                        <a:pt x="454" y="93"/>
                      </a:lnTo>
                      <a:lnTo>
                        <a:pt x="454" y="94"/>
                      </a:lnTo>
                      <a:lnTo>
                        <a:pt x="455" y="94"/>
                      </a:lnTo>
                      <a:lnTo>
                        <a:pt x="454" y="94"/>
                      </a:lnTo>
                      <a:lnTo>
                        <a:pt x="455" y="94"/>
                      </a:lnTo>
                      <a:lnTo>
                        <a:pt x="455" y="95"/>
                      </a:lnTo>
                      <a:lnTo>
                        <a:pt x="454" y="95"/>
                      </a:lnTo>
                      <a:lnTo>
                        <a:pt x="453" y="95"/>
                      </a:lnTo>
                      <a:lnTo>
                        <a:pt x="453" y="95"/>
                      </a:lnTo>
                      <a:lnTo>
                        <a:pt x="452" y="95"/>
                      </a:lnTo>
                      <a:lnTo>
                        <a:pt x="453" y="96"/>
                      </a:lnTo>
                      <a:lnTo>
                        <a:pt x="452" y="96"/>
                      </a:lnTo>
                      <a:lnTo>
                        <a:pt x="452" y="96"/>
                      </a:lnTo>
                      <a:lnTo>
                        <a:pt x="451" y="96"/>
                      </a:lnTo>
                      <a:lnTo>
                        <a:pt x="450" y="96"/>
                      </a:lnTo>
                      <a:lnTo>
                        <a:pt x="450" y="96"/>
                      </a:lnTo>
                      <a:lnTo>
                        <a:pt x="449" y="96"/>
                      </a:lnTo>
                      <a:lnTo>
                        <a:pt x="449" y="96"/>
                      </a:lnTo>
                      <a:lnTo>
                        <a:pt x="449" y="96"/>
                      </a:lnTo>
                      <a:lnTo>
                        <a:pt x="448" y="96"/>
                      </a:lnTo>
                      <a:lnTo>
                        <a:pt x="448" y="96"/>
                      </a:lnTo>
                      <a:lnTo>
                        <a:pt x="447" y="96"/>
                      </a:lnTo>
                      <a:lnTo>
                        <a:pt x="446" y="96"/>
                      </a:lnTo>
                      <a:lnTo>
                        <a:pt x="446" y="96"/>
                      </a:lnTo>
                      <a:lnTo>
                        <a:pt x="445" y="96"/>
                      </a:lnTo>
                      <a:lnTo>
                        <a:pt x="445" y="97"/>
                      </a:lnTo>
                      <a:lnTo>
                        <a:pt x="444" y="97"/>
                      </a:lnTo>
                      <a:lnTo>
                        <a:pt x="444" y="97"/>
                      </a:lnTo>
                      <a:lnTo>
                        <a:pt x="444" y="97"/>
                      </a:lnTo>
                      <a:lnTo>
                        <a:pt x="445" y="97"/>
                      </a:lnTo>
                      <a:lnTo>
                        <a:pt x="445" y="97"/>
                      </a:lnTo>
                      <a:lnTo>
                        <a:pt x="445" y="96"/>
                      </a:lnTo>
                      <a:lnTo>
                        <a:pt x="446" y="97"/>
                      </a:lnTo>
                      <a:lnTo>
                        <a:pt x="446" y="96"/>
                      </a:lnTo>
                      <a:lnTo>
                        <a:pt x="446" y="96"/>
                      </a:lnTo>
                      <a:lnTo>
                        <a:pt x="447" y="96"/>
                      </a:lnTo>
                      <a:lnTo>
                        <a:pt x="448" y="96"/>
                      </a:lnTo>
                      <a:lnTo>
                        <a:pt x="448" y="96"/>
                      </a:lnTo>
                      <a:lnTo>
                        <a:pt x="449" y="96"/>
                      </a:lnTo>
                      <a:lnTo>
                        <a:pt x="449" y="96"/>
                      </a:lnTo>
                      <a:lnTo>
                        <a:pt x="450" y="96"/>
                      </a:lnTo>
                      <a:lnTo>
                        <a:pt x="450" y="96"/>
                      </a:lnTo>
                      <a:lnTo>
                        <a:pt x="451" y="96"/>
                      </a:lnTo>
                      <a:lnTo>
                        <a:pt x="452" y="96"/>
                      </a:lnTo>
                      <a:lnTo>
                        <a:pt x="452" y="96"/>
                      </a:lnTo>
                      <a:lnTo>
                        <a:pt x="453" y="96"/>
                      </a:lnTo>
                      <a:lnTo>
                        <a:pt x="453" y="96"/>
                      </a:lnTo>
                      <a:lnTo>
                        <a:pt x="454" y="96"/>
                      </a:lnTo>
                      <a:lnTo>
                        <a:pt x="454" y="96"/>
                      </a:lnTo>
                      <a:lnTo>
                        <a:pt x="454" y="97"/>
                      </a:lnTo>
                      <a:lnTo>
                        <a:pt x="453" y="97"/>
                      </a:lnTo>
                      <a:lnTo>
                        <a:pt x="453" y="97"/>
                      </a:lnTo>
                      <a:lnTo>
                        <a:pt x="453" y="97"/>
                      </a:lnTo>
                      <a:lnTo>
                        <a:pt x="453" y="98"/>
                      </a:lnTo>
                      <a:lnTo>
                        <a:pt x="452" y="98"/>
                      </a:lnTo>
                      <a:lnTo>
                        <a:pt x="452" y="98"/>
                      </a:lnTo>
                      <a:lnTo>
                        <a:pt x="451" y="99"/>
                      </a:lnTo>
                      <a:lnTo>
                        <a:pt x="451" y="98"/>
                      </a:lnTo>
                      <a:lnTo>
                        <a:pt x="450" y="98"/>
                      </a:lnTo>
                      <a:lnTo>
                        <a:pt x="451" y="98"/>
                      </a:lnTo>
                      <a:lnTo>
                        <a:pt x="451" y="99"/>
                      </a:lnTo>
                      <a:lnTo>
                        <a:pt x="450" y="99"/>
                      </a:lnTo>
                      <a:lnTo>
                        <a:pt x="450" y="100"/>
                      </a:lnTo>
                      <a:lnTo>
                        <a:pt x="450" y="99"/>
                      </a:lnTo>
                      <a:lnTo>
                        <a:pt x="450" y="100"/>
                      </a:lnTo>
                      <a:lnTo>
                        <a:pt x="450" y="100"/>
                      </a:lnTo>
                      <a:lnTo>
                        <a:pt x="449" y="100"/>
                      </a:lnTo>
                      <a:lnTo>
                        <a:pt x="449" y="100"/>
                      </a:lnTo>
                      <a:lnTo>
                        <a:pt x="448" y="100"/>
                      </a:lnTo>
                      <a:lnTo>
                        <a:pt x="448" y="100"/>
                      </a:lnTo>
                      <a:lnTo>
                        <a:pt x="448" y="100"/>
                      </a:lnTo>
                      <a:lnTo>
                        <a:pt x="448" y="100"/>
                      </a:lnTo>
                      <a:lnTo>
                        <a:pt x="448" y="100"/>
                      </a:lnTo>
                      <a:lnTo>
                        <a:pt x="449" y="101"/>
                      </a:lnTo>
                      <a:lnTo>
                        <a:pt x="448" y="101"/>
                      </a:lnTo>
                      <a:lnTo>
                        <a:pt x="448" y="101"/>
                      </a:lnTo>
                      <a:lnTo>
                        <a:pt x="448" y="101"/>
                      </a:lnTo>
                      <a:lnTo>
                        <a:pt x="447" y="101"/>
                      </a:lnTo>
                      <a:lnTo>
                        <a:pt x="447" y="102"/>
                      </a:lnTo>
                      <a:lnTo>
                        <a:pt x="446" y="102"/>
                      </a:lnTo>
                      <a:lnTo>
                        <a:pt x="446" y="103"/>
                      </a:lnTo>
                      <a:lnTo>
                        <a:pt x="446" y="103"/>
                      </a:lnTo>
                      <a:lnTo>
                        <a:pt x="445" y="103"/>
                      </a:lnTo>
                      <a:lnTo>
                        <a:pt x="445" y="103"/>
                      </a:lnTo>
                      <a:lnTo>
                        <a:pt x="444" y="103"/>
                      </a:lnTo>
                      <a:lnTo>
                        <a:pt x="444" y="103"/>
                      </a:lnTo>
                      <a:lnTo>
                        <a:pt x="444" y="103"/>
                      </a:lnTo>
                      <a:lnTo>
                        <a:pt x="443" y="103"/>
                      </a:lnTo>
                      <a:lnTo>
                        <a:pt x="442" y="103"/>
                      </a:lnTo>
                      <a:lnTo>
                        <a:pt x="442" y="104"/>
                      </a:lnTo>
                      <a:lnTo>
                        <a:pt x="442" y="103"/>
                      </a:lnTo>
                      <a:lnTo>
                        <a:pt x="441" y="104"/>
                      </a:lnTo>
                      <a:lnTo>
                        <a:pt x="441" y="104"/>
                      </a:lnTo>
                      <a:lnTo>
                        <a:pt x="441" y="105"/>
                      </a:lnTo>
                      <a:lnTo>
                        <a:pt x="440" y="105"/>
                      </a:lnTo>
                      <a:lnTo>
                        <a:pt x="441" y="105"/>
                      </a:lnTo>
                      <a:lnTo>
                        <a:pt x="440" y="105"/>
                      </a:lnTo>
                      <a:lnTo>
                        <a:pt x="440" y="105"/>
                      </a:lnTo>
                      <a:lnTo>
                        <a:pt x="439" y="105"/>
                      </a:lnTo>
                      <a:lnTo>
                        <a:pt x="439" y="105"/>
                      </a:lnTo>
                      <a:lnTo>
                        <a:pt x="439" y="105"/>
                      </a:lnTo>
                      <a:lnTo>
                        <a:pt x="440" y="105"/>
                      </a:lnTo>
                      <a:lnTo>
                        <a:pt x="439" y="105"/>
                      </a:lnTo>
                      <a:lnTo>
                        <a:pt x="440" y="105"/>
                      </a:lnTo>
                      <a:lnTo>
                        <a:pt x="439" y="105"/>
                      </a:lnTo>
                      <a:lnTo>
                        <a:pt x="439" y="106"/>
                      </a:lnTo>
                      <a:lnTo>
                        <a:pt x="439" y="106"/>
                      </a:lnTo>
                      <a:lnTo>
                        <a:pt x="439" y="107"/>
                      </a:lnTo>
                      <a:lnTo>
                        <a:pt x="438" y="107"/>
                      </a:lnTo>
                      <a:lnTo>
                        <a:pt x="438" y="107"/>
                      </a:lnTo>
                      <a:lnTo>
                        <a:pt x="438" y="106"/>
                      </a:lnTo>
                      <a:lnTo>
                        <a:pt x="437" y="106"/>
                      </a:lnTo>
                      <a:lnTo>
                        <a:pt x="437" y="106"/>
                      </a:lnTo>
                      <a:lnTo>
                        <a:pt x="436" y="106"/>
                      </a:lnTo>
                      <a:lnTo>
                        <a:pt x="435" y="106"/>
                      </a:lnTo>
                      <a:lnTo>
                        <a:pt x="435" y="107"/>
                      </a:lnTo>
                      <a:lnTo>
                        <a:pt x="435" y="107"/>
                      </a:lnTo>
                      <a:lnTo>
                        <a:pt x="434" y="107"/>
                      </a:lnTo>
                      <a:lnTo>
                        <a:pt x="434" y="107"/>
                      </a:lnTo>
                      <a:lnTo>
                        <a:pt x="434" y="107"/>
                      </a:lnTo>
                      <a:lnTo>
                        <a:pt x="434" y="108"/>
                      </a:lnTo>
                      <a:lnTo>
                        <a:pt x="433" y="107"/>
                      </a:lnTo>
                      <a:lnTo>
                        <a:pt x="433" y="107"/>
                      </a:lnTo>
                      <a:lnTo>
                        <a:pt x="433" y="107"/>
                      </a:lnTo>
                      <a:lnTo>
                        <a:pt x="433" y="108"/>
                      </a:lnTo>
                      <a:lnTo>
                        <a:pt x="433" y="107"/>
                      </a:lnTo>
                      <a:lnTo>
                        <a:pt x="433" y="107"/>
                      </a:lnTo>
                      <a:lnTo>
                        <a:pt x="432" y="107"/>
                      </a:lnTo>
                      <a:lnTo>
                        <a:pt x="431" y="107"/>
                      </a:lnTo>
                      <a:lnTo>
                        <a:pt x="431" y="107"/>
                      </a:lnTo>
                      <a:lnTo>
                        <a:pt x="431" y="106"/>
                      </a:lnTo>
                      <a:lnTo>
                        <a:pt x="430" y="106"/>
                      </a:lnTo>
                      <a:lnTo>
                        <a:pt x="430" y="107"/>
                      </a:lnTo>
                      <a:lnTo>
                        <a:pt x="430" y="106"/>
                      </a:lnTo>
                      <a:lnTo>
                        <a:pt x="430" y="106"/>
                      </a:lnTo>
                      <a:lnTo>
                        <a:pt x="430" y="106"/>
                      </a:lnTo>
                      <a:lnTo>
                        <a:pt x="430" y="106"/>
                      </a:lnTo>
                      <a:lnTo>
                        <a:pt x="430" y="106"/>
                      </a:lnTo>
                      <a:lnTo>
                        <a:pt x="430" y="107"/>
                      </a:lnTo>
                      <a:lnTo>
                        <a:pt x="430" y="106"/>
                      </a:lnTo>
                      <a:lnTo>
                        <a:pt x="431" y="106"/>
                      </a:lnTo>
                      <a:lnTo>
                        <a:pt x="431" y="107"/>
                      </a:lnTo>
                      <a:lnTo>
                        <a:pt x="431" y="107"/>
                      </a:lnTo>
                      <a:lnTo>
                        <a:pt x="432" y="107"/>
                      </a:lnTo>
                      <a:lnTo>
                        <a:pt x="433" y="107"/>
                      </a:lnTo>
                      <a:lnTo>
                        <a:pt x="433" y="107"/>
                      </a:lnTo>
                      <a:lnTo>
                        <a:pt x="432" y="107"/>
                      </a:lnTo>
                      <a:lnTo>
                        <a:pt x="433" y="107"/>
                      </a:lnTo>
                      <a:lnTo>
                        <a:pt x="433" y="108"/>
                      </a:lnTo>
                      <a:lnTo>
                        <a:pt x="433" y="108"/>
                      </a:lnTo>
                      <a:lnTo>
                        <a:pt x="433" y="108"/>
                      </a:lnTo>
                      <a:lnTo>
                        <a:pt x="433" y="108"/>
                      </a:lnTo>
                      <a:lnTo>
                        <a:pt x="432" y="108"/>
                      </a:lnTo>
                      <a:lnTo>
                        <a:pt x="433" y="108"/>
                      </a:lnTo>
                      <a:lnTo>
                        <a:pt x="432" y="108"/>
                      </a:lnTo>
                      <a:lnTo>
                        <a:pt x="433" y="108"/>
                      </a:lnTo>
                      <a:lnTo>
                        <a:pt x="432" y="108"/>
                      </a:lnTo>
                      <a:lnTo>
                        <a:pt x="433" y="108"/>
                      </a:lnTo>
                      <a:lnTo>
                        <a:pt x="432" y="108"/>
                      </a:lnTo>
                      <a:lnTo>
                        <a:pt x="431" y="108"/>
                      </a:lnTo>
                      <a:lnTo>
                        <a:pt x="431" y="108"/>
                      </a:lnTo>
                      <a:lnTo>
                        <a:pt x="431" y="109"/>
                      </a:lnTo>
                      <a:lnTo>
                        <a:pt x="430" y="109"/>
                      </a:lnTo>
                      <a:lnTo>
                        <a:pt x="430" y="109"/>
                      </a:lnTo>
                      <a:lnTo>
                        <a:pt x="429" y="109"/>
                      </a:lnTo>
                      <a:lnTo>
                        <a:pt x="429" y="109"/>
                      </a:lnTo>
                      <a:lnTo>
                        <a:pt x="429" y="109"/>
                      </a:lnTo>
                      <a:lnTo>
                        <a:pt x="429" y="109"/>
                      </a:lnTo>
                      <a:lnTo>
                        <a:pt x="429" y="109"/>
                      </a:lnTo>
                      <a:lnTo>
                        <a:pt x="428" y="109"/>
                      </a:lnTo>
                      <a:lnTo>
                        <a:pt x="427" y="109"/>
                      </a:lnTo>
                      <a:lnTo>
                        <a:pt x="427" y="109"/>
                      </a:lnTo>
                      <a:lnTo>
                        <a:pt x="426" y="109"/>
                      </a:lnTo>
                      <a:lnTo>
                        <a:pt x="427" y="109"/>
                      </a:lnTo>
                      <a:lnTo>
                        <a:pt x="426" y="109"/>
                      </a:lnTo>
                      <a:lnTo>
                        <a:pt x="426" y="109"/>
                      </a:lnTo>
                      <a:lnTo>
                        <a:pt x="425" y="109"/>
                      </a:lnTo>
                      <a:lnTo>
                        <a:pt x="424" y="109"/>
                      </a:lnTo>
                      <a:lnTo>
                        <a:pt x="424" y="109"/>
                      </a:lnTo>
                      <a:lnTo>
                        <a:pt x="423" y="109"/>
                      </a:lnTo>
                      <a:lnTo>
                        <a:pt x="423" y="108"/>
                      </a:lnTo>
                      <a:lnTo>
                        <a:pt x="423" y="108"/>
                      </a:lnTo>
                      <a:lnTo>
                        <a:pt x="422" y="108"/>
                      </a:lnTo>
                      <a:lnTo>
                        <a:pt x="422" y="108"/>
                      </a:lnTo>
                      <a:lnTo>
                        <a:pt x="422" y="108"/>
                      </a:lnTo>
                      <a:lnTo>
                        <a:pt x="421" y="108"/>
                      </a:lnTo>
                      <a:lnTo>
                        <a:pt x="421" y="107"/>
                      </a:lnTo>
                      <a:lnTo>
                        <a:pt x="421" y="108"/>
                      </a:lnTo>
                      <a:lnTo>
                        <a:pt x="421" y="107"/>
                      </a:lnTo>
                      <a:lnTo>
                        <a:pt x="420" y="107"/>
                      </a:lnTo>
                      <a:lnTo>
                        <a:pt x="420" y="107"/>
                      </a:lnTo>
                      <a:lnTo>
                        <a:pt x="420" y="107"/>
                      </a:lnTo>
                      <a:lnTo>
                        <a:pt x="420" y="107"/>
                      </a:lnTo>
                      <a:lnTo>
                        <a:pt x="420" y="107"/>
                      </a:lnTo>
                      <a:lnTo>
                        <a:pt x="420" y="106"/>
                      </a:lnTo>
                      <a:lnTo>
                        <a:pt x="419" y="106"/>
                      </a:lnTo>
                      <a:lnTo>
                        <a:pt x="419" y="105"/>
                      </a:lnTo>
                      <a:lnTo>
                        <a:pt x="420" y="105"/>
                      </a:lnTo>
                      <a:lnTo>
                        <a:pt x="419" y="105"/>
                      </a:lnTo>
                      <a:lnTo>
                        <a:pt x="419" y="105"/>
                      </a:lnTo>
                      <a:lnTo>
                        <a:pt x="419" y="105"/>
                      </a:lnTo>
                      <a:lnTo>
                        <a:pt x="419" y="104"/>
                      </a:lnTo>
                      <a:lnTo>
                        <a:pt x="419" y="104"/>
                      </a:lnTo>
                      <a:lnTo>
                        <a:pt x="419" y="104"/>
                      </a:lnTo>
                      <a:lnTo>
                        <a:pt x="419" y="104"/>
                      </a:lnTo>
                      <a:lnTo>
                        <a:pt x="419" y="104"/>
                      </a:lnTo>
                      <a:lnTo>
                        <a:pt x="419" y="104"/>
                      </a:lnTo>
                      <a:lnTo>
                        <a:pt x="419" y="103"/>
                      </a:lnTo>
                      <a:lnTo>
                        <a:pt x="420" y="103"/>
                      </a:lnTo>
                      <a:lnTo>
                        <a:pt x="419" y="103"/>
                      </a:lnTo>
                      <a:lnTo>
                        <a:pt x="419" y="103"/>
                      </a:lnTo>
                      <a:lnTo>
                        <a:pt x="419" y="103"/>
                      </a:lnTo>
                      <a:lnTo>
                        <a:pt x="419" y="102"/>
                      </a:lnTo>
                      <a:lnTo>
                        <a:pt x="418" y="102"/>
                      </a:lnTo>
                      <a:lnTo>
                        <a:pt x="418" y="101"/>
                      </a:lnTo>
                      <a:lnTo>
                        <a:pt x="419" y="101"/>
                      </a:lnTo>
                      <a:lnTo>
                        <a:pt x="418" y="101"/>
                      </a:lnTo>
                      <a:lnTo>
                        <a:pt x="419" y="101"/>
                      </a:lnTo>
                      <a:lnTo>
                        <a:pt x="418" y="101"/>
                      </a:lnTo>
                      <a:lnTo>
                        <a:pt x="418" y="101"/>
                      </a:lnTo>
                      <a:lnTo>
                        <a:pt x="419" y="100"/>
                      </a:lnTo>
                      <a:lnTo>
                        <a:pt x="419" y="100"/>
                      </a:lnTo>
                      <a:lnTo>
                        <a:pt x="419" y="100"/>
                      </a:lnTo>
                      <a:lnTo>
                        <a:pt x="419" y="99"/>
                      </a:lnTo>
                      <a:lnTo>
                        <a:pt x="420" y="99"/>
                      </a:lnTo>
                      <a:lnTo>
                        <a:pt x="420" y="99"/>
                      </a:lnTo>
                      <a:lnTo>
                        <a:pt x="420" y="98"/>
                      </a:lnTo>
                      <a:lnTo>
                        <a:pt x="421" y="98"/>
                      </a:lnTo>
                      <a:lnTo>
                        <a:pt x="422" y="98"/>
                      </a:lnTo>
                      <a:lnTo>
                        <a:pt x="422" y="98"/>
                      </a:lnTo>
                      <a:lnTo>
                        <a:pt x="422" y="98"/>
                      </a:lnTo>
                      <a:lnTo>
                        <a:pt x="423" y="98"/>
                      </a:lnTo>
                      <a:lnTo>
                        <a:pt x="422" y="98"/>
                      </a:lnTo>
                      <a:lnTo>
                        <a:pt x="422" y="98"/>
                      </a:lnTo>
                      <a:lnTo>
                        <a:pt x="422" y="98"/>
                      </a:lnTo>
                      <a:lnTo>
                        <a:pt x="421" y="98"/>
                      </a:lnTo>
                      <a:lnTo>
                        <a:pt x="420" y="98"/>
                      </a:lnTo>
                      <a:lnTo>
                        <a:pt x="420" y="99"/>
                      </a:lnTo>
                      <a:lnTo>
                        <a:pt x="420" y="99"/>
                      </a:lnTo>
                      <a:lnTo>
                        <a:pt x="419" y="99"/>
                      </a:lnTo>
                      <a:lnTo>
                        <a:pt x="419" y="100"/>
                      </a:lnTo>
                      <a:lnTo>
                        <a:pt x="419" y="100"/>
                      </a:lnTo>
                      <a:lnTo>
                        <a:pt x="419" y="100"/>
                      </a:lnTo>
                      <a:lnTo>
                        <a:pt x="418" y="100"/>
                      </a:lnTo>
                      <a:lnTo>
                        <a:pt x="418" y="101"/>
                      </a:lnTo>
                      <a:lnTo>
                        <a:pt x="418" y="101"/>
                      </a:lnTo>
                      <a:lnTo>
                        <a:pt x="418" y="102"/>
                      </a:lnTo>
                      <a:lnTo>
                        <a:pt x="419" y="102"/>
                      </a:lnTo>
                      <a:lnTo>
                        <a:pt x="419" y="103"/>
                      </a:lnTo>
                      <a:lnTo>
                        <a:pt x="419" y="103"/>
                      </a:lnTo>
                      <a:lnTo>
                        <a:pt x="419" y="103"/>
                      </a:lnTo>
                      <a:lnTo>
                        <a:pt x="420" y="103"/>
                      </a:lnTo>
                      <a:lnTo>
                        <a:pt x="419" y="103"/>
                      </a:lnTo>
                      <a:lnTo>
                        <a:pt x="419" y="104"/>
                      </a:lnTo>
                      <a:lnTo>
                        <a:pt x="419" y="104"/>
                      </a:lnTo>
                      <a:lnTo>
                        <a:pt x="419" y="104"/>
                      </a:lnTo>
                      <a:lnTo>
                        <a:pt x="418" y="104"/>
                      </a:lnTo>
                      <a:lnTo>
                        <a:pt x="419" y="104"/>
                      </a:lnTo>
                      <a:lnTo>
                        <a:pt x="419" y="105"/>
                      </a:lnTo>
                      <a:lnTo>
                        <a:pt x="419" y="105"/>
                      </a:lnTo>
                      <a:lnTo>
                        <a:pt x="419" y="105"/>
                      </a:lnTo>
                      <a:lnTo>
                        <a:pt x="420" y="105"/>
                      </a:lnTo>
                      <a:lnTo>
                        <a:pt x="419" y="105"/>
                      </a:lnTo>
                      <a:lnTo>
                        <a:pt x="419" y="106"/>
                      </a:lnTo>
                      <a:lnTo>
                        <a:pt x="420" y="106"/>
                      </a:lnTo>
                      <a:lnTo>
                        <a:pt x="420" y="107"/>
                      </a:lnTo>
                      <a:lnTo>
                        <a:pt x="420" y="107"/>
                      </a:lnTo>
                      <a:lnTo>
                        <a:pt x="420" y="107"/>
                      </a:lnTo>
                      <a:lnTo>
                        <a:pt x="420" y="107"/>
                      </a:lnTo>
                      <a:lnTo>
                        <a:pt x="420" y="107"/>
                      </a:lnTo>
                      <a:lnTo>
                        <a:pt x="421" y="107"/>
                      </a:lnTo>
                      <a:lnTo>
                        <a:pt x="421" y="108"/>
                      </a:lnTo>
                      <a:lnTo>
                        <a:pt x="422" y="108"/>
                      </a:lnTo>
                      <a:lnTo>
                        <a:pt x="422" y="108"/>
                      </a:lnTo>
                      <a:lnTo>
                        <a:pt x="422" y="108"/>
                      </a:lnTo>
                      <a:lnTo>
                        <a:pt x="423" y="109"/>
                      </a:lnTo>
                      <a:lnTo>
                        <a:pt x="423" y="109"/>
                      </a:lnTo>
                      <a:lnTo>
                        <a:pt x="424" y="109"/>
                      </a:lnTo>
                      <a:lnTo>
                        <a:pt x="424" y="109"/>
                      </a:lnTo>
                      <a:lnTo>
                        <a:pt x="425" y="109"/>
                      </a:lnTo>
                      <a:lnTo>
                        <a:pt x="426" y="109"/>
                      </a:lnTo>
                      <a:lnTo>
                        <a:pt x="426" y="109"/>
                      </a:lnTo>
                      <a:lnTo>
                        <a:pt x="426" y="109"/>
                      </a:lnTo>
                      <a:lnTo>
                        <a:pt x="427" y="109"/>
                      </a:lnTo>
                      <a:lnTo>
                        <a:pt x="427" y="109"/>
                      </a:lnTo>
                      <a:lnTo>
                        <a:pt x="427" y="109"/>
                      </a:lnTo>
                      <a:lnTo>
                        <a:pt x="427" y="110"/>
                      </a:lnTo>
                      <a:lnTo>
                        <a:pt x="427" y="111"/>
                      </a:lnTo>
                      <a:lnTo>
                        <a:pt x="426" y="111"/>
                      </a:lnTo>
                      <a:lnTo>
                        <a:pt x="426" y="111"/>
                      </a:lnTo>
                      <a:lnTo>
                        <a:pt x="426" y="111"/>
                      </a:lnTo>
                      <a:lnTo>
                        <a:pt x="426" y="111"/>
                      </a:lnTo>
                      <a:lnTo>
                        <a:pt x="425" y="111"/>
                      </a:lnTo>
                      <a:lnTo>
                        <a:pt x="424" y="111"/>
                      </a:lnTo>
                      <a:lnTo>
                        <a:pt x="424" y="111"/>
                      </a:lnTo>
                      <a:lnTo>
                        <a:pt x="424" y="111"/>
                      </a:lnTo>
                      <a:lnTo>
                        <a:pt x="423" y="111"/>
                      </a:lnTo>
                      <a:lnTo>
                        <a:pt x="423" y="112"/>
                      </a:lnTo>
                      <a:lnTo>
                        <a:pt x="423" y="111"/>
                      </a:lnTo>
                      <a:lnTo>
                        <a:pt x="423" y="112"/>
                      </a:lnTo>
                      <a:lnTo>
                        <a:pt x="423" y="112"/>
                      </a:lnTo>
                      <a:lnTo>
                        <a:pt x="422" y="112"/>
                      </a:lnTo>
                      <a:lnTo>
                        <a:pt x="422" y="112"/>
                      </a:lnTo>
                      <a:lnTo>
                        <a:pt x="421" y="112"/>
                      </a:lnTo>
                      <a:lnTo>
                        <a:pt x="421" y="111"/>
                      </a:lnTo>
                      <a:lnTo>
                        <a:pt x="421" y="112"/>
                      </a:lnTo>
                      <a:lnTo>
                        <a:pt x="420" y="112"/>
                      </a:lnTo>
                      <a:lnTo>
                        <a:pt x="420" y="112"/>
                      </a:lnTo>
                      <a:lnTo>
                        <a:pt x="420" y="112"/>
                      </a:lnTo>
                      <a:lnTo>
                        <a:pt x="419" y="112"/>
                      </a:lnTo>
                      <a:lnTo>
                        <a:pt x="419" y="112"/>
                      </a:lnTo>
                      <a:lnTo>
                        <a:pt x="418" y="112"/>
                      </a:lnTo>
                      <a:lnTo>
                        <a:pt x="418" y="112"/>
                      </a:lnTo>
                      <a:lnTo>
                        <a:pt x="417" y="112"/>
                      </a:lnTo>
                      <a:lnTo>
                        <a:pt x="416" y="112"/>
                      </a:lnTo>
                      <a:lnTo>
                        <a:pt x="416" y="113"/>
                      </a:lnTo>
                      <a:lnTo>
                        <a:pt x="416" y="113"/>
                      </a:lnTo>
                      <a:lnTo>
                        <a:pt x="416" y="112"/>
                      </a:lnTo>
                      <a:lnTo>
                        <a:pt x="415" y="112"/>
                      </a:lnTo>
                      <a:lnTo>
                        <a:pt x="415" y="112"/>
                      </a:lnTo>
                      <a:lnTo>
                        <a:pt x="415" y="112"/>
                      </a:lnTo>
                      <a:lnTo>
                        <a:pt x="415" y="112"/>
                      </a:lnTo>
                      <a:lnTo>
                        <a:pt x="415" y="112"/>
                      </a:lnTo>
                      <a:lnTo>
                        <a:pt x="415" y="112"/>
                      </a:lnTo>
                      <a:lnTo>
                        <a:pt x="414" y="112"/>
                      </a:lnTo>
                      <a:lnTo>
                        <a:pt x="414" y="111"/>
                      </a:lnTo>
                      <a:lnTo>
                        <a:pt x="413" y="111"/>
                      </a:lnTo>
                      <a:lnTo>
                        <a:pt x="413" y="111"/>
                      </a:lnTo>
                      <a:lnTo>
                        <a:pt x="413" y="111"/>
                      </a:lnTo>
                      <a:lnTo>
                        <a:pt x="413" y="111"/>
                      </a:lnTo>
                      <a:lnTo>
                        <a:pt x="413" y="111"/>
                      </a:lnTo>
                      <a:lnTo>
                        <a:pt x="412" y="111"/>
                      </a:lnTo>
                      <a:lnTo>
                        <a:pt x="413" y="111"/>
                      </a:lnTo>
                      <a:lnTo>
                        <a:pt x="413" y="110"/>
                      </a:lnTo>
                      <a:lnTo>
                        <a:pt x="413" y="111"/>
                      </a:lnTo>
                      <a:lnTo>
                        <a:pt x="412" y="111"/>
                      </a:lnTo>
                      <a:lnTo>
                        <a:pt x="413" y="111"/>
                      </a:lnTo>
                      <a:lnTo>
                        <a:pt x="413" y="111"/>
                      </a:lnTo>
                      <a:lnTo>
                        <a:pt x="412" y="111"/>
                      </a:lnTo>
                      <a:lnTo>
                        <a:pt x="413" y="111"/>
                      </a:lnTo>
                      <a:lnTo>
                        <a:pt x="413" y="111"/>
                      </a:lnTo>
                      <a:lnTo>
                        <a:pt x="413" y="111"/>
                      </a:lnTo>
                      <a:lnTo>
                        <a:pt x="413" y="111"/>
                      </a:lnTo>
                      <a:lnTo>
                        <a:pt x="414" y="111"/>
                      </a:lnTo>
                      <a:lnTo>
                        <a:pt x="414" y="112"/>
                      </a:lnTo>
                      <a:lnTo>
                        <a:pt x="415" y="112"/>
                      </a:lnTo>
                      <a:lnTo>
                        <a:pt x="414" y="112"/>
                      </a:lnTo>
                      <a:lnTo>
                        <a:pt x="415" y="112"/>
                      </a:lnTo>
                      <a:lnTo>
                        <a:pt x="415" y="112"/>
                      </a:lnTo>
                      <a:lnTo>
                        <a:pt x="415" y="112"/>
                      </a:lnTo>
                      <a:lnTo>
                        <a:pt x="415" y="112"/>
                      </a:lnTo>
                      <a:lnTo>
                        <a:pt x="415" y="112"/>
                      </a:lnTo>
                      <a:lnTo>
                        <a:pt x="415" y="112"/>
                      </a:lnTo>
                      <a:lnTo>
                        <a:pt x="416" y="112"/>
                      </a:lnTo>
                      <a:lnTo>
                        <a:pt x="416" y="113"/>
                      </a:lnTo>
                      <a:lnTo>
                        <a:pt x="416" y="113"/>
                      </a:lnTo>
                      <a:lnTo>
                        <a:pt x="417" y="112"/>
                      </a:lnTo>
                      <a:lnTo>
                        <a:pt x="418" y="112"/>
                      </a:lnTo>
                      <a:lnTo>
                        <a:pt x="418" y="112"/>
                      </a:lnTo>
                      <a:lnTo>
                        <a:pt x="419" y="112"/>
                      </a:lnTo>
                      <a:lnTo>
                        <a:pt x="419" y="112"/>
                      </a:lnTo>
                      <a:lnTo>
                        <a:pt x="420" y="112"/>
                      </a:lnTo>
                      <a:lnTo>
                        <a:pt x="420" y="112"/>
                      </a:lnTo>
                      <a:lnTo>
                        <a:pt x="420" y="112"/>
                      </a:lnTo>
                      <a:lnTo>
                        <a:pt x="421" y="112"/>
                      </a:lnTo>
                      <a:lnTo>
                        <a:pt x="421" y="112"/>
                      </a:lnTo>
                      <a:lnTo>
                        <a:pt x="422" y="112"/>
                      </a:lnTo>
                      <a:lnTo>
                        <a:pt x="422" y="112"/>
                      </a:lnTo>
                      <a:lnTo>
                        <a:pt x="423" y="112"/>
                      </a:lnTo>
                      <a:lnTo>
                        <a:pt x="423" y="112"/>
                      </a:lnTo>
                      <a:lnTo>
                        <a:pt x="423" y="112"/>
                      </a:lnTo>
                      <a:lnTo>
                        <a:pt x="424" y="112"/>
                      </a:lnTo>
                      <a:lnTo>
                        <a:pt x="424" y="113"/>
                      </a:lnTo>
                      <a:lnTo>
                        <a:pt x="423" y="114"/>
                      </a:lnTo>
                      <a:lnTo>
                        <a:pt x="423" y="114"/>
                      </a:lnTo>
                      <a:lnTo>
                        <a:pt x="423" y="114"/>
                      </a:lnTo>
                      <a:lnTo>
                        <a:pt x="422" y="115"/>
                      </a:lnTo>
                      <a:lnTo>
                        <a:pt x="422" y="115"/>
                      </a:lnTo>
                      <a:lnTo>
                        <a:pt x="421" y="115"/>
                      </a:lnTo>
                      <a:lnTo>
                        <a:pt x="421" y="115"/>
                      </a:lnTo>
                      <a:lnTo>
                        <a:pt x="420" y="115"/>
                      </a:lnTo>
                      <a:lnTo>
                        <a:pt x="420" y="115"/>
                      </a:lnTo>
                      <a:lnTo>
                        <a:pt x="420" y="115"/>
                      </a:lnTo>
                      <a:lnTo>
                        <a:pt x="420" y="115"/>
                      </a:lnTo>
                      <a:lnTo>
                        <a:pt x="419" y="115"/>
                      </a:lnTo>
                      <a:lnTo>
                        <a:pt x="419" y="116"/>
                      </a:lnTo>
                      <a:lnTo>
                        <a:pt x="419" y="116"/>
                      </a:lnTo>
                      <a:lnTo>
                        <a:pt x="419" y="116"/>
                      </a:lnTo>
                      <a:lnTo>
                        <a:pt x="419" y="116"/>
                      </a:lnTo>
                      <a:lnTo>
                        <a:pt x="419" y="115"/>
                      </a:lnTo>
                      <a:lnTo>
                        <a:pt x="419" y="116"/>
                      </a:lnTo>
                      <a:lnTo>
                        <a:pt x="418" y="116"/>
                      </a:lnTo>
                      <a:lnTo>
                        <a:pt x="418" y="116"/>
                      </a:lnTo>
                      <a:lnTo>
                        <a:pt x="417" y="116"/>
                      </a:lnTo>
                      <a:lnTo>
                        <a:pt x="416" y="116"/>
                      </a:lnTo>
                      <a:lnTo>
                        <a:pt x="416" y="116"/>
                      </a:lnTo>
                      <a:lnTo>
                        <a:pt x="416" y="117"/>
                      </a:lnTo>
                      <a:lnTo>
                        <a:pt x="416" y="116"/>
                      </a:lnTo>
                      <a:lnTo>
                        <a:pt x="415" y="116"/>
                      </a:lnTo>
                      <a:lnTo>
                        <a:pt x="416" y="116"/>
                      </a:lnTo>
                      <a:lnTo>
                        <a:pt x="415" y="116"/>
                      </a:lnTo>
                      <a:lnTo>
                        <a:pt x="415" y="117"/>
                      </a:lnTo>
                      <a:lnTo>
                        <a:pt x="415" y="116"/>
                      </a:lnTo>
                      <a:lnTo>
                        <a:pt x="416" y="117"/>
                      </a:lnTo>
                      <a:lnTo>
                        <a:pt x="416" y="116"/>
                      </a:lnTo>
                      <a:lnTo>
                        <a:pt x="416" y="117"/>
                      </a:lnTo>
                      <a:lnTo>
                        <a:pt x="415" y="117"/>
                      </a:lnTo>
                      <a:lnTo>
                        <a:pt x="415" y="118"/>
                      </a:lnTo>
                      <a:lnTo>
                        <a:pt x="415" y="117"/>
                      </a:lnTo>
                      <a:lnTo>
                        <a:pt x="415" y="117"/>
                      </a:lnTo>
                      <a:lnTo>
                        <a:pt x="415" y="117"/>
                      </a:lnTo>
                      <a:lnTo>
                        <a:pt x="415" y="117"/>
                      </a:lnTo>
                      <a:lnTo>
                        <a:pt x="415" y="118"/>
                      </a:lnTo>
                      <a:lnTo>
                        <a:pt x="414" y="118"/>
                      </a:lnTo>
                      <a:lnTo>
                        <a:pt x="414" y="118"/>
                      </a:lnTo>
                      <a:lnTo>
                        <a:pt x="413" y="118"/>
                      </a:lnTo>
                      <a:lnTo>
                        <a:pt x="413" y="119"/>
                      </a:lnTo>
                      <a:lnTo>
                        <a:pt x="413" y="119"/>
                      </a:lnTo>
                      <a:lnTo>
                        <a:pt x="413" y="119"/>
                      </a:lnTo>
                      <a:lnTo>
                        <a:pt x="413" y="119"/>
                      </a:lnTo>
                      <a:lnTo>
                        <a:pt x="412" y="119"/>
                      </a:lnTo>
                      <a:lnTo>
                        <a:pt x="412" y="120"/>
                      </a:lnTo>
                      <a:lnTo>
                        <a:pt x="412" y="120"/>
                      </a:lnTo>
                      <a:lnTo>
                        <a:pt x="412" y="120"/>
                      </a:lnTo>
                      <a:lnTo>
                        <a:pt x="411" y="120"/>
                      </a:lnTo>
                      <a:lnTo>
                        <a:pt x="412" y="119"/>
                      </a:lnTo>
                      <a:lnTo>
                        <a:pt x="411" y="119"/>
                      </a:lnTo>
                      <a:lnTo>
                        <a:pt x="412" y="119"/>
                      </a:lnTo>
                      <a:lnTo>
                        <a:pt x="411" y="120"/>
                      </a:lnTo>
                      <a:lnTo>
                        <a:pt x="412" y="120"/>
                      </a:lnTo>
                      <a:lnTo>
                        <a:pt x="412" y="120"/>
                      </a:lnTo>
                      <a:lnTo>
                        <a:pt x="411" y="120"/>
                      </a:lnTo>
                      <a:lnTo>
                        <a:pt x="411" y="121"/>
                      </a:lnTo>
                      <a:lnTo>
                        <a:pt x="411" y="121"/>
                      </a:lnTo>
                      <a:lnTo>
                        <a:pt x="410" y="121"/>
                      </a:lnTo>
                      <a:lnTo>
                        <a:pt x="410" y="122"/>
                      </a:lnTo>
                      <a:lnTo>
                        <a:pt x="409" y="122"/>
                      </a:lnTo>
                      <a:lnTo>
                        <a:pt x="409" y="122"/>
                      </a:lnTo>
                      <a:lnTo>
                        <a:pt x="408" y="122"/>
                      </a:lnTo>
                      <a:lnTo>
                        <a:pt x="408" y="122"/>
                      </a:lnTo>
                      <a:lnTo>
                        <a:pt x="408" y="122"/>
                      </a:lnTo>
                      <a:lnTo>
                        <a:pt x="407" y="122"/>
                      </a:lnTo>
                      <a:lnTo>
                        <a:pt x="407" y="122"/>
                      </a:lnTo>
                      <a:lnTo>
                        <a:pt x="406" y="122"/>
                      </a:lnTo>
                      <a:lnTo>
                        <a:pt x="405" y="122"/>
                      </a:lnTo>
                      <a:lnTo>
                        <a:pt x="405" y="122"/>
                      </a:lnTo>
                      <a:lnTo>
                        <a:pt x="404" y="122"/>
                      </a:lnTo>
                      <a:lnTo>
                        <a:pt x="404" y="122"/>
                      </a:lnTo>
                      <a:lnTo>
                        <a:pt x="403" y="123"/>
                      </a:lnTo>
                      <a:lnTo>
                        <a:pt x="403" y="122"/>
                      </a:lnTo>
                      <a:lnTo>
                        <a:pt x="403" y="123"/>
                      </a:lnTo>
                      <a:lnTo>
                        <a:pt x="403" y="122"/>
                      </a:lnTo>
                      <a:lnTo>
                        <a:pt x="403" y="123"/>
                      </a:lnTo>
                      <a:lnTo>
                        <a:pt x="403" y="122"/>
                      </a:lnTo>
                      <a:lnTo>
                        <a:pt x="403" y="122"/>
                      </a:lnTo>
                      <a:lnTo>
                        <a:pt x="402" y="122"/>
                      </a:lnTo>
                      <a:lnTo>
                        <a:pt x="402" y="123"/>
                      </a:lnTo>
                      <a:lnTo>
                        <a:pt x="401" y="123"/>
                      </a:lnTo>
                      <a:lnTo>
                        <a:pt x="401" y="122"/>
                      </a:lnTo>
                      <a:lnTo>
                        <a:pt x="400" y="122"/>
                      </a:lnTo>
                      <a:lnTo>
                        <a:pt x="400" y="122"/>
                      </a:lnTo>
                      <a:lnTo>
                        <a:pt x="400" y="122"/>
                      </a:lnTo>
                      <a:lnTo>
                        <a:pt x="400" y="122"/>
                      </a:lnTo>
                      <a:lnTo>
                        <a:pt x="400" y="121"/>
                      </a:lnTo>
                      <a:lnTo>
                        <a:pt x="400" y="121"/>
                      </a:lnTo>
                      <a:lnTo>
                        <a:pt x="399" y="121"/>
                      </a:lnTo>
                      <a:lnTo>
                        <a:pt x="399" y="120"/>
                      </a:lnTo>
                      <a:lnTo>
                        <a:pt x="398" y="120"/>
                      </a:lnTo>
                      <a:lnTo>
                        <a:pt x="398" y="120"/>
                      </a:lnTo>
                      <a:lnTo>
                        <a:pt x="397" y="120"/>
                      </a:lnTo>
                      <a:lnTo>
                        <a:pt x="397" y="120"/>
                      </a:lnTo>
                      <a:lnTo>
                        <a:pt x="396" y="120"/>
                      </a:lnTo>
                      <a:lnTo>
                        <a:pt x="396" y="120"/>
                      </a:lnTo>
                      <a:lnTo>
                        <a:pt x="395" y="120"/>
                      </a:lnTo>
                      <a:lnTo>
                        <a:pt x="395" y="119"/>
                      </a:lnTo>
                      <a:lnTo>
                        <a:pt x="394" y="119"/>
                      </a:lnTo>
                      <a:lnTo>
                        <a:pt x="394" y="119"/>
                      </a:lnTo>
                      <a:lnTo>
                        <a:pt x="394" y="119"/>
                      </a:lnTo>
                      <a:lnTo>
                        <a:pt x="393" y="119"/>
                      </a:lnTo>
                      <a:lnTo>
                        <a:pt x="394" y="119"/>
                      </a:lnTo>
                      <a:lnTo>
                        <a:pt x="393" y="119"/>
                      </a:lnTo>
                      <a:lnTo>
                        <a:pt x="393" y="118"/>
                      </a:lnTo>
                      <a:lnTo>
                        <a:pt x="393" y="119"/>
                      </a:lnTo>
                      <a:lnTo>
                        <a:pt x="394" y="118"/>
                      </a:lnTo>
                      <a:lnTo>
                        <a:pt x="393" y="118"/>
                      </a:lnTo>
                      <a:lnTo>
                        <a:pt x="393" y="119"/>
                      </a:lnTo>
                      <a:lnTo>
                        <a:pt x="394" y="119"/>
                      </a:lnTo>
                      <a:lnTo>
                        <a:pt x="393" y="119"/>
                      </a:lnTo>
                      <a:lnTo>
                        <a:pt x="394" y="119"/>
                      </a:lnTo>
                      <a:lnTo>
                        <a:pt x="394" y="119"/>
                      </a:lnTo>
                      <a:lnTo>
                        <a:pt x="394" y="119"/>
                      </a:lnTo>
                      <a:lnTo>
                        <a:pt x="395" y="119"/>
                      </a:lnTo>
                      <a:lnTo>
                        <a:pt x="395" y="120"/>
                      </a:lnTo>
                      <a:lnTo>
                        <a:pt x="394" y="120"/>
                      </a:lnTo>
                      <a:lnTo>
                        <a:pt x="394" y="120"/>
                      </a:lnTo>
                      <a:lnTo>
                        <a:pt x="393" y="120"/>
                      </a:lnTo>
                      <a:lnTo>
                        <a:pt x="394" y="120"/>
                      </a:lnTo>
                      <a:lnTo>
                        <a:pt x="393" y="120"/>
                      </a:lnTo>
                      <a:lnTo>
                        <a:pt x="394" y="120"/>
                      </a:lnTo>
                      <a:lnTo>
                        <a:pt x="394" y="119"/>
                      </a:lnTo>
                      <a:lnTo>
                        <a:pt x="393" y="119"/>
                      </a:lnTo>
                      <a:lnTo>
                        <a:pt x="393" y="120"/>
                      </a:lnTo>
                      <a:lnTo>
                        <a:pt x="393" y="119"/>
                      </a:lnTo>
                      <a:lnTo>
                        <a:pt x="393" y="120"/>
                      </a:lnTo>
                      <a:lnTo>
                        <a:pt x="393" y="119"/>
                      </a:lnTo>
                      <a:lnTo>
                        <a:pt x="392" y="119"/>
                      </a:lnTo>
                      <a:lnTo>
                        <a:pt x="393" y="119"/>
                      </a:lnTo>
                      <a:lnTo>
                        <a:pt x="392" y="119"/>
                      </a:lnTo>
                      <a:lnTo>
                        <a:pt x="392" y="120"/>
                      </a:lnTo>
                      <a:lnTo>
                        <a:pt x="392" y="119"/>
                      </a:lnTo>
                      <a:lnTo>
                        <a:pt x="392" y="119"/>
                      </a:lnTo>
                      <a:lnTo>
                        <a:pt x="392" y="120"/>
                      </a:lnTo>
                      <a:lnTo>
                        <a:pt x="391" y="119"/>
                      </a:lnTo>
                      <a:lnTo>
                        <a:pt x="390" y="119"/>
                      </a:lnTo>
                      <a:lnTo>
                        <a:pt x="391" y="119"/>
                      </a:lnTo>
                      <a:lnTo>
                        <a:pt x="391" y="120"/>
                      </a:lnTo>
                      <a:lnTo>
                        <a:pt x="392" y="120"/>
                      </a:lnTo>
                      <a:lnTo>
                        <a:pt x="392" y="119"/>
                      </a:lnTo>
                      <a:lnTo>
                        <a:pt x="392" y="119"/>
                      </a:lnTo>
                      <a:lnTo>
                        <a:pt x="392" y="119"/>
                      </a:lnTo>
                      <a:lnTo>
                        <a:pt x="392" y="120"/>
                      </a:lnTo>
                      <a:lnTo>
                        <a:pt x="392" y="119"/>
                      </a:lnTo>
                      <a:lnTo>
                        <a:pt x="393" y="120"/>
                      </a:lnTo>
                      <a:lnTo>
                        <a:pt x="393" y="119"/>
                      </a:lnTo>
                      <a:lnTo>
                        <a:pt x="393" y="120"/>
                      </a:lnTo>
                      <a:lnTo>
                        <a:pt x="393" y="119"/>
                      </a:lnTo>
                      <a:lnTo>
                        <a:pt x="393" y="120"/>
                      </a:lnTo>
                      <a:lnTo>
                        <a:pt x="394" y="120"/>
                      </a:lnTo>
                      <a:lnTo>
                        <a:pt x="393" y="120"/>
                      </a:lnTo>
                      <a:lnTo>
                        <a:pt x="394" y="120"/>
                      </a:lnTo>
                      <a:lnTo>
                        <a:pt x="393" y="120"/>
                      </a:lnTo>
                      <a:lnTo>
                        <a:pt x="393" y="120"/>
                      </a:lnTo>
                      <a:lnTo>
                        <a:pt x="393" y="120"/>
                      </a:lnTo>
                      <a:lnTo>
                        <a:pt x="394" y="120"/>
                      </a:lnTo>
                      <a:lnTo>
                        <a:pt x="394" y="120"/>
                      </a:lnTo>
                      <a:lnTo>
                        <a:pt x="395" y="120"/>
                      </a:lnTo>
                      <a:lnTo>
                        <a:pt x="396" y="120"/>
                      </a:lnTo>
                      <a:lnTo>
                        <a:pt x="396" y="120"/>
                      </a:lnTo>
                      <a:lnTo>
                        <a:pt x="397" y="120"/>
                      </a:lnTo>
                      <a:lnTo>
                        <a:pt x="397" y="120"/>
                      </a:lnTo>
                      <a:lnTo>
                        <a:pt x="398" y="120"/>
                      </a:lnTo>
                      <a:lnTo>
                        <a:pt x="398" y="120"/>
                      </a:lnTo>
                      <a:lnTo>
                        <a:pt x="398" y="121"/>
                      </a:lnTo>
                      <a:lnTo>
                        <a:pt x="399" y="121"/>
                      </a:lnTo>
                      <a:lnTo>
                        <a:pt x="400" y="121"/>
                      </a:lnTo>
                      <a:lnTo>
                        <a:pt x="399" y="121"/>
                      </a:lnTo>
                      <a:lnTo>
                        <a:pt x="400" y="121"/>
                      </a:lnTo>
                      <a:lnTo>
                        <a:pt x="400" y="121"/>
                      </a:lnTo>
                      <a:lnTo>
                        <a:pt x="400" y="122"/>
                      </a:lnTo>
                      <a:lnTo>
                        <a:pt x="400" y="122"/>
                      </a:lnTo>
                      <a:lnTo>
                        <a:pt x="400" y="122"/>
                      </a:lnTo>
                      <a:lnTo>
                        <a:pt x="400" y="122"/>
                      </a:lnTo>
                      <a:lnTo>
                        <a:pt x="400" y="122"/>
                      </a:lnTo>
                      <a:lnTo>
                        <a:pt x="399" y="123"/>
                      </a:lnTo>
                      <a:lnTo>
                        <a:pt x="398" y="123"/>
                      </a:lnTo>
                      <a:lnTo>
                        <a:pt x="398" y="123"/>
                      </a:lnTo>
                      <a:lnTo>
                        <a:pt x="398" y="122"/>
                      </a:lnTo>
                      <a:lnTo>
                        <a:pt x="397" y="122"/>
                      </a:lnTo>
                      <a:lnTo>
                        <a:pt x="397" y="122"/>
                      </a:lnTo>
                      <a:lnTo>
                        <a:pt x="396" y="122"/>
                      </a:lnTo>
                      <a:lnTo>
                        <a:pt x="396" y="122"/>
                      </a:lnTo>
                      <a:lnTo>
                        <a:pt x="395" y="122"/>
                      </a:lnTo>
                      <a:lnTo>
                        <a:pt x="394" y="123"/>
                      </a:lnTo>
                      <a:lnTo>
                        <a:pt x="394" y="122"/>
                      </a:lnTo>
                      <a:lnTo>
                        <a:pt x="394" y="122"/>
                      </a:lnTo>
                      <a:lnTo>
                        <a:pt x="393" y="122"/>
                      </a:lnTo>
                      <a:lnTo>
                        <a:pt x="393" y="122"/>
                      </a:lnTo>
                      <a:lnTo>
                        <a:pt x="393" y="122"/>
                      </a:lnTo>
                      <a:lnTo>
                        <a:pt x="392" y="122"/>
                      </a:lnTo>
                      <a:lnTo>
                        <a:pt x="392" y="122"/>
                      </a:lnTo>
                      <a:lnTo>
                        <a:pt x="391" y="122"/>
                      </a:lnTo>
                      <a:lnTo>
                        <a:pt x="391" y="122"/>
                      </a:lnTo>
                      <a:lnTo>
                        <a:pt x="390" y="122"/>
                      </a:lnTo>
                      <a:lnTo>
                        <a:pt x="390" y="122"/>
                      </a:lnTo>
                      <a:lnTo>
                        <a:pt x="389" y="122"/>
                      </a:lnTo>
                      <a:lnTo>
                        <a:pt x="389" y="122"/>
                      </a:lnTo>
                      <a:lnTo>
                        <a:pt x="389" y="122"/>
                      </a:lnTo>
                      <a:lnTo>
                        <a:pt x="388" y="122"/>
                      </a:lnTo>
                      <a:lnTo>
                        <a:pt x="388" y="122"/>
                      </a:lnTo>
                      <a:lnTo>
                        <a:pt x="388" y="123"/>
                      </a:lnTo>
                      <a:lnTo>
                        <a:pt x="387" y="123"/>
                      </a:lnTo>
                      <a:lnTo>
                        <a:pt x="386" y="123"/>
                      </a:lnTo>
                      <a:lnTo>
                        <a:pt x="386" y="123"/>
                      </a:lnTo>
                      <a:lnTo>
                        <a:pt x="386" y="123"/>
                      </a:lnTo>
                      <a:lnTo>
                        <a:pt x="385" y="123"/>
                      </a:lnTo>
                      <a:lnTo>
                        <a:pt x="385" y="124"/>
                      </a:lnTo>
                      <a:lnTo>
                        <a:pt x="385" y="124"/>
                      </a:lnTo>
                      <a:lnTo>
                        <a:pt x="385" y="124"/>
                      </a:lnTo>
                      <a:lnTo>
                        <a:pt x="384" y="124"/>
                      </a:lnTo>
                      <a:lnTo>
                        <a:pt x="385" y="124"/>
                      </a:lnTo>
                      <a:lnTo>
                        <a:pt x="384" y="124"/>
                      </a:lnTo>
                      <a:lnTo>
                        <a:pt x="383" y="124"/>
                      </a:lnTo>
                      <a:lnTo>
                        <a:pt x="383" y="124"/>
                      </a:lnTo>
                      <a:lnTo>
                        <a:pt x="383" y="124"/>
                      </a:lnTo>
                      <a:lnTo>
                        <a:pt x="383" y="124"/>
                      </a:lnTo>
                      <a:lnTo>
                        <a:pt x="383" y="125"/>
                      </a:lnTo>
                      <a:lnTo>
                        <a:pt x="382" y="124"/>
                      </a:lnTo>
                      <a:lnTo>
                        <a:pt x="382" y="124"/>
                      </a:lnTo>
                      <a:lnTo>
                        <a:pt x="381" y="124"/>
                      </a:lnTo>
                      <a:lnTo>
                        <a:pt x="381" y="124"/>
                      </a:lnTo>
                      <a:lnTo>
                        <a:pt x="380" y="124"/>
                      </a:lnTo>
                      <a:lnTo>
                        <a:pt x="381" y="124"/>
                      </a:lnTo>
                      <a:lnTo>
                        <a:pt x="381" y="125"/>
                      </a:lnTo>
                      <a:lnTo>
                        <a:pt x="380" y="125"/>
                      </a:lnTo>
                      <a:lnTo>
                        <a:pt x="379" y="125"/>
                      </a:lnTo>
                      <a:lnTo>
                        <a:pt x="379" y="124"/>
                      </a:lnTo>
                      <a:lnTo>
                        <a:pt x="379" y="125"/>
                      </a:lnTo>
                      <a:lnTo>
                        <a:pt x="379" y="125"/>
                      </a:lnTo>
                      <a:lnTo>
                        <a:pt x="378" y="125"/>
                      </a:lnTo>
                      <a:lnTo>
                        <a:pt x="379" y="125"/>
                      </a:lnTo>
                      <a:lnTo>
                        <a:pt x="379" y="125"/>
                      </a:lnTo>
                      <a:lnTo>
                        <a:pt x="378" y="125"/>
                      </a:lnTo>
                      <a:lnTo>
                        <a:pt x="378" y="125"/>
                      </a:lnTo>
                      <a:lnTo>
                        <a:pt x="378" y="125"/>
                      </a:lnTo>
                      <a:lnTo>
                        <a:pt x="378" y="125"/>
                      </a:lnTo>
                      <a:lnTo>
                        <a:pt x="377" y="125"/>
                      </a:lnTo>
                      <a:lnTo>
                        <a:pt x="377" y="125"/>
                      </a:lnTo>
                      <a:lnTo>
                        <a:pt x="377" y="125"/>
                      </a:lnTo>
                      <a:lnTo>
                        <a:pt x="377" y="125"/>
                      </a:lnTo>
                      <a:lnTo>
                        <a:pt x="376" y="125"/>
                      </a:lnTo>
                      <a:lnTo>
                        <a:pt x="376" y="124"/>
                      </a:lnTo>
                      <a:lnTo>
                        <a:pt x="375" y="124"/>
                      </a:lnTo>
                      <a:lnTo>
                        <a:pt x="375" y="124"/>
                      </a:lnTo>
                      <a:lnTo>
                        <a:pt x="374" y="124"/>
                      </a:lnTo>
                      <a:lnTo>
                        <a:pt x="374" y="124"/>
                      </a:lnTo>
                      <a:lnTo>
                        <a:pt x="374" y="123"/>
                      </a:lnTo>
                      <a:lnTo>
                        <a:pt x="373" y="123"/>
                      </a:lnTo>
                      <a:lnTo>
                        <a:pt x="372" y="123"/>
                      </a:lnTo>
                      <a:lnTo>
                        <a:pt x="372" y="124"/>
                      </a:lnTo>
                      <a:lnTo>
                        <a:pt x="371" y="125"/>
                      </a:lnTo>
                      <a:lnTo>
                        <a:pt x="371" y="125"/>
                      </a:lnTo>
                      <a:lnTo>
                        <a:pt x="371" y="125"/>
                      </a:lnTo>
                      <a:lnTo>
                        <a:pt x="370" y="125"/>
                      </a:lnTo>
                      <a:lnTo>
                        <a:pt x="370" y="125"/>
                      </a:lnTo>
                      <a:lnTo>
                        <a:pt x="370" y="125"/>
                      </a:lnTo>
                      <a:lnTo>
                        <a:pt x="369" y="125"/>
                      </a:lnTo>
                      <a:lnTo>
                        <a:pt x="369" y="124"/>
                      </a:lnTo>
                      <a:lnTo>
                        <a:pt x="370" y="124"/>
                      </a:lnTo>
                      <a:lnTo>
                        <a:pt x="369" y="124"/>
                      </a:lnTo>
                      <a:lnTo>
                        <a:pt x="369" y="123"/>
                      </a:lnTo>
                      <a:lnTo>
                        <a:pt x="368" y="123"/>
                      </a:lnTo>
                      <a:lnTo>
                        <a:pt x="368" y="123"/>
                      </a:lnTo>
                      <a:lnTo>
                        <a:pt x="367" y="123"/>
                      </a:lnTo>
                      <a:lnTo>
                        <a:pt x="367" y="123"/>
                      </a:lnTo>
                      <a:lnTo>
                        <a:pt x="367" y="122"/>
                      </a:lnTo>
                      <a:lnTo>
                        <a:pt x="366" y="123"/>
                      </a:lnTo>
                      <a:lnTo>
                        <a:pt x="366" y="123"/>
                      </a:lnTo>
                      <a:lnTo>
                        <a:pt x="366" y="122"/>
                      </a:lnTo>
                      <a:lnTo>
                        <a:pt x="365" y="122"/>
                      </a:lnTo>
                      <a:lnTo>
                        <a:pt x="364" y="122"/>
                      </a:lnTo>
                      <a:lnTo>
                        <a:pt x="364" y="123"/>
                      </a:lnTo>
                      <a:lnTo>
                        <a:pt x="364" y="123"/>
                      </a:lnTo>
                      <a:lnTo>
                        <a:pt x="363" y="123"/>
                      </a:lnTo>
                      <a:lnTo>
                        <a:pt x="363" y="123"/>
                      </a:lnTo>
                      <a:lnTo>
                        <a:pt x="363" y="123"/>
                      </a:lnTo>
                      <a:lnTo>
                        <a:pt x="363" y="122"/>
                      </a:lnTo>
                      <a:lnTo>
                        <a:pt x="363" y="122"/>
                      </a:lnTo>
                      <a:lnTo>
                        <a:pt x="363" y="122"/>
                      </a:lnTo>
                      <a:lnTo>
                        <a:pt x="363" y="122"/>
                      </a:lnTo>
                      <a:lnTo>
                        <a:pt x="363" y="122"/>
                      </a:lnTo>
                      <a:lnTo>
                        <a:pt x="363" y="122"/>
                      </a:lnTo>
                      <a:lnTo>
                        <a:pt x="363" y="122"/>
                      </a:lnTo>
                      <a:lnTo>
                        <a:pt x="363" y="122"/>
                      </a:lnTo>
                      <a:lnTo>
                        <a:pt x="363" y="122"/>
                      </a:lnTo>
                      <a:lnTo>
                        <a:pt x="363" y="123"/>
                      </a:lnTo>
                      <a:lnTo>
                        <a:pt x="363" y="123"/>
                      </a:lnTo>
                      <a:lnTo>
                        <a:pt x="363" y="123"/>
                      </a:lnTo>
                      <a:lnTo>
                        <a:pt x="363" y="123"/>
                      </a:lnTo>
                      <a:lnTo>
                        <a:pt x="363" y="123"/>
                      </a:lnTo>
                      <a:lnTo>
                        <a:pt x="364" y="123"/>
                      </a:lnTo>
                      <a:lnTo>
                        <a:pt x="364" y="123"/>
                      </a:lnTo>
                      <a:lnTo>
                        <a:pt x="364" y="122"/>
                      </a:lnTo>
                      <a:lnTo>
                        <a:pt x="365" y="122"/>
                      </a:lnTo>
                      <a:lnTo>
                        <a:pt x="366" y="122"/>
                      </a:lnTo>
                      <a:lnTo>
                        <a:pt x="366" y="123"/>
                      </a:lnTo>
                      <a:lnTo>
                        <a:pt x="366" y="123"/>
                      </a:lnTo>
                      <a:lnTo>
                        <a:pt x="367" y="122"/>
                      </a:lnTo>
                      <a:lnTo>
                        <a:pt x="367" y="123"/>
                      </a:lnTo>
                      <a:lnTo>
                        <a:pt x="367" y="123"/>
                      </a:lnTo>
                      <a:lnTo>
                        <a:pt x="368" y="123"/>
                      </a:lnTo>
                      <a:lnTo>
                        <a:pt x="368" y="123"/>
                      </a:lnTo>
                      <a:lnTo>
                        <a:pt x="369" y="123"/>
                      </a:lnTo>
                      <a:lnTo>
                        <a:pt x="369" y="124"/>
                      </a:lnTo>
                      <a:lnTo>
                        <a:pt x="369" y="125"/>
                      </a:lnTo>
                      <a:lnTo>
                        <a:pt x="370" y="125"/>
                      </a:lnTo>
                      <a:lnTo>
                        <a:pt x="370" y="125"/>
                      </a:lnTo>
                      <a:lnTo>
                        <a:pt x="371" y="125"/>
                      </a:lnTo>
                      <a:lnTo>
                        <a:pt x="371" y="125"/>
                      </a:lnTo>
                      <a:lnTo>
                        <a:pt x="371" y="125"/>
                      </a:lnTo>
                      <a:lnTo>
                        <a:pt x="372" y="124"/>
                      </a:lnTo>
                      <a:lnTo>
                        <a:pt x="372" y="123"/>
                      </a:lnTo>
                      <a:lnTo>
                        <a:pt x="373" y="123"/>
                      </a:lnTo>
                      <a:lnTo>
                        <a:pt x="373" y="124"/>
                      </a:lnTo>
                      <a:lnTo>
                        <a:pt x="373" y="123"/>
                      </a:lnTo>
                      <a:lnTo>
                        <a:pt x="374" y="124"/>
                      </a:lnTo>
                      <a:lnTo>
                        <a:pt x="374" y="124"/>
                      </a:lnTo>
                      <a:lnTo>
                        <a:pt x="375" y="124"/>
                      </a:lnTo>
                      <a:lnTo>
                        <a:pt x="375" y="124"/>
                      </a:lnTo>
                      <a:lnTo>
                        <a:pt x="376" y="124"/>
                      </a:lnTo>
                      <a:lnTo>
                        <a:pt x="376" y="125"/>
                      </a:lnTo>
                      <a:lnTo>
                        <a:pt x="377" y="125"/>
                      </a:lnTo>
                      <a:lnTo>
                        <a:pt x="377" y="125"/>
                      </a:lnTo>
                      <a:lnTo>
                        <a:pt x="377" y="125"/>
                      </a:lnTo>
                      <a:lnTo>
                        <a:pt x="378" y="125"/>
                      </a:lnTo>
                      <a:lnTo>
                        <a:pt x="378" y="125"/>
                      </a:lnTo>
                      <a:lnTo>
                        <a:pt x="378" y="125"/>
                      </a:lnTo>
                      <a:lnTo>
                        <a:pt x="378" y="125"/>
                      </a:lnTo>
                      <a:lnTo>
                        <a:pt x="378" y="125"/>
                      </a:lnTo>
                      <a:lnTo>
                        <a:pt x="378" y="125"/>
                      </a:lnTo>
                      <a:lnTo>
                        <a:pt x="379" y="125"/>
                      </a:lnTo>
                      <a:lnTo>
                        <a:pt x="379" y="125"/>
                      </a:lnTo>
                      <a:lnTo>
                        <a:pt x="378" y="125"/>
                      </a:lnTo>
                      <a:lnTo>
                        <a:pt x="379" y="125"/>
                      </a:lnTo>
                      <a:lnTo>
                        <a:pt x="379" y="125"/>
                      </a:lnTo>
                      <a:lnTo>
                        <a:pt x="379" y="124"/>
                      </a:lnTo>
                      <a:lnTo>
                        <a:pt x="379" y="125"/>
                      </a:lnTo>
                      <a:lnTo>
                        <a:pt x="380" y="125"/>
                      </a:lnTo>
                      <a:lnTo>
                        <a:pt x="381" y="125"/>
                      </a:lnTo>
                      <a:lnTo>
                        <a:pt x="381" y="124"/>
                      </a:lnTo>
                      <a:lnTo>
                        <a:pt x="380" y="124"/>
                      </a:lnTo>
                      <a:lnTo>
                        <a:pt x="381" y="124"/>
                      </a:lnTo>
                      <a:lnTo>
                        <a:pt x="381" y="124"/>
                      </a:lnTo>
                      <a:lnTo>
                        <a:pt x="382" y="124"/>
                      </a:lnTo>
                      <a:lnTo>
                        <a:pt x="382" y="125"/>
                      </a:lnTo>
                      <a:lnTo>
                        <a:pt x="383" y="125"/>
                      </a:lnTo>
                      <a:lnTo>
                        <a:pt x="383" y="124"/>
                      </a:lnTo>
                      <a:lnTo>
                        <a:pt x="383" y="124"/>
                      </a:lnTo>
                      <a:lnTo>
                        <a:pt x="384" y="124"/>
                      </a:lnTo>
                      <a:lnTo>
                        <a:pt x="384" y="125"/>
                      </a:lnTo>
                      <a:lnTo>
                        <a:pt x="385" y="124"/>
                      </a:lnTo>
                      <a:lnTo>
                        <a:pt x="384" y="124"/>
                      </a:lnTo>
                      <a:lnTo>
                        <a:pt x="385" y="124"/>
                      </a:lnTo>
                      <a:lnTo>
                        <a:pt x="385" y="124"/>
                      </a:lnTo>
                      <a:lnTo>
                        <a:pt x="385" y="123"/>
                      </a:lnTo>
                      <a:lnTo>
                        <a:pt x="386" y="123"/>
                      </a:lnTo>
                      <a:lnTo>
                        <a:pt x="386" y="123"/>
                      </a:lnTo>
                      <a:lnTo>
                        <a:pt x="386" y="123"/>
                      </a:lnTo>
                      <a:lnTo>
                        <a:pt x="387" y="123"/>
                      </a:lnTo>
                      <a:lnTo>
                        <a:pt x="388" y="123"/>
                      </a:lnTo>
                      <a:lnTo>
                        <a:pt x="388" y="122"/>
                      </a:lnTo>
                      <a:lnTo>
                        <a:pt x="388" y="122"/>
                      </a:lnTo>
                      <a:lnTo>
                        <a:pt x="389" y="122"/>
                      </a:lnTo>
                      <a:lnTo>
                        <a:pt x="389" y="122"/>
                      </a:lnTo>
                      <a:lnTo>
                        <a:pt x="389" y="122"/>
                      </a:lnTo>
                      <a:lnTo>
                        <a:pt x="390" y="122"/>
                      </a:lnTo>
                      <a:lnTo>
                        <a:pt x="390" y="122"/>
                      </a:lnTo>
                      <a:lnTo>
                        <a:pt x="390" y="122"/>
                      </a:lnTo>
                      <a:lnTo>
                        <a:pt x="390" y="122"/>
                      </a:lnTo>
                      <a:lnTo>
                        <a:pt x="390" y="122"/>
                      </a:lnTo>
                      <a:lnTo>
                        <a:pt x="391" y="122"/>
                      </a:lnTo>
                      <a:lnTo>
                        <a:pt x="391" y="122"/>
                      </a:lnTo>
                      <a:lnTo>
                        <a:pt x="392" y="122"/>
                      </a:lnTo>
                      <a:lnTo>
                        <a:pt x="392" y="122"/>
                      </a:lnTo>
                      <a:lnTo>
                        <a:pt x="392" y="122"/>
                      </a:lnTo>
                      <a:lnTo>
                        <a:pt x="393" y="122"/>
                      </a:lnTo>
                      <a:lnTo>
                        <a:pt x="392" y="122"/>
                      </a:lnTo>
                      <a:lnTo>
                        <a:pt x="393" y="122"/>
                      </a:lnTo>
                      <a:lnTo>
                        <a:pt x="393" y="122"/>
                      </a:lnTo>
                      <a:lnTo>
                        <a:pt x="393" y="122"/>
                      </a:lnTo>
                      <a:lnTo>
                        <a:pt x="394" y="122"/>
                      </a:lnTo>
                      <a:lnTo>
                        <a:pt x="394" y="122"/>
                      </a:lnTo>
                      <a:lnTo>
                        <a:pt x="394" y="123"/>
                      </a:lnTo>
                      <a:lnTo>
                        <a:pt x="395" y="122"/>
                      </a:lnTo>
                      <a:lnTo>
                        <a:pt x="395" y="123"/>
                      </a:lnTo>
                      <a:lnTo>
                        <a:pt x="396" y="123"/>
                      </a:lnTo>
                      <a:lnTo>
                        <a:pt x="396" y="122"/>
                      </a:lnTo>
                      <a:lnTo>
                        <a:pt x="396" y="122"/>
                      </a:lnTo>
                      <a:lnTo>
                        <a:pt x="397" y="122"/>
                      </a:lnTo>
                      <a:lnTo>
                        <a:pt x="397" y="122"/>
                      </a:lnTo>
                      <a:lnTo>
                        <a:pt x="398" y="122"/>
                      </a:lnTo>
                      <a:lnTo>
                        <a:pt x="398" y="123"/>
                      </a:lnTo>
                      <a:lnTo>
                        <a:pt x="398" y="123"/>
                      </a:lnTo>
                      <a:lnTo>
                        <a:pt x="399" y="123"/>
                      </a:lnTo>
                      <a:lnTo>
                        <a:pt x="400" y="123"/>
                      </a:lnTo>
                      <a:lnTo>
                        <a:pt x="400" y="123"/>
                      </a:lnTo>
                      <a:lnTo>
                        <a:pt x="401" y="123"/>
                      </a:lnTo>
                      <a:lnTo>
                        <a:pt x="401" y="123"/>
                      </a:lnTo>
                      <a:lnTo>
                        <a:pt x="402" y="123"/>
                      </a:lnTo>
                      <a:lnTo>
                        <a:pt x="401" y="123"/>
                      </a:lnTo>
                      <a:lnTo>
                        <a:pt x="402" y="123"/>
                      </a:lnTo>
                      <a:lnTo>
                        <a:pt x="402" y="124"/>
                      </a:lnTo>
                      <a:lnTo>
                        <a:pt x="401" y="124"/>
                      </a:lnTo>
                      <a:lnTo>
                        <a:pt x="401" y="125"/>
                      </a:lnTo>
                      <a:lnTo>
                        <a:pt x="400" y="125"/>
                      </a:lnTo>
                      <a:lnTo>
                        <a:pt x="400" y="125"/>
                      </a:lnTo>
                      <a:lnTo>
                        <a:pt x="400" y="125"/>
                      </a:lnTo>
                      <a:lnTo>
                        <a:pt x="399" y="125"/>
                      </a:lnTo>
                      <a:lnTo>
                        <a:pt x="399" y="126"/>
                      </a:lnTo>
                      <a:lnTo>
                        <a:pt x="399" y="126"/>
                      </a:lnTo>
                      <a:lnTo>
                        <a:pt x="399" y="127"/>
                      </a:lnTo>
                      <a:lnTo>
                        <a:pt x="398" y="127"/>
                      </a:lnTo>
                      <a:lnTo>
                        <a:pt x="398" y="127"/>
                      </a:lnTo>
                      <a:lnTo>
                        <a:pt x="397" y="127"/>
                      </a:lnTo>
                      <a:lnTo>
                        <a:pt x="397" y="127"/>
                      </a:lnTo>
                      <a:lnTo>
                        <a:pt x="397" y="127"/>
                      </a:lnTo>
                      <a:lnTo>
                        <a:pt x="396" y="127"/>
                      </a:lnTo>
                      <a:lnTo>
                        <a:pt x="396" y="127"/>
                      </a:lnTo>
                      <a:lnTo>
                        <a:pt x="396" y="127"/>
                      </a:lnTo>
                      <a:lnTo>
                        <a:pt x="396" y="127"/>
                      </a:lnTo>
                      <a:lnTo>
                        <a:pt x="395" y="127"/>
                      </a:lnTo>
                      <a:lnTo>
                        <a:pt x="394" y="127"/>
                      </a:lnTo>
                      <a:lnTo>
                        <a:pt x="394" y="127"/>
                      </a:lnTo>
                      <a:lnTo>
                        <a:pt x="394" y="127"/>
                      </a:lnTo>
                      <a:lnTo>
                        <a:pt x="393" y="127"/>
                      </a:lnTo>
                      <a:lnTo>
                        <a:pt x="393" y="128"/>
                      </a:lnTo>
                      <a:lnTo>
                        <a:pt x="393" y="129"/>
                      </a:lnTo>
                      <a:lnTo>
                        <a:pt x="393" y="129"/>
                      </a:lnTo>
                      <a:lnTo>
                        <a:pt x="392" y="129"/>
                      </a:lnTo>
                      <a:lnTo>
                        <a:pt x="393" y="129"/>
                      </a:lnTo>
                      <a:lnTo>
                        <a:pt x="393" y="130"/>
                      </a:lnTo>
                      <a:lnTo>
                        <a:pt x="392" y="130"/>
                      </a:lnTo>
                      <a:lnTo>
                        <a:pt x="392" y="130"/>
                      </a:lnTo>
                      <a:lnTo>
                        <a:pt x="392" y="130"/>
                      </a:lnTo>
                      <a:lnTo>
                        <a:pt x="392" y="131"/>
                      </a:lnTo>
                      <a:lnTo>
                        <a:pt x="391" y="131"/>
                      </a:lnTo>
                      <a:lnTo>
                        <a:pt x="391" y="131"/>
                      </a:lnTo>
                      <a:lnTo>
                        <a:pt x="392" y="131"/>
                      </a:lnTo>
                      <a:lnTo>
                        <a:pt x="391" y="132"/>
                      </a:lnTo>
                      <a:lnTo>
                        <a:pt x="390" y="132"/>
                      </a:lnTo>
                      <a:lnTo>
                        <a:pt x="391" y="132"/>
                      </a:lnTo>
                      <a:lnTo>
                        <a:pt x="391" y="133"/>
                      </a:lnTo>
                      <a:lnTo>
                        <a:pt x="390" y="133"/>
                      </a:lnTo>
                      <a:lnTo>
                        <a:pt x="390" y="133"/>
                      </a:lnTo>
                      <a:lnTo>
                        <a:pt x="390" y="134"/>
                      </a:lnTo>
                      <a:lnTo>
                        <a:pt x="389" y="134"/>
                      </a:lnTo>
                      <a:lnTo>
                        <a:pt x="390" y="134"/>
                      </a:lnTo>
                      <a:lnTo>
                        <a:pt x="389" y="134"/>
                      </a:lnTo>
                      <a:lnTo>
                        <a:pt x="389" y="134"/>
                      </a:lnTo>
                      <a:lnTo>
                        <a:pt x="389" y="134"/>
                      </a:lnTo>
                      <a:lnTo>
                        <a:pt x="388" y="134"/>
                      </a:lnTo>
                      <a:lnTo>
                        <a:pt x="388" y="134"/>
                      </a:lnTo>
                      <a:lnTo>
                        <a:pt x="388" y="135"/>
                      </a:lnTo>
                      <a:lnTo>
                        <a:pt x="387" y="135"/>
                      </a:lnTo>
                      <a:lnTo>
                        <a:pt x="386" y="135"/>
                      </a:lnTo>
                      <a:lnTo>
                        <a:pt x="386" y="135"/>
                      </a:lnTo>
                      <a:lnTo>
                        <a:pt x="385" y="135"/>
                      </a:lnTo>
                      <a:lnTo>
                        <a:pt x="386" y="135"/>
                      </a:lnTo>
                      <a:lnTo>
                        <a:pt x="386" y="134"/>
                      </a:lnTo>
                      <a:lnTo>
                        <a:pt x="385" y="134"/>
                      </a:lnTo>
                      <a:lnTo>
                        <a:pt x="386" y="134"/>
                      </a:lnTo>
                      <a:lnTo>
                        <a:pt x="386" y="134"/>
                      </a:lnTo>
                      <a:lnTo>
                        <a:pt x="385" y="134"/>
                      </a:lnTo>
                      <a:lnTo>
                        <a:pt x="385" y="134"/>
                      </a:lnTo>
                      <a:lnTo>
                        <a:pt x="385" y="134"/>
                      </a:lnTo>
                      <a:lnTo>
                        <a:pt x="386" y="134"/>
                      </a:lnTo>
                      <a:lnTo>
                        <a:pt x="385" y="134"/>
                      </a:lnTo>
                      <a:lnTo>
                        <a:pt x="386" y="134"/>
                      </a:lnTo>
                      <a:lnTo>
                        <a:pt x="386" y="135"/>
                      </a:lnTo>
                      <a:lnTo>
                        <a:pt x="385" y="135"/>
                      </a:lnTo>
                      <a:lnTo>
                        <a:pt x="385" y="135"/>
                      </a:lnTo>
                      <a:lnTo>
                        <a:pt x="384" y="135"/>
                      </a:lnTo>
                      <a:lnTo>
                        <a:pt x="383" y="135"/>
                      </a:lnTo>
                      <a:lnTo>
                        <a:pt x="383" y="135"/>
                      </a:lnTo>
                      <a:lnTo>
                        <a:pt x="383" y="135"/>
                      </a:lnTo>
                      <a:lnTo>
                        <a:pt x="382" y="135"/>
                      </a:lnTo>
                      <a:lnTo>
                        <a:pt x="382" y="135"/>
                      </a:lnTo>
                      <a:lnTo>
                        <a:pt x="382" y="136"/>
                      </a:lnTo>
                      <a:lnTo>
                        <a:pt x="382" y="136"/>
                      </a:lnTo>
                      <a:lnTo>
                        <a:pt x="382" y="137"/>
                      </a:lnTo>
                      <a:lnTo>
                        <a:pt x="381" y="137"/>
                      </a:lnTo>
                      <a:lnTo>
                        <a:pt x="381" y="137"/>
                      </a:lnTo>
                      <a:lnTo>
                        <a:pt x="380" y="137"/>
                      </a:lnTo>
                      <a:lnTo>
                        <a:pt x="380" y="137"/>
                      </a:lnTo>
                      <a:lnTo>
                        <a:pt x="379" y="137"/>
                      </a:lnTo>
                      <a:lnTo>
                        <a:pt x="379" y="138"/>
                      </a:lnTo>
                      <a:lnTo>
                        <a:pt x="379" y="137"/>
                      </a:lnTo>
                      <a:lnTo>
                        <a:pt x="380" y="137"/>
                      </a:lnTo>
                      <a:lnTo>
                        <a:pt x="379" y="137"/>
                      </a:lnTo>
                      <a:lnTo>
                        <a:pt x="379" y="138"/>
                      </a:lnTo>
                      <a:lnTo>
                        <a:pt x="379" y="138"/>
                      </a:lnTo>
                      <a:lnTo>
                        <a:pt x="378" y="138"/>
                      </a:lnTo>
                      <a:lnTo>
                        <a:pt x="378" y="138"/>
                      </a:lnTo>
                      <a:lnTo>
                        <a:pt x="377" y="138"/>
                      </a:lnTo>
                      <a:lnTo>
                        <a:pt x="377" y="138"/>
                      </a:lnTo>
                      <a:lnTo>
                        <a:pt x="376" y="138"/>
                      </a:lnTo>
                      <a:lnTo>
                        <a:pt x="375" y="139"/>
                      </a:lnTo>
                      <a:lnTo>
                        <a:pt x="375" y="139"/>
                      </a:lnTo>
                      <a:lnTo>
                        <a:pt x="374" y="139"/>
                      </a:lnTo>
                      <a:lnTo>
                        <a:pt x="374" y="140"/>
                      </a:lnTo>
                      <a:lnTo>
                        <a:pt x="374" y="140"/>
                      </a:lnTo>
                      <a:lnTo>
                        <a:pt x="373" y="140"/>
                      </a:lnTo>
                      <a:lnTo>
                        <a:pt x="372" y="140"/>
                      </a:lnTo>
                      <a:lnTo>
                        <a:pt x="372" y="140"/>
                      </a:lnTo>
                      <a:lnTo>
                        <a:pt x="371" y="140"/>
                      </a:lnTo>
                      <a:lnTo>
                        <a:pt x="371" y="140"/>
                      </a:lnTo>
                      <a:lnTo>
                        <a:pt x="371" y="140"/>
                      </a:lnTo>
                      <a:lnTo>
                        <a:pt x="370" y="140"/>
                      </a:lnTo>
                      <a:lnTo>
                        <a:pt x="370" y="141"/>
                      </a:lnTo>
                      <a:lnTo>
                        <a:pt x="369" y="141"/>
                      </a:lnTo>
                      <a:lnTo>
                        <a:pt x="369" y="141"/>
                      </a:lnTo>
                      <a:lnTo>
                        <a:pt x="368" y="141"/>
                      </a:lnTo>
                      <a:lnTo>
                        <a:pt x="368" y="141"/>
                      </a:lnTo>
                      <a:lnTo>
                        <a:pt x="368" y="142"/>
                      </a:lnTo>
                      <a:lnTo>
                        <a:pt x="368" y="141"/>
                      </a:lnTo>
                      <a:lnTo>
                        <a:pt x="367" y="141"/>
                      </a:lnTo>
                      <a:lnTo>
                        <a:pt x="367" y="141"/>
                      </a:lnTo>
                      <a:lnTo>
                        <a:pt x="366" y="141"/>
                      </a:lnTo>
                      <a:lnTo>
                        <a:pt x="366" y="141"/>
                      </a:lnTo>
                      <a:lnTo>
                        <a:pt x="365" y="141"/>
                      </a:lnTo>
                      <a:lnTo>
                        <a:pt x="366" y="141"/>
                      </a:lnTo>
                      <a:lnTo>
                        <a:pt x="365" y="141"/>
                      </a:lnTo>
                      <a:lnTo>
                        <a:pt x="365" y="140"/>
                      </a:lnTo>
                      <a:lnTo>
                        <a:pt x="364" y="140"/>
                      </a:lnTo>
                      <a:lnTo>
                        <a:pt x="364" y="140"/>
                      </a:lnTo>
                      <a:lnTo>
                        <a:pt x="364" y="140"/>
                      </a:lnTo>
                      <a:lnTo>
                        <a:pt x="363" y="140"/>
                      </a:lnTo>
                      <a:lnTo>
                        <a:pt x="363" y="140"/>
                      </a:lnTo>
                      <a:lnTo>
                        <a:pt x="362" y="140"/>
                      </a:lnTo>
                      <a:lnTo>
                        <a:pt x="362" y="140"/>
                      </a:lnTo>
                      <a:lnTo>
                        <a:pt x="361" y="140"/>
                      </a:lnTo>
                      <a:lnTo>
                        <a:pt x="360" y="140"/>
                      </a:lnTo>
                      <a:lnTo>
                        <a:pt x="360" y="140"/>
                      </a:lnTo>
                      <a:lnTo>
                        <a:pt x="359" y="140"/>
                      </a:lnTo>
                      <a:lnTo>
                        <a:pt x="359" y="140"/>
                      </a:lnTo>
                      <a:lnTo>
                        <a:pt x="359" y="140"/>
                      </a:lnTo>
                      <a:lnTo>
                        <a:pt x="358" y="140"/>
                      </a:lnTo>
                      <a:lnTo>
                        <a:pt x="357" y="140"/>
                      </a:lnTo>
                      <a:lnTo>
                        <a:pt x="357" y="139"/>
                      </a:lnTo>
                      <a:lnTo>
                        <a:pt x="356" y="139"/>
                      </a:lnTo>
                      <a:lnTo>
                        <a:pt x="356" y="138"/>
                      </a:lnTo>
                      <a:lnTo>
                        <a:pt x="356" y="138"/>
                      </a:lnTo>
                      <a:lnTo>
                        <a:pt x="355" y="138"/>
                      </a:lnTo>
                      <a:lnTo>
                        <a:pt x="355" y="137"/>
                      </a:lnTo>
                      <a:lnTo>
                        <a:pt x="355" y="137"/>
                      </a:lnTo>
                      <a:lnTo>
                        <a:pt x="354" y="137"/>
                      </a:lnTo>
                      <a:lnTo>
                        <a:pt x="353" y="137"/>
                      </a:lnTo>
                      <a:lnTo>
                        <a:pt x="353" y="137"/>
                      </a:lnTo>
                      <a:lnTo>
                        <a:pt x="353" y="137"/>
                      </a:lnTo>
                      <a:lnTo>
                        <a:pt x="353" y="137"/>
                      </a:lnTo>
                      <a:lnTo>
                        <a:pt x="353" y="137"/>
                      </a:lnTo>
                      <a:lnTo>
                        <a:pt x="353" y="137"/>
                      </a:lnTo>
                      <a:lnTo>
                        <a:pt x="353" y="137"/>
                      </a:lnTo>
                      <a:lnTo>
                        <a:pt x="352" y="137"/>
                      </a:lnTo>
                      <a:lnTo>
                        <a:pt x="353" y="137"/>
                      </a:lnTo>
                      <a:lnTo>
                        <a:pt x="352" y="137"/>
                      </a:lnTo>
                      <a:lnTo>
                        <a:pt x="353" y="137"/>
                      </a:lnTo>
                      <a:lnTo>
                        <a:pt x="353" y="137"/>
                      </a:lnTo>
                      <a:lnTo>
                        <a:pt x="353" y="137"/>
                      </a:lnTo>
                      <a:lnTo>
                        <a:pt x="353" y="137"/>
                      </a:lnTo>
                      <a:lnTo>
                        <a:pt x="354" y="137"/>
                      </a:lnTo>
                      <a:lnTo>
                        <a:pt x="355" y="137"/>
                      </a:lnTo>
                      <a:lnTo>
                        <a:pt x="355" y="137"/>
                      </a:lnTo>
                      <a:lnTo>
                        <a:pt x="355" y="138"/>
                      </a:lnTo>
                      <a:lnTo>
                        <a:pt x="356" y="138"/>
                      </a:lnTo>
                      <a:lnTo>
                        <a:pt x="356" y="138"/>
                      </a:lnTo>
                      <a:lnTo>
                        <a:pt x="356" y="139"/>
                      </a:lnTo>
                      <a:lnTo>
                        <a:pt x="357" y="139"/>
                      </a:lnTo>
                      <a:lnTo>
                        <a:pt x="357" y="140"/>
                      </a:lnTo>
                      <a:lnTo>
                        <a:pt x="358" y="140"/>
                      </a:lnTo>
                      <a:lnTo>
                        <a:pt x="359" y="140"/>
                      </a:lnTo>
                      <a:lnTo>
                        <a:pt x="359" y="140"/>
                      </a:lnTo>
                      <a:lnTo>
                        <a:pt x="360" y="140"/>
                      </a:lnTo>
                      <a:lnTo>
                        <a:pt x="360" y="140"/>
                      </a:lnTo>
                      <a:lnTo>
                        <a:pt x="361" y="140"/>
                      </a:lnTo>
                      <a:lnTo>
                        <a:pt x="362" y="140"/>
                      </a:lnTo>
                      <a:lnTo>
                        <a:pt x="362" y="140"/>
                      </a:lnTo>
                      <a:lnTo>
                        <a:pt x="363" y="140"/>
                      </a:lnTo>
                      <a:lnTo>
                        <a:pt x="363" y="140"/>
                      </a:lnTo>
                      <a:lnTo>
                        <a:pt x="364" y="140"/>
                      </a:lnTo>
                      <a:lnTo>
                        <a:pt x="364" y="140"/>
                      </a:lnTo>
                      <a:lnTo>
                        <a:pt x="364" y="140"/>
                      </a:lnTo>
                      <a:lnTo>
                        <a:pt x="365" y="141"/>
                      </a:lnTo>
                      <a:lnTo>
                        <a:pt x="365" y="141"/>
                      </a:lnTo>
                      <a:lnTo>
                        <a:pt x="366" y="141"/>
                      </a:lnTo>
                      <a:lnTo>
                        <a:pt x="366" y="141"/>
                      </a:lnTo>
                      <a:lnTo>
                        <a:pt x="367" y="141"/>
                      </a:lnTo>
                      <a:lnTo>
                        <a:pt x="367" y="141"/>
                      </a:lnTo>
                      <a:lnTo>
                        <a:pt x="368" y="141"/>
                      </a:lnTo>
                      <a:lnTo>
                        <a:pt x="368" y="142"/>
                      </a:lnTo>
                      <a:lnTo>
                        <a:pt x="368" y="141"/>
                      </a:lnTo>
                      <a:lnTo>
                        <a:pt x="368" y="141"/>
                      </a:lnTo>
                      <a:lnTo>
                        <a:pt x="368" y="142"/>
                      </a:lnTo>
                      <a:lnTo>
                        <a:pt x="368" y="142"/>
                      </a:lnTo>
                      <a:lnTo>
                        <a:pt x="368" y="142"/>
                      </a:lnTo>
                      <a:lnTo>
                        <a:pt x="367" y="142"/>
                      </a:lnTo>
                      <a:lnTo>
                        <a:pt x="368" y="142"/>
                      </a:lnTo>
                      <a:lnTo>
                        <a:pt x="367" y="142"/>
                      </a:lnTo>
                      <a:lnTo>
                        <a:pt x="367" y="142"/>
                      </a:lnTo>
                      <a:lnTo>
                        <a:pt x="367" y="143"/>
                      </a:lnTo>
                      <a:lnTo>
                        <a:pt x="366" y="143"/>
                      </a:lnTo>
                      <a:lnTo>
                        <a:pt x="366" y="144"/>
                      </a:lnTo>
                      <a:lnTo>
                        <a:pt x="366" y="143"/>
                      </a:lnTo>
                      <a:lnTo>
                        <a:pt x="367" y="143"/>
                      </a:lnTo>
                      <a:lnTo>
                        <a:pt x="367" y="142"/>
                      </a:lnTo>
                      <a:lnTo>
                        <a:pt x="367" y="142"/>
                      </a:lnTo>
                      <a:lnTo>
                        <a:pt x="368" y="142"/>
                      </a:lnTo>
                      <a:lnTo>
                        <a:pt x="368" y="142"/>
                      </a:lnTo>
                      <a:lnTo>
                        <a:pt x="368" y="142"/>
                      </a:lnTo>
                      <a:lnTo>
                        <a:pt x="368" y="142"/>
                      </a:lnTo>
                      <a:lnTo>
                        <a:pt x="368" y="143"/>
                      </a:lnTo>
                      <a:lnTo>
                        <a:pt x="367" y="143"/>
                      </a:lnTo>
                      <a:lnTo>
                        <a:pt x="367" y="144"/>
                      </a:lnTo>
                      <a:lnTo>
                        <a:pt x="367" y="144"/>
                      </a:lnTo>
                      <a:lnTo>
                        <a:pt x="367" y="144"/>
                      </a:lnTo>
                      <a:lnTo>
                        <a:pt x="367" y="144"/>
                      </a:lnTo>
                      <a:lnTo>
                        <a:pt x="366" y="144"/>
                      </a:lnTo>
                      <a:lnTo>
                        <a:pt x="366" y="145"/>
                      </a:lnTo>
                      <a:lnTo>
                        <a:pt x="366" y="145"/>
                      </a:lnTo>
                      <a:lnTo>
                        <a:pt x="366" y="144"/>
                      </a:lnTo>
                      <a:lnTo>
                        <a:pt x="366" y="145"/>
                      </a:lnTo>
                      <a:lnTo>
                        <a:pt x="365" y="145"/>
                      </a:lnTo>
                      <a:lnTo>
                        <a:pt x="365" y="144"/>
                      </a:lnTo>
                      <a:lnTo>
                        <a:pt x="365" y="145"/>
                      </a:lnTo>
                      <a:lnTo>
                        <a:pt x="364" y="145"/>
                      </a:lnTo>
                      <a:lnTo>
                        <a:pt x="365" y="145"/>
                      </a:lnTo>
                      <a:lnTo>
                        <a:pt x="365" y="145"/>
                      </a:lnTo>
                      <a:lnTo>
                        <a:pt x="365" y="146"/>
                      </a:lnTo>
                      <a:lnTo>
                        <a:pt x="364" y="146"/>
                      </a:lnTo>
                      <a:lnTo>
                        <a:pt x="364" y="146"/>
                      </a:lnTo>
                      <a:lnTo>
                        <a:pt x="364" y="146"/>
                      </a:lnTo>
                      <a:lnTo>
                        <a:pt x="363" y="146"/>
                      </a:lnTo>
                      <a:lnTo>
                        <a:pt x="363" y="146"/>
                      </a:lnTo>
                      <a:lnTo>
                        <a:pt x="363" y="146"/>
                      </a:lnTo>
                      <a:lnTo>
                        <a:pt x="363" y="146"/>
                      </a:lnTo>
                      <a:lnTo>
                        <a:pt x="362" y="146"/>
                      </a:lnTo>
                      <a:lnTo>
                        <a:pt x="362" y="147"/>
                      </a:lnTo>
                      <a:lnTo>
                        <a:pt x="362" y="147"/>
                      </a:lnTo>
                      <a:lnTo>
                        <a:pt x="361" y="146"/>
                      </a:lnTo>
                      <a:lnTo>
                        <a:pt x="360" y="146"/>
                      </a:lnTo>
                      <a:lnTo>
                        <a:pt x="360" y="147"/>
                      </a:lnTo>
                      <a:lnTo>
                        <a:pt x="359" y="147"/>
                      </a:lnTo>
                      <a:lnTo>
                        <a:pt x="360" y="147"/>
                      </a:lnTo>
                      <a:lnTo>
                        <a:pt x="360" y="148"/>
                      </a:lnTo>
                      <a:lnTo>
                        <a:pt x="359" y="148"/>
                      </a:lnTo>
                      <a:lnTo>
                        <a:pt x="359" y="148"/>
                      </a:lnTo>
                      <a:lnTo>
                        <a:pt x="360" y="148"/>
                      </a:lnTo>
                      <a:lnTo>
                        <a:pt x="359" y="149"/>
                      </a:lnTo>
                      <a:lnTo>
                        <a:pt x="359" y="149"/>
                      </a:lnTo>
                      <a:lnTo>
                        <a:pt x="358" y="149"/>
                      </a:lnTo>
                      <a:lnTo>
                        <a:pt x="357" y="149"/>
                      </a:lnTo>
                      <a:lnTo>
                        <a:pt x="357" y="149"/>
                      </a:lnTo>
                      <a:lnTo>
                        <a:pt x="356" y="149"/>
                      </a:lnTo>
                      <a:lnTo>
                        <a:pt x="356" y="149"/>
                      </a:lnTo>
                      <a:lnTo>
                        <a:pt x="356" y="149"/>
                      </a:lnTo>
                      <a:lnTo>
                        <a:pt x="355" y="149"/>
                      </a:lnTo>
                      <a:lnTo>
                        <a:pt x="355" y="149"/>
                      </a:lnTo>
                      <a:lnTo>
                        <a:pt x="354" y="149"/>
                      </a:lnTo>
                      <a:lnTo>
                        <a:pt x="355" y="149"/>
                      </a:lnTo>
                      <a:lnTo>
                        <a:pt x="354" y="149"/>
                      </a:lnTo>
                      <a:lnTo>
                        <a:pt x="353" y="149"/>
                      </a:lnTo>
                      <a:lnTo>
                        <a:pt x="353" y="149"/>
                      </a:lnTo>
                      <a:lnTo>
                        <a:pt x="352" y="149"/>
                      </a:lnTo>
                      <a:lnTo>
                        <a:pt x="352" y="149"/>
                      </a:lnTo>
                      <a:lnTo>
                        <a:pt x="351" y="149"/>
                      </a:lnTo>
                      <a:lnTo>
                        <a:pt x="351" y="149"/>
                      </a:lnTo>
                      <a:lnTo>
                        <a:pt x="351" y="150"/>
                      </a:lnTo>
                      <a:lnTo>
                        <a:pt x="350" y="150"/>
                      </a:lnTo>
                      <a:lnTo>
                        <a:pt x="349" y="150"/>
                      </a:lnTo>
                      <a:lnTo>
                        <a:pt x="349" y="151"/>
                      </a:lnTo>
                      <a:lnTo>
                        <a:pt x="349" y="151"/>
                      </a:lnTo>
                      <a:lnTo>
                        <a:pt x="348" y="151"/>
                      </a:lnTo>
                      <a:lnTo>
                        <a:pt x="348" y="151"/>
                      </a:lnTo>
                      <a:lnTo>
                        <a:pt x="348" y="151"/>
                      </a:lnTo>
                      <a:lnTo>
                        <a:pt x="347" y="151"/>
                      </a:lnTo>
                      <a:lnTo>
                        <a:pt x="346" y="151"/>
                      </a:lnTo>
                      <a:lnTo>
                        <a:pt x="346" y="151"/>
                      </a:lnTo>
                      <a:lnTo>
                        <a:pt x="345" y="151"/>
                      </a:lnTo>
                      <a:lnTo>
                        <a:pt x="345" y="151"/>
                      </a:lnTo>
                      <a:lnTo>
                        <a:pt x="344" y="151"/>
                      </a:lnTo>
                      <a:lnTo>
                        <a:pt x="344" y="152"/>
                      </a:lnTo>
                      <a:lnTo>
                        <a:pt x="344" y="152"/>
                      </a:lnTo>
                      <a:lnTo>
                        <a:pt x="343" y="152"/>
                      </a:lnTo>
                      <a:lnTo>
                        <a:pt x="342" y="152"/>
                      </a:lnTo>
                      <a:lnTo>
                        <a:pt x="342" y="152"/>
                      </a:lnTo>
                      <a:lnTo>
                        <a:pt x="342" y="153"/>
                      </a:lnTo>
                      <a:lnTo>
                        <a:pt x="341" y="153"/>
                      </a:lnTo>
                      <a:lnTo>
                        <a:pt x="341" y="153"/>
                      </a:lnTo>
                      <a:lnTo>
                        <a:pt x="340" y="153"/>
                      </a:lnTo>
                      <a:lnTo>
                        <a:pt x="340" y="153"/>
                      </a:lnTo>
                      <a:lnTo>
                        <a:pt x="340" y="153"/>
                      </a:lnTo>
                      <a:lnTo>
                        <a:pt x="339" y="153"/>
                      </a:lnTo>
                      <a:lnTo>
                        <a:pt x="339" y="154"/>
                      </a:lnTo>
                      <a:lnTo>
                        <a:pt x="340" y="154"/>
                      </a:lnTo>
                      <a:lnTo>
                        <a:pt x="340" y="155"/>
                      </a:lnTo>
                      <a:lnTo>
                        <a:pt x="340" y="155"/>
                      </a:lnTo>
                      <a:lnTo>
                        <a:pt x="340" y="156"/>
                      </a:lnTo>
                      <a:lnTo>
                        <a:pt x="340" y="156"/>
                      </a:lnTo>
                      <a:lnTo>
                        <a:pt x="339" y="157"/>
                      </a:lnTo>
                      <a:lnTo>
                        <a:pt x="338" y="157"/>
                      </a:lnTo>
                      <a:lnTo>
                        <a:pt x="338" y="158"/>
                      </a:lnTo>
                      <a:lnTo>
                        <a:pt x="338" y="157"/>
                      </a:lnTo>
                      <a:lnTo>
                        <a:pt x="338" y="158"/>
                      </a:lnTo>
                      <a:lnTo>
                        <a:pt x="338" y="158"/>
                      </a:lnTo>
                      <a:lnTo>
                        <a:pt x="338" y="159"/>
                      </a:lnTo>
                      <a:lnTo>
                        <a:pt x="337" y="159"/>
                      </a:lnTo>
                      <a:lnTo>
                        <a:pt x="337" y="159"/>
                      </a:lnTo>
                      <a:lnTo>
                        <a:pt x="337" y="159"/>
                      </a:lnTo>
                      <a:lnTo>
                        <a:pt x="337" y="159"/>
                      </a:lnTo>
                      <a:lnTo>
                        <a:pt x="336" y="159"/>
                      </a:lnTo>
                      <a:lnTo>
                        <a:pt x="336" y="159"/>
                      </a:lnTo>
                      <a:lnTo>
                        <a:pt x="336" y="159"/>
                      </a:lnTo>
                      <a:lnTo>
                        <a:pt x="335" y="159"/>
                      </a:lnTo>
                      <a:lnTo>
                        <a:pt x="335" y="159"/>
                      </a:lnTo>
                      <a:lnTo>
                        <a:pt x="334" y="159"/>
                      </a:lnTo>
                      <a:lnTo>
                        <a:pt x="334" y="159"/>
                      </a:lnTo>
                      <a:lnTo>
                        <a:pt x="334" y="159"/>
                      </a:lnTo>
                      <a:lnTo>
                        <a:pt x="334" y="159"/>
                      </a:lnTo>
                      <a:lnTo>
                        <a:pt x="334" y="159"/>
                      </a:lnTo>
                      <a:lnTo>
                        <a:pt x="334" y="159"/>
                      </a:lnTo>
                      <a:lnTo>
                        <a:pt x="333" y="159"/>
                      </a:lnTo>
                      <a:lnTo>
                        <a:pt x="333" y="159"/>
                      </a:lnTo>
                      <a:lnTo>
                        <a:pt x="333" y="159"/>
                      </a:lnTo>
                      <a:lnTo>
                        <a:pt x="333" y="159"/>
                      </a:lnTo>
                      <a:lnTo>
                        <a:pt x="333" y="159"/>
                      </a:lnTo>
                      <a:lnTo>
                        <a:pt x="333" y="159"/>
                      </a:lnTo>
                      <a:lnTo>
                        <a:pt x="332" y="159"/>
                      </a:lnTo>
                      <a:lnTo>
                        <a:pt x="333" y="159"/>
                      </a:lnTo>
                      <a:lnTo>
                        <a:pt x="332" y="159"/>
                      </a:lnTo>
                      <a:lnTo>
                        <a:pt x="331" y="159"/>
                      </a:lnTo>
                      <a:lnTo>
                        <a:pt x="332" y="159"/>
                      </a:lnTo>
                      <a:lnTo>
                        <a:pt x="331" y="159"/>
                      </a:lnTo>
                      <a:lnTo>
                        <a:pt x="331" y="159"/>
                      </a:lnTo>
                      <a:lnTo>
                        <a:pt x="330" y="159"/>
                      </a:lnTo>
                      <a:lnTo>
                        <a:pt x="330" y="159"/>
                      </a:lnTo>
                      <a:lnTo>
                        <a:pt x="330" y="159"/>
                      </a:lnTo>
                      <a:lnTo>
                        <a:pt x="330" y="159"/>
                      </a:lnTo>
                      <a:lnTo>
                        <a:pt x="329" y="159"/>
                      </a:lnTo>
                      <a:lnTo>
                        <a:pt x="329" y="159"/>
                      </a:lnTo>
                      <a:lnTo>
                        <a:pt x="328" y="159"/>
                      </a:lnTo>
                      <a:lnTo>
                        <a:pt x="328" y="159"/>
                      </a:lnTo>
                      <a:lnTo>
                        <a:pt x="328" y="159"/>
                      </a:lnTo>
                      <a:lnTo>
                        <a:pt x="328" y="159"/>
                      </a:lnTo>
                      <a:lnTo>
                        <a:pt x="329" y="159"/>
                      </a:lnTo>
                      <a:lnTo>
                        <a:pt x="329" y="160"/>
                      </a:lnTo>
                      <a:lnTo>
                        <a:pt x="328" y="160"/>
                      </a:lnTo>
                      <a:lnTo>
                        <a:pt x="327" y="160"/>
                      </a:lnTo>
                      <a:lnTo>
                        <a:pt x="328" y="160"/>
                      </a:lnTo>
                      <a:lnTo>
                        <a:pt x="329" y="160"/>
                      </a:lnTo>
                      <a:lnTo>
                        <a:pt x="329" y="160"/>
                      </a:lnTo>
                      <a:lnTo>
                        <a:pt x="329" y="161"/>
                      </a:lnTo>
                      <a:lnTo>
                        <a:pt x="329" y="161"/>
                      </a:lnTo>
                      <a:lnTo>
                        <a:pt x="329" y="162"/>
                      </a:lnTo>
                      <a:lnTo>
                        <a:pt x="329" y="162"/>
                      </a:lnTo>
                      <a:lnTo>
                        <a:pt x="329" y="163"/>
                      </a:lnTo>
                      <a:lnTo>
                        <a:pt x="328" y="163"/>
                      </a:lnTo>
                      <a:lnTo>
                        <a:pt x="327" y="163"/>
                      </a:lnTo>
                      <a:lnTo>
                        <a:pt x="327" y="163"/>
                      </a:lnTo>
                      <a:lnTo>
                        <a:pt x="326" y="163"/>
                      </a:lnTo>
                      <a:lnTo>
                        <a:pt x="326" y="164"/>
                      </a:lnTo>
                      <a:lnTo>
                        <a:pt x="327" y="164"/>
                      </a:lnTo>
                      <a:lnTo>
                        <a:pt x="326" y="164"/>
                      </a:lnTo>
                      <a:lnTo>
                        <a:pt x="326" y="164"/>
                      </a:lnTo>
                      <a:lnTo>
                        <a:pt x="325" y="164"/>
                      </a:lnTo>
                      <a:lnTo>
                        <a:pt x="325" y="164"/>
                      </a:lnTo>
                      <a:lnTo>
                        <a:pt x="324" y="164"/>
                      </a:lnTo>
                      <a:lnTo>
                        <a:pt x="323" y="164"/>
                      </a:lnTo>
                      <a:lnTo>
                        <a:pt x="323" y="164"/>
                      </a:lnTo>
                      <a:lnTo>
                        <a:pt x="323" y="164"/>
                      </a:lnTo>
                      <a:lnTo>
                        <a:pt x="322" y="164"/>
                      </a:lnTo>
                      <a:lnTo>
                        <a:pt x="322" y="164"/>
                      </a:lnTo>
                      <a:lnTo>
                        <a:pt x="321" y="164"/>
                      </a:lnTo>
                      <a:lnTo>
                        <a:pt x="320" y="163"/>
                      </a:lnTo>
                      <a:lnTo>
                        <a:pt x="320" y="163"/>
                      </a:lnTo>
                      <a:lnTo>
                        <a:pt x="319" y="163"/>
                      </a:lnTo>
                      <a:lnTo>
                        <a:pt x="319" y="163"/>
                      </a:lnTo>
                      <a:lnTo>
                        <a:pt x="318" y="163"/>
                      </a:lnTo>
                      <a:lnTo>
                        <a:pt x="318" y="163"/>
                      </a:lnTo>
                      <a:lnTo>
                        <a:pt x="317" y="163"/>
                      </a:lnTo>
                      <a:lnTo>
                        <a:pt x="316" y="163"/>
                      </a:lnTo>
                      <a:lnTo>
                        <a:pt x="316" y="163"/>
                      </a:lnTo>
                      <a:lnTo>
                        <a:pt x="316" y="164"/>
                      </a:lnTo>
                      <a:lnTo>
                        <a:pt x="315" y="164"/>
                      </a:lnTo>
                      <a:lnTo>
                        <a:pt x="315" y="164"/>
                      </a:lnTo>
                      <a:lnTo>
                        <a:pt x="314" y="164"/>
                      </a:lnTo>
                      <a:lnTo>
                        <a:pt x="314" y="164"/>
                      </a:lnTo>
                      <a:lnTo>
                        <a:pt x="313" y="164"/>
                      </a:lnTo>
                      <a:lnTo>
                        <a:pt x="312" y="164"/>
                      </a:lnTo>
                      <a:lnTo>
                        <a:pt x="312" y="164"/>
                      </a:lnTo>
                      <a:lnTo>
                        <a:pt x="311" y="164"/>
                      </a:lnTo>
                      <a:lnTo>
                        <a:pt x="312" y="164"/>
                      </a:lnTo>
                      <a:lnTo>
                        <a:pt x="311" y="164"/>
                      </a:lnTo>
                      <a:lnTo>
                        <a:pt x="311" y="164"/>
                      </a:lnTo>
                      <a:lnTo>
                        <a:pt x="310" y="164"/>
                      </a:lnTo>
                      <a:lnTo>
                        <a:pt x="310" y="164"/>
                      </a:lnTo>
                      <a:lnTo>
                        <a:pt x="309" y="163"/>
                      </a:lnTo>
                      <a:lnTo>
                        <a:pt x="308" y="163"/>
                      </a:lnTo>
                      <a:lnTo>
                        <a:pt x="308" y="163"/>
                      </a:lnTo>
                      <a:lnTo>
                        <a:pt x="307" y="163"/>
                      </a:lnTo>
                      <a:lnTo>
                        <a:pt x="307" y="163"/>
                      </a:lnTo>
                      <a:lnTo>
                        <a:pt x="307" y="163"/>
                      </a:lnTo>
                      <a:lnTo>
                        <a:pt x="307" y="162"/>
                      </a:lnTo>
                      <a:lnTo>
                        <a:pt x="307" y="162"/>
                      </a:lnTo>
                      <a:lnTo>
                        <a:pt x="308" y="162"/>
                      </a:lnTo>
                      <a:lnTo>
                        <a:pt x="308" y="162"/>
                      </a:lnTo>
                      <a:lnTo>
                        <a:pt x="308" y="161"/>
                      </a:lnTo>
                      <a:lnTo>
                        <a:pt x="309" y="161"/>
                      </a:lnTo>
                      <a:lnTo>
                        <a:pt x="309" y="162"/>
                      </a:lnTo>
                      <a:lnTo>
                        <a:pt x="309" y="161"/>
                      </a:lnTo>
                      <a:lnTo>
                        <a:pt x="310" y="161"/>
                      </a:lnTo>
                      <a:lnTo>
                        <a:pt x="310" y="161"/>
                      </a:lnTo>
                      <a:lnTo>
                        <a:pt x="310" y="160"/>
                      </a:lnTo>
                      <a:lnTo>
                        <a:pt x="311" y="161"/>
                      </a:lnTo>
                      <a:lnTo>
                        <a:pt x="311" y="160"/>
                      </a:lnTo>
                      <a:lnTo>
                        <a:pt x="311" y="161"/>
                      </a:lnTo>
                      <a:lnTo>
                        <a:pt x="311" y="160"/>
                      </a:lnTo>
                      <a:lnTo>
                        <a:pt x="312" y="160"/>
                      </a:lnTo>
                      <a:lnTo>
                        <a:pt x="312" y="160"/>
                      </a:lnTo>
                      <a:lnTo>
                        <a:pt x="313" y="160"/>
                      </a:lnTo>
                      <a:lnTo>
                        <a:pt x="314" y="160"/>
                      </a:lnTo>
                      <a:lnTo>
                        <a:pt x="314" y="161"/>
                      </a:lnTo>
                      <a:lnTo>
                        <a:pt x="314" y="160"/>
                      </a:lnTo>
                      <a:lnTo>
                        <a:pt x="314" y="160"/>
                      </a:lnTo>
                      <a:lnTo>
                        <a:pt x="314" y="160"/>
                      </a:lnTo>
                      <a:lnTo>
                        <a:pt x="314" y="160"/>
                      </a:lnTo>
                      <a:lnTo>
                        <a:pt x="314" y="160"/>
                      </a:lnTo>
                      <a:lnTo>
                        <a:pt x="314" y="160"/>
                      </a:lnTo>
                      <a:lnTo>
                        <a:pt x="315" y="160"/>
                      </a:lnTo>
                      <a:lnTo>
                        <a:pt x="315" y="160"/>
                      </a:lnTo>
                      <a:lnTo>
                        <a:pt x="315" y="160"/>
                      </a:lnTo>
                      <a:lnTo>
                        <a:pt x="316" y="159"/>
                      </a:lnTo>
                      <a:lnTo>
                        <a:pt x="316" y="159"/>
                      </a:lnTo>
                      <a:lnTo>
                        <a:pt x="316" y="159"/>
                      </a:lnTo>
                      <a:lnTo>
                        <a:pt x="316" y="159"/>
                      </a:lnTo>
                      <a:lnTo>
                        <a:pt x="316" y="159"/>
                      </a:lnTo>
                      <a:lnTo>
                        <a:pt x="316" y="158"/>
                      </a:lnTo>
                      <a:lnTo>
                        <a:pt x="317" y="158"/>
                      </a:lnTo>
                      <a:lnTo>
                        <a:pt x="316" y="158"/>
                      </a:lnTo>
                      <a:lnTo>
                        <a:pt x="316" y="159"/>
                      </a:lnTo>
                      <a:lnTo>
                        <a:pt x="316" y="159"/>
                      </a:lnTo>
                      <a:lnTo>
                        <a:pt x="316" y="159"/>
                      </a:lnTo>
                      <a:lnTo>
                        <a:pt x="316" y="159"/>
                      </a:lnTo>
                      <a:lnTo>
                        <a:pt x="316" y="159"/>
                      </a:lnTo>
                      <a:lnTo>
                        <a:pt x="315" y="159"/>
                      </a:lnTo>
                      <a:lnTo>
                        <a:pt x="315" y="160"/>
                      </a:lnTo>
                      <a:lnTo>
                        <a:pt x="315" y="160"/>
                      </a:lnTo>
                      <a:lnTo>
                        <a:pt x="315" y="160"/>
                      </a:lnTo>
                      <a:lnTo>
                        <a:pt x="314" y="160"/>
                      </a:lnTo>
                      <a:lnTo>
                        <a:pt x="314" y="160"/>
                      </a:lnTo>
                      <a:lnTo>
                        <a:pt x="314" y="160"/>
                      </a:lnTo>
                      <a:lnTo>
                        <a:pt x="314" y="160"/>
                      </a:lnTo>
                      <a:lnTo>
                        <a:pt x="314" y="160"/>
                      </a:lnTo>
                      <a:lnTo>
                        <a:pt x="314" y="160"/>
                      </a:lnTo>
                      <a:lnTo>
                        <a:pt x="314" y="161"/>
                      </a:lnTo>
                      <a:lnTo>
                        <a:pt x="314" y="160"/>
                      </a:lnTo>
                      <a:lnTo>
                        <a:pt x="313" y="160"/>
                      </a:lnTo>
                      <a:lnTo>
                        <a:pt x="312" y="160"/>
                      </a:lnTo>
                      <a:lnTo>
                        <a:pt x="312" y="160"/>
                      </a:lnTo>
                      <a:lnTo>
                        <a:pt x="312" y="160"/>
                      </a:lnTo>
                      <a:lnTo>
                        <a:pt x="312" y="160"/>
                      </a:lnTo>
                      <a:lnTo>
                        <a:pt x="311" y="160"/>
                      </a:lnTo>
                      <a:lnTo>
                        <a:pt x="311" y="160"/>
                      </a:lnTo>
                      <a:lnTo>
                        <a:pt x="311" y="161"/>
                      </a:lnTo>
                      <a:lnTo>
                        <a:pt x="310" y="160"/>
                      </a:lnTo>
                      <a:lnTo>
                        <a:pt x="310" y="161"/>
                      </a:lnTo>
                      <a:lnTo>
                        <a:pt x="310" y="161"/>
                      </a:lnTo>
                      <a:lnTo>
                        <a:pt x="309" y="161"/>
                      </a:lnTo>
                      <a:lnTo>
                        <a:pt x="308" y="161"/>
                      </a:lnTo>
                      <a:lnTo>
                        <a:pt x="308" y="162"/>
                      </a:lnTo>
                      <a:lnTo>
                        <a:pt x="308" y="162"/>
                      </a:lnTo>
                      <a:lnTo>
                        <a:pt x="307" y="162"/>
                      </a:lnTo>
                      <a:lnTo>
                        <a:pt x="307" y="162"/>
                      </a:lnTo>
                      <a:lnTo>
                        <a:pt x="307" y="162"/>
                      </a:lnTo>
                      <a:lnTo>
                        <a:pt x="307" y="163"/>
                      </a:lnTo>
                      <a:lnTo>
                        <a:pt x="306" y="163"/>
                      </a:lnTo>
                      <a:lnTo>
                        <a:pt x="306" y="163"/>
                      </a:lnTo>
                      <a:lnTo>
                        <a:pt x="305" y="163"/>
                      </a:lnTo>
                      <a:lnTo>
                        <a:pt x="305" y="163"/>
                      </a:lnTo>
                      <a:lnTo>
                        <a:pt x="305" y="163"/>
                      </a:lnTo>
                      <a:lnTo>
                        <a:pt x="305" y="163"/>
                      </a:lnTo>
                      <a:lnTo>
                        <a:pt x="305" y="163"/>
                      </a:lnTo>
                      <a:lnTo>
                        <a:pt x="304" y="163"/>
                      </a:lnTo>
                      <a:lnTo>
                        <a:pt x="304" y="162"/>
                      </a:lnTo>
                      <a:lnTo>
                        <a:pt x="304" y="162"/>
                      </a:lnTo>
                      <a:lnTo>
                        <a:pt x="303" y="162"/>
                      </a:lnTo>
                      <a:lnTo>
                        <a:pt x="303" y="163"/>
                      </a:lnTo>
                      <a:lnTo>
                        <a:pt x="303" y="163"/>
                      </a:lnTo>
                      <a:lnTo>
                        <a:pt x="302" y="162"/>
                      </a:lnTo>
                      <a:lnTo>
                        <a:pt x="301" y="162"/>
                      </a:lnTo>
                      <a:lnTo>
                        <a:pt x="301" y="162"/>
                      </a:lnTo>
                      <a:lnTo>
                        <a:pt x="300" y="162"/>
                      </a:lnTo>
                      <a:lnTo>
                        <a:pt x="300" y="162"/>
                      </a:lnTo>
                      <a:lnTo>
                        <a:pt x="300" y="162"/>
                      </a:lnTo>
                      <a:lnTo>
                        <a:pt x="300" y="162"/>
                      </a:lnTo>
                      <a:lnTo>
                        <a:pt x="299" y="162"/>
                      </a:lnTo>
                      <a:lnTo>
                        <a:pt x="299" y="162"/>
                      </a:lnTo>
                      <a:lnTo>
                        <a:pt x="299" y="163"/>
                      </a:lnTo>
                      <a:lnTo>
                        <a:pt x="299" y="162"/>
                      </a:lnTo>
                      <a:lnTo>
                        <a:pt x="298" y="162"/>
                      </a:lnTo>
                      <a:lnTo>
                        <a:pt x="298" y="163"/>
                      </a:lnTo>
                      <a:lnTo>
                        <a:pt x="298" y="162"/>
                      </a:lnTo>
                      <a:lnTo>
                        <a:pt x="299" y="162"/>
                      </a:lnTo>
                      <a:lnTo>
                        <a:pt x="299" y="163"/>
                      </a:lnTo>
                      <a:lnTo>
                        <a:pt x="299" y="162"/>
                      </a:lnTo>
                      <a:lnTo>
                        <a:pt x="299" y="162"/>
                      </a:lnTo>
                      <a:lnTo>
                        <a:pt x="299" y="163"/>
                      </a:lnTo>
                      <a:lnTo>
                        <a:pt x="299" y="163"/>
                      </a:lnTo>
                      <a:lnTo>
                        <a:pt x="299" y="163"/>
                      </a:lnTo>
                      <a:lnTo>
                        <a:pt x="299" y="163"/>
                      </a:lnTo>
                      <a:lnTo>
                        <a:pt x="299" y="163"/>
                      </a:lnTo>
                      <a:lnTo>
                        <a:pt x="299" y="163"/>
                      </a:lnTo>
                      <a:lnTo>
                        <a:pt x="298" y="163"/>
                      </a:lnTo>
                      <a:lnTo>
                        <a:pt x="297" y="163"/>
                      </a:lnTo>
                      <a:lnTo>
                        <a:pt x="297" y="164"/>
                      </a:lnTo>
                      <a:lnTo>
                        <a:pt x="297" y="164"/>
                      </a:lnTo>
                      <a:lnTo>
                        <a:pt x="297" y="164"/>
                      </a:lnTo>
                      <a:lnTo>
                        <a:pt x="297" y="164"/>
                      </a:lnTo>
                      <a:lnTo>
                        <a:pt x="297" y="164"/>
                      </a:lnTo>
                      <a:lnTo>
                        <a:pt x="296" y="164"/>
                      </a:lnTo>
                      <a:lnTo>
                        <a:pt x="296" y="165"/>
                      </a:lnTo>
                      <a:lnTo>
                        <a:pt x="296" y="166"/>
                      </a:lnTo>
                      <a:lnTo>
                        <a:pt x="297" y="166"/>
                      </a:lnTo>
                      <a:lnTo>
                        <a:pt x="297" y="166"/>
                      </a:lnTo>
                      <a:lnTo>
                        <a:pt x="298" y="166"/>
                      </a:lnTo>
                      <a:lnTo>
                        <a:pt x="299" y="166"/>
                      </a:lnTo>
                      <a:lnTo>
                        <a:pt x="299" y="166"/>
                      </a:lnTo>
                      <a:lnTo>
                        <a:pt x="299" y="166"/>
                      </a:lnTo>
                      <a:lnTo>
                        <a:pt x="300" y="166"/>
                      </a:lnTo>
                      <a:lnTo>
                        <a:pt x="300" y="167"/>
                      </a:lnTo>
                      <a:lnTo>
                        <a:pt x="300" y="167"/>
                      </a:lnTo>
                      <a:lnTo>
                        <a:pt x="301" y="167"/>
                      </a:lnTo>
                      <a:lnTo>
                        <a:pt x="301" y="167"/>
                      </a:lnTo>
                      <a:lnTo>
                        <a:pt x="302" y="167"/>
                      </a:lnTo>
                      <a:lnTo>
                        <a:pt x="302" y="167"/>
                      </a:lnTo>
                      <a:lnTo>
                        <a:pt x="303" y="167"/>
                      </a:lnTo>
                      <a:lnTo>
                        <a:pt x="303" y="167"/>
                      </a:lnTo>
                      <a:lnTo>
                        <a:pt x="304" y="167"/>
                      </a:lnTo>
                      <a:lnTo>
                        <a:pt x="304" y="167"/>
                      </a:lnTo>
                      <a:lnTo>
                        <a:pt x="305" y="167"/>
                      </a:lnTo>
                      <a:lnTo>
                        <a:pt x="305" y="167"/>
                      </a:lnTo>
                      <a:lnTo>
                        <a:pt x="305" y="167"/>
                      </a:lnTo>
                      <a:lnTo>
                        <a:pt x="305" y="167"/>
                      </a:lnTo>
                      <a:lnTo>
                        <a:pt x="306" y="167"/>
                      </a:lnTo>
                      <a:lnTo>
                        <a:pt x="307" y="167"/>
                      </a:lnTo>
                      <a:lnTo>
                        <a:pt x="307" y="167"/>
                      </a:lnTo>
                      <a:lnTo>
                        <a:pt x="307" y="167"/>
                      </a:lnTo>
                      <a:lnTo>
                        <a:pt x="307" y="167"/>
                      </a:lnTo>
                      <a:lnTo>
                        <a:pt x="306" y="167"/>
                      </a:lnTo>
                      <a:lnTo>
                        <a:pt x="306" y="168"/>
                      </a:lnTo>
                      <a:lnTo>
                        <a:pt x="307" y="168"/>
                      </a:lnTo>
                      <a:lnTo>
                        <a:pt x="307" y="168"/>
                      </a:lnTo>
                      <a:lnTo>
                        <a:pt x="307" y="168"/>
                      </a:lnTo>
                      <a:lnTo>
                        <a:pt x="308" y="168"/>
                      </a:lnTo>
                      <a:lnTo>
                        <a:pt x="308" y="168"/>
                      </a:lnTo>
                      <a:lnTo>
                        <a:pt x="308" y="168"/>
                      </a:lnTo>
                      <a:lnTo>
                        <a:pt x="309" y="168"/>
                      </a:lnTo>
                      <a:lnTo>
                        <a:pt x="310" y="168"/>
                      </a:lnTo>
                      <a:lnTo>
                        <a:pt x="310" y="168"/>
                      </a:lnTo>
                      <a:lnTo>
                        <a:pt x="310" y="168"/>
                      </a:lnTo>
                      <a:lnTo>
                        <a:pt x="311" y="168"/>
                      </a:lnTo>
                      <a:lnTo>
                        <a:pt x="311" y="168"/>
                      </a:lnTo>
                      <a:lnTo>
                        <a:pt x="311" y="168"/>
                      </a:lnTo>
                      <a:lnTo>
                        <a:pt x="311" y="169"/>
                      </a:lnTo>
                      <a:lnTo>
                        <a:pt x="311" y="170"/>
                      </a:lnTo>
                      <a:lnTo>
                        <a:pt x="310" y="170"/>
                      </a:lnTo>
                      <a:lnTo>
                        <a:pt x="311" y="170"/>
                      </a:lnTo>
                      <a:lnTo>
                        <a:pt x="310" y="170"/>
                      </a:lnTo>
                      <a:lnTo>
                        <a:pt x="311" y="170"/>
                      </a:lnTo>
                      <a:lnTo>
                        <a:pt x="310" y="170"/>
                      </a:lnTo>
                      <a:lnTo>
                        <a:pt x="310" y="170"/>
                      </a:lnTo>
                      <a:lnTo>
                        <a:pt x="310" y="171"/>
                      </a:lnTo>
                      <a:lnTo>
                        <a:pt x="311" y="171"/>
                      </a:lnTo>
                      <a:lnTo>
                        <a:pt x="311" y="171"/>
                      </a:lnTo>
                      <a:lnTo>
                        <a:pt x="311" y="171"/>
                      </a:lnTo>
                      <a:lnTo>
                        <a:pt x="311" y="172"/>
                      </a:lnTo>
                      <a:lnTo>
                        <a:pt x="311" y="173"/>
                      </a:lnTo>
                      <a:lnTo>
                        <a:pt x="310" y="173"/>
                      </a:lnTo>
                      <a:lnTo>
                        <a:pt x="310" y="173"/>
                      </a:lnTo>
                      <a:lnTo>
                        <a:pt x="310" y="174"/>
                      </a:lnTo>
                      <a:lnTo>
                        <a:pt x="310" y="174"/>
                      </a:lnTo>
                      <a:lnTo>
                        <a:pt x="310" y="174"/>
                      </a:lnTo>
                      <a:lnTo>
                        <a:pt x="310" y="174"/>
                      </a:lnTo>
                      <a:lnTo>
                        <a:pt x="310" y="174"/>
                      </a:lnTo>
                      <a:lnTo>
                        <a:pt x="309" y="174"/>
                      </a:lnTo>
                      <a:lnTo>
                        <a:pt x="308" y="174"/>
                      </a:lnTo>
                      <a:lnTo>
                        <a:pt x="308" y="174"/>
                      </a:lnTo>
                      <a:lnTo>
                        <a:pt x="308" y="175"/>
                      </a:lnTo>
                      <a:lnTo>
                        <a:pt x="308" y="174"/>
                      </a:lnTo>
                      <a:lnTo>
                        <a:pt x="308" y="175"/>
                      </a:lnTo>
                      <a:lnTo>
                        <a:pt x="307" y="175"/>
                      </a:lnTo>
                      <a:lnTo>
                        <a:pt x="307" y="174"/>
                      </a:lnTo>
                      <a:lnTo>
                        <a:pt x="307" y="174"/>
                      </a:lnTo>
                      <a:lnTo>
                        <a:pt x="306" y="174"/>
                      </a:lnTo>
                      <a:lnTo>
                        <a:pt x="306" y="175"/>
                      </a:lnTo>
                      <a:lnTo>
                        <a:pt x="305" y="175"/>
                      </a:lnTo>
                      <a:lnTo>
                        <a:pt x="305" y="175"/>
                      </a:lnTo>
                      <a:lnTo>
                        <a:pt x="305" y="176"/>
                      </a:lnTo>
                      <a:lnTo>
                        <a:pt x="305" y="175"/>
                      </a:lnTo>
                      <a:lnTo>
                        <a:pt x="305" y="176"/>
                      </a:lnTo>
                      <a:lnTo>
                        <a:pt x="304" y="176"/>
                      </a:lnTo>
                      <a:lnTo>
                        <a:pt x="304" y="177"/>
                      </a:lnTo>
                      <a:lnTo>
                        <a:pt x="304" y="177"/>
                      </a:lnTo>
                      <a:lnTo>
                        <a:pt x="303" y="177"/>
                      </a:lnTo>
                      <a:lnTo>
                        <a:pt x="303" y="177"/>
                      </a:lnTo>
                      <a:lnTo>
                        <a:pt x="303" y="177"/>
                      </a:lnTo>
                      <a:lnTo>
                        <a:pt x="302" y="177"/>
                      </a:lnTo>
                      <a:lnTo>
                        <a:pt x="301" y="177"/>
                      </a:lnTo>
                      <a:lnTo>
                        <a:pt x="301" y="178"/>
                      </a:lnTo>
                      <a:lnTo>
                        <a:pt x="302" y="178"/>
                      </a:lnTo>
                      <a:lnTo>
                        <a:pt x="301" y="178"/>
                      </a:lnTo>
                      <a:lnTo>
                        <a:pt x="301" y="178"/>
                      </a:lnTo>
                      <a:lnTo>
                        <a:pt x="301" y="178"/>
                      </a:lnTo>
                      <a:lnTo>
                        <a:pt x="300" y="178"/>
                      </a:lnTo>
                      <a:lnTo>
                        <a:pt x="300" y="178"/>
                      </a:lnTo>
                      <a:lnTo>
                        <a:pt x="299" y="178"/>
                      </a:lnTo>
                      <a:lnTo>
                        <a:pt x="299" y="178"/>
                      </a:lnTo>
                      <a:lnTo>
                        <a:pt x="299" y="179"/>
                      </a:lnTo>
                      <a:lnTo>
                        <a:pt x="298" y="179"/>
                      </a:lnTo>
                      <a:lnTo>
                        <a:pt x="298" y="178"/>
                      </a:lnTo>
                      <a:lnTo>
                        <a:pt x="298" y="179"/>
                      </a:lnTo>
                      <a:lnTo>
                        <a:pt x="298" y="178"/>
                      </a:lnTo>
                      <a:lnTo>
                        <a:pt x="298" y="179"/>
                      </a:lnTo>
                      <a:lnTo>
                        <a:pt x="297" y="179"/>
                      </a:lnTo>
                      <a:lnTo>
                        <a:pt x="297" y="179"/>
                      </a:lnTo>
                      <a:lnTo>
                        <a:pt x="297" y="178"/>
                      </a:lnTo>
                      <a:lnTo>
                        <a:pt x="297" y="179"/>
                      </a:lnTo>
                      <a:lnTo>
                        <a:pt x="297" y="178"/>
                      </a:lnTo>
                      <a:lnTo>
                        <a:pt x="296" y="178"/>
                      </a:lnTo>
                      <a:lnTo>
                        <a:pt x="296" y="179"/>
                      </a:lnTo>
                      <a:lnTo>
                        <a:pt x="296" y="179"/>
                      </a:lnTo>
                      <a:lnTo>
                        <a:pt x="296" y="178"/>
                      </a:lnTo>
                      <a:lnTo>
                        <a:pt x="295" y="178"/>
                      </a:lnTo>
                      <a:lnTo>
                        <a:pt x="295" y="178"/>
                      </a:lnTo>
                      <a:lnTo>
                        <a:pt x="295" y="179"/>
                      </a:lnTo>
                      <a:lnTo>
                        <a:pt x="295" y="179"/>
                      </a:lnTo>
                      <a:lnTo>
                        <a:pt x="295" y="178"/>
                      </a:lnTo>
                      <a:lnTo>
                        <a:pt x="295" y="179"/>
                      </a:lnTo>
                      <a:lnTo>
                        <a:pt x="294" y="179"/>
                      </a:lnTo>
                      <a:lnTo>
                        <a:pt x="294" y="178"/>
                      </a:lnTo>
                      <a:lnTo>
                        <a:pt x="293" y="179"/>
                      </a:lnTo>
                      <a:lnTo>
                        <a:pt x="293" y="179"/>
                      </a:lnTo>
                      <a:lnTo>
                        <a:pt x="293" y="179"/>
                      </a:lnTo>
                      <a:lnTo>
                        <a:pt x="294" y="178"/>
                      </a:lnTo>
                      <a:lnTo>
                        <a:pt x="294" y="179"/>
                      </a:lnTo>
                      <a:lnTo>
                        <a:pt x="295" y="179"/>
                      </a:lnTo>
                      <a:lnTo>
                        <a:pt x="295" y="179"/>
                      </a:lnTo>
                      <a:lnTo>
                        <a:pt x="295" y="178"/>
                      </a:lnTo>
                      <a:lnTo>
                        <a:pt x="295" y="179"/>
                      </a:lnTo>
                      <a:lnTo>
                        <a:pt x="295" y="178"/>
                      </a:lnTo>
                      <a:lnTo>
                        <a:pt x="296" y="178"/>
                      </a:lnTo>
                      <a:lnTo>
                        <a:pt x="296" y="179"/>
                      </a:lnTo>
                      <a:lnTo>
                        <a:pt x="296" y="179"/>
                      </a:lnTo>
                      <a:lnTo>
                        <a:pt x="296" y="178"/>
                      </a:lnTo>
                      <a:lnTo>
                        <a:pt x="296" y="179"/>
                      </a:lnTo>
                      <a:lnTo>
                        <a:pt x="297" y="179"/>
                      </a:lnTo>
                      <a:lnTo>
                        <a:pt x="297" y="179"/>
                      </a:lnTo>
                      <a:lnTo>
                        <a:pt x="298" y="179"/>
                      </a:lnTo>
                      <a:lnTo>
                        <a:pt x="297" y="179"/>
                      </a:lnTo>
                      <a:lnTo>
                        <a:pt x="298" y="179"/>
                      </a:lnTo>
                      <a:lnTo>
                        <a:pt x="297" y="179"/>
                      </a:lnTo>
                      <a:lnTo>
                        <a:pt x="298" y="179"/>
                      </a:lnTo>
                      <a:lnTo>
                        <a:pt x="299" y="179"/>
                      </a:lnTo>
                      <a:lnTo>
                        <a:pt x="298" y="179"/>
                      </a:lnTo>
                      <a:lnTo>
                        <a:pt x="297" y="179"/>
                      </a:lnTo>
                      <a:lnTo>
                        <a:pt x="297" y="179"/>
                      </a:lnTo>
                      <a:lnTo>
                        <a:pt x="297" y="179"/>
                      </a:lnTo>
                      <a:lnTo>
                        <a:pt x="297" y="179"/>
                      </a:lnTo>
                      <a:lnTo>
                        <a:pt x="297" y="179"/>
                      </a:lnTo>
                      <a:lnTo>
                        <a:pt x="298" y="179"/>
                      </a:lnTo>
                      <a:lnTo>
                        <a:pt x="299" y="179"/>
                      </a:lnTo>
                      <a:lnTo>
                        <a:pt x="299" y="178"/>
                      </a:lnTo>
                      <a:lnTo>
                        <a:pt x="299" y="178"/>
                      </a:lnTo>
                      <a:lnTo>
                        <a:pt x="300" y="178"/>
                      </a:lnTo>
                      <a:lnTo>
                        <a:pt x="300" y="178"/>
                      </a:lnTo>
                      <a:lnTo>
                        <a:pt x="301" y="178"/>
                      </a:lnTo>
                      <a:lnTo>
                        <a:pt x="301" y="178"/>
                      </a:lnTo>
                      <a:lnTo>
                        <a:pt x="301" y="178"/>
                      </a:lnTo>
                      <a:lnTo>
                        <a:pt x="302" y="178"/>
                      </a:lnTo>
                      <a:lnTo>
                        <a:pt x="302" y="177"/>
                      </a:lnTo>
                      <a:lnTo>
                        <a:pt x="303" y="177"/>
                      </a:lnTo>
                      <a:lnTo>
                        <a:pt x="303" y="177"/>
                      </a:lnTo>
                      <a:lnTo>
                        <a:pt x="303" y="177"/>
                      </a:lnTo>
                      <a:lnTo>
                        <a:pt x="304" y="177"/>
                      </a:lnTo>
                      <a:lnTo>
                        <a:pt x="304" y="177"/>
                      </a:lnTo>
                      <a:lnTo>
                        <a:pt x="304" y="176"/>
                      </a:lnTo>
                      <a:lnTo>
                        <a:pt x="305" y="176"/>
                      </a:lnTo>
                      <a:lnTo>
                        <a:pt x="305" y="176"/>
                      </a:lnTo>
                      <a:lnTo>
                        <a:pt x="305" y="175"/>
                      </a:lnTo>
                      <a:lnTo>
                        <a:pt x="306" y="175"/>
                      </a:lnTo>
                      <a:lnTo>
                        <a:pt x="306" y="175"/>
                      </a:lnTo>
                      <a:lnTo>
                        <a:pt x="306" y="174"/>
                      </a:lnTo>
                      <a:lnTo>
                        <a:pt x="307" y="174"/>
                      </a:lnTo>
                      <a:lnTo>
                        <a:pt x="307" y="174"/>
                      </a:lnTo>
                      <a:lnTo>
                        <a:pt x="307" y="175"/>
                      </a:lnTo>
                      <a:lnTo>
                        <a:pt x="308" y="175"/>
                      </a:lnTo>
                      <a:lnTo>
                        <a:pt x="308" y="174"/>
                      </a:lnTo>
                      <a:lnTo>
                        <a:pt x="308" y="175"/>
                      </a:lnTo>
                      <a:lnTo>
                        <a:pt x="308" y="174"/>
                      </a:lnTo>
                      <a:lnTo>
                        <a:pt x="308" y="175"/>
                      </a:lnTo>
                      <a:lnTo>
                        <a:pt x="308" y="174"/>
                      </a:lnTo>
                      <a:lnTo>
                        <a:pt x="309" y="174"/>
                      </a:lnTo>
                      <a:lnTo>
                        <a:pt x="310" y="174"/>
                      </a:lnTo>
                      <a:lnTo>
                        <a:pt x="310" y="174"/>
                      </a:lnTo>
                      <a:lnTo>
                        <a:pt x="310" y="174"/>
                      </a:lnTo>
                      <a:lnTo>
                        <a:pt x="310" y="174"/>
                      </a:lnTo>
                      <a:lnTo>
                        <a:pt x="311" y="174"/>
                      </a:lnTo>
                      <a:lnTo>
                        <a:pt x="310" y="174"/>
                      </a:lnTo>
                      <a:lnTo>
                        <a:pt x="310" y="174"/>
                      </a:lnTo>
                      <a:lnTo>
                        <a:pt x="311" y="174"/>
                      </a:lnTo>
                      <a:lnTo>
                        <a:pt x="311" y="174"/>
                      </a:lnTo>
                      <a:lnTo>
                        <a:pt x="312" y="174"/>
                      </a:lnTo>
                      <a:lnTo>
                        <a:pt x="312" y="175"/>
                      </a:lnTo>
                      <a:lnTo>
                        <a:pt x="312" y="175"/>
                      </a:lnTo>
                      <a:lnTo>
                        <a:pt x="313" y="175"/>
                      </a:lnTo>
                      <a:lnTo>
                        <a:pt x="312" y="175"/>
                      </a:lnTo>
                      <a:lnTo>
                        <a:pt x="313" y="175"/>
                      </a:lnTo>
                      <a:lnTo>
                        <a:pt x="312" y="175"/>
                      </a:lnTo>
                      <a:lnTo>
                        <a:pt x="313" y="175"/>
                      </a:lnTo>
                      <a:lnTo>
                        <a:pt x="313" y="176"/>
                      </a:lnTo>
                      <a:lnTo>
                        <a:pt x="313" y="177"/>
                      </a:lnTo>
                      <a:lnTo>
                        <a:pt x="314" y="177"/>
                      </a:lnTo>
                      <a:lnTo>
                        <a:pt x="314" y="177"/>
                      </a:lnTo>
                      <a:lnTo>
                        <a:pt x="313" y="177"/>
                      </a:lnTo>
                      <a:lnTo>
                        <a:pt x="312" y="178"/>
                      </a:lnTo>
                      <a:lnTo>
                        <a:pt x="312" y="177"/>
                      </a:lnTo>
                      <a:lnTo>
                        <a:pt x="312" y="178"/>
                      </a:lnTo>
                      <a:lnTo>
                        <a:pt x="312" y="178"/>
                      </a:lnTo>
                      <a:lnTo>
                        <a:pt x="312" y="178"/>
                      </a:lnTo>
                      <a:lnTo>
                        <a:pt x="312" y="178"/>
                      </a:lnTo>
                      <a:lnTo>
                        <a:pt x="312" y="178"/>
                      </a:lnTo>
                      <a:lnTo>
                        <a:pt x="312" y="178"/>
                      </a:lnTo>
                      <a:lnTo>
                        <a:pt x="312" y="178"/>
                      </a:lnTo>
                      <a:lnTo>
                        <a:pt x="312" y="178"/>
                      </a:lnTo>
                      <a:lnTo>
                        <a:pt x="312" y="178"/>
                      </a:lnTo>
                      <a:lnTo>
                        <a:pt x="312" y="178"/>
                      </a:lnTo>
                      <a:lnTo>
                        <a:pt x="311" y="178"/>
                      </a:lnTo>
                      <a:lnTo>
                        <a:pt x="312" y="178"/>
                      </a:lnTo>
                      <a:lnTo>
                        <a:pt x="312" y="179"/>
                      </a:lnTo>
                      <a:lnTo>
                        <a:pt x="311" y="179"/>
                      </a:lnTo>
                      <a:lnTo>
                        <a:pt x="312" y="179"/>
                      </a:lnTo>
                      <a:lnTo>
                        <a:pt x="312" y="179"/>
                      </a:lnTo>
                      <a:lnTo>
                        <a:pt x="312" y="179"/>
                      </a:lnTo>
                      <a:lnTo>
                        <a:pt x="311" y="179"/>
                      </a:lnTo>
                      <a:lnTo>
                        <a:pt x="312" y="179"/>
                      </a:lnTo>
                      <a:lnTo>
                        <a:pt x="312" y="178"/>
                      </a:lnTo>
                      <a:lnTo>
                        <a:pt x="311" y="178"/>
                      </a:lnTo>
                      <a:lnTo>
                        <a:pt x="312" y="178"/>
                      </a:lnTo>
                      <a:lnTo>
                        <a:pt x="312" y="178"/>
                      </a:lnTo>
                      <a:lnTo>
                        <a:pt x="312" y="178"/>
                      </a:lnTo>
                      <a:lnTo>
                        <a:pt x="312" y="177"/>
                      </a:lnTo>
                      <a:lnTo>
                        <a:pt x="312" y="178"/>
                      </a:lnTo>
                      <a:lnTo>
                        <a:pt x="313" y="177"/>
                      </a:lnTo>
                      <a:lnTo>
                        <a:pt x="314" y="177"/>
                      </a:lnTo>
                      <a:lnTo>
                        <a:pt x="314" y="177"/>
                      </a:lnTo>
                      <a:lnTo>
                        <a:pt x="314" y="177"/>
                      </a:lnTo>
                      <a:lnTo>
                        <a:pt x="314" y="177"/>
                      </a:lnTo>
                      <a:lnTo>
                        <a:pt x="315" y="177"/>
                      </a:lnTo>
                      <a:lnTo>
                        <a:pt x="315" y="177"/>
                      </a:lnTo>
                      <a:lnTo>
                        <a:pt x="316" y="177"/>
                      </a:lnTo>
                      <a:lnTo>
                        <a:pt x="316" y="178"/>
                      </a:lnTo>
                      <a:lnTo>
                        <a:pt x="316" y="177"/>
                      </a:lnTo>
                      <a:lnTo>
                        <a:pt x="316" y="178"/>
                      </a:lnTo>
                      <a:lnTo>
                        <a:pt x="316" y="177"/>
                      </a:lnTo>
                      <a:lnTo>
                        <a:pt x="317" y="177"/>
                      </a:lnTo>
                      <a:lnTo>
                        <a:pt x="317" y="178"/>
                      </a:lnTo>
                      <a:lnTo>
                        <a:pt x="317" y="178"/>
                      </a:lnTo>
                      <a:lnTo>
                        <a:pt x="318" y="178"/>
                      </a:lnTo>
                      <a:lnTo>
                        <a:pt x="318" y="178"/>
                      </a:lnTo>
                      <a:lnTo>
                        <a:pt x="318" y="179"/>
                      </a:lnTo>
                      <a:lnTo>
                        <a:pt x="318" y="178"/>
                      </a:lnTo>
                      <a:lnTo>
                        <a:pt x="318" y="179"/>
                      </a:lnTo>
                      <a:lnTo>
                        <a:pt x="319" y="179"/>
                      </a:lnTo>
                      <a:lnTo>
                        <a:pt x="319" y="179"/>
                      </a:lnTo>
                      <a:lnTo>
                        <a:pt x="319" y="179"/>
                      </a:lnTo>
                      <a:lnTo>
                        <a:pt x="319" y="179"/>
                      </a:lnTo>
                      <a:lnTo>
                        <a:pt x="319" y="179"/>
                      </a:lnTo>
                      <a:lnTo>
                        <a:pt x="320" y="179"/>
                      </a:lnTo>
                      <a:lnTo>
                        <a:pt x="320" y="179"/>
                      </a:lnTo>
                      <a:lnTo>
                        <a:pt x="320" y="180"/>
                      </a:lnTo>
                      <a:lnTo>
                        <a:pt x="321" y="180"/>
                      </a:lnTo>
                      <a:lnTo>
                        <a:pt x="321" y="181"/>
                      </a:lnTo>
                      <a:lnTo>
                        <a:pt x="321" y="180"/>
                      </a:lnTo>
                      <a:lnTo>
                        <a:pt x="321" y="181"/>
                      </a:lnTo>
                      <a:lnTo>
                        <a:pt x="321" y="181"/>
                      </a:lnTo>
                      <a:lnTo>
                        <a:pt x="321" y="181"/>
                      </a:lnTo>
                      <a:lnTo>
                        <a:pt x="321" y="180"/>
                      </a:lnTo>
                      <a:lnTo>
                        <a:pt x="320" y="180"/>
                      </a:lnTo>
                      <a:lnTo>
                        <a:pt x="320" y="179"/>
                      </a:lnTo>
                      <a:lnTo>
                        <a:pt x="320" y="179"/>
                      </a:lnTo>
                      <a:lnTo>
                        <a:pt x="319" y="179"/>
                      </a:lnTo>
                      <a:lnTo>
                        <a:pt x="319" y="179"/>
                      </a:lnTo>
                      <a:lnTo>
                        <a:pt x="319" y="179"/>
                      </a:lnTo>
                      <a:lnTo>
                        <a:pt x="319" y="179"/>
                      </a:lnTo>
                      <a:lnTo>
                        <a:pt x="319" y="179"/>
                      </a:lnTo>
                      <a:lnTo>
                        <a:pt x="318" y="179"/>
                      </a:lnTo>
                      <a:lnTo>
                        <a:pt x="318" y="178"/>
                      </a:lnTo>
                      <a:lnTo>
                        <a:pt x="318" y="178"/>
                      </a:lnTo>
                      <a:lnTo>
                        <a:pt x="317" y="178"/>
                      </a:lnTo>
                      <a:lnTo>
                        <a:pt x="317" y="177"/>
                      </a:lnTo>
                      <a:lnTo>
                        <a:pt x="316" y="177"/>
                      </a:lnTo>
                      <a:lnTo>
                        <a:pt x="316" y="178"/>
                      </a:lnTo>
                      <a:lnTo>
                        <a:pt x="316" y="177"/>
                      </a:lnTo>
                      <a:lnTo>
                        <a:pt x="316" y="177"/>
                      </a:lnTo>
                      <a:lnTo>
                        <a:pt x="315" y="177"/>
                      </a:lnTo>
                      <a:lnTo>
                        <a:pt x="315" y="177"/>
                      </a:lnTo>
                      <a:lnTo>
                        <a:pt x="315" y="177"/>
                      </a:lnTo>
                      <a:lnTo>
                        <a:pt x="315" y="177"/>
                      </a:lnTo>
                      <a:lnTo>
                        <a:pt x="314" y="177"/>
                      </a:lnTo>
                      <a:lnTo>
                        <a:pt x="314" y="177"/>
                      </a:lnTo>
                      <a:lnTo>
                        <a:pt x="314" y="177"/>
                      </a:lnTo>
                      <a:lnTo>
                        <a:pt x="314" y="177"/>
                      </a:lnTo>
                      <a:lnTo>
                        <a:pt x="314" y="177"/>
                      </a:lnTo>
                      <a:lnTo>
                        <a:pt x="314" y="176"/>
                      </a:lnTo>
                      <a:lnTo>
                        <a:pt x="313" y="176"/>
                      </a:lnTo>
                      <a:lnTo>
                        <a:pt x="313" y="175"/>
                      </a:lnTo>
                      <a:lnTo>
                        <a:pt x="312" y="175"/>
                      </a:lnTo>
                      <a:lnTo>
                        <a:pt x="312" y="175"/>
                      </a:lnTo>
                      <a:lnTo>
                        <a:pt x="312" y="175"/>
                      </a:lnTo>
                      <a:lnTo>
                        <a:pt x="312" y="175"/>
                      </a:lnTo>
                      <a:lnTo>
                        <a:pt x="312" y="175"/>
                      </a:lnTo>
                      <a:lnTo>
                        <a:pt x="312" y="174"/>
                      </a:lnTo>
                      <a:lnTo>
                        <a:pt x="311" y="174"/>
                      </a:lnTo>
                      <a:lnTo>
                        <a:pt x="311" y="174"/>
                      </a:lnTo>
                      <a:lnTo>
                        <a:pt x="310" y="174"/>
                      </a:lnTo>
                      <a:lnTo>
                        <a:pt x="311" y="174"/>
                      </a:lnTo>
                      <a:lnTo>
                        <a:pt x="310" y="174"/>
                      </a:lnTo>
                      <a:lnTo>
                        <a:pt x="310" y="173"/>
                      </a:lnTo>
                      <a:lnTo>
                        <a:pt x="310" y="173"/>
                      </a:lnTo>
                      <a:lnTo>
                        <a:pt x="311" y="173"/>
                      </a:lnTo>
                      <a:lnTo>
                        <a:pt x="311" y="172"/>
                      </a:lnTo>
                      <a:lnTo>
                        <a:pt x="311" y="172"/>
                      </a:lnTo>
                      <a:lnTo>
                        <a:pt x="311" y="171"/>
                      </a:lnTo>
                      <a:lnTo>
                        <a:pt x="311" y="171"/>
                      </a:lnTo>
                      <a:lnTo>
                        <a:pt x="311" y="171"/>
                      </a:lnTo>
                      <a:lnTo>
                        <a:pt x="311" y="170"/>
                      </a:lnTo>
                      <a:lnTo>
                        <a:pt x="310" y="170"/>
                      </a:lnTo>
                      <a:lnTo>
                        <a:pt x="311" y="170"/>
                      </a:lnTo>
                      <a:lnTo>
                        <a:pt x="311" y="169"/>
                      </a:lnTo>
                      <a:lnTo>
                        <a:pt x="311" y="168"/>
                      </a:lnTo>
                      <a:lnTo>
                        <a:pt x="311" y="168"/>
                      </a:lnTo>
                      <a:lnTo>
                        <a:pt x="311" y="168"/>
                      </a:lnTo>
                      <a:lnTo>
                        <a:pt x="310" y="168"/>
                      </a:lnTo>
                      <a:lnTo>
                        <a:pt x="310" y="168"/>
                      </a:lnTo>
                      <a:lnTo>
                        <a:pt x="310" y="168"/>
                      </a:lnTo>
                      <a:lnTo>
                        <a:pt x="309" y="168"/>
                      </a:lnTo>
                      <a:lnTo>
                        <a:pt x="308" y="168"/>
                      </a:lnTo>
                      <a:lnTo>
                        <a:pt x="308" y="168"/>
                      </a:lnTo>
                      <a:lnTo>
                        <a:pt x="308" y="168"/>
                      </a:lnTo>
                      <a:lnTo>
                        <a:pt x="308" y="168"/>
                      </a:lnTo>
                      <a:lnTo>
                        <a:pt x="307" y="168"/>
                      </a:lnTo>
                      <a:lnTo>
                        <a:pt x="307" y="168"/>
                      </a:lnTo>
                      <a:lnTo>
                        <a:pt x="307" y="168"/>
                      </a:lnTo>
                      <a:lnTo>
                        <a:pt x="306" y="168"/>
                      </a:lnTo>
                      <a:lnTo>
                        <a:pt x="306" y="167"/>
                      </a:lnTo>
                      <a:lnTo>
                        <a:pt x="307" y="167"/>
                      </a:lnTo>
                      <a:lnTo>
                        <a:pt x="307" y="167"/>
                      </a:lnTo>
                      <a:lnTo>
                        <a:pt x="307" y="167"/>
                      </a:lnTo>
                      <a:lnTo>
                        <a:pt x="307" y="167"/>
                      </a:lnTo>
                      <a:lnTo>
                        <a:pt x="306" y="167"/>
                      </a:lnTo>
                      <a:lnTo>
                        <a:pt x="305" y="167"/>
                      </a:lnTo>
                      <a:lnTo>
                        <a:pt x="305" y="167"/>
                      </a:lnTo>
                      <a:lnTo>
                        <a:pt x="304" y="167"/>
                      </a:lnTo>
                      <a:lnTo>
                        <a:pt x="304" y="167"/>
                      </a:lnTo>
                      <a:lnTo>
                        <a:pt x="303" y="167"/>
                      </a:lnTo>
                      <a:lnTo>
                        <a:pt x="303" y="167"/>
                      </a:lnTo>
                      <a:lnTo>
                        <a:pt x="302" y="167"/>
                      </a:lnTo>
                      <a:lnTo>
                        <a:pt x="301" y="167"/>
                      </a:lnTo>
                      <a:lnTo>
                        <a:pt x="301" y="167"/>
                      </a:lnTo>
                      <a:lnTo>
                        <a:pt x="300" y="167"/>
                      </a:lnTo>
                      <a:lnTo>
                        <a:pt x="300" y="167"/>
                      </a:lnTo>
                      <a:lnTo>
                        <a:pt x="300" y="166"/>
                      </a:lnTo>
                      <a:lnTo>
                        <a:pt x="300" y="167"/>
                      </a:lnTo>
                      <a:lnTo>
                        <a:pt x="300" y="166"/>
                      </a:lnTo>
                      <a:lnTo>
                        <a:pt x="299" y="166"/>
                      </a:lnTo>
                      <a:lnTo>
                        <a:pt x="299" y="166"/>
                      </a:lnTo>
                      <a:lnTo>
                        <a:pt x="299" y="166"/>
                      </a:lnTo>
                      <a:lnTo>
                        <a:pt x="298" y="166"/>
                      </a:lnTo>
                      <a:lnTo>
                        <a:pt x="297" y="166"/>
                      </a:lnTo>
                      <a:lnTo>
                        <a:pt x="297" y="165"/>
                      </a:lnTo>
                      <a:lnTo>
                        <a:pt x="297" y="165"/>
                      </a:lnTo>
                      <a:lnTo>
                        <a:pt x="297" y="166"/>
                      </a:lnTo>
                      <a:lnTo>
                        <a:pt x="296" y="166"/>
                      </a:lnTo>
                      <a:lnTo>
                        <a:pt x="297" y="166"/>
                      </a:lnTo>
                      <a:lnTo>
                        <a:pt x="296" y="166"/>
                      </a:lnTo>
                      <a:lnTo>
                        <a:pt x="296" y="165"/>
                      </a:lnTo>
                      <a:lnTo>
                        <a:pt x="297" y="164"/>
                      </a:lnTo>
                      <a:lnTo>
                        <a:pt x="297" y="164"/>
                      </a:lnTo>
                      <a:lnTo>
                        <a:pt x="298" y="164"/>
                      </a:lnTo>
                      <a:lnTo>
                        <a:pt x="298" y="163"/>
                      </a:lnTo>
                      <a:lnTo>
                        <a:pt x="297" y="164"/>
                      </a:lnTo>
                      <a:lnTo>
                        <a:pt x="297" y="163"/>
                      </a:lnTo>
                      <a:lnTo>
                        <a:pt x="298" y="163"/>
                      </a:lnTo>
                      <a:lnTo>
                        <a:pt x="299" y="163"/>
                      </a:lnTo>
                      <a:lnTo>
                        <a:pt x="298" y="163"/>
                      </a:lnTo>
                      <a:lnTo>
                        <a:pt x="299" y="163"/>
                      </a:lnTo>
                      <a:lnTo>
                        <a:pt x="299" y="163"/>
                      </a:lnTo>
                      <a:lnTo>
                        <a:pt x="300" y="162"/>
                      </a:lnTo>
                      <a:lnTo>
                        <a:pt x="300" y="163"/>
                      </a:lnTo>
                      <a:lnTo>
                        <a:pt x="299" y="163"/>
                      </a:lnTo>
                      <a:lnTo>
                        <a:pt x="300" y="163"/>
                      </a:lnTo>
                      <a:lnTo>
                        <a:pt x="300" y="162"/>
                      </a:lnTo>
                      <a:lnTo>
                        <a:pt x="300" y="162"/>
                      </a:lnTo>
                      <a:lnTo>
                        <a:pt x="301" y="162"/>
                      </a:lnTo>
                      <a:lnTo>
                        <a:pt x="301" y="162"/>
                      </a:lnTo>
                      <a:lnTo>
                        <a:pt x="302" y="162"/>
                      </a:lnTo>
                      <a:lnTo>
                        <a:pt x="302" y="163"/>
                      </a:lnTo>
                      <a:lnTo>
                        <a:pt x="303" y="163"/>
                      </a:lnTo>
                      <a:lnTo>
                        <a:pt x="303" y="163"/>
                      </a:lnTo>
                      <a:lnTo>
                        <a:pt x="304" y="163"/>
                      </a:lnTo>
                      <a:lnTo>
                        <a:pt x="304" y="163"/>
                      </a:lnTo>
                      <a:lnTo>
                        <a:pt x="305" y="163"/>
                      </a:lnTo>
                      <a:lnTo>
                        <a:pt x="305" y="163"/>
                      </a:lnTo>
                      <a:lnTo>
                        <a:pt x="305" y="163"/>
                      </a:lnTo>
                      <a:lnTo>
                        <a:pt x="306" y="163"/>
                      </a:lnTo>
                      <a:lnTo>
                        <a:pt x="307" y="163"/>
                      </a:lnTo>
                      <a:lnTo>
                        <a:pt x="307" y="163"/>
                      </a:lnTo>
                      <a:lnTo>
                        <a:pt x="308" y="163"/>
                      </a:lnTo>
                      <a:lnTo>
                        <a:pt x="308" y="164"/>
                      </a:lnTo>
                      <a:lnTo>
                        <a:pt x="308" y="163"/>
                      </a:lnTo>
                      <a:lnTo>
                        <a:pt x="308" y="163"/>
                      </a:lnTo>
                      <a:lnTo>
                        <a:pt x="309" y="163"/>
                      </a:lnTo>
                      <a:lnTo>
                        <a:pt x="309" y="164"/>
                      </a:lnTo>
                      <a:lnTo>
                        <a:pt x="309" y="163"/>
                      </a:lnTo>
                      <a:lnTo>
                        <a:pt x="308" y="163"/>
                      </a:lnTo>
                      <a:lnTo>
                        <a:pt x="309" y="163"/>
                      </a:lnTo>
                      <a:lnTo>
                        <a:pt x="309" y="164"/>
                      </a:lnTo>
                      <a:lnTo>
                        <a:pt x="310" y="164"/>
                      </a:lnTo>
                      <a:lnTo>
                        <a:pt x="310" y="164"/>
                      </a:lnTo>
                      <a:lnTo>
                        <a:pt x="311" y="164"/>
                      </a:lnTo>
                      <a:lnTo>
                        <a:pt x="311" y="164"/>
                      </a:lnTo>
                      <a:lnTo>
                        <a:pt x="312" y="164"/>
                      </a:lnTo>
                      <a:lnTo>
                        <a:pt x="312" y="164"/>
                      </a:lnTo>
                      <a:lnTo>
                        <a:pt x="313" y="164"/>
                      </a:lnTo>
                      <a:lnTo>
                        <a:pt x="314" y="164"/>
                      </a:lnTo>
                      <a:lnTo>
                        <a:pt x="314" y="164"/>
                      </a:lnTo>
                      <a:lnTo>
                        <a:pt x="315" y="164"/>
                      </a:lnTo>
                      <a:lnTo>
                        <a:pt x="314" y="164"/>
                      </a:lnTo>
                      <a:lnTo>
                        <a:pt x="315" y="164"/>
                      </a:lnTo>
                      <a:lnTo>
                        <a:pt x="315" y="164"/>
                      </a:lnTo>
                      <a:lnTo>
                        <a:pt x="315" y="164"/>
                      </a:lnTo>
                      <a:lnTo>
                        <a:pt x="315" y="164"/>
                      </a:lnTo>
                      <a:lnTo>
                        <a:pt x="316" y="164"/>
                      </a:lnTo>
                      <a:lnTo>
                        <a:pt x="316" y="164"/>
                      </a:lnTo>
                      <a:lnTo>
                        <a:pt x="317" y="164"/>
                      </a:lnTo>
                      <a:lnTo>
                        <a:pt x="318" y="163"/>
                      </a:lnTo>
                      <a:lnTo>
                        <a:pt x="318" y="164"/>
                      </a:lnTo>
                      <a:lnTo>
                        <a:pt x="318" y="164"/>
                      </a:lnTo>
                      <a:lnTo>
                        <a:pt x="318" y="164"/>
                      </a:lnTo>
                      <a:lnTo>
                        <a:pt x="318" y="164"/>
                      </a:lnTo>
                      <a:lnTo>
                        <a:pt x="318" y="163"/>
                      </a:lnTo>
                      <a:lnTo>
                        <a:pt x="319" y="163"/>
                      </a:lnTo>
                      <a:lnTo>
                        <a:pt x="319" y="163"/>
                      </a:lnTo>
                      <a:lnTo>
                        <a:pt x="319" y="164"/>
                      </a:lnTo>
                      <a:lnTo>
                        <a:pt x="320" y="164"/>
                      </a:lnTo>
                      <a:lnTo>
                        <a:pt x="320" y="164"/>
                      </a:lnTo>
                      <a:lnTo>
                        <a:pt x="322" y="164"/>
                      </a:lnTo>
                      <a:lnTo>
                        <a:pt x="322" y="164"/>
                      </a:lnTo>
                      <a:lnTo>
                        <a:pt x="323" y="164"/>
                      </a:lnTo>
                      <a:lnTo>
                        <a:pt x="323" y="164"/>
                      </a:lnTo>
                      <a:lnTo>
                        <a:pt x="324" y="164"/>
                      </a:lnTo>
                      <a:lnTo>
                        <a:pt x="325" y="164"/>
                      </a:lnTo>
                      <a:lnTo>
                        <a:pt x="325" y="165"/>
                      </a:lnTo>
                      <a:lnTo>
                        <a:pt x="325" y="165"/>
                      </a:lnTo>
                      <a:lnTo>
                        <a:pt x="325" y="165"/>
                      </a:lnTo>
                      <a:lnTo>
                        <a:pt x="324" y="165"/>
                      </a:lnTo>
                      <a:lnTo>
                        <a:pt x="324" y="164"/>
                      </a:lnTo>
                      <a:lnTo>
                        <a:pt x="323" y="164"/>
                      </a:lnTo>
                      <a:lnTo>
                        <a:pt x="323" y="165"/>
                      </a:lnTo>
                      <a:lnTo>
                        <a:pt x="324" y="165"/>
                      </a:lnTo>
                      <a:lnTo>
                        <a:pt x="324" y="166"/>
                      </a:lnTo>
                      <a:lnTo>
                        <a:pt x="324" y="165"/>
                      </a:lnTo>
                      <a:lnTo>
                        <a:pt x="324" y="166"/>
                      </a:lnTo>
                      <a:lnTo>
                        <a:pt x="324" y="165"/>
                      </a:lnTo>
                      <a:lnTo>
                        <a:pt x="325" y="166"/>
                      </a:lnTo>
                      <a:lnTo>
                        <a:pt x="324" y="166"/>
                      </a:lnTo>
                      <a:lnTo>
                        <a:pt x="325" y="166"/>
                      </a:lnTo>
                      <a:lnTo>
                        <a:pt x="324" y="166"/>
                      </a:lnTo>
                      <a:lnTo>
                        <a:pt x="324" y="166"/>
                      </a:lnTo>
                      <a:lnTo>
                        <a:pt x="325" y="166"/>
                      </a:lnTo>
                      <a:lnTo>
                        <a:pt x="324" y="166"/>
                      </a:lnTo>
                      <a:lnTo>
                        <a:pt x="324" y="167"/>
                      </a:lnTo>
                      <a:lnTo>
                        <a:pt x="323" y="167"/>
                      </a:lnTo>
                      <a:lnTo>
                        <a:pt x="324" y="167"/>
                      </a:lnTo>
                      <a:lnTo>
                        <a:pt x="323" y="167"/>
                      </a:lnTo>
                      <a:lnTo>
                        <a:pt x="323" y="167"/>
                      </a:lnTo>
                      <a:lnTo>
                        <a:pt x="323" y="167"/>
                      </a:lnTo>
                      <a:lnTo>
                        <a:pt x="323" y="167"/>
                      </a:lnTo>
                      <a:lnTo>
                        <a:pt x="323" y="167"/>
                      </a:lnTo>
                      <a:lnTo>
                        <a:pt x="323" y="167"/>
                      </a:lnTo>
                      <a:lnTo>
                        <a:pt x="323" y="167"/>
                      </a:lnTo>
                      <a:lnTo>
                        <a:pt x="324" y="167"/>
                      </a:lnTo>
                      <a:lnTo>
                        <a:pt x="323" y="167"/>
                      </a:lnTo>
                      <a:lnTo>
                        <a:pt x="324" y="167"/>
                      </a:lnTo>
                      <a:lnTo>
                        <a:pt x="324" y="167"/>
                      </a:lnTo>
                      <a:lnTo>
                        <a:pt x="324" y="167"/>
                      </a:lnTo>
                      <a:lnTo>
                        <a:pt x="323" y="167"/>
                      </a:lnTo>
                      <a:lnTo>
                        <a:pt x="324" y="167"/>
                      </a:lnTo>
                      <a:lnTo>
                        <a:pt x="324" y="166"/>
                      </a:lnTo>
                      <a:lnTo>
                        <a:pt x="325" y="166"/>
                      </a:lnTo>
                      <a:lnTo>
                        <a:pt x="324" y="166"/>
                      </a:lnTo>
                      <a:lnTo>
                        <a:pt x="324" y="166"/>
                      </a:lnTo>
                      <a:lnTo>
                        <a:pt x="325" y="166"/>
                      </a:lnTo>
                      <a:lnTo>
                        <a:pt x="324" y="166"/>
                      </a:lnTo>
                      <a:lnTo>
                        <a:pt x="325" y="166"/>
                      </a:lnTo>
                      <a:lnTo>
                        <a:pt x="325" y="165"/>
                      </a:lnTo>
                      <a:lnTo>
                        <a:pt x="324" y="165"/>
                      </a:lnTo>
                      <a:lnTo>
                        <a:pt x="323" y="164"/>
                      </a:lnTo>
                      <a:lnTo>
                        <a:pt x="324" y="164"/>
                      </a:lnTo>
                      <a:lnTo>
                        <a:pt x="324" y="165"/>
                      </a:lnTo>
                      <a:lnTo>
                        <a:pt x="325" y="165"/>
                      </a:lnTo>
                      <a:lnTo>
                        <a:pt x="325" y="165"/>
                      </a:lnTo>
                      <a:lnTo>
                        <a:pt x="325" y="164"/>
                      </a:lnTo>
                      <a:lnTo>
                        <a:pt x="325" y="164"/>
                      </a:lnTo>
                      <a:lnTo>
                        <a:pt x="326" y="164"/>
                      </a:lnTo>
                      <a:lnTo>
                        <a:pt x="326" y="164"/>
                      </a:lnTo>
                      <a:lnTo>
                        <a:pt x="327" y="164"/>
                      </a:lnTo>
                      <a:lnTo>
                        <a:pt x="327" y="164"/>
                      </a:lnTo>
                      <a:lnTo>
                        <a:pt x="327" y="163"/>
                      </a:lnTo>
                      <a:lnTo>
                        <a:pt x="327" y="163"/>
                      </a:lnTo>
                      <a:lnTo>
                        <a:pt x="328" y="163"/>
                      </a:lnTo>
                      <a:lnTo>
                        <a:pt x="329" y="163"/>
                      </a:lnTo>
                      <a:lnTo>
                        <a:pt x="329" y="162"/>
                      </a:lnTo>
                      <a:lnTo>
                        <a:pt x="329" y="162"/>
                      </a:lnTo>
                      <a:lnTo>
                        <a:pt x="329" y="162"/>
                      </a:lnTo>
                      <a:lnTo>
                        <a:pt x="329" y="162"/>
                      </a:lnTo>
                      <a:lnTo>
                        <a:pt x="329" y="162"/>
                      </a:lnTo>
                      <a:lnTo>
                        <a:pt x="329" y="161"/>
                      </a:lnTo>
                      <a:lnTo>
                        <a:pt x="329" y="160"/>
                      </a:lnTo>
                      <a:lnTo>
                        <a:pt x="329" y="160"/>
                      </a:lnTo>
                      <a:lnTo>
                        <a:pt x="328" y="160"/>
                      </a:lnTo>
                      <a:lnTo>
                        <a:pt x="329" y="160"/>
                      </a:lnTo>
                      <a:lnTo>
                        <a:pt x="329" y="160"/>
                      </a:lnTo>
                      <a:lnTo>
                        <a:pt x="330" y="160"/>
                      </a:lnTo>
                      <a:lnTo>
                        <a:pt x="330" y="160"/>
                      </a:lnTo>
                      <a:lnTo>
                        <a:pt x="330" y="160"/>
                      </a:lnTo>
                      <a:lnTo>
                        <a:pt x="330" y="160"/>
                      </a:lnTo>
                      <a:lnTo>
                        <a:pt x="330" y="160"/>
                      </a:lnTo>
                      <a:lnTo>
                        <a:pt x="330" y="160"/>
                      </a:lnTo>
                      <a:lnTo>
                        <a:pt x="329" y="160"/>
                      </a:lnTo>
                      <a:lnTo>
                        <a:pt x="329" y="160"/>
                      </a:lnTo>
                      <a:lnTo>
                        <a:pt x="329" y="159"/>
                      </a:lnTo>
                      <a:lnTo>
                        <a:pt x="328" y="159"/>
                      </a:lnTo>
                      <a:lnTo>
                        <a:pt x="329" y="159"/>
                      </a:lnTo>
                      <a:lnTo>
                        <a:pt x="329" y="159"/>
                      </a:lnTo>
                      <a:lnTo>
                        <a:pt x="330" y="159"/>
                      </a:lnTo>
                      <a:lnTo>
                        <a:pt x="330" y="159"/>
                      </a:lnTo>
                      <a:lnTo>
                        <a:pt x="330" y="159"/>
                      </a:lnTo>
                      <a:lnTo>
                        <a:pt x="331" y="159"/>
                      </a:lnTo>
                      <a:lnTo>
                        <a:pt x="331" y="159"/>
                      </a:lnTo>
                      <a:lnTo>
                        <a:pt x="332" y="159"/>
                      </a:lnTo>
                      <a:lnTo>
                        <a:pt x="333" y="159"/>
                      </a:lnTo>
                      <a:lnTo>
                        <a:pt x="333" y="159"/>
                      </a:lnTo>
                      <a:lnTo>
                        <a:pt x="334" y="159"/>
                      </a:lnTo>
                      <a:lnTo>
                        <a:pt x="333" y="159"/>
                      </a:lnTo>
                      <a:lnTo>
                        <a:pt x="334" y="159"/>
                      </a:lnTo>
                      <a:lnTo>
                        <a:pt x="334" y="159"/>
                      </a:lnTo>
                      <a:lnTo>
                        <a:pt x="334" y="160"/>
                      </a:lnTo>
                      <a:lnTo>
                        <a:pt x="335" y="160"/>
                      </a:lnTo>
                      <a:lnTo>
                        <a:pt x="335" y="159"/>
                      </a:lnTo>
                      <a:lnTo>
                        <a:pt x="336" y="159"/>
                      </a:lnTo>
                      <a:lnTo>
                        <a:pt x="336" y="159"/>
                      </a:lnTo>
                      <a:lnTo>
                        <a:pt x="337" y="159"/>
                      </a:lnTo>
                      <a:lnTo>
                        <a:pt x="337" y="159"/>
                      </a:lnTo>
                      <a:lnTo>
                        <a:pt x="338" y="159"/>
                      </a:lnTo>
                      <a:lnTo>
                        <a:pt x="338" y="158"/>
                      </a:lnTo>
                      <a:lnTo>
                        <a:pt x="339" y="157"/>
                      </a:lnTo>
                      <a:lnTo>
                        <a:pt x="339" y="157"/>
                      </a:lnTo>
                      <a:lnTo>
                        <a:pt x="340" y="157"/>
                      </a:lnTo>
                      <a:lnTo>
                        <a:pt x="340" y="157"/>
                      </a:lnTo>
                      <a:lnTo>
                        <a:pt x="341" y="157"/>
                      </a:lnTo>
                      <a:lnTo>
                        <a:pt x="341" y="157"/>
                      </a:lnTo>
                      <a:lnTo>
                        <a:pt x="341" y="157"/>
                      </a:lnTo>
                      <a:lnTo>
                        <a:pt x="342" y="157"/>
                      </a:lnTo>
                      <a:lnTo>
                        <a:pt x="342" y="158"/>
                      </a:lnTo>
                      <a:lnTo>
                        <a:pt x="342" y="158"/>
                      </a:lnTo>
                      <a:lnTo>
                        <a:pt x="342" y="159"/>
                      </a:lnTo>
                      <a:lnTo>
                        <a:pt x="343" y="159"/>
                      </a:lnTo>
                      <a:lnTo>
                        <a:pt x="344" y="159"/>
                      </a:lnTo>
                      <a:lnTo>
                        <a:pt x="344" y="159"/>
                      </a:lnTo>
                      <a:lnTo>
                        <a:pt x="344" y="159"/>
                      </a:lnTo>
                      <a:lnTo>
                        <a:pt x="344" y="159"/>
                      </a:lnTo>
                      <a:lnTo>
                        <a:pt x="344" y="159"/>
                      </a:lnTo>
                      <a:lnTo>
                        <a:pt x="344" y="158"/>
                      </a:lnTo>
                      <a:lnTo>
                        <a:pt x="343" y="158"/>
                      </a:lnTo>
                      <a:lnTo>
                        <a:pt x="342" y="157"/>
                      </a:lnTo>
                      <a:lnTo>
                        <a:pt x="342" y="157"/>
                      </a:lnTo>
                      <a:lnTo>
                        <a:pt x="341" y="157"/>
                      </a:lnTo>
                      <a:lnTo>
                        <a:pt x="341" y="157"/>
                      </a:lnTo>
                      <a:lnTo>
                        <a:pt x="341" y="157"/>
                      </a:lnTo>
                      <a:lnTo>
                        <a:pt x="340" y="157"/>
                      </a:lnTo>
                      <a:lnTo>
                        <a:pt x="340" y="156"/>
                      </a:lnTo>
                      <a:lnTo>
                        <a:pt x="340" y="156"/>
                      </a:lnTo>
                      <a:lnTo>
                        <a:pt x="340" y="155"/>
                      </a:lnTo>
                      <a:lnTo>
                        <a:pt x="341" y="155"/>
                      </a:lnTo>
                      <a:lnTo>
                        <a:pt x="340" y="155"/>
                      </a:lnTo>
                      <a:lnTo>
                        <a:pt x="340" y="156"/>
                      </a:lnTo>
                      <a:lnTo>
                        <a:pt x="340" y="155"/>
                      </a:lnTo>
                      <a:lnTo>
                        <a:pt x="341" y="155"/>
                      </a:lnTo>
                      <a:lnTo>
                        <a:pt x="341" y="155"/>
                      </a:lnTo>
                      <a:lnTo>
                        <a:pt x="341" y="155"/>
                      </a:lnTo>
                      <a:lnTo>
                        <a:pt x="340" y="155"/>
                      </a:lnTo>
                      <a:lnTo>
                        <a:pt x="340" y="154"/>
                      </a:lnTo>
                      <a:lnTo>
                        <a:pt x="340" y="154"/>
                      </a:lnTo>
                      <a:lnTo>
                        <a:pt x="340" y="153"/>
                      </a:lnTo>
                      <a:lnTo>
                        <a:pt x="340" y="153"/>
                      </a:lnTo>
                      <a:lnTo>
                        <a:pt x="341" y="153"/>
                      </a:lnTo>
                      <a:lnTo>
                        <a:pt x="341" y="153"/>
                      </a:lnTo>
                      <a:lnTo>
                        <a:pt x="342" y="153"/>
                      </a:lnTo>
                      <a:lnTo>
                        <a:pt x="342" y="152"/>
                      </a:lnTo>
                      <a:lnTo>
                        <a:pt x="343" y="152"/>
                      </a:lnTo>
                      <a:lnTo>
                        <a:pt x="344" y="152"/>
                      </a:lnTo>
                      <a:lnTo>
                        <a:pt x="344" y="152"/>
                      </a:lnTo>
                      <a:lnTo>
                        <a:pt x="344" y="152"/>
                      </a:lnTo>
                      <a:lnTo>
                        <a:pt x="345" y="152"/>
                      </a:lnTo>
                      <a:lnTo>
                        <a:pt x="345" y="152"/>
                      </a:lnTo>
                      <a:lnTo>
                        <a:pt x="345" y="152"/>
                      </a:lnTo>
                      <a:lnTo>
                        <a:pt x="344" y="152"/>
                      </a:lnTo>
                      <a:lnTo>
                        <a:pt x="344" y="152"/>
                      </a:lnTo>
                      <a:lnTo>
                        <a:pt x="344" y="152"/>
                      </a:lnTo>
                      <a:lnTo>
                        <a:pt x="345" y="151"/>
                      </a:lnTo>
                      <a:lnTo>
                        <a:pt x="345" y="152"/>
                      </a:lnTo>
                      <a:lnTo>
                        <a:pt x="345" y="152"/>
                      </a:lnTo>
                      <a:lnTo>
                        <a:pt x="346" y="152"/>
                      </a:lnTo>
                      <a:lnTo>
                        <a:pt x="345" y="152"/>
                      </a:lnTo>
                      <a:lnTo>
                        <a:pt x="346" y="152"/>
                      </a:lnTo>
                      <a:lnTo>
                        <a:pt x="346" y="151"/>
                      </a:lnTo>
                      <a:lnTo>
                        <a:pt x="346" y="151"/>
                      </a:lnTo>
                      <a:lnTo>
                        <a:pt x="347" y="151"/>
                      </a:lnTo>
                      <a:lnTo>
                        <a:pt x="348" y="151"/>
                      </a:lnTo>
                      <a:lnTo>
                        <a:pt x="348" y="151"/>
                      </a:lnTo>
                      <a:lnTo>
                        <a:pt x="349" y="151"/>
                      </a:lnTo>
                      <a:lnTo>
                        <a:pt x="349" y="151"/>
                      </a:lnTo>
                      <a:lnTo>
                        <a:pt x="350" y="151"/>
                      </a:lnTo>
                      <a:lnTo>
                        <a:pt x="351" y="151"/>
                      </a:lnTo>
                      <a:lnTo>
                        <a:pt x="352" y="151"/>
                      </a:lnTo>
                      <a:lnTo>
                        <a:pt x="352" y="151"/>
                      </a:lnTo>
                      <a:lnTo>
                        <a:pt x="353" y="151"/>
                      </a:lnTo>
                      <a:lnTo>
                        <a:pt x="353" y="151"/>
                      </a:lnTo>
                      <a:lnTo>
                        <a:pt x="354" y="151"/>
                      </a:lnTo>
                      <a:lnTo>
                        <a:pt x="355" y="151"/>
                      </a:lnTo>
                      <a:lnTo>
                        <a:pt x="355" y="150"/>
                      </a:lnTo>
                      <a:lnTo>
                        <a:pt x="356" y="150"/>
                      </a:lnTo>
                      <a:lnTo>
                        <a:pt x="356" y="151"/>
                      </a:lnTo>
                      <a:lnTo>
                        <a:pt x="356" y="150"/>
                      </a:lnTo>
                      <a:lnTo>
                        <a:pt x="357" y="150"/>
                      </a:lnTo>
                      <a:lnTo>
                        <a:pt x="357" y="150"/>
                      </a:lnTo>
                      <a:lnTo>
                        <a:pt x="357" y="149"/>
                      </a:lnTo>
                      <a:lnTo>
                        <a:pt x="357" y="149"/>
                      </a:lnTo>
                      <a:lnTo>
                        <a:pt x="358" y="149"/>
                      </a:lnTo>
                      <a:lnTo>
                        <a:pt x="359" y="149"/>
                      </a:lnTo>
                      <a:lnTo>
                        <a:pt x="359" y="149"/>
                      </a:lnTo>
                      <a:lnTo>
                        <a:pt x="359" y="149"/>
                      </a:lnTo>
                      <a:lnTo>
                        <a:pt x="359" y="149"/>
                      </a:lnTo>
                      <a:lnTo>
                        <a:pt x="360" y="149"/>
                      </a:lnTo>
                      <a:lnTo>
                        <a:pt x="360" y="148"/>
                      </a:lnTo>
                      <a:lnTo>
                        <a:pt x="360" y="149"/>
                      </a:lnTo>
                      <a:lnTo>
                        <a:pt x="360" y="149"/>
                      </a:lnTo>
                      <a:lnTo>
                        <a:pt x="360" y="149"/>
                      </a:lnTo>
                      <a:lnTo>
                        <a:pt x="361" y="149"/>
                      </a:lnTo>
                      <a:lnTo>
                        <a:pt x="362" y="149"/>
                      </a:lnTo>
                      <a:lnTo>
                        <a:pt x="361" y="149"/>
                      </a:lnTo>
                      <a:lnTo>
                        <a:pt x="362" y="149"/>
                      </a:lnTo>
                      <a:lnTo>
                        <a:pt x="362" y="150"/>
                      </a:lnTo>
                      <a:lnTo>
                        <a:pt x="361" y="150"/>
                      </a:lnTo>
                      <a:lnTo>
                        <a:pt x="361" y="151"/>
                      </a:lnTo>
                      <a:lnTo>
                        <a:pt x="361" y="150"/>
                      </a:lnTo>
                      <a:lnTo>
                        <a:pt x="360" y="151"/>
                      </a:lnTo>
                      <a:lnTo>
                        <a:pt x="361" y="150"/>
                      </a:lnTo>
                      <a:lnTo>
                        <a:pt x="361" y="151"/>
                      </a:lnTo>
                      <a:lnTo>
                        <a:pt x="361" y="150"/>
                      </a:lnTo>
                      <a:lnTo>
                        <a:pt x="362" y="150"/>
                      </a:lnTo>
                      <a:lnTo>
                        <a:pt x="362" y="150"/>
                      </a:lnTo>
                      <a:lnTo>
                        <a:pt x="363" y="150"/>
                      </a:lnTo>
                      <a:lnTo>
                        <a:pt x="363" y="151"/>
                      </a:lnTo>
                      <a:lnTo>
                        <a:pt x="363" y="151"/>
                      </a:lnTo>
                      <a:lnTo>
                        <a:pt x="363" y="151"/>
                      </a:lnTo>
                      <a:lnTo>
                        <a:pt x="363" y="151"/>
                      </a:lnTo>
                      <a:lnTo>
                        <a:pt x="364" y="151"/>
                      </a:lnTo>
                      <a:lnTo>
                        <a:pt x="363" y="152"/>
                      </a:lnTo>
                      <a:lnTo>
                        <a:pt x="364" y="152"/>
                      </a:lnTo>
                      <a:lnTo>
                        <a:pt x="364" y="152"/>
                      </a:lnTo>
                      <a:lnTo>
                        <a:pt x="364" y="152"/>
                      </a:lnTo>
                      <a:lnTo>
                        <a:pt x="365" y="152"/>
                      </a:lnTo>
                      <a:lnTo>
                        <a:pt x="365" y="153"/>
                      </a:lnTo>
                      <a:lnTo>
                        <a:pt x="366" y="153"/>
                      </a:lnTo>
                      <a:lnTo>
                        <a:pt x="367" y="153"/>
                      </a:lnTo>
                      <a:lnTo>
                        <a:pt x="367" y="153"/>
                      </a:lnTo>
                      <a:lnTo>
                        <a:pt x="367" y="153"/>
                      </a:lnTo>
                      <a:lnTo>
                        <a:pt x="368" y="153"/>
                      </a:lnTo>
                      <a:lnTo>
                        <a:pt x="368" y="154"/>
                      </a:lnTo>
                      <a:lnTo>
                        <a:pt x="368" y="154"/>
                      </a:lnTo>
                      <a:lnTo>
                        <a:pt x="369" y="154"/>
                      </a:lnTo>
                      <a:lnTo>
                        <a:pt x="370" y="154"/>
                      </a:lnTo>
                      <a:lnTo>
                        <a:pt x="370" y="154"/>
                      </a:lnTo>
                      <a:lnTo>
                        <a:pt x="370" y="155"/>
                      </a:lnTo>
                      <a:lnTo>
                        <a:pt x="370" y="155"/>
                      </a:lnTo>
                      <a:lnTo>
                        <a:pt x="370" y="155"/>
                      </a:lnTo>
                      <a:lnTo>
                        <a:pt x="370" y="156"/>
                      </a:lnTo>
                      <a:lnTo>
                        <a:pt x="369" y="156"/>
                      </a:lnTo>
                      <a:lnTo>
                        <a:pt x="368" y="156"/>
                      </a:lnTo>
                      <a:lnTo>
                        <a:pt x="368" y="156"/>
                      </a:lnTo>
                      <a:lnTo>
                        <a:pt x="368" y="156"/>
                      </a:lnTo>
                      <a:lnTo>
                        <a:pt x="369" y="156"/>
                      </a:lnTo>
                      <a:lnTo>
                        <a:pt x="368" y="157"/>
                      </a:lnTo>
                      <a:lnTo>
                        <a:pt x="368" y="157"/>
                      </a:lnTo>
                      <a:lnTo>
                        <a:pt x="368" y="157"/>
                      </a:lnTo>
                      <a:lnTo>
                        <a:pt x="367" y="157"/>
                      </a:lnTo>
                      <a:lnTo>
                        <a:pt x="367" y="158"/>
                      </a:lnTo>
                      <a:lnTo>
                        <a:pt x="367" y="158"/>
                      </a:lnTo>
                      <a:lnTo>
                        <a:pt x="366" y="158"/>
                      </a:lnTo>
                      <a:lnTo>
                        <a:pt x="366" y="158"/>
                      </a:lnTo>
                      <a:lnTo>
                        <a:pt x="365" y="159"/>
                      </a:lnTo>
                      <a:lnTo>
                        <a:pt x="364" y="159"/>
                      </a:lnTo>
                      <a:lnTo>
                        <a:pt x="365" y="159"/>
                      </a:lnTo>
                      <a:lnTo>
                        <a:pt x="365" y="159"/>
                      </a:lnTo>
                      <a:lnTo>
                        <a:pt x="365" y="160"/>
                      </a:lnTo>
                      <a:lnTo>
                        <a:pt x="364" y="160"/>
                      </a:lnTo>
                      <a:lnTo>
                        <a:pt x="364" y="160"/>
                      </a:lnTo>
                      <a:lnTo>
                        <a:pt x="363" y="160"/>
                      </a:lnTo>
                      <a:lnTo>
                        <a:pt x="363" y="160"/>
                      </a:lnTo>
                      <a:lnTo>
                        <a:pt x="363" y="160"/>
                      </a:lnTo>
                      <a:lnTo>
                        <a:pt x="362" y="160"/>
                      </a:lnTo>
                      <a:lnTo>
                        <a:pt x="363" y="160"/>
                      </a:lnTo>
                      <a:lnTo>
                        <a:pt x="363" y="161"/>
                      </a:lnTo>
                      <a:lnTo>
                        <a:pt x="363" y="161"/>
                      </a:lnTo>
                      <a:lnTo>
                        <a:pt x="364" y="162"/>
                      </a:lnTo>
                      <a:lnTo>
                        <a:pt x="364" y="162"/>
                      </a:lnTo>
                      <a:lnTo>
                        <a:pt x="365" y="162"/>
                      </a:lnTo>
                      <a:lnTo>
                        <a:pt x="366" y="162"/>
                      </a:lnTo>
                      <a:lnTo>
                        <a:pt x="366" y="162"/>
                      </a:lnTo>
                      <a:lnTo>
                        <a:pt x="366" y="163"/>
                      </a:lnTo>
                      <a:lnTo>
                        <a:pt x="367" y="163"/>
                      </a:lnTo>
                      <a:lnTo>
                        <a:pt x="367" y="163"/>
                      </a:lnTo>
                      <a:lnTo>
                        <a:pt x="367" y="163"/>
                      </a:lnTo>
                      <a:lnTo>
                        <a:pt x="368" y="164"/>
                      </a:lnTo>
                      <a:lnTo>
                        <a:pt x="368" y="164"/>
                      </a:lnTo>
                      <a:lnTo>
                        <a:pt x="368" y="164"/>
                      </a:lnTo>
                      <a:lnTo>
                        <a:pt x="368" y="165"/>
                      </a:lnTo>
                      <a:lnTo>
                        <a:pt x="368" y="166"/>
                      </a:lnTo>
                      <a:lnTo>
                        <a:pt x="368" y="166"/>
                      </a:lnTo>
                      <a:lnTo>
                        <a:pt x="368" y="166"/>
                      </a:lnTo>
                      <a:lnTo>
                        <a:pt x="369" y="166"/>
                      </a:lnTo>
                      <a:lnTo>
                        <a:pt x="370" y="167"/>
                      </a:lnTo>
                      <a:lnTo>
                        <a:pt x="370" y="167"/>
                      </a:lnTo>
                      <a:lnTo>
                        <a:pt x="371" y="167"/>
                      </a:lnTo>
                      <a:lnTo>
                        <a:pt x="371" y="167"/>
                      </a:lnTo>
                      <a:lnTo>
                        <a:pt x="371" y="167"/>
                      </a:lnTo>
                      <a:lnTo>
                        <a:pt x="372" y="167"/>
                      </a:lnTo>
                      <a:lnTo>
                        <a:pt x="371" y="167"/>
                      </a:lnTo>
                      <a:lnTo>
                        <a:pt x="371" y="168"/>
                      </a:lnTo>
                      <a:lnTo>
                        <a:pt x="371" y="168"/>
                      </a:lnTo>
                      <a:lnTo>
                        <a:pt x="371" y="168"/>
                      </a:lnTo>
                      <a:lnTo>
                        <a:pt x="371" y="168"/>
                      </a:lnTo>
                      <a:lnTo>
                        <a:pt x="371" y="168"/>
                      </a:lnTo>
                      <a:lnTo>
                        <a:pt x="370" y="168"/>
                      </a:lnTo>
                      <a:lnTo>
                        <a:pt x="370" y="169"/>
                      </a:lnTo>
                      <a:lnTo>
                        <a:pt x="371" y="169"/>
                      </a:lnTo>
                      <a:lnTo>
                        <a:pt x="371" y="170"/>
                      </a:lnTo>
                      <a:lnTo>
                        <a:pt x="371" y="170"/>
                      </a:lnTo>
                      <a:lnTo>
                        <a:pt x="372" y="170"/>
                      </a:lnTo>
                      <a:lnTo>
                        <a:pt x="371" y="170"/>
                      </a:lnTo>
                      <a:lnTo>
                        <a:pt x="371" y="170"/>
                      </a:lnTo>
                      <a:lnTo>
                        <a:pt x="370" y="170"/>
                      </a:lnTo>
                      <a:lnTo>
                        <a:pt x="371" y="170"/>
                      </a:lnTo>
                      <a:lnTo>
                        <a:pt x="371" y="171"/>
                      </a:lnTo>
                      <a:lnTo>
                        <a:pt x="371" y="170"/>
                      </a:lnTo>
                      <a:lnTo>
                        <a:pt x="372" y="170"/>
                      </a:lnTo>
                      <a:lnTo>
                        <a:pt x="372" y="171"/>
                      </a:lnTo>
                      <a:lnTo>
                        <a:pt x="372" y="171"/>
                      </a:lnTo>
                      <a:lnTo>
                        <a:pt x="372" y="172"/>
                      </a:lnTo>
                      <a:lnTo>
                        <a:pt x="373" y="172"/>
                      </a:lnTo>
                      <a:lnTo>
                        <a:pt x="373" y="173"/>
                      </a:lnTo>
                      <a:lnTo>
                        <a:pt x="374" y="173"/>
                      </a:lnTo>
                      <a:lnTo>
                        <a:pt x="374" y="173"/>
                      </a:lnTo>
                      <a:lnTo>
                        <a:pt x="374" y="173"/>
                      </a:lnTo>
                      <a:lnTo>
                        <a:pt x="373" y="173"/>
                      </a:lnTo>
                      <a:lnTo>
                        <a:pt x="373" y="173"/>
                      </a:lnTo>
                      <a:lnTo>
                        <a:pt x="374" y="173"/>
                      </a:lnTo>
                      <a:lnTo>
                        <a:pt x="373" y="173"/>
                      </a:lnTo>
                      <a:lnTo>
                        <a:pt x="372" y="173"/>
                      </a:lnTo>
                      <a:lnTo>
                        <a:pt x="372" y="173"/>
                      </a:lnTo>
                      <a:lnTo>
                        <a:pt x="372" y="174"/>
                      </a:lnTo>
                      <a:lnTo>
                        <a:pt x="371" y="174"/>
                      </a:lnTo>
                      <a:lnTo>
                        <a:pt x="371" y="174"/>
                      </a:lnTo>
                      <a:lnTo>
                        <a:pt x="371" y="174"/>
                      </a:lnTo>
                      <a:lnTo>
                        <a:pt x="371" y="174"/>
                      </a:lnTo>
                      <a:lnTo>
                        <a:pt x="370" y="174"/>
                      </a:lnTo>
                      <a:lnTo>
                        <a:pt x="370" y="174"/>
                      </a:lnTo>
                      <a:lnTo>
                        <a:pt x="370" y="175"/>
                      </a:lnTo>
                      <a:lnTo>
                        <a:pt x="370" y="175"/>
                      </a:lnTo>
                      <a:lnTo>
                        <a:pt x="369" y="175"/>
                      </a:lnTo>
                      <a:lnTo>
                        <a:pt x="368" y="175"/>
                      </a:lnTo>
                      <a:lnTo>
                        <a:pt x="368" y="176"/>
                      </a:lnTo>
                      <a:lnTo>
                        <a:pt x="368" y="177"/>
                      </a:lnTo>
                      <a:lnTo>
                        <a:pt x="368" y="177"/>
                      </a:lnTo>
                      <a:lnTo>
                        <a:pt x="368" y="178"/>
                      </a:lnTo>
                      <a:lnTo>
                        <a:pt x="368" y="178"/>
                      </a:lnTo>
                      <a:lnTo>
                        <a:pt x="368" y="178"/>
                      </a:lnTo>
                      <a:lnTo>
                        <a:pt x="367" y="178"/>
                      </a:lnTo>
                      <a:lnTo>
                        <a:pt x="367" y="178"/>
                      </a:lnTo>
                      <a:lnTo>
                        <a:pt x="367" y="179"/>
                      </a:lnTo>
                      <a:lnTo>
                        <a:pt x="367" y="179"/>
                      </a:lnTo>
                      <a:lnTo>
                        <a:pt x="367" y="179"/>
                      </a:lnTo>
                      <a:lnTo>
                        <a:pt x="368" y="179"/>
                      </a:lnTo>
                      <a:lnTo>
                        <a:pt x="368" y="180"/>
                      </a:lnTo>
                      <a:lnTo>
                        <a:pt x="368" y="180"/>
                      </a:lnTo>
                      <a:lnTo>
                        <a:pt x="368" y="180"/>
                      </a:lnTo>
                      <a:lnTo>
                        <a:pt x="368" y="181"/>
                      </a:lnTo>
                      <a:lnTo>
                        <a:pt x="368" y="181"/>
                      </a:lnTo>
                      <a:lnTo>
                        <a:pt x="368" y="181"/>
                      </a:lnTo>
                      <a:lnTo>
                        <a:pt x="368" y="181"/>
                      </a:lnTo>
                      <a:lnTo>
                        <a:pt x="368" y="181"/>
                      </a:lnTo>
                      <a:lnTo>
                        <a:pt x="368" y="182"/>
                      </a:lnTo>
                      <a:lnTo>
                        <a:pt x="368" y="181"/>
                      </a:lnTo>
                      <a:lnTo>
                        <a:pt x="369" y="181"/>
                      </a:lnTo>
                      <a:lnTo>
                        <a:pt x="369" y="182"/>
                      </a:lnTo>
                      <a:lnTo>
                        <a:pt x="370" y="182"/>
                      </a:lnTo>
                      <a:lnTo>
                        <a:pt x="370" y="182"/>
                      </a:lnTo>
                      <a:lnTo>
                        <a:pt x="370" y="182"/>
                      </a:lnTo>
                      <a:lnTo>
                        <a:pt x="371" y="182"/>
                      </a:lnTo>
                      <a:lnTo>
                        <a:pt x="371" y="182"/>
                      </a:lnTo>
                      <a:lnTo>
                        <a:pt x="371" y="183"/>
                      </a:lnTo>
                      <a:lnTo>
                        <a:pt x="372" y="183"/>
                      </a:lnTo>
                      <a:lnTo>
                        <a:pt x="372" y="183"/>
                      </a:lnTo>
                      <a:lnTo>
                        <a:pt x="372" y="184"/>
                      </a:lnTo>
                      <a:lnTo>
                        <a:pt x="372" y="184"/>
                      </a:lnTo>
                      <a:lnTo>
                        <a:pt x="371" y="184"/>
                      </a:lnTo>
                      <a:lnTo>
                        <a:pt x="371" y="184"/>
                      </a:lnTo>
                      <a:lnTo>
                        <a:pt x="372" y="184"/>
                      </a:lnTo>
                      <a:lnTo>
                        <a:pt x="372" y="185"/>
                      </a:lnTo>
                      <a:lnTo>
                        <a:pt x="372" y="184"/>
                      </a:lnTo>
                      <a:lnTo>
                        <a:pt x="372" y="185"/>
                      </a:lnTo>
                      <a:lnTo>
                        <a:pt x="372" y="185"/>
                      </a:lnTo>
                      <a:lnTo>
                        <a:pt x="372" y="185"/>
                      </a:lnTo>
                      <a:lnTo>
                        <a:pt x="372" y="186"/>
                      </a:lnTo>
                      <a:lnTo>
                        <a:pt x="373" y="186"/>
                      </a:lnTo>
                      <a:lnTo>
                        <a:pt x="374" y="186"/>
                      </a:lnTo>
                      <a:lnTo>
                        <a:pt x="374" y="186"/>
                      </a:lnTo>
                      <a:lnTo>
                        <a:pt x="374" y="186"/>
                      </a:lnTo>
                      <a:lnTo>
                        <a:pt x="373" y="186"/>
                      </a:lnTo>
                      <a:lnTo>
                        <a:pt x="372" y="185"/>
                      </a:lnTo>
                      <a:lnTo>
                        <a:pt x="372" y="185"/>
                      </a:lnTo>
                      <a:lnTo>
                        <a:pt x="372" y="185"/>
                      </a:lnTo>
                      <a:lnTo>
                        <a:pt x="372" y="184"/>
                      </a:lnTo>
                      <a:lnTo>
                        <a:pt x="371" y="184"/>
                      </a:lnTo>
                      <a:lnTo>
                        <a:pt x="371" y="184"/>
                      </a:lnTo>
                      <a:lnTo>
                        <a:pt x="372" y="184"/>
                      </a:lnTo>
                      <a:lnTo>
                        <a:pt x="372" y="184"/>
                      </a:lnTo>
                      <a:lnTo>
                        <a:pt x="372" y="183"/>
                      </a:lnTo>
                      <a:lnTo>
                        <a:pt x="372" y="183"/>
                      </a:lnTo>
                      <a:lnTo>
                        <a:pt x="371" y="183"/>
                      </a:lnTo>
                      <a:lnTo>
                        <a:pt x="371" y="182"/>
                      </a:lnTo>
                      <a:lnTo>
                        <a:pt x="371" y="182"/>
                      </a:lnTo>
                      <a:lnTo>
                        <a:pt x="370" y="182"/>
                      </a:lnTo>
                      <a:lnTo>
                        <a:pt x="370" y="182"/>
                      </a:lnTo>
                      <a:lnTo>
                        <a:pt x="369" y="182"/>
                      </a:lnTo>
                      <a:lnTo>
                        <a:pt x="369" y="181"/>
                      </a:lnTo>
                      <a:lnTo>
                        <a:pt x="368" y="181"/>
                      </a:lnTo>
                      <a:lnTo>
                        <a:pt x="368" y="181"/>
                      </a:lnTo>
                      <a:lnTo>
                        <a:pt x="368" y="181"/>
                      </a:lnTo>
                      <a:lnTo>
                        <a:pt x="368" y="181"/>
                      </a:lnTo>
                      <a:lnTo>
                        <a:pt x="368" y="181"/>
                      </a:lnTo>
                      <a:lnTo>
                        <a:pt x="368" y="181"/>
                      </a:lnTo>
                      <a:lnTo>
                        <a:pt x="368" y="180"/>
                      </a:lnTo>
                      <a:lnTo>
                        <a:pt x="368" y="180"/>
                      </a:lnTo>
                      <a:lnTo>
                        <a:pt x="369" y="180"/>
                      </a:lnTo>
                      <a:lnTo>
                        <a:pt x="368" y="180"/>
                      </a:lnTo>
                      <a:lnTo>
                        <a:pt x="368" y="180"/>
                      </a:lnTo>
                      <a:lnTo>
                        <a:pt x="368" y="179"/>
                      </a:lnTo>
                      <a:lnTo>
                        <a:pt x="367" y="179"/>
                      </a:lnTo>
                      <a:lnTo>
                        <a:pt x="367" y="179"/>
                      </a:lnTo>
                      <a:lnTo>
                        <a:pt x="367" y="179"/>
                      </a:lnTo>
                      <a:lnTo>
                        <a:pt x="367" y="179"/>
                      </a:lnTo>
                      <a:lnTo>
                        <a:pt x="367" y="178"/>
                      </a:lnTo>
                      <a:lnTo>
                        <a:pt x="367" y="178"/>
                      </a:lnTo>
                      <a:lnTo>
                        <a:pt x="368" y="178"/>
                      </a:lnTo>
                      <a:lnTo>
                        <a:pt x="368" y="178"/>
                      </a:lnTo>
                      <a:lnTo>
                        <a:pt x="368" y="178"/>
                      </a:lnTo>
                      <a:lnTo>
                        <a:pt x="368" y="178"/>
                      </a:lnTo>
                      <a:lnTo>
                        <a:pt x="368" y="178"/>
                      </a:lnTo>
                      <a:lnTo>
                        <a:pt x="368" y="177"/>
                      </a:lnTo>
                      <a:lnTo>
                        <a:pt x="368" y="177"/>
                      </a:lnTo>
                      <a:lnTo>
                        <a:pt x="368" y="177"/>
                      </a:lnTo>
                      <a:lnTo>
                        <a:pt x="368" y="176"/>
                      </a:lnTo>
                      <a:lnTo>
                        <a:pt x="369" y="176"/>
                      </a:lnTo>
                      <a:lnTo>
                        <a:pt x="368" y="176"/>
                      </a:lnTo>
                      <a:lnTo>
                        <a:pt x="368" y="175"/>
                      </a:lnTo>
                      <a:lnTo>
                        <a:pt x="369" y="175"/>
                      </a:lnTo>
                      <a:lnTo>
                        <a:pt x="370" y="175"/>
                      </a:lnTo>
                      <a:lnTo>
                        <a:pt x="370" y="175"/>
                      </a:lnTo>
                      <a:lnTo>
                        <a:pt x="370" y="174"/>
                      </a:lnTo>
                      <a:lnTo>
                        <a:pt x="370" y="174"/>
                      </a:lnTo>
                      <a:lnTo>
                        <a:pt x="371" y="174"/>
                      </a:lnTo>
                      <a:lnTo>
                        <a:pt x="371" y="174"/>
                      </a:lnTo>
                      <a:lnTo>
                        <a:pt x="371" y="174"/>
                      </a:lnTo>
                      <a:lnTo>
                        <a:pt x="371" y="174"/>
                      </a:lnTo>
                      <a:lnTo>
                        <a:pt x="372" y="174"/>
                      </a:lnTo>
                      <a:lnTo>
                        <a:pt x="372" y="173"/>
                      </a:lnTo>
                      <a:lnTo>
                        <a:pt x="372" y="173"/>
                      </a:lnTo>
                      <a:lnTo>
                        <a:pt x="373" y="173"/>
                      </a:lnTo>
                      <a:lnTo>
                        <a:pt x="374" y="173"/>
                      </a:lnTo>
                      <a:lnTo>
                        <a:pt x="373" y="173"/>
                      </a:lnTo>
                      <a:lnTo>
                        <a:pt x="373" y="173"/>
                      </a:lnTo>
                      <a:lnTo>
                        <a:pt x="374" y="173"/>
                      </a:lnTo>
                      <a:lnTo>
                        <a:pt x="374" y="173"/>
                      </a:lnTo>
                      <a:lnTo>
                        <a:pt x="374" y="173"/>
                      </a:lnTo>
                      <a:lnTo>
                        <a:pt x="373" y="173"/>
                      </a:lnTo>
                      <a:lnTo>
                        <a:pt x="373" y="172"/>
                      </a:lnTo>
                      <a:lnTo>
                        <a:pt x="372" y="172"/>
                      </a:lnTo>
                      <a:lnTo>
                        <a:pt x="372" y="171"/>
                      </a:lnTo>
                      <a:lnTo>
                        <a:pt x="372" y="171"/>
                      </a:lnTo>
                      <a:lnTo>
                        <a:pt x="372" y="171"/>
                      </a:lnTo>
                      <a:lnTo>
                        <a:pt x="372" y="170"/>
                      </a:lnTo>
                      <a:lnTo>
                        <a:pt x="371" y="170"/>
                      </a:lnTo>
                      <a:lnTo>
                        <a:pt x="371" y="171"/>
                      </a:lnTo>
                      <a:lnTo>
                        <a:pt x="371" y="170"/>
                      </a:lnTo>
                      <a:lnTo>
                        <a:pt x="370" y="170"/>
                      </a:lnTo>
                      <a:lnTo>
                        <a:pt x="371" y="170"/>
                      </a:lnTo>
                      <a:lnTo>
                        <a:pt x="371" y="170"/>
                      </a:lnTo>
                      <a:lnTo>
                        <a:pt x="372" y="170"/>
                      </a:lnTo>
                      <a:lnTo>
                        <a:pt x="371" y="169"/>
                      </a:lnTo>
                      <a:lnTo>
                        <a:pt x="371" y="170"/>
                      </a:lnTo>
                      <a:lnTo>
                        <a:pt x="371" y="169"/>
                      </a:lnTo>
                      <a:lnTo>
                        <a:pt x="371" y="168"/>
                      </a:lnTo>
                      <a:lnTo>
                        <a:pt x="370" y="168"/>
                      </a:lnTo>
                      <a:lnTo>
                        <a:pt x="371" y="168"/>
                      </a:lnTo>
                      <a:lnTo>
                        <a:pt x="371" y="168"/>
                      </a:lnTo>
                      <a:lnTo>
                        <a:pt x="371" y="168"/>
                      </a:lnTo>
                      <a:lnTo>
                        <a:pt x="371" y="168"/>
                      </a:lnTo>
                      <a:lnTo>
                        <a:pt x="371" y="168"/>
                      </a:lnTo>
                      <a:lnTo>
                        <a:pt x="372" y="167"/>
                      </a:lnTo>
                      <a:lnTo>
                        <a:pt x="371" y="168"/>
                      </a:lnTo>
                      <a:lnTo>
                        <a:pt x="372" y="167"/>
                      </a:lnTo>
                      <a:lnTo>
                        <a:pt x="371" y="167"/>
                      </a:lnTo>
                      <a:lnTo>
                        <a:pt x="371" y="167"/>
                      </a:lnTo>
                      <a:lnTo>
                        <a:pt x="372" y="167"/>
                      </a:lnTo>
                      <a:lnTo>
                        <a:pt x="372" y="167"/>
                      </a:lnTo>
                      <a:lnTo>
                        <a:pt x="372" y="167"/>
                      </a:lnTo>
                      <a:lnTo>
                        <a:pt x="372" y="168"/>
                      </a:lnTo>
                      <a:lnTo>
                        <a:pt x="373" y="168"/>
                      </a:lnTo>
                      <a:lnTo>
                        <a:pt x="374" y="167"/>
                      </a:lnTo>
                      <a:lnTo>
                        <a:pt x="374" y="167"/>
                      </a:lnTo>
                      <a:lnTo>
                        <a:pt x="375" y="167"/>
                      </a:lnTo>
                      <a:lnTo>
                        <a:pt x="375" y="168"/>
                      </a:lnTo>
                      <a:lnTo>
                        <a:pt x="375" y="167"/>
                      </a:lnTo>
                      <a:lnTo>
                        <a:pt x="374" y="167"/>
                      </a:lnTo>
                      <a:lnTo>
                        <a:pt x="374" y="167"/>
                      </a:lnTo>
                      <a:lnTo>
                        <a:pt x="373" y="168"/>
                      </a:lnTo>
                      <a:lnTo>
                        <a:pt x="372" y="168"/>
                      </a:lnTo>
                      <a:lnTo>
                        <a:pt x="372" y="167"/>
                      </a:lnTo>
                      <a:lnTo>
                        <a:pt x="372" y="167"/>
                      </a:lnTo>
                      <a:lnTo>
                        <a:pt x="371" y="167"/>
                      </a:lnTo>
                      <a:lnTo>
                        <a:pt x="372" y="167"/>
                      </a:lnTo>
                      <a:lnTo>
                        <a:pt x="371" y="167"/>
                      </a:lnTo>
                      <a:lnTo>
                        <a:pt x="371" y="167"/>
                      </a:lnTo>
                      <a:lnTo>
                        <a:pt x="370" y="167"/>
                      </a:lnTo>
                      <a:lnTo>
                        <a:pt x="370" y="167"/>
                      </a:lnTo>
                      <a:lnTo>
                        <a:pt x="369" y="166"/>
                      </a:lnTo>
                      <a:lnTo>
                        <a:pt x="368" y="166"/>
                      </a:lnTo>
                      <a:lnTo>
                        <a:pt x="368" y="166"/>
                      </a:lnTo>
                      <a:lnTo>
                        <a:pt x="368" y="166"/>
                      </a:lnTo>
                      <a:lnTo>
                        <a:pt x="369" y="166"/>
                      </a:lnTo>
                      <a:lnTo>
                        <a:pt x="369" y="165"/>
                      </a:lnTo>
                      <a:lnTo>
                        <a:pt x="368" y="165"/>
                      </a:lnTo>
                      <a:lnTo>
                        <a:pt x="368" y="164"/>
                      </a:lnTo>
                      <a:lnTo>
                        <a:pt x="368" y="164"/>
                      </a:lnTo>
                      <a:lnTo>
                        <a:pt x="368" y="164"/>
                      </a:lnTo>
                      <a:lnTo>
                        <a:pt x="367" y="163"/>
                      </a:lnTo>
                      <a:lnTo>
                        <a:pt x="367" y="163"/>
                      </a:lnTo>
                      <a:lnTo>
                        <a:pt x="367" y="163"/>
                      </a:lnTo>
                      <a:lnTo>
                        <a:pt x="366" y="163"/>
                      </a:lnTo>
                      <a:lnTo>
                        <a:pt x="366" y="162"/>
                      </a:lnTo>
                      <a:lnTo>
                        <a:pt x="366" y="162"/>
                      </a:lnTo>
                      <a:lnTo>
                        <a:pt x="366" y="162"/>
                      </a:lnTo>
                      <a:lnTo>
                        <a:pt x="365" y="162"/>
                      </a:lnTo>
                      <a:lnTo>
                        <a:pt x="364" y="162"/>
                      </a:lnTo>
                      <a:lnTo>
                        <a:pt x="364" y="162"/>
                      </a:lnTo>
                      <a:lnTo>
                        <a:pt x="364" y="161"/>
                      </a:lnTo>
                      <a:lnTo>
                        <a:pt x="363" y="161"/>
                      </a:lnTo>
                      <a:lnTo>
                        <a:pt x="363" y="161"/>
                      </a:lnTo>
                      <a:lnTo>
                        <a:pt x="363" y="160"/>
                      </a:lnTo>
                      <a:lnTo>
                        <a:pt x="363" y="160"/>
                      </a:lnTo>
                      <a:lnTo>
                        <a:pt x="364" y="160"/>
                      </a:lnTo>
                      <a:lnTo>
                        <a:pt x="364" y="160"/>
                      </a:lnTo>
                      <a:lnTo>
                        <a:pt x="365" y="160"/>
                      </a:lnTo>
                      <a:lnTo>
                        <a:pt x="366" y="159"/>
                      </a:lnTo>
                      <a:lnTo>
                        <a:pt x="365" y="159"/>
                      </a:lnTo>
                      <a:lnTo>
                        <a:pt x="365" y="159"/>
                      </a:lnTo>
                      <a:lnTo>
                        <a:pt x="366" y="159"/>
                      </a:lnTo>
                      <a:lnTo>
                        <a:pt x="366" y="158"/>
                      </a:lnTo>
                      <a:lnTo>
                        <a:pt x="367" y="158"/>
                      </a:lnTo>
                      <a:lnTo>
                        <a:pt x="367" y="158"/>
                      </a:lnTo>
                      <a:lnTo>
                        <a:pt x="368" y="157"/>
                      </a:lnTo>
                      <a:lnTo>
                        <a:pt x="368" y="157"/>
                      </a:lnTo>
                      <a:lnTo>
                        <a:pt x="368" y="157"/>
                      </a:lnTo>
                      <a:lnTo>
                        <a:pt x="369" y="156"/>
                      </a:lnTo>
                      <a:lnTo>
                        <a:pt x="369" y="157"/>
                      </a:lnTo>
                      <a:lnTo>
                        <a:pt x="369" y="156"/>
                      </a:lnTo>
                      <a:lnTo>
                        <a:pt x="368" y="156"/>
                      </a:lnTo>
                      <a:lnTo>
                        <a:pt x="368" y="156"/>
                      </a:lnTo>
                      <a:lnTo>
                        <a:pt x="368" y="156"/>
                      </a:lnTo>
                      <a:lnTo>
                        <a:pt x="368" y="156"/>
                      </a:lnTo>
                      <a:lnTo>
                        <a:pt x="369" y="156"/>
                      </a:lnTo>
                      <a:lnTo>
                        <a:pt x="370" y="156"/>
                      </a:lnTo>
                      <a:lnTo>
                        <a:pt x="370" y="155"/>
                      </a:lnTo>
                      <a:lnTo>
                        <a:pt x="370" y="155"/>
                      </a:lnTo>
                      <a:lnTo>
                        <a:pt x="370" y="154"/>
                      </a:lnTo>
                      <a:lnTo>
                        <a:pt x="370" y="154"/>
                      </a:lnTo>
                      <a:lnTo>
                        <a:pt x="369" y="154"/>
                      </a:lnTo>
                      <a:lnTo>
                        <a:pt x="368" y="154"/>
                      </a:lnTo>
                      <a:lnTo>
                        <a:pt x="368" y="154"/>
                      </a:lnTo>
                      <a:lnTo>
                        <a:pt x="368" y="153"/>
                      </a:lnTo>
                      <a:lnTo>
                        <a:pt x="367" y="153"/>
                      </a:lnTo>
                      <a:lnTo>
                        <a:pt x="367" y="153"/>
                      </a:lnTo>
                      <a:lnTo>
                        <a:pt x="367" y="153"/>
                      </a:lnTo>
                      <a:lnTo>
                        <a:pt x="366" y="153"/>
                      </a:lnTo>
                      <a:lnTo>
                        <a:pt x="366" y="153"/>
                      </a:lnTo>
                      <a:lnTo>
                        <a:pt x="366" y="152"/>
                      </a:lnTo>
                      <a:lnTo>
                        <a:pt x="365" y="152"/>
                      </a:lnTo>
                      <a:lnTo>
                        <a:pt x="364" y="152"/>
                      </a:lnTo>
                      <a:lnTo>
                        <a:pt x="364" y="152"/>
                      </a:lnTo>
                      <a:lnTo>
                        <a:pt x="364" y="151"/>
                      </a:lnTo>
                      <a:lnTo>
                        <a:pt x="365" y="151"/>
                      </a:lnTo>
                      <a:lnTo>
                        <a:pt x="365" y="151"/>
                      </a:lnTo>
                      <a:lnTo>
                        <a:pt x="364" y="151"/>
                      </a:lnTo>
                      <a:lnTo>
                        <a:pt x="364" y="150"/>
                      </a:lnTo>
                      <a:lnTo>
                        <a:pt x="364" y="150"/>
                      </a:lnTo>
                      <a:lnTo>
                        <a:pt x="364" y="150"/>
                      </a:lnTo>
                      <a:lnTo>
                        <a:pt x="364" y="150"/>
                      </a:lnTo>
                      <a:lnTo>
                        <a:pt x="363" y="150"/>
                      </a:lnTo>
                      <a:lnTo>
                        <a:pt x="363" y="150"/>
                      </a:lnTo>
                      <a:lnTo>
                        <a:pt x="362" y="150"/>
                      </a:lnTo>
                      <a:lnTo>
                        <a:pt x="362" y="149"/>
                      </a:lnTo>
                      <a:lnTo>
                        <a:pt x="362" y="149"/>
                      </a:lnTo>
                      <a:lnTo>
                        <a:pt x="362" y="149"/>
                      </a:lnTo>
                      <a:lnTo>
                        <a:pt x="362" y="149"/>
                      </a:lnTo>
                      <a:lnTo>
                        <a:pt x="361" y="148"/>
                      </a:lnTo>
                      <a:lnTo>
                        <a:pt x="361" y="148"/>
                      </a:lnTo>
                      <a:lnTo>
                        <a:pt x="362" y="148"/>
                      </a:lnTo>
                      <a:lnTo>
                        <a:pt x="362" y="147"/>
                      </a:lnTo>
                      <a:lnTo>
                        <a:pt x="362" y="147"/>
                      </a:lnTo>
                      <a:lnTo>
                        <a:pt x="363" y="147"/>
                      </a:lnTo>
                      <a:lnTo>
                        <a:pt x="363" y="147"/>
                      </a:lnTo>
                      <a:lnTo>
                        <a:pt x="363" y="147"/>
                      </a:lnTo>
                      <a:lnTo>
                        <a:pt x="363" y="147"/>
                      </a:lnTo>
                      <a:lnTo>
                        <a:pt x="364" y="147"/>
                      </a:lnTo>
                      <a:lnTo>
                        <a:pt x="364" y="147"/>
                      </a:lnTo>
                      <a:lnTo>
                        <a:pt x="364" y="146"/>
                      </a:lnTo>
                      <a:lnTo>
                        <a:pt x="365" y="146"/>
                      </a:lnTo>
                      <a:lnTo>
                        <a:pt x="365" y="146"/>
                      </a:lnTo>
                      <a:lnTo>
                        <a:pt x="366" y="146"/>
                      </a:lnTo>
                      <a:lnTo>
                        <a:pt x="366" y="145"/>
                      </a:lnTo>
                      <a:lnTo>
                        <a:pt x="366" y="145"/>
                      </a:lnTo>
                      <a:lnTo>
                        <a:pt x="366" y="145"/>
                      </a:lnTo>
                      <a:lnTo>
                        <a:pt x="367" y="144"/>
                      </a:lnTo>
                      <a:lnTo>
                        <a:pt x="367" y="144"/>
                      </a:lnTo>
                      <a:lnTo>
                        <a:pt x="367" y="145"/>
                      </a:lnTo>
                      <a:lnTo>
                        <a:pt x="367" y="144"/>
                      </a:lnTo>
                      <a:lnTo>
                        <a:pt x="367" y="144"/>
                      </a:lnTo>
                      <a:lnTo>
                        <a:pt x="367" y="144"/>
                      </a:lnTo>
                      <a:lnTo>
                        <a:pt x="368" y="144"/>
                      </a:lnTo>
                      <a:lnTo>
                        <a:pt x="367" y="144"/>
                      </a:lnTo>
                      <a:lnTo>
                        <a:pt x="368" y="144"/>
                      </a:lnTo>
                      <a:lnTo>
                        <a:pt x="368" y="144"/>
                      </a:lnTo>
                      <a:lnTo>
                        <a:pt x="369" y="143"/>
                      </a:lnTo>
                      <a:lnTo>
                        <a:pt x="370" y="143"/>
                      </a:lnTo>
                      <a:lnTo>
                        <a:pt x="369" y="143"/>
                      </a:lnTo>
                      <a:lnTo>
                        <a:pt x="369" y="142"/>
                      </a:lnTo>
                      <a:lnTo>
                        <a:pt x="370" y="142"/>
                      </a:lnTo>
                      <a:lnTo>
                        <a:pt x="370" y="143"/>
                      </a:lnTo>
                      <a:lnTo>
                        <a:pt x="370" y="142"/>
                      </a:lnTo>
                      <a:lnTo>
                        <a:pt x="370" y="142"/>
                      </a:lnTo>
                      <a:lnTo>
                        <a:pt x="369" y="142"/>
                      </a:lnTo>
                      <a:lnTo>
                        <a:pt x="370" y="142"/>
                      </a:lnTo>
                      <a:lnTo>
                        <a:pt x="370" y="141"/>
                      </a:lnTo>
                      <a:lnTo>
                        <a:pt x="370" y="141"/>
                      </a:lnTo>
                      <a:lnTo>
                        <a:pt x="371" y="141"/>
                      </a:lnTo>
                      <a:lnTo>
                        <a:pt x="371" y="141"/>
                      </a:lnTo>
                      <a:lnTo>
                        <a:pt x="371" y="141"/>
                      </a:lnTo>
                      <a:lnTo>
                        <a:pt x="371" y="140"/>
                      </a:lnTo>
                      <a:lnTo>
                        <a:pt x="372" y="140"/>
                      </a:lnTo>
                      <a:lnTo>
                        <a:pt x="372" y="141"/>
                      </a:lnTo>
                      <a:lnTo>
                        <a:pt x="372" y="141"/>
                      </a:lnTo>
                      <a:lnTo>
                        <a:pt x="372" y="141"/>
                      </a:lnTo>
                      <a:lnTo>
                        <a:pt x="372" y="141"/>
                      </a:lnTo>
                      <a:lnTo>
                        <a:pt x="372" y="141"/>
                      </a:lnTo>
                      <a:lnTo>
                        <a:pt x="372" y="141"/>
                      </a:lnTo>
                      <a:lnTo>
                        <a:pt x="373" y="141"/>
                      </a:lnTo>
                      <a:lnTo>
                        <a:pt x="374" y="141"/>
                      </a:lnTo>
                      <a:lnTo>
                        <a:pt x="374" y="141"/>
                      </a:lnTo>
                      <a:lnTo>
                        <a:pt x="375" y="141"/>
                      </a:lnTo>
                      <a:lnTo>
                        <a:pt x="375" y="141"/>
                      </a:lnTo>
                      <a:lnTo>
                        <a:pt x="375" y="141"/>
                      </a:lnTo>
                      <a:lnTo>
                        <a:pt x="376" y="141"/>
                      </a:lnTo>
                      <a:lnTo>
                        <a:pt x="376" y="142"/>
                      </a:lnTo>
                      <a:lnTo>
                        <a:pt x="377" y="142"/>
                      </a:lnTo>
                      <a:lnTo>
                        <a:pt x="377" y="142"/>
                      </a:lnTo>
                      <a:lnTo>
                        <a:pt x="378" y="142"/>
                      </a:lnTo>
                      <a:lnTo>
                        <a:pt x="378" y="142"/>
                      </a:lnTo>
                      <a:lnTo>
                        <a:pt x="378" y="142"/>
                      </a:lnTo>
                      <a:lnTo>
                        <a:pt x="378" y="142"/>
                      </a:lnTo>
                      <a:lnTo>
                        <a:pt x="379" y="142"/>
                      </a:lnTo>
                      <a:lnTo>
                        <a:pt x="379" y="142"/>
                      </a:lnTo>
                      <a:lnTo>
                        <a:pt x="379" y="142"/>
                      </a:lnTo>
                      <a:lnTo>
                        <a:pt x="378" y="142"/>
                      </a:lnTo>
                      <a:lnTo>
                        <a:pt x="378" y="142"/>
                      </a:lnTo>
                      <a:lnTo>
                        <a:pt x="378" y="142"/>
                      </a:lnTo>
                      <a:lnTo>
                        <a:pt x="378" y="142"/>
                      </a:lnTo>
                      <a:lnTo>
                        <a:pt x="377" y="142"/>
                      </a:lnTo>
                      <a:lnTo>
                        <a:pt x="377" y="142"/>
                      </a:lnTo>
                      <a:lnTo>
                        <a:pt x="376" y="142"/>
                      </a:lnTo>
                      <a:lnTo>
                        <a:pt x="376" y="141"/>
                      </a:lnTo>
                      <a:lnTo>
                        <a:pt x="375" y="141"/>
                      </a:lnTo>
                      <a:lnTo>
                        <a:pt x="375" y="141"/>
                      </a:lnTo>
                      <a:lnTo>
                        <a:pt x="375" y="141"/>
                      </a:lnTo>
                      <a:lnTo>
                        <a:pt x="375" y="141"/>
                      </a:lnTo>
                      <a:lnTo>
                        <a:pt x="376" y="141"/>
                      </a:lnTo>
                      <a:lnTo>
                        <a:pt x="376" y="140"/>
                      </a:lnTo>
                      <a:lnTo>
                        <a:pt x="377" y="140"/>
                      </a:lnTo>
                      <a:lnTo>
                        <a:pt x="377" y="140"/>
                      </a:lnTo>
                      <a:lnTo>
                        <a:pt x="378" y="140"/>
                      </a:lnTo>
                      <a:lnTo>
                        <a:pt x="378" y="140"/>
                      </a:lnTo>
                      <a:lnTo>
                        <a:pt x="378" y="139"/>
                      </a:lnTo>
                      <a:lnTo>
                        <a:pt x="379" y="140"/>
                      </a:lnTo>
                      <a:lnTo>
                        <a:pt x="378" y="140"/>
                      </a:lnTo>
                      <a:lnTo>
                        <a:pt x="379" y="140"/>
                      </a:lnTo>
                      <a:lnTo>
                        <a:pt x="379" y="140"/>
                      </a:lnTo>
                      <a:lnTo>
                        <a:pt x="380" y="139"/>
                      </a:lnTo>
                      <a:lnTo>
                        <a:pt x="380" y="140"/>
                      </a:lnTo>
                      <a:lnTo>
                        <a:pt x="381" y="140"/>
                      </a:lnTo>
                      <a:lnTo>
                        <a:pt x="380" y="140"/>
                      </a:lnTo>
                      <a:lnTo>
                        <a:pt x="381" y="140"/>
                      </a:lnTo>
                      <a:lnTo>
                        <a:pt x="381" y="139"/>
                      </a:lnTo>
                      <a:lnTo>
                        <a:pt x="381" y="140"/>
                      </a:lnTo>
                      <a:lnTo>
                        <a:pt x="381" y="139"/>
                      </a:lnTo>
                      <a:lnTo>
                        <a:pt x="381" y="139"/>
                      </a:lnTo>
                      <a:lnTo>
                        <a:pt x="382" y="139"/>
                      </a:lnTo>
                      <a:lnTo>
                        <a:pt x="382" y="139"/>
                      </a:lnTo>
                      <a:lnTo>
                        <a:pt x="382" y="138"/>
                      </a:lnTo>
                      <a:lnTo>
                        <a:pt x="382" y="138"/>
                      </a:lnTo>
                      <a:lnTo>
                        <a:pt x="382" y="138"/>
                      </a:lnTo>
                      <a:lnTo>
                        <a:pt x="382" y="137"/>
                      </a:lnTo>
                      <a:lnTo>
                        <a:pt x="383" y="137"/>
                      </a:lnTo>
                      <a:lnTo>
                        <a:pt x="383" y="137"/>
                      </a:lnTo>
                      <a:lnTo>
                        <a:pt x="384" y="137"/>
                      </a:lnTo>
                      <a:lnTo>
                        <a:pt x="385" y="137"/>
                      </a:lnTo>
                      <a:lnTo>
                        <a:pt x="385" y="136"/>
                      </a:lnTo>
                      <a:lnTo>
                        <a:pt x="385" y="136"/>
                      </a:lnTo>
                      <a:lnTo>
                        <a:pt x="385" y="136"/>
                      </a:lnTo>
                      <a:lnTo>
                        <a:pt x="385" y="136"/>
                      </a:lnTo>
                      <a:lnTo>
                        <a:pt x="385" y="137"/>
                      </a:lnTo>
                      <a:lnTo>
                        <a:pt x="386" y="137"/>
                      </a:lnTo>
                      <a:lnTo>
                        <a:pt x="386" y="136"/>
                      </a:lnTo>
                      <a:lnTo>
                        <a:pt x="385" y="136"/>
                      </a:lnTo>
                      <a:lnTo>
                        <a:pt x="386" y="136"/>
                      </a:lnTo>
                      <a:lnTo>
                        <a:pt x="385" y="136"/>
                      </a:lnTo>
                      <a:lnTo>
                        <a:pt x="386" y="136"/>
                      </a:lnTo>
                      <a:lnTo>
                        <a:pt x="386" y="135"/>
                      </a:lnTo>
                      <a:lnTo>
                        <a:pt x="385" y="135"/>
                      </a:lnTo>
                      <a:lnTo>
                        <a:pt x="386" y="135"/>
                      </a:lnTo>
                      <a:lnTo>
                        <a:pt x="385" y="135"/>
                      </a:lnTo>
                      <a:lnTo>
                        <a:pt x="386" y="135"/>
                      </a:lnTo>
                      <a:lnTo>
                        <a:pt x="386" y="135"/>
                      </a:lnTo>
                      <a:lnTo>
                        <a:pt x="387" y="135"/>
                      </a:lnTo>
                      <a:lnTo>
                        <a:pt x="388" y="135"/>
                      </a:lnTo>
                      <a:lnTo>
                        <a:pt x="388" y="135"/>
                      </a:lnTo>
                      <a:lnTo>
                        <a:pt x="389" y="135"/>
                      </a:lnTo>
                      <a:lnTo>
                        <a:pt x="389" y="135"/>
                      </a:lnTo>
                      <a:lnTo>
                        <a:pt x="390" y="135"/>
                      </a:lnTo>
                      <a:lnTo>
                        <a:pt x="390" y="135"/>
                      </a:lnTo>
                      <a:lnTo>
                        <a:pt x="390" y="134"/>
                      </a:lnTo>
                      <a:lnTo>
                        <a:pt x="391" y="134"/>
                      </a:lnTo>
                      <a:lnTo>
                        <a:pt x="392" y="134"/>
                      </a:lnTo>
                      <a:lnTo>
                        <a:pt x="392" y="134"/>
                      </a:lnTo>
                      <a:lnTo>
                        <a:pt x="393" y="134"/>
                      </a:lnTo>
                      <a:lnTo>
                        <a:pt x="393" y="134"/>
                      </a:lnTo>
                      <a:lnTo>
                        <a:pt x="393" y="134"/>
                      </a:lnTo>
                      <a:lnTo>
                        <a:pt x="393" y="134"/>
                      </a:lnTo>
                      <a:lnTo>
                        <a:pt x="393" y="135"/>
                      </a:lnTo>
                      <a:lnTo>
                        <a:pt x="394" y="135"/>
                      </a:lnTo>
                      <a:lnTo>
                        <a:pt x="394" y="135"/>
                      </a:lnTo>
                      <a:lnTo>
                        <a:pt x="394" y="135"/>
                      </a:lnTo>
                      <a:lnTo>
                        <a:pt x="393" y="135"/>
                      </a:lnTo>
                      <a:lnTo>
                        <a:pt x="393" y="135"/>
                      </a:lnTo>
                      <a:lnTo>
                        <a:pt x="394" y="135"/>
                      </a:lnTo>
                      <a:lnTo>
                        <a:pt x="393" y="135"/>
                      </a:lnTo>
                      <a:lnTo>
                        <a:pt x="393" y="136"/>
                      </a:lnTo>
                      <a:lnTo>
                        <a:pt x="394" y="136"/>
                      </a:lnTo>
                      <a:lnTo>
                        <a:pt x="394" y="136"/>
                      </a:lnTo>
                      <a:lnTo>
                        <a:pt x="394" y="136"/>
                      </a:lnTo>
                      <a:lnTo>
                        <a:pt x="394" y="136"/>
                      </a:lnTo>
                      <a:lnTo>
                        <a:pt x="394" y="136"/>
                      </a:lnTo>
                      <a:lnTo>
                        <a:pt x="394" y="136"/>
                      </a:lnTo>
                      <a:lnTo>
                        <a:pt x="394" y="136"/>
                      </a:lnTo>
                      <a:lnTo>
                        <a:pt x="393" y="136"/>
                      </a:lnTo>
                      <a:lnTo>
                        <a:pt x="393" y="135"/>
                      </a:lnTo>
                      <a:lnTo>
                        <a:pt x="394" y="135"/>
                      </a:lnTo>
                      <a:lnTo>
                        <a:pt x="393" y="135"/>
                      </a:lnTo>
                      <a:lnTo>
                        <a:pt x="393" y="135"/>
                      </a:lnTo>
                      <a:lnTo>
                        <a:pt x="394" y="135"/>
                      </a:lnTo>
                      <a:lnTo>
                        <a:pt x="394" y="135"/>
                      </a:lnTo>
                      <a:lnTo>
                        <a:pt x="393" y="135"/>
                      </a:lnTo>
                      <a:lnTo>
                        <a:pt x="393" y="134"/>
                      </a:lnTo>
                      <a:lnTo>
                        <a:pt x="393" y="134"/>
                      </a:lnTo>
                      <a:lnTo>
                        <a:pt x="393" y="134"/>
                      </a:lnTo>
                      <a:lnTo>
                        <a:pt x="393" y="134"/>
                      </a:lnTo>
                      <a:lnTo>
                        <a:pt x="392" y="134"/>
                      </a:lnTo>
                      <a:lnTo>
                        <a:pt x="392" y="134"/>
                      </a:lnTo>
                      <a:lnTo>
                        <a:pt x="392" y="134"/>
                      </a:lnTo>
                      <a:lnTo>
                        <a:pt x="392" y="134"/>
                      </a:lnTo>
                      <a:lnTo>
                        <a:pt x="392" y="134"/>
                      </a:lnTo>
                      <a:lnTo>
                        <a:pt x="392" y="134"/>
                      </a:lnTo>
                      <a:lnTo>
                        <a:pt x="392" y="133"/>
                      </a:lnTo>
                      <a:lnTo>
                        <a:pt x="392" y="133"/>
                      </a:lnTo>
                      <a:lnTo>
                        <a:pt x="393" y="133"/>
                      </a:lnTo>
                      <a:lnTo>
                        <a:pt x="393" y="133"/>
                      </a:lnTo>
                      <a:lnTo>
                        <a:pt x="394" y="133"/>
                      </a:lnTo>
                      <a:lnTo>
                        <a:pt x="394" y="133"/>
                      </a:lnTo>
                      <a:lnTo>
                        <a:pt x="395" y="133"/>
                      </a:lnTo>
                      <a:lnTo>
                        <a:pt x="395" y="134"/>
                      </a:lnTo>
                      <a:lnTo>
                        <a:pt x="396" y="134"/>
                      </a:lnTo>
                      <a:lnTo>
                        <a:pt x="396" y="134"/>
                      </a:lnTo>
                      <a:lnTo>
                        <a:pt x="397" y="134"/>
                      </a:lnTo>
                      <a:lnTo>
                        <a:pt x="397" y="134"/>
                      </a:lnTo>
                      <a:lnTo>
                        <a:pt x="398" y="134"/>
                      </a:lnTo>
                      <a:lnTo>
                        <a:pt x="398" y="134"/>
                      </a:lnTo>
                      <a:lnTo>
                        <a:pt x="399" y="134"/>
                      </a:lnTo>
                      <a:lnTo>
                        <a:pt x="399" y="134"/>
                      </a:lnTo>
                      <a:lnTo>
                        <a:pt x="400" y="134"/>
                      </a:lnTo>
                      <a:lnTo>
                        <a:pt x="400" y="134"/>
                      </a:lnTo>
                      <a:lnTo>
                        <a:pt x="401" y="134"/>
                      </a:lnTo>
                      <a:lnTo>
                        <a:pt x="401" y="134"/>
                      </a:lnTo>
                      <a:lnTo>
                        <a:pt x="402" y="134"/>
                      </a:lnTo>
                      <a:lnTo>
                        <a:pt x="402" y="134"/>
                      </a:lnTo>
                      <a:lnTo>
                        <a:pt x="402" y="134"/>
                      </a:lnTo>
                      <a:lnTo>
                        <a:pt x="402" y="134"/>
                      </a:lnTo>
                      <a:lnTo>
                        <a:pt x="403" y="134"/>
                      </a:lnTo>
                      <a:lnTo>
                        <a:pt x="403" y="134"/>
                      </a:lnTo>
                      <a:lnTo>
                        <a:pt x="404" y="134"/>
                      </a:lnTo>
                      <a:lnTo>
                        <a:pt x="404" y="134"/>
                      </a:lnTo>
                      <a:lnTo>
                        <a:pt x="405" y="134"/>
                      </a:lnTo>
                      <a:lnTo>
                        <a:pt x="404" y="134"/>
                      </a:lnTo>
                      <a:lnTo>
                        <a:pt x="405" y="134"/>
                      </a:lnTo>
                      <a:lnTo>
                        <a:pt x="405" y="134"/>
                      </a:lnTo>
                      <a:lnTo>
                        <a:pt x="405" y="135"/>
                      </a:lnTo>
                      <a:lnTo>
                        <a:pt x="406" y="135"/>
                      </a:lnTo>
                      <a:lnTo>
                        <a:pt x="406" y="135"/>
                      </a:lnTo>
                      <a:lnTo>
                        <a:pt x="407" y="135"/>
                      </a:lnTo>
                      <a:lnTo>
                        <a:pt x="407" y="135"/>
                      </a:lnTo>
                      <a:lnTo>
                        <a:pt x="408" y="135"/>
                      </a:lnTo>
                      <a:lnTo>
                        <a:pt x="408" y="135"/>
                      </a:lnTo>
                      <a:lnTo>
                        <a:pt x="408" y="136"/>
                      </a:lnTo>
                      <a:lnTo>
                        <a:pt x="409" y="136"/>
                      </a:lnTo>
                      <a:lnTo>
                        <a:pt x="409" y="136"/>
                      </a:lnTo>
                      <a:lnTo>
                        <a:pt x="409" y="137"/>
                      </a:lnTo>
                      <a:lnTo>
                        <a:pt x="410" y="137"/>
                      </a:lnTo>
                      <a:lnTo>
                        <a:pt x="409" y="137"/>
                      </a:lnTo>
                      <a:lnTo>
                        <a:pt x="409" y="136"/>
                      </a:lnTo>
                      <a:lnTo>
                        <a:pt x="408" y="136"/>
                      </a:lnTo>
                      <a:lnTo>
                        <a:pt x="408" y="135"/>
                      </a:lnTo>
                      <a:lnTo>
                        <a:pt x="408" y="135"/>
                      </a:lnTo>
                      <a:lnTo>
                        <a:pt x="407" y="135"/>
                      </a:lnTo>
                      <a:lnTo>
                        <a:pt x="407" y="135"/>
                      </a:lnTo>
                      <a:lnTo>
                        <a:pt x="406" y="135"/>
                      </a:lnTo>
                      <a:lnTo>
                        <a:pt x="406" y="135"/>
                      </a:lnTo>
                      <a:lnTo>
                        <a:pt x="407" y="135"/>
                      </a:lnTo>
                      <a:lnTo>
                        <a:pt x="406" y="135"/>
                      </a:lnTo>
                      <a:lnTo>
                        <a:pt x="405" y="135"/>
                      </a:lnTo>
                      <a:lnTo>
                        <a:pt x="406" y="135"/>
                      </a:lnTo>
                      <a:lnTo>
                        <a:pt x="405" y="134"/>
                      </a:lnTo>
                      <a:lnTo>
                        <a:pt x="405" y="134"/>
                      </a:lnTo>
                      <a:lnTo>
                        <a:pt x="404" y="134"/>
                      </a:lnTo>
                      <a:lnTo>
                        <a:pt x="404" y="134"/>
                      </a:lnTo>
                      <a:lnTo>
                        <a:pt x="404" y="134"/>
                      </a:lnTo>
                      <a:lnTo>
                        <a:pt x="403" y="134"/>
                      </a:lnTo>
                      <a:lnTo>
                        <a:pt x="403" y="134"/>
                      </a:lnTo>
                      <a:lnTo>
                        <a:pt x="402" y="134"/>
                      </a:lnTo>
                      <a:lnTo>
                        <a:pt x="402" y="134"/>
                      </a:lnTo>
                      <a:lnTo>
                        <a:pt x="401" y="134"/>
                      </a:lnTo>
                      <a:lnTo>
                        <a:pt x="401" y="134"/>
                      </a:lnTo>
                      <a:lnTo>
                        <a:pt x="400" y="134"/>
                      </a:lnTo>
                      <a:lnTo>
                        <a:pt x="401" y="134"/>
                      </a:lnTo>
                      <a:lnTo>
                        <a:pt x="400" y="134"/>
                      </a:lnTo>
                      <a:lnTo>
                        <a:pt x="400" y="134"/>
                      </a:lnTo>
                      <a:lnTo>
                        <a:pt x="401" y="134"/>
                      </a:lnTo>
                      <a:lnTo>
                        <a:pt x="401" y="134"/>
                      </a:lnTo>
                      <a:lnTo>
                        <a:pt x="401" y="134"/>
                      </a:lnTo>
                      <a:lnTo>
                        <a:pt x="401" y="134"/>
                      </a:lnTo>
                      <a:lnTo>
                        <a:pt x="401" y="134"/>
                      </a:lnTo>
                      <a:lnTo>
                        <a:pt x="400" y="134"/>
                      </a:lnTo>
                      <a:lnTo>
                        <a:pt x="400" y="134"/>
                      </a:lnTo>
                      <a:lnTo>
                        <a:pt x="400" y="133"/>
                      </a:lnTo>
                      <a:lnTo>
                        <a:pt x="400" y="133"/>
                      </a:lnTo>
                      <a:lnTo>
                        <a:pt x="400" y="134"/>
                      </a:lnTo>
                      <a:lnTo>
                        <a:pt x="400" y="133"/>
                      </a:lnTo>
                      <a:lnTo>
                        <a:pt x="400" y="133"/>
                      </a:lnTo>
                      <a:lnTo>
                        <a:pt x="399" y="134"/>
                      </a:lnTo>
                      <a:lnTo>
                        <a:pt x="398" y="134"/>
                      </a:lnTo>
                      <a:lnTo>
                        <a:pt x="398" y="134"/>
                      </a:lnTo>
                      <a:lnTo>
                        <a:pt x="397" y="133"/>
                      </a:lnTo>
                      <a:lnTo>
                        <a:pt x="398" y="133"/>
                      </a:lnTo>
                      <a:lnTo>
                        <a:pt x="398" y="133"/>
                      </a:lnTo>
                      <a:lnTo>
                        <a:pt x="398" y="133"/>
                      </a:lnTo>
                      <a:lnTo>
                        <a:pt x="397" y="133"/>
                      </a:lnTo>
                      <a:lnTo>
                        <a:pt x="397" y="133"/>
                      </a:lnTo>
                      <a:lnTo>
                        <a:pt x="396" y="133"/>
                      </a:lnTo>
                      <a:lnTo>
                        <a:pt x="396" y="133"/>
                      </a:lnTo>
                      <a:lnTo>
                        <a:pt x="396" y="133"/>
                      </a:lnTo>
                      <a:lnTo>
                        <a:pt x="395" y="133"/>
                      </a:lnTo>
                      <a:lnTo>
                        <a:pt x="394" y="133"/>
                      </a:lnTo>
                      <a:lnTo>
                        <a:pt x="394" y="133"/>
                      </a:lnTo>
                      <a:lnTo>
                        <a:pt x="394" y="132"/>
                      </a:lnTo>
                      <a:lnTo>
                        <a:pt x="394" y="131"/>
                      </a:lnTo>
                      <a:lnTo>
                        <a:pt x="394" y="131"/>
                      </a:lnTo>
                      <a:lnTo>
                        <a:pt x="394" y="130"/>
                      </a:lnTo>
                      <a:lnTo>
                        <a:pt x="394" y="130"/>
                      </a:lnTo>
                      <a:lnTo>
                        <a:pt x="394" y="130"/>
                      </a:lnTo>
                      <a:lnTo>
                        <a:pt x="394" y="129"/>
                      </a:lnTo>
                      <a:lnTo>
                        <a:pt x="395" y="129"/>
                      </a:lnTo>
                      <a:lnTo>
                        <a:pt x="396" y="129"/>
                      </a:lnTo>
                      <a:lnTo>
                        <a:pt x="396" y="129"/>
                      </a:lnTo>
                      <a:lnTo>
                        <a:pt x="397" y="129"/>
                      </a:lnTo>
                      <a:lnTo>
                        <a:pt x="397" y="130"/>
                      </a:lnTo>
                      <a:lnTo>
                        <a:pt x="398" y="130"/>
                      </a:lnTo>
                      <a:lnTo>
                        <a:pt x="398" y="130"/>
                      </a:lnTo>
                      <a:lnTo>
                        <a:pt x="399" y="130"/>
                      </a:lnTo>
                      <a:lnTo>
                        <a:pt x="400" y="130"/>
                      </a:lnTo>
                      <a:lnTo>
                        <a:pt x="400" y="129"/>
                      </a:lnTo>
                      <a:lnTo>
                        <a:pt x="401" y="129"/>
                      </a:lnTo>
                      <a:lnTo>
                        <a:pt x="401" y="129"/>
                      </a:lnTo>
                      <a:lnTo>
                        <a:pt x="402" y="129"/>
                      </a:lnTo>
                      <a:lnTo>
                        <a:pt x="402" y="130"/>
                      </a:lnTo>
                      <a:lnTo>
                        <a:pt x="403" y="130"/>
                      </a:lnTo>
                      <a:lnTo>
                        <a:pt x="404" y="130"/>
                      </a:lnTo>
                      <a:lnTo>
                        <a:pt x="404" y="129"/>
                      </a:lnTo>
                      <a:lnTo>
                        <a:pt x="405" y="130"/>
                      </a:lnTo>
                      <a:lnTo>
                        <a:pt x="405" y="130"/>
                      </a:lnTo>
                      <a:lnTo>
                        <a:pt x="405" y="129"/>
                      </a:lnTo>
                      <a:lnTo>
                        <a:pt x="405" y="130"/>
                      </a:lnTo>
                      <a:lnTo>
                        <a:pt x="405" y="129"/>
                      </a:lnTo>
                      <a:lnTo>
                        <a:pt x="405" y="130"/>
                      </a:lnTo>
                      <a:lnTo>
                        <a:pt x="406" y="130"/>
                      </a:lnTo>
                      <a:lnTo>
                        <a:pt x="406" y="129"/>
                      </a:lnTo>
                      <a:lnTo>
                        <a:pt x="406" y="130"/>
                      </a:lnTo>
                      <a:lnTo>
                        <a:pt x="407" y="130"/>
                      </a:lnTo>
                      <a:lnTo>
                        <a:pt x="407" y="129"/>
                      </a:lnTo>
                      <a:lnTo>
                        <a:pt x="407" y="129"/>
                      </a:lnTo>
                      <a:lnTo>
                        <a:pt x="408" y="129"/>
                      </a:lnTo>
                      <a:lnTo>
                        <a:pt x="408" y="129"/>
                      </a:lnTo>
                      <a:lnTo>
                        <a:pt x="409" y="128"/>
                      </a:lnTo>
                      <a:lnTo>
                        <a:pt x="409" y="128"/>
                      </a:lnTo>
                      <a:lnTo>
                        <a:pt x="410" y="129"/>
                      </a:lnTo>
                      <a:lnTo>
                        <a:pt x="409" y="129"/>
                      </a:lnTo>
                      <a:lnTo>
                        <a:pt x="410" y="129"/>
                      </a:lnTo>
                      <a:lnTo>
                        <a:pt x="409" y="129"/>
                      </a:lnTo>
                      <a:lnTo>
                        <a:pt x="410" y="129"/>
                      </a:lnTo>
                      <a:lnTo>
                        <a:pt x="409" y="129"/>
                      </a:lnTo>
                      <a:lnTo>
                        <a:pt x="410" y="129"/>
                      </a:lnTo>
                      <a:lnTo>
                        <a:pt x="411" y="129"/>
                      </a:lnTo>
                      <a:lnTo>
                        <a:pt x="411" y="129"/>
                      </a:lnTo>
                      <a:lnTo>
                        <a:pt x="411" y="128"/>
                      </a:lnTo>
                      <a:lnTo>
                        <a:pt x="411" y="128"/>
                      </a:lnTo>
                      <a:lnTo>
                        <a:pt x="410" y="128"/>
                      </a:lnTo>
                      <a:lnTo>
                        <a:pt x="409" y="128"/>
                      </a:lnTo>
                      <a:lnTo>
                        <a:pt x="410" y="128"/>
                      </a:lnTo>
                      <a:lnTo>
                        <a:pt x="410" y="127"/>
                      </a:lnTo>
                      <a:lnTo>
                        <a:pt x="411" y="127"/>
                      </a:lnTo>
                      <a:lnTo>
                        <a:pt x="412" y="127"/>
                      </a:lnTo>
                      <a:lnTo>
                        <a:pt x="412" y="127"/>
                      </a:lnTo>
                      <a:lnTo>
                        <a:pt x="413" y="127"/>
                      </a:lnTo>
                      <a:lnTo>
                        <a:pt x="413" y="127"/>
                      </a:lnTo>
                      <a:lnTo>
                        <a:pt x="414" y="127"/>
                      </a:lnTo>
                      <a:lnTo>
                        <a:pt x="415" y="127"/>
                      </a:lnTo>
                      <a:lnTo>
                        <a:pt x="415" y="127"/>
                      </a:lnTo>
                      <a:lnTo>
                        <a:pt x="416" y="127"/>
                      </a:lnTo>
                      <a:lnTo>
                        <a:pt x="415" y="127"/>
                      </a:lnTo>
                      <a:lnTo>
                        <a:pt x="416" y="127"/>
                      </a:lnTo>
                      <a:lnTo>
                        <a:pt x="416" y="126"/>
                      </a:lnTo>
                      <a:lnTo>
                        <a:pt x="416" y="126"/>
                      </a:lnTo>
                      <a:lnTo>
                        <a:pt x="417" y="126"/>
                      </a:lnTo>
                      <a:lnTo>
                        <a:pt x="418" y="126"/>
                      </a:lnTo>
                      <a:lnTo>
                        <a:pt x="418" y="126"/>
                      </a:lnTo>
                      <a:lnTo>
                        <a:pt x="418" y="126"/>
                      </a:lnTo>
                      <a:lnTo>
                        <a:pt x="418" y="126"/>
                      </a:lnTo>
                      <a:lnTo>
                        <a:pt x="418" y="126"/>
                      </a:lnTo>
                      <a:lnTo>
                        <a:pt x="419" y="126"/>
                      </a:lnTo>
                      <a:lnTo>
                        <a:pt x="418" y="126"/>
                      </a:lnTo>
                      <a:lnTo>
                        <a:pt x="419" y="126"/>
                      </a:lnTo>
                      <a:lnTo>
                        <a:pt x="418" y="126"/>
                      </a:lnTo>
                      <a:lnTo>
                        <a:pt x="418" y="125"/>
                      </a:lnTo>
                      <a:lnTo>
                        <a:pt x="418" y="125"/>
                      </a:lnTo>
                      <a:lnTo>
                        <a:pt x="418" y="125"/>
                      </a:lnTo>
                      <a:lnTo>
                        <a:pt x="418" y="125"/>
                      </a:lnTo>
                      <a:lnTo>
                        <a:pt x="418" y="125"/>
                      </a:lnTo>
                      <a:lnTo>
                        <a:pt x="418" y="125"/>
                      </a:lnTo>
                      <a:lnTo>
                        <a:pt x="418" y="125"/>
                      </a:lnTo>
                      <a:lnTo>
                        <a:pt x="418" y="125"/>
                      </a:lnTo>
                      <a:lnTo>
                        <a:pt x="419" y="125"/>
                      </a:lnTo>
                      <a:lnTo>
                        <a:pt x="419" y="125"/>
                      </a:lnTo>
                      <a:lnTo>
                        <a:pt x="419" y="126"/>
                      </a:lnTo>
                      <a:lnTo>
                        <a:pt x="420" y="126"/>
                      </a:lnTo>
                      <a:lnTo>
                        <a:pt x="419" y="126"/>
                      </a:lnTo>
                      <a:lnTo>
                        <a:pt x="420" y="126"/>
                      </a:lnTo>
                      <a:lnTo>
                        <a:pt x="420" y="125"/>
                      </a:lnTo>
                      <a:lnTo>
                        <a:pt x="419" y="125"/>
                      </a:lnTo>
                      <a:lnTo>
                        <a:pt x="419" y="125"/>
                      </a:lnTo>
                      <a:lnTo>
                        <a:pt x="419" y="125"/>
                      </a:lnTo>
                      <a:lnTo>
                        <a:pt x="418" y="125"/>
                      </a:lnTo>
                      <a:lnTo>
                        <a:pt x="418" y="125"/>
                      </a:lnTo>
                      <a:lnTo>
                        <a:pt x="418" y="125"/>
                      </a:lnTo>
                      <a:lnTo>
                        <a:pt x="418" y="125"/>
                      </a:lnTo>
                      <a:lnTo>
                        <a:pt x="418" y="124"/>
                      </a:lnTo>
                      <a:lnTo>
                        <a:pt x="418" y="123"/>
                      </a:lnTo>
                      <a:lnTo>
                        <a:pt x="418" y="123"/>
                      </a:lnTo>
                      <a:lnTo>
                        <a:pt x="418" y="124"/>
                      </a:lnTo>
                      <a:lnTo>
                        <a:pt x="419" y="124"/>
                      </a:lnTo>
                      <a:lnTo>
                        <a:pt x="419" y="125"/>
                      </a:lnTo>
                      <a:lnTo>
                        <a:pt x="420" y="125"/>
                      </a:lnTo>
                      <a:lnTo>
                        <a:pt x="420" y="125"/>
                      </a:lnTo>
                      <a:lnTo>
                        <a:pt x="420" y="125"/>
                      </a:lnTo>
                      <a:lnTo>
                        <a:pt x="420" y="125"/>
                      </a:lnTo>
                      <a:lnTo>
                        <a:pt x="420" y="125"/>
                      </a:lnTo>
                      <a:lnTo>
                        <a:pt x="421" y="125"/>
                      </a:lnTo>
                      <a:lnTo>
                        <a:pt x="422" y="125"/>
                      </a:lnTo>
                      <a:lnTo>
                        <a:pt x="422" y="125"/>
                      </a:lnTo>
                      <a:lnTo>
                        <a:pt x="423" y="125"/>
                      </a:lnTo>
                      <a:lnTo>
                        <a:pt x="423" y="125"/>
                      </a:lnTo>
                      <a:lnTo>
                        <a:pt x="423" y="125"/>
                      </a:lnTo>
                      <a:lnTo>
                        <a:pt x="423" y="125"/>
                      </a:lnTo>
                      <a:lnTo>
                        <a:pt x="424" y="125"/>
                      </a:lnTo>
                      <a:lnTo>
                        <a:pt x="423" y="125"/>
                      </a:lnTo>
                      <a:lnTo>
                        <a:pt x="424" y="125"/>
                      </a:lnTo>
                      <a:lnTo>
                        <a:pt x="424" y="125"/>
                      </a:lnTo>
                      <a:lnTo>
                        <a:pt x="424" y="125"/>
                      </a:lnTo>
                      <a:lnTo>
                        <a:pt x="425" y="125"/>
                      </a:lnTo>
                      <a:lnTo>
                        <a:pt x="425" y="124"/>
                      </a:lnTo>
                      <a:lnTo>
                        <a:pt x="426" y="124"/>
                      </a:lnTo>
                      <a:lnTo>
                        <a:pt x="425" y="124"/>
                      </a:lnTo>
                      <a:lnTo>
                        <a:pt x="426" y="124"/>
                      </a:lnTo>
                      <a:lnTo>
                        <a:pt x="425" y="124"/>
                      </a:lnTo>
                      <a:lnTo>
                        <a:pt x="426" y="124"/>
                      </a:lnTo>
                      <a:lnTo>
                        <a:pt x="426" y="123"/>
                      </a:lnTo>
                      <a:lnTo>
                        <a:pt x="425" y="123"/>
                      </a:lnTo>
                      <a:lnTo>
                        <a:pt x="425" y="124"/>
                      </a:lnTo>
                      <a:lnTo>
                        <a:pt x="425" y="123"/>
                      </a:lnTo>
                      <a:lnTo>
                        <a:pt x="426" y="123"/>
                      </a:lnTo>
                      <a:lnTo>
                        <a:pt x="426" y="123"/>
                      </a:lnTo>
                      <a:lnTo>
                        <a:pt x="427" y="123"/>
                      </a:lnTo>
                      <a:lnTo>
                        <a:pt x="427" y="123"/>
                      </a:lnTo>
                      <a:lnTo>
                        <a:pt x="427" y="123"/>
                      </a:lnTo>
                      <a:lnTo>
                        <a:pt x="427" y="123"/>
                      </a:lnTo>
                      <a:lnTo>
                        <a:pt x="427" y="123"/>
                      </a:lnTo>
                      <a:lnTo>
                        <a:pt x="427" y="122"/>
                      </a:lnTo>
                      <a:lnTo>
                        <a:pt x="428" y="122"/>
                      </a:lnTo>
                      <a:lnTo>
                        <a:pt x="429" y="122"/>
                      </a:lnTo>
                      <a:lnTo>
                        <a:pt x="429" y="122"/>
                      </a:lnTo>
                      <a:lnTo>
                        <a:pt x="430" y="122"/>
                      </a:lnTo>
                      <a:lnTo>
                        <a:pt x="430" y="122"/>
                      </a:lnTo>
                      <a:lnTo>
                        <a:pt x="431" y="122"/>
                      </a:lnTo>
                      <a:lnTo>
                        <a:pt x="431" y="122"/>
                      </a:lnTo>
                      <a:lnTo>
                        <a:pt x="431" y="121"/>
                      </a:lnTo>
                      <a:lnTo>
                        <a:pt x="431" y="122"/>
                      </a:lnTo>
                      <a:lnTo>
                        <a:pt x="431" y="121"/>
                      </a:lnTo>
                      <a:lnTo>
                        <a:pt x="432" y="121"/>
                      </a:lnTo>
                      <a:lnTo>
                        <a:pt x="433" y="122"/>
                      </a:lnTo>
                      <a:lnTo>
                        <a:pt x="432" y="122"/>
                      </a:lnTo>
                      <a:lnTo>
                        <a:pt x="433" y="122"/>
                      </a:lnTo>
                      <a:lnTo>
                        <a:pt x="432" y="121"/>
                      </a:lnTo>
                      <a:lnTo>
                        <a:pt x="431" y="121"/>
                      </a:lnTo>
                      <a:lnTo>
                        <a:pt x="431" y="121"/>
                      </a:lnTo>
                      <a:lnTo>
                        <a:pt x="431" y="120"/>
                      </a:lnTo>
                      <a:lnTo>
                        <a:pt x="431" y="120"/>
                      </a:lnTo>
                      <a:lnTo>
                        <a:pt x="431" y="120"/>
                      </a:lnTo>
                      <a:lnTo>
                        <a:pt x="431" y="120"/>
                      </a:lnTo>
                      <a:lnTo>
                        <a:pt x="431" y="120"/>
                      </a:lnTo>
                      <a:lnTo>
                        <a:pt x="431" y="120"/>
                      </a:lnTo>
                      <a:lnTo>
                        <a:pt x="431" y="120"/>
                      </a:lnTo>
                      <a:lnTo>
                        <a:pt x="430" y="120"/>
                      </a:lnTo>
                      <a:lnTo>
                        <a:pt x="430" y="120"/>
                      </a:lnTo>
                      <a:lnTo>
                        <a:pt x="429" y="120"/>
                      </a:lnTo>
                      <a:lnTo>
                        <a:pt x="429" y="120"/>
                      </a:lnTo>
                      <a:lnTo>
                        <a:pt x="429" y="120"/>
                      </a:lnTo>
                      <a:lnTo>
                        <a:pt x="428" y="120"/>
                      </a:lnTo>
                      <a:lnTo>
                        <a:pt x="427" y="120"/>
                      </a:lnTo>
                      <a:lnTo>
                        <a:pt x="427" y="121"/>
                      </a:lnTo>
                      <a:lnTo>
                        <a:pt x="427" y="121"/>
                      </a:lnTo>
                      <a:lnTo>
                        <a:pt x="427" y="122"/>
                      </a:lnTo>
                      <a:lnTo>
                        <a:pt x="426" y="122"/>
                      </a:lnTo>
                      <a:lnTo>
                        <a:pt x="426" y="121"/>
                      </a:lnTo>
                      <a:lnTo>
                        <a:pt x="425" y="121"/>
                      </a:lnTo>
                      <a:lnTo>
                        <a:pt x="424" y="121"/>
                      </a:lnTo>
                      <a:lnTo>
                        <a:pt x="424" y="121"/>
                      </a:lnTo>
                      <a:lnTo>
                        <a:pt x="424" y="122"/>
                      </a:lnTo>
                      <a:lnTo>
                        <a:pt x="424" y="121"/>
                      </a:lnTo>
                      <a:lnTo>
                        <a:pt x="423" y="121"/>
                      </a:lnTo>
                      <a:lnTo>
                        <a:pt x="423" y="121"/>
                      </a:lnTo>
                      <a:lnTo>
                        <a:pt x="423" y="122"/>
                      </a:lnTo>
                      <a:lnTo>
                        <a:pt x="422" y="122"/>
                      </a:lnTo>
                      <a:lnTo>
                        <a:pt x="422" y="122"/>
                      </a:lnTo>
                      <a:lnTo>
                        <a:pt x="422" y="122"/>
                      </a:lnTo>
                      <a:lnTo>
                        <a:pt x="422" y="122"/>
                      </a:lnTo>
                      <a:lnTo>
                        <a:pt x="421" y="121"/>
                      </a:lnTo>
                      <a:lnTo>
                        <a:pt x="420" y="120"/>
                      </a:lnTo>
                      <a:lnTo>
                        <a:pt x="420" y="120"/>
                      </a:lnTo>
                      <a:lnTo>
                        <a:pt x="420" y="119"/>
                      </a:lnTo>
                      <a:lnTo>
                        <a:pt x="421" y="119"/>
                      </a:lnTo>
                      <a:lnTo>
                        <a:pt x="422" y="119"/>
                      </a:lnTo>
                      <a:lnTo>
                        <a:pt x="422" y="119"/>
                      </a:lnTo>
                      <a:lnTo>
                        <a:pt x="423" y="119"/>
                      </a:lnTo>
                      <a:lnTo>
                        <a:pt x="423" y="118"/>
                      </a:lnTo>
                      <a:lnTo>
                        <a:pt x="423" y="118"/>
                      </a:lnTo>
                      <a:lnTo>
                        <a:pt x="424" y="117"/>
                      </a:lnTo>
                      <a:lnTo>
                        <a:pt x="424" y="116"/>
                      </a:lnTo>
                      <a:lnTo>
                        <a:pt x="424" y="116"/>
                      </a:lnTo>
                      <a:lnTo>
                        <a:pt x="425" y="116"/>
                      </a:lnTo>
                      <a:lnTo>
                        <a:pt x="426" y="116"/>
                      </a:lnTo>
                      <a:lnTo>
                        <a:pt x="426" y="116"/>
                      </a:lnTo>
                      <a:lnTo>
                        <a:pt x="427" y="116"/>
                      </a:lnTo>
                      <a:lnTo>
                        <a:pt x="427" y="116"/>
                      </a:lnTo>
                      <a:lnTo>
                        <a:pt x="428" y="116"/>
                      </a:lnTo>
                      <a:lnTo>
                        <a:pt x="429" y="116"/>
                      </a:lnTo>
                      <a:lnTo>
                        <a:pt x="428" y="116"/>
                      </a:lnTo>
                      <a:lnTo>
                        <a:pt x="429" y="116"/>
                      </a:lnTo>
                      <a:lnTo>
                        <a:pt x="429" y="117"/>
                      </a:lnTo>
                      <a:lnTo>
                        <a:pt x="430" y="117"/>
                      </a:lnTo>
                      <a:lnTo>
                        <a:pt x="430" y="118"/>
                      </a:lnTo>
                      <a:lnTo>
                        <a:pt x="430" y="118"/>
                      </a:lnTo>
                      <a:lnTo>
                        <a:pt x="431" y="118"/>
                      </a:lnTo>
                      <a:lnTo>
                        <a:pt x="431" y="118"/>
                      </a:lnTo>
                      <a:lnTo>
                        <a:pt x="431" y="118"/>
                      </a:lnTo>
                      <a:lnTo>
                        <a:pt x="432" y="118"/>
                      </a:lnTo>
                      <a:lnTo>
                        <a:pt x="433" y="118"/>
                      </a:lnTo>
                      <a:lnTo>
                        <a:pt x="433" y="118"/>
                      </a:lnTo>
                      <a:lnTo>
                        <a:pt x="433" y="118"/>
                      </a:lnTo>
                      <a:lnTo>
                        <a:pt x="433" y="118"/>
                      </a:lnTo>
                      <a:lnTo>
                        <a:pt x="433" y="118"/>
                      </a:lnTo>
                      <a:lnTo>
                        <a:pt x="433" y="118"/>
                      </a:lnTo>
                      <a:lnTo>
                        <a:pt x="433" y="118"/>
                      </a:lnTo>
                      <a:lnTo>
                        <a:pt x="433" y="118"/>
                      </a:lnTo>
                      <a:lnTo>
                        <a:pt x="433" y="118"/>
                      </a:lnTo>
                      <a:lnTo>
                        <a:pt x="433" y="118"/>
                      </a:lnTo>
                      <a:lnTo>
                        <a:pt x="433" y="117"/>
                      </a:lnTo>
                      <a:lnTo>
                        <a:pt x="433" y="116"/>
                      </a:lnTo>
                      <a:lnTo>
                        <a:pt x="434" y="116"/>
                      </a:lnTo>
                      <a:lnTo>
                        <a:pt x="434" y="116"/>
                      </a:lnTo>
                      <a:lnTo>
                        <a:pt x="434" y="116"/>
                      </a:lnTo>
                      <a:lnTo>
                        <a:pt x="435" y="116"/>
                      </a:lnTo>
                      <a:lnTo>
                        <a:pt x="436" y="116"/>
                      </a:lnTo>
                      <a:lnTo>
                        <a:pt x="437" y="116"/>
                      </a:lnTo>
                      <a:lnTo>
                        <a:pt x="437" y="116"/>
                      </a:lnTo>
                      <a:lnTo>
                        <a:pt x="437" y="116"/>
                      </a:lnTo>
                      <a:lnTo>
                        <a:pt x="436" y="116"/>
                      </a:lnTo>
                      <a:lnTo>
                        <a:pt x="436" y="117"/>
                      </a:lnTo>
                      <a:lnTo>
                        <a:pt x="436" y="116"/>
                      </a:lnTo>
                      <a:lnTo>
                        <a:pt x="435" y="116"/>
                      </a:lnTo>
                      <a:lnTo>
                        <a:pt x="435" y="117"/>
                      </a:lnTo>
                      <a:lnTo>
                        <a:pt x="435" y="117"/>
                      </a:lnTo>
                      <a:lnTo>
                        <a:pt x="434" y="117"/>
                      </a:lnTo>
                      <a:lnTo>
                        <a:pt x="434" y="117"/>
                      </a:lnTo>
                      <a:lnTo>
                        <a:pt x="434" y="118"/>
                      </a:lnTo>
                      <a:lnTo>
                        <a:pt x="434" y="118"/>
                      </a:lnTo>
                      <a:lnTo>
                        <a:pt x="434" y="118"/>
                      </a:lnTo>
                      <a:lnTo>
                        <a:pt x="434" y="119"/>
                      </a:lnTo>
                      <a:lnTo>
                        <a:pt x="435" y="119"/>
                      </a:lnTo>
                      <a:lnTo>
                        <a:pt x="434" y="119"/>
                      </a:lnTo>
                      <a:lnTo>
                        <a:pt x="435" y="119"/>
                      </a:lnTo>
                      <a:lnTo>
                        <a:pt x="435" y="119"/>
                      </a:lnTo>
                      <a:lnTo>
                        <a:pt x="436" y="119"/>
                      </a:lnTo>
                      <a:lnTo>
                        <a:pt x="436" y="120"/>
                      </a:lnTo>
                      <a:lnTo>
                        <a:pt x="437" y="120"/>
                      </a:lnTo>
                      <a:lnTo>
                        <a:pt x="437" y="120"/>
                      </a:lnTo>
                      <a:lnTo>
                        <a:pt x="437" y="120"/>
                      </a:lnTo>
                      <a:lnTo>
                        <a:pt x="438" y="120"/>
                      </a:lnTo>
                      <a:lnTo>
                        <a:pt x="438" y="120"/>
                      </a:lnTo>
                      <a:lnTo>
                        <a:pt x="439" y="120"/>
                      </a:lnTo>
                      <a:lnTo>
                        <a:pt x="439" y="120"/>
                      </a:lnTo>
                      <a:lnTo>
                        <a:pt x="439" y="121"/>
                      </a:lnTo>
                      <a:lnTo>
                        <a:pt x="439" y="120"/>
                      </a:lnTo>
                      <a:lnTo>
                        <a:pt x="439" y="121"/>
                      </a:lnTo>
                      <a:lnTo>
                        <a:pt x="439" y="120"/>
                      </a:lnTo>
                      <a:lnTo>
                        <a:pt x="439" y="121"/>
                      </a:lnTo>
                      <a:lnTo>
                        <a:pt x="440" y="121"/>
                      </a:lnTo>
                      <a:lnTo>
                        <a:pt x="441" y="121"/>
                      </a:lnTo>
                      <a:lnTo>
                        <a:pt x="441" y="121"/>
                      </a:lnTo>
                      <a:lnTo>
                        <a:pt x="442" y="121"/>
                      </a:lnTo>
                      <a:lnTo>
                        <a:pt x="442" y="121"/>
                      </a:lnTo>
                      <a:lnTo>
                        <a:pt x="443" y="121"/>
                      </a:lnTo>
                      <a:lnTo>
                        <a:pt x="444" y="121"/>
                      </a:lnTo>
                      <a:lnTo>
                        <a:pt x="445" y="121"/>
                      </a:lnTo>
                      <a:lnTo>
                        <a:pt x="445" y="121"/>
                      </a:lnTo>
                      <a:lnTo>
                        <a:pt x="446" y="121"/>
                      </a:lnTo>
                      <a:lnTo>
                        <a:pt x="446" y="121"/>
                      </a:lnTo>
                      <a:lnTo>
                        <a:pt x="448" y="120"/>
                      </a:lnTo>
                      <a:lnTo>
                        <a:pt x="448" y="120"/>
                      </a:lnTo>
                      <a:lnTo>
                        <a:pt x="448" y="120"/>
                      </a:lnTo>
                      <a:lnTo>
                        <a:pt x="448" y="119"/>
                      </a:lnTo>
                      <a:lnTo>
                        <a:pt x="448" y="119"/>
                      </a:lnTo>
                      <a:lnTo>
                        <a:pt x="448" y="119"/>
                      </a:lnTo>
                      <a:lnTo>
                        <a:pt x="448" y="118"/>
                      </a:lnTo>
                      <a:lnTo>
                        <a:pt x="447" y="118"/>
                      </a:lnTo>
                      <a:lnTo>
                        <a:pt x="447" y="118"/>
                      </a:lnTo>
                      <a:lnTo>
                        <a:pt x="447" y="117"/>
                      </a:lnTo>
                      <a:lnTo>
                        <a:pt x="447" y="116"/>
                      </a:lnTo>
                      <a:lnTo>
                        <a:pt x="447" y="117"/>
                      </a:lnTo>
                      <a:lnTo>
                        <a:pt x="448" y="117"/>
                      </a:lnTo>
                      <a:lnTo>
                        <a:pt x="448" y="118"/>
                      </a:lnTo>
                      <a:lnTo>
                        <a:pt x="448" y="118"/>
                      </a:lnTo>
                      <a:lnTo>
                        <a:pt x="449" y="118"/>
                      </a:lnTo>
                      <a:lnTo>
                        <a:pt x="449" y="118"/>
                      </a:lnTo>
                      <a:lnTo>
                        <a:pt x="449" y="119"/>
                      </a:lnTo>
                      <a:lnTo>
                        <a:pt x="450" y="119"/>
                      </a:lnTo>
                      <a:lnTo>
                        <a:pt x="450" y="119"/>
                      </a:lnTo>
                      <a:lnTo>
                        <a:pt x="450" y="120"/>
                      </a:lnTo>
                      <a:lnTo>
                        <a:pt x="450" y="120"/>
                      </a:lnTo>
                      <a:lnTo>
                        <a:pt x="451" y="120"/>
                      </a:lnTo>
                      <a:lnTo>
                        <a:pt x="451" y="121"/>
                      </a:lnTo>
                      <a:lnTo>
                        <a:pt x="452" y="121"/>
                      </a:lnTo>
                      <a:lnTo>
                        <a:pt x="452" y="122"/>
                      </a:lnTo>
                      <a:lnTo>
                        <a:pt x="452" y="122"/>
                      </a:lnTo>
                      <a:lnTo>
                        <a:pt x="452" y="122"/>
                      </a:lnTo>
                      <a:lnTo>
                        <a:pt x="452" y="123"/>
                      </a:lnTo>
                      <a:lnTo>
                        <a:pt x="452" y="123"/>
                      </a:lnTo>
                      <a:lnTo>
                        <a:pt x="452" y="123"/>
                      </a:lnTo>
                      <a:lnTo>
                        <a:pt x="452" y="123"/>
                      </a:lnTo>
                      <a:lnTo>
                        <a:pt x="452" y="123"/>
                      </a:lnTo>
                      <a:lnTo>
                        <a:pt x="451" y="123"/>
                      </a:lnTo>
                      <a:lnTo>
                        <a:pt x="450" y="123"/>
                      </a:lnTo>
                      <a:lnTo>
                        <a:pt x="450" y="124"/>
                      </a:lnTo>
                      <a:lnTo>
                        <a:pt x="450" y="125"/>
                      </a:lnTo>
                      <a:lnTo>
                        <a:pt x="450" y="125"/>
                      </a:lnTo>
                      <a:lnTo>
                        <a:pt x="450" y="125"/>
                      </a:lnTo>
                      <a:lnTo>
                        <a:pt x="449" y="125"/>
                      </a:lnTo>
                      <a:lnTo>
                        <a:pt x="450" y="125"/>
                      </a:lnTo>
                      <a:lnTo>
                        <a:pt x="449" y="125"/>
                      </a:lnTo>
                      <a:lnTo>
                        <a:pt x="449" y="125"/>
                      </a:lnTo>
                      <a:lnTo>
                        <a:pt x="449" y="125"/>
                      </a:lnTo>
                      <a:lnTo>
                        <a:pt x="448" y="125"/>
                      </a:lnTo>
                      <a:lnTo>
                        <a:pt x="449" y="125"/>
                      </a:lnTo>
                      <a:lnTo>
                        <a:pt x="449" y="125"/>
                      </a:lnTo>
                      <a:lnTo>
                        <a:pt x="449" y="125"/>
                      </a:lnTo>
                      <a:lnTo>
                        <a:pt x="450" y="125"/>
                      </a:lnTo>
                      <a:lnTo>
                        <a:pt x="450" y="125"/>
                      </a:lnTo>
                      <a:lnTo>
                        <a:pt x="450" y="126"/>
                      </a:lnTo>
                      <a:lnTo>
                        <a:pt x="451" y="126"/>
                      </a:lnTo>
                      <a:lnTo>
                        <a:pt x="451" y="126"/>
                      </a:lnTo>
                      <a:lnTo>
                        <a:pt x="452" y="126"/>
                      </a:lnTo>
                      <a:lnTo>
                        <a:pt x="452" y="126"/>
                      </a:lnTo>
                      <a:lnTo>
                        <a:pt x="453" y="126"/>
                      </a:lnTo>
                      <a:lnTo>
                        <a:pt x="453" y="127"/>
                      </a:lnTo>
                      <a:lnTo>
                        <a:pt x="453" y="127"/>
                      </a:lnTo>
                      <a:lnTo>
                        <a:pt x="453" y="128"/>
                      </a:lnTo>
                      <a:lnTo>
                        <a:pt x="452" y="128"/>
                      </a:lnTo>
                      <a:lnTo>
                        <a:pt x="452" y="129"/>
                      </a:lnTo>
                      <a:lnTo>
                        <a:pt x="452" y="128"/>
                      </a:lnTo>
                      <a:lnTo>
                        <a:pt x="452" y="128"/>
                      </a:lnTo>
                      <a:lnTo>
                        <a:pt x="451" y="128"/>
                      </a:lnTo>
                      <a:lnTo>
                        <a:pt x="450" y="128"/>
                      </a:lnTo>
                      <a:lnTo>
                        <a:pt x="450" y="128"/>
                      </a:lnTo>
                      <a:lnTo>
                        <a:pt x="449" y="128"/>
                      </a:lnTo>
                      <a:lnTo>
                        <a:pt x="449" y="128"/>
                      </a:lnTo>
                      <a:lnTo>
                        <a:pt x="448" y="128"/>
                      </a:lnTo>
                      <a:lnTo>
                        <a:pt x="448" y="129"/>
                      </a:lnTo>
                      <a:lnTo>
                        <a:pt x="449" y="129"/>
                      </a:lnTo>
                      <a:lnTo>
                        <a:pt x="448" y="129"/>
                      </a:lnTo>
                      <a:lnTo>
                        <a:pt x="448" y="128"/>
                      </a:lnTo>
                      <a:lnTo>
                        <a:pt x="449" y="128"/>
                      </a:lnTo>
                      <a:lnTo>
                        <a:pt x="449" y="128"/>
                      </a:lnTo>
                      <a:lnTo>
                        <a:pt x="449" y="128"/>
                      </a:lnTo>
                      <a:lnTo>
                        <a:pt x="449" y="128"/>
                      </a:lnTo>
                      <a:lnTo>
                        <a:pt x="450" y="128"/>
                      </a:lnTo>
                      <a:lnTo>
                        <a:pt x="450" y="129"/>
                      </a:lnTo>
                      <a:lnTo>
                        <a:pt x="450" y="128"/>
                      </a:lnTo>
                      <a:lnTo>
                        <a:pt x="450" y="129"/>
                      </a:lnTo>
                      <a:lnTo>
                        <a:pt x="450" y="128"/>
                      </a:lnTo>
                      <a:lnTo>
                        <a:pt x="451" y="128"/>
                      </a:lnTo>
                      <a:lnTo>
                        <a:pt x="451" y="129"/>
                      </a:lnTo>
                      <a:lnTo>
                        <a:pt x="451" y="128"/>
                      </a:lnTo>
                      <a:lnTo>
                        <a:pt x="451" y="129"/>
                      </a:lnTo>
                      <a:lnTo>
                        <a:pt x="450" y="129"/>
                      </a:lnTo>
                      <a:lnTo>
                        <a:pt x="451" y="129"/>
                      </a:lnTo>
                      <a:lnTo>
                        <a:pt x="452" y="129"/>
                      </a:lnTo>
                      <a:lnTo>
                        <a:pt x="452" y="129"/>
                      </a:lnTo>
                      <a:lnTo>
                        <a:pt x="453" y="129"/>
                      </a:lnTo>
                      <a:lnTo>
                        <a:pt x="453" y="129"/>
                      </a:lnTo>
                      <a:lnTo>
                        <a:pt x="452" y="129"/>
                      </a:lnTo>
                      <a:lnTo>
                        <a:pt x="453" y="130"/>
                      </a:lnTo>
                      <a:lnTo>
                        <a:pt x="453" y="130"/>
                      </a:lnTo>
                      <a:lnTo>
                        <a:pt x="453" y="130"/>
                      </a:lnTo>
                      <a:lnTo>
                        <a:pt x="453" y="131"/>
                      </a:lnTo>
                      <a:lnTo>
                        <a:pt x="452" y="131"/>
                      </a:lnTo>
                      <a:lnTo>
                        <a:pt x="452" y="132"/>
                      </a:lnTo>
                      <a:lnTo>
                        <a:pt x="452" y="133"/>
                      </a:lnTo>
                      <a:lnTo>
                        <a:pt x="452" y="133"/>
                      </a:lnTo>
                      <a:lnTo>
                        <a:pt x="452" y="133"/>
                      </a:lnTo>
                      <a:lnTo>
                        <a:pt x="451" y="133"/>
                      </a:lnTo>
                      <a:lnTo>
                        <a:pt x="452" y="133"/>
                      </a:lnTo>
                      <a:lnTo>
                        <a:pt x="452" y="134"/>
                      </a:lnTo>
                      <a:lnTo>
                        <a:pt x="452" y="133"/>
                      </a:lnTo>
                      <a:lnTo>
                        <a:pt x="452" y="134"/>
                      </a:lnTo>
                      <a:lnTo>
                        <a:pt x="451" y="134"/>
                      </a:lnTo>
                      <a:lnTo>
                        <a:pt x="450" y="134"/>
                      </a:lnTo>
                      <a:lnTo>
                        <a:pt x="450" y="134"/>
                      </a:lnTo>
                      <a:lnTo>
                        <a:pt x="450" y="134"/>
                      </a:lnTo>
                      <a:lnTo>
                        <a:pt x="451" y="133"/>
                      </a:lnTo>
                      <a:lnTo>
                        <a:pt x="450" y="134"/>
                      </a:lnTo>
                      <a:lnTo>
                        <a:pt x="450" y="134"/>
                      </a:lnTo>
                      <a:lnTo>
                        <a:pt x="450" y="134"/>
                      </a:lnTo>
                      <a:lnTo>
                        <a:pt x="449" y="134"/>
                      </a:lnTo>
                      <a:lnTo>
                        <a:pt x="450" y="134"/>
                      </a:lnTo>
                      <a:lnTo>
                        <a:pt x="449" y="134"/>
                      </a:lnTo>
                      <a:lnTo>
                        <a:pt x="450" y="134"/>
                      </a:lnTo>
                      <a:lnTo>
                        <a:pt x="450" y="135"/>
                      </a:lnTo>
                      <a:lnTo>
                        <a:pt x="450" y="135"/>
                      </a:lnTo>
                      <a:lnTo>
                        <a:pt x="450" y="136"/>
                      </a:lnTo>
                      <a:lnTo>
                        <a:pt x="450" y="136"/>
                      </a:lnTo>
                      <a:lnTo>
                        <a:pt x="451" y="137"/>
                      </a:lnTo>
                      <a:lnTo>
                        <a:pt x="452" y="137"/>
                      </a:lnTo>
                      <a:lnTo>
                        <a:pt x="452" y="137"/>
                      </a:lnTo>
                      <a:lnTo>
                        <a:pt x="453" y="137"/>
                      </a:lnTo>
                      <a:lnTo>
                        <a:pt x="452" y="137"/>
                      </a:lnTo>
                      <a:lnTo>
                        <a:pt x="453" y="137"/>
                      </a:lnTo>
                      <a:lnTo>
                        <a:pt x="453" y="137"/>
                      </a:lnTo>
                      <a:lnTo>
                        <a:pt x="453" y="137"/>
                      </a:lnTo>
                      <a:lnTo>
                        <a:pt x="453" y="137"/>
                      </a:lnTo>
                      <a:lnTo>
                        <a:pt x="453" y="138"/>
                      </a:lnTo>
                      <a:lnTo>
                        <a:pt x="454" y="138"/>
                      </a:lnTo>
                      <a:lnTo>
                        <a:pt x="455" y="138"/>
                      </a:lnTo>
                      <a:lnTo>
                        <a:pt x="455" y="138"/>
                      </a:lnTo>
                      <a:lnTo>
                        <a:pt x="456" y="138"/>
                      </a:lnTo>
                      <a:lnTo>
                        <a:pt x="456" y="138"/>
                      </a:lnTo>
                      <a:lnTo>
                        <a:pt x="457" y="138"/>
                      </a:lnTo>
                      <a:lnTo>
                        <a:pt x="457" y="138"/>
                      </a:lnTo>
                      <a:lnTo>
                        <a:pt x="457" y="138"/>
                      </a:lnTo>
                      <a:lnTo>
                        <a:pt x="458" y="138"/>
                      </a:lnTo>
                      <a:lnTo>
                        <a:pt x="458" y="139"/>
                      </a:lnTo>
                      <a:lnTo>
                        <a:pt x="458" y="138"/>
                      </a:lnTo>
                      <a:lnTo>
                        <a:pt x="457" y="138"/>
                      </a:lnTo>
                      <a:lnTo>
                        <a:pt x="457" y="138"/>
                      </a:lnTo>
                      <a:lnTo>
                        <a:pt x="457" y="138"/>
                      </a:lnTo>
                      <a:lnTo>
                        <a:pt x="457" y="138"/>
                      </a:lnTo>
                      <a:lnTo>
                        <a:pt x="457" y="138"/>
                      </a:lnTo>
                      <a:lnTo>
                        <a:pt x="457" y="138"/>
                      </a:lnTo>
                      <a:lnTo>
                        <a:pt x="457" y="138"/>
                      </a:lnTo>
                      <a:lnTo>
                        <a:pt x="458" y="138"/>
                      </a:lnTo>
                      <a:lnTo>
                        <a:pt x="457" y="138"/>
                      </a:lnTo>
                      <a:lnTo>
                        <a:pt x="457" y="138"/>
                      </a:lnTo>
                      <a:lnTo>
                        <a:pt x="457" y="138"/>
                      </a:lnTo>
                      <a:lnTo>
                        <a:pt x="456" y="138"/>
                      </a:lnTo>
                      <a:lnTo>
                        <a:pt x="457" y="138"/>
                      </a:lnTo>
                      <a:lnTo>
                        <a:pt x="456" y="138"/>
                      </a:lnTo>
                      <a:lnTo>
                        <a:pt x="456" y="138"/>
                      </a:lnTo>
                      <a:lnTo>
                        <a:pt x="455" y="138"/>
                      </a:lnTo>
                      <a:lnTo>
                        <a:pt x="455" y="138"/>
                      </a:lnTo>
                      <a:lnTo>
                        <a:pt x="455" y="137"/>
                      </a:lnTo>
                      <a:lnTo>
                        <a:pt x="454" y="137"/>
                      </a:lnTo>
                      <a:lnTo>
                        <a:pt x="453" y="137"/>
                      </a:lnTo>
                      <a:lnTo>
                        <a:pt x="453" y="137"/>
                      </a:lnTo>
                      <a:lnTo>
                        <a:pt x="453" y="137"/>
                      </a:lnTo>
                      <a:lnTo>
                        <a:pt x="453" y="137"/>
                      </a:lnTo>
                      <a:lnTo>
                        <a:pt x="452" y="137"/>
                      </a:lnTo>
                      <a:lnTo>
                        <a:pt x="452" y="137"/>
                      </a:lnTo>
                      <a:lnTo>
                        <a:pt x="452" y="136"/>
                      </a:lnTo>
                      <a:lnTo>
                        <a:pt x="451" y="136"/>
                      </a:lnTo>
                      <a:lnTo>
                        <a:pt x="450" y="136"/>
                      </a:lnTo>
                      <a:lnTo>
                        <a:pt x="450" y="135"/>
                      </a:lnTo>
                      <a:lnTo>
                        <a:pt x="451" y="135"/>
                      </a:lnTo>
                      <a:lnTo>
                        <a:pt x="451" y="135"/>
                      </a:lnTo>
                      <a:lnTo>
                        <a:pt x="450" y="135"/>
                      </a:lnTo>
                      <a:lnTo>
                        <a:pt x="450" y="135"/>
                      </a:lnTo>
                      <a:lnTo>
                        <a:pt x="450" y="134"/>
                      </a:lnTo>
                      <a:lnTo>
                        <a:pt x="450" y="134"/>
                      </a:lnTo>
                      <a:lnTo>
                        <a:pt x="450" y="134"/>
                      </a:lnTo>
                      <a:lnTo>
                        <a:pt x="450" y="134"/>
                      </a:lnTo>
                      <a:lnTo>
                        <a:pt x="450" y="134"/>
                      </a:lnTo>
                      <a:lnTo>
                        <a:pt x="450" y="134"/>
                      </a:lnTo>
                      <a:lnTo>
                        <a:pt x="451" y="134"/>
                      </a:lnTo>
                      <a:lnTo>
                        <a:pt x="452" y="134"/>
                      </a:lnTo>
                      <a:lnTo>
                        <a:pt x="452" y="133"/>
                      </a:lnTo>
                      <a:lnTo>
                        <a:pt x="452" y="133"/>
                      </a:lnTo>
                      <a:lnTo>
                        <a:pt x="453" y="133"/>
                      </a:lnTo>
                      <a:lnTo>
                        <a:pt x="453" y="133"/>
                      </a:lnTo>
                      <a:lnTo>
                        <a:pt x="453" y="133"/>
                      </a:lnTo>
                      <a:lnTo>
                        <a:pt x="453" y="133"/>
                      </a:lnTo>
                      <a:lnTo>
                        <a:pt x="453" y="133"/>
                      </a:lnTo>
                      <a:lnTo>
                        <a:pt x="453" y="133"/>
                      </a:lnTo>
                      <a:lnTo>
                        <a:pt x="453" y="132"/>
                      </a:lnTo>
                      <a:lnTo>
                        <a:pt x="453" y="131"/>
                      </a:lnTo>
                      <a:lnTo>
                        <a:pt x="453" y="131"/>
                      </a:lnTo>
                      <a:lnTo>
                        <a:pt x="453" y="130"/>
                      </a:lnTo>
                      <a:lnTo>
                        <a:pt x="453" y="130"/>
                      </a:lnTo>
                      <a:lnTo>
                        <a:pt x="453" y="130"/>
                      </a:lnTo>
                      <a:lnTo>
                        <a:pt x="453" y="130"/>
                      </a:lnTo>
                      <a:lnTo>
                        <a:pt x="453" y="130"/>
                      </a:lnTo>
                      <a:lnTo>
                        <a:pt x="453" y="129"/>
                      </a:lnTo>
                      <a:lnTo>
                        <a:pt x="453" y="130"/>
                      </a:lnTo>
                      <a:lnTo>
                        <a:pt x="454" y="130"/>
                      </a:lnTo>
                      <a:lnTo>
                        <a:pt x="454" y="130"/>
                      </a:lnTo>
                      <a:lnTo>
                        <a:pt x="454" y="130"/>
                      </a:lnTo>
                      <a:lnTo>
                        <a:pt x="455" y="130"/>
                      </a:lnTo>
                      <a:lnTo>
                        <a:pt x="455" y="130"/>
                      </a:lnTo>
                      <a:lnTo>
                        <a:pt x="455" y="130"/>
                      </a:lnTo>
                      <a:lnTo>
                        <a:pt x="455" y="131"/>
                      </a:lnTo>
                      <a:lnTo>
                        <a:pt x="454" y="131"/>
                      </a:lnTo>
                      <a:lnTo>
                        <a:pt x="454" y="131"/>
                      </a:lnTo>
                      <a:lnTo>
                        <a:pt x="453" y="131"/>
                      </a:lnTo>
                      <a:lnTo>
                        <a:pt x="454" y="131"/>
                      </a:lnTo>
                      <a:lnTo>
                        <a:pt x="455" y="131"/>
                      </a:lnTo>
                      <a:lnTo>
                        <a:pt x="455" y="131"/>
                      </a:lnTo>
                      <a:lnTo>
                        <a:pt x="455" y="131"/>
                      </a:lnTo>
                      <a:lnTo>
                        <a:pt x="455" y="131"/>
                      </a:lnTo>
                      <a:lnTo>
                        <a:pt x="455" y="131"/>
                      </a:lnTo>
                      <a:lnTo>
                        <a:pt x="455" y="130"/>
                      </a:lnTo>
                      <a:lnTo>
                        <a:pt x="455" y="130"/>
                      </a:lnTo>
                      <a:lnTo>
                        <a:pt x="455" y="130"/>
                      </a:lnTo>
                      <a:lnTo>
                        <a:pt x="455" y="130"/>
                      </a:lnTo>
                      <a:lnTo>
                        <a:pt x="454" y="130"/>
                      </a:lnTo>
                      <a:lnTo>
                        <a:pt x="454" y="130"/>
                      </a:lnTo>
                      <a:lnTo>
                        <a:pt x="454" y="130"/>
                      </a:lnTo>
                      <a:lnTo>
                        <a:pt x="453" y="130"/>
                      </a:lnTo>
                      <a:lnTo>
                        <a:pt x="453" y="129"/>
                      </a:lnTo>
                      <a:lnTo>
                        <a:pt x="453" y="129"/>
                      </a:lnTo>
                      <a:lnTo>
                        <a:pt x="453" y="128"/>
                      </a:lnTo>
                      <a:lnTo>
                        <a:pt x="453" y="128"/>
                      </a:lnTo>
                      <a:lnTo>
                        <a:pt x="454" y="128"/>
                      </a:lnTo>
                      <a:lnTo>
                        <a:pt x="454" y="127"/>
                      </a:lnTo>
                      <a:lnTo>
                        <a:pt x="455" y="127"/>
                      </a:lnTo>
                      <a:lnTo>
                        <a:pt x="455" y="127"/>
                      </a:lnTo>
                      <a:lnTo>
                        <a:pt x="456" y="127"/>
                      </a:lnTo>
                      <a:lnTo>
                        <a:pt x="456" y="127"/>
                      </a:lnTo>
                      <a:lnTo>
                        <a:pt x="457" y="127"/>
                      </a:lnTo>
                      <a:lnTo>
                        <a:pt x="457" y="127"/>
                      </a:lnTo>
                      <a:lnTo>
                        <a:pt x="458" y="127"/>
                      </a:lnTo>
                      <a:lnTo>
                        <a:pt x="457" y="127"/>
                      </a:lnTo>
                      <a:lnTo>
                        <a:pt x="457" y="128"/>
                      </a:lnTo>
                      <a:lnTo>
                        <a:pt x="457" y="127"/>
                      </a:lnTo>
                      <a:lnTo>
                        <a:pt x="458" y="127"/>
                      </a:lnTo>
                      <a:lnTo>
                        <a:pt x="458" y="127"/>
                      </a:lnTo>
                      <a:lnTo>
                        <a:pt x="458" y="127"/>
                      </a:lnTo>
                      <a:lnTo>
                        <a:pt x="459" y="127"/>
                      </a:lnTo>
                      <a:lnTo>
                        <a:pt x="459" y="128"/>
                      </a:lnTo>
                      <a:lnTo>
                        <a:pt x="459" y="129"/>
                      </a:lnTo>
                      <a:lnTo>
                        <a:pt x="460" y="129"/>
                      </a:lnTo>
                      <a:lnTo>
                        <a:pt x="460" y="129"/>
                      </a:lnTo>
                      <a:lnTo>
                        <a:pt x="460" y="129"/>
                      </a:lnTo>
                      <a:lnTo>
                        <a:pt x="460" y="129"/>
                      </a:lnTo>
                      <a:lnTo>
                        <a:pt x="460" y="129"/>
                      </a:lnTo>
                      <a:lnTo>
                        <a:pt x="460" y="129"/>
                      </a:lnTo>
                      <a:lnTo>
                        <a:pt x="461" y="129"/>
                      </a:lnTo>
                      <a:lnTo>
                        <a:pt x="460" y="129"/>
                      </a:lnTo>
                      <a:lnTo>
                        <a:pt x="460" y="129"/>
                      </a:lnTo>
                      <a:lnTo>
                        <a:pt x="460" y="129"/>
                      </a:lnTo>
                      <a:lnTo>
                        <a:pt x="461" y="129"/>
                      </a:lnTo>
                      <a:lnTo>
                        <a:pt x="461" y="129"/>
                      </a:lnTo>
                      <a:lnTo>
                        <a:pt x="462" y="129"/>
                      </a:lnTo>
                      <a:lnTo>
                        <a:pt x="463" y="129"/>
                      </a:lnTo>
                      <a:lnTo>
                        <a:pt x="463" y="130"/>
                      </a:lnTo>
                      <a:lnTo>
                        <a:pt x="463" y="130"/>
                      </a:lnTo>
                      <a:lnTo>
                        <a:pt x="463" y="130"/>
                      </a:lnTo>
                      <a:lnTo>
                        <a:pt x="463" y="131"/>
                      </a:lnTo>
                      <a:lnTo>
                        <a:pt x="463" y="131"/>
                      </a:lnTo>
                      <a:lnTo>
                        <a:pt x="463" y="132"/>
                      </a:lnTo>
                      <a:lnTo>
                        <a:pt x="464" y="132"/>
                      </a:lnTo>
                      <a:lnTo>
                        <a:pt x="464" y="133"/>
                      </a:lnTo>
                      <a:lnTo>
                        <a:pt x="464" y="133"/>
                      </a:lnTo>
                      <a:lnTo>
                        <a:pt x="465" y="133"/>
                      </a:lnTo>
                      <a:lnTo>
                        <a:pt x="465" y="132"/>
                      </a:lnTo>
                      <a:lnTo>
                        <a:pt x="466" y="132"/>
                      </a:lnTo>
                      <a:lnTo>
                        <a:pt x="466" y="133"/>
                      </a:lnTo>
                      <a:lnTo>
                        <a:pt x="467" y="133"/>
                      </a:lnTo>
                      <a:lnTo>
                        <a:pt x="467" y="132"/>
                      </a:lnTo>
                      <a:lnTo>
                        <a:pt x="467" y="132"/>
                      </a:lnTo>
                      <a:lnTo>
                        <a:pt x="468" y="132"/>
                      </a:lnTo>
                      <a:lnTo>
                        <a:pt x="468" y="133"/>
                      </a:lnTo>
                      <a:lnTo>
                        <a:pt x="468" y="133"/>
                      </a:lnTo>
                      <a:lnTo>
                        <a:pt x="468" y="133"/>
                      </a:lnTo>
                      <a:lnTo>
                        <a:pt x="468" y="133"/>
                      </a:lnTo>
                      <a:lnTo>
                        <a:pt x="468" y="133"/>
                      </a:lnTo>
                      <a:lnTo>
                        <a:pt x="469" y="133"/>
                      </a:lnTo>
                      <a:lnTo>
                        <a:pt x="470" y="133"/>
                      </a:lnTo>
                      <a:lnTo>
                        <a:pt x="470" y="133"/>
                      </a:lnTo>
                      <a:lnTo>
                        <a:pt x="471" y="133"/>
                      </a:lnTo>
                      <a:lnTo>
                        <a:pt x="470" y="133"/>
                      </a:lnTo>
                      <a:lnTo>
                        <a:pt x="471" y="133"/>
                      </a:lnTo>
                      <a:lnTo>
                        <a:pt x="471" y="133"/>
                      </a:lnTo>
                      <a:lnTo>
                        <a:pt x="472" y="133"/>
                      </a:lnTo>
                      <a:lnTo>
                        <a:pt x="472" y="133"/>
                      </a:lnTo>
                      <a:lnTo>
                        <a:pt x="472" y="133"/>
                      </a:lnTo>
                      <a:lnTo>
                        <a:pt x="472" y="134"/>
                      </a:lnTo>
                      <a:lnTo>
                        <a:pt x="472" y="134"/>
                      </a:lnTo>
                      <a:lnTo>
                        <a:pt x="473" y="134"/>
                      </a:lnTo>
                      <a:lnTo>
                        <a:pt x="474" y="134"/>
                      </a:lnTo>
                      <a:lnTo>
                        <a:pt x="473" y="134"/>
                      </a:lnTo>
                      <a:lnTo>
                        <a:pt x="474" y="134"/>
                      </a:lnTo>
                      <a:lnTo>
                        <a:pt x="474" y="134"/>
                      </a:lnTo>
                      <a:lnTo>
                        <a:pt x="475" y="134"/>
                      </a:lnTo>
                      <a:lnTo>
                        <a:pt x="475" y="134"/>
                      </a:lnTo>
                      <a:lnTo>
                        <a:pt x="475" y="134"/>
                      </a:lnTo>
                      <a:lnTo>
                        <a:pt x="474" y="134"/>
                      </a:lnTo>
                      <a:lnTo>
                        <a:pt x="474" y="134"/>
                      </a:lnTo>
                      <a:lnTo>
                        <a:pt x="473" y="134"/>
                      </a:lnTo>
                      <a:lnTo>
                        <a:pt x="472" y="134"/>
                      </a:lnTo>
                      <a:lnTo>
                        <a:pt x="472" y="134"/>
                      </a:lnTo>
                      <a:lnTo>
                        <a:pt x="472" y="133"/>
                      </a:lnTo>
                      <a:lnTo>
                        <a:pt x="472" y="133"/>
                      </a:lnTo>
                      <a:lnTo>
                        <a:pt x="472" y="133"/>
                      </a:lnTo>
                      <a:lnTo>
                        <a:pt x="471" y="133"/>
                      </a:lnTo>
                      <a:lnTo>
                        <a:pt x="471" y="133"/>
                      </a:lnTo>
                      <a:lnTo>
                        <a:pt x="470" y="133"/>
                      </a:lnTo>
                      <a:lnTo>
                        <a:pt x="471" y="133"/>
                      </a:lnTo>
                      <a:lnTo>
                        <a:pt x="470" y="133"/>
                      </a:lnTo>
                      <a:lnTo>
                        <a:pt x="470" y="133"/>
                      </a:lnTo>
                      <a:lnTo>
                        <a:pt x="469" y="133"/>
                      </a:lnTo>
                      <a:lnTo>
                        <a:pt x="468" y="133"/>
                      </a:lnTo>
                      <a:lnTo>
                        <a:pt x="468" y="133"/>
                      </a:lnTo>
                      <a:lnTo>
                        <a:pt x="468" y="133"/>
                      </a:lnTo>
                      <a:lnTo>
                        <a:pt x="468" y="132"/>
                      </a:lnTo>
                      <a:lnTo>
                        <a:pt x="467" y="132"/>
                      </a:lnTo>
                      <a:lnTo>
                        <a:pt x="467" y="132"/>
                      </a:lnTo>
                      <a:lnTo>
                        <a:pt x="466" y="132"/>
                      </a:lnTo>
                      <a:lnTo>
                        <a:pt x="467" y="133"/>
                      </a:lnTo>
                      <a:lnTo>
                        <a:pt x="466" y="133"/>
                      </a:lnTo>
                      <a:lnTo>
                        <a:pt x="466" y="132"/>
                      </a:lnTo>
                      <a:lnTo>
                        <a:pt x="465" y="132"/>
                      </a:lnTo>
                      <a:lnTo>
                        <a:pt x="465" y="132"/>
                      </a:lnTo>
                      <a:lnTo>
                        <a:pt x="465" y="133"/>
                      </a:lnTo>
                      <a:lnTo>
                        <a:pt x="464" y="133"/>
                      </a:lnTo>
                      <a:lnTo>
                        <a:pt x="464" y="132"/>
                      </a:lnTo>
                      <a:lnTo>
                        <a:pt x="464" y="132"/>
                      </a:lnTo>
                      <a:lnTo>
                        <a:pt x="463" y="132"/>
                      </a:lnTo>
                      <a:lnTo>
                        <a:pt x="463" y="131"/>
                      </a:lnTo>
                      <a:lnTo>
                        <a:pt x="463" y="131"/>
                      </a:lnTo>
                      <a:lnTo>
                        <a:pt x="463" y="131"/>
                      </a:lnTo>
                      <a:lnTo>
                        <a:pt x="463" y="131"/>
                      </a:lnTo>
                      <a:lnTo>
                        <a:pt x="463" y="130"/>
                      </a:lnTo>
                      <a:lnTo>
                        <a:pt x="464" y="131"/>
                      </a:lnTo>
                      <a:lnTo>
                        <a:pt x="464" y="131"/>
                      </a:lnTo>
                      <a:lnTo>
                        <a:pt x="464" y="131"/>
                      </a:lnTo>
                      <a:lnTo>
                        <a:pt x="464" y="130"/>
                      </a:lnTo>
                      <a:lnTo>
                        <a:pt x="463" y="130"/>
                      </a:lnTo>
                      <a:lnTo>
                        <a:pt x="463" y="130"/>
                      </a:lnTo>
                      <a:lnTo>
                        <a:pt x="463" y="129"/>
                      </a:lnTo>
                      <a:lnTo>
                        <a:pt x="463" y="129"/>
                      </a:lnTo>
                      <a:lnTo>
                        <a:pt x="462" y="129"/>
                      </a:lnTo>
                      <a:lnTo>
                        <a:pt x="461" y="129"/>
                      </a:lnTo>
                      <a:lnTo>
                        <a:pt x="461" y="129"/>
                      </a:lnTo>
                      <a:lnTo>
                        <a:pt x="460" y="129"/>
                      </a:lnTo>
                      <a:lnTo>
                        <a:pt x="460" y="129"/>
                      </a:lnTo>
                      <a:lnTo>
                        <a:pt x="460" y="129"/>
                      </a:lnTo>
                      <a:lnTo>
                        <a:pt x="459" y="129"/>
                      </a:lnTo>
                      <a:lnTo>
                        <a:pt x="460" y="129"/>
                      </a:lnTo>
                      <a:lnTo>
                        <a:pt x="459" y="128"/>
                      </a:lnTo>
                      <a:lnTo>
                        <a:pt x="459" y="128"/>
                      </a:lnTo>
                      <a:lnTo>
                        <a:pt x="459" y="127"/>
                      </a:lnTo>
                      <a:lnTo>
                        <a:pt x="459" y="127"/>
                      </a:lnTo>
                      <a:lnTo>
                        <a:pt x="459" y="127"/>
                      </a:lnTo>
                      <a:lnTo>
                        <a:pt x="459" y="127"/>
                      </a:lnTo>
                      <a:lnTo>
                        <a:pt x="458" y="127"/>
                      </a:lnTo>
                      <a:lnTo>
                        <a:pt x="457" y="127"/>
                      </a:lnTo>
                      <a:lnTo>
                        <a:pt x="457" y="126"/>
                      </a:lnTo>
                      <a:lnTo>
                        <a:pt x="457" y="127"/>
                      </a:lnTo>
                      <a:lnTo>
                        <a:pt x="458" y="127"/>
                      </a:lnTo>
                      <a:lnTo>
                        <a:pt x="457" y="127"/>
                      </a:lnTo>
                      <a:lnTo>
                        <a:pt x="457" y="126"/>
                      </a:lnTo>
                      <a:lnTo>
                        <a:pt x="457" y="126"/>
                      </a:lnTo>
                      <a:lnTo>
                        <a:pt x="456" y="126"/>
                      </a:lnTo>
                      <a:lnTo>
                        <a:pt x="456" y="127"/>
                      </a:lnTo>
                      <a:lnTo>
                        <a:pt x="455" y="127"/>
                      </a:lnTo>
                      <a:lnTo>
                        <a:pt x="455" y="126"/>
                      </a:lnTo>
                      <a:lnTo>
                        <a:pt x="455" y="126"/>
                      </a:lnTo>
                      <a:lnTo>
                        <a:pt x="454" y="126"/>
                      </a:lnTo>
                      <a:lnTo>
                        <a:pt x="453" y="126"/>
                      </a:lnTo>
                      <a:lnTo>
                        <a:pt x="453" y="125"/>
                      </a:lnTo>
                      <a:lnTo>
                        <a:pt x="453" y="125"/>
                      </a:lnTo>
                      <a:lnTo>
                        <a:pt x="453" y="125"/>
                      </a:lnTo>
                      <a:lnTo>
                        <a:pt x="453" y="124"/>
                      </a:lnTo>
                      <a:lnTo>
                        <a:pt x="452" y="124"/>
                      </a:lnTo>
                      <a:lnTo>
                        <a:pt x="453" y="124"/>
                      </a:lnTo>
                      <a:lnTo>
                        <a:pt x="454" y="124"/>
                      </a:lnTo>
                      <a:lnTo>
                        <a:pt x="455" y="124"/>
                      </a:lnTo>
                      <a:lnTo>
                        <a:pt x="455" y="123"/>
                      </a:lnTo>
                      <a:lnTo>
                        <a:pt x="456" y="123"/>
                      </a:lnTo>
                      <a:lnTo>
                        <a:pt x="456" y="123"/>
                      </a:lnTo>
                      <a:lnTo>
                        <a:pt x="457" y="123"/>
                      </a:lnTo>
                      <a:lnTo>
                        <a:pt x="456" y="123"/>
                      </a:lnTo>
                      <a:lnTo>
                        <a:pt x="457" y="123"/>
                      </a:lnTo>
                      <a:lnTo>
                        <a:pt x="457" y="123"/>
                      </a:lnTo>
                      <a:lnTo>
                        <a:pt x="458" y="123"/>
                      </a:lnTo>
                      <a:lnTo>
                        <a:pt x="459" y="123"/>
                      </a:lnTo>
                      <a:lnTo>
                        <a:pt x="459" y="123"/>
                      </a:lnTo>
                      <a:lnTo>
                        <a:pt x="460" y="123"/>
                      </a:lnTo>
                      <a:lnTo>
                        <a:pt x="460" y="123"/>
                      </a:lnTo>
                      <a:lnTo>
                        <a:pt x="461" y="123"/>
                      </a:lnTo>
                      <a:lnTo>
                        <a:pt x="460" y="123"/>
                      </a:lnTo>
                      <a:lnTo>
                        <a:pt x="461" y="123"/>
                      </a:lnTo>
                      <a:lnTo>
                        <a:pt x="461" y="123"/>
                      </a:lnTo>
                      <a:lnTo>
                        <a:pt x="462" y="123"/>
                      </a:lnTo>
                      <a:lnTo>
                        <a:pt x="463" y="123"/>
                      </a:lnTo>
                      <a:lnTo>
                        <a:pt x="464" y="123"/>
                      </a:lnTo>
                      <a:lnTo>
                        <a:pt x="464" y="122"/>
                      </a:lnTo>
                      <a:lnTo>
                        <a:pt x="464" y="123"/>
                      </a:lnTo>
                      <a:lnTo>
                        <a:pt x="464" y="122"/>
                      </a:lnTo>
                      <a:lnTo>
                        <a:pt x="464" y="122"/>
                      </a:lnTo>
                      <a:lnTo>
                        <a:pt x="464" y="122"/>
                      </a:lnTo>
                      <a:lnTo>
                        <a:pt x="465" y="122"/>
                      </a:lnTo>
                      <a:lnTo>
                        <a:pt x="465" y="123"/>
                      </a:lnTo>
                      <a:lnTo>
                        <a:pt x="465" y="123"/>
                      </a:lnTo>
                      <a:lnTo>
                        <a:pt x="465" y="122"/>
                      </a:lnTo>
                      <a:lnTo>
                        <a:pt x="465" y="123"/>
                      </a:lnTo>
                      <a:lnTo>
                        <a:pt x="466" y="123"/>
                      </a:lnTo>
                      <a:lnTo>
                        <a:pt x="466" y="122"/>
                      </a:lnTo>
                      <a:lnTo>
                        <a:pt x="465" y="122"/>
                      </a:lnTo>
                      <a:lnTo>
                        <a:pt x="465" y="122"/>
                      </a:lnTo>
                      <a:lnTo>
                        <a:pt x="465" y="123"/>
                      </a:lnTo>
                      <a:lnTo>
                        <a:pt x="465" y="122"/>
                      </a:lnTo>
                      <a:lnTo>
                        <a:pt x="464" y="122"/>
                      </a:lnTo>
                      <a:lnTo>
                        <a:pt x="465" y="122"/>
                      </a:lnTo>
                      <a:lnTo>
                        <a:pt x="465" y="122"/>
                      </a:lnTo>
                      <a:lnTo>
                        <a:pt x="465" y="122"/>
                      </a:lnTo>
                      <a:lnTo>
                        <a:pt x="466" y="122"/>
                      </a:lnTo>
                      <a:lnTo>
                        <a:pt x="467" y="122"/>
                      </a:lnTo>
                      <a:lnTo>
                        <a:pt x="466" y="122"/>
                      </a:lnTo>
                      <a:lnTo>
                        <a:pt x="466" y="122"/>
                      </a:lnTo>
                      <a:lnTo>
                        <a:pt x="467" y="122"/>
                      </a:lnTo>
                      <a:lnTo>
                        <a:pt x="467" y="121"/>
                      </a:lnTo>
                      <a:lnTo>
                        <a:pt x="466" y="121"/>
                      </a:lnTo>
                      <a:lnTo>
                        <a:pt x="467" y="121"/>
                      </a:lnTo>
                      <a:lnTo>
                        <a:pt x="468" y="121"/>
                      </a:lnTo>
                      <a:lnTo>
                        <a:pt x="468" y="122"/>
                      </a:lnTo>
                      <a:lnTo>
                        <a:pt x="468" y="121"/>
                      </a:lnTo>
                      <a:lnTo>
                        <a:pt x="467" y="121"/>
                      </a:lnTo>
                      <a:lnTo>
                        <a:pt x="468" y="121"/>
                      </a:lnTo>
                      <a:lnTo>
                        <a:pt x="468" y="121"/>
                      </a:lnTo>
                      <a:lnTo>
                        <a:pt x="469" y="121"/>
                      </a:lnTo>
                      <a:lnTo>
                        <a:pt x="470" y="121"/>
                      </a:lnTo>
                      <a:lnTo>
                        <a:pt x="470" y="121"/>
                      </a:lnTo>
                      <a:lnTo>
                        <a:pt x="471" y="121"/>
                      </a:lnTo>
                      <a:lnTo>
                        <a:pt x="470" y="121"/>
                      </a:lnTo>
                      <a:lnTo>
                        <a:pt x="470" y="122"/>
                      </a:lnTo>
                      <a:lnTo>
                        <a:pt x="470" y="121"/>
                      </a:lnTo>
                      <a:lnTo>
                        <a:pt x="471" y="121"/>
                      </a:lnTo>
                      <a:lnTo>
                        <a:pt x="471" y="121"/>
                      </a:lnTo>
                      <a:lnTo>
                        <a:pt x="472" y="121"/>
                      </a:lnTo>
                      <a:lnTo>
                        <a:pt x="472" y="121"/>
                      </a:lnTo>
                      <a:lnTo>
                        <a:pt x="472" y="122"/>
                      </a:lnTo>
                      <a:lnTo>
                        <a:pt x="473" y="122"/>
                      </a:lnTo>
                      <a:lnTo>
                        <a:pt x="474" y="122"/>
                      </a:lnTo>
                      <a:lnTo>
                        <a:pt x="474" y="122"/>
                      </a:lnTo>
                      <a:lnTo>
                        <a:pt x="475" y="122"/>
                      </a:lnTo>
                      <a:lnTo>
                        <a:pt x="475" y="122"/>
                      </a:lnTo>
                      <a:lnTo>
                        <a:pt x="476" y="122"/>
                      </a:lnTo>
                      <a:lnTo>
                        <a:pt x="476" y="122"/>
                      </a:lnTo>
                      <a:lnTo>
                        <a:pt x="476" y="122"/>
                      </a:lnTo>
                      <a:lnTo>
                        <a:pt x="476" y="122"/>
                      </a:lnTo>
                      <a:lnTo>
                        <a:pt x="476" y="122"/>
                      </a:lnTo>
                      <a:lnTo>
                        <a:pt x="476" y="122"/>
                      </a:lnTo>
                      <a:lnTo>
                        <a:pt x="477" y="122"/>
                      </a:lnTo>
                      <a:lnTo>
                        <a:pt x="478" y="122"/>
                      </a:lnTo>
                      <a:lnTo>
                        <a:pt x="478" y="122"/>
                      </a:lnTo>
                      <a:lnTo>
                        <a:pt x="479" y="122"/>
                      </a:lnTo>
                      <a:lnTo>
                        <a:pt x="478" y="122"/>
                      </a:lnTo>
                      <a:lnTo>
                        <a:pt x="479" y="122"/>
                      </a:lnTo>
                      <a:lnTo>
                        <a:pt x="479" y="122"/>
                      </a:lnTo>
                      <a:lnTo>
                        <a:pt x="480" y="122"/>
                      </a:lnTo>
                      <a:lnTo>
                        <a:pt x="481" y="122"/>
                      </a:lnTo>
                      <a:lnTo>
                        <a:pt x="481" y="122"/>
                      </a:lnTo>
                      <a:lnTo>
                        <a:pt x="482" y="123"/>
                      </a:lnTo>
                      <a:lnTo>
                        <a:pt x="482" y="123"/>
                      </a:lnTo>
                      <a:lnTo>
                        <a:pt x="483" y="123"/>
                      </a:lnTo>
                      <a:lnTo>
                        <a:pt x="483" y="123"/>
                      </a:lnTo>
                      <a:lnTo>
                        <a:pt x="484" y="123"/>
                      </a:lnTo>
                      <a:lnTo>
                        <a:pt x="485" y="123"/>
                      </a:lnTo>
                      <a:lnTo>
                        <a:pt x="485" y="123"/>
                      </a:lnTo>
                      <a:lnTo>
                        <a:pt x="485" y="123"/>
                      </a:lnTo>
                      <a:lnTo>
                        <a:pt x="485" y="123"/>
                      </a:lnTo>
                      <a:lnTo>
                        <a:pt x="484" y="123"/>
                      </a:lnTo>
                      <a:lnTo>
                        <a:pt x="485" y="123"/>
                      </a:lnTo>
                      <a:lnTo>
                        <a:pt x="485" y="123"/>
                      </a:lnTo>
                      <a:lnTo>
                        <a:pt x="486" y="123"/>
                      </a:lnTo>
                      <a:lnTo>
                        <a:pt x="486" y="123"/>
                      </a:lnTo>
                      <a:lnTo>
                        <a:pt x="486" y="123"/>
                      </a:lnTo>
                      <a:lnTo>
                        <a:pt x="486" y="123"/>
                      </a:lnTo>
                      <a:lnTo>
                        <a:pt x="487" y="123"/>
                      </a:lnTo>
                      <a:lnTo>
                        <a:pt x="487" y="123"/>
                      </a:lnTo>
                      <a:lnTo>
                        <a:pt x="488" y="123"/>
                      </a:lnTo>
                      <a:lnTo>
                        <a:pt x="488" y="123"/>
                      </a:lnTo>
                      <a:lnTo>
                        <a:pt x="489" y="123"/>
                      </a:lnTo>
                      <a:lnTo>
                        <a:pt x="489" y="123"/>
                      </a:lnTo>
                      <a:lnTo>
                        <a:pt x="490" y="123"/>
                      </a:lnTo>
                      <a:lnTo>
                        <a:pt x="490" y="123"/>
                      </a:lnTo>
                      <a:lnTo>
                        <a:pt x="491" y="123"/>
                      </a:lnTo>
                      <a:lnTo>
                        <a:pt x="491" y="123"/>
                      </a:lnTo>
                      <a:lnTo>
                        <a:pt x="492" y="123"/>
                      </a:lnTo>
                      <a:lnTo>
                        <a:pt x="493" y="123"/>
                      </a:lnTo>
                      <a:lnTo>
                        <a:pt x="493" y="123"/>
                      </a:lnTo>
                      <a:lnTo>
                        <a:pt x="494" y="123"/>
                      </a:lnTo>
                      <a:lnTo>
                        <a:pt x="494" y="123"/>
                      </a:lnTo>
                      <a:lnTo>
                        <a:pt x="495" y="124"/>
                      </a:lnTo>
                      <a:lnTo>
                        <a:pt x="496" y="124"/>
                      </a:lnTo>
                      <a:lnTo>
                        <a:pt x="495" y="124"/>
                      </a:lnTo>
                      <a:lnTo>
                        <a:pt x="496" y="124"/>
                      </a:lnTo>
                      <a:lnTo>
                        <a:pt x="496" y="124"/>
                      </a:lnTo>
                      <a:lnTo>
                        <a:pt x="496" y="125"/>
                      </a:lnTo>
                      <a:lnTo>
                        <a:pt x="497" y="125"/>
                      </a:lnTo>
                      <a:lnTo>
                        <a:pt x="496" y="125"/>
                      </a:lnTo>
                      <a:lnTo>
                        <a:pt x="496" y="125"/>
                      </a:lnTo>
                      <a:lnTo>
                        <a:pt x="495" y="125"/>
                      </a:lnTo>
                      <a:lnTo>
                        <a:pt x="496" y="125"/>
                      </a:lnTo>
                      <a:lnTo>
                        <a:pt x="496" y="125"/>
                      </a:lnTo>
                      <a:lnTo>
                        <a:pt x="496" y="125"/>
                      </a:lnTo>
                      <a:lnTo>
                        <a:pt x="496" y="125"/>
                      </a:lnTo>
                      <a:lnTo>
                        <a:pt x="496" y="125"/>
                      </a:lnTo>
                      <a:lnTo>
                        <a:pt x="495" y="125"/>
                      </a:lnTo>
                      <a:lnTo>
                        <a:pt x="496" y="125"/>
                      </a:lnTo>
                      <a:lnTo>
                        <a:pt x="495" y="125"/>
                      </a:lnTo>
                      <a:lnTo>
                        <a:pt x="496" y="125"/>
                      </a:lnTo>
                      <a:lnTo>
                        <a:pt x="495" y="125"/>
                      </a:lnTo>
                      <a:lnTo>
                        <a:pt x="496" y="125"/>
                      </a:lnTo>
                      <a:lnTo>
                        <a:pt x="496" y="125"/>
                      </a:lnTo>
                      <a:lnTo>
                        <a:pt x="496" y="125"/>
                      </a:lnTo>
                      <a:lnTo>
                        <a:pt x="495" y="125"/>
                      </a:lnTo>
                      <a:lnTo>
                        <a:pt x="495" y="125"/>
                      </a:lnTo>
                      <a:lnTo>
                        <a:pt x="495" y="125"/>
                      </a:lnTo>
                      <a:lnTo>
                        <a:pt x="495" y="125"/>
                      </a:lnTo>
                      <a:lnTo>
                        <a:pt x="495" y="125"/>
                      </a:lnTo>
                      <a:lnTo>
                        <a:pt x="494" y="125"/>
                      </a:lnTo>
                      <a:lnTo>
                        <a:pt x="494" y="125"/>
                      </a:lnTo>
                      <a:lnTo>
                        <a:pt x="494" y="125"/>
                      </a:lnTo>
                      <a:lnTo>
                        <a:pt x="494" y="125"/>
                      </a:lnTo>
                      <a:lnTo>
                        <a:pt x="494" y="125"/>
                      </a:lnTo>
                      <a:lnTo>
                        <a:pt x="494" y="125"/>
                      </a:lnTo>
                      <a:lnTo>
                        <a:pt x="493" y="125"/>
                      </a:lnTo>
                      <a:lnTo>
                        <a:pt x="493" y="125"/>
                      </a:lnTo>
                      <a:lnTo>
                        <a:pt x="493" y="125"/>
                      </a:lnTo>
                      <a:lnTo>
                        <a:pt x="493" y="125"/>
                      </a:lnTo>
                      <a:lnTo>
                        <a:pt x="492" y="125"/>
                      </a:lnTo>
                      <a:lnTo>
                        <a:pt x="492" y="126"/>
                      </a:lnTo>
                      <a:lnTo>
                        <a:pt x="491" y="126"/>
                      </a:lnTo>
                      <a:lnTo>
                        <a:pt x="491" y="126"/>
                      </a:lnTo>
                      <a:lnTo>
                        <a:pt x="492" y="126"/>
                      </a:lnTo>
                      <a:lnTo>
                        <a:pt x="491" y="126"/>
                      </a:lnTo>
                      <a:lnTo>
                        <a:pt x="491" y="126"/>
                      </a:lnTo>
                      <a:lnTo>
                        <a:pt x="491" y="126"/>
                      </a:lnTo>
                      <a:lnTo>
                        <a:pt x="492" y="126"/>
                      </a:lnTo>
                      <a:lnTo>
                        <a:pt x="491" y="126"/>
                      </a:lnTo>
                      <a:lnTo>
                        <a:pt x="492" y="126"/>
                      </a:lnTo>
                      <a:lnTo>
                        <a:pt x="492" y="127"/>
                      </a:lnTo>
                      <a:lnTo>
                        <a:pt x="491" y="127"/>
                      </a:lnTo>
                      <a:lnTo>
                        <a:pt x="492" y="127"/>
                      </a:lnTo>
                      <a:lnTo>
                        <a:pt x="491" y="127"/>
                      </a:lnTo>
                      <a:lnTo>
                        <a:pt x="491" y="127"/>
                      </a:lnTo>
                      <a:lnTo>
                        <a:pt x="491" y="127"/>
                      </a:lnTo>
                      <a:lnTo>
                        <a:pt x="491" y="127"/>
                      </a:lnTo>
                      <a:lnTo>
                        <a:pt x="491" y="128"/>
                      </a:lnTo>
                      <a:lnTo>
                        <a:pt x="491" y="129"/>
                      </a:lnTo>
                      <a:lnTo>
                        <a:pt x="492" y="129"/>
                      </a:lnTo>
                      <a:lnTo>
                        <a:pt x="492" y="129"/>
                      </a:lnTo>
                      <a:lnTo>
                        <a:pt x="493" y="129"/>
                      </a:lnTo>
                      <a:lnTo>
                        <a:pt x="493" y="129"/>
                      </a:lnTo>
                      <a:lnTo>
                        <a:pt x="494" y="129"/>
                      </a:lnTo>
                      <a:lnTo>
                        <a:pt x="494" y="130"/>
                      </a:lnTo>
                      <a:lnTo>
                        <a:pt x="494" y="130"/>
                      </a:lnTo>
                      <a:lnTo>
                        <a:pt x="495" y="130"/>
                      </a:lnTo>
                      <a:lnTo>
                        <a:pt x="496" y="130"/>
                      </a:lnTo>
                      <a:lnTo>
                        <a:pt x="496" y="130"/>
                      </a:lnTo>
                      <a:lnTo>
                        <a:pt x="497" y="130"/>
                      </a:lnTo>
                      <a:lnTo>
                        <a:pt x="497" y="130"/>
                      </a:lnTo>
                      <a:lnTo>
                        <a:pt x="498" y="130"/>
                      </a:lnTo>
                      <a:lnTo>
                        <a:pt x="497" y="130"/>
                      </a:lnTo>
                      <a:lnTo>
                        <a:pt x="498" y="130"/>
                      </a:lnTo>
                      <a:lnTo>
                        <a:pt x="498" y="130"/>
                      </a:lnTo>
                      <a:lnTo>
                        <a:pt x="498" y="130"/>
                      </a:lnTo>
                      <a:lnTo>
                        <a:pt x="498" y="130"/>
                      </a:lnTo>
                      <a:lnTo>
                        <a:pt x="498" y="131"/>
                      </a:lnTo>
                      <a:lnTo>
                        <a:pt x="499" y="131"/>
                      </a:lnTo>
                      <a:lnTo>
                        <a:pt x="500" y="131"/>
                      </a:lnTo>
                      <a:lnTo>
                        <a:pt x="500" y="131"/>
                      </a:lnTo>
                      <a:lnTo>
                        <a:pt x="501" y="131"/>
                      </a:lnTo>
                      <a:lnTo>
                        <a:pt x="501" y="131"/>
                      </a:lnTo>
                      <a:lnTo>
                        <a:pt x="501" y="131"/>
                      </a:lnTo>
                      <a:lnTo>
                        <a:pt x="501" y="131"/>
                      </a:lnTo>
                      <a:lnTo>
                        <a:pt x="501" y="131"/>
                      </a:lnTo>
                      <a:lnTo>
                        <a:pt x="501" y="131"/>
                      </a:lnTo>
                      <a:lnTo>
                        <a:pt x="501" y="131"/>
                      </a:lnTo>
                      <a:lnTo>
                        <a:pt x="502" y="131"/>
                      </a:lnTo>
                      <a:lnTo>
                        <a:pt x="502" y="132"/>
                      </a:lnTo>
                      <a:lnTo>
                        <a:pt x="502" y="132"/>
                      </a:lnTo>
                      <a:lnTo>
                        <a:pt x="503" y="132"/>
                      </a:lnTo>
                      <a:lnTo>
                        <a:pt x="503" y="133"/>
                      </a:lnTo>
                      <a:lnTo>
                        <a:pt x="504" y="133"/>
                      </a:lnTo>
                      <a:lnTo>
                        <a:pt x="504" y="133"/>
                      </a:lnTo>
                      <a:lnTo>
                        <a:pt x="504" y="134"/>
                      </a:lnTo>
                      <a:lnTo>
                        <a:pt x="504" y="134"/>
                      </a:lnTo>
                      <a:lnTo>
                        <a:pt x="504" y="135"/>
                      </a:lnTo>
                      <a:lnTo>
                        <a:pt x="503" y="135"/>
                      </a:lnTo>
                      <a:lnTo>
                        <a:pt x="502" y="135"/>
                      </a:lnTo>
                      <a:lnTo>
                        <a:pt x="502" y="135"/>
                      </a:lnTo>
                      <a:lnTo>
                        <a:pt x="501" y="135"/>
                      </a:lnTo>
                      <a:lnTo>
                        <a:pt x="501" y="135"/>
                      </a:lnTo>
                      <a:lnTo>
                        <a:pt x="501" y="135"/>
                      </a:lnTo>
                      <a:lnTo>
                        <a:pt x="501" y="136"/>
                      </a:lnTo>
                      <a:lnTo>
                        <a:pt x="500" y="136"/>
                      </a:lnTo>
                      <a:lnTo>
                        <a:pt x="500" y="137"/>
                      </a:lnTo>
                      <a:lnTo>
                        <a:pt x="501" y="137"/>
                      </a:lnTo>
                      <a:lnTo>
                        <a:pt x="501" y="137"/>
                      </a:lnTo>
                      <a:lnTo>
                        <a:pt x="501" y="137"/>
                      </a:lnTo>
                      <a:lnTo>
                        <a:pt x="501" y="137"/>
                      </a:lnTo>
                      <a:lnTo>
                        <a:pt x="501" y="138"/>
                      </a:lnTo>
                      <a:lnTo>
                        <a:pt x="500" y="138"/>
                      </a:lnTo>
                      <a:lnTo>
                        <a:pt x="501" y="138"/>
                      </a:lnTo>
                      <a:lnTo>
                        <a:pt x="501" y="138"/>
                      </a:lnTo>
                      <a:lnTo>
                        <a:pt x="501" y="138"/>
                      </a:lnTo>
                      <a:lnTo>
                        <a:pt x="502" y="138"/>
                      </a:lnTo>
                      <a:lnTo>
                        <a:pt x="502" y="139"/>
                      </a:lnTo>
                      <a:lnTo>
                        <a:pt x="501" y="139"/>
                      </a:lnTo>
                      <a:lnTo>
                        <a:pt x="501" y="140"/>
                      </a:lnTo>
                      <a:lnTo>
                        <a:pt x="502" y="140"/>
                      </a:lnTo>
                      <a:lnTo>
                        <a:pt x="501" y="140"/>
                      </a:lnTo>
                      <a:lnTo>
                        <a:pt x="501" y="141"/>
                      </a:lnTo>
                      <a:lnTo>
                        <a:pt x="502" y="141"/>
                      </a:lnTo>
                      <a:lnTo>
                        <a:pt x="502" y="141"/>
                      </a:lnTo>
                      <a:lnTo>
                        <a:pt x="501" y="141"/>
                      </a:lnTo>
                      <a:lnTo>
                        <a:pt x="502" y="141"/>
                      </a:lnTo>
                      <a:lnTo>
                        <a:pt x="502" y="141"/>
                      </a:lnTo>
                      <a:lnTo>
                        <a:pt x="501" y="141"/>
                      </a:lnTo>
                      <a:lnTo>
                        <a:pt x="501" y="140"/>
                      </a:lnTo>
                      <a:lnTo>
                        <a:pt x="502" y="140"/>
                      </a:lnTo>
                      <a:lnTo>
                        <a:pt x="501" y="140"/>
                      </a:lnTo>
                      <a:lnTo>
                        <a:pt x="502" y="139"/>
                      </a:lnTo>
                      <a:lnTo>
                        <a:pt x="502" y="138"/>
                      </a:lnTo>
                      <a:lnTo>
                        <a:pt x="501" y="138"/>
                      </a:lnTo>
                      <a:lnTo>
                        <a:pt x="501" y="138"/>
                      </a:lnTo>
                      <a:lnTo>
                        <a:pt x="501" y="138"/>
                      </a:lnTo>
                      <a:lnTo>
                        <a:pt x="500" y="138"/>
                      </a:lnTo>
                      <a:lnTo>
                        <a:pt x="501" y="138"/>
                      </a:lnTo>
                      <a:lnTo>
                        <a:pt x="501" y="137"/>
                      </a:lnTo>
                      <a:lnTo>
                        <a:pt x="501" y="137"/>
                      </a:lnTo>
                      <a:lnTo>
                        <a:pt x="501" y="137"/>
                      </a:lnTo>
                      <a:lnTo>
                        <a:pt x="501" y="137"/>
                      </a:lnTo>
                      <a:lnTo>
                        <a:pt x="500" y="136"/>
                      </a:lnTo>
                      <a:lnTo>
                        <a:pt x="501" y="136"/>
                      </a:lnTo>
                      <a:lnTo>
                        <a:pt x="501" y="135"/>
                      </a:lnTo>
                      <a:lnTo>
                        <a:pt x="501" y="135"/>
                      </a:lnTo>
                      <a:lnTo>
                        <a:pt x="501" y="135"/>
                      </a:lnTo>
                      <a:lnTo>
                        <a:pt x="502" y="135"/>
                      </a:lnTo>
                      <a:lnTo>
                        <a:pt x="502" y="135"/>
                      </a:lnTo>
                      <a:lnTo>
                        <a:pt x="503" y="135"/>
                      </a:lnTo>
                      <a:lnTo>
                        <a:pt x="504" y="135"/>
                      </a:lnTo>
                      <a:lnTo>
                        <a:pt x="504" y="134"/>
                      </a:lnTo>
                      <a:lnTo>
                        <a:pt x="504" y="134"/>
                      </a:lnTo>
                      <a:lnTo>
                        <a:pt x="504" y="133"/>
                      </a:lnTo>
                      <a:lnTo>
                        <a:pt x="504" y="133"/>
                      </a:lnTo>
                      <a:lnTo>
                        <a:pt x="504" y="133"/>
                      </a:lnTo>
                      <a:lnTo>
                        <a:pt x="504" y="133"/>
                      </a:lnTo>
                      <a:lnTo>
                        <a:pt x="504" y="133"/>
                      </a:lnTo>
                      <a:lnTo>
                        <a:pt x="505" y="133"/>
                      </a:lnTo>
                      <a:lnTo>
                        <a:pt x="505" y="133"/>
                      </a:lnTo>
                      <a:lnTo>
                        <a:pt x="506" y="133"/>
                      </a:lnTo>
                      <a:lnTo>
                        <a:pt x="507" y="133"/>
                      </a:lnTo>
                      <a:lnTo>
                        <a:pt x="507" y="133"/>
                      </a:lnTo>
                      <a:lnTo>
                        <a:pt x="508" y="133"/>
                      </a:lnTo>
                      <a:lnTo>
                        <a:pt x="508" y="134"/>
                      </a:lnTo>
                      <a:lnTo>
                        <a:pt x="508" y="133"/>
                      </a:lnTo>
                      <a:lnTo>
                        <a:pt x="508" y="133"/>
                      </a:lnTo>
                      <a:lnTo>
                        <a:pt x="508" y="134"/>
                      </a:lnTo>
                      <a:lnTo>
                        <a:pt x="509" y="134"/>
                      </a:lnTo>
                      <a:lnTo>
                        <a:pt x="509" y="134"/>
                      </a:lnTo>
                      <a:lnTo>
                        <a:pt x="510" y="134"/>
                      </a:lnTo>
                      <a:lnTo>
                        <a:pt x="511" y="134"/>
                      </a:lnTo>
                      <a:lnTo>
                        <a:pt x="511" y="134"/>
                      </a:lnTo>
                      <a:lnTo>
                        <a:pt x="511" y="134"/>
                      </a:lnTo>
                      <a:lnTo>
                        <a:pt x="511" y="134"/>
                      </a:lnTo>
                      <a:lnTo>
                        <a:pt x="511" y="134"/>
                      </a:lnTo>
                      <a:lnTo>
                        <a:pt x="511" y="134"/>
                      </a:lnTo>
                      <a:lnTo>
                        <a:pt x="511" y="134"/>
                      </a:lnTo>
                      <a:lnTo>
                        <a:pt x="511" y="134"/>
                      </a:lnTo>
                      <a:lnTo>
                        <a:pt x="511" y="134"/>
                      </a:lnTo>
                      <a:lnTo>
                        <a:pt x="512" y="134"/>
                      </a:lnTo>
                      <a:lnTo>
                        <a:pt x="511" y="134"/>
                      </a:lnTo>
                      <a:lnTo>
                        <a:pt x="512" y="134"/>
                      </a:lnTo>
                      <a:lnTo>
                        <a:pt x="511" y="134"/>
                      </a:lnTo>
                      <a:lnTo>
                        <a:pt x="512" y="134"/>
                      </a:lnTo>
                      <a:lnTo>
                        <a:pt x="512" y="134"/>
                      </a:lnTo>
                      <a:lnTo>
                        <a:pt x="512" y="134"/>
                      </a:lnTo>
                      <a:lnTo>
                        <a:pt x="512" y="134"/>
                      </a:lnTo>
                      <a:lnTo>
                        <a:pt x="512" y="135"/>
                      </a:lnTo>
                      <a:lnTo>
                        <a:pt x="513" y="135"/>
                      </a:lnTo>
                      <a:lnTo>
                        <a:pt x="513" y="135"/>
                      </a:lnTo>
                      <a:lnTo>
                        <a:pt x="514" y="135"/>
                      </a:lnTo>
                      <a:lnTo>
                        <a:pt x="515" y="135"/>
                      </a:lnTo>
                      <a:lnTo>
                        <a:pt x="516" y="135"/>
                      </a:lnTo>
                      <a:lnTo>
                        <a:pt x="516" y="135"/>
                      </a:lnTo>
                      <a:lnTo>
                        <a:pt x="517" y="135"/>
                      </a:lnTo>
                      <a:lnTo>
                        <a:pt x="517" y="135"/>
                      </a:lnTo>
                      <a:lnTo>
                        <a:pt x="517" y="135"/>
                      </a:lnTo>
                      <a:lnTo>
                        <a:pt x="518" y="135"/>
                      </a:lnTo>
                      <a:lnTo>
                        <a:pt x="518" y="136"/>
                      </a:lnTo>
                      <a:lnTo>
                        <a:pt x="519" y="136"/>
                      </a:lnTo>
                      <a:lnTo>
                        <a:pt x="519" y="136"/>
                      </a:lnTo>
                      <a:lnTo>
                        <a:pt x="519" y="137"/>
                      </a:lnTo>
                      <a:lnTo>
                        <a:pt x="520" y="138"/>
                      </a:lnTo>
                      <a:lnTo>
                        <a:pt x="520" y="138"/>
                      </a:lnTo>
                      <a:lnTo>
                        <a:pt x="520" y="138"/>
                      </a:lnTo>
                      <a:lnTo>
                        <a:pt x="521" y="138"/>
                      </a:lnTo>
                      <a:lnTo>
                        <a:pt x="522" y="138"/>
                      </a:lnTo>
                      <a:lnTo>
                        <a:pt x="521" y="138"/>
                      </a:lnTo>
                      <a:lnTo>
                        <a:pt x="522" y="138"/>
                      </a:lnTo>
                      <a:lnTo>
                        <a:pt x="522" y="139"/>
                      </a:lnTo>
                      <a:lnTo>
                        <a:pt x="522" y="139"/>
                      </a:lnTo>
                      <a:lnTo>
                        <a:pt x="522" y="139"/>
                      </a:lnTo>
                      <a:lnTo>
                        <a:pt x="522" y="139"/>
                      </a:lnTo>
                      <a:lnTo>
                        <a:pt x="523" y="139"/>
                      </a:lnTo>
                      <a:lnTo>
                        <a:pt x="523" y="140"/>
                      </a:lnTo>
                      <a:lnTo>
                        <a:pt x="523" y="139"/>
                      </a:lnTo>
                      <a:lnTo>
                        <a:pt x="523" y="140"/>
                      </a:lnTo>
                      <a:lnTo>
                        <a:pt x="524" y="140"/>
                      </a:lnTo>
                      <a:lnTo>
                        <a:pt x="524" y="140"/>
                      </a:lnTo>
                      <a:lnTo>
                        <a:pt x="524" y="140"/>
                      </a:lnTo>
                      <a:lnTo>
                        <a:pt x="524" y="141"/>
                      </a:lnTo>
                      <a:lnTo>
                        <a:pt x="525" y="141"/>
                      </a:lnTo>
                      <a:lnTo>
                        <a:pt x="526" y="141"/>
                      </a:lnTo>
                      <a:lnTo>
                        <a:pt x="526" y="141"/>
                      </a:lnTo>
                      <a:lnTo>
                        <a:pt x="527" y="142"/>
                      </a:lnTo>
                      <a:lnTo>
                        <a:pt x="527" y="142"/>
                      </a:lnTo>
                      <a:lnTo>
                        <a:pt x="528" y="142"/>
                      </a:lnTo>
                      <a:lnTo>
                        <a:pt x="528" y="142"/>
                      </a:lnTo>
                      <a:lnTo>
                        <a:pt x="529" y="142"/>
                      </a:lnTo>
                      <a:lnTo>
                        <a:pt x="530" y="142"/>
                      </a:lnTo>
                      <a:lnTo>
                        <a:pt x="530" y="143"/>
                      </a:lnTo>
                      <a:lnTo>
                        <a:pt x="530" y="143"/>
                      </a:lnTo>
                      <a:lnTo>
                        <a:pt x="530" y="144"/>
                      </a:lnTo>
                      <a:lnTo>
                        <a:pt x="531" y="144"/>
                      </a:lnTo>
                      <a:lnTo>
                        <a:pt x="531" y="144"/>
                      </a:lnTo>
                      <a:lnTo>
                        <a:pt x="532" y="145"/>
                      </a:lnTo>
                      <a:lnTo>
                        <a:pt x="532" y="145"/>
                      </a:lnTo>
                      <a:lnTo>
                        <a:pt x="533" y="145"/>
                      </a:lnTo>
                      <a:lnTo>
                        <a:pt x="533" y="145"/>
                      </a:lnTo>
                      <a:lnTo>
                        <a:pt x="534" y="145"/>
                      </a:lnTo>
                      <a:lnTo>
                        <a:pt x="534" y="146"/>
                      </a:lnTo>
                      <a:lnTo>
                        <a:pt x="534" y="146"/>
                      </a:lnTo>
                      <a:lnTo>
                        <a:pt x="535" y="146"/>
                      </a:lnTo>
                      <a:lnTo>
                        <a:pt x="534" y="146"/>
                      </a:lnTo>
                      <a:lnTo>
                        <a:pt x="534" y="146"/>
                      </a:lnTo>
                      <a:lnTo>
                        <a:pt x="534" y="147"/>
                      </a:lnTo>
                      <a:lnTo>
                        <a:pt x="534" y="147"/>
                      </a:lnTo>
                      <a:lnTo>
                        <a:pt x="534" y="147"/>
                      </a:lnTo>
                      <a:lnTo>
                        <a:pt x="534" y="148"/>
                      </a:lnTo>
                      <a:lnTo>
                        <a:pt x="534" y="148"/>
                      </a:lnTo>
                      <a:lnTo>
                        <a:pt x="533" y="148"/>
                      </a:lnTo>
                      <a:lnTo>
                        <a:pt x="533" y="148"/>
                      </a:lnTo>
                      <a:lnTo>
                        <a:pt x="534" y="148"/>
                      </a:lnTo>
                      <a:lnTo>
                        <a:pt x="533" y="148"/>
                      </a:lnTo>
                      <a:lnTo>
                        <a:pt x="534" y="148"/>
                      </a:lnTo>
                      <a:lnTo>
                        <a:pt x="534" y="149"/>
                      </a:lnTo>
                      <a:lnTo>
                        <a:pt x="534" y="149"/>
                      </a:lnTo>
                      <a:lnTo>
                        <a:pt x="534" y="149"/>
                      </a:lnTo>
                      <a:lnTo>
                        <a:pt x="534" y="150"/>
                      </a:lnTo>
                      <a:lnTo>
                        <a:pt x="534" y="150"/>
                      </a:lnTo>
                      <a:lnTo>
                        <a:pt x="533" y="150"/>
                      </a:lnTo>
                      <a:lnTo>
                        <a:pt x="532" y="150"/>
                      </a:lnTo>
                      <a:lnTo>
                        <a:pt x="532" y="150"/>
                      </a:lnTo>
                      <a:lnTo>
                        <a:pt x="531" y="149"/>
                      </a:lnTo>
                      <a:lnTo>
                        <a:pt x="531" y="150"/>
                      </a:lnTo>
                      <a:lnTo>
                        <a:pt x="531" y="151"/>
                      </a:lnTo>
                      <a:lnTo>
                        <a:pt x="530" y="151"/>
                      </a:lnTo>
                      <a:lnTo>
                        <a:pt x="530" y="151"/>
                      </a:lnTo>
                      <a:lnTo>
                        <a:pt x="530" y="151"/>
                      </a:lnTo>
                      <a:lnTo>
                        <a:pt x="531" y="151"/>
                      </a:lnTo>
                      <a:lnTo>
                        <a:pt x="531" y="151"/>
                      </a:lnTo>
                      <a:lnTo>
                        <a:pt x="531" y="150"/>
                      </a:lnTo>
                      <a:lnTo>
                        <a:pt x="531" y="149"/>
                      </a:lnTo>
                      <a:lnTo>
                        <a:pt x="532" y="150"/>
                      </a:lnTo>
                      <a:lnTo>
                        <a:pt x="532" y="150"/>
                      </a:lnTo>
                      <a:lnTo>
                        <a:pt x="533" y="150"/>
                      </a:lnTo>
                      <a:lnTo>
                        <a:pt x="534" y="150"/>
                      </a:lnTo>
                      <a:lnTo>
                        <a:pt x="534" y="150"/>
                      </a:lnTo>
                      <a:lnTo>
                        <a:pt x="535" y="150"/>
                      </a:lnTo>
                      <a:lnTo>
                        <a:pt x="535" y="150"/>
                      </a:lnTo>
                      <a:lnTo>
                        <a:pt x="535" y="151"/>
                      </a:lnTo>
                      <a:lnTo>
                        <a:pt x="535" y="151"/>
                      </a:lnTo>
                      <a:lnTo>
                        <a:pt x="534" y="151"/>
                      </a:lnTo>
                      <a:lnTo>
                        <a:pt x="534" y="151"/>
                      </a:lnTo>
                      <a:lnTo>
                        <a:pt x="534" y="152"/>
                      </a:lnTo>
                      <a:lnTo>
                        <a:pt x="533" y="152"/>
                      </a:lnTo>
                      <a:lnTo>
                        <a:pt x="532" y="152"/>
                      </a:lnTo>
                      <a:lnTo>
                        <a:pt x="532" y="152"/>
                      </a:lnTo>
                      <a:lnTo>
                        <a:pt x="532" y="153"/>
                      </a:lnTo>
                      <a:lnTo>
                        <a:pt x="531" y="153"/>
                      </a:lnTo>
                      <a:lnTo>
                        <a:pt x="531" y="153"/>
                      </a:lnTo>
                      <a:lnTo>
                        <a:pt x="530" y="153"/>
                      </a:lnTo>
                      <a:lnTo>
                        <a:pt x="530" y="153"/>
                      </a:lnTo>
                      <a:lnTo>
                        <a:pt x="529" y="153"/>
                      </a:lnTo>
                      <a:lnTo>
                        <a:pt x="529" y="154"/>
                      </a:lnTo>
                      <a:lnTo>
                        <a:pt x="528" y="154"/>
                      </a:lnTo>
                      <a:lnTo>
                        <a:pt x="528" y="155"/>
                      </a:lnTo>
                      <a:lnTo>
                        <a:pt x="528" y="155"/>
                      </a:lnTo>
                      <a:lnTo>
                        <a:pt x="527" y="155"/>
                      </a:lnTo>
                      <a:lnTo>
                        <a:pt x="527" y="156"/>
                      </a:lnTo>
                      <a:lnTo>
                        <a:pt x="527" y="156"/>
                      </a:lnTo>
                      <a:lnTo>
                        <a:pt x="527" y="156"/>
                      </a:lnTo>
                      <a:lnTo>
                        <a:pt x="526" y="156"/>
                      </a:lnTo>
                      <a:lnTo>
                        <a:pt x="526" y="157"/>
                      </a:lnTo>
                      <a:lnTo>
                        <a:pt x="525" y="157"/>
                      </a:lnTo>
                      <a:lnTo>
                        <a:pt x="525" y="157"/>
                      </a:lnTo>
                      <a:lnTo>
                        <a:pt x="526" y="157"/>
                      </a:lnTo>
                      <a:lnTo>
                        <a:pt x="526" y="158"/>
                      </a:lnTo>
                      <a:lnTo>
                        <a:pt x="526" y="158"/>
                      </a:lnTo>
                      <a:lnTo>
                        <a:pt x="526" y="158"/>
                      </a:lnTo>
                      <a:lnTo>
                        <a:pt x="526" y="159"/>
                      </a:lnTo>
                      <a:lnTo>
                        <a:pt x="525" y="159"/>
                      </a:lnTo>
                      <a:lnTo>
                        <a:pt x="524" y="159"/>
                      </a:lnTo>
                      <a:lnTo>
                        <a:pt x="524" y="159"/>
                      </a:lnTo>
                      <a:lnTo>
                        <a:pt x="525" y="160"/>
                      </a:lnTo>
                      <a:lnTo>
                        <a:pt x="524" y="160"/>
                      </a:lnTo>
                      <a:lnTo>
                        <a:pt x="524" y="160"/>
                      </a:lnTo>
                      <a:lnTo>
                        <a:pt x="524" y="161"/>
                      </a:lnTo>
                      <a:lnTo>
                        <a:pt x="524" y="161"/>
                      </a:lnTo>
                      <a:lnTo>
                        <a:pt x="524" y="162"/>
                      </a:lnTo>
                      <a:lnTo>
                        <a:pt x="523" y="162"/>
                      </a:lnTo>
                      <a:lnTo>
                        <a:pt x="523" y="162"/>
                      </a:lnTo>
                      <a:lnTo>
                        <a:pt x="523" y="163"/>
                      </a:lnTo>
                      <a:lnTo>
                        <a:pt x="524" y="163"/>
                      </a:lnTo>
                      <a:lnTo>
                        <a:pt x="524" y="163"/>
                      </a:lnTo>
                      <a:lnTo>
                        <a:pt x="523" y="163"/>
                      </a:lnTo>
                      <a:lnTo>
                        <a:pt x="523" y="164"/>
                      </a:lnTo>
                      <a:lnTo>
                        <a:pt x="523" y="164"/>
                      </a:lnTo>
                      <a:lnTo>
                        <a:pt x="523" y="164"/>
                      </a:lnTo>
                      <a:lnTo>
                        <a:pt x="523" y="165"/>
                      </a:lnTo>
                      <a:lnTo>
                        <a:pt x="523" y="166"/>
                      </a:lnTo>
                      <a:lnTo>
                        <a:pt x="523" y="166"/>
                      </a:lnTo>
                      <a:lnTo>
                        <a:pt x="523" y="166"/>
                      </a:lnTo>
                      <a:lnTo>
                        <a:pt x="523" y="166"/>
                      </a:lnTo>
                      <a:lnTo>
                        <a:pt x="524" y="166"/>
                      </a:lnTo>
                      <a:lnTo>
                        <a:pt x="524" y="166"/>
                      </a:lnTo>
                      <a:lnTo>
                        <a:pt x="525" y="166"/>
                      </a:lnTo>
                      <a:lnTo>
                        <a:pt x="525" y="167"/>
                      </a:lnTo>
                      <a:lnTo>
                        <a:pt x="525" y="167"/>
                      </a:lnTo>
                      <a:lnTo>
                        <a:pt x="525" y="167"/>
                      </a:lnTo>
                      <a:lnTo>
                        <a:pt x="525" y="167"/>
                      </a:lnTo>
                      <a:lnTo>
                        <a:pt x="524" y="167"/>
                      </a:lnTo>
                      <a:lnTo>
                        <a:pt x="524" y="168"/>
                      </a:lnTo>
                      <a:lnTo>
                        <a:pt x="524" y="168"/>
                      </a:lnTo>
                      <a:lnTo>
                        <a:pt x="523" y="168"/>
                      </a:lnTo>
                      <a:lnTo>
                        <a:pt x="523" y="168"/>
                      </a:lnTo>
                      <a:lnTo>
                        <a:pt x="522" y="168"/>
                      </a:lnTo>
                      <a:lnTo>
                        <a:pt x="522" y="168"/>
                      </a:lnTo>
                      <a:lnTo>
                        <a:pt x="521" y="168"/>
                      </a:lnTo>
                      <a:lnTo>
                        <a:pt x="520" y="168"/>
                      </a:lnTo>
                      <a:lnTo>
                        <a:pt x="520" y="168"/>
                      </a:lnTo>
                      <a:lnTo>
                        <a:pt x="519" y="168"/>
                      </a:lnTo>
                      <a:lnTo>
                        <a:pt x="519" y="168"/>
                      </a:lnTo>
                      <a:lnTo>
                        <a:pt x="518" y="168"/>
                      </a:lnTo>
                      <a:lnTo>
                        <a:pt x="517" y="168"/>
                      </a:lnTo>
                      <a:lnTo>
                        <a:pt x="517" y="168"/>
                      </a:lnTo>
                      <a:lnTo>
                        <a:pt x="516" y="168"/>
                      </a:lnTo>
                      <a:lnTo>
                        <a:pt x="516" y="168"/>
                      </a:lnTo>
                      <a:lnTo>
                        <a:pt x="516" y="168"/>
                      </a:lnTo>
                      <a:lnTo>
                        <a:pt x="516" y="168"/>
                      </a:lnTo>
                      <a:lnTo>
                        <a:pt x="515" y="168"/>
                      </a:lnTo>
                      <a:lnTo>
                        <a:pt x="515" y="168"/>
                      </a:lnTo>
                      <a:lnTo>
                        <a:pt x="514" y="169"/>
                      </a:lnTo>
                      <a:lnTo>
                        <a:pt x="513" y="169"/>
                      </a:lnTo>
                      <a:lnTo>
                        <a:pt x="513" y="168"/>
                      </a:lnTo>
                      <a:lnTo>
                        <a:pt x="512" y="169"/>
                      </a:lnTo>
                      <a:lnTo>
                        <a:pt x="512" y="169"/>
                      </a:lnTo>
                      <a:lnTo>
                        <a:pt x="511" y="169"/>
                      </a:lnTo>
                      <a:lnTo>
                        <a:pt x="511" y="169"/>
                      </a:lnTo>
                      <a:lnTo>
                        <a:pt x="510" y="169"/>
                      </a:lnTo>
                      <a:lnTo>
                        <a:pt x="509" y="169"/>
                      </a:lnTo>
                      <a:lnTo>
                        <a:pt x="509" y="169"/>
                      </a:lnTo>
                      <a:lnTo>
                        <a:pt x="509" y="168"/>
                      </a:lnTo>
                      <a:lnTo>
                        <a:pt x="509" y="169"/>
                      </a:lnTo>
                      <a:lnTo>
                        <a:pt x="508" y="169"/>
                      </a:lnTo>
                      <a:lnTo>
                        <a:pt x="508" y="169"/>
                      </a:lnTo>
                      <a:lnTo>
                        <a:pt x="507" y="169"/>
                      </a:lnTo>
                      <a:lnTo>
                        <a:pt x="507" y="168"/>
                      </a:lnTo>
                      <a:lnTo>
                        <a:pt x="506" y="168"/>
                      </a:lnTo>
                      <a:lnTo>
                        <a:pt x="505" y="168"/>
                      </a:lnTo>
                      <a:lnTo>
                        <a:pt x="505" y="168"/>
                      </a:lnTo>
                      <a:lnTo>
                        <a:pt x="504" y="168"/>
                      </a:lnTo>
                      <a:lnTo>
                        <a:pt x="505" y="168"/>
                      </a:lnTo>
                      <a:lnTo>
                        <a:pt x="505" y="168"/>
                      </a:lnTo>
                      <a:lnTo>
                        <a:pt x="506" y="168"/>
                      </a:lnTo>
                      <a:lnTo>
                        <a:pt x="506" y="169"/>
                      </a:lnTo>
                      <a:lnTo>
                        <a:pt x="507" y="169"/>
                      </a:lnTo>
                      <a:lnTo>
                        <a:pt x="507" y="169"/>
                      </a:lnTo>
                      <a:lnTo>
                        <a:pt x="508" y="169"/>
                      </a:lnTo>
                      <a:lnTo>
                        <a:pt x="508" y="169"/>
                      </a:lnTo>
                      <a:lnTo>
                        <a:pt x="509" y="169"/>
                      </a:lnTo>
                      <a:lnTo>
                        <a:pt x="510" y="169"/>
                      </a:lnTo>
                      <a:lnTo>
                        <a:pt x="511" y="169"/>
                      </a:lnTo>
                      <a:lnTo>
                        <a:pt x="511" y="169"/>
                      </a:lnTo>
                      <a:lnTo>
                        <a:pt x="512" y="169"/>
                      </a:lnTo>
                      <a:lnTo>
                        <a:pt x="512" y="169"/>
                      </a:lnTo>
                      <a:lnTo>
                        <a:pt x="512" y="169"/>
                      </a:lnTo>
                      <a:lnTo>
                        <a:pt x="512" y="169"/>
                      </a:lnTo>
                      <a:lnTo>
                        <a:pt x="513" y="169"/>
                      </a:lnTo>
                      <a:lnTo>
                        <a:pt x="513" y="169"/>
                      </a:lnTo>
                      <a:lnTo>
                        <a:pt x="514" y="169"/>
                      </a:lnTo>
                      <a:lnTo>
                        <a:pt x="515" y="169"/>
                      </a:lnTo>
                      <a:lnTo>
                        <a:pt x="515" y="168"/>
                      </a:lnTo>
                      <a:lnTo>
                        <a:pt x="515" y="168"/>
                      </a:lnTo>
                      <a:lnTo>
                        <a:pt x="516" y="168"/>
                      </a:lnTo>
                      <a:lnTo>
                        <a:pt x="516" y="168"/>
                      </a:lnTo>
                      <a:lnTo>
                        <a:pt x="517" y="168"/>
                      </a:lnTo>
                      <a:lnTo>
                        <a:pt x="518" y="168"/>
                      </a:lnTo>
                      <a:lnTo>
                        <a:pt x="519" y="168"/>
                      </a:lnTo>
                      <a:lnTo>
                        <a:pt x="519" y="168"/>
                      </a:lnTo>
                      <a:lnTo>
                        <a:pt x="520" y="168"/>
                      </a:lnTo>
                      <a:lnTo>
                        <a:pt x="520" y="169"/>
                      </a:lnTo>
                      <a:lnTo>
                        <a:pt x="521" y="168"/>
                      </a:lnTo>
                      <a:lnTo>
                        <a:pt x="522" y="168"/>
                      </a:lnTo>
                      <a:lnTo>
                        <a:pt x="522" y="168"/>
                      </a:lnTo>
                      <a:lnTo>
                        <a:pt x="522" y="168"/>
                      </a:lnTo>
                      <a:lnTo>
                        <a:pt x="523" y="168"/>
                      </a:lnTo>
                      <a:lnTo>
                        <a:pt x="523" y="168"/>
                      </a:lnTo>
                      <a:lnTo>
                        <a:pt x="524" y="168"/>
                      </a:lnTo>
                      <a:lnTo>
                        <a:pt x="524" y="168"/>
                      </a:lnTo>
                      <a:lnTo>
                        <a:pt x="524" y="167"/>
                      </a:lnTo>
                      <a:lnTo>
                        <a:pt x="525" y="167"/>
                      </a:lnTo>
                      <a:lnTo>
                        <a:pt x="524" y="167"/>
                      </a:lnTo>
                      <a:lnTo>
                        <a:pt x="525" y="167"/>
                      </a:lnTo>
                      <a:lnTo>
                        <a:pt x="524" y="167"/>
                      </a:lnTo>
                      <a:lnTo>
                        <a:pt x="525" y="167"/>
                      </a:lnTo>
                      <a:lnTo>
                        <a:pt x="525" y="167"/>
                      </a:lnTo>
                      <a:lnTo>
                        <a:pt x="526" y="167"/>
                      </a:lnTo>
                      <a:lnTo>
                        <a:pt x="526" y="166"/>
                      </a:lnTo>
                      <a:lnTo>
                        <a:pt x="525" y="166"/>
                      </a:lnTo>
                      <a:lnTo>
                        <a:pt x="524" y="166"/>
                      </a:lnTo>
                      <a:lnTo>
                        <a:pt x="524" y="166"/>
                      </a:lnTo>
                      <a:lnTo>
                        <a:pt x="523" y="166"/>
                      </a:lnTo>
                      <a:lnTo>
                        <a:pt x="523" y="166"/>
                      </a:lnTo>
                      <a:lnTo>
                        <a:pt x="523" y="165"/>
                      </a:lnTo>
                      <a:lnTo>
                        <a:pt x="523" y="164"/>
                      </a:lnTo>
                      <a:lnTo>
                        <a:pt x="523" y="164"/>
                      </a:lnTo>
                      <a:lnTo>
                        <a:pt x="523" y="163"/>
                      </a:lnTo>
                      <a:lnTo>
                        <a:pt x="524" y="163"/>
                      </a:lnTo>
                      <a:lnTo>
                        <a:pt x="524" y="163"/>
                      </a:lnTo>
                      <a:lnTo>
                        <a:pt x="523" y="163"/>
                      </a:lnTo>
                      <a:lnTo>
                        <a:pt x="523" y="162"/>
                      </a:lnTo>
                      <a:lnTo>
                        <a:pt x="523" y="162"/>
                      </a:lnTo>
                      <a:lnTo>
                        <a:pt x="524" y="162"/>
                      </a:lnTo>
                      <a:lnTo>
                        <a:pt x="524" y="161"/>
                      </a:lnTo>
                      <a:lnTo>
                        <a:pt x="525" y="160"/>
                      </a:lnTo>
                      <a:lnTo>
                        <a:pt x="524" y="160"/>
                      </a:lnTo>
                      <a:lnTo>
                        <a:pt x="524" y="160"/>
                      </a:lnTo>
                      <a:lnTo>
                        <a:pt x="525" y="160"/>
                      </a:lnTo>
                      <a:lnTo>
                        <a:pt x="524" y="159"/>
                      </a:lnTo>
                      <a:lnTo>
                        <a:pt x="525" y="159"/>
                      </a:lnTo>
                      <a:lnTo>
                        <a:pt x="524" y="159"/>
                      </a:lnTo>
                      <a:lnTo>
                        <a:pt x="524" y="159"/>
                      </a:lnTo>
                      <a:lnTo>
                        <a:pt x="525" y="159"/>
                      </a:lnTo>
                      <a:lnTo>
                        <a:pt x="526" y="158"/>
                      </a:lnTo>
                      <a:lnTo>
                        <a:pt x="526" y="158"/>
                      </a:lnTo>
                      <a:lnTo>
                        <a:pt x="526" y="158"/>
                      </a:lnTo>
                      <a:lnTo>
                        <a:pt x="526" y="157"/>
                      </a:lnTo>
                      <a:lnTo>
                        <a:pt x="525" y="157"/>
                      </a:lnTo>
                      <a:lnTo>
                        <a:pt x="525" y="157"/>
                      </a:lnTo>
                      <a:lnTo>
                        <a:pt x="526" y="157"/>
                      </a:lnTo>
                      <a:lnTo>
                        <a:pt x="526" y="156"/>
                      </a:lnTo>
                      <a:lnTo>
                        <a:pt x="527" y="156"/>
                      </a:lnTo>
                      <a:lnTo>
                        <a:pt x="527" y="156"/>
                      </a:lnTo>
                      <a:lnTo>
                        <a:pt x="527" y="156"/>
                      </a:lnTo>
                      <a:lnTo>
                        <a:pt x="527" y="156"/>
                      </a:lnTo>
                      <a:lnTo>
                        <a:pt x="527" y="155"/>
                      </a:lnTo>
                      <a:lnTo>
                        <a:pt x="528" y="155"/>
                      </a:lnTo>
                      <a:lnTo>
                        <a:pt x="528" y="155"/>
                      </a:lnTo>
                      <a:lnTo>
                        <a:pt x="528" y="155"/>
                      </a:lnTo>
                      <a:lnTo>
                        <a:pt x="529" y="154"/>
                      </a:lnTo>
                      <a:lnTo>
                        <a:pt x="529" y="153"/>
                      </a:lnTo>
                      <a:lnTo>
                        <a:pt x="530" y="153"/>
                      </a:lnTo>
                      <a:lnTo>
                        <a:pt x="531" y="153"/>
                      </a:lnTo>
                      <a:lnTo>
                        <a:pt x="531" y="153"/>
                      </a:lnTo>
                      <a:lnTo>
                        <a:pt x="532" y="153"/>
                      </a:lnTo>
                      <a:lnTo>
                        <a:pt x="532" y="152"/>
                      </a:lnTo>
                      <a:lnTo>
                        <a:pt x="533" y="152"/>
                      </a:lnTo>
                      <a:lnTo>
                        <a:pt x="534" y="152"/>
                      </a:lnTo>
                      <a:lnTo>
                        <a:pt x="534" y="151"/>
                      </a:lnTo>
                      <a:lnTo>
                        <a:pt x="534" y="151"/>
                      </a:lnTo>
                      <a:lnTo>
                        <a:pt x="535" y="151"/>
                      </a:lnTo>
                      <a:lnTo>
                        <a:pt x="535" y="151"/>
                      </a:lnTo>
                      <a:lnTo>
                        <a:pt x="535" y="150"/>
                      </a:lnTo>
                      <a:lnTo>
                        <a:pt x="535" y="150"/>
                      </a:lnTo>
                      <a:lnTo>
                        <a:pt x="534" y="150"/>
                      </a:lnTo>
                      <a:lnTo>
                        <a:pt x="534" y="149"/>
                      </a:lnTo>
                      <a:lnTo>
                        <a:pt x="534" y="150"/>
                      </a:lnTo>
                      <a:lnTo>
                        <a:pt x="535" y="150"/>
                      </a:lnTo>
                      <a:lnTo>
                        <a:pt x="534" y="150"/>
                      </a:lnTo>
                      <a:lnTo>
                        <a:pt x="534" y="149"/>
                      </a:lnTo>
                      <a:lnTo>
                        <a:pt x="534" y="149"/>
                      </a:lnTo>
                      <a:lnTo>
                        <a:pt x="534" y="148"/>
                      </a:lnTo>
                      <a:lnTo>
                        <a:pt x="533" y="148"/>
                      </a:lnTo>
                      <a:lnTo>
                        <a:pt x="534" y="148"/>
                      </a:lnTo>
                      <a:lnTo>
                        <a:pt x="534" y="148"/>
                      </a:lnTo>
                      <a:lnTo>
                        <a:pt x="534" y="148"/>
                      </a:lnTo>
                      <a:lnTo>
                        <a:pt x="533" y="148"/>
                      </a:lnTo>
                      <a:lnTo>
                        <a:pt x="534" y="148"/>
                      </a:lnTo>
                      <a:lnTo>
                        <a:pt x="534" y="148"/>
                      </a:lnTo>
                      <a:lnTo>
                        <a:pt x="534" y="148"/>
                      </a:lnTo>
                      <a:lnTo>
                        <a:pt x="534" y="147"/>
                      </a:lnTo>
                      <a:lnTo>
                        <a:pt x="534" y="146"/>
                      </a:lnTo>
                      <a:lnTo>
                        <a:pt x="535" y="146"/>
                      </a:lnTo>
                      <a:lnTo>
                        <a:pt x="535" y="146"/>
                      </a:lnTo>
                      <a:lnTo>
                        <a:pt x="534" y="146"/>
                      </a:lnTo>
                      <a:lnTo>
                        <a:pt x="534" y="145"/>
                      </a:lnTo>
                      <a:lnTo>
                        <a:pt x="534" y="145"/>
                      </a:lnTo>
                      <a:lnTo>
                        <a:pt x="533" y="145"/>
                      </a:lnTo>
                      <a:lnTo>
                        <a:pt x="532" y="145"/>
                      </a:lnTo>
                      <a:lnTo>
                        <a:pt x="532" y="145"/>
                      </a:lnTo>
                      <a:lnTo>
                        <a:pt x="532" y="144"/>
                      </a:lnTo>
                      <a:lnTo>
                        <a:pt x="531" y="144"/>
                      </a:lnTo>
                      <a:lnTo>
                        <a:pt x="531" y="144"/>
                      </a:lnTo>
                      <a:lnTo>
                        <a:pt x="530" y="143"/>
                      </a:lnTo>
                      <a:lnTo>
                        <a:pt x="530" y="142"/>
                      </a:lnTo>
                      <a:lnTo>
                        <a:pt x="529" y="142"/>
                      </a:lnTo>
                      <a:lnTo>
                        <a:pt x="528" y="142"/>
                      </a:lnTo>
                      <a:lnTo>
                        <a:pt x="528" y="142"/>
                      </a:lnTo>
                      <a:lnTo>
                        <a:pt x="527" y="142"/>
                      </a:lnTo>
                      <a:lnTo>
                        <a:pt x="527" y="142"/>
                      </a:lnTo>
                      <a:lnTo>
                        <a:pt x="527" y="142"/>
                      </a:lnTo>
                      <a:lnTo>
                        <a:pt x="527" y="141"/>
                      </a:lnTo>
                      <a:lnTo>
                        <a:pt x="526" y="141"/>
                      </a:lnTo>
                      <a:lnTo>
                        <a:pt x="526" y="141"/>
                      </a:lnTo>
                      <a:lnTo>
                        <a:pt x="526" y="141"/>
                      </a:lnTo>
                      <a:lnTo>
                        <a:pt x="525" y="141"/>
                      </a:lnTo>
                      <a:lnTo>
                        <a:pt x="524" y="140"/>
                      </a:lnTo>
                      <a:lnTo>
                        <a:pt x="524" y="140"/>
                      </a:lnTo>
                      <a:lnTo>
                        <a:pt x="523" y="139"/>
                      </a:lnTo>
                      <a:lnTo>
                        <a:pt x="523" y="139"/>
                      </a:lnTo>
                      <a:lnTo>
                        <a:pt x="522" y="138"/>
                      </a:lnTo>
                      <a:lnTo>
                        <a:pt x="522" y="138"/>
                      </a:lnTo>
                      <a:lnTo>
                        <a:pt x="521" y="138"/>
                      </a:lnTo>
                      <a:lnTo>
                        <a:pt x="520" y="138"/>
                      </a:lnTo>
                      <a:lnTo>
                        <a:pt x="520" y="138"/>
                      </a:lnTo>
                      <a:lnTo>
                        <a:pt x="520" y="137"/>
                      </a:lnTo>
                      <a:lnTo>
                        <a:pt x="520" y="137"/>
                      </a:lnTo>
                      <a:lnTo>
                        <a:pt x="520" y="137"/>
                      </a:lnTo>
                      <a:lnTo>
                        <a:pt x="520" y="137"/>
                      </a:lnTo>
                      <a:lnTo>
                        <a:pt x="519" y="137"/>
                      </a:lnTo>
                      <a:lnTo>
                        <a:pt x="519" y="136"/>
                      </a:lnTo>
                      <a:lnTo>
                        <a:pt x="519" y="136"/>
                      </a:lnTo>
                      <a:lnTo>
                        <a:pt x="519" y="136"/>
                      </a:lnTo>
                      <a:lnTo>
                        <a:pt x="519" y="136"/>
                      </a:lnTo>
                      <a:lnTo>
                        <a:pt x="518" y="135"/>
                      </a:lnTo>
                      <a:lnTo>
                        <a:pt x="518" y="135"/>
                      </a:lnTo>
                      <a:lnTo>
                        <a:pt x="517" y="135"/>
                      </a:lnTo>
                      <a:lnTo>
                        <a:pt x="517" y="135"/>
                      </a:lnTo>
                      <a:lnTo>
                        <a:pt x="516" y="135"/>
                      </a:lnTo>
                      <a:lnTo>
                        <a:pt x="516" y="135"/>
                      </a:lnTo>
                      <a:lnTo>
                        <a:pt x="515" y="135"/>
                      </a:lnTo>
                      <a:lnTo>
                        <a:pt x="515" y="135"/>
                      </a:lnTo>
                      <a:lnTo>
                        <a:pt x="514" y="135"/>
                      </a:lnTo>
                      <a:lnTo>
                        <a:pt x="513" y="135"/>
                      </a:lnTo>
                      <a:lnTo>
                        <a:pt x="513" y="135"/>
                      </a:lnTo>
                      <a:lnTo>
                        <a:pt x="513" y="134"/>
                      </a:lnTo>
                      <a:lnTo>
                        <a:pt x="512" y="134"/>
                      </a:lnTo>
                      <a:lnTo>
                        <a:pt x="512" y="134"/>
                      </a:lnTo>
                      <a:lnTo>
                        <a:pt x="511" y="134"/>
                      </a:lnTo>
                      <a:lnTo>
                        <a:pt x="511" y="134"/>
                      </a:lnTo>
                      <a:lnTo>
                        <a:pt x="510" y="134"/>
                      </a:lnTo>
                      <a:lnTo>
                        <a:pt x="509" y="134"/>
                      </a:lnTo>
                      <a:lnTo>
                        <a:pt x="509" y="133"/>
                      </a:lnTo>
                      <a:lnTo>
                        <a:pt x="508" y="133"/>
                      </a:lnTo>
                      <a:lnTo>
                        <a:pt x="508" y="133"/>
                      </a:lnTo>
                      <a:lnTo>
                        <a:pt x="507" y="133"/>
                      </a:lnTo>
                      <a:lnTo>
                        <a:pt x="507" y="133"/>
                      </a:lnTo>
                      <a:lnTo>
                        <a:pt x="506" y="133"/>
                      </a:lnTo>
                      <a:lnTo>
                        <a:pt x="505" y="133"/>
                      </a:lnTo>
                      <a:lnTo>
                        <a:pt x="505" y="133"/>
                      </a:lnTo>
                      <a:lnTo>
                        <a:pt x="505" y="133"/>
                      </a:lnTo>
                      <a:lnTo>
                        <a:pt x="504" y="133"/>
                      </a:lnTo>
                      <a:lnTo>
                        <a:pt x="504" y="133"/>
                      </a:lnTo>
                      <a:lnTo>
                        <a:pt x="504" y="132"/>
                      </a:lnTo>
                      <a:lnTo>
                        <a:pt x="503" y="132"/>
                      </a:lnTo>
                      <a:lnTo>
                        <a:pt x="503" y="131"/>
                      </a:lnTo>
                      <a:lnTo>
                        <a:pt x="504" y="131"/>
                      </a:lnTo>
                      <a:lnTo>
                        <a:pt x="504" y="131"/>
                      </a:lnTo>
                      <a:lnTo>
                        <a:pt x="505" y="131"/>
                      </a:lnTo>
                      <a:lnTo>
                        <a:pt x="505" y="132"/>
                      </a:lnTo>
                      <a:lnTo>
                        <a:pt x="505" y="132"/>
                      </a:lnTo>
                      <a:lnTo>
                        <a:pt x="506" y="132"/>
                      </a:lnTo>
                      <a:lnTo>
                        <a:pt x="507" y="132"/>
                      </a:lnTo>
                      <a:lnTo>
                        <a:pt x="507" y="132"/>
                      </a:lnTo>
                      <a:lnTo>
                        <a:pt x="508" y="132"/>
                      </a:lnTo>
                      <a:lnTo>
                        <a:pt x="508" y="132"/>
                      </a:lnTo>
                      <a:lnTo>
                        <a:pt x="509" y="132"/>
                      </a:lnTo>
                      <a:lnTo>
                        <a:pt x="509" y="132"/>
                      </a:lnTo>
                      <a:lnTo>
                        <a:pt x="510" y="132"/>
                      </a:lnTo>
                      <a:lnTo>
                        <a:pt x="511" y="133"/>
                      </a:lnTo>
                      <a:lnTo>
                        <a:pt x="512" y="133"/>
                      </a:lnTo>
                      <a:lnTo>
                        <a:pt x="512" y="133"/>
                      </a:lnTo>
                      <a:lnTo>
                        <a:pt x="513" y="133"/>
                      </a:lnTo>
                      <a:lnTo>
                        <a:pt x="513" y="133"/>
                      </a:lnTo>
                      <a:lnTo>
                        <a:pt x="515" y="133"/>
                      </a:lnTo>
                      <a:lnTo>
                        <a:pt x="515" y="133"/>
                      </a:lnTo>
                      <a:lnTo>
                        <a:pt x="516" y="133"/>
                      </a:lnTo>
                      <a:lnTo>
                        <a:pt x="516" y="133"/>
                      </a:lnTo>
                      <a:lnTo>
                        <a:pt x="517" y="133"/>
                      </a:lnTo>
                      <a:lnTo>
                        <a:pt x="517" y="132"/>
                      </a:lnTo>
                      <a:lnTo>
                        <a:pt x="518" y="132"/>
                      </a:lnTo>
                      <a:lnTo>
                        <a:pt x="519" y="132"/>
                      </a:lnTo>
                      <a:lnTo>
                        <a:pt x="519" y="133"/>
                      </a:lnTo>
                      <a:lnTo>
                        <a:pt x="519" y="133"/>
                      </a:lnTo>
                      <a:lnTo>
                        <a:pt x="520" y="133"/>
                      </a:lnTo>
                      <a:lnTo>
                        <a:pt x="520" y="133"/>
                      </a:lnTo>
                      <a:lnTo>
                        <a:pt x="521" y="133"/>
                      </a:lnTo>
                      <a:lnTo>
                        <a:pt x="522" y="133"/>
                      </a:lnTo>
                      <a:lnTo>
                        <a:pt x="522" y="133"/>
                      </a:lnTo>
                      <a:lnTo>
                        <a:pt x="522" y="134"/>
                      </a:lnTo>
                      <a:lnTo>
                        <a:pt x="523" y="134"/>
                      </a:lnTo>
                      <a:lnTo>
                        <a:pt x="523" y="134"/>
                      </a:lnTo>
                      <a:lnTo>
                        <a:pt x="524" y="134"/>
                      </a:lnTo>
                      <a:lnTo>
                        <a:pt x="524" y="134"/>
                      </a:lnTo>
                      <a:lnTo>
                        <a:pt x="525" y="134"/>
                      </a:lnTo>
                      <a:lnTo>
                        <a:pt x="526" y="134"/>
                      </a:lnTo>
                      <a:lnTo>
                        <a:pt x="526" y="134"/>
                      </a:lnTo>
                      <a:lnTo>
                        <a:pt x="527" y="134"/>
                      </a:lnTo>
                      <a:lnTo>
                        <a:pt x="527" y="135"/>
                      </a:lnTo>
                      <a:lnTo>
                        <a:pt x="527" y="135"/>
                      </a:lnTo>
                      <a:lnTo>
                        <a:pt x="528" y="135"/>
                      </a:lnTo>
                      <a:lnTo>
                        <a:pt x="528" y="135"/>
                      </a:lnTo>
                      <a:lnTo>
                        <a:pt x="528" y="135"/>
                      </a:lnTo>
                      <a:lnTo>
                        <a:pt x="528" y="135"/>
                      </a:lnTo>
                      <a:lnTo>
                        <a:pt x="529" y="135"/>
                      </a:lnTo>
                      <a:lnTo>
                        <a:pt x="530" y="135"/>
                      </a:lnTo>
                      <a:lnTo>
                        <a:pt x="530" y="135"/>
                      </a:lnTo>
                      <a:lnTo>
                        <a:pt x="530" y="135"/>
                      </a:lnTo>
                      <a:lnTo>
                        <a:pt x="531" y="135"/>
                      </a:lnTo>
                      <a:lnTo>
                        <a:pt x="531" y="135"/>
                      </a:lnTo>
                      <a:lnTo>
                        <a:pt x="531" y="136"/>
                      </a:lnTo>
                      <a:lnTo>
                        <a:pt x="532" y="136"/>
                      </a:lnTo>
                      <a:lnTo>
                        <a:pt x="532" y="136"/>
                      </a:lnTo>
                      <a:lnTo>
                        <a:pt x="533" y="136"/>
                      </a:lnTo>
                      <a:lnTo>
                        <a:pt x="534" y="136"/>
                      </a:lnTo>
                      <a:lnTo>
                        <a:pt x="534" y="136"/>
                      </a:lnTo>
                      <a:lnTo>
                        <a:pt x="535" y="136"/>
                      </a:lnTo>
                      <a:lnTo>
                        <a:pt x="534" y="136"/>
                      </a:lnTo>
                      <a:lnTo>
                        <a:pt x="534" y="136"/>
                      </a:lnTo>
                      <a:lnTo>
                        <a:pt x="533" y="136"/>
                      </a:lnTo>
                      <a:lnTo>
                        <a:pt x="532" y="136"/>
                      </a:lnTo>
                      <a:lnTo>
                        <a:pt x="533" y="136"/>
                      </a:lnTo>
                      <a:lnTo>
                        <a:pt x="534" y="136"/>
                      </a:lnTo>
                      <a:lnTo>
                        <a:pt x="534" y="135"/>
                      </a:lnTo>
                      <a:lnTo>
                        <a:pt x="534" y="135"/>
                      </a:lnTo>
                      <a:lnTo>
                        <a:pt x="535" y="135"/>
                      </a:lnTo>
                      <a:lnTo>
                        <a:pt x="535" y="135"/>
                      </a:lnTo>
                      <a:lnTo>
                        <a:pt x="536" y="135"/>
                      </a:lnTo>
                      <a:lnTo>
                        <a:pt x="537" y="136"/>
                      </a:lnTo>
                      <a:lnTo>
                        <a:pt x="537" y="136"/>
                      </a:lnTo>
                      <a:lnTo>
                        <a:pt x="538" y="136"/>
                      </a:lnTo>
                      <a:lnTo>
                        <a:pt x="537" y="136"/>
                      </a:lnTo>
                      <a:lnTo>
                        <a:pt x="538" y="136"/>
                      </a:lnTo>
                      <a:lnTo>
                        <a:pt x="538" y="136"/>
                      </a:lnTo>
                      <a:lnTo>
                        <a:pt x="539" y="136"/>
                      </a:lnTo>
                      <a:lnTo>
                        <a:pt x="538" y="136"/>
                      </a:lnTo>
                      <a:lnTo>
                        <a:pt x="538" y="137"/>
                      </a:lnTo>
                      <a:lnTo>
                        <a:pt x="539" y="137"/>
                      </a:lnTo>
                      <a:lnTo>
                        <a:pt x="539" y="137"/>
                      </a:lnTo>
                      <a:lnTo>
                        <a:pt x="539" y="137"/>
                      </a:lnTo>
                      <a:lnTo>
                        <a:pt x="540" y="137"/>
                      </a:lnTo>
                      <a:lnTo>
                        <a:pt x="541" y="137"/>
                      </a:lnTo>
                      <a:lnTo>
                        <a:pt x="542" y="137"/>
                      </a:lnTo>
                      <a:lnTo>
                        <a:pt x="542" y="137"/>
                      </a:lnTo>
                      <a:lnTo>
                        <a:pt x="543" y="137"/>
                      </a:lnTo>
                      <a:lnTo>
                        <a:pt x="543" y="138"/>
                      </a:lnTo>
                      <a:lnTo>
                        <a:pt x="543" y="137"/>
                      </a:lnTo>
                      <a:lnTo>
                        <a:pt x="543" y="138"/>
                      </a:lnTo>
                      <a:lnTo>
                        <a:pt x="543" y="138"/>
                      </a:lnTo>
                      <a:lnTo>
                        <a:pt x="543" y="138"/>
                      </a:lnTo>
                      <a:lnTo>
                        <a:pt x="543" y="138"/>
                      </a:lnTo>
                      <a:lnTo>
                        <a:pt x="543" y="138"/>
                      </a:lnTo>
                      <a:lnTo>
                        <a:pt x="544" y="138"/>
                      </a:lnTo>
                      <a:lnTo>
                        <a:pt x="545" y="138"/>
                      </a:lnTo>
                      <a:lnTo>
                        <a:pt x="545" y="138"/>
                      </a:lnTo>
                      <a:lnTo>
                        <a:pt x="546" y="139"/>
                      </a:lnTo>
                      <a:lnTo>
                        <a:pt x="546" y="139"/>
                      </a:lnTo>
                      <a:lnTo>
                        <a:pt x="546" y="140"/>
                      </a:lnTo>
                      <a:lnTo>
                        <a:pt x="547" y="140"/>
                      </a:lnTo>
                      <a:lnTo>
                        <a:pt x="547" y="140"/>
                      </a:lnTo>
                      <a:lnTo>
                        <a:pt x="547" y="140"/>
                      </a:lnTo>
                      <a:lnTo>
                        <a:pt x="547" y="140"/>
                      </a:lnTo>
                      <a:lnTo>
                        <a:pt x="548" y="140"/>
                      </a:lnTo>
                      <a:lnTo>
                        <a:pt x="548" y="141"/>
                      </a:lnTo>
                      <a:lnTo>
                        <a:pt x="548" y="140"/>
                      </a:lnTo>
                      <a:lnTo>
                        <a:pt x="548" y="141"/>
                      </a:lnTo>
                      <a:lnTo>
                        <a:pt x="548" y="140"/>
                      </a:lnTo>
                      <a:lnTo>
                        <a:pt x="548" y="140"/>
                      </a:lnTo>
                      <a:lnTo>
                        <a:pt x="549" y="140"/>
                      </a:lnTo>
                      <a:lnTo>
                        <a:pt x="549" y="141"/>
                      </a:lnTo>
                      <a:lnTo>
                        <a:pt x="549" y="141"/>
                      </a:lnTo>
                      <a:lnTo>
                        <a:pt x="550" y="141"/>
                      </a:lnTo>
                      <a:lnTo>
                        <a:pt x="550" y="142"/>
                      </a:lnTo>
                      <a:lnTo>
                        <a:pt x="551" y="142"/>
                      </a:lnTo>
                      <a:lnTo>
                        <a:pt x="551" y="142"/>
                      </a:lnTo>
                      <a:lnTo>
                        <a:pt x="552" y="142"/>
                      </a:lnTo>
                      <a:lnTo>
                        <a:pt x="551" y="142"/>
                      </a:lnTo>
                      <a:lnTo>
                        <a:pt x="551" y="142"/>
                      </a:lnTo>
                      <a:lnTo>
                        <a:pt x="552" y="142"/>
                      </a:lnTo>
                      <a:lnTo>
                        <a:pt x="552" y="142"/>
                      </a:lnTo>
                      <a:lnTo>
                        <a:pt x="553" y="142"/>
                      </a:lnTo>
                      <a:lnTo>
                        <a:pt x="553" y="142"/>
                      </a:lnTo>
                      <a:lnTo>
                        <a:pt x="553" y="143"/>
                      </a:lnTo>
                      <a:lnTo>
                        <a:pt x="553" y="144"/>
                      </a:lnTo>
                      <a:lnTo>
                        <a:pt x="553" y="144"/>
                      </a:lnTo>
                      <a:lnTo>
                        <a:pt x="554" y="144"/>
                      </a:lnTo>
                      <a:lnTo>
                        <a:pt x="553" y="144"/>
                      </a:lnTo>
                      <a:lnTo>
                        <a:pt x="553" y="144"/>
                      </a:lnTo>
                      <a:lnTo>
                        <a:pt x="554" y="144"/>
                      </a:lnTo>
                      <a:lnTo>
                        <a:pt x="554" y="144"/>
                      </a:lnTo>
                      <a:lnTo>
                        <a:pt x="554" y="144"/>
                      </a:lnTo>
                      <a:lnTo>
                        <a:pt x="555" y="145"/>
                      </a:lnTo>
                      <a:lnTo>
                        <a:pt x="556" y="145"/>
                      </a:lnTo>
                      <a:lnTo>
                        <a:pt x="556" y="145"/>
                      </a:lnTo>
                      <a:lnTo>
                        <a:pt x="556" y="145"/>
                      </a:lnTo>
                      <a:lnTo>
                        <a:pt x="556" y="145"/>
                      </a:lnTo>
                      <a:lnTo>
                        <a:pt x="557" y="146"/>
                      </a:lnTo>
                      <a:lnTo>
                        <a:pt x="557" y="145"/>
                      </a:lnTo>
                      <a:lnTo>
                        <a:pt x="556" y="145"/>
                      </a:lnTo>
                      <a:lnTo>
                        <a:pt x="556" y="145"/>
                      </a:lnTo>
                      <a:lnTo>
                        <a:pt x="556" y="145"/>
                      </a:lnTo>
                      <a:lnTo>
                        <a:pt x="556" y="145"/>
                      </a:lnTo>
                      <a:lnTo>
                        <a:pt x="557" y="145"/>
                      </a:lnTo>
                      <a:lnTo>
                        <a:pt x="557" y="145"/>
                      </a:lnTo>
                      <a:lnTo>
                        <a:pt x="558" y="145"/>
                      </a:lnTo>
                      <a:lnTo>
                        <a:pt x="557" y="145"/>
                      </a:lnTo>
                      <a:lnTo>
                        <a:pt x="558" y="145"/>
                      </a:lnTo>
                      <a:lnTo>
                        <a:pt x="558" y="146"/>
                      </a:lnTo>
                      <a:lnTo>
                        <a:pt x="558" y="146"/>
                      </a:lnTo>
                      <a:lnTo>
                        <a:pt x="558" y="146"/>
                      </a:lnTo>
                      <a:lnTo>
                        <a:pt x="559" y="146"/>
                      </a:lnTo>
                      <a:lnTo>
                        <a:pt x="559" y="147"/>
                      </a:lnTo>
                      <a:lnTo>
                        <a:pt x="559" y="146"/>
                      </a:lnTo>
                      <a:lnTo>
                        <a:pt x="559" y="147"/>
                      </a:lnTo>
                      <a:lnTo>
                        <a:pt x="560" y="147"/>
                      </a:lnTo>
                      <a:lnTo>
                        <a:pt x="560" y="148"/>
                      </a:lnTo>
                      <a:lnTo>
                        <a:pt x="560" y="148"/>
                      </a:lnTo>
                      <a:lnTo>
                        <a:pt x="560" y="147"/>
                      </a:lnTo>
                      <a:lnTo>
                        <a:pt x="560" y="147"/>
                      </a:lnTo>
                      <a:lnTo>
                        <a:pt x="560" y="148"/>
                      </a:lnTo>
                      <a:lnTo>
                        <a:pt x="561" y="148"/>
                      </a:lnTo>
                      <a:lnTo>
                        <a:pt x="561" y="148"/>
                      </a:lnTo>
                      <a:lnTo>
                        <a:pt x="561" y="148"/>
                      </a:lnTo>
                      <a:lnTo>
                        <a:pt x="561" y="149"/>
                      </a:lnTo>
                      <a:lnTo>
                        <a:pt x="562" y="149"/>
                      </a:lnTo>
                      <a:lnTo>
                        <a:pt x="562" y="149"/>
                      </a:lnTo>
                      <a:lnTo>
                        <a:pt x="562" y="150"/>
                      </a:lnTo>
                      <a:lnTo>
                        <a:pt x="562" y="151"/>
                      </a:lnTo>
                      <a:lnTo>
                        <a:pt x="562" y="151"/>
                      </a:lnTo>
                      <a:lnTo>
                        <a:pt x="563" y="151"/>
                      </a:lnTo>
                      <a:lnTo>
                        <a:pt x="563" y="152"/>
                      </a:lnTo>
                      <a:lnTo>
                        <a:pt x="563" y="152"/>
                      </a:lnTo>
                      <a:lnTo>
                        <a:pt x="563" y="153"/>
                      </a:lnTo>
                      <a:lnTo>
                        <a:pt x="563" y="153"/>
                      </a:lnTo>
                      <a:lnTo>
                        <a:pt x="563" y="153"/>
                      </a:lnTo>
                      <a:lnTo>
                        <a:pt x="563" y="154"/>
                      </a:lnTo>
                      <a:lnTo>
                        <a:pt x="563" y="155"/>
                      </a:lnTo>
                      <a:lnTo>
                        <a:pt x="563" y="155"/>
                      </a:lnTo>
                      <a:lnTo>
                        <a:pt x="563" y="156"/>
                      </a:lnTo>
                      <a:lnTo>
                        <a:pt x="563" y="156"/>
                      </a:lnTo>
                      <a:lnTo>
                        <a:pt x="563" y="158"/>
                      </a:lnTo>
                      <a:lnTo>
                        <a:pt x="563" y="159"/>
                      </a:lnTo>
                      <a:lnTo>
                        <a:pt x="563" y="159"/>
                      </a:lnTo>
                      <a:lnTo>
                        <a:pt x="563" y="160"/>
                      </a:lnTo>
                      <a:lnTo>
                        <a:pt x="564" y="160"/>
                      </a:lnTo>
                      <a:lnTo>
                        <a:pt x="563" y="160"/>
                      </a:lnTo>
                      <a:lnTo>
                        <a:pt x="564" y="160"/>
                      </a:lnTo>
                      <a:lnTo>
                        <a:pt x="564" y="160"/>
                      </a:lnTo>
                      <a:lnTo>
                        <a:pt x="565" y="160"/>
                      </a:lnTo>
                      <a:lnTo>
                        <a:pt x="565" y="161"/>
                      </a:lnTo>
                      <a:lnTo>
                        <a:pt x="565" y="161"/>
                      </a:lnTo>
                      <a:lnTo>
                        <a:pt x="565" y="162"/>
                      </a:lnTo>
                      <a:lnTo>
                        <a:pt x="565" y="162"/>
                      </a:lnTo>
                      <a:lnTo>
                        <a:pt x="565" y="162"/>
                      </a:lnTo>
                      <a:lnTo>
                        <a:pt x="564" y="162"/>
                      </a:lnTo>
                      <a:lnTo>
                        <a:pt x="564" y="163"/>
                      </a:lnTo>
                      <a:lnTo>
                        <a:pt x="564" y="163"/>
                      </a:lnTo>
                      <a:lnTo>
                        <a:pt x="564" y="163"/>
                      </a:lnTo>
                      <a:lnTo>
                        <a:pt x="564" y="164"/>
                      </a:lnTo>
                      <a:lnTo>
                        <a:pt x="563" y="164"/>
                      </a:lnTo>
                      <a:lnTo>
                        <a:pt x="563" y="164"/>
                      </a:lnTo>
                      <a:lnTo>
                        <a:pt x="563" y="164"/>
                      </a:lnTo>
                      <a:lnTo>
                        <a:pt x="563" y="164"/>
                      </a:lnTo>
                      <a:lnTo>
                        <a:pt x="563" y="164"/>
                      </a:lnTo>
                      <a:lnTo>
                        <a:pt x="564" y="164"/>
                      </a:lnTo>
                      <a:lnTo>
                        <a:pt x="564" y="163"/>
                      </a:lnTo>
                      <a:lnTo>
                        <a:pt x="564" y="163"/>
                      </a:lnTo>
                      <a:lnTo>
                        <a:pt x="565" y="164"/>
                      </a:lnTo>
                      <a:lnTo>
                        <a:pt x="565" y="164"/>
                      </a:lnTo>
                      <a:lnTo>
                        <a:pt x="565" y="164"/>
                      </a:lnTo>
                      <a:lnTo>
                        <a:pt x="565" y="165"/>
                      </a:lnTo>
                      <a:lnTo>
                        <a:pt x="564" y="165"/>
                      </a:lnTo>
                      <a:lnTo>
                        <a:pt x="564" y="165"/>
                      </a:lnTo>
                      <a:lnTo>
                        <a:pt x="564" y="166"/>
                      </a:lnTo>
                      <a:lnTo>
                        <a:pt x="563" y="166"/>
                      </a:lnTo>
                      <a:lnTo>
                        <a:pt x="563" y="167"/>
                      </a:lnTo>
                      <a:lnTo>
                        <a:pt x="562" y="167"/>
                      </a:lnTo>
                      <a:lnTo>
                        <a:pt x="563" y="167"/>
                      </a:lnTo>
                      <a:lnTo>
                        <a:pt x="562" y="167"/>
                      </a:lnTo>
                      <a:lnTo>
                        <a:pt x="562" y="167"/>
                      </a:lnTo>
                      <a:lnTo>
                        <a:pt x="561" y="167"/>
                      </a:lnTo>
                      <a:lnTo>
                        <a:pt x="561" y="168"/>
                      </a:lnTo>
                      <a:lnTo>
                        <a:pt x="561" y="168"/>
                      </a:lnTo>
                      <a:lnTo>
                        <a:pt x="560" y="168"/>
                      </a:lnTo>
                      <a:lnTo>
                        <a:pt x="560" y="168"/>
                      </a:lnTo>
                      <a:lnTo>
                        <a:pt x="560" y="168"/>
                      </a:lnTo>
                      <a:lnTo>
                        <a:pt x="560" y="168"/>
                      </a:lnTo>
                      <a:lnTo>
                        <a:pt x="560" y="168"/>
                      </a:lnTo>
                      <a:lnTo>
                        <a:pt x="559" y="168"/>
                      </a:lnTo>
                      <a:lnTo>
                        <a:pt x="560" y="168"/>
                      </a:lnTo>
                      <a:lnTo>
                        <a:pt x="559" y="168"/>
                      </a:lnTo>
                      <a:lnTo>
                        <a:pt x="558" y="168"/>
                      </a:lnTo>
                      <a:lnTo>
                        <a:pt x="558" y="168"/>
                      </a:lnTo>
                      <a:lnTo>
                        <a:pt x="558" y="168"/>
                      </a:lnTo>
                      <a:lnTo>
                        <a:pt x="558" y="168"/>
                      </a:lnTo>
                      <a:lnTo>
                        <a:pt x="558" y="168"/>
                      </a:lnTo>
                      <a:lnTo>
                        <a:pt x="557" y="168"/>
                      </a:lnTo>
                      <a:lnTo>
                        <a:pt x="558" y="168"/>
                      </a:lnTo>
                      <a:lnTo>
                        <a:pt x="557" y="168"/>
                      </a:lnTo>
                      <a:lnTo>
                        <a:pt x="556" y="168"/>
                      </a:lnTo>
                      <a:lnTo>
                        <a:pt x="555" y="168"/>
                      </a:lnTo>
                      <a:lnTo>
                        <a:pt x="554" y="168"/>
                      </a:lnTo>
                      <a:lnTo>
                        <a:pt x="554" y="168"/>
                      </a:lnTo>
                      <a:lnTo>
                        <a:pt x="553" y="168"/>
                      </a:lnTo>
                      <a:lnTo>
                        <a:pt x="553" y="168"/>
                      </a:lnTo>
                      <a:lnTo>
                        <a:pt x="552" y="168"/>
                      </a:lnTo>
                      <a:lnTo>
                        <a:pt x="552" y="168"/>
                      </a:lnTo>
                      <a:lnTo>
                        <a:pt x="552" y="168"/>
                      </a:lnTo>
                      <a:lnTo>
                        <a:pt x="552" y="168"/>
                      </a:lnTo>
                      <a:lnTo>
                        <a:pt x="552" y="169"/>
                      </a:lnTo>
                      <a:lnTo>
                        <a:pt x="551" y="169"/>
                      </a:lnTo>
                      <a:lnTo>
                        <a:pt x="551" y="170"/>
                      </a:lnTo>
                      <a:lnTo>
                        <a:pt x="551" y="170"/>
                      </a:lnTo>
                      <a:lnTo>
                        <a:pt x="550" y="170"/>
                      </a:lnTo>
                      <a:lnTo>
                        <a:pt x="550" y="171"/>
                      </a:lnTo>
                      <a:lnTo>
                        <a:pt x="551" y="171"/>
                      </a:lnTo>
                      <a:lnTo>
                        <a:pt x="551" y="171"/>
                      </a:lnTo>
                      <a:lnTo>
                        <a:pt x="552" y="171"/>
                      </a:lnTo>
                      <a:lnTo>
                        <a:pt x="551" y="172"/>
                      </a:lnTo>
                      <a:lnTo>
                        <a:pt x="552" y="172"/>
                      </a:lnTo>
                      <a:lnTo>
                        <a:pt x="552" y="171"/>
                      </a:lnTo>
                      <a:lnTo>
                        <a:pt x="552" y="171"/>
                      </a:lnTo>
                      <a:lnTo>
                        <a:pt x="552" y="172"/>
                      </a:lnTo>
                      <a:lnTo>
                        <a:pt x="553" y="172"/>
                      </a:lnTo>
                      <a:lnTo>
                        <a:pt x="553" y="173"/>
                      </a:lnTo>
                      <a:lnTo>
                        <a:pt x="553" y="173"/>
                      </a:lnTo>
                      <a:lnTo>
                        <a:pt x="552" y="173"/>
                      </a:lnTo>
                      <a:lnTo>
                        <a:pt x="553" y="173"/>
                      </a:lnTo>
                      <a:lnTo>
                        <a:pt x="552" y="173"/>
                      </a:lnTo>
                      <a:lnTo>
                        <a:pt x="553" y="173"/>
                      </a:lnTo>
                      <a:lnTo>
                        <a:pt x="552" y="173"/>
                      </a:lnTo>
                      <a:lnTo>
                        <a:pt x="552" y="174"/>
                      </a:lnTo>
                      <a:lnTo>
                        <a:pt x="552" y="173"/>
                      </a:lnTo>
                      <a:lnTo>
                        <a:pt x="552" y="174"/>
                      </a:lnTo>
                      <a:lnTo>
                        <a:pt x="553" y="174"/>
                      </a:lnTo>
                      <a:lnTo>
                        <a:pt x="552" y="174"/>
                      </a:lnTo>
                      <a:lnTo>
                        <a:pt x="552" y="174"/>
                      </a:lnTo>
                      <a:lnTo>
                        <a:pt x="552" y="174"/>
                      </a:lnTo>
                      <a:lnTo>
                        <a:pt x="552" y="174"/>
                      </a:lnTo>
                      <a:lnTo>
                        <a:pt x="552" y="174"/>
                      </a:lnTo>
                      <a:lnTo>
                        <a:pt x="552" y="175"/>
                      </a:lnTo>
                      <a:lnTo>
                        <a:pt x="551" y="175"/>
                      </a:lnTo>
                      <a:lnTo>
                        <a:pt x="550" y="175"/>
                      </a:lnTo>
                      <a:lnTo>
                        <a:pt x="549" y="175"/>
                      </a:lnTo>
                      <a:lnTo>
                        <a:pt x="549" y="176"/>
                      </a:lnTo>
                      <a:lnTo>
                        <a:pt x="549" y="176"/>
                      </a:lnTo>
                      <a:lnTo>
                        <a:pt x="548" y="176"/>
                      </a:lnTo>
                      <a:lnTo>
                        <a:pt x="548" y="177"/>
                      </a:lnTo>
                      <a:lnTo>
                        <a:pt x="547" y="176"/>
                      </a:lnTo>
                      <a:lnTo>
                        <a:pt x="546" y="176"/>
                      </a:lnTo>
                      <a:lnTo>
                        <a:pt x="546" y="177"/>
                      </a:lnTo>
                      <a:lnTo>
                        <a:pt x="546" y="177"/>
                      </a:lnTo>
                      <a:lnTo>
                        <a:pt x="545" y="177"/>
                      </a:lnTo>
                      <a:lnTo>
                        <a:pt x="545" y="178"/>
                      </a:lnTo>
                      <a:lnTo>
                        <a:pt x="545" y="178"/>
                      </a:lnTo>
                      <a:lnTo>
                        <a:pt x="545" y="178"/>
                      </a:lnTo>
                      <a:lnTo>
                        <a:pt x="544" y="178"/>
                      </a:lnTo>
                      <a:lnTo>
                        <a:pt x="543" y="178"/>
                      </a:lnTo>
                      <a:lnTo>
                        <a:pt x="543" y="178"/>
                      </a:lnTo>
                      <a:lnTo>
                        <a:pt x="543" y="178"/>
                      </a:lnTo>
                      <a:lnTo>
                        <a:pt x="543" y="179"/>
                      </a:lnTo>
                      <a:lnTo>
                        <a:pt x="543" y="179"/>
                      </a:lnTo>
                      <a:lnTo>
                        <a:pt x="542" y="179"/>
                      </a:lnTo>
                      <a:lnTo>
                        <a:pt x="542" y="179"/>
                      </a:lnTo>
                      <a:lnTo>
                        <a:pt x="542" y="179"/>
                      </a:lnTo>
                      <a:lnTo>
                        <a:pt x="542" y="180"/>
                      </a:lnTo>
                      <a:lnTo>
                        <a:pt x="541" y="180"/>
                      </a:lnTo>
                      <a:lnTo>
                        <a:pt x="541" y="181"/>
                      </a:lnTo>
                      <a:lnTo>
                        <a:pt x="542" y="181"/>
                      </a:lnTo>
                      <a:lnTo>
                        <a:pt x="542" y="181"/>
                      </a:lnTo>
                      <a:lnTo>
                        <a:pt x="542" y="181"/>
                      </a:lnTo>
                      <a:lnTo>
                        <a:pt x="542" y="181"/>
                      </a:lnTo>
                      <a:lnTo>
                        <a:pt x="542" y="181"/>
                      </a:lnTo>
                      <a:lnTo>
                        <a:pt x="542" y="181"/>
                      </a:lnTo>
                      <a:lnTo>
                        <a:pt x="542" y="181"/>
                      </a:lnTo>
                      <a:lnTo>
                        <a:pt x="541" y="181"/>
                      </a:lnTo>
                      <a:lnTo>
                        <a:pt x="541" y="180"/>
                      </a:lnTo>
                      <a:lnTo>
                        <a:pt x="542" y="180"/>
                      </a:lnTo>
                      <a:lnTo>
                        <a:pt x="542" y="179"/>
                      </a:lnTo>
                      <a:lnTo>
                        <a:pt x="542" y="179"/>
                      </a:lnTo>
                      <a:lnTo>
                        <a:pt x="542" y="179"/>
                      </a:lnTo>
                      <a:lnTo>
                        <a:pt x="543" y="179"/>
                      </a:lnTo>
                      <a:lnTo>
                        <a:pt x="543" y="179"/>
                      </a:lnTo>
                      <a:lnTo>
                        <a:pt x="543" y="178"/>
                      </a:lnTo>
                      <a:lnTo>
                        <a:pt x="544" y="178"/>
                      </a:lnTo>
                      <a:lnTo>
                        <a:pt x="545" y="178"/>
                      </a:lnTo>
                      <a:lnTo>
                        <a:pt x="545" y="178"/>
                      </a:lnTo>
                      <a:lnTo>
                        <a:pt x="545" y="178"/>
                      </a:lnTo>
                      <a:lnTo>
                        <a:pt x="545" y="178"/>
                      </a:lnTo>
                      <a:lnTo>
                        <a:pt x="545" y="179"/>
                      </a:lnTo>
                      <a:lnTo>
                        <a:pt x="545" y="179"/>
                      </a:lnTo>
                      <a:lnTo>
                        <a:pt x="545" y="179"/>
                      </a:lnTo>
                      <a:lnTo>
                        <a:pt x="545" y="180"/>
                      </a:lnTo>
                      <a:lnTo>
                        <a:pt x="545" y="181"/>
                      </a:lnTo>
                      <a:lnTo>
                        <a:pt x="544" y="181"/>
                      </a:lnTo>
                      <a:lnTo>
                        <a:pt x="543" y="181"/>
                      </a:lnTo>
                      <a:lnTo>
                        <a:pt x="543" y="182"/>
                      </a:lnTo>
                      <a:lnTo>
                        <a:pt x="543" y="182"/>
                      </a:lnTo>
                      <a:lnTo>
                        <a:pt x="543" y="182"/>
                      </a:lnTo>
                      <a:lnTo>
                        <a:pt x="542" y="182"/>
                      </a:lnTo>
                      <a:lnTo>
                        <a:pt x="542" y="182"/>
                      </a:lnTo>
                      <a:lnTo>
                        <a:pt x="542" y="182"/>
                      </a:lnTo>
                      <a:lnTo>
                        <a:pt x="542" y="182"/>
                      </a:lnTo>
                      <a:lnTo>
                        <a:pt x="542" y="182"/>
                      </a:lnTo>
                      <a:lnTo>
                        <a:pt x="542" y="182"/>
                      </a:lnTo>
                      <a:lnTo>
                        <a:pt x="541" y="182"/>
                      </a:lnTo>
                      <a:lnTo>
                        <a:pt x="541" y="182"/>
                      </a:lnTo>
                      <a:lnTo>
                        <a:pt x="540" y="182"/>
                      </a:lnTo>
                      <a:lnTo>
                        <a:pt x="539" y="182"/>
                      </a:lnTo>
                      <a:lnTo>
                        <a:pt x="539" y="182"/>
                      </a:lnTo>
                      <a:lnTo>
                        <a:pt x="539" y="182"/>
                      </a:lnTo>
                      <a:lnTo>
                        <a:pt x="539" y="182"/>
                      </a:lnTo>
                      <a:lnTo>
                        <a:pt x="539" y="181"/>
                      </a:lnTo>
                      <a:lnTo>
                        <a:pt x="538" y="181"/>
                      </a:lnTo>
                      <a:lnTo>
                        <a:pt x="538" y="181"/>
                      </a:lnTo>
                      <a:lnTo>
                        <a:pt x="538" y="181"/>
                      </a:lnTo>
                      <a:lnTo>
                        <a:pt x="537" y="180"/>
                      </a:lnTo>
                      <a:lnTo>
                        <a:pt x="537" y="180"/>
                      </a:lnTo>
                      <a:lnTo>
                        <a:pt x="537" y="180"/>
                      </a:lnTo>
                      <a:lnTo>
                        <a:pt x="537" y="181"/>
                      </a:lnTo>
                      <a:lnTo>
                        <a:pt x="538" y="181"/>
                      </a:lnTo>
                      <a:lnTo>
                        <a:pt x="537" y="181"/>
                      </a:lnTo>
                      <a:lnTo>
                        <a:pt x="538" y="181"/>
                      </a:lnTo>
                      <a:lnTo>
                        <a:pt x="538" y="181"/>
                      </a:lnTo>
                      <a:lnTo>
                        <a:pt x="538" y="181"/>
                      </a:lnTo>
                      <a:lnTo>
                        <a:pt x="539" y="181"/>
                      </a:lnTo>
                      <a:lnTo>
                        <a:pt x="539" y="182"/>
                      </a:lnTo>
                      <a:lnTo>
                        <a:pt x="539" y="182"/>
                      </a:lnTo>
                      <a:lnTo>
                        <a:pt x="539" y="182"/>
                      </a:lnTo>
                      <a:lnTo>
                        <a:pt x="539" y="182"/>
                      </a:lnTo>
                      <a:lnTo>
                        <a:pt x="539" y="182"/>
                      </a:lnTo>
                      <a:lnTo>
                        <a:pt x="540" y="182"/>
                      </a:lnTo>
                      <a:lnTo>
                        <a:pt x="539" y="182"/>
                      </a:lnTo>
                      <a:lnTo>
                        <a:pt x="540" y="182"/>
                      </a:lnTo>
                      <a:lnTo>
                        <a:pt x="539" y="183"/>
                      </a:lnTo>
                      <a:lnTo>
                        <a:pt x="540" y="183"/>
                      </a:lnTo>
                      <a:lnTo>
                        <a:pt x="539" y="183"/>
                      </a:lnTo>
                      <a:lnTo>
                        <a:pt x="539" y="183"/>
                      </a:lnTo>
                      <a:lnTo>
                        <a:pt x="539" y="184"/>
                      </a:lnTo>
                      <a:lnTo>
                        <a:pt x="538" y="184"/>
                      </a:lnTo>
                      <a:lnTo>
                        <a:pt x="539" y="184"/>
                      </a:lnTo>
                      <a:lnTo>
                        <a:pt x="539" y="184"/>
                      </a:lnTo>
                      <a:lnTo>
                        <a:pt x="538" y="184"/>
                      </a:lnTo>
                      <a:lnTo>
                        <a:pt x="538" y="184"/>
                      </a:lnTo>
                      <a:lnTo>
                        <a:pt x="539" y="184"/>
                      </a:lnTo>
                      <a:lnTo>
                        <a:pt x="538" y="184"/>
                      </a:lnTo>
                      <a:lnTo>
                        <a:pt x="539" y="184"/>
                      </a:lnTo>
                      <a:lnTo>
                        <a:pt x="539" y="185"/>
                      </a:lnTo>
                      <a:lnTo>
                        <a:pt x="538" y="185"/>
                      </a:lnTo>
                      <a:lnTo>
                        <a:pt x="538" y="185"/>
                      </a:lnTo>
                      <a:lnTo>
                        <a:pt x="538" y="185"/>
                      </a:lnTo>
                      <a:lnTo>
                        <a:pt x="538" y="185"/>
                      </a:lnTo>
                      <a:lnTo>
                        <a:pt x="538" y="185"/>
                      </a:lnTo>
                      <a:lnTo>
                        <a:pt x="538" y="186"/>
                      </a:lnTo>
                      <a:lnTo>
                        <a:pt x="537" y="186"/>
                      </a:lnTo>
                      <a:lnTo>
                        <a:pt x="538" y="186"/>
                      </a:lnTo>
                      <a:lnTo>
                        <a:pt x="538" y="185"/>
                      </a:lnTo>
                      <a:lnTo>
                        <a:pt x="538" y="185"/>
                      </a:lnTo>
                      <a:lnTo>
                        <a:pt x="538" y="185"/>
                      </a:lnTo>
                      <a:lnTo>
                        <a:pt x="538" y="185"/>
                      </a:lnTo>
                      <a:lnTo>
                        <a:pt x="538" y="185"/>
                      </a:lnTo>
                      <a:lnTo>
                        <a:pt x="539" y="185"/>
                      </a:lnTo>
                      <a:lnTo>
                        <a:pt x="539" y="184"/>
                      </a:lnTo>
                      <a:lnTo>
                        <a:pt x="538" y="184"/>
                      </a:lnTo>
                      <a:lnTo>
                        <a:pt x="539" y="184"/>
                      </a:lnTo>
                      <a:lnTo>
                        <a:pt x="538" y="184"/>
                      </a:lnTo>
                      <a:lnTo>
                        <a:pt x="539" y="184"/>
                      </a:lnTo>
                      <a:lnTo>
                        <a:pt x="539" y="184"/>
                      </a:lnTo>
                      <a:lnTo>
                        <a:pt x="538" y="184"/>
                      </a:lnTo>
                      <a:lnTo>
                        <a:pt x="539" y="184"/>
                      </a:lnTo>
                      <a:lnTo>
                        <a:pt x="539" y="183"/>
                      </a:lnTo>
                      <a:lnTo>
                        <a:pt x="539" y="183"/>
                      </a:lnTo>
                      <a:lnTo>
                        <a:pt x="540" y="183"/>
                      </a:lnTo>
                      <a:lnTo>
                        <a:pt x="539" y="183"/>
                      </a:lnTo>
                      <a:lnTo>
                        <a:pt x="539" y="184"/>
                      </a:lnTo>
                      <a:lnTo>
                        <a:pt x="540" y="184"/>
                      </a:lnTo>
                      <a:lnTo>
                        <a:pt x="540" y="183"/>
                      </a:lnTo>
                      <a:lnTo>
                        <a:pt x="541" y="183"/>
                      </a:lnTo>
                      <a:lnTo>
                        <a:pt x="541" y="182"/>
                      </a:lnTo>
                      <a:lnTo>
                        <a:pt x="541" y="182"/>
                      </a:lnTo>
                      <a:lnTo>
                        <a:pt x="541" y="183"/>
                      </a:lnTo>
                      <a:lnTo>
                        <a:pt x="542" y="182"/>
                      </a:lnTo>
                      <a:lnTo>
                        <a:pt x="542" y="182"/>
                      </a:lnTo>
                      <a:lnTo>
                        <a:pt x="542" y="183"/>
                      </a:lnTo>
                      <a:lnTo>
                        <a:pt x="542" y="184"/>
                      </a:lnTo>
                      <a:lnTo>
                        <a:pt x="542" y="184"/>
                      </a:lnTo>
                      <a:lnTo>
                        <a:pt x="542" y="184"/>
                      </a:lnTo>
                      <a:lnTo>
                        <a:pt x="542" y="185"/>
                      </a:lnTo>
                      <a:lnTo>
                        <a:pt x="542" y="184"/>
                      </a:lnTo>
                      <a:lnTo>
                        <a:pt x="542" y="185"/>
                      </a:lnTo>
                      <a:lnTo>
                        <a:pt x="542" y="185"/>
                      </a:lnTo>
                      <a:lnTo>
                        <a:pt x="542" y="186"/>
                      </a:lnTo>
                      <a:lnTo>
                        <a:pt x="541" y="186"/>
                      </a:lnTo>
                      <a:lnTo>
                        <a:pt x="541" y="186"/>
                      </a:lnTo>
                      <a:lnTo>
                        <a:pt x="540" y="187"/>
                      </a:lnTo>
                      <a:lnTo>
                        <a:pt x="539" y="187"/>
                      </a:lnTo>
                      <a:lnTo>
                        <a:pt x="539" y="186"/>
                      </a:lnTo>
                      <a:lnTo>
                        <a:pt x="539" y="187"/>
                      </a:lnTo>
                      <a:lnTo>
                        <a:pt x="540" y="187"/>
                      </a:lnTo>
                      <a:lnTo>
                        <a:pt x="539" y="187"/>
                      </a:lnTo>
                      <a:lnTo>
                        <a:pt x="539" y="188"/>
                      </a:lnTo>
                      <a:lnTo>
                        <a:pt x="539" y="188"/>
                      </a:lnTo>
                      <a:lnTo>
                        <a:pt x="538" y="188"/>
                      </a:lnTo>
                      <a:lnTo>
                        <a:pt x="538" y="188"/>
                      </a:lnTo>
                      <a:lnTo>
                        <a:pt x="538" y="189"/>
                      </a:lnTo>
                      <a:lnTo>
                        <a:pt x="537" y="189"/>
                      </a:lnTo>
                      <a:lnTo>
                        <a:pt x="537" y="189"/>
                      </a:lnTo>
                      <a:lnTo>
                        <a:pt x="537" y="189"/>
                      </a:lnTo>
                      <a:lnTo>
                        <a:pt x="537" y="190"/>
                      </a:lnTo>
                      <a:lnTo>
                        <a:pt x="537" y="189"/>
                      </a:lnTo>
                      <a:lnTo>
                        <a:pt x="537" y="189"/>
                      </a:lnTo>
                      <a:lnTo>
                        <a:pt x="537" y="190"/>
                      </a:lnTo>
                      <a:lnTo>
                        <a:pt x="537" y="190"/>
                      </a:lnTo>
                      <a:lnTo>
                        <a:pt x="537" y="190"/>
                      </a:lnTo>
                      <a:lnTo>
                        <a:pt x="537" y="190"/>
                      </a:lnTo>
                      <a:lnTo>
                        <a:pt x="537" y="190"/>
                      </a:lnTo>
                      <a:lnTo>
                        <a:pt x="537" y="190"/>
                      </a:lnTo>
                      <a:lnTo>
                        <a:pt x="537" y="190"/>
                      </a:lnTo>
                      <a:lnTo>
                        <a:pt x="537" y="191"/>
                      </a:lnTo>
                      <a:lnTo>
                        <a:pt x="537" y="192"/>
                      </a:lnTo>
                      <a:lnTo>
                        <a:pt x="537" y="192"/>
                      </a:lnTo>
                      <a:lnTo>
                        <a:pt x="536" y="192"/>
                      </a:lnTo>
                      <a:lnTo>
                        <a:pt x="536" y="193"/>
                      </a:lnTo>
                      <a:lnTo>
                        <a:pt x="536" y="192"/>
                      </a:lnTo>
                      <a:lnTo>
                        <a:pt x="537" y="192"/>
                      </a:lnTo>
                      <a:lnTo>
                        <a:pt x="537" y="193"/>
                      </a:lnTo>
                      <a:lnTo>
                        <a:pt x="536" y="193"/>
                      </a:lnTo>
                      <a:lnTo>
                        <a:pt x="536" y="194"/>
                      </a:lnTo>
                      <a:lnTo>
                        <a:pt x="536" y="194"/>
                      </a:lnTo>
                      <a:lnTo>
                        <a:pt x="536" y="194"/>
                      </a:lnTo>
                      <a:lnTo>
                        <a:pt x="536" y="194"/>
                      </a:lnTo>
                      <a:lnTo>
                        <a:pt x="536" y="195"/>
                      </a:lnTo>
                      <a:lnTo>
                        <a:pt x="535" y="196"/>
                      </a:lnTo>
                      <a:lnTo>
                        <a:pt x="536" y="196"/>
                      </a:lnTo>
                      <a:lnTo>
                        <a:pt x="535" y="196"/>
                      </a:lnTo>
                      <a:lnTo>
                        <a:pt x="536" y="196"/>
                      </a:lnTo>
                      <a:lnTo>
                        <a:pt x="535" y="196"/>
                      </a:lnTo>
                      <a:lnTo>
                        <a:pt x="536" y="196"/>
                      </a:lnTo>
                      <a:lnTo>
                        <a:pt x="535" y="197"/>
                      </a:lnTo>
                      <a:lnTo>
                        <a:pt x="535" y="197"/>
                      </a:lnTo>
                      <a:lnTo>
                        <a:pt x="535" y="197"/>
                      </a:lnTo>
                      <a:lnTo>
                        <a:pt x="535" y="197"/>
                      </a:lnTo>
                      <a:lnTo>
                        <a:pt x="535" y="198"/>
                      </a:lnTo>
                      <a:lnTo>
                        <a:pt x="535" y="199"/>
                      </a:lnTo>
                      <a:lnTo>
                        <a:pt x="535" y="199"/>
                      </a:lnTo>
                      <a:lnTo>
                        <a:pt x="535" y="199"/>
                      </a:lnTo>
                      <a:lnTo>
                        <a:pt x="535" y="200"/>
                      </a:lnTo>
                      <a:lnTo>
                        <a:pt x="534" y="200"/>
                      </a:lnTo>
                      <a:lnTo>
                        <a:pt x="534" y="201"/>
                      </a:lnTo>
                      <a:lnTo>
                        <a:pt x="533" y="201"/>
                      </a:lnTo>
                      <a:lnTo>
                        <a:pt x="534" y="201"/>
                      </a:lnTo>
                      <a:lnTo>
                        <a:pt x="534" y="201"/>
                      </a:lnTo>
                      <a:lnTo>
                        <a:pt x="533" y="201"/>
                      </a:lnTo>
                      <a:lnTo>
                        <a:pt x="534" y="201"/>
                      </a:lnTo>
                      <a:lnTo>
                        <a:pt x="533" y="201"/>
                      </a:lnTo>
                      <a:lnTo>
                        <a:pt x="532" y="202"/>
                      </a:lnTo>
                      <a:lnTo>
                        <a:pt x="532" y="202"/>
                      </a:lnTo>
                      <a:lnTo>
                        <a:pt x="532" y="203"/>
                      </a:lnTo>
                      <a:lnTo>
                        <a:pt x="531" y="203"/>
                      </a:lnTo>
                      <a:lnTo>
                        <a:pt x="531" y="202"/>
                      </a:lnTo>
                      <a:lnTo>
                        <a:pt x="532" y="202"/>
                      </a:lnTo>
                      <a:lnTo>
                        <a:pt x="532" y="201"/>
                      </a:lnTo>
                      <a:lnTo>
                        <a:pt x="532" y="201"/>
                      </a:lnTo>
                      <a:lnTo>
                        <a:pt x="532" y="201"/>
                      </a:lnTo>
                      <a:lnTo>
                        <a:pt x="532" y="201"/>
                      </a:lnTo>
                      <a:lnTo>
                        <a:pt x="532" y="202"/>
                      </a:lnTo>
                      <a:lnTo>
                        <a:pt x="531" y="202"/>
                      </a:lnTo>
                      <a:lnTo>
                        <a:pt x="531" y="203"/>
                      </a:lnTo>
                      <a:lnTo>
                        <a:pt x="531" y="203"/>
                      </a:lnTo>
                      <a:lnTo>
                        <a:pt x="530" y="203"/>
                      </a:lnTo>
                      <a:lnTo>
                        <a:pt x="530" y="204"/>
                      </a:lnTo>
                      <a:lnTo>
                        <a:pt x="530" y="203"/>
                      </a:lnTo>
                      <a:lnTo>
                        <a:pt x="530" y="204"/>
                      </a:lnTo>
                      <a:lnTo>
                        <a:pt x="529" y="204"/>
                      </a:lnTo>
                      <a:lnTo>
                        <a:pt x="530" y="204"/>
                      </a:lnTo>
                      <a:lnTo>
                        <a:pt x="530" y="204"/>
                      </a:lnTo>
                      <a:lnTo>
                        <a:pt x="529" y="204"/>
                      </a:lnTo>
                      <a:lnTo>
                        <a:pt x="529" y="204"/>
                      </a:lnTo>
                      <a:lnTo>
                        <a:pt x="528" y="204"/>
                      </a:lnTo>
                      <a:lnTo>
                        <a:pt x="528" y="204"/>
                      </a:lnTo>
                      <a:lnTo>
                        <a:pt x="527" y="204"/>
                      </a:lnTo>
                      <a:lnTo>
                        <a:pt x="527" y="203"/>
                      </a:lnTo>
                      <a:lnTo>
                        <a:pt x="527" y="204"/>
                      </a:lnTo>
                      <a:lnTo>
                        <a:pt x="527" y="204"/>
                      </a:lnTo>
                      <a:lnTo>
                        <a:pt x="527" y="203"/>
                      </a:lnTo>
                      <a:lnTo>
                        <a:pt x="527" y="203"/>
                      </a:lnTo>
                      <a:lnTo>
                        <a:pt x="527" y="203"/>
                      </a:lnTo>
                      <a:lnTo>
                        <a:pt x="527" y="203"/>
                      </a:lnTo>
                      <a:lnTo>
                        <a:pt x="526" y="203"/>
                      </a:lnTo>
                      <a:lnTo>
                        <a:pt x="527" y="203"/>
                      </a:lnTo>
                      <a:lnTo>
                        <a:pt x="526" y="203"/>
                      </a:lnTo>
                      <a:lnTo>
                        <a:pt x="527" y="203"/>
                      </a:lnTo>
                      <a:lnTo>
                        <a:pt x="527" y="203"/>
                      </a:lnTo>
                      <a:lnTo>
                        <a:pt x="527" y="203"/>
                      </a:lnTo>
                      <a:lnTo>
                        <a:pt x="527" y="204"/>
                      </a:lnTo>
                      <a:lnTo>
                        <a:pt x="527" y="204"/>
                      </a:lnTo>
                      <a:lnTo>
                        <a:pt x="527" y="203"/>
                      </a:lnTo>
                      <a:lnTo>
                        <a:pt x="527" y="204"/>
                      </a:lnTo>
                      <a:lnTo>
                        <a:pt x="528" y="204"/>
                      </a:lnTo>
                      <a:lnTo>
                        <a:pt x="528" y="204"/>
                      </a:lnTo>
                      <a:lnTo>
                        <a:pt x="528" y="204"/>
                      </a:lnTo>
                      <a:lnTo>
                        <a:pt x="528" y="204"/>
                      </a:lnTo>
                      <a:lnTo>
                        <a:pt x="528" y="205"/>
                      </a:lnTo>
                      <a:lnTo>
                        <a:pt x="528" y="205"/>
                      </a:lnTo>
                      <a:lnTo>
                        <a:pt x="529" y="205"/>
                      </a:lnTo>
                      <a:lnTo>
                        <a:pt x="528" y="205"/>
                      </a:lnTo>
                      <a:lnTo>
                        <a:pt x="528" y="205"/>
                      </a:lnTo>
                      <a:lnTo>
                        <a:pt x="528" y="205"/>
                      </a:lnTo>
                      <a:lnTo>
                        <a:pt x="527" y="205"/>
                      </a:lnTo>
                      <a:lnTo>
                        <a:pt x="527" y="205"/>
                      </a:lnTo>
                      <a:lnTo>
                        <a:pt x="528" y="205"/>
                      </a:lnTo>
                      <a:lnTo>
                        <a:pt x="528" y="205"/>
                      </a:lnTo>
                      <a:lnTo>
                        <a:pt x="528" y="206"/>
                      </a:lnTo>
                      <a:lnTo>
                        <a:pt x="528" y="206"/>
                      </a:lnTo>
                      <a:lnTo>
                        <a:pt x="528" y="206"/>
                      </a:lnTo>
                      <a:lnTo>
                        <a:pt x="528" y="205"/>
                      </a:lnTo>
                      <a:lnTo>
                        <a:pt x="527" y="206"/>
                      </a:lnTo>
                      <a:lnTo>
                        <a:pt x="527" y="205"/>
                      </a:lnTo>
                      <a:lnTo>
                        <a:pt x="527" y="205"/>
                      </a:lnTo>
                      <a:lnTo>
                        <a:pt x="526" y="205"/>
                      </a:lnTo>
                      <a:lnTo>
                        <a:pt x="526" y="205"/>
                      </a:lnTo>
                      <a:lnTo>
                        <a:pt x="526" y="205"/>
                      </a:lnTo>
                      <a:lnTo>
                        <a:pt x="526" y="205"/>
                      </a:lnTo>
                      <a:lnTo>
                        <a:pt x="526" y="204"/>
                      </a:lnTo>
                      <a:lnTo>
                        <a:pt x="526" y="205"/>
                      </a:lnTo>
                      <a:lnTo>
                        <a:pt x="525" y="204"/>
                      </a:lnTo>
                      <a:lnTo>
                        <a:pt x="525" y="205"/>
                      </a:lnTo>
                      <a:lnTo>
                        <a:pt x="524" y="204"/>
                      </a:lnTo>
                      <a:lnTo>
                        <a:pt x="524" y="204"/>
                      </a:lnTo>
                      <a:lnTo>
                        <a:pt x="523" y="204"/>
                      </a:lnTo>
                      <a:lnTo>
                        <a:pt x="523" y="204"/>
                      </a:lnTo>
                      <a:lnTo>
                        <a:pt x="523" y="204"/>
                      </a:lnTo>
                      <a:lnTo>
                        <a:pt x="522" y="204"/>
                      </a:lnTo>
                      <a:lnTo>
                        <a:pt x="522" y="203"/>
                      </a:lnTo>
                      <a:lnTo>
                        <a:pt x="522" y="203"/>
                      </a:lnTo>
                      <a:lnTo>
                        <a:pt x="522" y="204"/>
                      </a:lnTo>
                      <a:lnTo>
                        <a:pt x="521" y="204"/>
                      </a:lnTo>
                      <a:lnTo>
                        <a:pt x="520" y="204"/>
                      </a:lnTo>
                      <a:lnTo>
                        <a:pt x="520" y="203"/>
                      </a:lnTo>
                      <a:lnTo>
                        <a:pt x="520" y="204"/>
                      </a:lnTo>
                      <a:lnTo>
                        <a:pt x="520" y="204"/>
                      </a:lnTo>
                      <a:lnTo>
                        <a:pt x="519" y="204"/>
                      </a:lnTo>
                      <a:lnTo>
                        <a:pt x="519" y="204"/>
                      </a:lnTo>
                      <a:lnTo>
                        <a:pt x="518" y="204"/>
                      </a:lnTo>
                      <a:lnTo>
                        <a:pt x="517" y="204"/>
                      </a:lnTo>
                      <a:lnTo>
                        <a:pt x="517" y="204"/>
                      </a:lnTo>
                      <a:lnTo>
                        <a:pt x="517" y="204"/>
                      </a:lnTo>
                      <a:lnTo>
                        <a:pt x="517" y="204"/>
                      </a:lnTo>
                      <a:lnTo>
                        <a:pt x="517" y="203"/>
                      </a:lnTo>
                      <a:lnTo>
                        <a:pt x="517" y="203"/>
                      </a:lnTo>
                      <a:lnTo>
                        <a:pt x="517" y="204"/>
                      </a:lnTo>
                      <a:lnTo>
                        <a:pt x="516" y="204"/>
                      </a:lnTo>
                      <a:lnTo>
                        <a:pt x="516" y="204"/>
                      </a:lnTo>
                      <a:lnTo>
                        <a:pt x="516" y="203"/>
                      </a:lnTo>
                      <a:lnTo>
                        <a:pt x="516" y="203"/>
                      </a:lnTo>
                      <a:lnTo>
                        <a:pt x="515" y="203"/>
                      </a:lnTo>
                      <a:lnTo>
                        <a:pt x="515" y="203"/>
                      </a:lnTo>
                      <a:lnTo>
                        <a:pt x="515" y="203"/>
                      </a:lnTo>
                      <a:lnTo>
                        <a:pt x="515" y="204"/>
                      </a:lnTo>
                      <a:lnTo>
                        <a:pt x="514" y="204"/>
                      </a:lnTo>
                      <a:lnTo>
                        <a:pt x="514" y="203"/>
                      </a:lnTo>
                      <a:lnTo>
                        <a:pt x="514" y="203"/>
                      </a:lnTo>
                      <a:lnTo>
                        <a:pt x="514" y="202"/>
                      </a:lnTo>
                      <a:lnTo>
                        <a:pt x="513" y="202"/>
                      </a:lnTo>
                      <a:lnTo>
                        <a:pt x="513" y="203"/>
                      </a:lnTo>
                      <a:lnTo>
                        <a:pt x="513" y="203"/>
                      </a:lnTo>
                      <a:lnTo>
                        <a:pt x="513" y="203"/>
                      </a:lnTo>
                      <a:lnTo>
                        <a:pt x="513" y="203"/>
                      </a:lnTo>
                      <a:lnTo>
                        <a:pt x="513" y="203"/>
                      </a:lnTo>
                      <a:lnTo>
                        <a:pt x="512" y="203"/>
                      </a:lnTo>
                      <a:lnTo>
                        <a:pt x="512" y="203"/>
                      </a:lnTo>
                      <a:lnTo>
                        <a:pt x="511" y="203"/>
                      </a:lnTo>
                      <a:lnTo>
                        <a:pt x="511" y="204"/>
                      </a:lnTo>
                      <a:lnTo>
                        <a:pt x="512" y="204"/>
                      </a:lnTo>
                      <a:lnTo>
                        <a:pt x="512" y="204"/>
                      </a:lnTo>
                      <a:lnTo>
                        <a:pt x="511" y="204"/>
                      </a:lnTo>
                      <a:lnTo>
                        <a:pt x="511" y="204"/>
                      </a:lnTo>
                      <a:lnTo>
                        <a:pt x="511" y="205"/>
                      </a:lnTo>
                      <a:lnTo>
                        <a:pt x="511" y="205"/>
                      </a:lnTo>
                      <a:lnTo>
                        <a:pt x="510" y="205"/>
                      </a:lnTo>
                      <a:lnTo>
                        <a:pt x="509" y="205"/>
                      </a:lnTo>
                      <a:lnTo>
                        <a:pt x="510" y="205"/>
                      </a:lnTo>
                      <a:lnTo>
                        <a:pt x="511" y="205"/>
                      </a:lnTo>
                      <a:lnTo>
                        <a:pt x="511" y="205"/>
                      </a:lnTo>
                      <a:lnTo>
                        <a:pt x="511" y="204"/>
                      </a:lnTo>
                      <a:lnTo>
                        <a:pt x="512" y="204"/>
                      </a:lnTo>
                      <a:lnTo>
                        <a:pt x="512" y="204"/>
                      </a:lnTo>
                      <a:lnTo>
                        <a:pt x="511" y="204"/>
                      </a:lnTo>
                      <a:lnTo>
                        <a:pt x="511" y="203"/>
                      </a:lnTo>
                      <a:lnTo>
                        <a:pt x="512" y="203"/>
                      </a:lnTo>
                      <a:lnTo>
                        <a:pt x="512" y="203"/>
                      </a:lnTo>
                      <a:lnTo>
                        <a:pt x="513" y="203"/>
                      </a:lnTo>
                      <a:lnTo>
                        <a:pt x="513" y="203"/>
                      </a:lnTo>
                      <a:lnTo>
                        <a:pt x="513" y="203"/>
                      </a:lnTo>
                      <a:lnTo>
                        <a:pt x="513" y="203"/>
                      </a:lnTo>
                      <a:lnTo>
                        <a:pt x="513" y="203"/>
                      </a:lnTo>
                      <a:lnTo>
                        <a:pt x="513" y="202"/>
                      </a:lnTo>
                      <a:lnTo>
                        <a:pt x="514" y="202"/>
                      </a:lnTo>
                      <a:lnTo>
                        <a:pt x="514" y="203"/>
                      </a:lnTo>
                      <a:lnTo>
                        <a:pt x="514" y="203"/>
                      </a:lnTo>
                      <a:lnTo>
                        <a:pt x="514" y="204"/>
                      </a:lnTo>
                      <a:lnTo>
                        <a:pt x="515" y="204"/>
                      </a:lnTo>
                      <a:lnTo>
                        <a:pt x="515" y="203"/>
                      </a:lnTo>
                      <a:lnTo>
                        <a:pt x="515" y="203"/>
                      </a:lnTo>
                      <a:lnTo>
                        <a:pt x="516" y="203"/>
                      </a:lnTo>
                      <a:lnTo>
                        <a:pt x="516" y="203"/>
                      </a:lnTo>
                      <a:lnTo>
                        <a:pt x="516" y="203"/>
                      </a:lnTo>
                      <a:lnTo>
                        <a:pt x="516" y="203"/>
                      </a:lnTo>
                      <a:lnTo>
                        <a:pt x="516" y="203"/>
                      </a:lnTo>
                      <a:lnTo>
                        <a:pt x="516" y="203"/>
                      </a:lnTo>
                      <a:lnTo>
                        <a:pt x="516" y="204"/>
                      </a:lnTo>
                      <a:lnTo>
                        <a:pt x="516" y="204"/>
                      </a:lnTo>
                      <a:lnTo>
                        <a:pt x="517" y="204"/>
                      </a:lnTo>
                      <a:lnTo>
                        <a:pt x="517" y="203"/>
                      </a:lnTo>
                      <a:lnTo>
                        <a:pt x="517" y="203"/>
                      </a:lnTo>
                      <a:lnTo>
                        <a:pt x="517" y="204"/>
                      </a:lnTo>
                      <a:lnTo>
                        <a:pt x="517" y="204"/>
                      </a:lnTo>
                      <a:lnTo>
                        <a:pt x="517" y="204"/>
                      </a:lnTo>
                      <a:lnTo>
                        <a:pt x="517" y="204"/>
                      </a:lnTo>
                      <a:lnTo>
                        <a:pt x="518" y="204"/>
                      </a:lnTo>
                      <a:lnTo>
                        <a:pt x="519" y="204"/>
                      </a:lnTo>
                      <a:lnTo>
                        <a:pt x="519" y="204"/>
                      </a:lnTo>
                      <a:lnTo>
                        <a:pt x="520" y="205"/>
                      </a:lnTo>
                      <a:lnTo>
                        <a:pt x="520" y="204"/>
                      </a:lnTo>
                      <a:lnTo>
                        <a:pt x="520" y="204"/>
                      </a:lnTo>
                      <a:lnTo>
                        <a:pt x="520" y="203"/>
                      </a:lnTo>
                      <a:lnTo>
                        <a:pt x="520" y="204"/>
                      </a:lnTo>
                      <a:lnTo>
                        <a:pt x="521" y="204"/>
                      </a:lnTo>
                      <a:lnTo>
                        <a:pt x="522" y="204"/>
                      </a:lnTo>
                      <a:lnTo>
                        <a:pt x="522" y="203"/>
                      </a:lnTo>
                      <a:lnTo>
                        <a:pt x="522" y="204"/>
                      </a:lnTo>
                      <a:lnTo>
                        <a:pt x="522" y="204"/>
                      </a:lnTo>
                      <a:lnTo>
                        <a:pt x="523" y="204"/>
                      </a:lnTo>
                      <a:lnTo>
                        <a:pt x="523" y="204"/>
                      </a:lnTo>
                      <a:lnTo>
                        <a:pt x="524" y="204"/>
                      </a:lnTo>
                      <a:lnTo>
                        <a:pt x="524" y="204"/>
                      </a:lnTo>
                      <a:lnTo>
                        <a:pt x="524" y="205"/>
                      </a:lnTo>
                      <a:lnTo>
                        <a:pt x="525" y="205"/>
                      </a:lnTo>
                      <a:lnTo>
                        <a:pt x="526" y="205"/>
                      </a:lnTo>
                      <a:lnTo>
                        <a:pt x="525" y="205"/>
                      </a:lnTo>
                      <a:lnTo>
                        <a:pt x="526" y="205"/>
                      </a:lnTo>
                      <a:lnTo>
                        <a:pt x="526" y="204"/>
                      </a:lnTo>
                      <a:lnTo>
                        <a:pt x="526" y="205"/>
                      </a:lnTo>
                      <a:lnTo>
                        <a:pt x="526" y="205"/>
                      </a:lnTo>
                      <a:lnTo>
                        <a:pt x="526" y="205"/>
                      </a:lnTo>
                      <a:lnTo>
                        <a:pt x="526" y="205"/>
                      </a:lnTo>
                      <a:lnTo>
                        <a:pt x="526" y="205"/>
                      </a:lnTo>
                      <a:lnTo>
                        <a:pt x="526" y="205"/>
                      </a:lnTo>
                      <a:lnTo>
                        <a:pt x="526" y="205"/>
                      </a:lnTo>
                      <a:lnTo>
                        <a:pt x="526" y="205"/>
                      </a:lnTo>
                      <a:lnTo>
                        <a:pt x="526" y="205"/>
                      </a:lnTo>
                      <a:lnTo>
                        <a:pt x="526" y="205"/>
                      </a:lnTo>
                      <a:lnTo>
                        <a:pt x="526" y="205"/>
                      </a:lnTo>
                      <a:lnTo>
                        <a:pt x="527" y="205"/>
                      </a:lnTo>
                      <a:lnTo>
                        <a:pt x="527" y="205"/>
                      </a:lnTo>
                      <a:lnTo>
                        <a:pt x="527" y="206"/>
                      </a:lnTo>
                      <a:lnTo>
                        <a:pt x="528" y="206"/>
                      </a:lnTo>
                      <a:lnTo>
                        <a:pt x="527" y="206"/>
                      </a:lnTo>
                      <a:lnTo>
                        <a:pt x="527" y="207"/>
                      </a:lnTo>
                      <a:lnTo>
                        <a:pt x="528" y="207"/>
                      </a:lnTo>
                      <a:lnTo>
                        <a:pt x="527" y="207"/>
                      </a:lnTo>
                      <a:lnTo>
                        <a:pt x="528" y="207"/>
                      </a:lnTo>
                      <a:lnTo>
                        <a:pt x="527" y="207"/>
                      </a:lnTo>
                      <a:lnTo>
                        <a:pt x="527" y="206"/>
                      </a:lnTo>
                      <a:lnTo>
                        <a:pt x="528" y="206"/>
                      </a:lnTo>
                      <a:lnTo>
                        <a:pt x="527" y="206"/>
                      </a:lnTo>
                      <a:lnTo>
                        <a:pt x="528" y="206"/>
                      </a:lnTo>
                      <a:lnTo>
                        <a:pt x="528" y="205"/>
                      </a:lnTo>
                      <a:lnTo>
                        <a:pt x="528" y="206"/>
                      </a:lnTo>
                      <a:lnTo>
                        <a:pt x="528" y="206"/>
                      </a:lnTo>
                      <a:lnTo>
                        <a:pt x="528" y="207"/>
                      </a:lnTo>
                      <a:lnTo>
                        <a:pt x="529" y="206"/>
                      </a:lnTo>
                      <a:lnTo>
                        <a:pt x="529" y="207"/>
                      </a:lnTo>
                      <a:lnTo>
                        <a:pt x="529" y="207"/>
                      </a:lnTo>
                      <a:lnTo>
                        <a:pt x="528" y="207"/>
                      </a:lnTo>
                      <a:lnTo>
                        <a:pt x="528" y="208"/>
                      </a:lnTo>
                      <a:lnTo>
                        <a:pt x="528" y="208"/>
                      </a:lnTo>
                      <a:lnTo>
                        <a:pt x="528" y="208"/>
                      </a:lnTo>
                      <a:lnTo>
                        <a:pt x="528" y="208"/>
                      </a:lnTo>
                      <a:lnTo>
                        <a:pt x="528" y="208"/>
                      </a:lnTo>
                      <a:lnTo>
                        <a:pt x="528" y="209"/>
                      </a:lnTo>
                      <a:lnTo>
                        <a:pt x="528" y="209"/>
                      </a:lnTo>
                      <a:lnTo>
                        <a:pt x="528" y="210"/>
                      </a:lnTo>
                      <a:lnTo>
                        <a:pt x="528" y="210"/>
                      </a:lnTo>
                      <a:lnTo>
                        <a:pt x="528" y="210"/>
                      </a:lnTo>
                      <a:lnTo>
                        <a:pt x="528" y="211"/>
                      </a:lnTo>
                      <a:lnTo>
                        <a:pt x="528" y="210"/>
                      </a:lnTo>
                      <a:lnTo>
                        <a:pt x="528" y="211"/>
                      </a:lnTo>
                      <a:lnTo>
                        <a:pt x="528" y="211"/>
                      </a:lnTo>
                      <a:lnTo>
                        <a:pt x="528" y="211"/>
                      </a:lnTo>
                      <a:lnTo>
                        <a:pt x="528" y="211"/>
                      </a:lnTo>
                      <a:lnTo>
                        <a:pt x="528" y="212"/>
                      </a:lnTo>
                      <a:lnTo>
                        <a:pt x="527" y="212"/>
                      </a:lnTo>
                      <a:lnTo>
                        <a:pt x="528" y="212"/>
                      </a:lnTo>
                      <a:lnTo>
                        <a:pt x="528" y="212"/>
                      </a:lnTo>
                      <a:lnTo>
                        <a:pt x="528" y="212"/>
                      </a:lnTo>
                      <a:lnTo>
                        <a:pt x="528" y="212"/>
                      </a:lnTo>
                      <a:lnTo>
                        <a:pt x="528" y="212"/>
                      </a:lnTo>
                      <a:lnTo>
                        <a:pt x="529" y="212"/>
                      </a:lnTo>
                      <a:lnTo>
                        <a:pt x="529" y="213"/>
                      </a:lnTo>
                      <a:lnTo>
                        <a:pt x="528" y="213"/>
                      </a:lnTo>
                      <a:lnTo>
                        <a:pt x="528" y="214"/>
                      </a:lnTo>
                      <a:lnTo>
                        <a:pt x="528" y="213"/>
                      </a:lnTo>
                      <a:lnTo>
                        <a:pt x="528" y="214"/>
                      </a:lnTo>
                      <a:lnTo>
                        <a:pt x="529" y="214"/>
                      </a:lnTo>
                      <a:lnTo>
                        <a:pt x="529" y="214"/>
                      </a:lnTo>
                      <a:lnTo>
                        <a:pt x="530" y="215"/>
                      </a:lnTo>
                      <a:lnTo>
                        <a:pt x="530" y="215"/>
                      </a:lnTo>
                      <a:lnTo>
                        <a:pt x="530" y="215"/>
                      </a:lnTo>
                      <a:lnTo>
                        <a:pt x="530" y="215"/>
                      </a:lnTo>
                      <a:lnTo>
                        <a:pt x="530" y="216"/>
                      </a:lnTo>
                      <a:lnTo>
                        <a:pt x="530" y="215"/>
                      </a:lnTo>
                      <a:lnTo>
                        <a:pt x="530" y="216"/>
                      </a:lnTo>
                      <a:lnTo>
                        <a:pt x="530" y="215"/>
                      </a:lnTo>
                      <a:lnTo>
                        <a:pt x="530" y="215"/>
                      </a:lnTo>
                      <a:lnTo>
                        <a:pt x="531" y="216"/>
                      </a:lnTo>
                      <a:lnTo>
                        <a:pt x="531" y="216"/>
                      </a:lnTo>
                      <a:lnTo>
                        <a:pt x="531" y="217"/>
                      </a:lnTo>
                      <a:lnTo>
                        <a:pt x="531" y="218"/>
                      </a:lnTo>
                      <a:lnTo>
                        <a:pt x="531" y="218"/>
                      </a:lnTo>
                      <a:lnTo>
                        <a:pt x="531" y="218"/>
                      </a:lnTo>
                      <a:lnTo>
                        <a:pt x="531" y="219"/>
                      </a:lnTo>
                      <a:lnTo>
                        <a:pt x="532" y="219"/>
                      </a:lnTo>
                      <a:lnTo>
                        <a:pt x="532" y="219"/>
                      </a:lnTo>
                      <a:lnTo>
                        <a:pt x="531" y="220"/>
                      </a:lnTo>
                      <a:lnTo>
                        <a:pt x="531" y="221"/>
                      </a:lnTo>
                      <a:lnTo>
                        <a:pt x="531" y="221"/>
                      </a:lnTo>
                      <a:lnTo>
                        <a:pt x="532" y="221"/>
                      </a:lnTo>
                      <a:lnTo>
                        <a:pt x="532" y="222"/>
                      </a:lnTo>
                      <a:lnTo>
                        <a:pt x="531" y="222"/>
                      </a:lnTo>
                      <a:lnTo>
                        <a:pt x="532" y="222"/>
                      </a:lnTo>
                      <a:lnTo>
                        <a:pt x="532" y="222"/>
                      </a:lnTo>
                      <a:lnTo>
                        <a:pt x="532" y="223"/>
                      </a:lnTo>
                      <a:lnTo>
                        <a:pt x="532" y="223"/>
                      </a:lnTo>
                      <a:lnTo>
                        <a:pt x="532" y="224"/>
                      </a:lnTo>
                      <a:lnTo>
                        <a:pt x="532" y="225"/>
                      </a:lnTo>
                      <a:lnTo>
                        <a:pt x="532" y="225"/>
                      </a:lnTo>
                      <a:lnTo>
                        <a:pt x="532" y="226"/>
                      </a:lnTo>
                      <a:lnTo>
                        <a:pt x="532" y="226"/>
                      </a:lnTo>
                      <a:lnTo>
                        <a:pt x="532" y="227"/>
                      </a:lnTo>
                      <a:lnTo>
                        <a:pt x="532" y="227"/>
                      </a:lnTo>
                      <a:lnTo>
                        <a:pt x="533" y="227"/>
                      </a:lnTo>
                      <a:lnTo>
                        <a:pt x="532" y="227"/>
                      </a:lnTo>
                      <a:lnTo>
                        <a:pt x="532" y="227"/>
                      </a:lnTo>
                      <a:lnTo>
                        <a:pt x="532" y="226"/>
                      </a:lnTo>
                      <a:lnTo>
                        <a:pt x="532" y="226"/>
                      </a:lnTo>
                      <a:lnTo>
                        <a:pt x="532" y="225"/>
                      </a:lnTo>
                      <a:lnTo>
                        <a:pt x="533" y="225"/>
                      </a:lnTo>
                      <a:lnTo>
                        <a:pt x="533" y="226"/>
                      </a:lnTo>
                      <a:lnTo>
                        <a:pt x="532" y="226"/>
                      </a:lnTo>
                      <a:lnTo>
                        <a:pt x="533" y="226"/>
                      </a:lnTo>
                      <a:lnTo>
                        <a:pt x="533" y="226"/>
                      </a:lnTo>
                      <a:lnTo>
                        <a:pt x="533" y="226"/>
                      </a:lnTo>
                      <a:lnTo>
                        <a:pt x="534" y="226"/>
                      </a:lnTo>
                      <a:lnTo>
                        <a:pt x="534" y="227"/>
                      </a:lnTo>
                      <a:lnTo>
                        <a:pt x="534" y="227"/>
                      </a:lnTo>
                      <a:lnTo>
                        <a:pt x="534" y="227"/>
                      </a:lnTo>
                      <a:lnTo>
                        <a:pt x="534" y="228"/>
                      </a:lnTo>
                      <a:lnTo>
                        <a:pt x="534" y="228"/>
                      </a:lnTo>
                      <a:lnTo>
                        <a:pt x="534" y="227"/>
                      </a:lnTo>
                      <a:lnTo>
                        <a:pt x="534" y="228"/>
                      </a:lnTo>
                      <a:lnTo>
                        <a:pt x="534" y="229"/>
                      </a:lnTo>
                      <a:lnTo>
                        <a:pt x="534" y="229"/>
                      </a:lnTo>
                      <a:lnTo>
                        <a:pt x="534" y="229"/>
                      </a:lnTo>
                      <a:lnTo>
                        <a:pt x="534" y="229"/>
                      </a:lnTo>
                      <a:lnTo>
                        <a:pt x="534" y="230"/>
                      </a:lnTo>
                      <a:lnTo>
                        <a:pt x="534" y="230"/>
                      </a:lnTo>
                      <a:lnTo>
                        <a:pt x="535" y="230"/>
                      </a:lnTo>
                      <a:lnTo>
                        <a:pt x="534" y="230"/>
                      </a:lnTo>
                      <a:lnTo>
                        <a:pt x="534" y="231"/>
                      </a:lnTo>
                      <a:lnTo>
                        <a:pt x="534" y="231"/>
                      </a:lnTo>
                      <a:lnTo>
                        <a:pt x="534" y="231"/>
                      </a:lnTo>
                      <a:lnTo>
                        <a:pt x="534" y="230"/>
                      </a:lnTo>
                      <a:lnTo>
                        <a:pt x="535" y="230"/>
                      </a:lnTo>
                      <a:lnTo>
                        <a:pt x="535" y="231"/>
                      </a:lnTo>
                      <a:lnTo>
                        <a:pt x="535" y="232"/>
                      </a:lnTo>
                      <a:lnTo>
                        <a:pt x="534" y="232"/>
                      </a:lnTo>
                      <a:lnTo>
                        <a:pt x="534" y="232"/>
                      </a:lnTo>
                      <a:lnTo>
                        <a:pt x="534" y="232"/>
                      </a:lnTo>
                      <a:lnTo>
                        <a:pt x="534" y="233"/>
                      </a:lnTo>
                      <a:lnTo>
                        <a:pt x="534" y="233"/>
                      </a:lnTo>
                      <a:lnTo>
                        <a:pt x="534" y="233"/>
                      </a:lnTo>
                      <a:lnTo>
                        <a:pt x="534" y="233"/>
                      </a:lnTo>
                      <a:lnTo>
                        <a:pt x="534" y="233"/>
                      </a:lnTo>
                      <a:lnTo>
                        <a:pt x="534" y="233"/>
                      </a:lnTo>
                      <a:lnTo>
                        <a:pt x="534" y="233"/>
                      </a:lnTo>
                      <a:lnTo>
                        <a:pt x="534" y="232"/>
                      </a:lnTo>
                      <a:lnTo>
                        <a:pt x="534" y="232"/>
                      </a:lnTo>
                      <a:lnTo>
                        <a:pt x="534" y="232"/>
                      </a:lnTo>
                      <a:lnTo>
                        <a:pt x="534" y="232"/>
                      </a:lnTo>
                      <a:lnTo>
                        <a:pt x="534" y="232"/>
                      </a:lnTo>
                      <a:lnTo>
                        <a:pt x="534" y="232"/>
                      </a:lnTo>
                      <a:lnTo>
                        <a:pt x="535" y="232"/>
                      </a:lnTo>
                      <a:lnTo>
                        <a:pt x="535" y="232"/>
                      </a:lnTo>
                      <a:lnTo>
                        <a:pt x="534" y="232"/>
                      </a:lnTo>
                      <a:lnTo>
                        <a:pt x="535" y="232"/>
                      </a:lnTo>
                      <a:lnTo>
                        <a:pt x="535" y="232"/>
                      </a:lnTo>
                      <a:lnTo>
                        <a:pt x="534" y="232"/>
                      </a:lnTo>
                      <a:lnTo>
                        <a:pt x="534" y="232"/>
                      </a:lnTo>
                      <a:lnTo>
                        <a:pt x="534" y="232"/>
                      </a:lnTo>
                      <a:lnTo>
                        <a:pt x="535" y="232"/>
                      </a:lnTo>
                      <a:lnTo>
                        <a:pt x="535" y="231"/>
                      </a:lnTo>
                      <a:lnTo>
                        <a:pt x="535" y="232"/>
                      </a:lnTo>
                      <a:lnTo>
                        <a:pt x="535" y="232"/>
                      </a:lnTo>
                      <a:lnTo>
                        <a:pt x="535" y="233"/>
                      </a:lnTo>
                      <a:lnTo>
                        <a:pt x="536" y="233"/>
                      </a:lnTo>
                      <a:lnTo>
                        <a:pt x="536" y="233"/>
                      </a:lnTo>
                      <a:lnTo>
                        <a:pt x="536" y="234"/>
                      </a:lnTo>
                      <a:lnTo>
                        <a:pt x="537" y="234"/>
                      </a:lnTo>
                      <a:lnTo>
                        <a:pt x="536" y="234"/>
                      </a:lnTo>
                      <a:lnTo>
                        <a:pt x="536" y="234"/>
                      </a:lnTo>
                      <a:lnTo>
                        <a:pt x="536" y="234"/>
                      </a:lnTo>
                      <a:lnTo>
                        <a:pt x="537" y="234"/>
                      </a:lnTo>
                      <a:lnTo>
                        <a:pt x="537" y="235"/>
                      </a:lnTo>
                      <a:lnTo>
                        <a:pt x="537" y="234"/>
                      </a:lnTo>
                      <a:lnTo>
                        <a:pt x="537" y="235"/>
                      </a:lnTo>
                      <a:lnTo>
                        <a:pt x="537" y="234"/>
                      </a:lnTo>
                      <a:lnTo>
                        <a:pt x="537" y="234"/>
                      </a:lnTo>
                      <a:lnTo>
                        <a:pt x="537" y="234"/>
                      </a:lnTo>
                      <a:lnTo>
                        <a:pt x="537" y="234"/>
                      </a:lnTo>
                      <a:lnTo>
                        <a:pt x="537" y="234"/>
                      </a:lnTo>
                      <a:lnTo>
                        <a:pt x="537" y="234"/>
                      </a:lnTo>
                      <a:lnTo>
                        <a:pt x="538" y="235"/>
                      </a:lnTo>
                      <a:lnTo>
                        <a:pt x="538" y="234"/>
                      </a:lnTo>
                      <a:lnTo>
                        <a:pt x="538" y="235"/>
                      </a:lnTo>
                      <a:lnTo>
                        <a:pt x="538" y="235"/>
                      </a:lnTo>
                      <a:lnTo>
                        <a:pt x="538" y="236"/>
                      </a:lnTo>
                      <a:lnTo>
                        <a:pt x="538" y="236"/>
                      </a:lnTo>
                      <a:lnTo>
                        <a:pt x="538" y="236"/>
                      </a:lnTo>
                      <a:lnTo>
                        <a:pt x="538" y="236"/>
                      </a:lnTo>
                      <a:lnTo>
                        <a:pt x="538" y="236"/>
                      </a:lnTo>
                      <a:lnTo>
                        <a:pt x="538" y="237"/>
                      </a:lnTo>
                      <a:lnTo>
                        <a:pt x="538" y="236"/>
                      </a:lnTo>
                      <a:lnTo>
                        <a:pt x="538" y="237"/>
                      </a:lnTo>
                      <a:lnTo>
                        <a:pt x="538" y="237"/>
                      </a:lnTo>
                      <a:lnTo>
                        <a:pt x="538" y="238"/>
                      </a:lnTo>
                      <a:lnTo>
                        <a:pt x="538" y="238"/>
                      </a:lnTo>
                      <a:lnTo>
                        <a:pt x="538" y="238"/>
                      </a:lnTo>
                      <a:lnTo>
                        <a:pt x="538" y="239"/>
                      </a:lnTo>
                      <a:lnTo>
                        <a:pt x="538" y="240"/>
                      </a:lnTo>
                      <a:lnTo>
                        <a:pt x="538" y="240"/>
                      </a:lnTo>
                      <a:lnTo>
                        <a:pt x="538" y="241"/>
                      </a:lnTo>
                      <a:lnTo>
                        <a:pt x="538" y="241"/>
                      </a:lnTo>
                      <a:lnTo>
                        <a:pt x="538" y="242"/>
                      </a:lnTo>
                      <a:lnTo>
                        <a:pt x="538" y="243"/>
                      </a:lnTo>
                      <a:lnTo>
                        <a:pt x="538" y="242"/>
                      </a:lnTo>
                      <a:lnTo>
                        <a:pt x="538" y="243"/>
                      </a:lnTo>
                      <a:lnTo>
                        <a:pt x="538" y="243"/>
                      </a:lnTo>
                      <a:lnTo>
                        <a:pt x="538" y="243"/>
                      </a:lnTo>
                      <a:lnTo>
                        <a:pt x="538" y="243"/>
                      </a:lnTo>
                      <a:lnTo>
                        <a:pt x="538" y="243"/>
                      </a:lnTo>
                      <a:lnTo>
                        <a:pt x="539" y="243"/>
                      </a:lnTo>
                      <a:lnTo>
                        <a:pt x="539" y="244"/>
                      </a:lnTo>
                      <a:lnTo>
                        <a:pt x="539" y="244"/>
                      </a:lnTo>
                      <a:lnTo>
                        <a:pt x="539" y="244"/>
                      </a:lnTo>
                      <a:lnTo>
                        <a:pt x="539" y="244"/>
                      </a:lnTo>
                      <a:lnTo>
                        <a:pt x="539" y="244"/>
                      </a:lnTo>
                      <a:lnTo>
                        <a:pt x="539" y="244"/>
                      </a:lnTo>
                      <a:lnTo>
                        <a:pt x="539" y="244"/>
                      </a:lnTo>
                      <a:lnTo>
                        <a:pt x="539" y="244"/>
                      </a:lnTo>
                      <a:lnTo>
                        <a:pt x="539" y="244"/>
                      </a:lnTo>
                      <a:lnTo>
                        <a:pt x="539" y="244"/>
                      </a:lnTo>
                      <a:lnTo>
                        <a:pt x="539" y="244"/>
                      </a:lnTo>
                      <a:lnTo>
                        <a:pt x="539" y="245"/>
                      </a:lnTo>
                      <a:lnTo>
                        <a:pt x="540" y="245"/>
                      </a:lnTo>
                      <a:lnTo>
                        <a:pt x="539" y="245"/>
                      </a:lnTo>
                      <a:lnTo>
                        <a:pt x="540" y="245"/>
                      </a:lnTo>
                      <a:lnTo>
                        <a:pt x="540" y="245"/>
                      </a:lnTo>
                      <a:lnTo>
                        <a:pt x="541" y="245"/>
                      </a:lnTo>
                      <a:lnTo>
                        <a:pt x="541" y="246"/>
                      </a:lnTo>
                      <a:lnTo>
                        <a:pt x="541" y="247"/>
                      </a:lnTo>
                      <a:lnTo>
                        <a:pt x="541" y="246"/>
                      </a:lnTo>
                      <a:lnTo>
                        <a:pt x="541" y="247"/>
                      </a:lnTo>
                      <a:lnTo>
                        <a:pt x="542" y="247"/>
                      </a:lnTo>
                      <a:lnTo>
                        <a:pt x="541" y="247"/>
                      </a:lnTo>
                      <a:lnTo>
                        <a:pt x="542" y="247"/>
                      </a:lnTo>
                      <a:lnTo>
                        <a:pt x="542" y="247"/>
                      </a:lnTo>
                      <a:lnTo>
                        <a:pt x="542" y="248"/>
                      </a:lnTo>
                      <a:lnTo>
                        <a:pt x="542" y="248"/>
                      </a:lnTo>
                      <a:lnTo>
                        <a:pt x="542" y="248"/>
                      </a:lnTo>
                      <a:lnTo>
                        <a:pt x="542" y="248"/>
                      </a:lnTo>
                      <a:lnTo>
                        <a:pt x="542" y="248"/>
                      </a:lnTo>
                      <a:lnTo>
                        <a:pt x="543" y="248"/>
                      </a:lnTo>
                      <a:lnTo>
                        <a:pt x="543" y="248"/>
                      </a:lnTo>
                      <a:lnTo>
                        <a:pt x="543" y="248"/>
                      </a:lnTo>
                      <a:lnTo>
                        <a:pt x="543" y="248"/>
                      </a:lnTo>
                      <a:lnTo>
                        <a:pt x="543" y="249"/>
                      </a:lnTo>
                      <a:lnTo>
                        <a:pt x="543" y="249"/>
                      </a:lnTo>
                      <a:lnTo>
                        <a:pt x="543" y="249"/>
                      </a:lnTo>
                      <a:lnTo>
                        <a:pt x="543" y="249"/>
                      </a:lnTo>
                      <a:lnTo>
                        <a:pt x="543" y="249"/>
                      </a:lnTo>
                      <a:lnTo>
                        <a:pt x="543" y="250"/>
                      </a:lnTo>
                      <a:lnTo>
                        <a:pt x="543" y="249"/>
                      </a:lnTo>
                      <a:lnTo>
                        <a:pt x="543" y="249"/>
                      </a:lnTo>
                      <a:lnTo>
                        <a:pt x="543" y="249"/>
                      </a:lnTo>
                      <a:lnTo>
                        <a:pt x="543" y="249"/>
                      </a:lnTo>
                      <a:lnTo>
                        <a:pt x="543" y="249"/>
                      </a:lnTo>
                      <a:lnTo>
                        <a:pt x="544" y="249"/>
                      </a:lnTo>
                      <a:lnTo>
                        <a:pt x="544" y="249"/>
                      </a:lnTo>
                      <a:lnTo>
                        <a:pt x="544" y="250"/>
                      </a:lnTo>
                      <a:lnTo>
                        <a:pt x="545" y="251"/>
                      </a:lnTo>
                      <a:lnTo>
                        <a:pt x="545" y="251"/>
                      </a:lnTo>
                      <a:lnTo>
                        <a:pt x="545" y="251"/>
                      </a:lnTo>
                      <a:lnTo>
                        <a:pt x="546" y="252"/>
                      </a:lnTo>
                      <a:lnTo>
                        <a:pt x="546" y="252"/>
                      </a:lnTo>
                      <a:lnTo>
                        <a:pt x="546" y="252"/>
                      </a:lnTo>
                      <a:lnTo>
                        <a:pt x="546" y="252"/>
                      </a:lnTo>
                      <a:lnTo>
                        <a:pt x="547" y="252"/>
                      </a:lnTo>
                      <a:lnTo>
                        <a:pt x="546" y="252"/>
                      </a:lnTo>
                      <a:lnTo>
                        <a:pt x="547" y="252"/>
                      </a:lnTo>
                      <a:lnTo>
                        <a:pt x="547" y="252"/>
                      </a:lnTo>
                      <a:lnTo>
                        <a:pt x="547" y="252"/>
                      </a:lnTo>
                      <a:lnTo>
                        <a:pt x="547" y="252"/>
                      </a:lnTo>
                      <a:lnTo>
                        <a:pt x="547" y="252"/>
                      </a:lnTo>
                      <a:lnTo>
                        <a:pt x="548" y="252"/>
                      </a:lnTo>
                      <a:lnTo>
                        <a:pt x="547" y="252"/>
                      </a:lnTo>
                      <a:lnTo>
                        <a:pt x="546" y="252"/>
                      </a:lnTo>
                      <a:lnTo>
                        <a:pt x="547" y="252"/>
                      </a:lnTo>
                      <a:lnTo>
                        <a:pt x="548" y="252"/>
                      </a:lnTo>
                      <a:lnTo>
                        <a:pt x="548" y="253"/>
                      </a:lnTo>
                      <a:lnTo>
                        <a:pt x="548" y="253"/>
                      </a:lnTo>
                      <a:lnTo>
                        <a:pt x="548" y="254"/>
                      </a:lnTo>
                      <a:lnTo>
                        <a:pt x="549" y="254"/>
                      </a:lnTo>
                      <a:lnTo>
                        <a:pt x="548" y="254"/>
                      </a:lnTo>
                      <a:lnTo>
                        <a:pt x="548" y="253"/>
                      </a:lnTo>
                      <a:lnTo>
                        <a:pt x="548" y="254"/>
                      </a:lnTo>
                      <a:lnTo>
                        <a:pt x="548" y="253"/>
                      </a:lnTo>
                      <a:lnTo>
                        <a:pt x="548" y="253"/>
                      </a:lnTo>
                      <a:lnTo>
                        <a:pt x="548" y="252"/>
                      </a:lnTo>
                      <a:lnTo>
                        <a:pt x="547" y="252"/>
                      </a:lnTo>
                      <a:lnTo>
                        <a:pt x="548" y="252"/>
                      </a:lnTo>
                      <a:lnTo>
                        <a:pt x="548" y="252"/>
                      </a:lnTo>
                      <a:lnTo>
                        <a:pt x="548" y="252"/>
                      </a:lnTo>
                      <a:lnTo>
                        <a:pt x="549" y="252"/>
                      </a:lnTo>
                      <a:lnTo>
                        <a:pt x="549" y="252"/>
                      </a:lnTo>
                      <a:lnTo>
                        <a:pt x="549" y="252"/>
                      </a:lnTo>
                      <a:lnTo>
                        <a:pt x="548" y="252"/>
                      </a:lnTo>
                      <a:lnTo>
                        <a:pt x="549" y="252"/>
                      </a:lnTo>
                      <a:lnTo>
                        <a:pt x="549" y="252"/>
                      </a:lnTo>
                      <a:lnTo>
                        <a:pt x="549" y="252"/>
                      </a:lnTo>
                      <a:lnTo>
                        <a:pt x="550" y="252"/>
                      </a:lnTo>
                      <a:lnTo>
                        <a:pt x="549" y="252"/>
                      </a:lnTo>
                      <a:lnTo>
                        <a:pt x="550" y="252"/>
                      </a:lnTo>
                      <a:lnTo>
                        <a:pt x="550" y="252"/>
                      </a:lnTo>
                      <a:lnTo>
                        <a:pt x="550" y="253"/>
                      </a:lnTo>
                      <a:lnTo>
                        <a:pt x="550" y="252"/>
                      </a:lnTo>
                      <a:lnTo>
                        <a:pt x="551" y="252"/>
                      </a:lnTo>
                      <a:lnTo>
                        <a:pt x="550" y="252"/>
                      </a:lnTo>
                      <a:lnTo>
                        <a:pt x="551" y="252"/>
                      </a:lnTo>
                      <a:lnTo>
                        <a:pt x="551" y="253"/>
                      </a:lnTo>
                      <a:lnTo>
                        <a:pt x="551" y="254"/>
                      </a:lnTo>
                      <a:lnTo>
                        <a:pt x="552" y="254"/>
                      </a:lnTo>
                      <a:lnTo>
                        <a:pt x="552" y="254"/>
                      </a:lnTo>
                      <a:lnTo>
                        <a:pt x="552" y="254"/>
                      </a:lnTo>
                      <a:lnTo>
                        <a:pt x="553" y="254"/>
                      </a:lnTo>
                      <a:lnTo>
                        <a:pt x="553" y="255"/>
                      </a:lnTo>
                      <a:lnTo>
                        <a:pt x="554" y="255"/>
                      </a:lnTo>
                      <a:lnTo>
                        <a:pt x="553" y="255"/>
                      </a:lnTo>
                      <a:lnTo>
                        <a:pt x="554" y="254"/>
                      </a:lnTo>
                      <a:lnTo>
                        <a:pt x="554" y="254"/>
                      </a:lnTo>
                      <a:lnTo>
                        <a:pt x="554" y="254"/>
                      </a:lnTo>
                      <a:lnTo>
                        <a:pt x="554" y="254"/>
                      </a:lnTo>
                      <a:lnTo>
                        <a:pt x="554" y="254"/>
                      </a:lnTo>
                      <a:lnTo>
                        <a:pt x="554" y="254"/>
                      </a:lnTo>
                      <a:lnTo>
                        <a:pt x="555" y="254"/>
                      </a:lnTo>
                      <a:lnTo>
                        <a:pt x="556" y="254"/>
                      </a:lnTo>
                      <a:lnTo>
                        <a:pt x="556" y="255"/>
                      </a:lnTo>
                      <a:lnTo>
                        <a:pt x="556" y="255"/>
                      </a:lnTo>
                      <a:lnTo>
                        <a:pt x="556" y="255"/>
                      </a:lnTo>
                      <a:lnTo>
                        <a:pt x="556" y="255"/>
                      </a:lnTo>
                      <a:lnTo>
                        <a:pt x="556" y="256"/>
                      </a:lnTo>
                      <a:lnTo>
                        <a:pt x="556" y="256"/>
                      </a:lnTo>
                      <a:lnTo>
                        <a:pt x="556" y="256"/>
                      </a:lnTo>
                      <a:lnTo>
                        <a:pt x="556" y="257"/>
                      </a:lnTo>
                      <a:lnTo>
                        <a:pt x="556" y="258"/>
                      </a:lnTo>
                      <a:lnTo>
                        <a:pt x="556" y="257"/>
                      </a:lnTo>
                      <a:lnTo>
                        <a:pt x="556" y="258"/>
                      </a:lnTo>
                      <a:lnTo>
                        <a:pt x="555" y="258"/>
                      </a:lnTo>
                      <a:lnTo>
                        <a:pt x="555" y="258"/>
                      </a:lnTo>
                      <a:lnTo>
                        <a:pt x="554" y="258"/>
                      </a:lnTo>
                      <a:lnTo>
                        <a:pt x="554" y="259"/>
                      </a:lnTo>
                      <a:lnTo>
                        <a:pt x="554" y="259"/>
                      </a:lnTo>
                      <a:lnTo>
                        <a:pt x="554" y="259"/>
                      </a:lnTo>
                      <a:lnTo>
                        <a:pt x="554" y="259"/>
                      </a:lnTo>
                      <a:lnTo>
                        <a:pt x="553" y="259"/>
                      </a:lnTo>
                      <a:lnTo>
                        <a:pt x="553" y="259"/>
                      </a:lnTo>
                      <a:lnTo>
                        <a:pt x="553" y="260"/>
                      </a:lnTo>
                      <a:lnTo>
                        <a:pt x="553" y="260"/>
                      </a:lnTo>
                      <a:lnTo>
                        <a:pt x="552" y="260"/>
                      </a:lnTo>
                      <a:lnTo>
                        <a:pt x="553" y="260"/>
                      </a:lnTo>
                      <a:lnTo>
                        <a:pt x="553" y="260"/>
                      </a:lnTo>
                      <a:lnTo>
                        <a:pt x="552" y="260"/>
                      </a:lnTo>
                      <a:lnTo>
                        <a:pt x="552" y="260"/>
                      </a:lnTo>
                      <a:lnTo>
                        <a:pt x="551" y="260"/>
                      </a:lnTo>
                      <a:lnTo>
                        <a:pt x="550" y="260"/>
                      </a:lnTo>
                      <a:lnTo>
                        <a:pt x="550" y="261"/>
                      </a:lnTo>
                      <a:lnTo>
                        <a:pt x="550" y="261"/>
                      </a:lnTo>
                      <a:lnTo>
                        <a:pt x="550" y="260"/>
                      </a:lnTo>
                      <a:lnTo>
                        <a:pt x="549" y="261"/>
                      </a:lnTo>
                      <a:lnTo>
                        <a:pt x="549" y="261"/>
                      </a:lnTo>
                      <a:lnTo>
                        <a:pt x="548" y="261"/>
                      </a:lnTo>
                      <a:lnTo>
                        <a:pt x="548" y="261"/>
                      </a:lnTo>
                      <a:lnTo>
                        <a:pt x="548" y="262"/>
                      </a:lnTo>
                      <a:lnTo>
                        <a:pt x="547" y="262"/>
                      </a:lnTo>
                      <a:lnTo>
                        <a:pt x="546" y="262"/>
                      </a:lnTo>
                      <a:lnTo>
                        <a:pt x="546" y="262"/>
                      </a:lnTo>
                      <a:lnTo>
                        <a:pt x="545" y="261"/>
                      </a:lnTo>
                      <a:lnTo>
                        <a:pt x="545" y="261"/>
                      </a:lnTo>
                      <a:lnTo>
                        <a:pt x="545" y="260"/>
                      </a:lnTo>
                      <a:lnTo>
                        <a:pt x="544" y="260"/>
                      </a:lnTo>
                      <a:lnTo>
                        <a:pt x="543" y="260"/>
                      </a:lnTo>
                      <a:lnTo>
                        <a:pt x="543" y="260"/>
                      </a:lnTo>
                      <a:lnTo>
                        <a:pt x="543" y="260"/>
                      </a:lnTo>
                      <a:lnTo>
                        <a:pt x="542" y="260"/>
                      </a:lnTo>
                      <a:lnTo>
                        <a:pt x="542" y="260"/>
                      </a:lnTo>
                      <a:lnTo>
                        <a:pt x="542" y="260"/>
                      </a:lnTo>
                      <a:lnTo>
                        <a:pt x="542" y="260"/>
                      </a:lnTo>
                      <a:lnTo>
                        <a:pt x="542" y="260"/>
                      </a:lnTo>
                      <a:lnTo>
                        <a:pt x="542" y="260"/>
                      </a:lnTo>
                      <a:lnTo>
                        <a:pt x="542" y="259"/>
                      </a:lnTo>
                      <a:lnTo>
                        <a:pt x="543" y="260"/>
                      </a:lnTo>
                      <a:lnTo>
                        <a:pt x="543" y="260"/>
                      </a:lnTo>
                      <a:lnTo>
                        <a:pt x="543" y="260"/>
                      </a:lnTo>
                      <a:lnTo>
                        <a:pt x="542" y="260"/>
                      </a:lnTo>
                      <a:lnTo>
                        <a:pt x="542" y="259"/>
                      </a:lnTo>
                      <a:lnTo>
                        <a:pt x="542" y="259"/>
                      </a:lnTo>
                      <a:lnTo>
                        <a:pt x="542" y="260"/>
                      </a:lnTo>
                      <a:lnTo>
                        <a:pt x="542" y="259"/>
                      </a:lnTo>
                      <a:lnTo>
                        <a:pt x="541" y="259"/>
                      </a:lnTo>
                      <a:lnTo>
                        <a:pt x="541" y="260"/>
                      </a:lnTo>
                      <a:lnTo>
                        <a:pt x="541" y="259"/>
                      </a:lnTo>
                      <a:lnTo>
                        <a:pt x="540" y="259"/>
                      </a:lnTo>
                      <a:lnTo>
                        <a:pt x="541" y="259"/>
                      </a:lnTo>
                      <a:lnTo>
                        <a:pt x="540" y="259"/>
                      </a:lnTo>
                      <a:lnTo>
                        <a:pt x="539" y="259"/>
                      </a:lnTo>
                      <a:lnTo>
                        <a:pt x="539" y="259"/>
                      </a:lnTo>
                      <a:lnTo>
                        <a:pt x="538" y="259"/>
                      </a:lnTo>
                      <a:lnTo>
                        <a:pt x="538" y="259"/>
                      </a:lnTo>
                      <a:lnTo>
                        <a:pt x="537" y="259"/>
                      </a:lnTo>
                      <a:lnTo>
                        <a:pt x="538" y="259"/>
                      </a:lnTo>
                      <a:lnTo>
                        <a:pt x="537" y="259"/>
                      </a:lnTo>
                      <a:lnTo>
                        <a:pt x="537" y="259"/>
                      </a:lnTo>
                      <a:lnTo>
                        <a:pt x="536" y="259"/>
                      </a:lnTo>
                      <a:lnTo>
                        <a:pt x="537" y="259"/>
                      </a:lnTo>
                      <a:lnTo>
                        <a:pt x="536" y="259"/>
                      </a:lnTo>
                      <a:lnTo>
                        <a:pt x="535" y="259"/>
                      </a:lnTo>
                      <a:lnTo>
                        <a:pt x="535" y="259"/>
                      </a:lnTo>
                      <a:lnTo>
                        <a:pt x="535" y="259"/>
                      </a:lnTo>
                      <a:lnTo>
                        <a:pt x="535" y="259"/>
                      </a:lnTo>
                      <a:lnTo>
                        <a:pt x="535" y="259"/>
                      </a:lnTo>
                      <a:lnTo>
                        <a:pt x="534" y="259"/>
                      </a:lnTo>
                      <a:lnTo>
                        <a:pt x="534" y="259"/>
                      </a:lnTo>
                      <a:lnTo>
                        <a:pt x="533" y="259"/>
                      </a:lnTo>
                      <a:lnTo>
                        <a:pt x="534" y="259"/>
                      </a:lnTo>
                      <a:lnTo>
                        <a:pt x="533" y="259"/>
                      </a:lnTo>
                      <a:lnTo>
                        <a:pt x="532" y="259"/>
                      </a:lnTo>
                      <a:lnTo>
                        <a:pt x="532" y="259"/>
                      </a:lnTo>
                      <a:lnTo>
                        <a:pt x="532" y="260"/>
                      </a:lnTo>
                      <a:lnTo>
                        <a:pt x="531" y="260"/>
                      </a:lnTo>
                      <a:lnTo>
                        <a:pt x="532" y="260"/>
                      </a:lnTo>
                      <a:lnTo>
                        <a:pt x="531" y="260"/>
                      </a:lnTo>
                      <a:lnTo>
                        <a:pt x="531" y="260"/>
                      </a:lnTo>
                      <a:lnTo>
                        <a:pt x="530" y="260"/>
                      </a:lnTo>
                      <a:lnTo>
                        <a:pt x="530" y="261"/>
                      </a:lnTo>
                      <a:lnTo>
                        <a:pt x="530" y="261"/>
                      </a:lnTo>
                      <a:lnTo>
                        <a:pt x="529" y="261"/>
                      </a:lnTo>
                      <a:lnTo>
                        <a:pt x="530" y="261"/>
                      </a:lnTo>
                      <a:lnTo>
                        <a:pt x="529" y="261"/>
                      </a:lnTo>
                      <a:lnTo>
                        <a:pt x="528" y="261"/>
                      </a:lnTo>
                      <a:lnTo>
                        <a:pt x="528" y="261"/>
                      </a:lnTo>
                      <a:lnTo>
                        <a:pt x="528" y="260"/>
                      </a:lnTo>
                      <a:lnTo>
                        <a:pt x="527" y="260"/>
                      </a:lnTo>
                      <a:lnTo>
                        <a:pt x="527" y="261"/>
                      </a:lnTo>
                      <a:lnTo>
                        <a:pt x="526" y="261"/>
                      </a:lnTo>
                      <a:lnTo>
                        <a:pt x="526" y="261"/>
                      </a:lnTo>
                      <a:lnTo>
                        <a:pt x="525" y="261"/>
                      </a:lnTo>
                      <a:lnTo>
                        <a:pt x="524" y="261"/>
                      </a:lnTo>
                      <a:lnTo>
                        <a:pt x="524" y="261"/>
                      </a:lnTo>
                      <a:lnTo>
                        <a:pt x="524" y="262"/>
                      </a:lnTo>
                      <a:lnTo>
                        <a:pt x="523" y="262"/>
                      </a:lnTo>
                      <a:lnTo>
                        <a:pt x="524" y="262"/>
                      </a:lnTo>
                      <a:lnTo>
                        <a:pt x="523" y="262"/>
                      </a:lnTo>
                      <a:lnTo>
                        <a:pt x="523" y="262"/>
                      </a:lnTo>
                      <a:lnTo>
                        <a:pt x="523" y="261"/>
                      </a:lnTo>
                      <a:lnTo>
                        <a:pt x="523" y="262"/>
                      </a:lnTo>
                      <a:lnTo>
                        <a:pt x="523" y="261"/>
                      </a:lnTo>
                      <a:lnTo>
                        <a:pt x="522" y="261"/>
                      </a:lnTo>
                      <a:lnTo>
                        <a:pt x="522" y="262"/>
                      </a:lnTo>
                      <a:lnTo>
                        <a:pt x="522" y="262"/>
                      </a:lnTo>
                      <a:lnTo>
                        <a:pt x="522" y="262"/>
                      </a:lnTo>
                      <a:lnTo>
                        <a:pt x="523" y="262"/>
                      </a:lnTo>
                      <a:lnTo>
                        <a:pt x="523" y="262"/>
                      </a:lnTo>
                      <a:lnTo>
                        <a:pt x="524" y="262"/>
                      </a:lnTo>
                      <a:lnTo>
                        <a:pt x="524" y="261"/>
                      </a:lnTo>
                      <a:lnTo>
                        <a:pt x="524" y="261"/>
                      </a:lnTo>
                      <a:lnTo>
                        <a:pt x="525" y="261"/>
                      </a:lnTo>
                      <a:lnTo>
                        <a:pt x="526" y="261"/>
                      </a:lnTo>
                      <a:lnTo>
                        <a:pt x="526" y="261"/>
                      </a:lnTo>
                      <a:lnTo>
                        <a:pt x="527" y="261"/>
                      </a:lnTo>
                      <a:lnTo>
                        <a:pt x="527" y="261"/>
                      </a:lnTo>
                      <a:lnTo>
                        <a:pt x="527" y="260"/>
                      </a:lnTo>
                      <a:lnTo>
                        <a:pt x="528" y="260"/>
                      </a:lnTo>
                      <a:lnTo>
                        <a:pt x="527" y="260"/>
                      </a:lnTo>
                      <a:lnTo>
                        <a:pt x="528" y="260"/>
                      </a:lnTo>
                      <a:lnTo>
                        <a:pt x="528" y="261"/>
                      </a:lnTo>
                      <a:lnTo>
                        <a:pt x="528" y="261"/>
                      </a:lnTo>
                      <a:lnTo>
                        <a:pt x="528" y="262"/>
                      </a:lnTo>
                      <a:lnTo>
                        <a:pt x="529" y="261"/>
                      </a:lnTo>
                      <a:lnTo>
                        <a:pt x="530" y="261"/>
                      </a:lnTo>
                      <a:lnTo>
                        <a:pt x="530" y="261"/>
                      </a:lnTo>
                      <a:lnTo>
                        <a:pt x="530" y="261"/>
                      </a:lnTo>
                      <a:lnTo>
                        <a:pt x="530" y="261"/>
                      </a:lnTo>
                      <a:lnTo>
                        <a:pt x="531" y="260"/>
                      </a:lnTo>
                      <a:lnTo>
                        <a:pt x="531" y="260"/>
                      </a:lnTo>
                      <a:lnTo>
                        <a:pt x="531" y="260"/>
                      </a:lnTo>
                      <a:lnTo>
                        <a:pt x="531" y="260"/>
                      </a:lnTo>
                      <a:lnTo>
                        <a:pt x="532" y="260"/>
                      </a:lnTo>
                      <a:lnTo>
                        <a:pt x="532" y="260"/>
                      </a:lnTo>
                      <a:lnTo>
                        <a:pt x="532" y="259"/>
                      </a:lnTo>
                      <a:lnTo>
                        <a:pt x="533" y="259"/>
                      </a:lnTo>
                      <a:lnTo>
                        <a:pt x="532" y="259"/>
                      </a:lnTo>
                      <a:lnTo>
                        <a:pt x="532" y="260"/>
                      </a:lnTo>
                      <a:lnTo>
                        <a:pt x="532" y="259"/>
                      </a:lnTo>
                      <a:lnTo>
                        <a:pt x="533" y="259"/>
                      </a:lnTo>
                      <a:lnTo>
                        <a:pt x="534" y="259"/>
                      </a:lnTo>
                      <a:lnTo>
                        <a:pt x="534" y="259"/>
                      </a:lnTo>
                      <a:lnTo>
                        <a:pt x="534" y="259"/>
                      </a:lnTo>
                      <a:lnTo>
                        <a:pt x="535" y="259"/>
                      </a:lnTo>
                      <a:lnTo>
                        <a:pt x="535" y="259"/>
                      </a:lnTo>
                      <a:lnTo>
                        <a:pt x="535" y="259"/>
                      </a:lnTo>
                      <a:lnTo>
                        <a:pt x="536" y="259"/>
                      </a:lnTo>
                      <a:lnTo>
                        <a:pt x="535" y="259"/>
                      </a:lnTo>
                      <a:lnTo>
                        <a:pt x="536" y="259"/>
                      </a:lnTo>
                      <a:lnTo>
                        <a:pt x="535" y="259"/>
                      </a:lnTo>
                      <a:lnTo>
                        <a:pt x="536" y="259"/>
                      </a:lnTo>
                      <a:lnTo>
                        <a:pt x="537" y="259"/>
                      </a:lnTo>
                      <a:lnTo>
                        <a:pt x="536" y="259"/>
                      </a:lnTo>
                      <a:lnTo>
                        <a:pt x="537" y="259"/>
                      </a:lnTo>
                      <a:lnTo>
                        <a:pt x="537" y="259"/>
                      </a:lnTo>
                      <a:lnTo>
                        <a:pt x="538" y="259"/>
                      </a:lnTo>
                      <a:lnTo>
                        <a:pt x="538" y="259"/>
                      </a:lnTo>
                      <a:lnTo>
                        <a:pt x="539" y="259"/>
                      </a:lnTo>
                      <a:lnTo>
                        <a:pt x="539" y="260"/>
                      </a:lnTo>
                      <a:lnTo>
                        <a:pt x="540" y="260"/>
                      </a:lnTo>
                      <a:lnTo>
                        <a:pt x="539" y="260"/>
                      </a:lnTo>
                      <a:lnTo>
                        <a:pt x="540" y="260"/>
                      </a:lnTo>
                      <a:lnTo>
                        <a:pt x="541" y="260"/>
                      </a:lnTo>
                      <a:lnTo>
                        <a:pt x="540" y="260"/>
                      </a:lnTo>
                      <a:lnTo>
                        <a:pt x="540" y="260"/>
                      </a:lnTo>
                      <a:lnTo>
                        <a:pt x="541" y="260"/>
                      </a:lnTo>
                      <a:lnTo>
                        <a:pt x="541" y="260"/>
                      </a:lnTo>
                      <a:lnTo>
                        <a:pt x="541" y="259"/>
                      </a:lnTo>
                      <a:lnTo>
                        <a:pt x="542" y="259"/>
                      </a:lnTo>
                      <a:lnTo>
                        <a:pt x="542" y="260"/>
                      </a:lnTo>
                      <a:lnTo>
                        <a:pt x="542" y="260"/>
                      </a:lnTo>
                      <a:lnTo>
                        <a:pt x="542" y="260"/>
                      </a:lnTo>
                      <a:lnTo>
                        <a:pt x="543" y="260"/>
                      </a:lnTo>
                      <a:lnTo>
                        <a:pt x="543" y="260"/>
                      </a:lnTo>
                      <a:lnTo>
                        <a:pt x="543" y="260"/>
                      </a:lnTo>
                      <a:lnTo>
                        <a:pt x="543" y="260"/>
                      </a:lnTo>
                      <a:lnTo>
                        <a:pt x="543" y="260"/>
                      </a:lnTo>
                      <a:lnTo>
                        <a:pt x="544" y="260"/>
                      </a:lnTo>
                      <a:lnTo>
                        <a:pt x="545" y="261"/>
                      </a:lnTo>
                      <a:lnTo>
                        <a:pt x="545" y="261"/>
                      </a:lnTo>
                      <a:lnTo>
                        <a:pt x="545" y="262"/>
                      </a:lnTo>
                      <a:lnTo>
                        <a:pt x="546" y="262"/>
                      </a:lnTo>
                      <a:lnTo>
                        <a:pt x="546" y="262"/>
                      </a:lnTo>
                      <a:lnTo>
                        <a:pt x="547" y="262"/>
                      </a:lnTo>
                      <a:lnTo>
                        <a:pt x="548" y="262"/>
                      </a:lnTo>
                      <a:lnTo>
                        <a:pt x="548" y="261"/>
                      </a:lnTo>
                      <a:lnTo>
                        <a:pt x="548" y="261"/>
                      </a:lnTo>
                      <a:lnTo>
                        <a:pt x="549" y="261"/>
                      </a:lnTo>
                      <a:lnTo>
                        <a:pt x="549" y="261"/>
                      </a:lnTo>
                      <a:lnTo>
                        <a:pt x="550" y="261"/>
                      </a:lnTo>
                      <a:lnTo>
                        <a:pt x="550" y="261"/>
                      </a:lnTo>
                      <a:lnTo>
                        <a:pt x="551" y="261"/>
                      </a:lnTo>
                      <a:lnTo>
                        <a:pt x="552" y="260"/>
                      </a:lnTo>
                      <a:lnTo>
                        <a:pt x="552" y="261"/>
                      </a:lnTo>
                      <a:lnTo>
                        <a:pt x="551" y="261"/>
                      </a:lnTo>
                      <a:lnTo>
                        <a:pt x="552" y="260"/>
                      </a:lnTo>
                      <a:lnTo>
                        <a:pt x="552" y="260"/>
                      </a:lnTo>
                      <a:lnTo>
                        <a:pt x="553" y="260"/>
                      </a:lnTo>
                      <a:lnTo>
                        <a:pt x="553" y="260"/>
                      </a:lnTo>
                      <a:lnTo>
                        <a:pt x="553" y="260"/>
                      </a:lnTo>
                      <a:lnTo>
                        <a:pt x="553" y="260"/>
                      </a:lnTo>
                      <a:lnTo>
                        <a:pt x="553" y="260"/>
                      </a:lnTo>
                      <a:lnTo>
                        <a:pt x="553" y="259"/>
                      </a:lnTo>
                      <a:lnTo>
                        <a:pt x="553" y="259"/>
                      </a:lnTo>
                      <a:lnTo>
                        <a:pt x="554" y="259"/>
                      </a:lnTo>
                      <a:lnTo>
                        <a:pt x="553" y="259"/>
                      </a:lnTo>
                      <a:lnTo>
                        <a:pt x="554" y="259"/>
                      </a:lnTo>
                      <a:lnTo>
                        <a:pt x="554" y="259"/>
                      </a:lnTo>
                      <a:lnTo>
                        <a:pt x="554" y="259"/>
                      </a:lnTo>
                      <a:lnTo>
                        <a:pt x="554" y="258"/>
                      </a:lnTo>
                      <a:lnTo>
                        <a:pt x="555" y="258"/>
                      </a:lnTo>
                      <a:lnTo>
                        <a:pt x="555" y="258"/>
                      </a:lnTo>
                      <a:lnTo>
                        <a:pt x="556" y="258"/>
                      </a:lnTo>
                      <a:lnTo>
                        <a:pt x="556" y="257"/>
                      </a:lnTo>
                      <a:lnTo>
                        <a:pt x="556" y="257"/>
                      </a:lnTo>
                      <a:lnTo>
                        <a:pt x="556" y="256"/>
                      </a:lnTo>
                      <a:lnTo>
                        <a:pt x="556" y="256"/>
                      </a:lnTo>
                      <a:lnTo>
                        <a:pt x="556" y="256"/>
                      </a:lnTo>
                      <a:lnTo>
                        <a:pt x="556" y="256"/>
                      </a:lnTo>
                      <a:lnTo>
                        <a:pt x="556" y="255"/>
                      </a:lnTo>
                      <a:lnTo>
                        <a:pt x="556" y="255"/>
                      </a:lnTo>
                      <a:lnTo>
                        <a:pt x="556" y="255"/>
                      </a:lnTo>
                      <a:lnTo>
                        <a:pt x="556" y="255"/>
                      </a:lnTo>
                      <a:lnTo>
                        <a:pt x="556" y="255"/>
                      </a:lnTo>
                      <a:lnTo>
                        <a:pt x="556" y="255"/>
                      </a:lnTo>
                      <a:lnTo>
                        <a:pt x="556" y="255"/>
                      </a:lnTo>
                      <a:lnTo>
                        <a:pt x="557" y="255"/>
                      </a:lnTo>
                      <a:lnTo>
                        <a:pt x="557" y="256"/>
                      </a:lnTo>
                      <a:lnTo>
                        <a:pt x="557" y="256"/>
                      </a:lnTo>
                      <a:lnTo>
                        <a:pt x="557" y="256"/>
                      </a:lnTo>
                      <a:lnTo>
                        <a:pt x="557" y="256"/>
                      </a:lnTo>
                      <a:lnTo>
                        <a:pt x="556" y="256"/>
                      </a:lnTo>
                      <a:lnTo>
                        <a:pt x="557" y="256"/>
                      </a:lnTo>
                      <a:lnTo>
                        <a:pt x="557" y="256"/>
                      </a:lnTo>
                      <a:lnTo>
                        <a:pt x="557" y="256"/>
                      </a:lnTo>
                      <a:lnTo>
                        <a:pt x="557" y="256"/>
                      </a:lnTo>
                      <a:lnTo>
                        <a:pt x="557" y="256"/>
                      </a:lnTo>
                      <a:lnTo>
                        <a:pt x="558" y="257"/>
                      </a:lnTo>
                      <a:lnTo>
                        <a:pt x="558" y="258"/>
                      </a:lnTo>
                      <a:lnTo>
                        <a:pt x="558" y="258"/>
                      </a:lnTo>
                      <a:lnTo>
                        <a:pt x="558" y="258"/>
                      </a:lnTo>
                      <a:lnTo>
                        <a:pt x="559" y="258"/>
                      </a:lnTo>
                      <a:lnTo>
                        <a:pt x="560" y="258"/>
                      </a:lnTo>
                      <a:lnTo>
                        <a:pt x="560" y="259"/>
                      </a:lnTo>
                      <a:lnTo>
                        <a:pt x="560" y="259"/>
                      </a:lnTo>
                      <a:lnTo>
                        <a:pt x="561" y="259"/>
                      </a:lnTo>
                      <a:lnTo>
                        <a:pt x="561" y="260"/>
                      </a:lnTo>
                      <a:lnTo>
                        <a:pt x="561" y="260"/>
                      </a:lnTo>
                      <a:lnTo>
                        <a:pt x="561" y="261"/>
                      </a:lnTo>
                      <a:lnTo>
                        <a:pt x="561" y="261"/>
                      </a:lnTo>
                      <a:lnTo>
                        <a:pt x="561" y="262"/>
                      </a:lnTo>
                      <a:lnTo>
                        <a:pt x="561" y="262"/>
                      </a:lnTo>
                      <a:lnTo>
                        <a:pt x="561" y="263"/>
                      </a:lnTo>
                      <a:lnTo>
                        <a:pt x="561" y="262"/>
                      </a:lnTo>
                      <a:lnTo>
                        <a:pt x="561" y="262"/>
                      </a:lnTo>
                      <a:lnTo>
                        <a:pt x="561" y="262"/>
                      </a:lnTo>
                      <a:lnTo>
                        <a:pt x="561" y="262"/>
                      </a:lnTo>
                      <a:lnTo>
                        <a:pt x="561" y="261"/>
                      </a:lnTo>
                      <a:lnTo>
                        <a:pt x="561" y="260"/>
                      </a:lnTo>
                      <a:lnTo>
                        <a:pt x="561" y="260"/>
                      </a:lnTo>
                      <a:lnTo>
                        <a:pt x="561" y="260"/>
                      </a:lnTo>
                      <a:lnTo>
                        <a:pt x="561" y="260"/>
                      </a:lnTo>
                      <a:lnTo>
                        <a:pt x="561" y="260"/>
                      </a:lnTo>
                      <a:lnTo>
                        <a:pt x="561" y="259"/>
                      </a:lnTo>
                      <a:lnTo>
                        <a:pt x="561" y="260"/>
                      </a:lnTo>
                      <a:lnTo>
                        <a:pt x="562" y="260"/>
                      </a:lnTo>
                      <a:lnTo>
                        <a:pt x="563" y="260"/>
                      </a:lnTo>
                      <a:lnTo>
                        <a:pt x="563" y="261"/>
                      </a:lnTo>
                      <a:lnTo>
                        <a:pt x="564" y="261"/>
                      </a:lnTo>
                      <a:lnTo>
                        <a:pt x="564" y="262"/>
                      </a:lnTo>
                      <a:lnTo>
                        <a:pt x="564" y="262"/>
                      </a:lnTo>
                      <a:lnTo>
                        <a:pt x="564" y="262"/>
                      </a:lnTo>
                      <a:lnTo>
                        <a:pt x="564" y="262"/>
                      </a:lnTo>
                      <a:lnTo>
                        <a:pt x="565" y="262"/>
                      </a:lnTo>
                      <a:lnTo>
                        <a:pt x="565" y="263"/>
                      </a:lnTo>
                      <a:lnTo>
                        <a:pt x="565" y="263"/>
                      </a:lnTo>
                      <a:lnTo>
                        <a:pt x="566" y="263"/>
                      </a:lnTo>
                      <a:lnTo>
                        <a:pt x="567" y="263"/>
                      </a:lnTo>
                      <a:lnTo>
                        <a:pt x="567" y="263"/>
                      </a:lnTo>
                      <a:lnTo>
                        <a:pt x="567" y="263"/>
                      </a:lnTo>
                      <a:lnTo>
                        <a:pt x="567" y="263"/>
                      </a:lnTo>
                      <a:lnTo>
                        <a:pt x="568" y="263"/>
                      </a:lnTo>
                      <a:lnTo>
                        <a:pt x="568" y="264"/>
                      </a:lnTo>
                      <a:lnTo>
                        <a:pt x="568" y="264"/>
                      </a:lnTo>
                      <a:lnTo>
                        <a:pt x="568" y="263"/>
                      </a:lnTo>
                      <a:lnTo>
                        <a:pt x="568" y="263"/>
                      </a:lnTo>
                      <a:lnTo>
                        <a:pt x="568" y="263"/>
                      </a:lnTo>
                      <a:lnTo>
                        <a:pt x="567" y="263"/>
                      </a:lnTo>
                      <a:lnTo>
                        <a:pt x="567" y="262"/>
                      </a:lnTo>
                      <a:lnTo>
                        <a:pt x="567" y="262"/>
                      </a:lnTo>
                      <a:lnTo>
                        <a:pt x="567" y="262"/>
                      </a:lnTo>
                      <a:lnTo>
                        <a:pt x="567" y="262"/>
                      </a:lnTo>
                      <a:lnTo>
                        <a:pt x="567" y="261"/>
                      </a:lnTo>
                      <a:lnTo>
                        <a:pt x="566" y="261"/>
                      </a:lnTo>
                      <a:lnTo>
                        <a:pt x="565" y="261"/>
                      </a:lnTo>
                      <a:lnTo>
                        <a:pt x="565" y="261"/>
                      </a:lnTo>
                      <a:lnTo>
                        <a:pt x="564" y="261"/>
                      </a:lnTo>
                      <a:lnTo>
                        <a:pt x="564" y="260"/>
                      </a:lnTo>
                      <a:lnTo>
                        <a:pt x="564" y="260"/>
                      </a:lnTo>
                      <a:lnTo>
                        <a:pt x="564" y="260"/>
                      </a:lnTo>
                      <a:lnTo>
                        <a:pt x="563" y="260"/>
                      </a:lnTo>
                      <a:lnTo>
                        <a:pt x="563" y="259"/>
                      </a:lnTo>
                      <a:lnTo>
                        <a:pt x="564" y="259"/>
                      </a:lnTo>
                      <a:lnTo>
                        <a:pt x="563" y="259"/>
                      </a:lnTo>
                      <a:lnTo>
                        <a:pt x="563" y="259"/>
                      </a:lnTo>
                      <a:lnTo>
                        <a:pt x="563" y="259"/>
                      </a:lnTo>
                      <a:lnTo>
                        <a:pt x="563" y="259"/>
                      </a:lnTo>
                      <a:lnTo>
                        <a:pt x="562" y="259"/>
                      </a:lnTo>
                      <a:lnTo>
                        <a:pt x="563" y="259"/>
                      </a:lnTo>
                      <a:lnTo>
                        <a:pt x="562" y="259"/>
                      </a:lnTo>
                      <a:lnTo>
                        <a:pt x="562" y="259"/>
                      </a:lnTo>
                      <a:lnTo>
                        <a:pt x="561" y="259"/>
                      </a:lnTo>
                      <a:lnTo>
                        <a:pt x="561" y="258"/>
                      </a:lnTo>
                      <a:lnTo>
                        <a:pt x="562" y="258"/>
                      </a:lnTo>
                      <a:lnTo>
                        <a:pt x="562" y="259"/>
                      </a:lnTo>
                      <a:lnTo>
                        <a:pt x="563" y="259"/>
                      </a:lnTo>
                      <a:lnTo>
                        <a:pt x="562" y="259"/>
                      </a:lnTo>
                      <a:lnTo>
                        <a:pt x="563" y="259"/>
                      </a:lnTo>
                      <a:lnTo>
                        <a:pt x="562" y="258"/>
                      </a:lnTo>
                      <a:lnTo>
                        <a:pt x="561" y="258"/>
                      </a:lnTo>
                      <a:lnTo>
                        <a:pt x="561" y="258"/>
                      </a:lnTo>
                      <a:lnTo>
                        <a:pt x="561" y="258"/>
                      </a:lnTo>
                      <a:lnTo>
                        <a:pt x="560" y="258"/>
                      </a:lnTo>
                      <a:lnTo>
                        <a:pt x="560" y="257"/>
                      </a:lnTo>
                      <a:lnTo>
                        <a:pt x="559" y="256"/>
                      </a:lnTo>
                      <a:lnTo>
                        <a:pt x="560" y="256"/>
                      </a:lnTo>
                      <a:lnTo>
                        <a:pt x="559" y="256"/>
                      </a:lnTo>
                      <a:lnTo>
                        <a:pt x="558" y="256"/>
                      </a:lnTo>
                      <a:lnTo>
                        <a:pt x="558" y="256"/>
                      </a:lnTo>
                      <a:lnTo>
                        <a:pt x="558" y="255"/>
                      </a:lnTo>
                      <a:lnTo>
                        <a:pt x="557" y="255"/>
                      </a:lnTo>
                      <a:lnTo>
                        <a:pt x="557" y="255"/>
                      </a:lnTo>
                      <a:lnTo>
                        <a:pt x="556" y="255"/>
                      </a:lnTo>
                      <a:lnTo>
                        <a:pt x="556" y="254"/>
                      </a:lnTo>
                      <a:lnTo>
                        <a:pt x="556" y="254"/>
                      </a:lnTo>
                      <a:lnTo>
                        <a:pt x="555" y="254"/>
                      </a:lnTo>
                      <a:lnTo>
                        <a:pt x="554" y="254"/>
                      </a:lnTo>
                      <a:lnTo>
                        <a:pt x="555" y="254"/>
                      </a:lnTo>
                      <a:lnTo>
                        <a:pt x="554" y="254"/>
                      </a:lnTo>
                      <a:lnTo>
                        <a:pt x="554" y="253"/>
                      </a:lnTo>
                      <a:lnTo>
                        <a:pt x="554" y="253"/>
                      </a:lnTo>
                      <a:lnTo>
                        <a:pt x="553" y="253"/>
                      </a:lnTo>
                      <a:lnTo>
                        <a:pt x="553" y="252"/>
                      </a:lnTo>
                      <a:lnTo>
                        <a:pt x="553" y="252"/>
                      </a:lnTo>
                      <a:lnTo>
                        <a:pt x="553" y="252"/>
                      </a:lnTo>
                      <a:lnTo>
                        <a:pt x="552" y="252"/>
                      </a:lnTo>
                      <a:lnTo>
                        <a:pt x="552" y="252"/>
                      </a:lnTo>
                      <a:lnTo>
                        <a:pt x="552" y="252"/>
                      </a:lnTo>
                      <a:lnTo>
                        <a:pt x="552" y="252"/>
                      </a:lnTo>
                      <a:lnTo>
                        <a:pt x="552" y="252"/>
                      </a:lnTo>
                      <a:lnTo>
                        <a:pt x="551" y="252"/>
                      </a:lnTo>
                      <a:lnTo>
                        <a:pt x="550" y="252"/>
                      </a:lnTo>
                      <a:lnTo>
                        <a:pt x="550" y="252"/>
                      </a:lnTo>
                      <a:lnTo>
                        <a:pt x="549" y="252"/>
                      </a:lnTo>
                      <a:lnTo>
                        <a:pt x="549" y="251"/>
                      </a:lnTo>
                      <a:lnTo>
                        <a:pt x="549" y="252"/>
                      </a:lnTo>
                      <a:lnTo>
                        <a:pt x="549" y="251"/>
                      </a:lnTo>
                      <a:lnTo>
                        <a:pt x="549" y="251"/>
                      </a:lnTo>
                      <a:lnTo>
                        <a:pt x="549" y="251"/>
                      </a:lnTo>
                      <a:lnTo>
                        <a:pt x="549" y="251"/>
                      </a:lnTo>
                      <a:lnTo>
                        <a:pt x="549" y="251"/>
                      </a:lnTo>
                      <a:lnTo>
                        <a:pt x="550" y="251"/>
                      </a:lnTo>
                      <a:lnTo>
                        <a:pt x="550" y="252"/>
                      </a:lnTo>
                      <a:lnTo>
                        <a:pt x="550" y="251"/>
                      </a:lnTo>
                      <a:lnTo>
                        <a:pt x="549" y="251"/>
                      </a:lnTo>
                      <a:lnTo>
                        <a:pt x="549" y="251"/>
                      </a:lnTo>
                      <a:lnTo>
                        <a:pt x="550" y="251"/>
                      </a:lnTo>
                      <a:lnTo>
                        <a:pt x="550" y="250"/>
                      </a:lnTo>
                      <a:lnTo>
                        <a:pt x="550" y="251"/>
                      </a:lnTo>
                      <a:lnTo>
                        <a:pt x="550" y="250"/>
                      </a:lnTo>
                      <a:lnTo>
                        <a:pt x="550" y="251"/>
                      </a:lnTo>
                      <a:lnTo>
                        <a:pt x="550" y="250"/>
                      </a:lnTo>
                      <a:lnTo>
                        <a:pt x="549" y="249"/>
                      </a:lnTo>
                      <a:lnTo>
                        <a:pt x="549" y="249"/>
                      </a:lnTo>
                      <a:lnTo>
                        <a:pt x="548" y="249"/>
                      </a:lnTo>
                      <a:lnTo>
                        <a:pt x="548" y="248"/>
                      </a:lnTo>
                      <a:lnTo>
                        <a:pt x="548" y="248"/>
                      </a:lnTo>
                      <a:lnTo>
                        <a:pt x="548" y="248"/>
                      </a:lnTo>
                      <a:lnTo>
                        <a:pt x="547" y="248"/>
                      </a:lnTo>
                      <a:lnTo>
                        <a:pt x="546" y="248"/>
                      </a:lnTo>
                      <a:lnTo>
                        <a:pt x="546" y="248"/>
                      </a:lnTo>
                      <a:lnTo>
                        <a:pt x="546" y="247"/>
                      </a:lnTo>
                      <a:lnTo>
                        <a:pt x="545" y="247"/>
                      </a:lnTo>
                      <a:lnTo>
                        <a:pt x="545" y="247"/>
                      </a:lnTo>
                      <a:lnTo>
                        <a:pt x="545" y="247"/>
                      </a:lnTo>
                      <a:lnTo>
                        <a:pt x="545" y="246"/>
                      </a:lnTo>
                      <a:lnTo>
                        <a:pt x="545" y="247"/>
                      </a:lnTo>
                      <a:lnTo>
                        <a:pt x="545" y="246"/>
                      </a:lnTo>
                      <a:lnTo>
                        <a:pt x="545" y="247"/>
                      </a:lnTo>
                      <a:lnTo>
                        <a:pt x="545" y="247"/>
                      </a:lnTo>
                      <a:lnTo>
                        <a:pt x="545" y="246"/>
                      </a:lnTo>
                      <a:lnTo>
                        <a:pt x="545" y="247"/>
                      </a:lnTo>
                      <a:lnTo>
                        <a:pt x="545" y="246"/>
                      </a:lnTo>
                      <a:lnTo>
                        <a:pt x="545" y="246"/>
                      </a:lnTo>
                      <a:lnTo>
                        <a:pt x="545" y="246"/>
                      </a:lnTo>
                      <a:lnTo>
                        <a:pt x="546" y="246"/>
                      </a:lnTo>
                      <a:lnTo>
                        <a:pt x="546" y="246"/>
                      </a:lnTo>
                      <a:lnTo>
                        <a:pt x="546" y="245"/>
                      </a:lnTo>
                      <a:lnTo>
                        <a:pt x="547" y="245"/>
                      </a:lnTo>
                      <a:lnTo>
                        <a:pt x="548" y="245"/>
                      </a:lnTo>
                      <a:lnTo>
                        <a:pt x="547" y="245"/>
                      </a:lnTo>
                      <a:lnTo>
                        <a:pt x="547" y="246"/>
                      </a:lnTo>
                      <a:lnTo>
                        <a:pt x="548" y="246"/>
                      </a:lnTo>
                      <a:lnTo>
                        <a:pt x="548" y="245"/>
                      </a:lnTo>
                      <a:lnTo>
                        <a:pt x="548" y="246"/>
                      </a:lnTo>
                      <a:lnTo>
                        <a:pt x="548" y="245"/>
                      </a:lnTo>
                      <a:lnTo>
                        <a:pt x="549" y="245"/>
                      </a:lnTo>
                      <a:lnTo>
                        <a:pt x="549" y="245"/>
                      </a:lnTo>
                      <a:lnTo>
                        <a:pt x="549" y="245"/>
                      </a:lnTo>
                      <a:lnTo>
                        <a:pt x="549" y="244"/>
                      </a:lnTo>
                      <a:lnTo>
                        <a:pt x="550" y="244"/>
                      </a:lnTo>
                      <a:lnTo>
                        <a:pt x="550" y="244"/>
                      </a:lnTo>
                      <a:lnTo>
                        <a:pt x="550" y="244"/>
                      </a:lnTo>
                      <a:lnTo>
                        <a:pt x="551" y="244"/>
                      </a:lnTo>
                      <a:lnTo>
                        <a:pt x="552" y="244"/>
                      </a:lnTo>
                      <a:lnTo>
                        <a:pt x="552" y="243"/>
                      </a:lnTo>
                      <a:lnTo>
                        <a:pt x="552" y="243"/>
                      </a:lnTo>
                      <a:lnTo>
                        <a:pt x="553" y="243"/>
                      </a:lnTo>
                      <a:lnTo>
                        <a:pt x="553" y="243"/>
                      </a:lnTo>
                      <a:lnTo>
                        <a:pt x="553" y="243"/>
                      </a:lnTo>
                      <a:lnTo>
                        <a:pt x="553" y="243"/>
                      </a:lnTo>
                      <a:lnTo>
                        <a:pt x="553" y="243"/>
                      </a:lnTo>
                      <a:lnTo>
                        <a:pt x="552" y="243"/>
                      </a:lnTo>
                      <a:lnTo>
                        <a:pt x="552" y="243"/>
                      </a:lnTo>
                      <a:lnTo>
                        <a:pt x="552" y="244"/>
                      </a:lnTo>
                      <a:lnTo>
                        <a:pt x="551" y="244"/>
                      </a:lnTo>
                      <a:lnTo>
                        <a:pt x="550" y="244"/>
                      </a:lnTo>
                      <a:lnTo>
                        <a:pt x="550" y="244"/>
                      </a:lnTo>
                      <a:lnTo>
                        <a:pt x="550" y="244"/>
                      </a:lnTo>
                      <a:lnTo>
                        <a:pt x="549" y="244"/>
                      </a:lnTo>
                      <a:lnTo>
                        <a:pt x="549" y="245"/>
                      </a:lnTo>
                      <a:lnTo>
                        <a:pt x="549" y="245"/>
                      </a:lnTo>
                      <a:lnTo>
                        <a:pt x="549" y="245"/>
                      </a:lnTo>
                      <a:lnTo>
                        <a:pt x="548" y="245"/>
                      </a:lnTo>
                      <a:lnTo>
                        <a:pt x="548" y="245"/>
                      </a:lnTo>
                      <a:lnTo>
                        <a:pt x="548" y="246"/>
                      </a:lnTo>
                      <a:lnTo>
                        <a:pt x="547" y="246"/>
                      </a:lnTo>
                      <a:lnTo>
                        <a:pt x="547" y="245"/>
                      </a:lnTo>
                      <a:lnTo>
                        <a:pt x="548" y="245"/>
                      </a:lnTo>
                      <a:lnTo>
                        <a:pt x="547" y="245"/>
                      </a:lnTo>
                      <a:lnTo>
                        <a:pt x="546" y="245"/>
                      </a:lnTo>
                      <a:lnTo>
                        <a:pt x="547" y="245"/>
                      </a:lnTo>
                      <a:lnTo>
                        <a:pt x="546" y="245"/>
                      </a:lnTo>
                      <a:lnTo>
                        <a:pt x="546" y="246"/>
                      </a:lnTo>
                      <a:lnTo>
                        <a:pt x="546" y="246"/>
                      </a:lnTo>
                      <a:lnTo>
                        <a:pt x="545" y="246"/>
                      </a:lnTo>
                      <a:lnTo>
                        <a:pt x="545" y="245"/>
                      </a:lnTo>
                      <a:lnTo>
                        <a:pt x="545" y="245"/>
                      </a:lnTo>
                      <a:lnTo>
                        <a:pt x="545" y="246"/>
                      </a:lnTo>
                      <a:lnTo>
                        <a:pt x="545" y="246"/>
                      </a:lnTo>
                      <a:lnTo>
                        <a:pt x="545" y="247"/>
                      </a:lnTo>
                      <a:lnTo>
                        <a:pt x="545" y="247"/>
                      </a:lnTo>
                      <a:lnTo>
                        <a:pt x="545" y="246"/>
                      </a:lnTo>
                      <a:lnTo>
                        <a:pt x="544" y="246"/>
                      </a:lnTo>
                      <a:lnTo>
                        <a:pt x="543" y="246"/>
                      </a:lnTo>
                      <a:lnTo>
                        <a:pt x="543" y="245"/>
                      </a:lnTo>
                      <a:lnTo>
                        <a:pt x="543" y="245"/>
                      </a:lnTo>
                      <a:lnTo>
                        <a:pt x="542" y="245"/>
                      </a:lnTo>
                      <a:lnTo>
                        <a:pt x="542" y="244"/>
                      </a:lnTo>
                      <a:lnTo>
                        <a:pt x="542" y="244"/>
                      </a:lnTo>
                      <a:lnTo>
                        <a:pt x="542" y="244"/>
                      </a:lnTo>
                      <a:lnTo>
                        <a:pt x="541" y="244"/>
                      </a:lnTo>
                      <a:lnTo>
                        <a:pt x="541" y="243"/>
                      </a:lnTo>
                      <a:lnTo>
                        <a:pt x="541" y="243"/>
                      </a:lnTo>
                      <a:lnTo>
                        <a:pt x="541" y="243"/>
                      </a:lnTo>
                      <a:lnTo>
                        <a:pt x="541" y="243"/>
                      </a:lnTo>
                      <a:lnTo>
                        <a:pt x="541" y="242"/>
                      </a:lnTo>
                      <a:lnTo>
                        <a:pt x="541" y="242"/>
                      </a:lnTo>
                      <a:lnTo>
                        <a:pt x="541" y="241"/>
                      </a:lnTo>
                      <a:lnTo>
                        <a:pt x="541" y="241"/>
                      </a:lnTo>
                      <a:lnTo>
                        <a:pt x="541" y="241"/>
                      </a:lnTo>
                      <a:lnTo>
                        <a:pt x="541" y="241"/>
                      </a:lnTo>
                      <a:lnTo>
                        <a:pt x="541" y="241"/>
                      </a:lnTo>
                      <a:lnTo>
                        <a:pt x="541" y="241"/>
                      </a:lnTo>
                      <a:lnTo>
                        <a:pt x="541" y="241"/>
                      </a:lnTo>
                      <a:lnTo>
                        <a:pt x="541" y="241"/>
                      </a:lnTo>
                      <a:lnTo>
                        <a:pt x="541" y="241"/>
                      </a:lnTo>
                      <a:lnTo>
                        <a:pt x="541" y="241"/>
                      </a:lnTo>
                      <a:lnTo>
                        <a:pt x="541" y="241"/>
                      </a:lnTo>
                      <a:lnTo>
                        <a:pt x="541" y="241"/>
                      </a:lnTo>
                      <a:lnTo>
                        <a:pt x="541" y="240"/>
                      </a:lnTo>
                      <a:lnTo>
                        <a:pt x="540" y="240"/>
                      </a:lnTo>
                      <a:lnTo>
                        <a:pt x="540" y="240"/>
                      </a:lnTo>
                      <a:lnTo>
                        <a:pt x="541" y="240"/>
                      </a:lnTo>
                      <a:lnTo>
                        <a:pt x="540" y="240"/>
                      </a:lnTo>
                      <a:lnTo>
                        <a:pt x="540" y="239"/>
                      </a:lnTo>
                      <a:lnTo>
                        <a:pt x="540" y="238"/>
                      </a:lnTo>
                      <a:lnTo>
                        <a:pt x="539" y="238"/>
                      </a:lnTo>
                      <a:lnTo>
                        <a:pt x="539" y="238"/>
                      </a:lnTo>
                      <a:lnTo>
                        <a:pt x="540" y="238"/>
                      </a:lnTo>
                      <a:lnTo>
                        <a:pt x="540" y="237"/>
                      </a:lnTo>
                      <a:lnTo>
                        <a:pt x="540" y="237"/>
                      </a:lnTo>
                      <a:lnTo>
                        <a:pt x="539" y="237"/>
                      </a:lnTo>
                      <a:lnTo>
                        <a:pt x="539" y="236"/>
                      </a:lnTo>
                      <a:lnTo>
                        <a:pt x="539" y="237"/>
                      </a:lnTo>
                      <a:lnTo>
                        <a:pt x="539" y="236"/>
                      </a:lnTo>
                      <a:lnTo>
                        <a:pt x="539" y="237"/>
                      </a:lnTo>
                      <a:lnTo>
                        <a:pt x="539" y="236"/>
                      </a:lnTo>
                      <a:lnTo>
                        <a:pt x="539" y="236"/>
                      </a:lnTo>
                      <a:lnTo>
                        <a:pt x="539" y="235"/>
                      </a:lnTo>
                      <a:lnTo>
                        <a:pt x="539" y="235"/>
                      </a:lnTo>
                      <a:lnTo>
                        <a:pt x="539" y="234"/>
                      </a:lnTo>
                      <a:lnTo>
                        <a:pt x="539" y="234"/>
                      </a:lnTo>
                      <a:lnTo>
                        <a:pt x="538" y="234"/>
                      </a:lnTo>
                      <a:lnTo>
                        <a:pt x="538" y="233"/>
                      </a:lnTo>
                      <a:lnTo>
                        <a:pt x="538" y="233"/>
                      </a:lnTo>
                      <a:lnTo>
                        <a:pt x="538" y="232"/>
                      </a:lnTo>
                      <a:lnTo>
                        <a:pt x="538" y="233"/>
                      </a:lnTo>
                      <a:lnTo>
                        <a:pt x="538" y="232"/>
                      </a:lnTo>
                      <a:lnTo>
                        <a:pt x="538" y="232"/>
                      </a:lnTo>
                      <a:lnTo>
                        <a:pt x="538" y="231"/>
                      </a:lnTo>
                      <a:lnTo>
                        <a:pt x="537" y="231"/>
                      </a:lnTo>
                      <a:lnTo>
                        <a:pt x="537" y="230"/>
                      </a:lnTo>
                      <a:lnTo>
                        <a:pt x="537" y="230"/>
                      </a:lnTo>
                      <a:lnTo>
                        <a:pt x="537" y="230"/>
                      </a:lnTo>
                      <a:lnTo>
                        <a:pt x="537" y="229"/>
                      </a:lnTo>
                      <a:lnTo>
                        <a:pt x="537" y="229"/>
                      </a:lnTo>
                      <a:lnTo>
                        <a:pt x="537" y="229"/>
                      </a:lnTo>
                      <a:lnTo>
                        <a:pt x="538" y="229"/>
                      </a:lnTo>
                      <a:lnTo>
                        <a:pt x="538" y="229"/>
                      </a:lnTo>
                      <a:lnTo>
                        <a:pt x="537" y="229"/>
                      </a:lnTo>
                      <a:lnTo>
                        <a:pt x="538" y="229"/>
                      </a:lnTo>
                      <a:lnTo>
                        <a:pt x="538" y="229"/>
                      </a:lnTo>
                      <a:lnTo>
                        <a:pt x="538" y="229"/>
                      </a:lnTo>
                      <a:lnTo>
                        <a:pt x="539" y="229"/>
                      </a:lnTo>
                      <a:lnTo>
                        <a:pt x="538" y="229"/>
                      </a:lnTo>
                      <a:lnTo>
                        <a:pt x="539" y="229"/>
                      </a:lnTo>
                      <a:lnTo>
                        <a:pt x="539" y="229"/>
                      </a:lnTo>
                      <a:lnTo>
                        <a:pt x="539" y="229"/>
                      </a:lnTo>
                      <a:lnTo>
                        <a:pt x="539" y="229"/>
                      </a:lnTo>
                      <a:lnTo>
                        <a:pt x="539" y="230"/>
                      </a:lnTo>
                      <a:lnTo>
                        <a:pt x="539" y="230"/>
                      </a:lnTo>
                      <a:lnTo>
                        <a:pt x="540" y="230"/>
                      </a:lnTo>
                      <a:lnTo>
                        <a:pt x="541" y="230"/>
                      </a:lnTo>
                      <a:lnTo>
                        <a:pt x="541" y="230"/>
                      </a:lnTo>
                      <a:lnTo>
                        <a:pt x="542" y="230"/>
                      </a:lnTo>
                      <a:lnTo>
                        <a:pt x="542" y="230"/>
                      </a:lnTo>
                      <a:lnTo>
                        <a:pt x="541" y="230"/>
                      </a:lnTo>
                      <a:lnTo>
                        <a:pt x="542" y="230"/>
                      </a:lnTo>
                      <a:lnTo>
                        <a:pt x="542" y="230"/>
                      </a:lnTo>
                      <a:lnTo>
                        <a:pt x="543" y="230"/>
                      </a:lnTo>
                      <a:lnTo>
                        <a:pt x="543" y="231"/>
                      </a:lnTo>
                      <a:lnTo>
                        <a:pt x="543" y="231"/>
                      </a:lnTo>
                      <a:lnTo>
                        <a:pt x="543" y="232"/>
                      </a:lnTo>
                      <a:lnTo>
                        <a:pt x="543" y="232"/>
                      </a:lnTo>
                      <a:lnTo>
                        <a:pt x="543" y="232"/>
                      </a:lnTo>
                      <a:lnTo>
                        <a:pt x="543" y="232"/>
                      </a:lnTo>
                      <a:lnTo>
                        <a:pt x="543" y="232"/>
                      </a:lnTo>
                      <a:lnTo>
                        <a:pt x="543" y="232"/>
                      </a:lnTo>
                      <a:lnTo>
                        <a:pt x="543" y="233"/>
                      </a:lnTo>
                      <a:lnTo>
                        <a:pt x="543" y="233"/>
                      </a:lnTo>
                      <a:lnTo>
                        <a:pt x="543" y="233"/>
                      </a:lnTo>
                      <a:lnTo>
                        <a:pt x="543" y="233"/>
                      </a:lnTo>
                      <a:lnTo>
                        <a:pt x="544" y="233"/>
                      </a:lnTo>
                      <a:lnTo>
                        <a:pt x="543" y="233"/>
                      </a:lnTo>
                      <a:lnTo>
                        <a:pt x="543" y="234"/>
                      </a:lnTo>
                      <a:lnTo>
                        <a:pt x="544" y="234"/>
                      </a:lnTo>
                      <a:lnTo>
                        <a:pt x="545" y="234"/>
                      </a:lnTo>
                      <a:lnTo>
                        <a:pt x="545" y="234"/>
                      </a:lnTo>
                      <a:lnTo>
                        <a:pt x="545" y="234"/>
                      </a:lnTo>
                      <a:lnTo>
                        <a:pt x="545" y="234"/>
                      </a:lnTo>
                      <a:lnTo>
                        <a:pt x="546" y="234"/>
                      </a:lnTo>
                      <a:lnTo>
                        <a:pt x="546" y="234"/>
                      </a:lnTo>
                      <a:lnTo>
                        <a:pt x="547" y="234"/>
                      </a:lnTo>
                      <a:lnTo>
                        <a:pt x="548" y="234"/>
                      </a:lnTo>
                      <a:lnTo>
                        <a:pt x="548" y="234"/>
                      </a:lnTo>
                      <a:lnTo>
                        <a:pt x="549" y="234"/>
                      </a:lnTo>
                      <a:lnTo>
                        <a:pt x="549" y="234"/>
                      </a:lnTo>
                      <a:lnTo>
                        <a:pt x="549" y="234"/>
                      </a:lnTo>
                      <a:lnTo>
                        <a:pt x="549" y="234"/>
                      </a:lnTo>
                      <a:lnTo>
                        <a:pt x="550" y="234"/>
                      </a:lnTo>
                      <a:lnTo>
                        <a:pt x="550" y="234"/>
                      </a:lnTo>
                      <a:lnTo>
                        <a:pt x="551" y="234"/>
                      </a:lnTo>
                      <a:lnTo>
                        <a:pt x="552" y="234"/>
                      </a:lnTo>
                      <a:lnTo>
                        <a:pt x="552" y="234"/>
                      </a:lnTo>
                      <a:lnTo>
                        <a:pt x="552" y="234"/>
                      </a:lnTo>
                      <a:lnTo>
                        <a:pt x="552" y="234"/>
                      </a:lnTo>
                      <a:lnTo>
                        <a:pt x="552" y="234"/>
                      </a:lnTo>
                      <a:lnTo>
                        <a:pt x="552" y="234"/>
                      </a:lnTo>
                      <a:lnTo>
                        <a:pt x="553" y="234"/>
                      </a:lnTo>
                      <a:lnTo>
                        <a:pt x="553" y="234"/>
                      </a:lnTo>
                      <a:lnTo>
                        <a:pt x="553" y="233"/>
                      </a:lnTo>
                      <a:lnTo>
                        <a:pt x="554" y="233"/>
                      </a:lnTo>
                      <a:lnTo>
                        <a:pt x="554" y="233"/>
                      </a:lnTo>
                      <a:lnTo>
                        <a:pt x="554" y="233"/>
                      </a:lnTo>
                      <a:lnTo>
                        <a:pt x="554" y="233"/>
                      </a:lnTo>
                      <a:lnTo>
                        <a:pt x="554" y="233"/>
                      </a:lnTo>
                      <a:lnTo>
                        <a:pt x="554" y="232"/>
                      </a:lnTo>
                      <a:lnTo>
                        <a:pt x="555" y="233"/>
                      </a:lnTo>
                      <a:lnTo>
                        <a:pt x="555" y="232"/>
                      </a:lnTo>
                      <a:lnTo>
                        <a:pt x="556" y="232"/>
                      </a:lnTo>
                      <a:lnTo>
                        <a:pt x="556" y="232"/>
                      </a:lnTo>
                      <a:lnTo>
                        <a:pt x="556" y="232"/>
                      </a:lnTo>
                      <a:lnTo>
                        <a:pt x="557" y="232"/>
                      </a:lnTo>
                      <a:lnTo>
                        <a:pt x="557" y="232"/>
                      </a:lnTo>
                      <a:lnTo>
                        <a:pt x="557" y="231"/>
                      </a:lnTo>
                      <a:lnTo>
                        <a:pt x="558" y="231"/>
                      </a:lnTo>
                      <a:lnTo>
                        <a:pt x="557" y="231"/>
                      </a:lnTo>
                      <a:lnTo>
                        <a:pt x="557" y="232"/>
                      </a:lnTo>
                      <a:lnTo>
                        <a:pt x="557" y="232"/>
                      </a:lnTo>
                      <a:lnTo>
                        <a:pt x="556" y="232"/>
                      </a:lnTo>
                      <a:lnTo>
                        <a:pt x="556" y="232"/>
                      </a:lnTo>
                      <a:lnTo>
                        <a:pt x="555" y="232"/>
                      </a:lnTo>
                      <a:lnTo>
                        <a:pt x="554" y="232"/>
                      </a:lnTo>
                      <a:lnTo>
                        <a:pt x="554" y="233"/>
                      </a:lnTo>
                      <a:lnTo>
                        <a:pt x="554" y="233"/>
                      </a:lnTo>
                      <a:lnTo>
                        <a:pt x="554" y="233"/>
                      </a:lnTo>
                      <a:lnTo>
                        <a:pt x="553" y="233"/>
                      </a:lnTo>
                      <a:lnTo>
                        <a:pt x="554" y="233"/>
                      </a:lnTo>
                      <a:lnTo>
                        <a:pt x="553" y="233"/>
                      </a:lnTo>
                      <a:lnTo>
                        <a:pt x="553" y="234"/>
                      </a:lnTo>
                      <a:lnTo>
                        <a:pt x="553" y="234"/>
                      </a:lnTo>
                      <a:lnTo>
                        <a:pt x="552" y="234"/>
                      </a:lnTo>
                      <a:lnTo>
                        <a:pt x="552" y="234"/>
                      </a:lnTo>
                      <a:lnTo>
                        <a:pt x="552" y="234"/>
                      </a:lnTo>
                      <a:lnTo>
                        <a:pt x="552" y="234"/>
                      </a:lnTo>
                      <a:lnTo>
                        <a:pt x="552" y="234"/>
                      </a:lnTo>
                      <a:lnTo>
                        <a:pt x="552" y="234"/>
                      </a:lnTo>
                      <a:lnTo>
                        <a:pt x="551" y="234"/>
                      </a:lnTo>
                      <a:lnTo>
                        <a:pt x="550" y="234"/>
                      </a:lnTo>
                      <a:lnTo>
                        <a:pt x="550" y="234"/>
                      </a:lnTo>
                      <a:lnTo>
                        <a:pt x="549" y="234"/>
                      </a:lnTo>
                      <a:lnTo>
                        <a:pt x="549" y="234"/>
                      </a:lnTo>
                      <a:lnTo>
                        <a:pt x="549" y="234"/>
                      </a:lnTo>
                      <a:lnTo>
                        <a:pt x="549" y="234"/>
                      </a:lnTo>
                      <a:lnTo>
                        <a:pt x="548" y="234"/>
                      </a:lnTo>
                      <a:lnTo>
                        <a:pt x="548" y="234"/>
                      </a:lnTo>
                      <a:lnTo>
                        <a:pt x="547" y="234"/>
                      </a:lnTo>
                      <a:lnTo>
                        <a:pt x="546" y="234"/>
                      </a:lnTo>
                      <a:lnTo>
                        <a:pt x="546" y="234"/>
                      </a:lnTo>
                      <a:lnTo>
                        <a:pt x="545" y="234"/>
                      </a:lnTo>
                      <a:lnTo>
                        <a:pt x="545" y="234"/>
                      </a:lnTo>
                      <a:lnTo>
                        <a:pt x="544" y="234"/>
                      </a:lnTo>
                      <a:lnTo>
                        <a:pt x="543" y="234"/>
                      </a:lnTo>
                      <a:lnTo>
                        <a:pt x="543" y="233"/>
                      </a:lnTo>
                      <a:lnTo>
                        <a:pt x="544" y="233"/>
                      </a:lnTo>
                      <a:lnTo>
                        <a:pt x="543" y="233"/>
                      </a:lnTo>
                      <a:lnTo>
                        <a:pt x="543" y="233"/>
                      </a:lnTo>
                      <a:lnTo>
                        <a:pt x="543" y="233"/>
                      </a:lnTo>
                      <a:lnTo>
                        <a:pt x="543" y="233"/>
                      </a:lnTo>
                      <a:lnTo>
                        <a:pt x="543" y="232"/>
                      </a:lnTo>
                      <a:lnTo>
                        <a:pt x="543" y="232"/>
                      </a:lnTo>
                      <a:lnTo>
                        <a:pt x="543" y="232"/>
                      </a:lnTo>
                      <a:lnTo>
                        <a:pt x="543" y="232"/>
                      </a:lnTo>
                      <a:lnTo>
                        <a:pt x="543" y="232"/>
                      </a:lnTo>
                      <a:lnTo>
                        <a:pt x="543" y="232"/>
                      </a:lnTo>
                      <a:lnTo>
                        <a:pt x="543" y="232"/>
                      </a:lnTo>
                      <a:lnTo>
                        <a:pt x="543" y="232"/>
                      </a:lnTo>
                      <a:lnTo>
                        <a:pt x="543" y="231"/>
                      </a:lnTo>
                      <a:lnTo>
                        <a:pt x="543" y="231"/>
                      </a:lnTo>
                      <a:lnTo>
                        <a:pt x="543" y="230"/>
                      </a:lnTo>
                      <a:lnTo>
                        <a:pt x="542" y="230"/>
                      </a:lnTo>
                      <a:lnTo>
                        <a:pt x="542" y="230"/>
                      </a:lnTo>
                      <a:lnTo>
                        <a:pt x="542" y="230"/>
                      </a:lnTo>
                      <a:lnTo>
                        <a:pt x="542" y="230"/>
                      </a:lnTo>
                      <a:lnTo>
                        <a:pt x="541" y="230"/>
                      </a:lnTo>
                      <a:lnTo>
                        <a:pt x="542" y="230"/>
                      </a:lnTo>
                      <a:lnTo>
                        <a:pt x="542" y="230"/>
                      </a:lnTo>
                      <a:lnTo>
                        <a:pt x="541" y="230"/>
                      </a:lnTo>
                      <a:lnTo>
                        <a:pt x="541" y="230"/>
                      </a:lnTo>
                      <a:lnTo>
                        <a:pt x="540" y="230"/>
                      </a:lnTo>
                      <a:lnTo>
                        <a:pt x="540" y="229"/>
                      </a:lnTo>
                      <a:lnTo>
                        <a:pt x="539" y="229"/>
                      </a:lnTo>
                      <a:lnTo>
                        <a:pt x="539" y="230"/>
                      </a:lnTo>
                      <a:lnTo>
                        <a:pt x="539" y="230"/>
                      </a:lnTo>
                      <a:lnTo>
                        <a:pt x="539" y="230"/>
                      </a:lnTo>
                      <a:lnTo>
                        <a:pt x="539" y="229"/>
                      </a:lnTo>
                      <a:lnTo>
                        <a:pt x="539" y="229"/>
                      </a:lnTo>
                      <a:lnTo>
                        <a:pt x="539" y="229"/>
                      </a:lnTo>
                      <a:lnTo>
                        <a:pt x="538" y="229"/>
                      </a:lnTo>
                      <a:lnTo>
                        <a:pt x="538" y="229"/>
                      </a:lnTo>
                      <a:lnTo>
                        <a:pt x="538" y="229"/>
                      </a:lnTo>
                      <a:lnTo>
                        <a:pt x="538" y="229"/>
                      </a:lnTo>
                      <a:lnTo>
                        <a:pt x="537" y="229"/>
                      </a:lnTo>
                      <a:lnTo>
                        <a:pt x="537" y="229"/>
                      </a:lnTo>
                      <a:lnTo>
                        <a:pt x="537" y="229"/>
                      </a:lnTo>
                      <a:lnTo>
                        <a:pt x="537" y="229"/>
                      </a:lnTo>
                      <a:lnTo>
                        <a:pt x="537" y="229"/>
                      </a:lnTo>
                      <a:lnTo>
                        <a:pt x="537" y="229"/>
                      </a:lnTo>
                      <a:lnTo>
                        <a:pt x="536" y="229"/>
                      </a:lnTo>
                      <a:lnTo>
                        <a:pt x="536" y="228"/>
                      </a:lnTo>
                      <a:lnTo>
                        <a:pt x="537" y="228"/>
                      </a:lnTo>
                      <a:lnTo>
                        <a:pt x="536" y="228"/>
                      </a:lnTo>
                      <a:lnTo>
                        <a:pt x="536" y="227"/>
                      </a:lnTo>
                      <a:lnTo>
                        <a:pt x="535" y="227"/>
                      </a:lnTo>
                      <a:lnTo>
                        <a:pt x="535" y="227"/>
                      </a:lnTo>
                      <a:lnTo>
                        <a:pt x="535" y="227"/>
                      </a:lnTo>
                      <a:lnTo>
                        <a:pt x="535" y="227"/>
                      </a:lnTo>
                      <a:lnTo>
                        <a:pt x="535" y="226"/>
                      </a:lnTo>
                      <a:lnTo>
                        <a:pt x="535" y="226"/>
                      </a:lnTo>
                      <a:lnTo>
                        <a:pt x="535" y="225"/>
                      </a:lnTo>
                      <a:lnTo>
                        <a:pt x="534" y="225"/>
                      </a:lnTo>
                      <a:lnTo>
                        <a:pt x="534" y="225"/>
                      </a:lnTo>
                      <a:lnTo>
                        <a:pt x="534" y="224"/>
                      </a:lnTo>
                      <a:lnTo>
                        <a:pt x="534" y="224"/>
                      </a:lnTo>
                      <a:lnTo>
                        <a:pt x="534" y="224"/>
                      </a:lnTo>
                      <a:lnTo>
                        <a:pt x="534" y="223"/>
                      </a:lnTo>
                      <a:lnTo>
                        <a:pt x="534" y="223"/>
                      </a:lnTo>
                      <a:lnTo>
                        <a:pt x="534" y="223"/>
                      </a:lnTo>
                      <a:lnTo>
                        <a:pt x="534" y="223"/>
                      </a:lnTo>
                      <a:lnTo>
                        <a:pt x="534" y="223"/>
                      </a:lnTo>
                      <a:lnTo>
                        <a:pt x="534" y="223"/>
                      </a:lnTo>
                      <a:lnTo>
                        <a:pt x="534" y="223"/>
                      </a:lnTo>
                      <a:lnTo>
                        <a:pt x="534" y="223"/>
                      </a:lnTo>
                      <a:lnTo>
                        <a:pt x="534" y="222"/>
                      </a:lnTo>
                      <a:lnTo>
                        <a:pt x="534" y="222"/>
                      </a:lnTo>
                      <a:lnTo>
                        <a:pt x="534" y="222"/>
                      </a:lnTo>
                      <a:lnTo>
                        <a:pt x="534" y="222"/>
                      </a:lnTo>
                      <a:lnTo>
                        <a:pt x="535" y="222"/>
                      </a:lnTo>
                      <a:lnTo>
                        <a:pt x="535" y="221"/>
                      </a:lnTo>
                      <a:lnTo>
                        <a:pt x="535" y="222"/>
                      </a:lnTo>
                      <a:lnTo>
                        <a:pt x="535" y="222"/>
                      </a:lnTo>
                      <a:lnTo>
                        <a:pt x="536" y="222"/>
                      </a:lnTo>
                      <a:lnTo>
                        <a:pt x="535" y="222"/>
                      </a:lnTo>
                      <a:lnTo>
                        <a:pt x="535" y="222"/>
                      </a:lnTo>
                      <a:lnTo>
                        <a:pt x="536" y="222"/>
                      </a:lnTo>
                      <a:lnTo>
                        <a:pt x="536" y="223"/>
                      </a:lnTo>
                      <a:lnTo>
                        <a:pt x="537" y="222"/>
                      </a:lnTo>
                      <a:lnTo>
                        <a:pt x="537" y="223"/>
                      </a:lnTo>
                      <a:lnTo>
                        <a:pt x="537" y="222"/>
                      </a:lnTo>
                      <a:lnTo>
                        <a:pt x="536" y="223"/>
                      </a:lnTo>
                      <a:lnTo>
                        <a:pt x="536" y="222"/>
                      </a:lnTo>
                      <a:lnTo>
                        <a:pt x="535" y="222"/>
                      </a:lnTo>
                      <a:lnTo>
                        <a:pt x="535" y="222"/>
                      </a:lnTo>
                      <a:lnTo>
                        <a:pt x="536" y="222"/>
                      </a:lnTo>
                      <a:lnTo>
                        <a:pt x="535" y="222"/>
                      </a:lnTo>
                      <a:lnTo>
                        <a:pt x="535" y="222"/>
                      </a:lnTo>
                      <a:lnTo>
                        <a:pt x="535" y="221"/>
                      </a:lnTo>
                      <a:lnTo>
                        <a:pt x="535" y="222"/>
                      </a:lnTo>
                      <a:lnTo>
                        <a:pt x="535" y="221"/>
                      </a:lnTo>
                      <a:lnTo>
                        <a:pt x="535" y="222"/>
                      </a:lnTo>
                      <a:lnTo>
                        <a:pt x="534" y="221"/>
                      </a:lnTo>
                      <a:lnTo>
                        <a:pt x="534" y="222"/>
                      </a:lnTo>
                      <a:lnTo>
                        <a:pt x="534" y="221"/>
                      </a:lnTo>
                      <a:lnTo>
                        <a:pt x="535" y="221"/>
                      </a:lnTo>
                      <a:lnTo>
                        <a:pt x="534" y="221"/>
                      </a:lnTo>
                      <a:lnTo>
                        <a:pt x="534" y="221"/>
                      </a:lnTo>
                      <a:lnTo>
                        <a:pt x="534" y="221"/>
                      </a:lnTo>
                      <a:lnTo>
                        <a:pt x="533" y="221"/>
                      </a:lnTo>
                      <a:lnTo>
                        <a:pt x="533" y="220"/>
                      </a:lnTo>
                      <a:lnTo>
                        <a:pt x="534" y="220"/>
                      </a:lnTo>
                      <a:lnTo>
                        <a:pt x="534" y="220"/>
                      </a:lnTo>
                      <a:lnTo>
                        <a:pt x="534" y="220"/>
                      </a:lnTo>
                      <a:lnTo>
                        <a:pt x="534" y="219"/>
                      </a:lnTo>
                      <a:lnTo>
                        <a:pt x="534" y="219"/>
                      </a:lnTo>
                      <a:lnTo>
                        <a:pt x="533" y="219"/>
                      </a:lnTo>
                      <a:lnTo>
                        <a:pt x="533" y="218"/>
                      </a:lnTo>
                      <a:lnTo>
                        <a:pt x="534" y="218"/>
                      </a:lnTo>
                      <a:lnTo>
                        <a:pt x="533" y="218"/>
                      </a:lnTo>
                      <a:lnTo>
                        <a:pt x="534" y="218"/>
                      </a:lnTo>
                      <a:lnTo>
                        <a:pt x="534" y="218"/>
                      </a:lnTo>
                      <a:lnTo>
                        <a:pt x="535" y="219"/>
                      </a:lnTo>
                      <a:lnTo>
                        <a:pt x="534" y="218"/>
                      </a:lnTo>
                      <a:lnTo>
                        <a:pt x="534" y="218"/>
                      </a:lnTo>
                      <a:lnTo>
                        <a:pt x="534" y="218"/>
                      </a:lnTo>
                      <a:lnTo>
                        <a:pt x="533" y="217"/>
                      </a:lnTo>
                      <a:lnTo>
                        <a:pt x="534" y="217"/>
                      </a:lnTo>
                      <a:lnTo>
                        <a:pt x="533" y="217"/>
                      </a:lnTo>
                      <a:lnTo>
                        <a:pt x="532" y="216"/>
                      </a:lnTo>
                      <a:lnTo>
                        <a:pt x="533" y="216"/>
                      </a:lnTo>
                      <a:lnTo>
                        <a:pt x="532" y="216"/>
                      </a:lnTo>
                      <a:lnTo>
                        <a:pt x="532" y="215"/>
                      </a:lnTo>
                      <a:lnTo>
                        <a:pt x="533" y="215"/>
                      </a:lnTo>
                      <a:lnTo>
                        <a:pt x="532" y="215"/>
                      </a:lnTo>
                      <a:lnTo>
                        <a:pt x="533" y="215"/>
                      </a:lnTo>
                      <a:lnTo>
                        <a:pt x="534" y="215"/>
                      </a:lnTo>
                      <a:lnTo>
                        <a:pt x="534" y="216"/>
                      </a:lnTo>
                      <a:lnTo>
                        <a:pt x="534" y="215"/>
                      </a:lnTo>
                      <a:lnTo>
                        <a:pt x="534" y="215"/>
                      </a:lnTo>
                      <a:lnTo>
                        <a:pt x="535" y="215"/>
                      </a:lnTo>
                      <a:lnTo>
                        <a:pt x="535" y="215"/>
                      </a:lnTo>
                      <a:lnTo>
                        <a:pt x="535" y="215"/>
                      </a:lnTo>
                      <a:lnTo>
                        <a:pt x="535" y="215"/>
                      </a:lnTo>
                      <a:lnTo>
                        <a:pt x="536" y="215"/>
                      </a:lnTo>
                      <a:lnTo>
                        <a:pt x="537" y="216"/>
                      </a:lnTo>
                      <a:lnTo>
                        <a:pt x="537" y="216"/>
                      </a:lnTo>
                      <a:lnTo>
                        <a:pt x="538" y="216"/>
                      </a:lnTo>
                      <a:lnTo>
                        <a:pt x="538" y="216"/>
                      </a:lnTo>
                      <a:lnTo>
                        <a:pt x="538" y="216"/>
                      </a:lnTo>
                      <a:lnTo>
                        <a:pt x="539" y="216"/>
                      </a:lnTo>
                      <a:lnTo>
                        <a:pt x="539" y="216"/>
                      </a:lnTo>
                      <a:lnTo>
                        <a:pt x="540" y="216"/>
                      </a:lnTo>
                      <a:lnTo>
                        <a:pt x="541" y="216"/>
                      </a:lnTo>
                      <a:lnTo>
                        <a:pt x="541" y="216"/>
                      </a:lnTo>
                      <a:lnTo>
                        <a:pt x="542" y="216"/>
                      </a:lnTo>
                      <a:lnTo>
                        <a:pt x="542" y="216"/>
                      </a:lnTo>
                      <a:lnTo>
                        <a:pt x="542" y="216"/>
                      </a:lnTo>
                      <a:lnTo>
                        <a:pt x="541" y="216"/>
                      </a:lnTo>
                      <a:lnTo>
                        <a:pt x="541" y="216"/>
                      </a:lnTo>
                      <a:lnTo>
                        <a:pt x="540" y="216"/>
                      </a:lnTo>
                      <a:lnTo>
                        <a:pt x="539" y="216"/>
                      </a:lnTo>
                      <a:lnTo>
                        <a:pt x="539" y="216"/>
                      </a:lnTo>
                      <a:lnTo>
                        <a:pt x="538" y="216"/>
                      </a:lnTo>
                      <a:lnTo>
                        <a:pt x="538" y="216"/>
                      </a:lnTo>
                      <a:lnTo>
                        <a:pt x="538" y="216"/>
                      </a:lnTo>
                      <a:lnTo>
                        <a:pt x="537" y="216"/>
                      </a:lnTo>
                      <a:lnTo>
                        <a:pt x="538" y="216"/>
                      </a:lnTo>
                      <a:lnTo>
                        <a:pt x="537" y="216"/>
                      </a:lnTo>
                      <a:lnTo>
                        <a:pt x="537" y="216"/>
                      </a:lnTo>
                      <a:lnTo>
                        <a:pt x="537" y="215"/>
                      </a:lnTo>
                      <a:lnTo>
                        <a:pt x="536" y="215"/>
                      </a:lnTo>
                      <a:lnTo>
                        <a:pt x="537" y="215"/>
                      </a:lnTo>
                      <a:lnTo>
                        <a:pt x="536" y="215"/>
                      </a:lnTo>
                      <a:lnTo>
                        <a:pt x="537" y="215"/>
                      </a:lnTo>
                      <a:lnTo>
                        <a:pt x="537" y="215"/>
                      </a:lnTo>
                      <a:lnTo>
                        <a:pt x="538" y="215"/>
                      </a:lnTo>
                      <a:lnTo>
                        <a:pt x="538" y="215"/>
                      </a:lnTo>
                      <a:lnTo>
                        <a:pt x="539" y="215"/>
                      </a:lnTo>
                      <a:lnTo>
                        <a:pt x="539" y="215"/>
                      </a:lnTo>
                      <a:lnTo>
                        <a:pt x="540" y="215"/>
                      </a:lnTo>
                      <a:lnTo>
                        <a:pt x="540" y="215"/>
                      </a:lnTo>
                      <a:lnTo>
                        <a:pt x="541" y="215"/>
                      </a:lnTo>
                      <a:lnTo>
                        <a:pt x="541" y="214"/>
                      </a:lnTo>
                      <a:lnTo>
                        <a:pt x="541" y="214"/>
                      </a:lnTo>
                      <a:lnTo>
                        <a:pt x="542" y="214"/>
                      </a:lnTo>
                      <a:lnTo>
                        <a:pt x="542" y="214"/>
                      </a:lnTo>
                      <a:lnTo>
                        <a:pt x="542" y="214"/>
                      </a:lnTo>
                      <a:lnTo>
                        <a:pt x="543" y="214"/>
                      </a:lnTo>
                      <a:lnTo>
                        <a:pt x="543" y="213"/>
                      </a:lnTo>
                      <a:lnTo>
                        <a:pt x="543" y="213"/>
                      </a:lnTo>
                      <a:lnTo>
                        <a:pt x="544" y="213"/>
                      </a:lnTo>
                      <a:lnTo>
                        <a:pt x="544" y="212"/>
                      </a:lnTo>
                      <a:lnTo>
                        <a:pt x="544" y="213"/>
                      </a:lnTo>
                      <a:lnTo>
                        <a:pt x="543" y="213"/>
                      </a:lnTo>
                      <a:lnTo>
                        <a:pt x="543" y="213"/>
                      </a:lnTo>
                      <a:lnTo>
                        <a:pt x="543" y="214"/>
                      </a:lnTo>
                      <a:lnTo>
                        <a:pt x="542" y="214"/>
                      </a:lnTo>
                      <a:lnTo>
                        <a:pt x="542" y="214"/>
                      </a:lnTo>
                      <a:lnTo>
                        <a:pt x="542" y="214"/>
                      </a:lnTo>
                      <a:lnTo>
                        <a:pt x="542" y="214"/>
                      </a:lnTo>
                      <a:lnTo>
                        <a:pt x="542" y="214"/>
                      </a:lnTo>
                      <a:lnTo>
                        <a:pt x="541" y="214"/>
                      </a:lnTo>
                      <a:lnTo>
                        <a:pt x="541" y="214"/>
                      </a:lnTo>
                      <a:lnTo>
                        <a:pt x="541" y="215"/>
                      </a:lnTo>
                      <a:lnTo>
                        <a:pt x="540" y="215"/>
                      </a:lnTo>
                      <a:lnTo>
                        <a:pt x="540" y="215"/>
                      </a:lnTo>
                      <a:lnTo>
                        <a:pt x="539" y="215"/>
                      </a:lnTo>
                      <a:lnTo>
                        <a:pt x="539" y="215"/>
                      </a:lnTo>
                      <a:lnTo>
                        <a:pt x="539" y="215"/>
                      </a:lnTo>
                      <a:lnTo>
                        <a:pt x="539" y="215"/>
                      </a:lnTo>
                      <a:lnTo>
                        <a:pt x="538" y="215"/>
                      </a:lnTo>
                      <a:lnTo>
                        <a:pt x="538" y="215"/>
                      </a:lnTo>
                      <a:lnTo>
                        <a:pt x="537" y="215"/>
                      </a:lnTo>
                      <a:lnTo>
                        <a:pt x="537" y="215"/>
                      </a:lnTo>
                      <a:lnTo>
                        <a:pt x="536" y="215"/>
                      </a:lnTo>
                      <a:lnTo>
                        <a:pt x="535" y="215"/>
                      </a:lnTo>
                      <a:lnTo>
                        <a:pt x="535" y="215"/>
                      </a:lnTo>
                      <a:lnTo>
                        <a:pt x="535" y="215"/>
                      </a:lnTo>
                      <a:lnTo>
                        <a:pt x="535" y="215"/>
                      </a:lnTo>
                      <a:lnTo>
                        <a:pt x="534" y="215"/>
                      </a:lnTo>
                      <a:lnTo>
                        <a:pt x="534" y="215"/>
                      </a:lnTo>
                      <a:lnTo>
                        <a:pt x="533" y="215"/>
                      </a:lnTo>
                      <a:lnTo>
                        <a:pt x="532" y="215"/>
                      </a:lnTo>
                      <a:lnTo>
                        <a:pt x="533" y="215"/>
                      </a:lnTo>
                      <a:lnTo>
                        <a:pt x="532" y="215"/>
                      </a:lnTo>
                      <a:lnTo>
                        <a:pt x="532" y="215"/>
                      </a:lnTo>
                      <a:lnTo>
                        <a:pt x="532" y="215"/>
                      </a:lnTo>
                      <a:lnTo>
                        <a:pt x="532" y="215"/>
                      </a:lnTo>
                      <a:lnTo>
                        <a:pt x="532" y="215"/>
                      </a:lnTo>
                      <a:lnTo>
                        <a:pt x="531" y="215"/>
                      </a:lnTo>
                      <a:lnTo>
                        <a:pt x="531" y="215"/>
                      </a:lnTo>
                      <a:lnTo>
                        <a:pt x="532" y="215"/>
                      </a:lnTo>
                      <a:lnTo>
                        <a:pt x="531" y="215"/>
                      </a:lnTo>
                      <a:lnTo>
                        <a:pt x="531" y="214"/>
                      </a:lnTo>
                      <a:lnTo>
                        <a:pt x="531" y="214"/>
                      </a:lnTo>
                      <a:lnTo>
                        <a:pt x="530" y="214"/>
                      </a:lnTo>
                      <a:lnTo>
                        <a:pt x="530" y="214"/>
                      </a:lnTo>
                      <a:lnTo>
                        <a:pt x="530" y="213"/>
                      </a:lnTo>
                      <a:lnTo>
                        <a:pt x="530" y="213"/>
                      </a:lnTo>
                      <a:lnTo>
                        <a:pt x="530" y="212"/>
                      </a:lnTo>
                      <a:lnTo>
                        <a:pt x="530" y="212"/>
                      </a:lnTo>
                      <a:lnTo>
                        <a:pt x="531" y="212"/>
                      </a:lnTo>
                      <a:lnTo>
                        <a:pt x="531" y="211"/>
                      </a:lnTo>
                      <a:lnTo>
                        <a:pt x="531" y="211"/>
                      </a:lnTo>
                      <a:lnTo>
                        <a:pt x="530" y="211"/>
                      </a:lnTo>
                      <a:lnTo>
                        <a:pt x="530" y="210"/>
                      </a:lnTo>
                      <a:lnTo>
                        <a:pt x="530" y="210"/>
                      </a:lnTo>
                      <a:lnTo>
                        <a:pt x="530" y="210"/>
                      </a:lnTo>
                      <a:lnTo>
                        <a:pt x="530" y="210"/>
                      </a:lnTo>
                      <a:lnTo>
                        <a:pt x="530" y="210"/>
                      </a:lnTo>
                      <a:lnTo>
                        <a:pt x="530" y="209"/>
                      </a:lnTo>
                      <a:lnTo>
                        <a:pt x="530" y="208"/>
                      </a:lnTo>
                      <a:lnTo>
                        <a:pt x="530" y="208"/>
                      </a:lnTo>
                      <a:lnTo>
                        <a:pt x="530" y="207"/>
                      </a:lnTo>
                      <a:lnTo>
                        <a:pt x="530" y="207"/>
                      </a:lnTo>
                      <a:lnTo>
                        <a:pt x="530" y="206"/>
                      </a:lnTo>
                      <a:lnTo>
                        <a:pt x="530" y="206"/>
                      </a:lnTo>
                      <a:lnTo>
                        <a:pt x="530" y="205"/>
                      </a:lnTo>
                      <a:lnTo>
                        <a:pt x="530" y="205"/>
                      </a:lnTo>
                      <a:lnTo>
                        <a:pt x="530" y="204"/>
                      </a:lnTo>
                      <a:lnTo>
                        <a:pt x="531" y="204"/>
                      </a:lnTo>
                      <a:lnTo>
                        <a:pt x="530" y="204"/>
                      </a:lnTo>
                      <a:lnTo>
                        <a:pt x="531" y="204"/>
                      </a:lnTo>
                      <a:lnTo>
                        <a:pt x="531" y="204"/>
                      </a:lnTo>
                      <a:lnTo>
                        <a:pt x="531" y="205"/>
                      </a:lnTo>
                      <a:lnTo>
                        <a:pt x="531" y="204"/>
                      </a:lnTo>
                      <a:lnTo>
                        <a:pt x="531" y="205"/>
                      </a:lnTo>
                      <a:lnTo>
                        <a:pt x="531" y="204"/>
                      </a:lnTo>
                      <a:lnTo>
                        <a:pt x="531" y="205"/>
                      </a:lnTo>
                      <a:lnTo>
                        <a:pt x="531" y="204"/>
                      </a:lnTo>
                      <a:lnTo>
                        <a:pt x="532" y="204"/>
                      </a:lnTo>
                      <a:lnTo>
                        <a:pt x="532" y="204"/>
                      </a:lnTo>
                      <a:lnTo>
                        <a:pt x="533" y="204"/>
                      </a:lnTo>
                      <a:lnTo>
                        <a:pt x="534" y="204"/>
                      </a:lnTo>
                      <a:lnTo>
                        <a:pt x="534" y="204"/>
                      </a:lnTo>
                      <a:lnTo>
                        <a:pt x="534" y="204"/>
                      </a:lnTo>
                      <a:lnTo>
                        <a:pt x="534" y="205"/>
                      </a:lnTo>
                      <a:lnTo>
                        <a:pt x="535" y="205"/>
                      </a:lnTo>
                      <a:lnTo>
                        <a:pt x="535" y="205"/>
                      </a:lnTo>
                      <a:lnTo>
                        <a:pt x="534" y="205"/>
                      </a:lnTo>
                      <a:lnTo>
                        <a:pt x="534" y="206"/>
                      </a:lnTo>
                      <a:lnTo>
                        <a:pt x="534" y="207"/>
                      </a:lnTo>
                      <a:lnTo>
                        <a:pt x="535" y="207"/>
                      </a:lnTo>
                      <a:lnTo>
                        <a:pt x="534" y="207"/>
                      </a:lnTo>
                      <a:lnTo>
                        <a:pt x="534" y="207"/>
                      </a:lnTo>
                      <a:lnTo>
                        <a:pt x="535" y="207"/>
                      </a:lnTo>
                      <a:lnTo>
                        <a:pt x="535" y="208"/>
                      </a:lnTo>
                      <a:lnTo>
                        <a:pt x="535" y="208"/>
                      </a:lnTo>
                      <a:lnTo>
                        <a:pt x="536" y="208"/>
                      </a:lnTo>
                      <a:lnTo>
                        <a:pt x="535" y="208"/>
                      </a:lnTo>
                      <a:lnTo>
                        <a:pt x="536" y="208"/>
                      </a:lnTo>
                      <a:lnTo>
                        <a:pt x="537" y="209"/>
                      </a:lnTo>
                      <a:lnTo>
                        <a:pt x="536" y="209"/>
                      </a:lnTo>
                      <a:lnTo>
                        <a:pt x="537" y="209"/>
                      </a:lnTo>
                      <a:lnTo>
                        <a:pt x="537" y="209"/>
                      </a:lnTo>
                      <a:lnTo>
                        <a:pt x="538" y="210"/>
                      </a:lnTo>
                      <a:lnTo>
                        <a:pt x="537" y="210"/>
                      </a:lnTo>
                      <a:lnTo>
                        <a:pt x="538" y="210"/>
                      </a:lnTo>
                      <a:lnTo>
                        <a:pt x="538" y="210"/>
                      </a:lnTo>
                      <a:lnTo>
                        <a:pt x="538" y="210"/>
                      </a:lnTo>
                      <a:lnTo>
                        <a:pt x="539" y="210"/>
                      </a:lnTo>
                      <a:lnTo>
                        <a:pt x="539" y="210"/>
                      </a:lnTo>
                      <a:lnTo>
                        <a:pt x="539" y="210"/>
                      </a:lnTo>
                      <a:lnTo>
                        <a:pt x="540" y="210"/>
                      </a:lnTo>
                      <a:lnTo>
                        <a:pt x="541" y="210"/>
                      </a:lnTo>
                      <a:lnTo>
                        <a:pt x="541" y="210"/>
                      </a:lnTo>
                      <a:lnTo>
                        <a:pt x="541" y="210"/>
                      </a:lnTo>
                      <a:lnTo>
                        <a:pt x="541" y="209"/>
                      </a:lnTo>
                      <a:lnTo>
                        <a:pt x="542" y="209"/>
                      </a:lnTo>
                      <a:lnTo>
                        <a:pt x="542" y="208"/>
                      </a:lnTo>
                      <a:lnTo>
                        <a:pt x="542" y="208"/>
                      </a:lnTo>
                      <a:lnTo>
                        <a:pt x="542" y="208"/>
                      </a:lnTo>
                      <a:lnTo>
                        <a:pt x="542" y="208"/>
                      </a:lnTo>
                      <a:lnTo>
                        <a:pt x="542" y="208"/>
                      </a:lnTo>
                      <a:lnTo>
                        <a:pt x="542" y="207"/>
                      </a:lnTo>
                      <a:lnTo>
                        <a:pt x="543" y="207"/>
                      </a:lnTo>
                      <a:lnTo>
                        <a:pt x="543" y="207"/>
                      </a:lnTo>
                      <a:lnTo>
                        <a:pt x="543" y="207"/>
                      </a:lnTo>
                      <a:lnTo>
                        <a:pt x="543" y="207"/>
                      </a:lnTo>
                      <a:lnTo>
                        <a:pt x="544" y="207"/>
                      </a:lnTo>
                      <a:lnTo>
                        <a:pt x="544" y="206"/>
                      </a:lnTo>
                      <a:lnTo>
                        <a:pt x="545" y="206"/>
                      </a:lnTo>
                      <a:lnTo>
                        <a:pt x="545" y="207"/>
                      </a:lnTo>
                      <a:lnTo>
                        <a:pt x="545" y="207"/>
                      </a:lnTo>
                      <a:lnTo>
                        <a:pt x="546" y="207"/>
                      </a:lnTo>
                      <a:lnTo>
                        <a:pt x="546" y="206"/>
                      </a:lnTo>
                      <a:lnTo>
                        <a:pt x="546" y="207"/>
                      </a:lnTo>
                      <a:lnTo>
                        <a:pt x="547" y="207"/>
                      </a:lnTo>
                      <a:lnTo>
                        <a:pt x="548" y="207"/>
                      </a:lnTo>
                      <a:lnTo>
                        <a:pt x="548" y="207"/>
                      </a:lnTo>
                      <a:lnTo>
                        <a:pt x="548" y="207"/>
                      </a:lnTo>
                      <a:lnTo>
                        <a:pt x="548" y="207"/>
                      </a:lnTo>
                      <a:lnTo>
                        <a:pt x="548" y="207"/>
                      </a:lnTo>
                      <a:lnTo>
                        <a:pt x="549" y="207"/>
                      </a:lnTo>
                      <a:lnTo>
                        <a:pt x="549" y="207"/>
                      </a:lnTo>
                      <a:lnTo>
                        <a:pt x="550" y="207"/>
                      </a:lnTo>
                      <a:lnTo>
                        <a:pt x="550" y="207"/>
                      </a:lnTo>
                      <a:lnTo>
                        <a:pt x="550" y="207"/>
                      </a:lnTo>
                      <a:lnTo>
                        <a:pt x="551" y="207"/>
                      </a:lnTo>
                      <a:lnTo>
                        <a:pt x="552" y="207"/>
                      </a:lnTo>
                      <a:lnTo>
                        <a:pt x="551" y="207"/>
                      </a:lnTo>
                      <a:lnTo>
                        <a:pt x="552" y="207"/>
                      </a:lnTo>
                      <a:lnTo>
                        <a:pt x="551" y="207"/>
                      </a:lnTo>
                      <a:lnTo>
                        <a:pt x="552" y="207"/>
                      </a:lnTo>
                      <a:lnTo>
                        <a:pt x="552" y="206"/>
                      </a:lnTo>
                      <a:lnTo>
                        <a:pt x="552" y="207"/>
                      </a:lnTo>
                      <a:lnTo>
                        <a:pt x="552" y="207"/>
                      </a:lnTo>
                      <a:lnTo>
                        <a:pt x="552" y="206"/>
                      </a:lnTo>
                      <a:lnTo>
                        <a:pt x="552" y="207"/>
                      </a:lnTo>
                      <a:lnTo>
                        <a:pt x="552" y="207"/>
                      </a:lnTo>
                      <a:lnTo>
                        <a:pt x="552" y="206"/>
                      </a:lnTo>
                      <a:lnTo>
                        <a:pt x="552" y="206"/>
                      </a:lnTo>
                      <a:lnTo>
                        <a:pt x="552" y="205"/>
                      </a:lnTo>
                      <a:lnTo>
                        <a:pt x="552" y="206"/>
                      </a:lnTo>
                      <a:lnTo>
                        <a:pt x="552" y="205"/>
                      </a:lnTo>
                      <a:lnTo>
                        <a:pt x="552" y="206"/>
                      </a:lnTo>
                      <a:lnTo>
                        <a:pt x="552" y="205"/>
                      </a:lnTo>
                      <a:lnTo>
                        <a:pt x="552" y="206"/>
                      </a:lnTo>
                      <a:lnTo>
                        <a:pt x="552" y="206"/>
                      </a:lnTo>
                      <a:lnTo>
                        <a:pt x="552" y="207"/>
                      </a:lnTo>
                      <a:lnTo>
                        <a:pt x="552" y="206"/>
                      </a:lnTo>
                      <a:lnTo>
                        <a:pt x="552" y="207"/>
                      </a:lnTo>
                      <a:lnTo>
                        <a:pt x="551" y="207"/>
                      </a:lnTo>
                      <a:lnTo>
                        <a:pt x="552" y="207"/>
                      </a:lnTo>
                      <a:lnTo>
                        <a:pt x="551" y="207"/>
                      </a:lnTo>
                      <a:lnTo>
                        <a:pt x="550" y="207"/>
                      </a:lnTo>
                      <a:lnTo>
                        <a:pt x="550" y="207"/>
                      </a:lnTo>
                      <a:lnTo>
                        <a:pt x="550" y="207"/>
                      </a:lnTo>
                      <a:lnTo>
                        <a:pt x="549" y="207"/>
                      </a:lnTo>
                      <a:lnTo>
                        <a:pt x="549" y="207"/>
                      </a:lnTo>
                      <a:lnTo>
                        <a:pt x="548" y="207"/>
                      </a:lnTo>
                      <a:lnTo>
                        <a:pt x="548" y="207"/>
                      </a:lnTo>
                      <a:lnTo>
                        <a:pt x="548" y="207"/>
                      </a:lnTo>
                      <a:lnTo>
                        <a:pt x="548" y="207"/>
                      </a:lnTo>
                      <a:lnTo>
                        <a:pt x="548" y="207"/>
                      </a:lnTo>
                      <a:lnTo>
                        <a:pt x="547" y="207"/>
                      </a:lnTo>
                      <a:lnTo>
                        <a:pt x="546" y="207"/>
                      </a:lnTo>
                      <a:lnTo>
                        <a:pt x="546" y="206"/>
                      </a:lnTo>
                      <a:lnTo>
                        <a:pt x="546" y="206"/>
                      </a:lnTo>
                      <a:lnTo>
                        <a:pt x="546" y="207"/>
                      </a:lnTo>
                      <a:lnTo>
                        <a:pt x="545" y="207"/>
                      </a:lnTo>
                      <a:lnTo>
                        <a:pt x="545" y="207"/>
                      </a:lnTo>
                      <a:lnTo>
                        <a:pt x="545" y="206"/>
                      </a:lnTo>
                      <a:lnTo>
                        <a:pt x="544" y="206"/>
                      </a:lnTo>
                      <a:lnTo>
                        <a:pt x="544" y="207"/>
                      </a:lnTo>
                      <a:lnTo>
                        <a:pt x="543" y="207"/>
                      </a:lnTo>
                      <a:lnTo>
                        <a:pt x="543" y="207"/>
                      </a:lnTo>
                      <a:lnTo>
                        <a:pt x="543" y="207"/>
                      </a:lnTo>
                      <a:lnTo>
                        <a:pt x="543" y="207"/>
                      </a:lnTo>
                      <a:lnTo>
                        <a:pt x="543" y="207"/>
                      </a:lnTo>
                      <a:lnTo>
                        <a:pt x="542" y="207"/>
                      </a:lnTo>
                      <a:lnTo>
                        <a:pt x="542" y="208"/>
                      </a:lnTo>
                      <a:lnTo>
                        <a:pt x="542" y="208"/>
                      </a:lnTo>
                      <a:lnTo>
                        <a:pt x="542" y="209"/>
                      </a:lnTo>
                      <a:lnTo>
                        <a:pt x="541" y="209"/>
                      </a:lnTo>
                      <a:lnTo>
                        <a:pt x="541" y="210"/>
                      </a:lnTo>
                      <a:lnTo>
                        <a:pt x="541" y="210"/>
                      </a:lnTo>
                      <a:lnTo>
                        <a:pt x="541" y="210"/>
                      </a:lnTo>
                      <a:lnTo>
                        <a:pt x="540" y="210"/>
                      </a:lnTo>
                      <a:lnTo>
                        <a:pt x="541" y="210"/>
                      </a:lnTo>
                      <a:lnTo>
                        <a:pt x="540" y="210"/>
                      </a:lnTo>
                      <a:lnTo>
                        <a:pt x="540" y="210"/>
                      </a:lnTo>
                      <a:lnTo>
                        <a:pt x="539" y="210"/>
                      </a:lnTo>
                      <a:lnTo>
                        <a:pt x="539" y="210"/>
                      </a:lnTo>
                      <a:lnTo>
                        <a:pt x="539" y="210"/>
                      </a:lnTo>
                      <a:lnTo>
                        <a:pt x="538" y="210"/>
                      </a:lnTo>
                      <a:lnTo>
                        <a:pt x="538" y="210"/>
                      </a:lnTo>
                      <a:lnTo>
                        <a:pt x="538" y="210"/>
                      </a:lnTo>
                      <a:lnTo>
                        <a:pt x="537" y="210"/>
                      </a:lnTo>
                      <a:lnTo>
                        <a:pt x="538" y="210"/>
                      </a:lnTo>
                      <a:lnTo>
                        <a:pt x="537" y="209"/>
                      </a:lnTo>
                      <a:lnTo>
                        <a:pt x="537" y="209"/>
                      </a:lnTo>
                      <a:lnTo>
                        <a:pt x="536" y="209"/>
                      </a:lnTo>
                      <a:lnTo>
                        <a:pt x="537" y="209"/>
                      </a:lnTo>
                      <a:lnTo>
                        <a:pt x="537" y="208"/>
                      </a:lnTo>
                      <a:lnTo>
                        <a:pt x="536" y="208"/>
                      </a:lnTo>
                      <a:lnTo>
                        <a:pt x="536" y="208"/>
                      </a:lnTo>
                      <a:lnTo>
                        <a:pt x="535" y="208"/>
                      </a:lnTo>
                      <a:lnTo>
                        <a:pt x="535" y="208"/>
                      </a:lnTo>
                      <a:lnTo>
                        <a:pt x="535" y="207"/>
                      </a:lnTo>
                      <a:lnTo>
                        <a:pt x="535" y="207"/>
                      </a:lnTo>
                      <a:lnTo>
                        <a:pt x="534" y="207"/>
                      </a:lnTo>
                      <a:lnTo>
                        <a:pt x="535" y="207"/>
                      </a:lnTo>
                      <a:lnTo>
                        <a:pt x="534" y="207"/>
                      </a:lnTo>
                      <a:lnTo>
                        <a:pt x="534" y="206"/>
                      </a:lnTo>
                      <a:lnTo>
                        <a:pt x="534" y="205"/>
                      </a:lnTo>
                      <a:lnTo>
                        <a:pt x="535" y="205"/>
                      </a:lnTo>
                      <a:lnTo>
                        <a:pt x="535" y="205"/>
                      </a:lnTo>
                      <a:lnTo>
                        <a:pt x="534" y="205"/>
                      </a:lnTo>
                      <a:lnTo>
                        <a:pt x="534" y="204"/>
                      </a:lnTo>
                      <a:lnTo>
                        <a:pt x="535" y="204"/>
                      </a:lnTo>
                      <a:lnTo>
                        <a:pt x="534" y="204"/>
                      </a:lnTo>
                      <a:lnTo>
                        <a:pt x="534" y="204"/>
                      </a:lnTo>
                      <a:lnTo>
                        <a:pt x="534" y="204"/>
                      </a:lnTo>
                      <a:lnTo>
                        <a:pt x="533" y="204"/>
                      </a:lnTo>
                      <a:lnTo>
                        <a:pt x="534" y="204"/>
                      </a:lnTo>
                      <a:lnTo>
                        <a:pt x="534" y="204"/>
                      </a:lnTo>
                      <a:lnTo>
                        <a:pt x="534" y="204"/>
                      </a:lnTo>
                      <a:lnTo>
                        <a:pt x="533" y="204"/>
                      </a:lnTo>
                      <a:lnTo>
                        <a:pt x="533" y="204"/>
                      </a:lnTo>
                      <a:lnTo>
                        <a:pt x="532" y="204"/>
                      </a:lnTo>
                      <a:lnTo>
                        <a:pt x="532" y="204"/>
                      </a:lnTo>
                      <a:lnTo>
                        <a:pt x="531" y="204"/>
                      </a:lnTo>
                      <a:lnTo>
                        <a:pt x="531" y="204"/>
                      </a:lnTo>
                      <a:lnTo>
                        <a:pt x="531" y="203"/>
                      </a:lnTo>
                      <a:lnTo>
                        <a:pt x="532" y="203"/>
                      </a:lnTo>
                      <a:lnTo>
                        <a:pt x="532" y="203"/>
                      </a:lnTo>
                      <a:lnTo>
                        <a:pt x="532" y="203"/>
                      </a:lnTo>
                      <a:lnTo>
                        <a:pt x="533" y="203"/>
                      </a:lnTo>
                      <a:lnTo>
                        <a:pt x="534" y="203"/>
                      </a:lnTo>
                      <a:lnTo>
                        <a:pt x="534" y="203"/>
                      </a:lnTo>
                      <a:lnTo>
                        <a:pt x="534" y="202"/>
                      </a:lnTo>
                      <a:lnTo>
                        <a:pt x="535" y="202"/>
                      </a:lnTo>
                      <a:lnTo>
                        <a:pt x="535" y="201"/>
                      </a:lnTo>
                      <a:lnTo>
                        <a:pt x="534" y="201"/>
                      </a:lnTo>
                      <a:lnTo>
                        <a:pt x="534" y="201"/>
                      </a:lnTo>
                      <a:lnTo>
                        <a:pt x="535" y="201"/>
                      </a:lnTo>
                      <a:lnTo>
                        <a:pt x="535" y="200"/>
                      </a:lnTo>
                      <a:lnTo>
                        <a:pt x="535" y="200"/>
                      </a:lnTo>
                      <a:lnTo>
                        <a:pt x="535" y="200"/>
                      </a:lnTo>
                      <a:lnTo>
                        <a:pt x="536" y="200"/>
                      </a:lnTo>
                      <a:lnTo>
                        <a:pt x="536" y="199"/>
                      </a:lnTo>
                      <a:lnTo>
                        <a:pt x="537" y="199"/>
                      </a:lnTo>
                      <a:lnTo>
                        <a:pt x="537" y="200"/>
                      </a:lnTo>
                      <a:lnTo>
                        <a:pt x="537" y="199"/>
                      </a:lnTo>
                      <a:lnTo>
                        <a:pt x="537" y="200"/>
                      </a:lnTo>
                      <a:lnTo>
                        <a:pt x="537" y="199"/>
                      </a:lnTo>
                      <a:lnTo>
                        <a:pt x="537" y="200"/>
                      </a:lnTo>
                      <a:lnTo>
                        <a:pt x="537" y="199"/>
                      </a:lnTo>
                      <a:lnTo>
                        <a:pt x="536" y="199"/>
                      </a:lnTo>
                      <a:lnTo>
                        <a:pt x="536" y="199"/>
                      </a:lnTo>
                      <a:lnTo>
                        <a:pt x="536" y="198"/>
                      </a:lnTo>
                      <a:lnTo>
                        <a:pt x="536" y="197"/>
                      </a:lnTo>
                      <a:lnTo>
                        <a:pt x="536" y="197"/>
                      </a:lnTo>
                      <a:lnTo>
                        <a:pt x="536" y="196"/>
                      </a:lnTo>
                      <a:lnTo>
                        <a:pt x="537" y="196"/>
                      </a:lnTo>
                      <a:lnTo>
                        <a:pt x="537" y="196"/>
                      </a:lnTo>
                      <a:lnTo>
                        <a:pt x="537" y="195"/>
                      </a:lnTo>
                      <a:lnTo>
                        <a:pt x="537" y="194"/>
                      </a:lnTo>
                      <a:lnTo>
                        <a:pt x="537" y="194"/>
                      </a:lnTo>
                      <a:lnTo>
                        <a:pt x="537" y="194"/>
                      </a:lnTo>
                      <a:lnTo>
                        <a:pt x="537" y="193"/>
                      </a:lnTo>
                      <a:lnTo>
                        <a:pt x="538" y="193"/>
                      </a:lnTo>
                      <a:lnTo>
                        <a:pt x="537" y="193"/>
                      </a:lnTo>
                      <a:lnTo>
                        <a:pt x="538" y="193"/>
                      </a:lnTo>
                      <a:lnTo>
                        <a:pt x="538" y="193"/>
                      </a:lnTo>
                      <a:lnTo>
                        <a:pt x="538" y="193"/>
                      </a:lnTo>
                      <a:lnTo>
                        <a:pt x="538" y="192"/>
                      </a:lnTo>
                      <a:lnTo>
                        <a:pt x="538" y="192"/>
                      </a:lnTo>
                      <a:lnTo>
                        <a:pt x="539" y="192"/>
                      </a:lnTo>
                      <a:lnTo>
                        <a:pt x="539" y="192"/>
                      </a:lnTo>
                      <a:lnTo>
                        <a:pt x="539" y="192"/>
                      </a:lnTo>
                      <a:lnTo>
                        <a:pt x="540" y="192"/>
                      </a:lnTo>
                      <a:lnTo>
                        <a:pt x="541" y="192"/>
                      </a:lnTo>
                      <a:lnTo>
                        <a:pt x="541" y="192"/>
                      </a:lnTo>
                      <a:lnTo>
                        <a:pt x="541" y="191"/>
                      </a:lnTo>
                      <a:lnTo>
                        <a:pt x="541" y="192"/>
                      </a:lnTo>
                      <a:lnTo>
                        <a:pt x="541" y="191"/>
                      </a:lnTo>
                      <a:lnTo>
                        <a:pt x="542" y="191"/>
                      </a:lnTo>
                      <a:lnTo>
                        <a:pt x="542" y="190"/>
                      </a:lnTo>
                      <a:lnTo>
                        <a:pt x="541" y="190"/>
                      </a:lnTo>
                      <a:lnTo>
                        <a:pt x="542" y="190"/>
                      </a:lnTo>
                      <a:lnTo>
                        <a:pt x="542" y="190"/>
                      </a:lnTo>
                      <a:lnTo>
                        <a:pt x="542" y="189"/>
                      </a:lnTo>
                      <a:lnTo>
                        <a:pt x="542" y="189"/>
                      </a:lnTo>
                      <a:lnTo>
                        <a:pt x="542" y="189"/>
                      </a:lnTo>
                      <a:lnTo>
                        <a:pt x="542" y="189"/>
                      </a:lnTo>
                      <a:lnTo>
                        <a:pt x="542" y="189"/>
                      </a:lnTo>
                      <a:lnTo>
                        <a:pt x="542" y="189"/>
                      </a:lnTo>
                      <a:lnTo>
                        <a:pt x="543" y="189"/>
                      </a:lnTo>
                      <a:lnTo>
                        <a:pt x="543" y="189"/>
                      </a:lnTo>
                      <a:lnTo>
                        <a:pt x="543" y="190"/>
                      </a:lnTo>
                      <a:lnTo>
                        <a:pt x="544" y="190"/>
                      </a:lnTo>
                      <a:lnTo>
                        <a:pt x="545" y="190"/>
                      </a:lnTo>
                      <a:lnTo>
                        <a:pt x="545" y="190"/>
                      </a:lnTo>
                      <a:lnTo>
                        <a:pt x="545" y="190"/>
                      </a:lnTo>
                      <a:lnTo>
                        <a:pt x="545" y="191"/>
                      </a:lnTo>
                      <a:lnTo>
                        <a:pt x="546" y="191"/>
                      </a:lnTo>
                      <a:lnTo>
                        <a:pt x="546" y="191"/>
                      </a:lnTo>
                      <a:lnTo>
                        <a:pt x="546" y="192"/>
                      </a:lnTo>
                      <a:lnTo>
                        <a:pt x="547" y="192"/>
                      </a:lnTo>
                      <a:lnTo>
                        <a:pt x="548" y="192"/>
                      </a:lnTo>
                      <a:lnTo>
                        <a:pt x="548" y="192"/>
                      </a:lnTo>
                      <a:lnTo>
                        <a:pt x="548" y="192"/>
                      </a:lnTo>
                      <a:lnTo>
                        <a:pt x="549" y="192"/>
                      </a:lnTo>
                      <a:lnTo>
                        <a:pt x="548" y="192"/>
                      </a:lnTo>
                      <a:lnTo>
                        <a:pt x="548" y="193"/>
                      </a:lnTo>
                      <a:lnTo>
                        <a:pt x="549" y="193"/>
                      </a:lnTo>
                      <a:lnTo>
                        <a:pt x="549" y="192"/>
                      </a:lnTo>
                      <a:lnTo>
                        <a:pt x="549" y="192"/>
                      </a:lnTo>
                      <a:lnTo>
                        <a:pt x="549" y="192"/>
                      </a:lnTo>
                      <a:lnTo>
                        <a:pt x="549" y="193"/>
                      </a:lnTo>
                      <a:lnTo>
                        <a:pt x="549" y="193"/>
                      </a:lnTo>
                      <a:lnTo>
                        <a:pt x="550" y="193"/>
                      </a:lnTo>
                      <a:lnTo>
                        <a:pt x="550" y="193"/>
                      </a:lnTo>
                      <a:lnTo>
                        <a:pt x="550" y="193"/>
                      </a:lnTo>
                      <a:lnTo>
                        <a:pt x="551" y="193"/>
                      </a:lnTo>
                      <a:lnTo>
                        <a:pt x="552" y="193"/>
                      </a:lnTo>
                      <a:lnTo>
                        <a:pt x="552" y="194"/>
                      </a:lnTo>
                      <a:lnTo>
                        <a:pt x="552" y="194"/>
                      </a:lnTo>
                      <a:lnTo>
                        <a:pt x="553" y="194"/>
                      </a:lnTo>
                      <a:lnTo>
                        <a:pt x="553" y="193"/>
                      </a:lnTo>
                      <a:lnTo>
                        <a:pt x="553" y="194"/>
                      </a:lnTo>
                      <a:lnTo>
                        <a:pt x="553" y="194"/>
                      </a:lnTo>
                      <a:lnTo>
                        <a:pt x="553" y="194"/>
                      </a:lnTo>
                      <a:lnTo>
                        <a:pt x="553" y="194"/>
                      </a:lnTo>
                      <a:lnTo>
                        <a:pt x="553" y="193"/>
                      </a:lnTo>
                      <a:lnTo>
                        <a:pt x="553" y="194"/>
                      </a:lnTo>
                      <a:lnTo>
                        <a:pt x="554" y="193"/>
                      </a:lnTo>
                      <a:lnTo>
                        <a:pt x="554" y="194"/>
                      </a:lnTo>
                      <a:lnTo>
                        <a:pt x="554" y="194"/>
                      </a:lnTo>
                      <a:lnTo>
                        <a:pt x="554" y="193"/>
                      </a:lnTo>
                      <a:lnTo>
                        <a:pt x="554" y="194"/>
                      </a:lnTo>
                      <a:lnTo>
                        <a:pt x="555" y="194"/>
                      </a:lnTo>
                      <a:lnTo>
                        <a:pt x="556" y="194"/>
                      </a:lnTo>
                      <a:lnTo>
                        <a:pt x="555" y="194"/>
                      </a:lnTo>
                      <a:lnTo>
                        <a:pt x="556" y="194"/>
                      </a:lnTo>
                      <a:lnTo>
                        <a:pt x="556" y="194"/>
                      </a:lnTo>
                      <a:lnTo>
                        <a:pt x="557" y="194"/>
                      </a:lnTo>
                      <a:lnTo>
                        <a:pt x="557" y="194"/>
                      </a:lnTo>
                      <a:lnTo>
                        <a:pt x="557" y="194"/>
                      </a:lnTo>
                      <a:lnTo>
                        <a:pt x="557" y="194"/>
                      </a:lnTo>
                      <a:lnTo>
                        <a:pt x="558" y="194"/>
                      </a:lnTo>
                      <a:lnTo>
                        <a:pt x="558" y="194"/>
                      </a:lnTo>
                      <a:lnTo>
                        <a:pt x="559" y="194"/>
                      </a:lnTo>
                      <a:lnTo>
                        <a:pt x="559" y="194"/>
                      </a:lnTo>
                      <a:lnTo>
                        <a:pt x="559" y="194"/>
                      </a:lnTo>
                      <a:lnTo>
                        <a:pt x="559" y="194"/>
                      </a:lnTo>
                      <a:lnTo>
                        <a:pt x="559" y="194"/>
                      </a:lnTo>
                      <a:lnTo>
                        <a:pt x="559" y="194"/>
                      </a:lnTo>
                      <a:lnTo>
                        <a:pt x="560" y="194"/>
                      </a:lnTo>
                      <a:lnTo>
                        <a:pt x="560" y="194"/>
                      </a:lnTo>
                      <a:lnTo>
                        <a:pt x="561" y="194"/>
                      </a:lnTo>
                      <a:lnTo>
                        <a:pt x="561" y="194"/>
                      </a:lnTo>
                      <a:lnTo>
                        <a:pt x="562" y="194"/>
                      </a:lnTo>
                      <a:lnTo>
                        <a:pt x="563" y="194"/>
                      </a:lnTo>
                      <a:lnTo>
                        <a:pt x="563" y="193"/>
                      </a:lnTo>
                      <a:lnTo>
                        <a:pt x="563" y="193"/>
                      </a:lnTo>
                      <a:lnTo>
                        <a:pt x="564" y="193"/>
                      </a:lnTo>
                      <a:lnTo>
                        <a:pt x="564" y="194"/>
                      </a:lnTo>
                      <a:lnTo>
                        <a:pt x="564" y="193"/>
                      </a:lnTo>
                      <a:lnTo>
                        <a:pt x="564" y="194"/>
                      </a:lnTo>
                      <a:lnTo>
                        <a:pt x="564" y="194"/>
                      </a:lnTo>
                      <a:lnTo>
                        <a:pt x="564" y="193"/>
                      </a:lnTo>
                      <a:lnTo>
                        <a:pt x="565" y="193"/>
                      </a:lnTo>
                      <a:lnTo>
                        <a:pt x="565" y="193"/>
                      </a:lnTo>
                      <a:lnTo>
                        <a:pt x="565" y="193"/>
                      </a:lnTo>
                      <a:lnTo>
                        <a:pt x="565" y="193"/>
                      </a:lnTo>
                      <a:lnTo>
                        <a:pt x="566" y="193"/>
                      </a:lnTo>
                      <a:lnTo>
                        <a:pt x="567" y="193"/>
                      </a:lnTo>
                      <a:lnTo>
                        <a:pt x="567" y="193"/>
                      </a:lnTo>
                      <a:lnTo>
                        <a:pt x="567" y="194"/>
                      </a:lnTo>
                      <a:lnTo>
                        <a:pt x="567" y="193"/>
                      </a:lnTo>
                      <a:lnTo>
                        <a:pt x="567" y="194"/>
                      </a:lnTo>
                      <a:lnTo>
                        <a:pt x="567" y="193"/>
                      </a:lnTo>
                      <a:lnTo>
                        <a:pt x="568" y="194"/>
                      </a:lnTo>
                      <a:lnTo>
                        <a:pt x="568" y="193"/>
                      </a:lnTo>
                      <a:lnTo>
                        <a:pt x="567" y="193"/>
                      </a:lnTo>
                      <a:lnTo>
                        <a:pt x="567" y="193"/>
                      </a:lnTo>
                      <a:lnTo>
                        <a:pt x="566" y="193"/>
                      </a:lnTo>
                      <a:lnTo>
                        <a:pt x="565" y="193"/>
                      </a:lnTo>
                      <a:lnTo>
                        <a:pt x="565" y="193"/>
                      </a:lnTo>
                      <a:lnTo>
                        <a:pt x="564" y="193"/>
                      </a:lnTo>
                      <a:lnTo>
                        <a:pt x="564" y="193"/>
                      </a:lnTo>
                      <a:lnTo>
                        <a:pt x="563" y="193"/>
                      </a:lnTo>
                      <a:lnTo>
                        <a:pt x="563" y="193"/>
                      </a:lnTo>
                      <a:lnTo>
                        <a:pt x="563" y="194"/>
                      </a:lnTo>
                      <a:lnTo>
                        <a:pt x="562" y="194"/>
                      </a:lnTo>
                      <a:lnTo>
                        <a:pt x="561" y="194"/>
                      </a:lnTo>
                      <a:lnTo>
                        <a:pt x="561" y="194"/>
                      </a:lnTo>
                      <a:lnTo>
                        <a:pt x="560" y="194"/>
                      </a:lnTo>
                      <a:lnTo>
                        <a:pt x="560" y="194"/>
                      </a:lnTo>
                      <a:lnTo>
                        <a:pt x="559" y="194"/>
                      </a:lnTo>
                      <a:lnTo>
                        <a:pt x="559" y="194"/>
                      </a:lnTo>
                      <a:lnTo>
                        <a:pt x="559" y="194"/>
                      </a:lnTo>
                      <a:lnTo>
                        <a:pt x="559" y="194"/>
                      </a:lnTo>
                      <a:lnTo>
                        <a:pt x="558" y="194"/>
                      </a:lnTo>
                      <a:lnTo>
                        <a:pt x="558" y="194"/>
                      </a:lnTo>
                      <a:lnTo>
                        <a:pt x="557" y="194"/>
                      </a:lnTo>
                      <a:lnTo>
                        <a:pt x="557" y="194"/>
                      </a:lnTo>
                      <a:lnTo>
                        <a:pt x="557" y="194"/>
                      </a:lnTo>
                      <a:lnTo>
                        <a:pt x="557" y="194"/>
                      </a:lnTo>
                      <a:lnTo>
                        <a:pt x="556" y="194"/>
                      </a:lnTo>
                      <a:lnTo>
                        <a:pt x="556" y="194"/>
                      </a:lnTo>
                      <a:lnTo>
                        <a:pt x="556" y="194"/>
                      </a:lnTo>
                      <a:lnTo>
                        <a:pt x="555" y="194"/>
                      </a:lnTo>
                      <a:lnTo>
                        <a:pt x="554" y="194"/>
                      </a:lnTo>
                      <a:lnTo>
                        <a:pt x="555" y="194"/>
                      </a:lnTo>
                      <a:lnTo>
                        <a:pt x="554" y="194"/>
                      </a:lnTo>
                      <a:lnTo>
                        <a:pt x="554" y="193"/>
                      </a:lnTo>
                      <a:lnTo>
                        <a:pt x="554" y="194"/>
                      </a:lnTo>
                      <a:lnTo>
                        <a:pt x="554" y="194"/>
                      </a:lnTo>
                      <a:lnTo>
                        <a:pt x="554" y="193"/>
                      </a:lnTo>
                      <a:lnTo>
                        <a:pt x="553" y="193"/>
                      </a:lnTo>
                      <a:lnTo>
                        <a:pt x="553" y="194"/>
                      </a:lnTo>
                      <a:lnTo>
                        <a:pt x="553" y="194"/>
                      </a:lnTo>
                      <a:lnTo>
                        <a:pt x="553" y="194"/>
                      </a:lnTo>
                      <a:lnTo>
                        <a:pt x="553" y="194"/>
                      </a:lnTo>
                      <a:lnTo>
                        <a:pt x="553" y="193"/>
                      </a:lnTo>
                      <a:lnTo>
                        <a:pt x="553" y="194"/>
                      </a:lnTo>
                      <a:lnTo>
                        <a:pt x="552" y="194"/>
                      </a:lnTo>
                      <a:lnTo>
                        <a:pt x="552" y="194"/>
                      </a:lnTo>
                      <a:lnTo>
                        <a:pt x="551" y="193"/>
                      </a:lnTo>
                      <a:lnTo>
                        <a:pt x="550" y="193"/>
                      </a:lnTo>
                      <a:lnTo>
                        <a:pt x="550" y="193"/>
                      </a:lnTo>
                      <a:lnTo>
                        <a:pt x="550" y="193"/>
                      </a:lnTo>
                      <a:lnTo>
                        <a:pt x="549" y="193"/>
                      </a:lnTo>
                      <a:lnTo>
                        <a:pt x="549" y="193"/>
                      </a:lnTo>
                      <a:lnTo>
                        <a:pt x="549" y="192"/>
                      </a:lnTo>
                      <a:lnTo>
                        <a:pt x="549" y="192"/>
                      </a:lnTo>
                      <a:lnTo>
                        <a:pt x="549" y="193"/>
                      </a:lnTo>
                      <a:lnTo>
                        <a:pt x="548" y="192"/>
                      </a:lnTo>
                      <a:lnTo>
                        <a:pt x="549" y="192"/>
                      </a:lnTo>
                      <a:lnTo>
                        <a:pt x="548" y="192"/>
                      </a:lnTo>
                      <a:lnTo>
                        <a:pt x="548" y="192"/>
                      </a:lnTo>
                      <a:lnTo>
                        <a:pt x="548" y="192"/>
                      </a:lnTo>
                      <a:lnTo>
                        <a:pt x="547" y="192"/>
                      </a:lnTo>
                      <a:lnTo>
                        <a:pt x="546" y="192"/>
                      </a:lnTo>
                      <a:lnTo>
                        <a:pt x="546" y="191"/>
                      </a:lnTo>
                      <a:lnTo>
                        <a:pt x="546" y="191"/>
                      </a:lnTo>
                      <a:lnTo>
                        <a:pt x="546" y="191"/>
                      </a:lnTo>
                      <a:lnTo>
                        <a:pt x="546" y="191"/>
                      </a:lnTo>
                      <a:lnTo>
                        <a:pt x="545" y="191"/>
                      </a:lnTo>
                      <a:lnTo>
                        <a:pt x="545" y="190"/>
                      </a:lnTo>
                      <a:lnTo>
                        <a:pt x="545" y="190"/>
                      </a:lnTo>
                      <a:lnTo>
                        <a:pt x="545" y="190"/>
                      </a:lnTo>
                      <a:lnTo>
                        <a:pt x="544" y="190"/>
                      </a:lnTo>
                      <a:lnTo>
                        <a:pt x="543" y="189"/>
                      </a:lnTo>
                      <a:lnTo>
                        <a:pt x="543" y="189"/>
                      </a:lnTo>
                      <a:lnTo>
                        <a:pt x="543" y="189"/>
                      </a:lnTo>
                      <a:lnTo>
                        <a:pt x="543" y="189"/>
                      </a:lnTo>
                      <a:lnTo>
                        <a:pt x="542" y="189"/>
                      </a:lnTo>
                      <a:lnTo>
                        <a:pt x="542" y="189"/>
                      </a:lnTo>
                      <a:lnTo>
                        <a:pt x="542" y="189"/>
                      </a:lnTo>
                      <a:lnTo>
                        <a:pt x="542" y="189"/>
                      </a:lnTo>
                      <a:lnTo>
                        <a:pt x="542" y="189"/>
                      </a:lnTo>
                      <a:lnTo>
                        <a:pt x="542" y="189"/>
                      </a:lnTo>
                      <a:lnTo>
                        <a:pt x="542" y="190"/>
                      </a:lnTo>
                      <a:lnTo>
                        <a:pt x="542" y="190"/>
                      </a:lnTo>
                      <a:lnTo>
                        <a:pt x="541" y="190"/>
                      </a:lnTo>
                      <a:lnTo>
                        <a:pt x="542" y="190"/>
                      </a:lnTo>
                      <a:lnTo>
                        <a:pt x="542" y="191"/>
                      </a:lnTo>
                      <a:lnTo>
                        <a:pt x="541" y="191"/>
                      </a:lnTo>
                      <a:lnTo>
                        <a:pt x="541" y="192"/>
                      </a:lnTo>
                      <a:lnTo>
                        <a:pt x="541" y="192"/>
                      </a:lnTo>
                      <a:lnTo>
                        <a:pt x="541" y="192"/>
                      </a:lnTo>
                      <a:lnTo>
                        <a:pt x="541" y="192"/>
                      </a:lnTo>
                      <a:lnTo>
                        <a:pt x="540" y="192"/>
                      </a:lnTo>
                      <a:lnTo>
                        <a:pt x="539" y="192"/>
                      </a:lnTo>
                      <a:lnTo>
                        <a:pt x="539" y="192"/>
                      </a:lnTo>
                      <a:lnTo>
                        <a:pt x="539" y="192"/>
                      </a:lnTo>
                      <a:lnTo>
                        <a:pt x="538" y="192"/>
                      </a:lnTo>
                      <a:lnTo>
                        <a:pt x="538" y="193"/>
                      </a:lnTo>
                      <a:lnTo>
                        <a:pt x="537" y="193"/>
                      </a:lnTo>
                      <a:lnTo>
                        <a:pt x="537" y="193"/>
                      </a:lnTo>
                      <a:lnTo>
                        <a:pt x="538" y="193"/>
                      </a:lnTo>
                      <a:lnTo>
                        <a:pt x="537" y="193"/>
                      </a:lnTo>
                      <a:lnTo>
                        <a:pt x="537" y="194"/>
                      </a:lnTo>
                      <a:lnTo>
                        <a:pt x="537" y="194"/>
                      </a:lnTo>
                      <a:lnTo>
                        <a:pt x="537" y="194"/>
                      </a:lnTo>
                      <a:lnTo>
                        <a:pt x="537" y="193"/>
                      </a:lnTo>
                      <a:lnTo>
                        <a:pt x="537" y="193"/>
                      </a:lnTo>
                      <a:lnTo>
                        <a:pt x="537" y="193"/>
                      </a:lnTo>
                      <a:lnTo>
                        <a:pt x="537" y="192"/>
                      </a:lnTo>
                      <a:lnTo>
                        <a:pt x="537" y="192"/>
                      </a:lnTo>
                      <a:lnTo>
                        <a:pt x="537" y="191"/>
                      </a:lnTo>
                      <a:lnTo>
                        <a:pt x="537" y="190"/>
                      </a:lnTo>
                      <a:lnTo>
                        <a:pt x="537" y="190"/>
                      </a:lnTo>
                      <a:lnTo>
                        <a:pt x="538" y="190"/>
                      </a:lnTo>
                      <a:lnTo>
                        <a:pt x="538" y="189"/>
                      </a:lnTo>
                      <a:lnTo>
                        <a:pt x="538" y="189"/>
                      </a:lnTo>
                      <a:lnTo>
                        <a:pt x="539" y="188"/>
                      </a:lnTo>
                      <a:lnTo>
                        <a:pt x="539" y="188"/>
                      </a:lnTo>
                      <a:lnTo>
                        <a:pt x="540" y="188"/>
                      </a:lnTo>
                      <a:lnTo>
                        <a:pt x="540" y="187"/>
                      </a:lnTo>
                      <a:lnTo>
                        <a:pt x="541" y="187"/>
                      </a:lnTo>
                      <a:lnTo>
                        <a:pt x="541" y="187"/>
                      </a:lnTo>
                      <a:lnTo>
                        <a:pt x="541" y="186"/>
                      </a:lnTo>
                      <a:lnTo>
                        <a:pt x="542" y="186"/>
                      </a:lnTo>
                      <a:lnTo>
                        <a:pt x="542" y="186"/>
                      </a:lnTo>
                      <a:lnTo>
                        <a:pt x="542" y="185"/>
                      </a:lnTo>
                      <a:lnTo>
                        <a:pt x="542" y="185"/>
                      </a:lnTo>
                      <a:lnTo>
                        <a:pt x="543" y="185"/>
                      </a:lnTo>
                      <a:lnTo>
                        <a:pt x="543" y="184"/>
                      </a:lnTo>
                      <a:lnTo>
                        <a:pt x="543" y="184"/>
                      </a:lnTo>
                      <a:lnTo>
                        <a:pt x="543" y="183"/>
                      </a:lnTo>
                      <a:lnTo>
                        <a:pt x="543" y="182"/>
                      </a:lnTo>
                      <a:lnTo>
                        <a:pt x="544" y="182"/>
                      </a:lnTo>
                      <a:lnTo>
                        <a:pt x="544" y="182"/>
                      </a:lnTo>
                      <a:lnTo>
                        <a:pt x="545" y="182"/>
                      </a:lnTo>
                      <a:lnTo>
                        <a:pt x="545" y="181"/>
                      </a:lnTo>
                      <a:lnTo>
                        <a:pt x="545" y="181"/>
                      </a:lnTo>
                      <a:lnTo>
                        <a:pt x="545" y="181"/>
                      </a:lnTo>
                      <a:lnTo>
                        <a:pt x="545" y="180"/>
                      </a:lnTo>
                      <a:lnTo>
                        <a:pt x="545" y="179"/>
                      </a:lnTo>
                      <a:lnTo>
                        <a:pt x="546" y="179"/>
                      </a:lnTo>
                      <a:lnTo>
                        <a:pt x="546" y="179"/>
                      </a:lnTo>
                      <a:lnTo>
                        <a:pt x="546" y="179"/>
                      </a:lnTo>
                      <a:lnTo>
                        <a:pt x="547" y="179"/>
                      </a:lnTo>
                      <a:lnTo>
                        <a:pt x="547" y="179"/>
                      </a:lnTo>
                      <a:lnTo>
                        <a:pt x="547" y="179"/>
                      </a:lnTo>
                      <a:lnTo>
                        <a:pt x="548" y="179"/>
                      </a:lnTo>
                      <a:lnTo>
                        <a:pt x="548" y="179"/>
                      </a:lnTo>
                      <a:lnTo>
                        <a:pt x="548" y="179"/>
                      </a:lnTo>
                      <a:lnTo>
                        <a:pt x="549" y="179"/>
                      </a:lnTo>
                      <a:lnTo>
                        <a:pt x="549" y="179"/>
                      </a:lnTo>
                      <a:lnTo>
                        <a:pt x="550" y="179"/>
                      </a:lnTo>
                      <a:lnTo>
                        <a:pt x="550" y="180"/>
                      </a:lnTo>
                      <a:lnTo>
                        <a:pt x="550" y="180"/>
                      </a:lnTo>
                      <a:lnTo>
                        <a:pt x="550" y="181"/>
                      </a:lnTo>
                      <a:lnTo>
                        <a:pt x="551" y="181"/>
                      </a:lnTo>
                      <a:lnTo>
                        <a:pt x="550" y="181"/>
                      </a:lnTo>
                      <a:lnTo>
                        <a:pt x="551" y="181"/>
                      </a:lnTo>
                      <a:lnTo>
                        <a:pt x="550" y="181"/>
                      </a:lnTo>
                      <a:lnTo>
                        <a:pt x="550" y="181"/>
                      </a:lnTo>
                      <a:lnTo>
                        <a:pt x="550" y="181"/>
                      </a:lnTo>
                      <a:lnTo>
                        <a:pt x="550" y="181"/>
                      </a:lnTo>
                      <a:lnTo>
                        <a:pt x="550" y="182"/>
                      </a:lnTo>
                      <a:lnTo>
                        <a:pt x="551" y="182"/>
                      </a:lnTo>
                      <a:lnTo>
                        <a:pt x="550" y="182"/>
                      </a:lnTo>
                      <a:lnTo>
                        <a:pt x="550" y="182"/>
                      </a:lnTo>
                      <a:lnTo>
                        <a:pt x="551" y="182"/>
                      </a:lnTo>
                      <a:lnTo>
                        <a:pt x="551" y="183"/>
                      </a:lnTo>
                      <a:lnTo>
                        <a:pt x="550" y="183"/>
                      </a:lnTo>
                      <a:lnTo>
                        <a:pt x="550" y="183"/>
                      </a:lnTo>
                      <a:lnTo>
                        <a:pt x="549" y="183"/>
                      </a:lnTo>
                      <a:lnTo>
                        <a:pt x="550" y="183"/>
                      </a:lnTo>
                      <a:lnTo>
                        <a:pt x="549" y="183"/>
                      </a:lnTo>
                      <a:lnTo>
                        <a:pt x="549" y="184"/>
                      </a:lnTo>
                      <a:lnTo>
                        <a:pt x="549" y="184"/>
                      </a:lnTo>
                      <a:lnTo>
                        <a:pt x="549" y="184"/>
                      </a:lnTo>
                      <a:lnTo>
                        <a:pt x="549" y="184"/>
                      </a:lnTo>
                      <a:lnTo>
                        <a:pt x="549" y="184"/>
                      </a:lnTo>
                      <a:lnTo>
                        <a:pt x="548" y="184"/>
                      </a:lnTo>
                      <a:lnTo>
                        <a:pt x="548" y="184"/>
                      </a:lnTo>
                      <a:lnTo>
                        <a:pt x="548" y="184"/>
                      </a:lnTo>
                      <a:lnTo>
                        <a:pt x="548" y="185"/>
                      </a:lnTo>
                      <a:lnTo>
                        <a:pt x="548" y="185"/>
                      </a:lnTo>
                      <a:lnTo>
                        <a:pt x="548" y="185"/>
                      </a:lnTo>
                      <a:lnTo>
                        <a:pt x="547" y="185"/>
                      </a:lnTo>
                      <a:lnTo>
                        <a:pt x="548" y="185"/>
                      </a:lnTo>
                      <a:lnTo>
                        <a:pt x="547" y="185"/>
                      </a:lnTo>
                      <a:lnTo>
                        <a:pt x="547" y="186"/>
                      </a:lnTo>
                      <a:lnTo>
                        <a:pt x="548" y="186"/>
                      </a:lnTo>
                      <a:lnTo>
                        <a:pt x="547" y="186"/>
                      </a:lnTo>
                      <a:lnTo>
                        <a:pt x="546" y="186"/>
                      </a:lnTo>
                      <a:lnTo>
                        <a:pt x="547" y="186"/>
                      </a:lnTo>
                      <a:lnTo>
                        <a:pt x="547" y="186"/>
                      </a:lnTo>
                      <a:lnTo>
                        <a:pt x="547" y="186"/>
                      </a:lnTo>
                      <a:lnTo>
                        <a:pt x="546" y="186"/>
                      </a:lnTo>
                      <a:lnTo>
                        <a:pt x="546" y="186"/>
                      </a:lnTo>
                      <a:lnTo>
                        <a:pt x="546" y="186"/>
                      </a:lnTo>
                      <a:lnTo>
                        <a:pt x="546" y="186"/>
                      </a:lnTo>
                      <a:lnTo>
                        <a:pt x="546" y="187"/>
                      </a:lnTo>
                      <a:lnTo>
                        <a:pt x="546" y="187"/>
                      </a:lnTo>
                      <a:lnTo>
                        <a:pt x="546" y="187"/>
                      </a:lnTo>
                      <a:lnTo>
                        <a:pt x="546" y="187"/>
                      </a:lnTo>
                      <a:lnTo>
                        <a:pt x="546" y="188"/>
                      </a:lnTo>
                      <a:lnTo>
                        <a:pt x="547" y="188"/>
                      </a:lnTo>
                      <a:lnTo>
                        <a:pt x="548" y="188"/>
                      </a:lnTo>
                      <a:lnTo>
                        <a:pt x="548" y="188"/>
                      </a:lnTo>
                      <a:lnTo>
                        <a:pt x="548" y="189"/>
                      </a:lnTo>
                      <a:lnTo>
                        <a:pt x="549" y="189"/>
                      </a:lnTo>
                      <a:lnTo>
                        <a:pt x="549" y="189"/>
                      </a:lnTo>
                      <a:lnTo>
                        <a:pt x="549" y="189"/>
                      </a:lnTo>
                      <a:lnTo>
                        <a:pt x="548" y="189"/>
                      </a:lnTo>
                      <a:lnTo>
                        <a:pt x="548" y="188"/>
                      </a:lnTo>
                      <a:lnTo>
                        <a:pt x="548" y="188"/>
                      </a:lnTo>
                      <a:lnTo>
                        <a:pt x="548" y="188"/>
                      </a:lnTo>
                      <a:lnTo>
                        <a:pt x="547" y="188"/>
                      </a:lnTo>
                      <a:lnTo>
                        <a:pt x="547" y="188"/>
                      </a:lnTo>
                      <a:lnTo>
                        <a:pt x="548" y="188"/>
                      </a:lnTo>
                      <a:lnTo>
                        <a:pt x="547" y="188"/>
                      </a:lnTo>
                      <a:lnTo>
                        <a:pt x="548" y="188"/>
                      </a:lnTo>
                      <a:lnTo>
                        <a:pt x="547" y="188"/>
                      </a:lnTo>
                      <a:lnTo>
                        <a:pt x="546" y="188"/>
                      </a:lnTo>
                      <a:lnTo>
                        <a:pt x="546" y="187"/>
                      </a:lnTo>
                      <a:lnTo>
                        <a:pt x="546" y="187"/>
                      </a:lnTo>
                      <a:lnTo>
                        <a:pt x="546" y="187"/>
                      </a:lnTo>
                      <a:lnTo>
                        <a:pt x="546" y="187"/>
                      </a:lnTo>
                      <a:lnTo>
                        <a:pt x="546" y="186"/>
                      </a:lnTo>
                      <a:lnTo>
                        <a:pt x="546" y="186"/>
                      </a:lnTo>
                      <a:lnTo>
                        <a:pt x="546" y="186"/>
                      </a:lnTo>
                      <a:lnTo>
                        <a:pt x="546" y="186"/>
                      </a:lnTo>
                      <a:lnTo>
                        <a:pt x="547" y="186"/>
                      </a:lnTo>
                      <a:lnTo>
                        <a:pt x="547" y="186"/>
                      </a:lnTo>
                      <a:lnTo>
                        <a:pt x="546" y="186"/>
                      </a:lnTo>
                      <a:lnTo>
                        <a:pt x="547" y="186"/>
                      </a:lnTo>
                      <a:lnTo>
                        <a:pt x="548" y="186"/>
                      </a:lnTo>
                      <a:lnTo>
                        <a:pt x="547" y="186"/>
                      </a:lnTo>
                      <a:lnTo>
                        <a:pt x="547" y="185"/>
                      </a:lnTo>
                      <a:lnTo>
                        <a:pt x="548" y="185"/>
                      </a:lnTo>
                      <a:lnTo>
                        <a:pt x="548" y="185"/>
                      </a:lnTo>
                      <a:lnTo>
                        <a:pt x="548" y="185"/>
                      </a:lnTo>
                      <a:lnTo>
                        <a:pt x="548" y="184"/>
                      </a:lnTo>
                      <a:lnTo>
                        <a:pt x="548" y="184"/>
                      </a:lnTo>
                      <a:lnTo>
                        <a:pt x="548" y="184"/>
                      </a:lnTo>
                      <a:lnTo>
                        <a:pt x="549" y="184"/>
                      </a:lnTo>
                      <a:lnTo>
                        <a:pt x="549" y="184"/>
                      </a:lnTo>
                      <a:lnTo>
                        <a:pt x="549" y="184"/>
                      </a:lnTo>
                      <a:lnTo>
                        <a:pt x="549" y="184"/>
                      </a:lnTo>
                      <a:lnTo>
                        <a:pt x="549" y="184"/>
                      </a:lnTo>
                      <a:lnTo>
                        <a:pt x="549" y="184"/>
                      </a:lnTo>
                      <a:lnTo>
                        <a:pt x="549" y="184"/>
                      </a:lnTo>
                      <a:lnTo>
                        <a:pt x="549" y="184"/>
                      </a:lnTo>
                      <a:lnTo>
                        <a:pt x="549" y="183"/>
                      </a:lnTo>
                      <a:lnTo>
                        <a:pt x="550" y="183"/>
                      </a:lnTo>
                      <a:lnTo>
                        <a:pt x="550" y="183"/>
                      </a:lnTo>
                      <a:lnTo>
                        <a:pt x="551" y="183"/>
                      </a:lnTo>
                      <a:lnTo>
                        <a:pt x="551" y="182"/>
                      </a:lnTo>
                      <a:lnTo>
                        <a:pt x="550" y="182"/>
                      </a:lnTo>
                      <a:lnTo>
                        <a:pt x="550" y="182"/>
                      </a:lnTo>
                      <a:lnTo>
                        <a:pt x="551" y="182"/>
                      </a:lnTo>
                      <a:lnTo>
                        <a:pt x="551" y="181"/>
                      </a:lnTo>
                      <a:lnTo>
                        <a:pt x="550" y="181"/>
                      </a:lnTo>
                      <a:lnTo>
                        <a:pt x="550" y="182"/>
                      </a:lnTo>
                      <a:lnTo>
                        <a:pt x="550" y="181"/>
                      </a:lnTo>
                      <a:lnTo>
                        <a:pt x="550" y="181"/>
                      </a:lnTo>
                      <a:lnTo>
                        <a:pt x="550" y="181"/>
                      </a:lnTo>
                      <a:lnTo>
                        <a:pt x="550" y="181"/>
                      </a:lnTo>
                      <a:lnTo>
                        <a:pt x="551" y="181"/>
                      </a:lnTo>
                      <a:lnTo>
                        <a:pt x="550" y="181"/>
                      </a:lnTo>
                      <a:lnTo>
                        <a:pt x="551" y="181"/>
                      </a:lnTo>
                      <a:lnTo>
                        <a:pt x="551" y="180"/>
                      </a:lnTo>
                      <a:lnTo>
                        <a:pt x="550" y="180"/>
                      </a:lnTo>
                      <a:lnTo>
                        <a:pt x="550" y="181"/>
                      </a:lnTo>
                      <a:lnTo>
                        <a:pt x="550" y="180"/>
                      </a:lnTo>
                      <a:lnTo>
                        <a:pt x="550" y="180"/>
                      </a:lnTo>
                      <a:lnTo>
                        <a:pt x="550" y="179"/>
                      </a:lnTo>
                      <a:lnTo>
                        <a:pt x="549" y="179"/>
                      </a:lnTo>
                      <a:lnTo>
                        <a:pt x="549" y="179"/>
                      </a:lnTo>
                      <a:lnTo>
                        <a:pt x="548" y="179"/>
                      </a:lnTo>
                      <a:lnTo>
                        <a:pt x="548" y="179"/>
                      </a:lnTo>
                      <a:lnTo>
                        <a:pt x="548" y="179"/>
                      </a:lnTo>
                      <a:lnTo>
                        <a:pt x="547" y="179"/>
                      </a:lnTo>
                      <a:lnTo>
                        <a:pt x="546" y="179"/>
                      </a:lnTo>
                      <a:lnTo>
                        <a:pt x="546" y="179"/>
                      </a:lnTo>
                      <a:lnTo>
                        <a:pt x="546" y="179"/>
                      </a:lnTo>
                      <a:lnTo>
                        <a:pt x="546" y="179"/>
                      </a:lnTo>
                      <a:lnTo>
                        <a:pt x="545" y="179"/>
                      </a:lnTo>
                      <a:lnTo>
                        <a:pt x="546" y="179"/>
                      </a:lnTo>
                      <a:lnTo>
                        <a:pt x="546" y="178"/>
                      </a:lnTo>
                      <a:lnTo>
                        <a:pt x="546" y="178"/>
                      </a:lnTo>
                      <a:lnTo>
                        <a:pt x="546" y="178"/>
                      </a:lnTo>
                      <a:lnTo>
                        <a:pt x="547" y="178"/>
                      </a:lnTo>
                      <a:lnTo>
                        <a:pt x="547" y="178"/>
                      </a:lnTo>
                      <a:lnTo>
                        <a:pt x="546" y="178"/>
                      </a:lnTo>
                      <a:lnTo>
                        <a:pt x="547" y="178"/>
                      </a:lnTo>
                      <a:lnTo>
                        <a:pt x="546" y="178"/>
                      </a:lnTo>
                      <a:lnTo>
                        <a:pt x="547" y="178"/>
                      </a:lnTo>
                      <a:lnTo>
                        <a:pt x="548" y="178"/>
                      </a:lnTo>
                      <a:lnTo>
                        <a:pt x="547" y="178"/>
                      </a:lnTo>
                      <a:lnTo>
                        <a:pt x="546" y="178"/>
                      </a:lnTo>
                      <a:lnTo>
                        <a:pt x="547" y="178"/>
                      </a:lnTo>
                      <a:lnTo>
                        <a:pt x="546" y="178"/>
                      </a:lnTo>
                      <a:lnTo>
                        <a:pt x="547" y="178"/>
                      </a:lnTo>
                      <a:lnTo>
                        <a:pt x="547" y="178"/>
                      </a:lnTo>
                      <a:lnTo>
                        <a:pt x="546" y="178"/>
                      </a:lnTo>
                      <a:lnTo>
                        <a:pt x="546" y="177"/>
                      </a:lnTo>
                      <a:lnTo>
                        <a:pt x="547" y="177"/>
                      </a:lnTo>
                      <a:lnTo>
                        <a:pt x="547" y="178"/>
                      </a:lnTo>
                      <a:lnTo>
                        <a:pt x="547" y="177"/>
                      </a:lnTo>
                      <a:lnTo>
                        <a:pt x="548" y="177"/>
                      </a:lnTo>
                      <a:lnTo>
                        <a:pt x="548" y="177"/>
                      </a:lnTo>
                      <a:lnTo>
                        <a:pt x="549" y="177"/>
                      </a:lnTo>
                      <a:lnTo>
                        <a:pt x="549" y="177"/>
                      </a:lnTo>
                      <a:lnTo>
                        <a:pt x="549" y="177"/>
                      </a:lnTo>
                      <a:lnTo>
                        <a:pt x="550" y="177"/>
                      </a:lnTo>
                      <a:lnTo>
                        <a:pt x="550" y="177"/>
                      </a:lnTo>
                      <a:lnTo>
                        <a:pt x="550" y="176"/>
                      </a:lnTo>
                      <a:lnTo>
                        <a:pt x="551" y="176"/>
                      </a:lnTo>
                      <a:lnTo>
                        <a:pt x="551" y="175"/>
                      </a:lnTo>
                      <a:lnTo>
                        <a:pt x="552" y="175"/>
                      </a:lnTo>
                      <a:lnTo>
                        <a:pt x="552" y="175"/>
                      </a:lnTo>
                      <a:lnTo>
                        <a:pt x="552" y="175"/>
                      </a:lnTo>
                      <a:lnTo>
                        <a:pt x="553" y="175"/>
                      </a:lnTo>
                      <a:lnTo>
                        <a:pt x="553" y="175"/>
                      </a:lnTo>
                      <a:lnTo>
                        <a:pt x="553" y="174"/>
                      </a:lnTo>
                      <a:lnTo>
                        <a:pt x="554" y="174"/>
                      </a:lnTo>
                      <a:lnTo>
                        <a:pt x="553" y="174"/>
                      </a:lnTo>
                      <a:lnTo>
                        <a:pt x="554" y="174"/>
                      </a:lnTo>
                      <a:lnTo>
                        <a:pt x="553" y="174"/>
                      </a:lnTo>
                      <a:lnTo>
                        <a:pt x="553" y="173"/>
                      </a:lnTo>
                      <a:lnTo>
                        <a:pt x="554" y="173"/>
                      </a:lnTo>
                      <a:lnTo>
                        <a:pt x="554" y="173"/>
                      </a:lnTo>
                      <a:lnTo>
                        <a:pt x="554" y="172"/>
                      </a:lnTo>
                      <a:lnTo>
                        <a:pt x="555" y="172"/>
                      </a:lnTo>
                      <a:lnTo>
                        <a:pt x="554" y="172"/>
                      </a:lnTo>
                      <a:lnTo>
                        <a:pt x="555" y="172"/>
                      </a:lnTo>
                      <a:lnTo>
                        <a:pt x="554" y="172"/>
                      </a:lnTo>
                      <a:lnTo>
                        <a:pt x="554" y="171"/>
                      </a:lnTo>
                      <a:lnTo>
                        <a:pt x="553" y="171"/>
                      </a:lnTo>
                      <a:lnTo>
                        <a:pt x="554" y="171"/>
                      </a:lnTo>
                      <a:lnTo>
                        <a:pt x="553" y="171"/>
                      </a:lnTo>
                      <a:lnTo>
                        <a:pt x="553" y="171"/>
                      </a:lnTo>
                      <a:lnTo>
                        <a:pt x="552" y="171"/>
                      </a:lnTo>
                      <a:lnTo>
                        <a:pt x="552" y="171"/>
                      </a:lnTo>
                      <a:lnTo>
                        <a:pt x="553" y="171"/>
                      </a:lnTo>
                      <a:lnTo>
                        <a:pt x="553" y="170"/>
                      </a:lnTo>
                      <a:lnTo>
                        <a:pt x="553" y="170"/>
                      </a:lnTo>
                      <a:lnTo>
                        <a:pt x="554" y="170"/>
                      </a:lnTo>
                      <a:lnTo>
                        <a:pt x="554" y="170"/>
                      </a:lnTo>
                      <a:lnTo>
                        <a:pt x="554" y="170"/>
                      </a:lnTo>
                      <a:lnTo>
                        <a:pt x="554" y="170"/>
                      </a:lnTo>
                      <a:lnTo>
                        <a:pt x="554" y="170"/>
                      </a:lnTo>
                      <a:lnTo>
                        <a:pt x="555" y="170"/>
                      </a:lnTo>
                      <a:lnTo>
                        <a:pt x="556" y="170"/>
                      </a:lnTo>
                      <a:lnTo>
                        <a:pt x="556" y="170"/>
                      </a:lnTo>
                      <a:lnTo>
                        <a:pt x="557" y="170"/>
                      </a:lnTo>
                      <a:lnTo>
                        <a:pt x="557" y="171"/>
                      </a:lnTo>
                      <a:lnTo>
                        <a:pt x="557" y="171"/>
                      </a:lnTo>
                      <a:lnTo>
                        <a:pt x="557" y="171"/>
                      </a:lnTo>
                      <a:lnTo>
                        <a:pt x="558" y="171"/>
                      </a:lnTo>
                      <a:lnTo>
                        <a:pt x="557" y="171"/>
                      </a:lnTo>
                      <a:lnTo>
                        <a:pt x="558" y="171"/>
                      </a:lnTo>
                      <a:lnTo>
                        <a:pt x="558" y="171"/>
                      </a:lnTo>
                      <a:lnTo>
                        <a:pt x="558" y="171"/>
                      </a:lnTo>
                      <a:lnTo>
                        <a:pt x="557" y="171"/>
                      </a:lnTo>
                      <a:lnTo>
                        <a:pt x="557" y="171"/>
                      </a:lnTo>
                      <a:lnTo>
                        <a:pt x="557" y="171"/>
                      </a:lnTo>
                      <a:lnTo>
                        <a:pt x="557" y="170"/>
                      </a:lnTo>
                      <a:lnTo>
                        <a:pt x="556" y="170"/>
                      </a:lnTo>
                      <a:lnTo>
                        <a:pt x="556" y="170"/>
                      </a:lnTo>
                      <a:lnTo>
                        <a:pt x="555" y="170"/>
                      </a:lnTo>
                      <a:lnTo>
                        <a:pt x="554" y="170"/>
                      </a:lnTo>
                      <a:lnTo>
                        <a:pt x="554" y="170"/>
                      </a:lnTo>
                      <a:lnTo>
                        <a:pt x="554" y="170"/>
                      </a:lnTo>
                      <a:lnTo>
                        <a:pt x="554" y="170"/>
                      </a:lnTo>
                      <a:lnTo>
                        <a:pt x="553" y="170"/>
                      </a:lnTo>
                      <a:lnTo>
                        <a:pt x="553" y="170"/>
                      </a:lnTo>
                      <a:lnTo>
                        <a:pt x="553" y="170"/>
                      </a:lnTo>
                      <a:lnTo>
                        <a:pt x="552" y="170"/>
                      </a:lnTo>
                      <a:lnTo>
                        <a:pt x="552" y="171"/>
                      </a:lnTo>
                      <a:lnTo>
                        <a:pt x="552" y="171"/>
                      </a:lnTo>
                      <a:lnTo>
                        <a:pt x="552" y="171"/>
                      </a:lnTo>
                      <a:lnTo>
                        <a:pt x="552" y="171"/>
                      </a:lnTo>
                      <a:lnTo>
                        <a:pt x="552" y="171"/>
                      </a:lnTo>
                      <a:lnTo>
                        <a:pt x="552" y="171"/>
                      </a:lnTo>
                      <a:lnTo>
                        <a:pt x="552" y="170"/>
                      </a:lnTo>
                      <a:lnTo>
                        <a:pt x="552" y="170"/>
                      </a:lnTo>
                      <a:lnTo>
                        <a:pt x="552" y="169"/>
                      </a:lnTo>
                      <a:lnTo>
                        <a:pt x="552" y="170"/>
                      </a:lnTo>
                      <a:lnTo>
                        <a:pt x="552" y="169"/>
                      </a:lnTo>
                      <a:lnTo>
                        <a:pt x="553" y="168"/>
                      </a:lnTo>
                      <a:lnTo>
                        <a:pt x="553" y="168"/>
                      </a:lnTo>
                      <a:lnTo>
                        <a:pt x="554" y="168"/>
                      </a:lnTo>
                      <a:lnTo>
                        <a:pt x="554" y="168"/>
                      </a:lnTo>
                      <a:lnTo>
                        <a:pt x="555" y="168"/>
                      </a:lnTo>
                      <a:lnTo>
                        <a:pt x="555" y="169"/>
                      </a:lnTo>
                      <a:lnTo>
                        <a:pt x="555" y="168"/>
                      </a:lnTo>
                      <a:lnTo>
                        <a:pt x="556" y="168"/>
                      </a:lnTo>
                      <a:lnTo>
                        <a:pt x="555" y="168"/>
                      </a:lnTo>
                      <a:lnTo>
                        <a:pt x="556" y="168"/>
                      </a:lnTo>
                      <a:lnTo>
                        <a:pt x="556" y="168"/>
                      </a:lnTo>
                      <a:lnTo>
                        <a:pt x="557" y="168"/>
                      </a:lnTo>
                      <a:lnTo>
                        <a:pt x="557" y="168"/>
                      </a:lnTo>
                      <a:lnTo>
                        <a:pt x="558" y="168"/>
                      </a:lnTo>
                      <a:lnTo>
                        <a:pt x="558" y="169"/>
                      </a:lnTo>
                      <a:lnTo>
                        <a:pt x="559" y="169"/>
                      </a:lnTo>
                      <a:lnTo>
                        <a:pt x="560" y="169"/>
                      </a:lnTo>
                      <a:lnTo>
                        <a:pt x="560" y="169"/>
                      </a:lnTo>
                      <a:lnTo>
                        <a:pt x="560" y="168"/>
                      </a:lnTo>
                      <a:lnTo>
                        <a:pt x="561" y="168"/>
                      </a:lnTo>
                      <a:lnTo>
                        <a:pt x="561" y="168"/>
                      </a:lnTo>
                      <a:lnTo>
                        <a:pt x="562" y="168"/>
                      </a:lnTo>
                      <a:lnTo>
                        <a:pt x="561" y="168"/>
                      </a:lnTo>
                      <a:lnTo>
                        <a:pt x="561" y="168"/>
                      </a:lnTo>
                      <a:lnTo>
                        <a:pt x="562" y="167"/>
                      </a:lnTo>
                      <a:lnTo>
                        <a:pt x="563" y="167"/>
                      </a:lnTo>
                      <a:lnTo>
                        <a:pt x="563" y="168"/>
                      </a:lnTo>
                      <a:lnTo>
                        <a:pt x="563" y="167"/>
                      </a:lnTo>
                      <a:lnTo>
                        <a:pt x="562" y="167"/>
                      </a:lnTo>
                      <a:lnTo>
                        <a:pt x="563" y="167"/>
                      </a:lnTo>
                      <a:lnTo>
                        <a:pt x="562" y="167"/>
                      </a:lnTo>
                      <a:lnTo>
                        <a:pt x="563" y="167"/>
                      </a:lnTo>
                      <a:lnTo>
                        <a:pt x="563" y="167"/>
                      </a:lnTo>
                      <a:lnTo>
                        <a:pt x="563" y="167"/>
                      </a:lnTo>
                      <a:lnTo>
                        <a:pt x="563" y="166"/>
                      </a:lnTo>
                      <a:lnTo>
                        <a:pt x="564" y="166"/>
                      </a:lnTo>
                      <a:lnTo>
                        <a:pt x="564" y="166"/>
                      </a:lnTo>
                      <a:lnTo>
                        <a:pt x="564" y="166"/>
                      </a:lnTo>
                      <a:lnTo>
                        <a:pt x="564" y="166"/>
                      </a:lnTo>
                      <a:lnTo>
                        <a:pt x="564" y="166"/>
                      </a:lnTo>
                      <a:lnTo>
                        <a:pt x="565" y="165"/>
                      </a:lnTo>
                      <a:lnTo>
                        <a:pt x="565" y="165"/>
                      </a:lnTo>
                      <a:lnTo>
                        <a:pt x="566" y="165"/>
                      </a:lnTo>
                      <a:lnTo>
                        <a:pt x="566" y="164"/>
                      </a:lnTo>
                      <a:lnTo>
                        <a:pt x="566" y="164"/>
                      </a:lnTo>
                      <a:lnTo>
                        <a:pt x="565" y="163"/>
                      </a:lnTo>
                      <a:lnTo>
                        <a:pt x="565" y="163"/>
                      </a:lnTo>
                      <a:lnTo>
                        <a:pt x="565" y="163"/>
                      </a:lnTo>
                      <a:lnTo>
                        <a:pt x="565" y="162"/>
                      </a:lnTo>
                      <a:lnTo>
                        <a:pt x="565" y="162"/>
                      </a:lnTo>
                      <a:lnTo>
                        <a:pt x="565" y="162"/>
                      </a:lnTo>
                      <a:lnTo>
                        <a:pt x="565" y="161"/>
                      </a:lnTo>
                      <a:lnTo>
                        <a:pt x="565" y="160"/>
                      </a:lnTo>
                      <a:lnTo>
                        <a:pt x="565" y="160"/>
                      </a:lnTo>
                      <a:lnTo>
                        <a:pt x="564" y="160"/>
                      </a:lnTo>
                      <a:lnTo>
                        <a:pt x="564" y="160"/>
                      </a:lnTo>
                      <a:lnTo>
                        <a:pt x="564" y="159"/>
                      </a:lnTo>
                      <a:lnTo>
                        <a:pt x="564" y="159"/>
                      </a:lnTo>
                      <a:lnTo>
                        <a:pt x="563" y="158"/>
                      </a:lnTo>
                      <a:lnTo>
                        <a:pt x="563" y="157"/>
                      </a:lnTo>
                      <a:lnTo>
                        <a:pt x="563" y="156"/>
                      </a:lnTo>
                      <a:lnTo>
                        <a:pt x="563" y="156"/>
                      </a:lnTo>
                      <a:lnTo>
                        <a:pt x="564" y="155"/>
                      </a:lnTo>
                      <a:lnTo>
                        <a:pt x="564" y="155"/>
                      </a:lnTo>
                      <a:lnTo>
                        <a:pt x="564" y="154"/>
                      </a:lnTo>
                      <a:lnTo>
                        <a:pt x="564" y="153"/>
                      </a:lnTo>
                      <a:lnTo>
                        <a:pt x="563" y="153"/>
                      </a:lnTo>
                      <a:lnTo>
                        <a:pt x="563" y="152"/>
                      </a:lnTo>
                      <a:lnTo>
                        <a:pt x="563" y="152"/>
                      </a:lnTo>
                      <a:lnTo>
                        <a:pt x="563" y="151"/>
                      </a:lnTo>
                      <a:lnTo>
                        <a:pt x="563" y="151"/>
                      </a:lnTo>
                      <a:lnTo>
                        <a:pt x="564" y="151"/>
                      </a:lnTo>
                      <a:lnTo>
                        <a:pt x="564" y="150"/>
                      </a:lnTo>
                      <a:lnTo>
                        <a:pt x="563" y="150"/>
                      </a:lnTo>
                      <a:lnTo>
                        <a:pt x="563" y="151"/>
                      </a:lnTo>
                      <a:lnTo>
                        <a:pt x="563" y="151"/>
                      </a:lnTo>
                      <a:lnTo>
                        <a:pt x="563" y="151"/>
                      </a:lnTo>
                      <a:lnTo>
                        <a:pt x="563" y="150"/>
                      </a:lnTo>
                      <a:lnTo>
                        <a:pt x="563" y="149"/>
                      </a:lnTo>
                      <a:lnTo>
                        <a:pt x="563" y="149"/>
                      </a:lnTo>
                      <a:lnTo>
                        <a:pt x="563" y="149"/>
                      </a:lnTo>
                      <a:lnTo>
                        <a:pt x="563" y="148"/>
                      </a:lnTo>
                      <a:lnTo>
                        <a:pt x="564" y="148"/>
                      </a:lnTo>
                      <a:lnTo>
                        <a:pt x="564" y="149"/>
                      </a:lnTo>
                      <a:lnTo>
                        <a:pt x="564" y="148"/>
                      </a:lnTo>
                      <a:lnTo>
                        <a:pt x="564" y="148"/>
                      </a:lnTo>
                      <a:lnTo>
                        <a:pt x="564" y="149"/>
                      </a:lnTo>
                      <a:lnTo>
                        <a:pt x="565" y="149"/>
                      </a:lnTo>
                      <a:lnTo>
                        <a:pt x="565" y="149"/>
                      </a:lnTo>
                      <a:lnTo>
                        <a:pt x="565" y="150"/>
                      </a:lnTo>
                      <a:lnTo>
                        <a:pt x="565" y="149"/>
                      </a:lnTo>
                      <a:lnTo>
                        <a:pt x="565" y="149"/>
                      </a:lnTo>
                      <a:lnTo>
                        <a:pt x="564" y="149"/>
                      </a:lnTo>
                      <a:lnTo>
                        <a:pt x="564" y="148"/>
                      </a:lnTo>
                      <a:lnTo>
                        <a:pt x="564" y="148"/>
                      </a:lnTo>
                      <a:lnTo>
                        <a:pt x="564" y="149"/>
                      </a:lnTo>
                      <a:lnTo>
                        <a:pt x="564" y="148"/>
                      </a:lnTo>
                      <a:lnTo>
                        <a:pt x="563" y="148"/>
                      </a:lnTo>
                      <a:lnTo>
                        <a:pt x="563" y="148"/>
                      </a:lnTo>
                      <a:lnTo>
                        <a:pt x="563" y="147"/>
                      </a:lnTo>
                      <a:lnTo>
                        <a:pt x="562" y="146"/>
                      </a:lnTo>
                      <a:lnTo>
                        <a:pt x="561" y="146"/>
                      </a:lnTo>
                      <a:lnTo>
                        <a:pt x="561" y="146"/>
                      </a:lnTo>
                      <a:lnTo>
                        <a:pt x="561" y="146"/>
                      </a:lnTo>
                      <a:lnTo>
                        <a:pt x="560" y="146"/>
                      </a:lnTo>
                      <a:lnTo>
                        <a:pt x="560" y="145"/>
                      </a:lnTo>
                      <a:lnTo>
                        <a:pt x="560" y="145"/>
                      </a:lnTo>
                      <a:lnTo>
                        <a:pt x="561" y="145"/>
                      </a:lnTo>
                      <a:lnTo>
                        <a:pt x="560" y="145"/>
                      </a:lnTo>
                      <a:lnTo>
                        <a:pt x="560" y="144"/>
                      </a:lnTo>
                      <a:lnTo>
                        <a:pt x="560" y="144"/>
                      </a:lnTo>
                      <a:lnTo>
                        <a:pt x="560" y="143"/>
                      </a:lnTo>
                      <a:lnTo>
                        <a:pt x="560" y="142"/>
                      </a:lnTo>
                      <a:lnTo>
                        <a:pt x="560" y="142"/>
                      </a:lnTo>
                      <a:lnTo>
                        <a:pt x="559" y="141"/>
                      </a:lnTo>
                      <a:lnTo>
                        <a:pt x="558" y="141"/>
                      </a:lnTo>
                      <a:lnTo>
                        <a:pt x="559" y="141"/>
                      </a:lnTo>
                      <a:lnTo>
                        <a:pt x="560" y="141"/>
                      </a:lnTo>
                      <a:lnTo>
                        <a:pt x="560" y="141"/>
                      </a:lnTo>
                      <a:lnTo>
                        <a:pt x="561" y="141"/>
                      </a:lnTo>
                      <a:lnTo>
                        <a:pt x="561" y="141"/>
                      </a:lnTo>
                      <a:lnTo>
                        <a:pt x="561" y="141"/>
                      </a:lnTo>
                      <a:lnTo>
                        <a:pt x="561" y="141"/>
                      </a:lnTo>
                      <a:lnTo>
                        <a:pt x="562" y="141"/>
                      </a:lnTo>
                      <a:lnTo>
                        <a:pt x="563" y="141"/>
                      </a:lnTo>
                      <a:lnTo>
                        <a:pt x="563" y="141"/>
                      </a:lnTo>
                      <a:lnTo>
                        <a:pt x="564" y="141"/>
                      </a:lnTo>
                      <a:lnTo>
                        <a:pt x="564" y="141"/>
                      </a:lnTo>
                      <a:lnTo>
                        <a:pt x="565" y="141"/>
                      </a:lnTo>
                      <a:lnTo>
                        <a:pt x="565" y="141"/>
                      </a:lnTo>
                      <a:lnTo>
                        <a:pt x="566" y="141"/>
                      </a:lnTo>
                      <a:lnTo>
                        <a:pt x="567" y="142"/>
                      </a:lnTo>
                      <a:lnTo>
                        <a:pt x="567" y="142"/>
                      </a:lnTo>
                      <a:lnTo>
                        <a:pt x="567" y="142"/>
                      </a:lnTo>
                      <a:lnTo>
                        <a:pt x="568" y="142"/>
                      </a:lnTo>
                      <a:lnTo>
                        <a:pt x="568" y="143"/>
                      </a:lnTo>
                      <a:lnTo>
                        <a:pt x="567" y="143"/>
                      </a:lnTo>
                      <a:lnTo>
                        <a:pt x="568" y="143"/>
                      </a:lnTo>
                      <a:lnTo>
                        <a:pt x="568" y="143"/>
                      </a:lnTo>
                      <a:lnTo>
                        <a:pt x="568" y="144"/>
                      </a:lnTo>
                      <a:lnTo>
                        <a:pt x="569" y="144"/>
                      </a:lnTo>
                      <a:lnTo>
                        <a:pt x="569" y="144"/>
                      </a:lnTo>
                      <a:lnTo>
                        <a:pt x="569" y="144"/>
                      </a:lnTo>
                      <a:lnTo>
                        <a:pt x="570" y="145"/>
                      </a:lnTo>
                      <a:lnTo>
                        <a:pt x="571" y="145"/>
                      </a:lnTo>
                      <a:lnTo>
                        <a:pt x="571" y="145"/>
                      </a:lnTo>
                      <a:lnTo>
                        <a:pt x="571" y="145"/>
                      </a:lnTo>
                      <a:lnTo>
                        <a:pt x="572" y="145"/>
                      </a:lnTo>
                      <a:lnTo>
                        <a:pt x="572" y="146"/>
                      </a:lnTo>
                      <a:lnTo>
                        <a:pt x="572" y="146"/>
                      </a:lnTo>
                      <a:lnTo>
                        <a:pt x="573" y="146"/>
                      </a:lnTo>
                      <a:lnTo>
                        <a:pt x="573" y="146"/>
                      </a:lnTo>
                      <a:lnTo>
                        <a:pt x="573" y="147"/>
                      </a:lnTo>
                      <a:lnTo>
                        <a:pt x="573" y="148"/>
                      </a:lnTo>
                      <a:lnTo>
                        <a:pt x="573" y="148"/>
                      </a:lnTo>
                      <a:lnTo>
                        <a:pt x="574" y="148"/>
                      </a:lnTo>
                      <a:lnTo>
                        <a:pt x="574" y="148"/>
                      </a:lnTo>
                      <a:lnTo>
                        <a:pt x="574" y="149"/>
                      </a:lnTo>
                      <a:lnTo>
                        <a:pt x="575" y="149"/>
                      </a:lnTo>
                      <a:lnTo>
                        <a:pt x="574" y="149"/>
                      </a:lnTo>
                      <a:lnTo>
                        <a:pt x="575" y="149"/>
                      </a:lnTo>
                      <a:lnTo>
                        <a:pt x="575" y="150"/>
                      </a:lnTo>
                      <a:lnTo>
                        <a:pt x="575" y="151"/>
                      </a:lnTo>
                      <a:lnTo>
                        <a:pt x="575" y="151"/>
                      </a:lnTo>
                      <a:lnTo>
                        <a:pt x="576" y="151"/>
                      </a:lnTo>
                      <a:lnTo>
                        <a:pt x="576" y="151"/>
                      </a:lnTo>
                      <a:lnTo>
                        <a:pt x="577" y="151"/>
                      </a:lnTo>
                      <a:lnTo>
                        <a:pt x="576" y="151"/>
                      </a:lnTo>
                      <a:lnTo>
                        <a:pt x="577" y="151"/>
                      </a:lnTo>
                      <a:lnTo>
                        <a:pt x="578" y="151"/>
                      </a:lnTo>
                      <a:lnTo>
                        <a:pt x="578" y="150"/>
                      </a:lnTo>
                      <a:lnTo>
                        <a:pt x="579" y="150"/>
                      </a:lnTo>
                      <a:lnTo>
                        <a:pt x="579" y="149"/>
                      </a:lnTo>
                      <a:lnTo>
                        <a:pt x="579" y="149"/>
                      </a:lnTo>
                      <a:lnTo>
                        <a:pt x="578" y="148"/>
                      </a:lnTo>
                      <a:lnTo>
                        <a:pt x="578" y="148"/>
                      </a:lnTo>
                      <a:lnTo>
                        <a:pt x="578" y="147"/>
                      </a:lnTo>
                      <a:lnTo>
                        <a:pt x="578" y="146"/>
                      </a:lnTo>
                      <a:lnTo>
                        <a:pt x="578" y="147"/>
                      </a:lnTo>
                      <a:lnTo>
                        <a:pt x="578" y="148"/>
                      </a:lnTo>
                      <a:lnTo>
                        <a:pt x="579" y="148"/>
                      </a:lnTo>
                      <a:lnTo>
                        <a:pt x="579" y="148"/>
                      </a:lnTo>
                      <a:lnTo>
                        <a:pt x="579" y="149"/>
                      </a:lnTo>
                      <a:lnTo>
                        <a:pt x="580" y="149"/>
                      </a:lnTo>
                      <a:lnTo>
                        <a:pt x="579" y="149"/>
                      </a:lnTo>
                      <a:lnTo>
                        <a:pt x="580" y="149"/>
                      </a:lnTo>
                      <a:lnTo>
                        <a:pt x="580" y="150"/>
                      </a:lnTo>
                      <a:lnTo>
                        <a:pt x="580" y="150"/>
                      </a:lnTo>
                      <a:lnTo>
                        <a:pt x="580" y="151"/>
                      </a:lnTo>
                      <a:lnTo>
                        <a:pt x="581" y="151"/>
                      </a:lnTo>
                      <a:lnTo>
                        <a:pt x="582" y="151"/>
                      </a:lnTo>
                      <a:lnTo>
                        <a:pt x="581" y="151"/>
                      </a:lnTo>
                      <a:lnTo>
                        <a:pt x="580" y="151"/>
                      </a:lnTo>
                      <a:lnTo>
                        <a:pt x="580" y="151"/>
                      </a:lnTo>
                      <a:lnTo>
                        <a:pt x="580" y="151"/>
                      </a:lnTo>
                      <a:lnTo>
                        <a:pt x="580" y="151"/>
                      </a:lnTo>
                      <a:lnTo>
                        <a:pt x="579" y="151"/>
                      </a:lnTo>
                      <a:lnTo>
                        <a:pt x="579" y="151"/>
                      </a:lnTo>
                      <a:lnTo>
                        <a:pt x="579" y="151"/>
                      </a:lnTo>
                      <a:lnTo>
                        <a:pt x="578" y="151"/>
                      </a:lnTo>
                      <a:lnTo>
                        <a:pt x="578" y="151"/>
                      </a:lnTo>
                      <a:lnTo>
                        <a:pt x="577" y="151"/>
                      </a:lnTo>
                      <a:lnTo>
                        <a:pt x="576" y="151"/>
                      </a:lnTo>
                      <a:lnTo>
                        <a:pt x="576" y="151"/>
                      </a:lnTo>
                      <a:lnTo>
                        <a:pt x="576" y="152"/>
                      </a:lnTo>
                      <a:lnTo>
                        <a:pt x="575" y="152"/>
                      </a:lnTo>
                      <a:lnTo>
                        <a:pt x="576" y="152"/>
                      </a:lnTo>
                      <a:lnTo>
                        <a:pt x="575" y="152"/>
                      </a:lnTo>
                      <a:lnTo>
                        <a:pt x="576" y="152"/>
                      </a:lnTo>
                      <a:lnTo>
                        <a:pt x="576" y="152"/>
                      </a:lnTo>
                      <a:lnTo>
                        <a:pt x="576" y="152"/>
                      </a:lnTo>
                      <a:lnTo>
                        <a:pt x="576" y="152"/>
                      </a:lnTo>
                      <a:lnTo>
                        <a:pt x="576" y="152"/>
                      </a:lnTo>
                      <a:lnTo>
                        <a:pt x="576" y="153"/>
                      </a:lnTo>
                      <a:lnTo>
                        <a:pt x="576" y="153"/>
                      </a:lnTo>
                      <a:lnTo>
                        <a:pt x="576" y="153"/>
                      </a:lnTo>
                      <a:lnTo>
                        <a:pt x="576" y="153"/>
                      </a:lnTo>
                      <a:lnTo>
                        <a:pt x="576" y="153"/>
                      </a:lnTo>
                      <a:lnTo>
                        <a:pt x="576" y="153"/>
                      </a:lnTo>
                      <a:lnTo>
                        <a:pt x="577" y="153"/>
                      </a:lnTo>
                      <a:lnTo>
                        <a:pt x="578" y="153"/>
                      </a:lnTo>
                      <a:lnTo>
                        <a:pt x="578" y="153"/>
                      </a:lnTo>
                      <a:lnTo>
                        <a:pt x="578" y="152"/>
                      </a:lnTo>
                      <a:lnTo>
                        <a:pt x="579" y="152"/>
                      </a:lnTo>
                      <a:lnTo>
                        <a:pt x="579" y="153"/>
                      </a:lnTo>
                      <a:lnTo>
                        <a:pt x="579" y="153"/>
                      </a:lnTo>
                      <a:lnTo>
                        <a:pt x="579" y="153"/>
                      </a:lnTo>
                      <a:lnTo>
                        <a:pt x="579" y="154"/>
                      </a:lnTo>
                      <a:lnTo>
                        <a:pt x="579" y="155"/>
                      </a:lnTo>
                      <a:lnTo>
                        <a:pt x="580" y="155"/>
                      </a:lnTo>
                      <a:lnTo>
                        <a:pt x="580" y="155"/>
                      </a:lnTo>
                      <a:lnTo>
                        <a:pt x="580" y="156"/>
                      </a:lnTo>
                      <a:lnTo>
                        <a:pt x="580" y="156"/>
                      </a:lnTo>
                      <a:lnTo>
                        <a:pt x="580" y="157"/>
                      </a:lnTo>
                      <a:lnTo>
                        <a:pt x="580" y="157"/>
                      </a:lnTo>
                      <a:lnTo>
                        <a:pt x="581" y="157"/>
                      </a:lnTo>
                      <a:lnTo>
                        <a:pt x="580" y="157"/>
                      </a:lnTo>
                      <a:lnTo>
                        <a:pt x="581" y="157"/>
                      </a:lnTo>
                      <a:lnTo>
                        <a:pt x="582" y="157"/>
                      </a:lnTo>
                      <a:lnTo>
                        <a:pt x="582" y="157"/>
                      </a:lnTo>
                      <a:lnTo>
                        <a:pt x="583" y="158"/>
                      </a:lnTo>
                      <a:lnTo>
                        <a:pt x="583" y="159"/>
                      </a:lnTo>
                      <a:lnTo>
                        <a:pt x="583" y="159"/>
                      </a:lnTo>
                      <a:lnTo>
                        <a:pt x="583" y="160"/>
                      </a:lnTo>
                      <a:lnTo>
                        <a:pt x="583" y="159"/>
                      </a:lnTo>
                      <a:lnTo>
                        <a:pt x="583" y="160"/>
                      </a:lnTo>
                      <a:lnTo>
                        <a:pt x="583" y="159"/>
                      </a:lnTo>
                      <a:lnTo>
                        <a:pt x="583" y="160"/>
                      </a:lnTo>
                      <a:lnTo>
                        <a:pt x="583" y="160"/>
                      </a:lnTo>
                      <a:lnTo>
                        <a:pt x="583" y="160"/>
                      </a:lnTo>
                      <a:lnTo>
                        <a:pt x="583" y="160"/>
                      </a:lnTo>
                      <a:lnTo>
                        <a:pt x="583" y="160"/>
                      </a:lnTo>
                      <a:lnTo>
                        <a:pt x="583" y="160"/>
                      </a:lnTo>
                      <a:lnTo>
                        <a:pt x="583" y="160"/>
                      </a:lnTo>
                      <a:lnTo>
                        <a:pt x="584" y="160"/>
                      </a:lnTo>
                      <a:lnTo>
                        <a:pt x="584" y="161"/>
                      </a:lnTo>
                      <a:lnTo>
                        <a:pt x="584" y="161"/>
                      </a:lnTo>
                      <a:lnTo>
                        <a:pt x="584" y="161"/>
                      </a:lnTo>
                      <a:lnTo>
                        <a:pt x="584" y="160"/>
                      </a:lnTo>
                      <a:lnTo>
                        <a:pt x="584" y="160"/>
                      </a:lnTo>
                      <a:lnTo>
                        <a:pt x="584" y="160"/>
                      </a:lnTo>
                      <a:lnTo>
                        <a:pt x="584" y="160"/>
                      </a:lnTo>
                      <a:lnTo>
                        <a:pt x="584" y="161"/>
                      </a:lnTo>
                      <a:lnTo>
                        <a:pt x="584" y="160"/>
                      </a:lnTo>
                      <a:lnTo>
                        <a:pt x="584" y="161"/>
                      </a:lnTo>
                      <a:lnTo>
                        <a:pt x="585" y="161"/>
                      </a:lnTo>
                      <a:lnTo>
                        <a:pt x="584" y="161"/>
                      </a:lnTo>
                      <a:lnTo>
                        <a:pt x="584" y="162"/>
                      </a:lnTo>
                      <a:lnTo>
                        <a:pt x="584" y="162"/>
                      </a:lnTo>
                      <a:lnTo>
                        <a:pt x="584" y="162"/>
                      </a:lnTo>
                      <a:lnTo>
                        <a:pt x="584" y="162"/>
                      </a:lnTo>
                      <a:lnTo>
                        <a:pt x="584" y="162"/>
                      </a:lnTo>
                      <a:lnTo>
                        <a:pt x="584" y="162"/>
                      </a:lnTo>
                      <a:lnTo>
                        <a:pt x="584" y="162"/>
                      </a:lnTo>
                      <a:lnTo>
                        <a:pt x="583" y="162"/>
                      </a:lnTo>
                      <a:lnTo>
                        <a:pt x="583" y="163"/>
                      </a:lnTo>
                      <a:lnTo>
                        <a:pt x="583" y="163"/>
                      </a:lnTo>
                      <a:lnTo>
                        <a:pt x="583" y="163"/>
                      </a:lnTo>
                      <a:lnTo>
                        <a:pt x="582" y="163"/>
                      </a:lnTo>
                      <a:lnTo>
                        <a:pt x="582" y="164"/>
                      </a:lnTo>
                      <a:lnTo>
                        <a:pt x="582" y="164"/>
                      </a:lnTo>
                      <a:lnTo>
                        <a:pt x="582" y="164"/>
                      </a:lnTo>
                      <a:lnTo>
                        <a:pt x="582" y="164"/>
                      </a:lnTo>
                      <a:lnTo>
                        <a:pt x="582" y="164"/>
                      </a:lnTo>
                      <a:lnTo>
                        <a:pt x="582" y="165"/>
                      </a:lnTo>
                      <a:lnTo>
                        <a:pt x="582" y="166"/>
                      </a:lnTo>
                      <a:lnTo>
                        <a:pt x="581" y="166"/>
                      </a:lnTo>
                      <a:lnTo>
                        <a:pt x="582" y="166"/>
                      </a:lnTo>
                      <a:lnTo>
                        <a:pt x="582" y="165"/>
                      </a:lnTo>
                      <a:lnTo>
                        <a:pt x="582" y="164"/>
                      </a:lnTo>
                      <a:lnTo>
                        <a:pt x="582" y="165"/>
                      </a:lnTo>
                      <a:lnTo>
                        <a:pt x="582" y="164"/>
                      </a:lnTo>
                      <a:lnTo>
                        <a:pt x="582" y="164"/>
                      </a:lnTo>
                      <a:lnTo>
                        <a:pt x="582" y="164"/>
                      </a:lnTo>
                      <a:lnTo>
                        <a:pt x="582" y="163"/>
                      </a:lnTo>
                      <a:lnTo>
                        <a:pt x="582" y="164"/>
                      </a:lnTo>
                      <a:lnTo>
                        <a:pt x="582" y="163"/>
                      </a:lnTo>
                      <a:lnTo>
                        <a:pt x="583" y="163"/>
                      </a:lnTo>
                      <a:lnTo>
                        <a:pt x="582" y="163"/>
                      </a:lnTo>
                      <a:lnTo>
                        <a:pt x="583" y="163"/>
                      </a:lnTo>
                      <a:lnTo>
                        <a:pt x="583" y="163"/>
                      </a:lnTo>
                      <a:lnTo>
                        <a:pt x="583" y="163"/>
                      </a:lnTo>
                      <a:lnTo>
                        <a:pt x="583" y="162"/>
                      </a:lnTo>
                      <a:lnTo>
                        <a:pt x="584" y="162"/>
                      </a:lnTo>
                      <a:lnTo>
                        <a:pt x="584" y="162"/>
                      </a:lnTo>
                      <a:lnTo>
                        <a:pt x="584" y="162"/>
                      </a:lnTo>
                      <a:lnTo>
                        <a:pt x="584" y="161"/>
                      </a:lnTo>
                      <a:lnTo>
                        <a:pt x="584" y="162"/>
                      </a:lnTo>
                      <a:lnTo>
                        <a:pt x="584" y="161"/>
                      </a:lnTo>
                      <a:lnTo>
                        <a:pt x="585" y="161"/>
                      </a:lnTo>
                      <a:lnTo>
                        <a:pt x="584" y="161"/>
                      </a:lnTo>
                      <a:lnTo>
                        <a:pt x="585" y="161"/>
                      </a:lnTo>
                      <a:lnTo>
                        <a:pt x="586" y="160"/>
                      </a:lnTo>
                      <a:lnTo>
                        <a:pt x="586" y="160"/>
                      </a:lnTo>
                      <a:lnTo>
                        <a:pt x="586" y="161"/>
                      </a:lnTo>
                      <a:lnTo>
                        <a:pt x="587" y="161"/>
                      </a:lnTo>
                      <a:lnTo>
                        <a:pt x="587" y="162"/>
                      </a:lnTo>
                      <a:lnTo>
                        <a:pt x="587" y="162"/>
                      </a:lnTo>
                      <a:lnTo>
                        <a:pt x="587" y="163"/>
                      </a:lnTo>
                      <a:lnTo>
                        <a:pt x="588" y="163"/>
                      </a:lnTo>
                      <a:lnTo>
                        <a:pt x="589" y="163"/>
                      </a:lnTo>
                      <a:lnTo>
                        <a:pt x="589" y="163"/>
                      </a:lnTo>
                      <a:lnTo>
                        <a:pt x="589" y="163"/>
                      </a:lnTo>
                      <a:lnTo>
                        <a:pt x="590" y="163"/>
                      </a:lnTo>
                      <a:lnTo>
                        <a:pt x="590" y="164"/>
                      </a:lnTo>
                      <a:lnTo>
                        <a:pt x="590" y="164"/>
                      </a:lnTo>
                      <a:lnTo>
                        <a:pt x="591" y="164"/>
                      </a:lnTo>
                      <a:lnTo>
                        <a:pt x="590" y="164"/>
                      </a:lnTo>
                      <a:lnTo>
                        <a:pt x="590" y="164"/>
                      </a:lnTo>
                      <a:lnTo>
                        <a:pt x="590" y="164"/>
                      </a:lnTo>
                      <a:lnTo>
                        <a:pt x="591" y="164"/>
                      </a:lnTo>
                      <a:lnTo>
                        <a:pt x="590" y="164"/>
                      </a:lnTo>
                      <a:lnTo>
                        <a:pt x="591" y="164"/>
                      </a:lnTo>
                      <a:lnTo>
                        <a:pt x="591" y="163"/>
                      </a:lnTo>
                      <a:lnTo>
                        <a:pt x="591" y="163"/>
                      </a:lnTo>
                      <a:lnTo>
                        <a:pt x="591" y="163"/>
                      </a:lnTo>
                      <a:lnTo>
                        <a:pt x="591" y="162"/>
                      </a:lnTo>
                      <a:lnTo>
                        <a:pt x="592" y="162"/>
                      </a:lnTo>
                      <a:lnTo>
                        <a:pt x="591" y="162"/>
                      </a:lnTo>
                      <a:lnTo>
                        <a:pt x="591" y="163"/>
                      </a:lnTo>
                      <a:lnTo>
                        <a:pt x="592" y="163"/>
                      </a:lnTo>
                      <a:lnTo>
                        <a:pt x="592" y="163"/>
                      </a:lnTo>
                      <a:lnTo>
                        <a:pt x="592" y="164"/>
                      </a:lnTo>
                      <a:lnTo>
                        <a:pt x="593" y="164"/>
                      </a:lnTo>
                      <a:lnTo>
                        <a:pt x="592" y="164"/>
                      </a:lnTo>
                      <a:lnTo>
                        <a:pt x="593" y="164"/>
                      </a:lnTo>
                      <a:lnTo>
                        <a:pt x="592" y="165"/>
                      </a:lnTo>
                      <a:lnTo>
                        <a:pt x="593" y="165"/>
                      </a:lnTo>
                      <a:lnTo>
                        <a:pt x="593" y="166"/>
                      </a:lnTo>
                      <a:lnTo>
                        <a:pt x="593" y="166"/>
                      </a:lnTo>
                      <a:lnTo>
                        <a:pt x="594" y="166"/>
                      </a:lnTo>
                      <a:lnTo>
                        <a:pt x="593" y="166"/>
                      </a:lnTo>
                      <a:lnTo>
                        <a:pt x="594" y="166"/>
                      </a:lnTo>
                      <a:lnTo>
                        <a:pt x="594" y="166"/>
                      </a:lnTo>
                      <a:lnTo>
                        <a:pt x="595" y="166"/>
                      </a:lnTo>
                      <a:lnTo>
                        <a:pt x="595" y="166"/>
                      </a:lnTo>
                      <a:lnTo>
                        <a:pt x="595" y="165"/>
                      </a:lnTo>
                      <a:lnTo>
                        <a:pt x="596" y="166"/>
                      </a:lnTo>
                      <a:lnTo>
                        <a:pt x="597" y="166"/>
                      </a:lnTo>
                      <a:lnTo>
                        <a:pt x="596" y="166"/>
                      </a:lnTo>
                      <a:lnTo>
                        <a:pt x="596" y="166"/>
                      </a:lnTo>
                      <a:lnTo>
                        <a:pt x="595" y="166"/>
                      </a:lnTo>
                      <a:lnTo>
                        <a:pt x="595" y="166"/>
                      </a:lnTo>
                      <a:lnTo>
                        <a:pt x="595" y="166"/>
                      </a:lnTo>
                      <a:lnTo>
                        <a:pt x="595" y="166"/>
                      </a:lnTo>
                      <a:lnTo>
                        <a:pt x="595" y="166"/>
                      </a:lnTo>
                      <a:lnTo>
                        <a:pt x="595" y="166"/>
                      </a:lnTo>
                      <a:lnTo>
                        <a:pt x="595" y="166"/>
                      </a:lnTo>
                      <a:lnTo>
                        <a:pt x="596" y="166"/>
                      </a:lnTo>
                      <a:lnTo>
                        <a:pt x="597" y="166"/>
                      </a:lnTo>
                      <a:lnTo>
                        <a:pt x="596" y="166"/>
                      </a:lnTo>
                      <a:lnTo>
                        <a:pt x="596" y="165"/>
                      </a:lnTo>
                      <a:lnTo>
                        <a:pt x="595" y="165"/>
                      </a:lnTo>
                      <a:lnTo>
                        <a:pt x="596" y="165"/>
                      </a:lnTo>
                      <a:lnTo>
                        <a:pt x="597" y="164"/>
                      </a:lnTo>
                      <a:lnTo>
                        <a:pt x="597" y="164"/>
                      </a:lnTo>
                      <a:lnTo>
                        <a:pt x="598" y="164"/>
                      </a:lnTo>
                      <a:lnTo>
                        <a:pt x="598" y="164"/>
                      </a:lnTo>
                      <a:lnTo>
                        <a:pt x="598" y="164"/>
                      </a:lnTo>
                      <a:lnTo>
                        <a:pt x="597" y="164"/>
                      </a:lnTo>
                      <a:lnTo>
                        <a:pt x="597" y="164"/>
                      </a:lnTo>
                      <a:lnTo>
                        <a:pt x="597" y="164"/>
                      </a:lnTo>
                      <a:lnTo>
                        <a:pt x="597" y="164"/>
                      </a:lnTo>
                      <a:lnTo>
                        <a:pt x="598" y="164"/>
                      </a:lnTo>
                      <a:lnTo>
                        <a:pt x="597" y="164"/>
                      </a:lnTo>
                      <a:lnTo>
                        <a:pt x="598" y="164"/>
                      </a:lnTo>
                      <a:lnTo>
                        <a:pt x="598" y="163"/>
                      </a:lnTo>
                      <a:lnTo>
                        <a:pt x="598" y="163"/>
                      </a:lnTo>
                      <a:lnTo>
                        <a:pt x="598" y="162"/>
                      </a:lnTo>
                      <a:lnTo>
                        <a:pt x="599" y="162"/>
                      </a:lnTo>
                      <a:lnTo>
                        <a:pt x="599" y="162"/>
                      </a:lnTo>
                      <a:lnTo>
                        <a:pt x="599" y="161"/>
                      </a:lnTo>
                      <a:lnTo>
                        <a:pt x="600" y="161"/>
                      </a:lnTo>
                      <a:lnTo>
                        <a:pt x="599" y="161"/>
                      </a:lnTo>
                      <a:lnTo>
                        <a:pt x="600" y="160"/>
                      </a:lnTo>
                      <a:lnTo>
                        <a:pt x="600" y="160"/>
                      </a:lnTo>
                      <a:lnTo>
                        <a:pt x="599" y="160"/>
                      </a:lnTo>
                      <a:lnTo>
                        <a:pt x="600" y="160"/>
                      </a:lnTo>
                      <a:lnTo>
                        <a:pt x="599" y="160"/>
                      </a:lnTo>
                      <a:lnTo>
                        <a:pt x="600" y="160"/>
                      </a:lnTo>
                      <a:lnTo>
                        <a:pt x="600" y="160"/>
                      </a:lnTo>
                      <a:lnTo>
                        <a:pt x="601" y="160"/>
                      </a:lnTo>
                      <a:lnTo>
                        <a:pt x="601" y="160"/>
                      </a:lnTo>
                      <a:lnTo>
                        <a:pt x="601" y="160"/>
                      </a:lnTo>
                      <a:lnTo>
                        <a:pt x="602" y="160"/>
                      </a:lnTo>
                      <a:lnTo>
                        <a:pt x="602" y="160"/>
                      </a:lnTo>
                      <a:lnTo>
                        <a:pt x="602" y="160"/>
                      </a:lnTo>
                      <a:lnTo>
                        <a:pt x="602" y="160"/>
                      </a:lnTo>
                      <a:lnTo>
                        <a:pt x="602" y="160"/>
                      </a:lnTo>
                      <a:lnTo>
                        <a:pt x="603" y="160"/>
                      </a:lnTo>
                      <a:lnTo>
                        <a:pt x="604" y="160"/>
                      </a:lnTo>
                      <a:lnTo>
                        <a:pt x="604" y="160"/>
                      </a:lnTo>
                      <a:lnTo>
                        <a:pt x="604" y="160"/>
                      </a:lnTo>
                      <a:lnTo>
                        <a:pt x="604" y="160"/>
                      </a:lnTo>
                      <a:lnTo>
                        <a:pt x="604" y="160"/>
                      </a:lnTo>
                      <a:lnTo>
                        <a:pt x="603" y="160"/>
                      </a:lnTo>
                      <a:lnTo>
                        <a:pt x="602" y="160"/>
                      </a:lnTo>
                      <a:lnTo>
                        <a:pt x="602" y="160"/>
                      </a:lnTo>
                      <a:lnTo>
                        <a:pt x="602" y="159"/>
                      </a:lnTo>
                      <a:lnTo>
                        <a:pt x="602" y="159"/>
                      </a:lnTo>
                      <a:lnTo>
                        <a:pt x="603" y="159"/>
                      </a:lnTo>
                      <a:lnTo>
                        <a:pt x="602" y="159"/>
                      </a:lnTo>
                      <a:lnTo>
                        <a:pt x="602" y="159"/>
                      </a:lnTo>
                      <a:lnTo>
                        <a:pt x="601" y="159"/>
                      </a:lnTo>
                      <a:lnTo>
                        <a:pt x="601" y="159"/>
                      </a:lnTo>
                      <a:lnTo>
                        <a:pt x="601" y="159"/>
                      </a:lnTo>
                      <a:lnTo>
                        <a:pt x="601" y="159"/>
                      </a:lnTo>
                      <a:lnTo>
                        <a:pt x="600" y="159"/>
                      </a:lnTo>
                      <a:lnTo>
                        <a:pt x="600" y="159"/>
                      </a:lnTo>
                      <a:lnTo>
                        <a:pt x="600" y="159"/>
                      </a:lnTo>
                      <a:lnTo>
                        <a:pt x="600" y="159"/>
                      </a:lnTo>
                      <a:lnTo>
                        <a:pt x="601" y="159"/>
                      </a:lnTo>
                      <a:lnTo>
                        <a:pt x="601" y="158"/>
                      </a:lnTo>
                      <a:lnTo>
                        <a:pt x="601" y="158"/>
                      </a:lnTo>
                      <a:lnTo>
                        <a:pt x="601" y="158"/>
                      </a:lnTo>
                      <a:lnTo>
                        <a:pt x="601" y="158"/>
                      </a:lnTo>
                      <a:lnTo>
                        <a:pt x="602" y="158"/>
                      </a:lnTo>
                      <a:lnTo>
                        <a:pt x="602" y="159"/>
                      </a:lnTo>
                      <a:lnTo>
                        <a:pt x="603" y="159"/>
                      </a:lnTo>
                      <a:lnTo>
                        <a:pt x="603" y="159"/>
                      </a:lnTo>
                      <a:lnTo>
                        <a:pt x="604" y="159"/>
                      </a:lnTo>
                      <a:lnTo>
                        <a:pt x="604" y="159"/>
                      </a:lnTo>
                      <a:lnTo>
                        <a:pt x="604" y="159"/>
                      </a:lnTo>
                      <a:lnTo>
                        <a:pt x="605" y="159"/>
                      </a:lnTo>
                      <a:lnTo>
                        <a:pt x="605" y="160"/>
                      </a:lnTo>
                      <a:lnTo>
                        <a:pt x="604" y="160"/>
                      </a:lnTo>
                      <a:lnTo>
                        <a:pt x="605" y="160"/>
                      </a:lnTo>
                      <a:lnTo>
                        <a:pt x="605" y="160"/>
                      </a:lnTo>
                      <a:lnTo>
                        <a:pt x="605" y="160"/>
                      </a:lnTo>
                      <a:lnTo>
                        <a:pt x="605" y="160"/>
                      </a:lnTo>
                      <a:lnTo>
                        <a:pt x="606" y="160"/>
                      </a:lnTo>
                      <a:lnTo>
                        <a:pt x="606" y="160"/>
                      </a:lnTo>
                      <a:lnTo>
                        <a:pt x="606" y="160"/>
                      </a:lnTo>
                      <a:lnTo>
                        <a:pt x="606" y="161"/>
                      </a:lnTo>
                      <a:lnTo>
                        <a:pt x="607" y="161"/>
                      </a:lnTo>
                      <a:lnTo>
                        <a:pt x="606" y="162"/>
                      </a:lnTo>
                      <a:lnTo>
                        <a:pt x="607" y="162"/>
                      </a:lnTo>
                      <a:lnTo>
                        <a:pt x="607" y="162"/>
                      </a:lnTo>
                      <a:lnTo>
                        <a:pt x="608" y="162"/>
                      </a:lnTo>
                      <a:lnTo>
                        <a:pt x="608" y="162"/>
                      </a:lnTo>
                      <a:lnTo>
                        <a:pt x="608" y="163"/>
                      </a:lnTo>
                      <a:lnTo>
                        <a:pt x="609" y="162"/>
                      </a:lnTo>
                      <a:lnTo>
                        <a:pt x="609" y="163"/>
                      </a:lnTo>
                      <a:lnTo>
                        <a:pt x="609" y="163"/>
                      </a:lnTo>
                      <a:lnTo>
                        <a:pt x="609" y="163"/>
                      </a:lnTo>
                      <a:lnTo>
                        <a:pt x="610" y="163"/>
                      </a:lnTo>
                      <a:lnTo>
                        <a:pt x="610" y="163"/>
                      </a:lnTo>
                      <a:lnTo>
                        <a:pt x="609" y="163"/>
                      </a:lnTo>
                      <a:lnTo>
                        <a:pt x="610" y="163"/>
                      </a:lnTo>
                      <a:lnTo>
                        <a:pt x="610" y="163"/>
                      </a:lnTo>
                      <a:lnTo>
                        <a:pt x="610" y="164"/>
                      </a:lnTo>
                      <a:lnTo>
                        <a:pt x="611" y="164"/>
                      </a:lnTo>
                      <a:lnTo>
                        <a:pt x="611" y="164"/>
                      </a:lnTo>
                      <a:lnTo>
                        <a:pt x="612" y="164"/>
                      </a:lnTo>
                      <a:lnTo>
                        <a:pt x="612" y="164"/>
                      </a:lnTo>
                      <a:lnTo>
                        <a:pt x="611" y="164"/>
                      </a:lnTo>
                      <a:lnTo>
                        <a:pt x="612" y="164"/>
                      </a:lnTo>
                      <a:lnTo>
                        <a:pt x="612" y="163"/>
                      </a:lnTo>
                      <a:lnTo>
                        <a:pt x="612" y="164"/>
                      </a:lnTo>
                      <a:lnTo>
                        <a:pt x="613" y="164"/>
                      </a:lnTo>
                      <a:lnTo>
                        <a:pt x="613" y="164"/>
                      </a:lnTo>
                      <a:lnTo>
                        <a:pt x="612" y="164"/>
                      </a:lnTo>
                      <a:lnTo>
                        <a:pt x="613" y="165"/>
                      </a:lnTo>
                      <a:lnTo>
                        <a:pt x="613" y="166"/>
                      </a:lnTo>
                      <a:lnTo>
                        <a:pt x="612" y="166"/>
                      </a:lnTo>
                      <a:lnTo>
                        <a:pt x="612" y="166"/>
                      </a:lnTo>
                      <a:lnTo>
                        <a:pt x="613" y="166"/>
                      </a:lnTo>
                      <a:lnTo>
                        <a:pt x="613" y="167"/>
                      </a:lnTo>
                      <a:lnTo>
                        <a:pt x="612" y="167"/>
                      </a:lnTo>
                      <a:lnTo>
                        <a:pt x="612" y="167"/>
                      </a:lnTo>
                      <a:lnTo>
                        <a:pt x="612" y="167"/>
                      </a:lnTo>
                      <a:lnTo>
                        <a:pt x="612" y="167"/>
                      </a:lnTo>
                      <a:lnTo>
                        <a:pt x="612" y="167"/>
                      </a:lnTo>
                      <a:lnTo>
                        <a:pt x="611" y="167"/>
                      </a:lnTo>
                      <a:lnTo>
                        <a:pt x="610" y="167"/>
                      </a:lnTo>
                      <a:lnTo>
                        <a:pt x="610" y="168"/>
                      </a:lnTo>
                      <a:lnTo>
                        <a:pt x="610" y="168"/>
                      </a:lnTo>
                      <a:lnTo>
                        <a:pt x="610" y="168"/>
                      </a:lnTo>
                      <a:lnTo>
                        <a:pt x="610" y="168"/>
                      </a:lnTo>
                      <a:lnTo>
                        <a:pt x="610" y="168"/>
                      </a:lnTo>
                      <a:lnTo>
                        <a:pt x="610" y="168"/>
                      </a:lnTo>
                      <a:lnTo>
                        <a:pt x="610" y="168"/>
                      </a:lnTo>
                      <a:lnTo>
                        <a:pt x="610" y="169"/>
                      </a:lnTo>
                      <a:lnTo>
                        <a:pt x="610" y="169"/>
                      </a:lnTo>
                      <a:lnTo>
                        <a:pt x="609" y="169"/>
                      </a:lnTo>
                      <a:lnTo>
                        <a:pt x="610" y="169"/>
                      </a:lnTo>
                      <a:lnTo>
                        <a:pt x="609" y="169"/>
                      </a:lnTo>
                      <a:lnTo>
                        <a:pt x="609" y="170"/>
                      </a:lnTo>
                      <a:lnTo>
                        <a:pt x="609" y="169"/>
                      </a:lnTo>
                      <a:lnTo>
                        <a:pt x="609" y="169"/>
                      </a:lnTo>
                      <a:lnTo>
                        <a:pt x="609" y="170"/>
                      </a:lnTo>
                      <a:lnTo>
                        <a:pt x="608" y="170"/>
                      </a:lnTo>
                      <a:lnTo>
                        <a:pt x="609" y="170"/>
                      </a:lnTo>
                      <a:lnTo>
                        <a:pt x="609" y="170"/>
                      </a:lnTo>
                      <a:lnTo>
                        <a:pt x="609" y="171"/>
                      </a:lnTo>
                      <a:lnTo>
                        <a:pt x="609" y="171"/>
                      </a:lnTo>
                      <a:lnTo>
                        <a:pt x="609" y="172"/>
                      </a:lnTo>
                      <a:lnTo>
                        <a:pt x="608" y="172"/>
                      </a:lnTo>
                      <a:lnTo>
                        <a:pt x="609" y="172"/>
                      </a:lnTo>
                      <a:lnTo>
                        <a:pt x="609" y="173"/>
                      </a:lnTo>
                      <a:lnTo>
                        <a:pt x="608" y="173"/>
                      </a:lnTo>
                      <a:lnTo>
                        <a:pt x="609" y="173"/>
                      </a:lnTo>
                      <a:lnTo>
                        <a:pt x="608" y="173"/>
                      </a:lnTo>
                      <a:lnTo>
                        <a:pt x="608" y="173"/>
                      </a:lnTo>
                      <a:lnTo>
                        <a:pt x="608" y="174"/>
                      </a:lnTo>
                      <a:lnTo>
                        <a:pt x="608" y="174"/>
                      </a:lnTo>
                      <a:lnTo>
                        <a:pt x="608" y="174"/>
                      </a:lnTo>
                      <a:lnTo>
                        <a:pt x="608" y="175"/>
                      </a:lnTo>
                      <a:lnTo>
                        <a:pt x="608" y="174"/>
                      </a:lnTo>
                      <a:lnTo>
                        <a:pt x="607" y="175"/>
                      </a:lnTo>
                      <a:lnTo>
                        <a:pt x="608" y="174"/>
                      </a:lnTo>
                      <a:lnTo>
                        <a:pt x="607" y="174"/>
                      </a:lnTo>
                      <a:lnTo>
                        <a:pt x="608" y="174"/>
                      </a:lnTo>
                      <a:lnTo>
                        <a:pt x="607" y="175"/>
                      </a:lnTo>
                      <a:lnTo>
                        <a:pt x="607" y="174"/>
                      </a:lnTo>
                      <a:lnTo>
                        <a:pt x="607" y="175"/>
                      </a:lnTo>
                      <a:lnTo>
                        <a:pt x="608" y="175"/>
                      </a:lnTo>
                      <a:lnTo>
                        <a:pt x="607" y="175"/>
                      </a:lnTo>
                      <a:lnTo>
                        <a:pt x="606" y="175"/>
                      </a:lnTo>
                      <a:lnTo>
                        <a:pt x="606" y="175"/>
                      </a:lnTo>
                      <a:lnTo>
                        <a:pt x="606" y="175"/>
                      </a:lnTo>
                      <a:lnTo>
                        <a:pt x="606" y="175"/>
                      </a:lnTo>
                      <a:lnTo>
                        <a:pt x="606" y="176"/>
                      </a:lnTo>
                      <a:lnTo>
                        <a:pt x="605" y="176"/>
                      </a:lnTo>
                      <a:lnTo>
                        <a:pt x="605" y="177"/>
                      </a:lnTo>
                      <a:lnTo>
                        <a:pt x="605" y="177"/>
                      </a:lnTo>
                      <a:lnTo>
                        <a:pt x="605" y="177"/>
                      </a:lnTo>
                      <a:lnTo>
                        <a:pt x="605" y="177"/>
                      </a:lnTo>
                      <a:lnTo>
                        <a:pt x="605" y="177"/>
                      </a:lnTo>
                      <a:lnTo>
                        <a:pt x="605" y="177"/>
                      </a:lnTo>
                      <a:lnTo>
                        <a:pt x="605" y="177"/>
                      </a:lnTo>
                      <a:lnTo>
                        <a:pt x="605" y="178"/>
                      </a:lnTo>
                      <a:lnTo>
                        <a:pt x="605" y="178"/>
                      </a:lnTo>
                      <a:lnTo>
                        <a:pt x="605" y="178"/>
                      </a:lnTo>
                      <a:lnTo>
                        <a:pt x="605" y="178"/>
                      </a:lnTo>
                      <a:lnTo>
                        <a:pt x="605" y="178"/>
                      </a:lnTo>
                      <a:lnTo>
                        <a:pt x="605" y="178"/>
                      </a:lnTo>
                      <a:lnTo>
                        <a:pt x="605" y="179"/>
                      </a:lnTo>
                      <a:lnTo>
                        <a:pt x="604" y="179"/>
                      </a:lnTo>
                      <a:lnTo>
                        <a:pt x="605" y="179"/>
                      </a:lnTo>
                      <a:lnTo>
                        <a:pt x="604" y="179"/>
                      </a:lnTo>
                      <a:lnTo>
                        <a:pt x="604" y="179"/>
                      </a:lnTo>
                      <a:lnTo>
                        <a:pt x="605" y="179"/>
                      </a:lnTo>
                      <a:lnTo>
                        <a:pt x="604" y="179"/>
                      </a:lnTo>
                      <a:lnTo>
                        <a:pt x="605" y="179"/>
                      </a:lnTo>
                      <a:lnTo>
                        <a:pt x="604" y="179"/>
                      </a:lnTo>
                      <a:lnTo>
                        <a:pt x="605" y="179"/>
                      </a:lnTo>
                      <a:lnTo>
                        <a:pt x="604" y="179"/>
                      </a:lnTo>
                      <a:lnTo>
                        <a:pt x="605" y="179"/>
                      </a:lnTo>
                      <a:lnTo>
                        <a:pt x="605" y="178"/>
                      </a:lnTo>
                      <a:lnTo>
                        <a:pt x="605" y="178"/>
                      </a:lnTo>
                      <a:lnTo>
                        <a:pt x="605" y="178"/>
                      </a:lnTo>
                      <a:lnTo>
                        <a:pt x="605" y="178"/>
                      </a:lnTo>
                      <a:lnTo>
                        <a:pt x="605" y="178"/>
                      </a:lnTo>
                      <a:lnTo>
                        <a:pt x="605" y="178"/>
                      </a:lnTo>
                      <a:lnTo>
                        <a:pt x="605" y="177"/>
                      </a:lnTo>
                      <a:lnTo>
                        <a:pt x="605" y="177"/>
                      </a:lnTo>
                      <a:lnTo>
                        <a:pt x="605" y="177"/>
                      </a:lnTo>
                      <a:lnTo>
                        <a:pt x="605" y="177"/>
                      </a:lnTo>
                      <a:lnTo>
                        <a:pt x="605" y="177"/>
                      </a:lnTo>
                      <a:lnTo>
                        <a:pt x="605" y="176"/>
                      </a:lnTo>
                      <a:lnTo>
                        <a:pt x="606" y="176"/>
                      </a:lnTo>
                      <a:lnTo>
                        <a:pt x="605" y="176"/>
                      </a:lnTo>
                      <a:lnTo>
                        <a:pt x="606" y="176"/>
                      </a:lnTo>
                      <a:lnTo>
                        <a:pt x="606" y="175"/>
                      </a:lnTo>
                      <a:lnTo>
                        <a:pt x="606" y="175"/>
                      </a:lnTo>
                      <a:lnTo>
                        <a:pt x="606" y="175"/>
                      </a:lnTo>
                      <a:lnTo>
                        <a:pt x="606" y="175"/>
                      </a:lnTo>
                      <a:lnTo>
                        <a:pt x="606" y="175"/>
                      </a:lnTo>
                      <a:lnTo>
                        <a:pt x="607" y="175"/>
                      </a:lnTo>
                      <a:lnTo>
                        <a:pt x="608" y="175"/>
                      </a:lnTo>
                      <a:lnTo>
                        <a:pt x="608" y="174"/>
                      </a:lnTo>
                      <a:lnTo>
                        <a:pt x="608" y="175"/>
                      </a:lnTo>
                      <a:lnTo>
                        <a:pt x="608" y="174"/>
                      </a:lnTo>
                      <a:lnTo>
                        <a:pt x="608" y="174"/>
                      </a:lnTo>
                      <a:lnTo>
                        <a:pt x="608" y="174"/>
                      </a:lnTo>
                      <a:lnTo>
                        <a:pt x="608" y="173"/>
                      </a:lnTo>
                      <a:lnTo>
                        <a:pt x="608" y="173"/>
                      </a:lnTo>
                      <a:lnTo>
                        <a:pt x="609" y="173"/>
                      </a:lnTo>
                      <a:lnTo>
                        <a:pt x="609" y="172"/>
                      </a:lnTo>
                      <a:lnTo>
                        <a:pt x="608" y="172"/>
                      </a:lnTo>
                      <a:lnTo>
                        <a:pt x="609" y="172"/>
                      </a:lnTo>
                      <a:lnTo>
                        <a:pt x="609" y="171"/>
                      </a:lnTo>
                      <a:lnTo>
                        <a:pt x="609" y="171"/>
                      </a:lnTo>
                      <a:lnTo>
                        <a:pt x="609" y="171"/>
                      </a:lnTo>
                      <a:lnTo>
                        <a:pt x="609" y="171"/>
                      </a:lnTo>
                      <a:lnTo>
                        <a:pt x="609" y="171"/>
                      </a:lnTo>
                      <a:lnTo>
                        <a:pt x="609" y="171"/>
                      </a:lnTo>
                      <a:lnTo>
                        <a:pt x="609" y="170"/>
                      </a:lnTo>
                      <a:lnTo>
                        <a:pt x="609" y="170"/>
                      </a:lnTo>
                      <a:lnTo>
                        <a:pt x="609" y="170"/>
                      </a:lnTo>
                      <a:lnTo>
                        <a:pt x="609" y="171"/>
                      </a:lnTo>
                      <a:lnTo>
                        <a:pt x="609" y="170"/>
                      </a:lnTo>
                      <a:lnTo>
                        <a:pt x="609" y="170"/>
                      </a:lnTo>
                      <a:lnTo>
                        <a:pt x="609" y="170"/>
                      </a:lnTo>
                      <a:lnTo>
                        <a:pt x="609" y="170"/>
                      </a:lnTo>
                      <a:lnTo>
                        <a:pt x="609" y="170"/>
                      </a:lnTo>
                      <a:lnTo>
                        <a:pt x="609" y="169"/>
                      </a:lnTo>
                      <a:lnTo>
                        <a:pt x="610" y="169"/>
                      </a:lnTo>
                      <a:lnTo>
                        <a:pt x="610" y="169"/>
                      </a:lnTo>
                      <a:lnTo>
                        <a:pt x="610" y="168"/>
                      </a:lnTo>
                      <a:lnTo>
                        <a:pt x="610" y="168"/>
                      </a:lnTo>
                      <a:lnTo>
                        <a:pt x="610" y="168"/>
                      </a:lnTo>
                      <a:lnTo>
                        <a:pt x="611" y="168"/>
                      </a:lnTo>
                      <a:lnTo>
                        <a:pt x="610" y="168"/>
                      </a:lnTo>
                      <a:lnTo>
                        <a:pt x="610" y="168"/>
                      </a:lnTo>
                      <a:lnTo>
                        <a:pt x="610" y="168"/>
                      </a:lnTo>
                      <a:lnTo>
                        <a:pt x="611" y="167"/>
                      </a:lnTo>
                      <a:lnTo>
                        <a:pt x="612" y="167"/>
                      </a:lnTo>
                      <a:lnTo>
                        <a:pt x="612" y="167"/>
                      </a:lnTo>
                      <a:lnTo>
                        <a:pt x="613" y="167"/>
                      </a:lnTo>
                      <a:lnTo>
                        <a:pt x="612" y="167"/>
                      </a:lnTo>
                      <a:lnTo>
                        <a:pt x="612" y="167"/>
                      </a:lnTo>
                      <a:lnTo>
                        <a:pt x="612" y="167"/>
                      </a:lnTo>
                      <a:lnTo>
                        <a:pt x="613" y="167"/>
                      </a:lnTo>
                      <a:lnTo>
                        <a:pt x="613" y="166"/>
                      </a:lnTo>
                      <a:lnTo>
                        <a:pt x="612" y="166"/>
                      </a:lnTo>
                      <a:lnTo>
                        <a:pt x="612" y="166"/>
                      </a:lnTo>
                      <a:lnTo>
                        <a:pt x="613" y="166"/>
                      </a:lnTo>
                      <a:lnTo>
                        <a:pt x="613" y="165"/>
                      </a:lnTo>
                      <a:lnTo>
                        <a:pt x="613" y="164"/>
                      </a:lnTo>
                      <a:lnTo>
                        <a:pt x="613" y="164"/>
                      </a:lnTo>
                      <a:lnTo>
                        <a:pt x="613" y="163"/>
                      </a:lnTo>
                      <a:lnTo>
                        <a:pt x="612" y="163"/>
                      </a:lnTo>
                      <a:lnTo>
                        <a:pt x="613" y="164"/>
                      </a:lnTo>
                      <a:lnTo>
                        <a:pt x="612" y="163"/>
                      </a:lnTo>
                      <a:lnTo>
                        <a:pt x="612" y="163"/>
                      </a:lnTo>
                      <a:lnTo>
                        <a:pt x="612" y="164"/>
                      </a:lnTo>
                      <a:lnTo>
                        <a:pt x="611" y="164"/>
                      </a:lnTo>
                      <a:lnTo>
                        <a:pt x="612" y="164"/>
                      </a:lnTo>
                      <a:lnTo>
                        <a:pt x="612" y="164"/>
                      </a:lnTo>
                      <a:lnTo>
                        <a:pt x="611" y="164"/>
                      </a:lnTo>
                      <a:lnTo>
                        <a:pt x="611" y="164"/>
                      </a:lnTo>
                      <a:lnTo>
                        <a:pt x="610" y="164"/>
                      </a:lnTo>
                      <a:lnTo>
                        <a:pt x="610" y="163"/>
                      </a:lnTo>
                      <a:lnTo>
                        <a:pt x="610" y="163"/>
                      </a:lnTo>
                      <a:lnTo>
                        <a:pt x="609" y="163"/>
                      </a:lnTo>
                      <a:lnTo>
                        <a:pt x="610" y="163"/>
                      </a:lnTo>
                      <a:lnTo>
                        <a:pt x="610" y="163"/>
                      </a:lnTo>
                      <a:lnTo>
                        <a:pt x="609" y="163"/>
                      </a:lnTo>
                      <a:lnTo>
                        <a:pt x="609" y="163"/>
                      </a:lnTo>
                      <a:lnTo>
                        <a:pt x="609" y="162"/>
                      </a:lnTo>
                      <a:lnTo>
                        <a:pt x="608" y="163"/>
                      </a:lnTo>
                      <a:lnTo>
                        <a:pt x="608" y="162"/>
                      </a:lnTo>
                      <a:lnTo>
                        <a:pt x="608" y="162"/>
                      </a:lnTo>
                      <a:lnTo>
                        <a:pt x="607" y="162"/>
                      </a:lnTo>
                      <a:lnTo>
                        <a:pt x="607" y="162"/>
                      </a:lnTo>
                      <a:lnTo>
                        <a:pt x="608" y="162"/>
                      </a:lnTo>
                      <a:lnTo>
                        <a:pt x="607" y="162"/>
                      </a:lnTo>
                      <a:lnTo>
                        <a:pt x="606" y="162"/>
                      </a:lnTo>
                      <a:lnTo>
                        <a:pt x="607" y="161"/>
                      </a:lnTo>
                      <a:lnTo>
                        <a:pt x="606" y="161"/>
                      </a:lnTo>
                      <a:lnTo>
                        <a:pt x="606" y="160"/>
                      </a:lnTo>
                      <a:lnTo>
                        <a:pt x="606" y="160"/>
                      </a:lnTo>
                      <a:lnTo>
                        <a:pt x="606" y="160"/>
                      </a:lnTo>
                      <a:lnTo>
                        <a:pt x="605" y="160"/>
                      </a:lnTo>
                      <a:lnTo>
                        <a:pt x="605" y="159"/>
                      </a:lnTo>
                      <a:lnTo>
                        <a:pt x="604" y="159"/>
                      </a:lnTo>
                      <a:lnTo>
                        <a:pt x="604" y="159"/>
                      </a:lnTo>
                      <a:lnTo>
                        <a:pt x="603" y="159"/>
                      </a:lnTo>
                      <a:lnTo>
                        <a:pt x="602" y="159"/>
                      </a:lnTo>
                      <a:lnTo>
                        <a:pt x="602" y="158"/>
                      </a:lnTo>
                      <a:lnTo>
                        <a:pt x="602" y="159"/>
                      </a:lnTo>
                      <a:lnTo>
                        <a:pt x="603" y="159"/>
                      </a:lnTo>
                      <a:lnTo>
                        <a:pt x="603" y="158"/>
                      </a:lnTo>
                      <a:lnTo>
                        <a:pt x="603" y="159"/>
                      </a:lnTo>
                      <a:lnTo>
                        <a:pt x="602" y="159"/>
                      </a:lnTo>
                      <a:lnTo>
                        <a:pt x="602" y="158"/>
                      </a:lnTo>
                      <a:lnTo>
                        <a:pt x="602" y="158"/>
                      </a:lnTo>
                      <a:lnTo>
                        <a:pt x="601" y="158"/>
                      </a:lnTo>
                      <a:lnTo>
                        <a:pt x="602" y="158"/>
                      </a:lnTo>
                      <a:lnTo>
                        <a:pt x="601" y="158"/>
                      </a:lnTo>
                      <a:lnTo>
                        <a:pt x="601" y="158"/>
                      </a:lnTo>
                      <a:lnTo>
                        <a:pt x="601" y="157"/>
                      </a:lnTo>
                      <a:lnTo>
                        <a:pt x="601" y="157"/>
                      </a:lnTo>
                      <a:lnTo>
                        <a:pt x="601" y="157"/>
                      </a:lnTo>
                      <a:lnTo>
                        <a:pt x="601" y="157"/>
                      </a:lnTo>
                      <a:lnTo>
                        <a:pt x="601" y="156"/>
                      </a:lnTo>
                      <a:lnTo>
                        <a:pt x="601" y="156"/>
                      </a:lnTo>
                      <a:lnTo>
                        <a:pt x="602" y="155"/>
                      </a:lnTo>
                      <a:lnTo>
                        <a:pt x="602" y="155"/>
                      </a:lnTo>
                      <a:lnTo>
                        <a:pt x="602" y="154"/>
                      </a:lnTo>
                      <a:lnTo>
                        <a:pt x="602" y="154"/>
                      </a:lnTo>
                      <a:lnTo>
                        <a:pt x="602" y="153"/>
                      </a:lnTo>
                      <a:lnTo>
                        <a:pt x="603" y="152"/>
                      </a:lnTo>
                      <a:lnTo>
                        <a:pt x="603" y="152"/>
                      </a:lnTo>
                      <a:lnTo>
                        <a:pt x="603" y="151"/>
                      </a:lnTo>
                      <a:lnTo>
                        <a:pt x="604" y="151"/>
                      </a:lnTo>
                      <a:lnTo>
                        <a:pt x="605" y="150"/>
                      </a:lnTo>
                      <a:lnTo>
                        <a:pt x="605" y="149"/>
                      </a:lnTo>
                      <a:lnTo>
                        <a:pt x="605" y="149"/>
                      </a:lnTo>
                      <a:lnTo>
                        <a:pt x="606" y="148"/>
                      </a:lnTo>
                      <a:lnTo>
                        <a:pt x="606" y="148"/>
                      </a:lnTo>
                      <a:lnTo>
                        <a:pt x="607" y="148"/>
                      </a:lnTo>
                      <a:lnTo>
                        <a:pt x="608" y="148"/>
                      </a:lnTo>
                      <a:lnTo>
                        <a:pt x="608" y="148"/>
                      </a:lnTo>
                      <a:lnTo>
                        <a:pt x="609" y="147"/>
                      </a:lnTo>
                      <a:lnTo>
                        <a:pt x="609" y="147"/>
                      </a:lnTo>
                      <a:lnTo>
                        <a:pt x="610" y="147"/>
                      </a:lnTo>
                      <a:lnTo>
                        <a:pt x="610" y="147"/>
                      </a:lnTo>
                      <a:lnTo>
                        <a:pt x="610" y="148"/>
                      </a:lnTo>
                      <a:lnTo>
                        <a:pt x="611" y="148"/>
                      </a:lnTo>
                      <a:lnTo>
                        <a:pt x="612" y="148"/>
                      </a:lnTo>
                      <a:lnTo>
                        <a:pt x="612" y="149"/>
                      </a:lnTo>
                      <a:lnTo>
                        <a:pt x="612" y="148"/>
                      </a:lnTo>
                      <a:lnTo>
                        <a:pt x="611" y="148"/>
                      </a:lnTo>
                      <a:lnTo>
                        <a:pt x="610" y="148"/>
                      </a:lnTo>
                      <a:lnTo>
                        <a:pt x="610" y="148"/>
                      </a:lnTo>
                      <a:lnTo>
                        <a:pt x="610" y="148"/>
                      </a:lnTo>
                      <a:lnTo>
                        <a:pt x="609" y="148"/>
                      </a:lnTo>
                      <a:lnTo>
                        <a:pt x="609" y="148"/>
                      </a:lnTo>
                      <a:lnTo>
                        <a:pt x="608" y="148"/>
                      </a:lnTo>
                      <a:lnTo>
                        <a:pt x="608" y="148"/>
                      </a:lnTo>
                      <a:lnTo>
                        <a:pt x="608" y="148"/>
                      </a:lnTo>
                      <a:lnTo>
                        <a:pt x="608" y="148"/>
                      </a:lnTo>
                      <a:lnTo>
                        <a:pt x="608" y="148"/>
                      </a:lnTo>
                      <a:lnTo>
                        <a:pt x="608" y="148"/>
                      </a:lnTo>
                      <a:lnTo>
                        <a:pt x="608" y="148"/>
                      </a:lnTo>
                      <a:lnTo>
                        <a:pt x="608" y="148"/>
                      </a:lnTo>
                      <a:lnTo>
                        <a:pt x="608" y="148"/>
                      </a:lnTo>
                      <a:lnTo>
                        <a:pt x="608" y="148"/>
                      </a:lnTo>
                      <a:lnTo>
                        <a:pt x="607" y="148"/>
                      </a:lnTo>
                      <a:lnTo>
                        <a:pt x="607" y="148"/>
                      </a:lnTo>
                      <a:lnTo>
                        <a:pt x="607" y="149"/>
                      </a:lnTo>
                      <a:lnTo>
                        <a:pt x="608" y="149"/>
                      </a:lnTo>
                      <a:lnTo>
                        <a:pt x="608" y="149"/>
                      </a:lnTo>
                      <a:lnTo>
                        <a:pt x="607" y="149"/>
                      </a:lnTo>
                      <a:lnTo>
                        <a:pt x="607" y="150"/>
                      </a:lnTo>
                      <a:lnTo>
                        <a:pt x="607" y="151"/>
                      </a:lnTo>
                      <a:lnTo>
                        <a:pt x="608" y="151"/>
                      </a:lnTo>
                      <a:lnTo>
                        <a:pt x="608" y="151"/>
                      </a:lnTo>
                      <a:lnTo>
                        <a:pt x="609" y="151"/>
                      </a:lnTo>
                      <a:lnTo>
                        <a:pt x="609" y="151"/>
                      </a:lnTo>
                      <a:lnTo>
                        <a:pt x="609" y="151"/>
                      </a:lnTo>
                      <a:lnTo>
                        <a:pt x="609" y="152"/>
                      </a:lnTo>
                      <a:lnTo>
                        <a:pt x="610" y="152"/>
                      </a:lnTo>
                      <a:lnTo>
                        <a:pt x="610" y="152"/>
                      </a:lnTo>
                      <a:lnTo>
                        <a:pt x="610" y="153"/>
                      </a:lnTo>
                      <a:lnTo>
                        <a:pt x="610" y="153"/>
                      </a:lnTo>
                      <a:lnTo>
                        <a:pt x="611" y="153"/>
                      </a:lnTo>
                      <a:lnTo>
                        <a:pt x="612" y="153"/>
                      </a:lnTo>
                      <a:lnTo>
                        <a:pt x="612" y="154"/>
                      </a:lnTo>
                      <a:lnTo>
                        <a:pt x="612" y="154"/>
                      </a:lnTo>
                      <a:lnTo>
                        <a:pt x="613" y="155"/>
                      </a:lnTo>
                      <a:lnTo>
                        <a:pt x="614" y="155"/>
                      </a:lnTo>
                      <a:lnTo>
                        <a:pt x="614" y="155"/>
                      </a:lnTo>
                      <a:lnTo>
                        <a:pt x="614" y="155"/>
                      </a:lnTo>
                      <a:lnTo>
                        <a:pt x="613" y="155"/>
                      </a:lnTo>
                      <a:lnTo>
                        <a:pt x="614" y="155"/>
                      </a:lnTo>
                      <a:lnTo>
                        <a:pt x="616" y="155"/>
                      </a:lnTo>
                      <a:lnTo>
                        <a:pt x="615" y="155"/>
                      </a:lnTo>
                      <a:lnTo>
                        <a:pt x="615" y="156"/>
                      </a:lnTo>
                      <a:lnTo>
                        <a:pt x="615" y="155"/>
                      </a:lnTo>
                      <a:lnTo>
                        <a:pt x="616" y="155"/>
                      </a:lnTo>
                      <a:lnTo>
                        <a:pt x="616" y="156"/>
                      </a:lnTo>
                      <a:lnTo>
                        <a:pt x="617" y="156"/>
                      </a:lnTo>
                      <a:lnTo>
                        <a:pt x="617" y="156"/>
                      </a:lnTo>
                      <a:lnTo>
                        <a:pt x="618" y="156"/>
                      </a:lnTo>
                      <a:lnTo>
                        <a:pt x="619" y="156"/>
                      </a:lnTo>
                      <a:lnTo>
                        <a:pt x="619" y="156"/>
                      </a:lnTo>
                      <a:lnTo>
                        <a:pt x="619" y="156"/>
                      </a:lnTo>
                      <a:lnTo>
                        <a:pt x="619" y="156"/>
                      </a:lnTo>
                      <a:lnTo>
                        <a:pt x="620" y="156"/>
                      </a:lnTo>
                      <a:lnTo>
                        <a:pt x="620" y="156"/>
                      </a:lnTo>
                      <a:lnTo>
                        <a:pt x="621" y="156"/>
                      </a:lnTo>
                      <a:lnTo>
                        <a:pt x="621" y="156"/>
                      </a:lnTo>
                      <a:lnTo>
                        <a:pt x="621" y="156"/>
                      </a:lnTo>
                      <a:lnTo>
                        <a:pt x="621" y="156"/>
                      </a:lnTo>
                      <a:lnTo>
                        <a:pt x="622" y="156"/>
                      </a:lnTo>
                      <a:lnTo>
                        <a:pt x="623" y="156"/>
                      </a:lnTo>
                      <a:lnTo>
                        <a:pt x="623" y="156"/>
                      </a:lnTo>
                      <a:lnTo>
                        <a:pt x="623" y="156"/>
                      </a:lnTo>
                      <a:lnTo>
                        <a:pt x="623" y="156"/>
                      </a:lnTo>
                      <a:lnTo>
                        <a:pt x="624" y="156"/>
                      </a:lnTo>
                      <a:lnTo>
                        <a:pt x="624" y="156"/>
                      </a:lnTo>
                      <a:lnTo>
                        <a:pt x="623" y="156"/>
                      </a:lnTo>
                      <a:lnTo>
                        <a:pt x="623" y="157"/>
                      </a:lnTo>
                      <a:lnTo>
                        <a:pt x="623" y="157"/>
                      </a:lnTo>
                      <a:lnTo>
                        <a:pt x="623" y="157"/>
                      </a:lnTo>
                      <a:lnTo>
                        <a:pt x="623" y="157"/>
                      </a:lnTo>
                      <a:lnTo>
                        <a:pt x="623" y="158"/>
                      </a:lnTo>
                      <a:lnTo>
                        <a:pt x="623" y="157"/>
                      </a:lnTo>
                      <a:lnTo>
                        <a:pt x="623" y="157"/>
                      </a:lnTo>
                      <a:lnTo>
                        <a:pt x="624" y="157"/>
                      </a:lnTo>
                      <a:lnTo>
                        <a:pt x="624" y="158"/>
                      </a:lnTo>
                      <a:lnTo>
                        <a:pt x="624" y="158"/>
                      </a:lnTo>
                      <a:lnTo>
                        <a:pt x="624" y="157"/>
                      </a:lnTo>
                      <a:lnTo>
                        <a:pt x="623" y="157"/>
                      </a:lnTo>
                      <a:lnTo>
                        <a:pt x="623" y="157"/>
                      </a:lnTo>
                      <a:lnTo>
                        <a:pt x="624" y="157"/>
                      </a:lnTo>
                      <a:lnTo>
                        <a:pt x="624" y="157"/>
                      </a:lnTo>
                      <a:lnTo>
                        <a:pt x="625" y="157"/>
                      </a:lnTo>
                      <a:lnTo>
                        <a:pt x="625" y="157"/>
                      </a:lnTo>
                      <a:lnTo>
                        <a:pt x="625" y="157"/>
                      </a:lnTo>
                      <a:lnTo>
                        <a:pt x="625" y="157"/>
                      </a:lnTo>
                      <a:lnTo>
                        <a:pt x="625" y="157"/>
                      </a:lnTo>
                      <a:lnTo>
                        <a:pt x="626" y="157"/>
                      </a:lnTo>
                      <a:lnTo>
                        <a:pt x="627" y="157"/>
                      </a:lnTo>
                      <a:lnTo>
                        <a:pt x="626" y="157"/>
                      </a:lnTo>
                      <a:lnTo>
                        <a:pt x="627" y="157"/>
                      </a:lnTo>
                      <a:lnTo>
                        <a:pt x="627" y="157"/>
                      </a:lnTo>
                      <a:lnTo>
                        <a:pt x="627" y="157"/>
                      </a:lnTo>
                      <a:lnTo>
                        <a:pt x="627" y="157"/>
                      </a:lnTo>
                      <a:lnTo>
                        <a:pt x="627" y="158"/>
                      </a:lnTo>
                      <a:lnTo>
                        <a:pt x="627" y="157"/>
                      </a:lnTo>
                      <a:lnTo>
                        <a:pt x="627" y="158"/>
                      </a:lnTo>
                      <a:lnTo>
                        <a:pt x="628" y="158"/>
                      </a:lnTo>
                      <a:lnTo>
                        <a:pt x="627" y="158"/>
                      </a:lnTo>
                      <a:lnTo>
                        <a:pt x="628" y="158"/>
                      </a:lnTo>
                      <a:lnTo>
                        <a:pt x="627" y="158"/>
                      </a:lnTo>
                      <a:lnTo>
                        <a:pt x="627" y="157"/>
                      </a:lnTo>
                      <a:lnTo>
                        <a:pt x="627" y="158"/>
                      </a:lnTo>
                      <a:lnTo>
                        <a:pt x="627" y="157"/>
                      </a:lnTo>
                      <a:lnTo>
                        <a:pt x="628" y="157"/>
                      </a:lnTo>
                      <a:lnTo>
                        <a:pt x="628" y="158"/>
                      </a:lnTo>
                      <a:lnTo>
                        <a:pt x="628" y="158"/>
                      </a:lnTo>
                      <a:lnTo>
                        <a:pt x="629" y="158"/>
                      </a:lnTo>
                      <a:lnTo>
                        <a:pt x="628" y="158"/>
                      </a:lnTo>
                      <a:lnTo>
                        <a:pt x="628" y="158"/>
                      </a:lnTo>
                      <a:lnTo>
                        <a:pt x="628" y="157"/>
                      </a:lnTo>
                      <a:lnTo>
                        <a:pt x="627" y="157"/>
                      </a:lnTo>
                      <a:lnTo>
                        <a:pt x="627" y="157"/>
                      </a:lnTo>
                      <a:lnTo>
                        <a:pt x="627" y="157"/>
                      </a:lnTo>
                      <a:lnTo>
                        <a:pt x="627" y="157"/>
                      </a:lnTo>
                      <a:lnTo>
                        <a:pt x="626" y="157"/>
                      </a:lnTo>
                      <a:lnTo>
                        <a:pt x="627" y="157"/>
                      </a:lnTo>
                      <a:lnTo>
                        <a:pt x="626" y="157"/>
                      </a:lnTo>
                      <a:lnTo>
                        <a:pt x="625" y="157"/>
                      </a:lnTo>
                      <a:lnTo>
                        <a:pt x="625" y="157"/>
                      </a:lnTo>
                      <a:lnTo>
                        <a:pt x="625" y="157"/>
                      </a:lnTo>
                      <a:lnTo>
                        <a:pt x="625" y="157"/>
                      </a:lnTo>
                      <a:lnTo>
                        <a:pt x="625" y="157"/>
                      </a:lnTo>
                      <a:lnTo>
                        <a:pt x="624" y="157"/>
                      </a:lnTo>
                      <a:lnTo>
                        <a:pt x="624" y="157"/>
                      </a:lnTo>
                      <a:lnTo>
                        <a:pt x="623" y="157"/>
                      </a:lnTo>
                      <a:lnTo>
                        <a:pt x="623" y="156"/>
                      </a:lnTo>
                      <a:lnTo>
                        <a:pt x="624" y="156"/>
                      </a:lnTo>
                      <a:lnTo>
                        <a:pt x="624" y="156"/>
                      </a:lnTo>
                      <a:lnTo>
                        <a:pt x="623" y="156"/>
                      </a:lnTo>
                      <a:lnTo>
                        <a:pt x="623" y="155"/>
                      </a:lnTo>
                      <a:lnTo>
                        <a:pt x="624" y="155"/>
                      </a:lnTo>
                      <a:lnTo>
                        <a:pt x="624" y="156"/>
                      </a:lnTo>
                      <a:lnTo>
                        <a:pt x="624" y="156"/>
                      </a:lnTo>
                      <a:lnTo>
                        <a:pt x="624" y="156"/>
                      </a:lnTo>
                      <a:lnTo>
                        <a:pt x="624" y="156"/>
                      </a:lnTo>
                      <a:lnTo>
                        <a:pt x="625" y="156"/>
                      </a:lnTo>
                      <a:lnTo>
                        <a:pt x="625" y="156"/>
                      </a:lnTo>
                      <a:lnTo>
                        <a:pt x="625" y="156"/>
                      </a:lnTo>
                      <a:lnTo>
                        <a:pt x="625" y="157"/>
                      </a:lnTo>
                      <a:lnTo>
                        <a:pt x="625" y="156"/>
                      </a:lnTo>
                      <a:lnTo>
                        <a:pt x="626" y="156"/>
                      </a:lnTo>
                      <a:lnTo>
                        <a:pt x="626" y="157"/>
                      </a:lnTo>
                      <a:lnTo>
                        <a:pt x="627" y="157"/>
                      </a:lnTo>
                      <a:lnTo>
                        <a:pt x="626" y="157"/>
                      </a:lnTo>
                      <a:lnTo>
                        <a:pt x="626" y="156"/>
                      </a:lnTo>
                      <a:lnTo>
                        <a:pt x="625" y="156"/>
                      </a:lnTo>
                      <a:lnTo>
                        <a:pt x="625" y="157"/>
                      </a:lnTo>
                      <a:lnTo>
                        <a:pt x="625" y="156"/>
                      </a:lnTo>
                      <a:lnTo>
                        <a:pt x="625" y="156"/>
                      </a:lnTo>
                      <a:lnTo>
                        <a:pt x="626" y="156"/>
                      </a:lnTo>
                      <a:lnTo>
                        <a:pt x="626" y="156"/>
                      </a:lnTo>
                      <a:lnTo>
                        <a:pt x="626" y="156"/>
                      </a:lnTo>
                      <a:lnTo>
                        <a:pt x="627" y="156"/>
                      </a:lnTo>
                      <a:lnTo>
                        <a:pt x="627" y="156"/>
                      </a:lnTo>
                      <a:lnTo>
                        <a:pt x="627" y="156"/>
                      </a:lnTo>
                      <a:lnTo>
                        <a:pt x="628" y="156"/>
                      </a:lnTo>
                      <a:lnTo>
                        <a:pt x="628" y="156"/>
                      </a:lnTo>
                      <a:lnTo>
                        <a:pt x="628" y="156"/>
                      </a:lnTo>
                      <a:lnTo>
                        <a:pt x="628" y="156"/>
                      </a:lnTo>
                      <a:lnTo>
                        <a:pt x="629" y="156"/>
                      </a:lnTo>
                      <a:lnTo>
                        <a:pt x="629" y="156"/>
                      </a:lnTo>
                      <a:lnTo>
                        <a:pt x="630" y="156"/>
                      </a:lnTo>
                      <a:lnTo>
                        <a:pt x="630" y="156"/>
                      </a:lnTo>
                      <a:lnTo>
                        <a:pt x="630" y="156"/>
                      </a:lnTo>
                      <a:lnTo>
                        <a:pt x="631" y="156"/>
                      </a:lnTo>
                      <a:lnTo>
                        <a:pt x="631" y="157"/>
                      </a:lnTo>
                      <a:lnTo>
                        <a:pt x="630" y="157"/>
                      </a:lnTo>
                      <a:lnTo>
                        <a:pt x="630" y="157"/>
                      </a:lnTo>
                      <a:lnTo>
                        <a:pt x="631" y="157"/>
                      </a:lnTo>
                      <a:lnTo>
                        <a:pt x="631" y="157"/>
                      </a:lnTo>
                      <a:lnTo>
                        <a:pt x="631" y="157"/>
                      </a:lnTo>
                      <a:lnTo>
                        <a:pt x="631" y="157"/>
                      </a:lnTo>
                      <a:lnTo>
                        <a:pt x="632" y="157"/>
                      </a:lnTo>
                      <a:lnTo>
                        <a:pt x="632" y="157"/>
                      </a:lnTo>
                      <a:lnTo>
                        <a:pt x="632" y="158"/>
                      </a:lnTo>
                      <a:lnTo>
                        <a:pt x="632" y="158"/>
                      </a:lnTo>
                      <a:lnTo>
                        <a:pt x="632" y="159"/>
                      </a:lnTo>
                      <a:lnTo>
                        <a:pt x="632" y="159"/>
                      </a:lnTo>
                      <a:lnTo>
                        <a:pt x="632" y="159"/>
                      </a:lnTo>
                      <a:lnTo>
                        <a:pt x="633" y="159"/>
                      </a:lnTo>
                      <a:lnTo>
                        <a:pt x="633" y="159"/>
                      </a:lnTo>
                      <a:lnTo>
                        <a:pt x="632" y="159"/>
                      </a:lnTo>
                      <a:lnTo>
                        <a:pt x="633" y="159"/>
                      </a:lnTo>
                      <a:lnTo>
                        <a:pt x="632" y="159"/>
                      </a:lnTo>
                      <a:lnTo>
                        <a:pt x="632" y="160"/>
                      </a:lnTo>
                      <a:lnTo>
                        <a:pt x="632" y="160"/>
                      </a:lnTo>
                      <a:lnTo>
                        <a:pt x="632" y="160"/>
                      </a:lnTo>
                      <a:lnTo>
                        <a:pt x="633" y="160"/>
                      </a:lnTo>
                      <a:lnTo>
                        <a:pt x="633" y="160"/>
                      </a:lnTo>
                      <a:lnTo>
                        <a:pt x="634" y="160"/>
                      </a:lnTo>
                      <a:lnTo>
                        <a:pt x="635" y="160"/>
                      </a:lnTo>
                      <a:lnTo>
                        <a:pt x="635" y="161"/>
                      </a:lnTo>
                      <a:lnTo>
                        <a:pt x="635" y="162"/>
                      </a:lnTo>
                      <a:lnTo>
                        <a:pt x="635" y="162"/>
                      </a:lnTo>
                      <a:lnTo>
                        <a:pt x="635" y="162"/>
                      </a:lnTo>
                      <a:lnTo>
                        <a:pt x="635" y="162"/>
                      </a:lnTo>
                      <a:lnTo>
                        <a:pt x="636" y="162"/>
                      </a:lnTo>
                      <a:lnTo>
                        <a:pt x="636" y="162"/>
                      </a:lnTo>
                      <a:lnTo>
                        <a:pt x="636" y="163"/>
                      </a:lnTo>
                      <a:lnTo>
                        <a:pt x="636" y="163"/>
                      </a:lnTo>
                      <a:lnTo>
                        <a:pt x="635" y="163"/>
                      </a:lnTo>
                      <a:lnTo>
                        <a:pt x="635" y="163"/>
                      </a:lnTo>
                      <a:lnTo>
                        <a:pt x="635" y="163"/>
                      </a:lnTo>
                      <a:lnTo>
                        <a:pt x="635" y="164"/>
                      </a:lnTo>
                      <a:lnTo>
                        <a:pt x="635" y="164"/>
                      </a:lnTo>
                      <a:lnTo>
                        <a:pt x="635" y="165"/>
                      </a:lnTo>
                      <a:lnTo>
                        <a:pt x="634" y="165"/>
                      </a:lnTo>
                      <a:lnTo>
                        <a:pt x="634" y="164"/>
                      </a:lnTo>
                      <a:lnTo>
                        <a:pt x="634" y="164"/>
                      </a:lnTo>
                      <a:lnTo>
                        <a:pt x="634" y="165"/>
                      </a:lnTo>
                      <a:lnTo>
                        <a:pt x="634" y="166"/>
                      </a:lnTo>
                      <a:lnTo>
                        <a:pt x="633" y="166"/>
                      </a:lnTo>
                      <a:lnTo>
                        <a:pt x="632" y="166"/>
                      </a:lnTo>
                      <a:lnTo>
                        <a:pt x="632" y="166"/>
                      </a:lnTo>
                      <a:lnTo>
                        <a:pt x="632" y="166"/>
                      </a:lnTo>
                      <a:lnTo>
                        <a:pt x="633" y="166"/>
                      </a:lnTo>
                      <a:lnTo>
                        <a:pt x="634" y="166"/>
                      </a:lnTo>
                      <a:lnTo>
                        <a:pt x="633" y="166"/>
                      </a:lnTo>
                      <a:lnTo>
                        <a:pt x="632" y="166"/>
                      </a:lnTo>
                      <a:lnTo>
                        <a:pt x="632" y="166"/>
                      </a:lnTo>
                      <a:lnTo>
                        <a:pt x="631" y="166"/>
                      </a:lnTo>
                      <a:lnTo>
                        <a:pt x="632" y="166"/>
                      </a:lnTo>
                      <a:lnTo>
                        <a:pt x="632" y="166"/>
                      </a:lnTo>
                      <a:lnTo>
                        <a:pt x="631" y="166"/>
                      </a:lnTo>
                      <a:lnTo>
                        <a:pt x="631" y="166"/>
                      </a:lnTo>
                      <a:lnTo>
                        <a:pt x="631" y="166"/>
                      </a:lnTo>
                      <a:lnTo>
                        <a:pt x="630" y="166"/>
                      </a:lnTo>
                      <a:lnTo>
                        <a:pt x="630" y="166"/>
                      </a:lnTo>
                      <a:lnTo>
                        <a:pt x="629" y="166"/>
                      </a:lnTo>
                      <a:lnTo>
                        <a:pt x="628" y="166"/>
                      </a:lnTo>
                      <a:lnTo>
                        <a:pt x="628" y="166"/>
                      </a:lnTo>
                      <a:lnTo>
                        <a:pt x="628" y="166"/>
                      </a:lnTo>
                      <a:lnTo>
                        <a:pt x="627" y="166"/>
                      </a:lnTo>
                      <a:lnTo>
                        <a:pt x="627" y="167"/>
                      </a:lnTo>
                      <a:lnTo>
                        <a:pt x="626" y="167"/>
                      </a:lnTo>
                      <a:lnTo>
                        <a:pt x="626" y="167"/>
                      </a:lnTo>
                      <a:lnTo>
                        <a:pt x="626" y="167"/>
                      </a:lnTo>
                      <a:lnTo>
                        <a:pt x="626" y="167"/>
                      </a:lnTo>
                      <a:lnTo>
                        <a:pt x="625" y="167"/>
                      </a:lnTo>
                      <a:lnTo>
                        <a:pt x="625" y="168"/>
                      </a:lnTo>
                      <a:lnTo>
                        <a:pt x="625" y="168"/>
                      </a:lnTo>
                      <a:lnTo>
                        <a:pt x="624" y="168"/>
                      </a:lnTo>
                      <a:lnTo>
                        <a:pt x="624" y="168"/>
                      </a:lnTo>
                      <a:lnTo>
                        <a:pt x="623" y="168"/>
                      </a:lnTo>
                      <a:lnTo>
                        <a:pt x="623" y="168"/>
                      </a:lnTo>
                      <a:lnTo>
                        <a:pt x="624" y="168"/>
                      </a:lnTo>
                      <a:lnTo>
                        <a:pt x="624" y="168"/>
                      </a:lnTo>
                      <a:lnTo>
                        <a:pt x="624" y="169"/>
                      </a:lnTo>
                      <a:lnTo>
                        <a:pt x="624" y="169"/>
                      </a:lnTo>
                      <a:lnTo>
                        <a:pt x="624" y="170"/>
                      </a:lnTo>
                      <a:lnTo>
                        <a:pt x="623" y="170"/>
                      </a:lnTo>
                      <a:lnTo>
                        <a:pt x="624" y="170"/>
                      </a:lnTo>
                      <a:lnTo>
                        <a:pt x="624" y="170"/>
                      </a:lnTo>
                      <a:lnTo>
                        <a:pt x="624" y="171"/>
                      </a:lnTo>
                      <a:lnTo>
                        <a:pt x="624" y="171"/>
                      </a:lnTo>
                      <a:lnTo>
                        <a:pt x="625" y="171"/>
                      </a:lnTo>
                      <a:lnTo>
                        <a:pt x="625" y="171"/>
                      </a:lnTo>
                      <a:lnTo>
                        <a:pt x="626" y="171"/>
                      </a:lnTo>
                      <a:lnTo>
                        <a:pt x="627" y="171"/>
                      </a:lnTo>
                      <a:lnTo>
                        <a:pt x="627" y="171"/>
                      </a:lnTo>
                      <a:lnTo>
                        <a:pt x="627" y="172"/>
                      </a:lnTo>
                      <a:lnTo>
                        <a:pt x="627" y="171"/>
                      </a:lnTo>
                      <a:lnTo>
                        <a:pt x="627" y="172"/>
                      </a:lnTo>
                      <a:lnTo>
                        <a:pt x="626" y="172"/>
                      </a:lnTo>
                      <a:lnTo>
                        <a:pt x="626" y="173"/>
                      </a:lnTo>
                      <a:lnTo>
                        <a:pt x="625" y="173"/>
                      </a:lnTo>
                      <a:lnTo>
                        <a:pt x="626" y="173"/>
                      </a:lnTo>
                      <a:lnTo>
                        <a:pt x="625" y="173"/>
                      </a:lnTo>
                      <a:lnTo>
                        <a:pt x="625" y="173"/>
                      </a:lnTo>
                      <a:lnTo>
                        <a:pt x="625" y="174"/>
                      </a:lnTo>
                      <a:lnTo>
                        <a:pt x="625" y="174"/>
                      </a:lnTo>
                      <a:lnTo>
                        <a:pt x="625" y="174"/>
                      </a:lnTo>
                      <a:lnTo>
                        <a:pt x="625" y="173"/>
                      </a:lnTo>
                      <a:lnTo>
                        <a:pt x="625" y="173"/>
                      </a:lnTo>
                      <a:lnTo>
                        <a:pt x="625" y="174"/>
                      </a:lnTo>
                      <a:lnTo>
                        <a:pt x="626" y="174"/>
                      </a:lnTo>
                      <a:lnTo>
                        <a:pt x="627" y="174"/>
                      </a:lnTo>
                      <a:lnTo>
                        <a:pt x="627" y="174"/>
                      </a:lnTo>
                      <a:lnTo>
                        <a:pt x="628" y="174"/>
                      </a:lnTo>
                      <a:lnTo>
                        <a:pt x="628" y="175"/>
                      </a:lnTo>
                      <a:lnTo>
                        <a:pt x="628" y="175"/>
                      </a:lnTo>
                      <a:lnTo>
                        <a:pt x="627" y="175"/>
                      </a:lnTo>
                      <a:lnTo>
                        <a:pt x="627" y="176"/>
                      </a:lnTo>
                      <a:lnTo>
                        <a:pt x="628" y="176"/>
                      </a:lnTo>
                      <a:lnTo>
                        <a:pt x="628" y="176"/>
                      </a:lnTo>
                      <a:lnTo>
                        <a:pt x="629" y="176"/>
                      </a:lnTo>
                      <a:lnTo>
                        <a:pt x="630" y="176"/>
                      </a:lnTo>
                      <a:lnTo>
                        <a:pt x="630" y="177"/>
                      </a:lnTo>
                      <a:lnTo>
                        <a:pt x="629" y="177"/>
                      </a:lnTo>
                      <a:lnTo>
                        <a:pt x="629" y="177"/>
                      </a:lnTo>
                      <a:lnTo>
                        <a:pt x="629" y="177"/>
                      </a:lnTo>
                      <a:lnTo>
                        <a:pt x="629" y="177"/>
                      </a:lnTo>
                      <a:lnTo>
                        <a:pt x="629" y="178"/>
                      </a:lnTo>
                      <a:lnTo>
                        <a:pt x="628" y="178"/>
                      </a:lnTo>
                      <a:lnTo>
                        <a:pt x="628" y="178"/>
                      </a:lnTo>
                      <a:lnTo>
                        <a:pt x="628" y="177"/>
                      </a:lnTo>
                      <a:lnTo>
                        <a:pt x="627" y="177"/>
                      </a:lnTo>
                      <a:lnTo>
                        <a:pt x="627" y="177"/>
                      </a:lnTo>
                      <a:lnTo>
                        <a:pt x="627" y="178"/>
                      </a:lnTo>
                      <a:lnTo>
                        <a:pt x="627" y="178"/>
                      </a:lnTo>
                      <a:lnTo>
                        <a:pt x="626" y="178"/>
                      </a:lnTo>
                      <a:lnTo>
                        <a:pt x="626" y="179"/>
                      </a:lnTo>
                      <a:lnTo>
                        <a:pt x="626" y="179"/>
                      </a:lnTo>
                      <a:lnTo>
                        <a:pt x="626" y="179"/>
                      </a:lnTo>
                      <a:lnTo>
                        <a:pt x="627" y="179"/>
                      </a:lnTo>
                      <a:lnTo>
                        <a:pt x="626" y="179"/>
                      </a:lnTo>
                      <a:lnTo>
                        <a:pt x="625" y="180"/>
                      </a:lnTo>
                      <a:lnTo>
                        <a:pt x="625" y="180"/>
                      </a:lnTo>
                      <a:lnTo>
                        <a:pt x="624" y="180"/>
                      </a:lnTo>
                      <a:lnTo>
                        <a:pt x="624" y="181"/>
                      </a:lnTo>
                      <a:lnTo>
                        <a:pt x="625" y="181"/>
                      </a:lnTo>
                      <a:lnTo>
                        <a:pt x="624" y="181"/>
                      </a:lnTo>
                      <a:lnTo>
                        <a:pt x="624" y="181"/>
                      </a:lnTo>
                      <a:lnTo>
                        <a:pt x="624" y="181"/>
                      </a:lnTo>
                      <a:lnTo>
                        <a:pt x="624" y="182"/>
                      </a:lnTo>
                      <a:lnTo>
                        <a:pt x="624" y="182"/>
                      </a:lnTo>
                      <a:lnTo>
                        <a:pt x="624" y="182"/>
                      </a:lnTo>
                      <a:lnTo>
                        <a:pt x="624" y="182"/>
                      </a:lnTo>
                      <a:lnTo>
                        <a:pt x="624" y="182"/>
                      </a:lnTo>
                      <a:lnTo>
                        <a:pt x="624" y="182"/>
                      </a:lnTo>
                      <a:lnTo>
                        <a:pt x="624" y="183"/>
                      </a:lnTo>
                      <a:lnTo>
                        <a:pt x="623" y="183"/>
                      </a:lnTo>
                      <a:lnTo>
                        <a:pt x="623" y="184"/>
                      </a:lnTo>
                      <a:lnTo>
                        <a:pt x="623" y="183"/>
                      </a:lnTo>
                      <a:lnTo>
                        <a:pt x="623" y="184"/>
                      </a:lnTo>
                      <a:lnTo>
                        <a:pt x="623" y="184"/>
                      </a:lnTo>
                      <a:lnTo>
                        <a:pt x="622" y="184"/>
                      </a:lnTo>
                      <a:lnTo>
                        <a:pt x="623" y="184"/>
                      </a:lnTo>
                      <a:lnTo>
                        <a:pt x="622" y="184"/>
                      </a:lnTo>
                      <a:lnTo>
                        <a:pt x="622" y="185"/>
                      </a:lnTo>
                      <a:lnTo>
                        <a:pt x="622" y="185"/>
                      </a:lnTo>
                      <a:lnTo>
                        <a:pt x="621" y="185"/>
                      </a:lnTo>
                      <a:lnTo>
                        <a:pt x="621" y="186"/>
                      </a:lnTo>
                      <a:lnTo>
                        <a:pt x="621" y="186"/>
                      </a:lnTo>
                      <a:lnTo>
                        <a:pt x="621" y="185"/>
                      </a:lnTo>
                      <a:lnTo>
                        <a:pt x="621" y="185"/>
                      </a:lnTo>
                      <a:lnTo>
                        <a:pt x="621" y="186"/>
                      </a:lnTo>
                      <a:lnTo>
                        <a:pt x="621" y="186"/>
                      </a:lnTo>
                      <a:lnTo>
                        <a:pt x="620" y="186"/>
                      </a:lnTo>
                      <a:lnTo>
                        <a:pt x="620" y="187"/>
                      </a:lnTo>
                      <a:lnTo>
                        <a:pt x="621" y="187"/>
                      </a:lnTo>
                      <a:lnTo>
                        <a:pt x="621" y="188"/>
                      </a:lnTo>
                      <a:lnTo>
                        <a:pt x="620" y="188"/>
                      </a:lnTo>
                      <a:lnTo>
                        <a:pt x="620" y="188"/>
                      </a:lnTo>
                      <a:lnTo>
                        <a:pt x="620" y="189"/>
                      </a:lnTo>
                      <a:lnTo>
                        <a:pt x="620" y="188"/>
                      </a:lnTo>
                      <a:lnTo>
                        <a:pt x="621" y="189"/>
                      </a:lnTo>
                      <a:lnTo>
                        <a:pt x="620" y="189"/>
                      </a:lnTo>
                      <a:lnTo>
                        <a:pt x="620" y="189"/>
                      </a:lnTo>
                      <a:lnTo>
                        <a:pt x="620" y="189"/>
                      </a:lnTo>
                      <a:lnTo>
                        <a:pt x="620" y="189"/>
                      </a:lnTo>
                      <a:lnTo>
                        <a:pt x="620" y="190"/>
                      </a:lnTo>
                      <a:lnTo>
                        <a:pt x="621" y="190"/>
                      </a:lnTo>
                      <a:lnTo>
                        <a:pt x="621" y="190"/>
                      </a:lnTo>
                      <a:lnTo>
                        <a:pt x="621" y="191"/>
                      </a:lnTo>
                      <a:lnTo>
                        <a:pt x="620" y="191"/>
                      </a:lnTo>
                      <a:lnTo>
                        <a:pt x="620" y="192"/>
                      </a:lnTo>
                      <a:lnTo>
                        <a:pt x="620" y="192"/>
                      </a:lnTo>
                      <a:lnTo>
                        <a:pt x="620" y="192"/>
                      </a:lnTo>
                      <a:lnTo>
                        <a:pt x="620" y="192"/>
                      </a:lnTo>
                      <a:lnTo>
                        <a:pt x="620" y="192"/>
                      </a:lnTo>
                      <a:lnTo>
                        <a:pt x="620" y="192"/>
                      </a:lnTo>
                      <a:lnTo>
                        <a:pt x="620" y="192"/>
                      </a:lnTo>
                      <a:lnTo>
                        <a:pt x="620" y="192"/>
                      </a:lnTo>
                      <a:lnTo>
                        <a:pt x="620" y="192"/>
                      </a:lnTo>
                      <a:lnTo>
                        <a:pt x="620" y="192"/>
                      </a:lnTo>
                      <a:lnTo>
                        <a:pt x="620" y="192"/>
                      </a:lnTo>
                      <a:lnTo>
                        <a:pt x="620" y="193"/>
                      </a:lnTo>
                      <a:lnTo>
                        <a:pt x="620" y="193"/>
                      </a:lnTo>
                      <a:lnTo>
                        <a:pt x="620" y="193"/>
                      </a:lnTo>
                      <a:lnTo>
                        <a:pt x="620" y="193"/>
                      </a:lnTo>
                      <a:lnTo>
                        <a:pt x="620" y="194"/>
                      </a:lnTo>
                      <a:lnTo>
                        <a:pt x="620" y="193"/>
                      </a:lnTo>
                      <a:lnTo>
                        <a:pt x="620" y="194"/>
                      </a:lnTo>
                      <a:lnTo>
                        <a:pt x="620" y="194"/>
                      </a:lnTo>
                      <a:lnTo>
                        <a:pt x="620" y="194"/>
                      </a:lnTo>
                      <a:lnTo>
                        <a:pt x="619" y="194"/>
                      </a:lnTo>
                      <a:lnTo>
                        <a:pt x="620" y="194"/>
                      </a:lnTo>
                      <a:lnTo>
                        <a:pt x="620" y="195"/>
                      </a:lnTo>
                      <a:lnTo>
                        <a:pt x="619" y="195"/>
                      </a:lnTo>
                      <a:lnTo>
                        <a:pt x="619" y="195"/>
                      </a:lnTo>
                      <a:lnTo>
                        <a:pt x="619" y="196"/>
                      </a:lnTo>
                      <a:lnTo>
                        <a:pt x="619" y="195"/>
                      </a:lnTo>
                      <a:lnTo>
                        <a:pt x="618" y="195"/>
                      </a:lnTo>
                      <a:lnTo>
                        <a:pt x="618" y="196"/>
                      </a:lnTo>
                      <a:lnTo>
                        <a:pt x="617" y="196"/>
                      </a:lnTo>
                      <a:lnTo>
                        <a:pt x="617" y="196"/>
                      </a:lnTo>
                      <a:lnTo>
                        <a:pt x="616" y="196"/>
                      </a:lnTo>
                      <a:lnTo>
                        <a:pt x="616" y="196"/>
                      </a:lnTo>
                      <a:lnTo>
                        <a:pt x="616" y="197"/>
                      </a:lnTo>
                      <a:lnTo>
                        <a:pt x="616" y="196"/>
                      </a:lnTo>
                      <a:lnTo>
                        <a:pt x="615" y="196"/>
                      </a:lnTo>
                      <a:lnTo>
                        <a:pt x="615" y="196"/>
                      </a:lnTo>
                      <a:lnTo>
                        <a:pt x="615" y="196"/>
                      </a:lnTo>
                      <a:lnTo>
                        <a:pt x="615" y="196"/>
                      </a:lnTo>
                      <a:lnTo>
                        <a:pt x="615" y="196"/>
                      </a:lnTo>
                      <a:lnTo>
                        <a:pt x="615" y="196"/>
                      </a:lnTo>
                      <a:lnTo>
                        <a:pt x="615" y="196"/>
                      </a:lnTo>
                      <a:lnTo>
                        <a:pt x="615" y="196"/>
                      </a:lnTo>
                      <a:lnTo>
                        <a:pt x="614" y="196"/>
                      </a:lnTo>
                      <a:lnTo>
                        <a:pt x="614" y="196"/>
                      </a:lnTo>
                      <a:lnTo>
                        <a:pt x="614" y="196"/>
                      </a:lnTo>
                      <a:lnTo>
                        <a:pt x="614" y="196"/>
                      </a:lnTo>
                      <a:lnTo>
                        <a:pt x="613" y="196"/>
                      </a:lnTo>
                      <a:lnTo>
                        <a:pt x="613" y="195"/>
                      </a:lnTo>
                      <a:lnTo>
                        <a:pt x="613" y="195"/>
                      </a:lnTo>
                      <a:lnTo>
                        <a:pt x="613" y="195"/>
                      </a:lnTo>
                      <a:lnTo>
                        <a:pt x="613" y="194"/>
                      </a:lnTo>
                      <a:lnTo>
                        <a:pt x="613" y="194"/>
                      </a:lnTo>
                      <a:lnTo>
                        <a:pt x="612" y="194"/>
                      </a:lnTo>
                      <a:lnTo>
                        <a:pt x="612" y="194"/>
                      </a:lnTo>
                      <a:lnTo>
                        <a:pt x="612" y="194"/>
                      </a:lnTo>
                      <a:lnTo>
                        <a:pt x="612" y="194"/>
                      </a:lnTo>
                      <a:lnTo>
                        <a:pt x="612" y="195"/>
                      </a:lnTo>
                      <a:lnTo>
                        <a:pt x="612" y="194"/>
                      </a:lnTo>
                      <a:lnTo>
                        <a:pt x="612" y="195"/>
                      </a:lnTo>
                      <a:lnTo>
                        <a:pt x="611" y="195"/>
                      </a:lnTo>
                      <a:lnTo>
                        <a:pt x="610" y="195"/>
                      </a:lnTo>
                      <a:lnTo>
                        <a:pt x="610" y="195"/>
                      </a:lnTo>
                      <a:lnTo>
                        <a:pt x="609" y="195"/>
                      </a:lnTo>
                      <a:lnTo>
                        <a:pt x="609" y="195"/>
                      </a:lnTo>
                      <a:lnTo>
                        <a:pt x="609" y="196"/>
                      </a:lnTo>
                      <a:lnTo>
                        <a:pt x="609" y="195"/>
                      </a:lnTo>
                      <a:lnTo>
                        <a:pt x="609" y="196"/>
                      </a:lnTo>
                      <a:lnTo>
                        <a:pt x="609" y="195"/>
                      </a:lnTo>
                      <a:lnTo>
                        <a:pt x="609" y="196"/>
                      </a:lnTo>
                      <a:lnTo>
                        <a:pt x="608" y="195"/>
                      </a:lnTo>
                      <a:lnTo>
                        <a:pt x="609" y="196"/>
                      </a:lnTo>
                      <a:lnTo>
                        <a:pt x="608" y="196"/>
                      </a:lnTo>
                      <a:lnTo>
                        <a:pt x="608" y="195"/>
                      </a:lnTo>
                      <a:lnTo>
                        <a:pt x="608" y="196"/>
                      </a:lnTo>
                      <a:lnTo>
                        <a:pt x="608" y="196"/>
                      </a:lnTo>
                      <a:lnTo>
                        <a:pt x="608" y="196"/>
                      </a:lnTo>
                      <a:lnTo>
                        <a:pt x="607" y="196"/>
                      </a:lnTo>
                      <a:lnTo>
                        <a:pt x="607" y="197"/>
                      </a:lnTo>
                      <a:lnTo>
                        <a:pt x="607" y="196"/>
                      </a:lnTo>
                      <a:lnTo>
                        <a:pt x="608" y="196"/>
                      </a:lnTo>
                      <a:lnTo>
                        <a:pt x="608" y="197"/>
                      </a:lnTo>
                      <a:lnTo>
                        <a:pt x="608" y="196"/>
                      </a:lnTo>
                      <a:lnTo>
                        <a:pt x="608" y="197"/>
                      </a:lnTo>
                      <a:lnTo>
                        <a:pt x="607" y="197"/>
                      </a:lnTo>
                      <a:lnTo>
                        <a:pt x="606" y="197"/>
                      </a:lnTo>
                      <a:lnTo>
                        <a:pt x="606" y="197"/>
                      </a:lnTo>
                      <a:lnTo>
                        <a:pt x="606" y="197"/>
                      </a:lnTo>
                      <a:lnTo>
                        <a:pt x="606" y="198"/>
                      </a:lnTo>
                      <a:lnTo>
                        <a:pt x="606" y="197"/>
                      </a:lnTo>
                      <a:lnTo>
                        <a:pt x="606" y="197"/>
                      </a:lnTo>
                      <a:lnTo>
                        <a:pt x="606" y="197"/>
                      </a:lnTo>
                      <a:lnTo>
                        <a:pt x="607" y="197"/>
                      </a:lnTo>
                      <a:lnTo>
                        <a:pt x="606" y="197"/>
                      </a:lnTo>
                      <a:lnTo>
                        <a:pt x="607" y="197"/>
                      </a:lnTo>
                      <a:lnTo>
                        <a:pt x="606" y="197"/>
                      </a:lnTo>
                      <a:lnTo>
                        <a:pt x="607" y="197"/>
                      </a:lnTo>
                      <a:lnTo>
                        <a:pt x="608" y="197"/>
                      </a:lnTo>
                      <a:lnTo>
                        <a:pt x="607" y="197"/>
                      </a:lnTo>
                      <a:lnTo>
                        <a:pt x="608" y="197"/>
                      </a:lnTo>
                      <a:lnTo>
                        <a:pt x="608" y="196"/>
                      </a:lnTo>
                      <a:lnTo>
                        <a:pt x="608" y="196"/>
                      </a:lnTo>
                      <a:lnTo>
                        <a:pt x="608" y="196"/>
                      </a:lnTo>
                      <a:lnTo>
                        <a:pt x="608" y="196"/>
                      </a:lnTo>
                      <a:lnTo>
                        <a:pt x="608" y="196"/>
                      </a:lnTo>
                      <a:lnTo>
                        <a:pt x="608" y="196"/>
                      </a:lnTo>
                      <a:lnTo>
                        <a:pt x="608" y="196"/>
                      </a:lnTo>
                      <a:lnTo>
                        <a:pt x="609" y="196"/>
                      </a:lnTo>
                      <a:lnTo>
                        <a:pt x="608" y="196"/>
                      </a:lnTo>
                      <a:lnTo>
                        <a:pt x="609" y="196"/>
                      </a:lnTo>
                      <a:lnTo>
                        <a:pt x="609" y="195"/>
                      </a:lnTo>
                      <a:lnTo>
                        <a:pt x="609" y="196"/>
                      </a:lnTo>
                      <a:lnTo>
                        <a:pt x="609" y="195"/>
                      </a:lnTo>
                      <a:lnTo>
                        <a:pt x="609" y="195"/>
                      </a:lnTo>
                      <a:lnTo>
                        <a:pt x="609" y="195"/>
                      </a:lnTo>
                      <a:lnTo>
                        <a:pt x="609" y="195"/>
                      </a:lnTo>
                      <a:lnTo>
                        <a:pt x="609" y="196"/>
                      </a:lnTo>
                      <a:lnTo>
                        <a:pt x="609" y="195"/>
                      </a:lnTo>
                      <a:lnTo>
                        <a:pt x="610" y="195"/>
                      </a:lnTo>
                      <a:lnTo>
                        <a:pt x="610" y="195"/>
                      </a:lnTo>
                      <a:lnTo>
                        <a:pt x="611" y="195"/>
                      </a:lnTo>
                      <a:lnTo>
                        <a:pt x="612" y="195"/>
                      </a:lnTo>
                      <a:lnTo>
                        <a:pt x="611" y="195"/>
                      </a:lnTo>
                      <a:lnTo>
                        <a:pt x="612" y="195"/>
                      </a:lnTo>
                      <a:lnTo>
                        <a:pt x="612" y="194"/>
                      </a:lnTo>
                      <a:lnTo>
                        <a:pt x="612" y="195"/>
                      </a:lnTo>
                      <a:lnTo>
                        <a:pt x="612" y="194"/>
                      </a:lnTo>
                      <a:lnTo>
                        <a:pt x="613" y="194"/>
                      </a:lnTo>
                      <a:lnTo>
                        <a:pt x="613" y="194"/>
                      </a:lnTo>
                      <a:lnTo>
                        <a:pt x="613" y="195"/>
                      </a:lnTo>
                      <a:lnTo>
                        <a:pt x="613" y="195"/>
                      </a:lnTo>
                      <a:lnTo>
                        <a:pt x="613" y="195"/>
                      </a:lnTo>
                      <a:lnTo>
                        <a:pt x="613" y="196"/>
                      </a:lnTo>
                      <a:lnTo>
                        <a:pt x="614" y="196"/>
                      </a:lnTo>
                      <a:lnTo>
                        <a:pt x="614" y="196"/>
                      </a:lnTo>
                      <a:lnTo>
                        <a:pt x="615" y="196"/>
                      </a:lnTo>
                      <a:lnTo>
                        <a:pt x="615" y="197"/>
                      </a:lnTo>
                      <a:lnTo>
                        <a:pt x="615" y="196"/>
                      </a:lnTo>
                      <a:lnTo>
                        <a:pt x="615" y="196"/>
                      </a:lnTo>
                      <a:lnTo>
                        <a:pt x="616" y="196"/>
                      </a:lnTo>
                      <a:lnTo>
                        <a:pt x="616" y="197"/>
                      </a:lnTo>
                      <a:lnTo>
                        <a:pt x="616" y="196"/>
                      </a:lnTo>
                      <a:lnTo>
                        <a:pt x="616" y="196"/>
                      </a:lnTo>
                      <a:lnTo>
                        <a:pt x="617" y="196"/>
                      </a:lnTo>
                      <a:lnTo>
                        <a:pt x="616" y="196"/>
                      </a:lnTo>
                      <a:lnTo>
                        <a:pt x="617" y="196"/>
                      </a:lnTo>
                      <a:lnTo>
                        <a:pt x="617" y="196"/>
                      </a:lnTo>
                      <a:lnTo>
                        <a:pt x="617" y="196"/>
                      </a:lnTo>
                      <a:lnTo>
                        <a:pt x="617" y="196"/>
                      </a:lnTo>
                      <a:lnTo>
                        <a:pt x="617" y="196"/>
                      </a:lnTo>
                      <a:lnTo>
                        <a:pt x="618" y="196"/>
                      </a:lnTo>
                      <a:lnTo>
                        <a:pt x="618" y="195"/>
                      </a:lnTo>
                      <a:lnTo>
                        <a:pt x="619" y="195"/>
                      </a:lnTo>
                      <a:lnTo>
                        <a:pt x="619" y="196"/>
                      </a:lnTo>
                      <a:lnTo>
                        <a:pt x="619" y="195"/>
                      </a:lnTo>
                      <a:lnTo>
                        <a:pt x="619" y="195"/>
                      </a:lnTo>
                      <a:lnTo>
                        <a:pt x="620" y="195"/>
                      </a:lnTo>
                      <a:lnTo>
                        <a:pt x="620" y="194"/>
                      </a:lnTo>
                      <a:lnTo>
                        <a:pt x="619" y="194"/>
                      </a:lnTo>
                      <a:lnTo>
                        <a:pt x="620" y="194"/>
                      </a:lnTo>
                      <a:lnTo>
                        <a:pt x="620" y="194"/>
                      </a:lnTo>
                      <a:lnTo>
                        <a:pt x="620" y="194"/>
                      </a:lnTo>
                      <a:lnTo>
                        <a:pt x="620" y="194"/>
                      </a:lnTo>
                      <a:lnTo>
                        <a:pt x="620" y="194"/>
                      </a:lnTo>
                      <a:lnTo>
                        <a:pt x="621" y="194"/>
                      </a:lnTo>
                      <a:lnTo>
                        <a:pt x="621" y="194"/>
                      </a:lnTo>
                      <a:lnTo>
                        <a:pt x="621" y="194"/>
                      </a:lnTo>
                      <a:lnTo>
                        <a:pt x="621" y="194"/>
                      </a:lnTo>
                      <a:lnTo>
                        <a:pt x="621" y="195"/>
                      </a:lnTo>
                      <a:lnTo>
                        <a:pt x="621" y="195"/>
                      </a:lnTo>
                      <a:lnTo>
                        <a:pt x="621" y="195"/>
                      </a:lnTo>
                      <a:lnTo>
                        <a:pt x="621" y="194"/>
                      </a:lnTo>
                      <a:lnTo>
                        <a:pt x="621" y="194"/>
                      </a:lnTo>
                      <a:lnTo>
                        <a:pt x="621" y="195"/>
                      </a:lnTo>
                      <a:lnTo>
                        <a:pt x="622" y="195"/>
                      </a:lnTo>
                      <a:lnTo>
                        <a:pt x="621" y="195"/>
                      </a:lnTo>
                      <a:lnTo>
                        <a:pt x="622" y="195"/>
                      </a:lnTo>
                      <a:lnTo>
                        <a:pt x="621" y="195"/>
                      </a:lnTo>
                      <a:lnTo>
                        <a:pt x="621" y="196"/>
                      </a:lnTo>
                      <a:lnTo>
                        <a:pt x="622" y="196"/>
                      </a:lnTo>
                      <a:lnTo>
                        <a:pt x="622" y="196"/>
                      </a:lnTo>
                      <a:lnTo>
                        <a:pt x="622" y="197"/>
                      </a:lnTo>
                      <a:lnTo>
                        <a:pt x="623" y="197"/>
                      </a:lnTo>
                      <a:lnTo>
                        <a:pt x="622" y="197"/>
                      </a:lnTo>
                      <a:lnTo>
                        <a:pt x="623" y="197"/>
                      </a:lnTo>
                      <a:lnTo>
                        <a:pt x="622" y="197"/>
                      </a:lnTo>
                      <a:lnTo>
                        <a:pt x="623" y="197"/>
                      </a:lnTo>
                      <a:lnTo>
                        <a:pt x="622" y="197"/>
                      </a:lnTo>
                      <a:lnTo>
                        <a:pt x="623" y="197"/>
                      </a:lnTo>
                      <a:lnTo>
                        <a:pt x="623" y="197"/>
                      </a:lnTo>
                      <a:lnTo>
                        <a:pt x="622" y="197"/>
                      </a:lnTo>
                      <a:lnTo>
                        <a:pt x="623" y="197"/>
                      </a:lnTo>
                      <a:lnTo>
                        <a:pt x="622" y="197"/>
                      </a:lnTo>
                      <a:lnTo>
                        <a:pt x="622" y="198"/>
                      </a:lnTo>
                      <a:lnTo>
                        <a:pt x="622" y="197"/>
                      </a:lnTo>
                      <a:lnTo>
                        <a:pt x="622" y="198"/>
                      </a:lnTo>
                      <a:lnTo>
                        <a:pt x="623" y="198"/>
                      </a:lnTo>
                      <a:lnTo>
                        <a:pt x="623" y="199"/>
                      </a:lnTo>
                      <a:lnTo>
                        <a:pt x="623" y="198"/>
                      </a:lnTo>
                      <a:lnTo>
                        <a:pt x="623" y="199"/>
                      </a:lnTo>
                      <a:lnTo>
                        <a:pt x="624" y="199"/>
                      </a:lnTo>
                      <a:lnTo>
                        <a:pt x="623" y="199"/>
                      </a:lnTo>
                      <a:lnTo>
                        <a:pt x="624" y="199"/>
                      </a:lnTo>
                      <a:lnTo>
                        <a:pt x="623" y="199"/>
                      </a:lnTo>
                      <a:lnTo>
                        <a:pt x="624" y="199"/>
                      </a:lnTo>
                      <a:lnTo>
                        <a:pt x="624" y="199"/>
                      </a:lnTo>
                      <a:lnTo>
                        <a:pt x="624" y="199"/>
                      </a:lnTo>
                      <a:lnTo>
                        <a:pt x="624" y="199"/>
                      </a:lnTo>
                      <a:lnTo>
                        <a:pt x="624" y="199"/>
                      </a:lnTo>
                      <a:lnTo>
                        <a:pt x="624" y="199"/>
                      </a:lnTo>
                      <a:lnTo>
                        <a:pt x="624" y="200"/>
                      </a:lnTo>
                      <a:lnTo>
                        <a:pt x="624" y="199"/>
                      </a:lnTo>
                      <a:lnTo>
                        <a:pt x="623" y="199"/>
                      </a:lnTo>
                      <a:lnTo>
                        <a:pt x="624" y="199"/>
                      </a:lnTo>
                      <a:lnTo>
                        <a:pt x="623" y="199"/>
                      </a:lnTo>
                      <a:lnTo>
                        <a:pt x="624" y="199"/>
                      </a:lnTo>
                      <a:lnTo>
                        <a:pt x="624" y="200"/>
                      </a:lnTo>
                      <a:lnTo>
                        <a:pt x="623" y="200"/>
                      </a:lnTo>
                      <a:lnTo>
                        <a:pt x="623" y="200"/>
                      </a:lnTo>
                      <a:lnTo>
                        <a:pt x="623" y="201"/>
                      </a:lnTo>
                      <a:lnTo>
                        <a:pt x="624" y="201"/>
                      </a:lnTo>
                      <a:lnTo>
                        <a:pt x="623" y="201"/>
                      </a:lnTo>
                      <a:lnTo>
                        <a:pt x="623" y="201"/>
                      </a:lnTo>
                      <a:lnTo>
                        <a:pt x="623" y="201"/>
                      </a:lnTo>
                      <a:lnTo>
                        <a:pt x="623" y="202"/>
                      </a:lnTo>
                      <a:lnTo>
                        <a:pt x="623" y="203"/>
                      </a:lnTo>
                      <a:lnTo>
                        <a:pt x="622" y="203"/>
                      </a:lnTo>
                      <a:lnTo>
                        <a:pt x="623" y="203"/>
                      </a:lnTo>
                      <a:lnTo>
                        <a:pt x="622" y="203"/>
                      </a:lnTo>
                      <a:lnTo>
                        <a:pt x="623" y="203"/>
                      </a:lnTo>
                      <a:lnTo>
                        <a:pt x="622" y="203"/>
                      </a:lnTo>
                      <a:lnTo>
                        <a:pt x="622" y="204"/>
                      </a:lnTo>
                      <a:lnTo>
                        <a:pt x="623" y="204"/>
                      </a:lnTo>
                      <a:lnTo>
                        <a:pt x="623" y="204"/>
                      </a:lnTo>
                      <a:lnTo>
                        <a:pt x="622" y="204"/>
                      </a:lnTo>
                      <a:lnTo>
                        <a:pt x="622" y="205"/>
                      </a:lnTo>
                      <a:lnTo>
                        <a:pt x="623" y="205"/>
                      </a:lnTo>
                      <a:lnTo>
                        <a:pt x="623" y="205"/>
                      </a:lnTo>
                      <a:lnTo>
                        <a:pt x="623" y="205"/>
                      </a:lnTo>
                      <a:lnTo>
                        <a:pt x="623" y="206"/>
                      </a:lnTo>
                      <a:lnTo>
                        <a:pt x="623" y="206"/>
                      </a:lnTo>
                      <a:lnTo>
                        <a:pt x="623" y="207"/>
                      </a:lnTo>
                      <a:lnTo>
                        <a:pt x="623" y="207"/>
                      </a:lnTo>
                      <a:lnTo>
                        <a:pt x="622" y="207"/>
                      </a:lnTo>
                      <a:lnTo>
                        <a:pt x="623" y="207"/>
                      </a:lnTo>
                      <a:lnTo>
                        <a:pt x="622" y="207"/>
                      </a:lnTo>
                      <a:lnTo>
                        <a:pt x="623" y="207"/>
                      </a:lnTo>
                      <a:lnTo>
                        <a:pt x="623" y="208"/>
                      </a:lnTo>
                      <a:lnTo>
                        <a:pt x="622" y="208"/>
                      </a:lnTo>
                      <a:lnTo>
                        <a:pt x="622" y="208"/>
                      </a:lnTo>
                      <a:lnTo>
                        <a:pt x="622" y="208"/>
                      </a:lnTo>
                      <a:lnTo>
                        <a:pt x="621" y="208"/>
                      </a:lnTo>
                      <a:lnTo>
                        <a:pt x="622" y="208"/>
                      </a:lnTo>
                      <a:lnTo>
                        <a:pt x="622" y="208"/>
                      </a:lnTo>
                      <a:lnTo>
                        <a:pt x="621" y="208"/>
                      </a:lnTo>
                      <a:lnTo>
                        <a:pt x="622" y="208"/>
                      </a:lnTo>
                      <a:lnTo>
                        <a:pt x="621" y="208"/>
                      </a:lnTo>
                      <a:lnTo>
                        <a:pt x="622" y="208"/>
                      </a:lnTo>
                      <a:lnTo>
                        <a:pt x="622" y="208"/>
                      </a:lnTo>
                      <a:lnTo>
                        <a:pt x="622" y="208"/>
                      </a:lnTo>
                      <a:lnTo>
                        <a:pt x="622" y="208"/>
                      </a:lnTo>
                      <a:lnTo>
                        <a:pt x="623" y="208"/>
                      </a:lnTo>
                      <a:lnTo>
                        <a:pt x="623" y="207"/>
                      </a:lnTo>
                      <a:lnTo>
                        <a:pt x="622" y="207"/>
                      </a:lnTo>
                      <a:lnTo>
                        <a:pt x="623" y="207"/>
                      </a:lnTo>
                      <a:lnTo>
                        <a:pt x="622" y="207"/>
                      </a:lnTo>
                      <a:lnTo>
                        <a:pt x="623" y="207"/>
                      </a:lnTo>
                      <a:lnTo>
                        <a:pt x="623" y="207"/>
                      </a:lnTo>
                      <a:lnTo>
                        <a:pt x="623" y="206"/>
                      </a:lnTo>
                      <a:lnTo>
                        <a:pt x="623" y="206"/>
                      </a:lnTo>
                      <a:lnTo>
                        <a:pt x="623" y="205"/>
                      </a:lnTo>
                      <a:lnTo>
                        <a:pt x="623" y="205"/>
                      </a:lnTo>
                      <a:lnTo>
                        <a:pt x="623" y="205"/>
                      </a:lnTo>
                      <a:lnTo>
                        <a:pt x="622" y="205"/>
                      </a:lnTo>
                      <a:lnTo>
                        <a:pt x="622" y="204"/>
                      </a:lnTo>
                      <a:lnTo>
                        <a:pt x="623" y="204"/>
                      </a:lnTo>
                      <a:lnTo>
                        <a:pt x="623" y="204"/>
                      </a:lnTo>
                      <a:lnTo>
                        <a:pt x="622" y="204"/>
                      </a:lnTo>
                      <a:lnTo>
                        <a:pt x="622" y="203"/>
                      </a:lnTo>
                      <a:lnTo>
                        <a:pt x="623" y="203"/>
                      </a:lnTo>
                      <a:lnTo>
                        <a:pt x="622" y="203"/>
                      </a:lnTo>
                      <a:lnTo>
                        <a:pt x="623" y="203"/>
                      </a:lnTo>
                      <a:lnTo>
                        <a:pt x="622" y="203"/>
                      </a:lnTo>
                      <a:lnTo>
                        <a:pt x="623" y="203"/>
                      </a:lnTo>
                      <a:lnTo>
                        <a:pt x="623" y="202"/>
                      </a:lnTo>
                      <a:lnTo>
                        <a:pt x="623" y="201"/>
                      </a:lnTo>
                      <a:lnTo>
                        <a:pt x="623" y="201"/>
                      </a:lnTo>
                      <a:lnTo>
                        <a:pt x="623" y="202"/>
                      </a:lnTo>
                      <a:lnTo>
                        <a:pt x="624" y="202"/>
                      </a:lnTo>
                      <a:lnTo>
                        <a:pt x="623" y="202"/>
                      </a:lnTo>
                      <a:lnTo>
                        <a:pt x="623" y="201"/>
                      </a:lnTo>
                      <a:lnTo>
                        <a:pt x="624" y="201"/>
                      </a:lnTo>
                      <a:lnTo>
                        <a:pt x="624" y="202"/>
                      </a:lnTo>
                      <a:lnTo>
                        <a:pt x="624" y="202"/>
                      </a:lnTo>
                      <a:lnTo>
                        <a:pt x="624" y="203"/>
                      </a:lnTo>
                      <a:lnTo>
                        <a:pt x="624" y="203"/>
                      </a:lnTo>
                      <a:lnTo>
                        <a:pt x="624" y="203"/>
                      </a:lnTo>
                      <a:lnTo>
                        <a:pt x="624" y="202"/>
                      </a:lnTo>
                      <a:lnTo>
                        <a:pt x="624" y="202"/>
                      </a:lnTo>
                      <a:lnTo>
                        <a:pt x="624" y="201"/>
                      </a:lnTo>
                      <a:lnTo>
                        <a:pt x="623" y="201"/>
                      </a:lnTo>
                      <a:lnTo>
                        <a:pt x="624" y="201"/>
                      </a:lnTo>
                      <a:lnTo>
                        <a:pt x="623" y="201"/>
                      </a:lnTo>
                      <a:lnTo>
                        <a:pt x="624" y="201"/>
                      </a:lnTo>
                      <a:lnTo>
                        <a:pt x="623" y="201"/>
                      </a:lnTo>
                      <a:lnTo>
                        <a:pt x="623" y="201"/>
                      </a:lnTo>
                      <a:lnTo>
                        <a:pt x="623" y="201"/>
                      </a:lnTo>
                      <a:lnTo>
                        <a:pt x="623" y="201"/>
                      </a:lnTo>
                      <a:lnTo>
                        <a:pt x="624" y="201"/>
                      </a:lnTo>
                      <a:lnTo>
                        <a:pt x="623" y="201"/>
                      </a:lnTo>
                      <a:lnTo>
                        <a:pt x="624" y="201"/>
                      </a:lnTo>
                      <a:lnTo>
                        <a:pt x="623" y="201"/>
                      </a:lnTo>
                      <a:lnTo>
                        <a:pt x="623" y="200"/>
                      </a:lnTo>
                      <a:lnTo>
                        <a:pt x="624" y="200"/>
                      </a:lnTo>
                      <a:lnTo>
                        <a:pt x="624" y="199"/>
                      </a:lnTo>
                      <a:lnTo>
                        <a:pt x="624" y="199"/>
                      </a:lnTo>
                      <a:lnTo>
                        <a:pt x="624" y="199"/>
                      </a:lnTo>
                      <a:lnTo>
                        <a:pt x="624" y="199"/>
                      </a:lnTo>
                      <a:lnTo>
                        <a:pt x="623" y="198"/>
                      </a:lnTo>
                      <a:lnTo>
                        <a:pt x="624" y="198"/>
                      </a:lnTo>
                      <a:lnTo>
                        <a:pt x="623" y="198"/>
                      </a:lnTo>
                      <a:lnTo>
                        <a:pt x="623" y="198"/>
                      </a:lnTo>
                      <a:lnTo>
                        <a:pt x="623" y="198"/>
                      </a:lnTo>
                      <a:lnTo>
                        <a:pt x="623" y="198"/>
                      </a:lnTo>
                      <a:lnTo>
                        <a:pt x="623" y="197"/>
                      </a:lnTo>
                      <a:lnTo>
                        <a:pt x="623" y="197"/>
                      </a:lnTo>
                      <a:lnTo>
                        <a:pt x="623" y="197"/>
                      </a:lnTo>
                      <a:lnTo>
                        <a:pt x="623" y="197"/>
                      </a:lnTo>
                      <a:lnTo>
                        <a:pt x="623" y="197"/>
                      </a:lnTo>
                      <a:lnTo>
                        <a:pt x="623" y="197"/>
                      </a:lnTo>
                      <a:lnTo>
                        <a:pt x="623" y="196"/>
                      </a:lnTo>
                      <a:lnTo>
                        <a:pt x="622" y="196"/>
                      </a:lnTo>
                      <a:lnTo>
                        <a:pt x="623" y="196"/>
                      </a:lnTo>
                      <a:lnTo>
                        <a:pt x="623" y="196"/>
                      </a:lnTo>
                      <a:lnTo>
                        <a:pt x="622" y="196"/>
                      </a:lnTo>
                      <a:lnTo>
                        <a:pt x="622" y="195"/>
                      </a:lnTo>
                      <a:lnTo>
                        <a:pt x="622" y="194"/>
                      </a:lnTo>
                      <a:lnTo>
                        <a:pt x="621" y="194"/>
                      </a:lnTo>
                      <a:lnTo>
                        <a:pt x="621" y="194"/>
                      </a:lnTo>
                      <a:lnTo>
                        <a:pt x="622" y="194"/>
                      </a:lnTo>
                      <a:lnTo>
                        <a:pt x="621" y="194"/>
                      </a:lnTo>
                      <a:lnTo>
                        <a:pt x="621" y="194"/>
                      </a:lnTo>
                      <a:lnTo>
                        <a:pt x="621" y="194"/>
                      </a:lnTo>
                      <a:lnTo>
                        <a:pt x="621" y="194"/>
                      </a:lnTo>
                      <a:lnTo>
                        <a:pt x="621" y="193"/>
                      </a:lnTo>
                      <a:lnTo>
                        <a:pt x="620" y="193"/>
                      </a:lnTo>
                      <a:lnTo>
                        <a:pt x="620" y="193"/>
                      </a:lnTo>
                      <a:lnTo>
                        <a:pt x="620" y="193"/>
                      </a:lnTo>
                      <a:lnTo>
                        <a:pt x="620" y="193"/>
                      </a:lnTo>
                      <a:lnTo>
                        <a:pt x="620" y="193"/>
                      </a:lnTo>
                      <a:lnTo>
                        <a:pt x="620" y="193"/>
                      </a:lnTo>
                      <a:lnTo>
                        <a:pt x="620" y="193"/>
                      </a:lnTo>
                      <a:lnTo>
                        <a:pt x="620" y="193"/>
                      </a:lnTo>
                      <a:lnTo>
                        <a:pt x="620" y="192"/>
                      </a:lnTo>
                      <a:lnTo>
                        <a:pt x="621" y="192"/>
                      </a:lnTo>
                      <a:lnTo>
                        <a:pt x="620" y="193"/>
                      </a:lnTo>
                      <a:lnTo>
                        <a:pt x="621" y="193"/>
                      </a:lnTo>
                      <a:lnTo>
                        <a:pt x="620" y="193"/>
                      </a:lnTo>
                      <a:lnTo>
                        <a:pt x="621" y="193"/>
                      </a:lnTo>
                      <a:lnTo>
                        <a:pt x="620" y="193"/>
                      </a:lnTo>
                      <a:lnTo>
                        <a:pt x="621" y="192"/>
                      </a:lnTo>
                      <a:lnTo>
                        <a:pt x="620" y="192"/>
                      </a:lnTo>
                      <a:lnTo>
                        <a:pt x="620" y="192"/>
                      </a:lnTo>
                      <a:lnTo>
                        <a:pt x="621" y="192"/>
                      </a:lnTo>
                      <a:lnTo>
                        <a:pt x="620" y="192"/>
                      </a:lnTo>
                      <a:lnTo>
                        <a:pt x="621" y="192"/>
                      </a:lnTo>
                      <a:lnTo>
                        <a:pt x="621" y="191"/>
                      </a:lnTo>
                      <a:lnTo>
                        <a:pt x="621" y="190"/>
                      </a:lnTo>
                      <a:lnTo>
                        <a:pt x="621" y="190"/>
                      </a:lnTo>
                      <a:lnTo>
                        <a:pt x="620" y="190"/>
                      </a:lnTo>
                      <a:lnTo>
                        <a:pt x="621" y="190"/>
                      </a:lnTo>
                      <a:lnTo>
                        <a:pt x="620" y="190"/>
                      </a:lnTo>
                      <a:lnTo>
                        <a:pt x="621" y="189"/>
                      </a:lnTo>
                      <a:lnTo>
                        <a:pt x="621" y="189"/>
                      </a:lnTo>
                      <a:lnTo>
                        <a:pt x="621" y="189"/>
                      </a:lnTo>
                      <a:lnTo>
                        <a:pt x="621" y="188"/>
                      </a:lnTo>
                      <a:lnTo>
                        <a:pt x="621" y="188"/>
                      </a:lnTo>
                      <a:lnTo>
                        <a:pt x="621" y="188"/>
                      </a:lnTo>
                      <a:lnTo>
                        <a:pt x="621" y="187"/>
                      </a:lnTo>
                      <a:lnTo>
                        <a:pt x="621" y="186"/>
                      </a:lnTo>
                      <a:lnTo>
                        <a:pt x="621" y="186"/>
                      </a:lnTo>
                      <a:lnTo>
                        <a:pt x="621" y="186"/>
                      </a:lnTo>
                      <a:lnTo>
                        <a:pt x="621" y="185"/>
                      </a:lnTo>
                      <a:lnTo>
                        <a:pt x="622" y="185"/>
                      </a:lnTo>
                      <a:lnTo>
                        <a:pt x="622" y="185"/>
                      </a:lnTo>
                      <a:lnTo>
                        <a:pt x="622" y="184"/>
                      </a:lnTo>
                      <a:lnTo>
                        <a:pt x="622" y="185"/>
                      </a:lnTo>
                      <a:lnTo>
                        <a:pt x="623" y="185"/>
                      </a:lnTo>
                      <a:lnTo>
                        <a:pt x="622" y="185"/>
                      </a:lnTo>
                      <a:lnTo>
                        <a:pt x="623" y="184"/>
                      </a:lnTo>
                      <a:lnTo>
                        <a:pt x="622" y="184"/>
                      </a:lnTo>
                      <a:lnTo>
                        <a:pt x="623" y="184"/>
                      </a:lnTo>
                      <a:lnTo>
                        <a:pt x="623" y="184"/>
                      </a:lnTo>
                      <a:lnTo>
                        <a:pt x="623" y="184"/>
                      </a:lnTo>
                      <a:lnTo>
                        <a:pt x="623" y="183"/>
                      </a:lnTo>
                      <a:lnTo>
                        <a:pt x="624" y="183"/>
                      </a:lnTo>
                      <a:lnTo>
                        <a:pt x="624" y="182"/>
                      </a:lnTo>
                      <a:lnTo>
                        <a:pt x="624" y="182"/>
                      </a:lnTo>
                      <a:lnTo>
                        <a:pt x="625" y="182"/>
                      </a:lnTo>
                      <a:lnTo>
                        <a:pt x="624" y="182"/>
                      </a:lnTo>
                      <a:lnTo>
                        <a:pt x="625" y="182"/>
                      </a:lnTo>
                      <a:lnTo>
                        <a:pt x="625" y="181"/>
                      </a:lnTo>
                      <a:lnTo>
                        <a:pt x="625" y="181"/>
                      </a:lnTo>
                      <a:lnTo>
                        <a:pt x="625" y="181"/>
                      </a:lnTo>
                      <a:lnTo>
                        <a:pt x="625" y="180"/>
                      </a:lnTo>
                      <a:lnTo>
                        <a:pt x="626" y="180"/>
                      </a:lnTo>
                      <a:lnTo>
                        <a:pt x="626" y="179"/>
                      </a:lnTo>
                      <a:lnTo>
                        <a:pt x="627" y="179"/>
                      </a:lnTo>
                      <a:lnTo>
                        <a:pt x="626" y="179"/>
                      </a:lnTo>
                      <a:lnTo>
                        <a:pt x="627" y="179"/>
                      </a:lnTo>
                      <a:lnTo>
                        <a:pt x="626" y="179"/>
                      </a:lnTo>
                      <a:lnTo>
                        <a:pt x="626" y="178"/>
                      </a:lnTo>
                      <a:lnTo>
                        <a:pt x="627" y="178"/>
                      </a:lnTo>
                      <a:lnTo>
                        <a:pt x="626" y="178"/>
                      </a:lnTo>
                      <a:lnTo>
                        <a:pt x="627" y="178"/>
                      </a:lnTo>
                      <a:lnTo>
                        <a:pt x="627" y="178"/>
                      </a:lnTo>
                      <a:lnTo>
                        <a:pt x="627" y="178"/>
                      </a:lnTo>
                      <a:lnTo>
                        <a:pt x="627" y="178"/>
                      </a:lnTo>
                      <a:lnTo>
                        <a:pt x="627" y="177"/>
                      </a:lnTo>
                      <a:lnTo>
                        <a:pt x="628" y="178"/>
                      </a:lnTo>
                      <a:lnTo>
                        <a:pt x="628" y="178"/>
                      </a:lnTo>
                      <a:lnTo>
                        <a:pt x="629" y="178"/>
                      </a:lnTo>
                      <a:lnTo>
                        <a:pt x="629" y="177"/>
                      </a:lnTo>
                      <a:lnTo>
                        <a:pt x="629" y="177"/>
                      </a:lnTo>
                      <a:lnTo>
                        <a:pt x="630" y="177"/>
                      </a:lnTo>
                      <a:lnTo>
                        <a:pt x="629" y="177"/>
                      </a:lnTo>
                      <a:lnTo>
                        <a:pt x="630" y="177"/>
                      </a:lnTo>
                      <a:lnTo>
                        <a:pt x="630" y="177"/>
                      </a:lnTo>
                      <a:lnTo>
                        <a:pt x="630" y="177"/>
                      </a:lnTo>
                      <a:lnTo>
                        <a:pt x="630" y="176"/>
                      </a:lnTo>
                      <a:lnTo>
                        <a:pt x="630" y="176"/>
                      </a:lnTo>
                      <a:lnTo>
                        <a:pt x="629" y="176"/>
                      </a:lnTo>
                      <a:lnTo>
                        <a:pt x="628" y="176"/>
                      </a:lnTo>
                      <a:lnTo>
                        <a:pt x="628" y="176"/>
                      </a:lnTo>
                      <a:lnTo>
                        <a:pt x="627" y="176"/>
                      </a:lnTo>
                      <a:lnTo>
                        <a:pt x="627" y="175"/>
                      </a:lnTo>
                      <a:lnTo>
                        <a:pt x="628" y="175"/>
                      </a:lnTo>
                      <a:lnTo>
                        <a:pt x="628" y="175"/>
                      </a:lnTo>
                      <a:lnTo>
                        <a:pt x="628" y="174"/>
                      </a:lnTo>
                      <a:lnTo>
                        <a:pt x="627" y="174"/>
                      </a:lnTo>
                      <a:lnTo>
                        <a:pt x="627" y="174"/>
                      </a:lnTo>
                      <a:lnTo>
                        <a:pt x="626" y="174"/>
                      </a:lnTo>
                      <a:lnTo>
                        <a:pt x="625" y="174"/>
                      </a:lnTo>
                      <a:lnTo>
                        <a:pt x="625" y="173"/>
                      </a:lnTo>
                      <a:lnTo>
                        <a:pt x="625" y="173"/>
                      </a:lnTo>
                      <a:lnTo>
                        <a:pt x="625" y="173"/>
                      </a:lnTo>
                      <a:lnTo>
                        <a:pt x="625" y="173"/>
                      </a:lnTo>
                      <a:lnTo>
                        <a:pt x="626" y="173"/>
                      </a:lnTo>
                      <a:lnTo>
                        <a:pt x="626" y="172"/>
                      </a:lnTo>
                      <a:lnTo>
                        <a:pt x="627" y="172"/>
                      </a:lnTo>
                      <a:lnTo>
                        <a:pt x="627" y="171"/>
                      </a:lnTo>
                      <a:lnTo>
                        <a:pt x="627" y="171"/>
                      </a:lnTo>
                      <a:lnTo>
                        <a:pt x="626" y="171"/>
                      </a:lnTo>
                      <a:lnTo>
                        <a:pt x="625" y="171"/>
                      </a:lnTo>
                      <a:lnTo>
                        <a:pt x="625" y="171"/>
                      </a:lnTo>
                      <a:lnTo>
                        <a:pt x="624" y="171"/>
                      </a:lnTo>
                      <a:lnTo>
                        <a:pt x="625" y="171"/>
                      </a:lnTo>
                      <a:lnTo>
                        <a:pt x="624" y="171"/>
                      </a:lnTo>
                      <a:lnTo>
                        <a:pt x="624" y="171"/>
                      </a:lnTo>
                      <a:lnTo>
                        <a:pt x="624" y="170"/>
                      </a:lnTo>
                      <a:lnTo>
                        <a:pt x="623" y="170"/>
                      </a:lnTo>
                      <a:lnTo>
                        <a:pt x="624" y="170"/>
                      </a:lnTo>
                      <a:lnTo>
                        <a:pt x="624" y="169"/>
                      </a:lnTo>
                      <a:lnTo>
                        <a:pt x="624" y="168"/>
                      </a:lnTo>
                      <a:lnTo>
                        <a:pt x="624" y="168"/>
                      </a:lnTo>
                      <a:lnTo>
                        <a:pt x="623" y="168"/>
                      </a:lnTo>
                      <a:lnTo>
                        <a:pt x="623" y="168"/>
                      </a:lnTo>
                      <a:lnTo>
                        <a:pt x="624" y="168"/>
                      </a:lnTo>
                      <a:lnTo>
                        <a:pt x="624" y="168"/>
                      </a:lnTo>
                      <a:lnTo>
                        <a:pt x="625" y="168"/>
                      </a:lnTo>
                      <a:lnTo>
                        <a:pt x="625" y="168"/>
                      </a:lnTo>
                      <a:lnTo>
                        <a:pt x="625" y="167"/>
                      </a:lnTo>
                      <a:lnTo>
                        <a:pt x="626" y="167"/>
                      </a:lnTo>
                      <a:lnTo>
                        <a:pt x="627" y="167"/>
                      </a:lnTo>
                      <a:lnTo>
                        <a:pt x="627" y="167"/>
                      </a:lnTo>
                      <a:lnTo>
                        <a:pt x="627" y="166"/>
                      </a:lnTo>
                      <a:lnTo>
                        <a:pt x="627" y="167"/>
                      </a:lnTo>
                      <a:lnTo>
                        <a:pt x="627" y="166"/>
                      </a:lnTo>
                      <a:lnTo>
                        <a:pt x="628" y="166"/>
                      </a:lnTo>
                      <a:lnTo>
                        <a:pt x="628" y="166"/>
                      </a:lnTo>
                      <a:lnTo>
                        <a:pt x="628" y="166"/>
                      </a:lnTo>
                      <a:lnTo>
                        <a:pt x="628" y="166"/>
                      </a:lnTo>
                      <a:lnTo>
                        <a:pt x="628" y="166"/>
                      </a:lnTo>
                      <a:lnTo>
                        <a:pt x="628" y="166"/>
                      </a:lnTo>
                      <a:lnTo>
                        <a:pt x="629" y="167"/>
                      </a:lnTo>
                      <a:lnTo>
                        <a:pt x="629" y="166"/>
                      </a:lnTo>
                      <a:lnTo>
                        <a:pt x="630" y="166"/>
                      </a:lnTo>
                      <a:lnTo>
                        <a:pt x="630" y="166"/>
                      </a:lnTo>
                      <a:lnTo>
                        <a:pt x="630" y="167"/>
                      </a:lnTo>
                      <a:lnTo>
                        <a:pt x="630" y="166"/>
                      </a:lnTo>
                      <a:lnTo>
                        <a:pt x="630" y="167"/>
                      </a:lnTo>
                      <a:lnTo>
                        <a:pt x="631" y="167"/>
                      </a:lnTo>
                      <a:lnTo>
                        <a:pt x="631" y="166"/>
                      </a:lnTo>
                      <a:lnTo>
                        <a:pt x="631" y="166"/>
                      </a:lnTo>
                      <a:lnTo>
                        <a:pt x="631" y="166"/>
                      </a:lnTo>
                      <a:lnTo>
                        <a:pt x="632" y="166"/>
                      </a:lnTo>
                      <a:lnTo>
                        <a:pt x="632" y="166"/>
                      </a:lnTo>
                      <a:lnTo>
                        <a:pt x="631" y="166"/>
                      </a:lnTo>
                      <a:lnTo>
                        <a:pt x="632" y="166"/>
                      </a:lnTo>
                      <a:lnTo>
                        <a:pt x="632" y="166"/>
                      </a:lnTo>
                      <a:lnTo>
                        <a:pt x="632" y="166"/>
                      </a:lnTo>
                      <a:lnTo>
                        <a:pt x="632" y="166"/>
                      </a:lnTo>
                      <a:lnTo>
                        <a:pt x="633" y="166"/>
                      </a:lnTo>
                      <a:lnTo>
                        <a:pt x="633" y="166"/>
                      </a:lnTo>
                      <a:lnTo>
                        <a:pt x="634" y="166"/>
                      </a:lnTo>
                      <a:lnTo>
                        <a:pt x="634" y="165"/>
                      </a:lnTo>
                      <a:lnTo>
                        <a:pt x="634" y="164"/>
                      </a:lnTo>
                      <a:lnTo>
                        <a:pt x="634" y="164"/>
                      </a:lnTo>
                      <a:lnTo>
                        <a:pt x="634" y="165"/>
                      </a:lnTo>
                      <a:lnTo>
                        <a:pt x="635" y="165"/>
                      </a:lnTo>
                      <a:lnTo>
                        <a:pt x="635" y="164"/>
                      </a:lnTo>
                      <a:lnTo>
                        <a:pt x="635" y="164"/>
                      </a:lnTo>
                      <a:lnTo>
                        <a:pt x="636" y="164"/>
                      </a:lnTo>
                      <a:lnTo>
                        <a:pt x="636" y="164"/>
                      </a:lnTo>
                      <a:lnTo>
                        <a:pt x="636" y="164"/>
                      </a:lnTo>
                      <a:lnTo>
                        <a:pt x="636" y="164"/>
                      </a:lnTo>
                      <a:lnTo>
                        <a:pt x="637" y="164"/>
                      </a:lnTo>
                      <a:lnTo>
                        <a:pt x="638" y="164"/>
                      </a:lnTo>
                      <a:lnTo>
                        <a:pt x="638" y="164"/>
                      </a:lnTo>
                      <a:lnTo>
                        <a:pt x="637" y="164"/>
                      </a:lnTo>
                      <a:lnTo>
                        <a:pt x="638" y="164"/>
                      </a:lnTo>
                      <a:lnTo>
                        <a:pt x="638" y="164"/>
                      </a:lnTo>
                      <a:lnTo>
                        <a:pt x="638" y="164"/>
                      </a:lnTo>
                      <a:lnTo>
                        <a:pt x="638" y="164"/>
                      </a:lnTo>
                      <a:lnTo>
                        <a:pt x="638" y="164"/>
                      </a:lnTo>
                      <a:lnTo>
                        <a:pt x="639" y="164"/>
                      </a:lnTo>
                      <a:lnTo>
                        <a:pt x="639" y="164"/>
                      </a:lnTo>
                      <a:lnTo>
                        <a:pt x="639" y="164"/>
                      </a:lnTo>
                      <a:lnTo>
                        <a:pt x="639" y="164"/>
                      </a:lnTo>
                      <a:lnTo>
                        <a:pt x="639" y="164"/>
                      </a:lnTo>
                      <a:lnTo>
                        <a:pt x="640" y="164"/>
                      </a:lnTo>
                      <a:lnTo>
                        <a:pt x="641" y="164"/>
                      </a:lnTo>
                      <a:lnTo>
                        <a:pt x="640" y="164"/>
                      </a:lnTo>
                      <a:lnTo>
                        <a:pt x="641" y="163"/>
                      </a:lnTo>
                      <a:lnTo>
                        <a:pt x="641" y="164"/>
                      </a:lnTo>
                      <a:lnTo>
                        <a:pt x="641" y="164"/>
                      </a:lnTo>
                      <a:lnTo>
                        <a:pt x="642" y="164"/>
                      </a:lnTo>
                      <a:lnTo>
                        <a:pt x="641" y="164"/>
                      </a:lnTo>
                      <a:lnTo>
                        <a:pt x="641" y="164"/>
                      </a:lnTo>
                      <a:lnTo>
                        <a:pt x="641" y="163"/>
                      </a:lnTo>
                      <a:lnTo>
                        <a:pt x="640" y="164"/>
                      </a:lnTo>
                      <a:lnTo>
                        <a:pt x="641" y="164"/>
                      </a:lnTo>
                      <a:lnTo>
                        <a:pt x="640" y="164"/>
                      </a:lnTo>
                      <a:lnTo>
                        <a:pt x="639" y="164"/>
                      </a:lnTo>
                      <a:lnTo>
                        <a:pt x="639" y="164"/>
                      </a:lnTo>
                      <a:lnTo>
                        <a:pt x="639" y="164"/>
                      </a:lnTo>
                      <a:lnTo>
                        <a:pt x="639" y="164"/>
                      </a:lnTo>
                      <a:lnTo>
                        <a:pt x="639" y="164"/>
                      </a:lnTo>
                      <a:lnTo>
                        <a:pt x="638" y="164"/>
                      </a:lnTo>
                      <a:lnTo>
                        <a:pt x="638" y="164"/>
                      </a:lnTo>
                      <a:lnTo>
                        <a:pt x="638" y="164"/>
                      </a:lnTo>
                      <a:lnTo>
                        <a:pt x="638" y="164"/>
                      </a:lnTo>
                      <a:lnTo>
                        <a:pt x="638" y="164"/>
                      </a:lnTo>
                      <a:lnTo>
                        <a:pt x="637" y="164"/>
                      </a:lnTo>
                      <a:lnTo>
                        <a:pt x="638" y="164"/>
                      </a:lnTo>
                      <a:lnTo>
                        <a:pt x="637" y="164"/>
                      </a:lnTo>
                      <a:lnTo>
                        <a:pt x="636" y="164"/>
                      </a:lnTo>
                      <a:lnTo>
                        <a:pt x="636" y="164"/>
                      </a:lnTo>
                      <a:lnTo>
                        <a:pt x="636" y="164"/>
                      </a:lnTo>
                      <a:lnTo>
                        <a:pt x="636" y="164"/>
                      </a:lnTo>
                      <a:lnTo>
                        <a:pt x="635" y="164"/>
                      </a:lnTo>
                      <a:lnTo>
                        <a:pt x="635" y="164"/>
                      </a:lnTo>
                      <a:lnTo>
                        <a:pt x="635" y="164"/>
                      </a:lnTo>
                      <a:lnTo>
                        <a:pt x="635" y="164"/>
                      </a:lnTo>
                      <a:lnTo>
                        <a:pt x="635" y="164"/>
                      </a:lnTo>
                      <a:lnTo>
                        <a:pt x="635" y="163"/>
                      </a:lnTo>
                      <a:lnTo>
                        <a:pt x="635" y="163"/>
                      </a:lnTo>
                      <a:lnTo>
                        <a:pt x="636" y="163"/>
                      </a:lnTo>
                      <a:lnTo>
                        <a:pt x="636" y="163"/>
                      </a:lnTo>
                      <a:lnTo>
                        <a:pt x="636" y="162"/>
                      </a:lnTo>
                      <a:lnTo>
                        <a:pt x="636" y="163"/>
                      </a:lnTo>
                      <a:lnTo>
                        <a:pt x="636" y="162"/>
                      </a:lnTo>
                      <a:lnTo>
                        <a:pt x="637" y="162"/>
                      </a:lnTo>
                      <a:lnTo>
                        <a:pt x="637" y="162"/>
                      </a:lnTo>
                      <a:lnTo>
                        <a:pt x="638" y="162"/>
                      </a:lnTo>
                      <a:lnTo>
                        <a:pt x="638" y="162"/>
                      </a:lnTo>
                      <a:lnTo>
                        <a:pt x="638" y="161"/>
                      </a:lnTo>
                      <a:lnTo>
                        <a:pt x="638" y="162"/>
                      </a:lnTo>
                      <a:lnTo>
                        <a:pt x="639" y="162"/>
                      </a:lnTo>
                      <a:lnTo>
                        <a:pt x="638" y="161"/>
                      </a:lnTo>
                      <a:lnTo>
                        <a:pt x="639" y="161"/>
                      </a:lnTo>
                      <a:lnTo>
                        <a:pt x="639" y="160"/>
                      </a:lnTo>
                      <a:lnTo>
                        <a:pt x="639" y="161"/>
                      </a:lnTo>
                      <a:lnTo>
                        <a:pt x="639" y="160"/>
                      </a:lnTo>
                      <a:lnTo>
                        <a:pt x="639" y="160"/>
                      </a:lnTo>
                      <a:lnTo>
                        <a:pt x="640" y="160"/>
                      </a:lnTo>
                      <a:lnTo>
                        <a:pt x="639" y="160"/>
                      </a:lnTo>
                      <a:lnTo>
                        <a:pt x="640" y="160"/>
                      </a:lnTo>
                      <a:lnTo>
                        <a:pt x="640" y="160"/>
                      </a:lnTo>
                      <a:lnTo>
                        <a:pt x="640" y="160"/>
                      </a:lnTo>
                      <a:lnTo>
                        <a:pt x="641" y="160"/>
                      </a:lnTo>
                      <a:lnTo>
                        <a:pt x="641" y="160"/>
                      </a:lnTo>
                      <a:lnTo>
                        <a:pt x="641" y="159"/>
                      </a:lnTo>
                      <a:lnTo>
                        <a:pt x="642" y="159"/>
                      </a:lnTo>
                      <a:lnTo>
                        <a:pt x="642" y="159"/>
                      </a:lnTo>
                      <a:lnTo>
                        <a:pt x="642" y="159"/>
                      </a:lnTo>
                      <a:lnTo>
                        <a:pt x="642" y="159"/>
                      </a:lnTo>
                      <a:lnTo>
                        <a:pt x="642" y="159"/>
                      </a:lnTo>
                      <a:lnTo>
                        <a:pt x="642" y="159"/>
                      </a:lnTo>
                      <a:lnTo>
                        <a:pt x="642" y="159"/>
                      </a:lnTo>
                      <a:lnTo>
                        <a:pt x="642" y="159"/>
                      </a:lnTo>
                      <a:lnTo>
                        <a:pt x="642" y="159"/>
                      </a:lnTo>
                      <a:lnTo>
                        <a:pt x="642" y="159"/>
                      </a:lnTo>
                      <a:lnTo>
                        <a:pt x="642" y="159"/>
                      </a:lnTo>
                      <a:lnTo>
                        <a:pt x="642" y="159"/>
                      </a:lnTo>
                      <a:lnTo>
                        <a:pt x="642" y="159"/>
                      </a:lnTo>
                      <a:lnTo>
                        <a:pt x="641" y="159"/>
                      </a:lnTo>
                      <a:lnTo>
                        <a:pt x="641" y="160"/>
                      </a:lnTo>
                      <a:lnTo>
                        <a:pt x="641" y="160"/>
                      </a:lnTo>
                      <a:lnTo>
                        <a:pt x="641" y="159"/>
                      </a:lnTo>
                      <a:lnTo>
                        <a:pt x="641" y="160"/>
                      </a:lnTo>
                      <a:lnTo>
                        <a:pt x="640" y="160"/>
                      </a:lnTo>
                      <a:lnTo>
                        <a:pt x="640" y="160"/>
                      </a:lnTo>
                      <a:lnTo>
                        <a:pt x="640" y="160"/>
                      </a:lnTo>
                      <a:lnTo>
                        <a:pt x="639" y="160"/>
                      </a:lnTo>
                      <a:lnTo>
                        <a:pt x="640" y="160"/>
                      </a:lnTo>
                      <a:lnTo>
                        <a:pt x="639" y="160"/>
                      </a:lnTo>
                      <a:lnTo>
                        <a:pt x="639" y="160"/>
                      </a:lnTo>
                      <a:lnTo>
                        <a:pt x="639" y="161"/>
                      </a:lnTo>
                      <a:lnTo>
                        <a:pt x="639" y="160"/>
                      </a:lnTo>
                      <a:lnTo>
                        <a:pt x="639" y="161"/>
                      </a:lnTo>
                      <a:lnTo>
                        <a:pt x="638" y="161"/>
                      </a:lnTo>
                      <a:lnTo>
                        <a:pt x="638" y="162"/>
                      </a:lnTo>
                      <a:lnTo>
                        <a:pt x="638" y="162"/>
                      </a:lnTo>
                      <a:lnTo>
                        <a:pt x="637" y="162"/>
                      </a:lnTo>
                      <a:lnTo>
                        <a:pt x="638" y="162"/>
                      </a:lnTo>
                      <a:lnTo>
                        <a:pt x="637" y="162"/>
                      </a:lnTo>
                      <a:lnTo>
                        <a:pt x="637" y="162"/>
                      </a:lnTo>
                      <a:lnTo>
                        <a:pt x="636" y="162"/>
                      </a:lnTo>
                      <a:lnTo>
                        <a:pt x="636" y="162"/>
                      </a:lnTo>
                      <a:lnTo>
                        <a:pt x="635" y="162"/>
                      </a:lnTo>
                      <a:lnTo>
                        <a:pt x="635" y="162"/>
                      </a:lnTo>
                      <a:lnTo>
                        <a:pt x="635" y="161"/>
                      </a:lnTo>
                      <a:lnTo>
                        <a:pt x="635" y="160"/>
                      </a:lnTo>
                      <a:lnTo>
                        <a:pt x="635" y="160"/>
                      </a:lnTo>
                      <a:lnTo>
                        <a:pt x="636" y="160"/>
                      </a:lnTo>
                      <a:lnTo>
                        <a:pt x="636" y="160"/>
                      </a:lnTo>
                      <a:lnTo>
                        <a:pt x="636" y="160"/>
                      </a:lnTo>
                      <a:lnTo>
                        <a:pt x="636" y="160"/>
                      </a:lnTo>
                      <a:lnTo>
                        <a:pt x="636" y="160"/>
                      </a:lnTo>
                      <a:lnTo>
                        <a:pt x="636" y="160"/>
                      </a:lnTo>
                      <a:lnTo>
                        <a:pt x="636" y="160"/>
                      </a:lnTo>
                      <a:lnTo>
                        <a:pt x="636" y="159"/>
                      </a:lnTo>
                      <a:lnTo>
                        <a:pt x="637" y="159"/>
                      </a:lnTo>
                      <a:lnTo>
                        <a:pt x="636" y="159"/>
                      </a:lnTo>
                      <a:lnTo>
                        <a:pt x="636" y="159"/>
                      </a:lnTo>
                      <a:lnTo>
                        <a:pt x="636" y="159"/>
                      </a:lnTo>
                      <a:lnTo>
                        <a:pt x="636" y="159"/>
                      </a:lnTo>
                      <a:lnTo>
                        <a:pt x="637" y="159"/>
                      </a:lnTo>
                      <a:lnTo>
                        <a:pt x="636" y="159"/>
                      </a:lnTo>
                      <a:lnTo>
                        <a:pt x="637" y="159"/>
                      </a:lnTo>
                      <a:lnTo>
                        <a:pt x="637" y="158"/>
                      </a:lnTo>
                      <a:lnTo>
                        <a:pt x="636" y="158"/>
                      </a:lnTo>
                      <a:lnTo>
                        <a:pt x="637" y="159"/>
                      </a:lnTo>
                      <a:lnTo>
                        <a:pt x="637" y="158"/>
                      </a:lnTo>
                      <a:lnTo>
                        <a:pt x="637" y="159"/>
                      </a:lnTo>
                      <a:lnTo>
                        <a:pt x="636" y="159"/>
                      </a:lnTo>
                      <a:lnTo>
                        <a:pt x="637" y="159"/>
                      </a:lnTo>
                      <a:lnTo>
                        <a:pt x="636" y="159"/>
                      </a:lnTo>
                      <a:lnTo>
                        <a:pt x="636" y="159"/>
                      </a:lnTo>
                      <a:lnTo>
                        <a:pt x="636" y="159"/>
                      </a:lnTo>
                      <a:lnTo>
                        <a:pt x="636" y="159"/>
                      </a:lnTo>
                      <a:lnTo>
                        <a:pt x="637" y="159"/>
                      </a:lnTo>
                      <a:lnTo>
                        <a:pt x="636" y="159"/>
                      </a:lnTo>
                      <a:lnTo>
                        <a:pt x="636" y="160"/>
                      </a:lnTo>
                      <a:lnTo>
                        <a:pt x="636" y="160"/>
                      </a:lnTo>
                      <a:lnTo>
                        <a:pt x="636" y="160"/>
                      </a:lnTo>
                      <a:lnTo>
                        <a:pt x="636" y="160"/>
                      </a:lnTo>
                      <a:lnTo>
                        <a:pt x="636" y="160"/>
                      </a:lnTo>
                      <a:lnTo>
                        <a:pt x="635" y="160"/>
                      </a:lnTo>
                      <a:lnTo>
                        <a:pt x="635" y="160"/>
                      </a:lnTo>
                      <a:lnTo>
                        <a:pt x="634" y="160"/>
                      </a:lnTo>
                      <a:lnTo>
                        <a:pt x="634" y="160"/>
                      </a:lnTo>
                      <a:lnTo>
                        <a:pt x="634" y="160"/>
                      </a:lnTo>
                      <a:lnTo>
                        <a:pt x="633" y="160"/>
                      </a:lnTo>
                      <a:lnTo>
                        <a:pt x="633" y="159"/>
                      </a:lnTo>
                      <a:lnTo>
                        <a:pt x="633" y="160"/>
                      </a:lnTo>
                      <a:lnTo>
                        <a:pt x="633" y="159"/>
                      </a:lnTo>
                      <a:lnTo>
                        <a:pt x="634" y="159"/>
                      </a:lnTo>
                      <a:lnTo>
                        <a:pt x="634" y="159"/>
                      </a:lnTo>
                      <a:lnTo>
                        <a:pt x="634" y="160"/>
                      </a:lnTo>
                      <a:lnTo>
                        <a:pt x="634" y="159"/>
                      </a:lnTo>
                      <a:lnTo>
                        <a:pt x="635" y="159"/>
                      </a:lnTo>
                      <a:lnTo>
                        <a:pt x="634" y="159"/>
                      </a:lnTo>
                      <a:lnTo>
                        <a:pt x="634" y="159"/>
                      </a:lnTo>
                      <a:lnTo>
                        <a:pt x="634" y="159"/>
                      </a:lnTo>
                      <a:lnTo>
                        <a:pt x="634" y="159"/>
                      </a:lnTo>
                      <a:lnTo>
                        <a:pt x="634" y="158"/>
                      </a:lnTo>
                      <a:lnTo>
                        <a:pt x="635" y="158"/>
                      </a:lnTo>
                      <a:lnTo>
                        <a:pt x="635" y="157"/>
                      </a:lnTo>
                      <a:lnTo>
                        <a:pt x="634" y="157"/>
                      </a:lnTo>
                      <a:lnTo>
                        <a:pt x="634" y="157"/>
                      </a:lnTo>
                      <a:lnTo>
                        <a:pt x="634" y="157"/>
                      </a:lnTo>
                      <a:lnTo>
                        <a:pt x="633" y="157"/>
                      </a:lnTo>
                      <a:lnTo>
                        <a:pt x="634" y="157"/>
                      </a:lnTo>
                      <a:lnTo>
                        <a:pt x="634" y="156"/>
                      </a:lnTo>
                      <a:lnTo>
                        <a:pt x="634" y="156"/>
                      </a:lnTo>
                      <a:lnTo>
                        <a:pt x="635" y="156"/>
                      </a:lnTo>
                      <a:lnTo>
                        <a:pt x="634" y="156"/>
                      </a:lnTo>
                      <a:lnTo>
                        <a:pt x="634" y="155"/>
                      </a:lnTo>
                      <a:lnTo>
                        <a:pt x="635" y="155"/>
                      </a:lnTo>
                      <a:lnTo>
                        <a:pt x="634" y="155"/>
                      </a:lnTo>
                      <a:lnTo>
                        <a:pt x="635" y="155"/>
                      </a:lnTo>
                      <a:lnTo>
                        <a:pt x="635" y="155"/>
                      </a:lnTo>
                      <a:lnTo>
                        <a:pt x="636" y="155"/>
                      </a:lnTo>
                      <a:lnTo>
                        <a:pt x="636" y="154"/>
                      </a:lnTo>
                      <a:lnTo>
                        <a:pt x="637" y="154"/>
                      </a:lnTo>
                      <a:lnTo>
                        <a:pt x="636" y="154"/>
                      </a:lnTo>
                      <a:lnTo>
                        <a:pt x="637" y="154"/>
                      </a:lnTo>
                      <a:lnTo>
                        <a:pt x="638" y="154"/>
                      </a:lnTo>
                      <a:lnTo>
                        <a:pt x="638" y="154"/>
                      </a:lnTo>
                      <a:lnTo>
                        <a:pt x="638" y="154"/>
                      </a:lnTo>
                      <a:lnTo>
                        <a:pt x="638" y="155"/>
                      </a:lnTo>
                      <a:lnTo>
                        <a:pt x="638" y="155"/>
                      </a:lnTo>
                      <a:lnTo>
                        <a:pt x="637" y="155"/>
                      </a:lnTo>
                      <a:lnTo>
                        <a:pt x="638" y="155"/>
                      </a:lnTo>
                      <a:lnTo>
                        <a:pt x="637" y="155"/>
                      </a:lnTo>
                      <a:lnTo>
                        <a:pt x="637" y="156"/>
                      </a:lnTo>
                      <a:lnTo>
                        <a:pt x="636" y="156"/>
                      </a:lnTo>
                      <a:lnTo>
                        <a:pt x="636" y="156"/>
                      </a:lnTo>
                      <a:lnTo>
                        <a:pt x="636" y="156"/>
                      </a:lnTo>
                      <a:lnTo>
                        <a:pt x="636" y="156"/>
                      </a:lnTo>
                      <a:lnTo>
                        <a:pt x="636" y="156"/>
                      </a:lnTo>
                      <a:lnTo>
                        <a:pt x="636" y="157"/>
                      </a:lnTo>
                      <a:lnTo>
                        <a:pt x="636" y="157"/>
                      </a:lnTo>
                      <a:lnTo>
                        <a:pt x="636" y="157"/>
                      </a:lnTo>
                      <a:lnTo>
                        <a:pt x="636" y="157"/>
                      </a:lnTo>
                      <a:lnTo>
                        <a:pt x="636" y="157"/>
                      </a:lnTo>
                      <a:lnTo>
                        <a:pt x="636" y="157"/>
                      </a:lnTo>
                      <a:lnTo>
                        <a:pt x="636" y="157"/>
                      </a:lnTo>
                      <a:lnTo>
                        <a:pt x="636" y="157"/>
                      </a:lnTo>
                      <a:lnTo>
                        <a:pt x="636" y="157"/>
                      </a:lnTo>
                      <a:lnTo>
                        <a:pt x="636" y="156"/>
                      </a:lnTo>
                      <a:lnTo>
                        <a:pt x="636" y="156"/>
                      </a:lnTo>
                      <a:lnTo>
                        <a:pt x="636" y="156"/>
                      </a:lnTo>
                      <a:lnTo>
                        <a:pt x="637" y="156"/>
                      </a:lnTo>
                      <a:lnTo>
                        <a:pt x="637" y="155"/>
                      </a:lnTo>
                      <a:lnTo>
                        <a:pt x="637" y="156"/>
                      </a:lnTo>
                      <a:lnTo>
                        <a:pt x="638" y="155"/>
                      </a:lnTo>
                      <a:lnTo>
                        <a:pt x="637" y="155"/>
                      </a:lnTo>
                      <a:lnTo>
                        <a:pt x="638" y="155"/>
                      </a:lnTo>
                      <a:lnTo>
                        <a:pt x="638" y="155"/>
                      </a:lnTo>
                      <a:lnTo>
                        <a:pt x="638" y="155"/>
                      </a:lnTo>
                      <a:lnTo>
                        <a:pt x="638" y="155"/>
                      </a:lnTo>
                      <a:lnTo>
                        <a:pt x="638" y="155"/>
                      </a:lnTo>
                      <a:lnTo>
                        <a:pt x="638" y="155"/>
                      </a:lnTo>
                      <a:lnTo>
                        <a:pt x="638" y="156"/>
                      </a:lnTo>
                      <a:lnTo>
                        <a:pt x="638" y="156"/>
                      </a:lnTo>
                      <a:lnTo>
                        <a:pt x="638" y="156"/>
                      </a:lnTo>
                      <a:lnTo>
                        <a:pt x="638" y="156"/>
                      </a:lnTo>
                      <a:lnTo>
                        <a:pt x="638" y="156"/>
                      </a:lnTo>
                      <a:lnTo>
                        <a:pt x="638" y="155"/>
                      </a:lnTo>
                      <a:lnTo>
                        <a:pt x="638" y="155"/>
                      </a:lnTo>
                      <a:lnTo>
                        <a:pt x="639" y="155"/>
                      </a:lnTo>
                      <a:lnTo>
                        <a:pt x="639" y="156"/>
                      </a:lnTo>
                      <a:lnTo>
                        <a:pt x="638" y="156"/>
                      </a:lnTo>
                      <a:lnTo>
                        <a:pt x="639" y="156"/>
                      </a:lnTo>
                      <a:lnTo>
                        <a:pt x="638" y="156"/>
                      </a:lnTo>
                      <a:lnTo>
                        <a:pt x="639" y="156"/>
                      </a:lnTo>
                      <a:lnTo>
                        <a:pt x="638" y="156"/>
                      </a:lnTo>
                      <a:lnTo>
                        <a:pt x="639" y="156"/>
                      </a:lnTo>
                      <a:lnTo>
                        <a:pt x="638" y="156"/>
                      </a:lnTo>
                      <a:lnTo>
                        <a:pt x="639" y="156"/>
                      </a:lnTo>
                      <a:lnTo>
                        <a:pt x="639" y="157"/>
                      </a:lnTo>
                      <a:lnTo>
                        <a:pt x="639" y="156"/>
                      </a:lnTo>
                      <a:lnTo>
                        <a:pt x="639" y="157"/>
                      </a:lnTo>
                      <a:lnTo>
                        <a:pt x="638" y="157"/>
                      </a:lnTo>
                      <a:lnTo>
                        <a:pt x="639" y="157"/>
                      </a:lnTo>
                      <a:lnTo>
                        <a:pt x="638" y="157"/>
                      </a:lnTo>
                      <a:lnTo>
                        <a:pt x="639" y="157"/>
                      </a:lnTo>
                      <a:lnTo>
                        <a:pt x="639" y="157"/>
                      </a:lnTo>
                      <a:lnTo>
                        <a:pt x="639" y="157"/>
                      </a:lnTo>
                      <a:lnTo>
                        <a:pt x="639" y="157"/>
                      </a:lnTo>
                      <a:lnTo>
                        <a:pt x="639" y="157"/>
                      </a:lnTo>
                      <a:lnTo>
                        <a:pt x="639" y="157"/>
                      </a:lnTo>
                      <a:lnTo>
                        <a:pt x="639" y="158"/>
                      </a:lnTo>
                      <a:lnTo>
                        <a:pt x="639" y="158"/>
                      </a:lnTo>
                      <a:lnTo>
                        <a:pt x="639" y="158"/>
                      </a:lnTo>
                      <a:lnTo>
                        <a:pt x="639" y="157"/>
                      </a:lnTo>
                      <a:lnTo>
                        <a:pt x="639" y="157"/>
                      </a:lnTo>
                      <a:lnTo>
                        <a:pt x="639" y="157"/>
                      </a:lnTo>
                      <a:lnTo>
                        <a:pt x="638" y="157"/>
                      </a:lnTo>
                      <a:lnTo>
                        <a:pt x="639" y="157"/>
                      </a:lnTo>
                      <a:lnTo>
                        <a:pt x="638" y="157"/>
                      </a:lnTo>
                      <a:lnTo>
                        <a:pt x="639" y="157"/>
                      </a:lnTo>
                      <a:lnTo>
                        <a:pt x="639" y="156"/>
                      </a:lnTo>
                      <a:lnTo>
                        <a:pt x="638" y="156"/>
                      </a:lnTo>
                      <a:lnTo>
                        <a:pt x="639" y="156"/>
                      </a:lnTo>
                      <a:lnTo>
                        <a:pt x="638" y="156"/>
                      </a:lnTo>
                      <a:lnTo>
                        <a:pt x="639" y="156"/>
                      </a:lnTo>
                      <a:lnTo>
                        <a:pt x="638" y="156"/>
                      </a:lnTo>
                      <a:lnTo>
                        <a:pt x="639" y="156"/>
                      </a:lnTo>
                      <a:lnTo>
                        <a:pt x="638" y="156"/>
                      </a:lnTo>
                      <a:lnTo>
                        <a:pt x="639" y="156"/>
                      </a:lnTo>
                      <a:lnTo>
                        <a:pt x="639" y="156"/>
                      </a:lnTo>
                      <a:lnTo>
                        <a:pt x="639" y="156"/>
                      </a:lnTo>
                      <a:lnTo>
                        <a:pt x="639" y="155"/>
                      </a:lnTo>
                      <a:lnTo>
                        <a:pt x="638" y="155"/>
                      </a:lnTo>
                      <a:lnTo>
                        <a:pt x="638" y="155"/>
                      </a:lnTo>
                      <a:lnTo>
                        <a:pt x="638" y="154"/>
                      </a:lnTo>
                      <a:lnTo>
                        <a:pt x="638" y="155"/>
                      </a:lnTo>
                      <a:lnTo>
                        <a:pt x="638" y="154"/>
                      </a:lnTo>
                      <a:lnTo>
                        <a:pt x="638" y="154"/>
                      </a:lnTo>
                      <a:lnTo>
                        <a:pt x="638" y="153"/>
                      </a:lnTo>
                      <a:lnTo>
                        <a:pt x="639" y="153"/>
                      </a:lnTo>
                      <a:lnTo>
                        <a:pt x="639" y="153"/>
                      </a:lnTo>
                      <a:lnTo>
                        <a:pt x="640" y="153"/>
                      </a:lnTo>
                      <a:lnTo>
                        <a:pt x="640" y="154"/>
                      </a:lnTo>
                      <a:lnTo>
                        <a:pt x="641" y="154"/>
                      </a:lnTo>
                      <a:lnTo>
                        <a:pt x="640" y="154"/>
                      </a:lnTo>
                      <a:lnTo>
                        <a:pt x="639" y="154"/>
                      </a:lnTo>
                      <a:lnTo>
                        <a:pt x="640" y="154"/>
                      </a:lnTo>
                      <a:lnTo>
                        <a:pt x="641" y="154"/>
                      </a:lnTo>
                      <a:lnTo>
                        <a:pt x="641" y="155"/>
                      </a:lnTo>
                      <a:lnTo>
                        <a:pt x="641" y="155"/>
                      </a:lnTo>
                      <a:lnTo>
                        <a:pt x="642" y="155"/>
                      </a:lnTo>
                      <a:lnTo>
                        <a:pt x="642" y="155"/>
                      </a:lnTo>
                      <a:lnTo>
                        <a:pt x="642" y="155"/>
                      </a:lnTo>
                      <a:lnTo>
                        <a:pt x="642" y="155"/>
                      </a:lnTo>
                      <a:lnTo>
                        <a:pt x="642" y="155"/>
                      </a:lnTo>
                      <a:lnTo>
                        <a:pt x="642" y="155"/>
                      </a:lnTo>
                      <a:lnTo>
                        <a:pt x="642" y="155"/>
                      </a:lnTo>
                      <a:lnTo>
                        <a:pt x="643" y="155"/>
                      </a:lnTo>
                      <a:lnTo>
                        <a:pt x="643" y="155"/>
                      </a:lnTo>
                      <a:lnTo>
                        <a:pt x="643" y="156"/>
                      </a:lnTo>
                      <a:lnTo>
                        <a:pt x="644" y="156"/>
                      </a:lnTo>
                      <a:lnTo>
                        <a:pt x="644" y="156"/>
                      </a:lnTo>
                      <a:lnTo>
                        <a:pt x="643" y="156"/>
                      </a:lnTo>
                      <a:lnTo>
                        <a:pt x="643" y="156"/>
                      </a:lnTo>
                      <a:lnTo>
                        <a:pt x="644" y="156"/>
                      </a:lnTo>
                      <a:lnTo>
                        <a:pt x="643" y="156"/>
                      </a:lnTo>
                      <a:lnTo>
                        <a:pt x="644" y="156"/>
                      </a:lnTo>
                      <a:lnTo>
                        <a:pt x="643" y="156"/>
                      </a:lnTo>
                      <a:lnTo>
                        <a:pt x="644" y="156"/>
                      </a:lnTo>
                      <a:lnTo>
                        <a:pt x="643" y="156"/>
                      </a:lnTo>
                      <a:lnTo>
                        <a:pt x="644" y="156"/>
                      </a:lnTo>
                      <a:lnTo>
                        <a:pt x="643" y="156"/>
                      </a:lnTo>
                      <a:lnTo>
                        <a:pt x="643" y="156"/>
                      </a:lnTo>
                      <a:lnTo>
                        <a:pt x="644" y="156"/>
                      </a:lnTo>
                      <a:lnTo>
                        <a:pt x="644" y="156"/>
                      </a:lnTo>
                      <a:lnTo>
                        <a:pt x="645" y="156"/>
                      </a:lnTo>
                      <a:lnTo>
                        <a:pt x="645" y="156"/>
                      </a:lnTo>
                      <a:lnTo>
                        <a:pt x="645" y="156"/>
                      </a:lnTo>
                      <a:lnTo>
                        <a:pt x="645" y="156"/>
                      </a:lnTo>
                      <a:lnTo>
                        <a:pt x="645" y="156"/>
                      </a:lnTo>
                      <a:lnTo>
                        <a:pt x="645" y="156"/>
                      </a:lnTo>
                      <a:lnTo>
                        <a:pt x="645" y="156"/>
                      </a:lnTo>
                      <a:lnTo>
                        <a:pt x="644" y="156"/>
                      </a:lnTo>
                      <a:lnTo>
                        <a:pt x="645" y="156"/>
                      </a:lnTo>
                      <a:lnTo>
                        <a:pt x="645" y="156"/>
                      </a:lnTo>
                      <a:lnTo>
                        <a:pt x="645" y="156"/>
                      </a:lnTo>
                      <a:lnTo>
                        <a:pt x="645" y="156"/>
                      </a:lnTo>
                      <a:lnTo>
                        <a:pt x="646" y="156"/>
                      </a:lnTo>
                      <a:lnTo>
                        <a:pt x="645" y="156"/>
                      </a:lnTo>
                      <a:lnTo>
                        <a:pt x="646" y="156"/>
                      </a:lnTo>
                      <a:lnTo>
                        <a:pt x="646" y="157"/>
                      </a:lnTo>
                      <a:lnTo>
                        <a:pt x="645" y="156"/>
                      </a:lnTo>
                      <a:lnTo>
                        <a:pt x="645" y="157"/>
                      </a:lnTo>
                      <a:lnTo>
                        <a:pt x="646" y="157"/>
                      </a:lnTo>
                      <a:lnTo>
                        <a:pt x="645" y="157"/>
                      </a:lnTo>
                      <a:lnTo>
                        <a:pt x="645" y="157"/>
                      </a:lnTo>
                      <a:lnTo>
                        <a:pt x="646" y="157"/>
                      </a:lnTo>
                      <a:lnTo>
                        <a:pt x="645" y="157"/>
                      </a:lnTo>
                      <a:lnTo>
                        <a:pt x="646" y="157"/>
                      </a:lnTo>
                      <a:lnTo>
                        <a:pt x="645" y="157"/>
                      </a:lnTo>
                      <a:lnTo>
                        <a:pt x="646" y="157"/>
                      </a:lnTo>
                      <a:lnTo>
                        <a:pt x="645" y="157"/>
                      </a:lnTo>
                      <a:lnTo>
                        <a:pt x="646" y="157"/>
                      </a:lnTo>
                      <a:lnTo>
                        <a:pt x="646" y="158"/>
                      </a:lnTo>
                      <a:lnTo>
                        <a:pt x="645" y="158"/>
                      </a:lnTo>
                      <a:lnTo>
                        <a:pt x="646" y="158"/>
                      </a:lnTo>
                      <a:lnTo>
                        <a:pt x="645" y="158"/>
                      </a:lnTo>
                      <a:lnTo>
                        <a:pt x="645" y="158"/>
                      </a:lnTo>
                      <a:lnTo>
                        <a:pt x="645" y="159"/>
                      </a:lnTo>
                      <a:lnTo>
                        <a:pt x="645" y="159"/>
                      </a:lnTo>
                      <a:lnTo>
                        <a:pt x="645" y="159"/>
                      </a:lnTo>
                      <a:lnTo>
                        <a:pt x="645" y="158"/>
                      </a:lnTo>
                      <a:lnTo>
                        <a:pt x="645" y="158"/>
                      </a:lnTo>
                      <a:lnTo>
                        <a:pt x="646" y="158"/>
                      </a:lnTo>
                      <a:lnTo>
                        <a:pt x="646" y="157"/>
                      </a:lnTo>
                      <a:lnTo>
                        <a:pt x="646" y="157"/>
                      </a:lnTo>
                      <a:lnTo>
                        <a:pt x="646" y="158"/>
                      </a:lnTo>
                      <a:lnTo>
                        <a:pt x="646" y="158"/>
                      </a:lnTo>
                      <a:lnTo>
                        <a:pt x="646" y="158"/>
                      </a:lnTo>
                      <a:lnTo>
                        <a:pt x="646" y="157"/>
                      </a:lnTo>
                      <a:lnTo>
                        <a:pt x="646" y="158"/>
                      </a:lnTo>
                      <a:lnTo>
                        <a:pt x="646" y="157"/>
                      </a:lnTo>
                      <a:lnTo>
                        <a:pt x="647" y="157"/>
                      </a:lnTo>
                      <a:lnTo>
                        <a:pt x="646" y="157"/>
                      </a:lnTo>
                      <a:lnTo>
                        <a:pt x="647" y="157"/>
                      </a:lnTo>
                      <a:lnTo>
                        <a:pt x="647" y="157"/>
                      </a:lnTo>
                      <a:lnTo>
                        <a:pt x="647" y="157"/>
                      </a:lnTo>
                      <a:lnTo>
                        <a:pt x="647" y="157"/>
                      </a:lnTo>
                      <a:lnTo>
                        <a:pt x="647" y="157"/>
                      </a:lnTo>
                      <a:lnTo>
                        <a:pt x="647" y="157"/>
                      </a:lnTo>
                      <a:lnTo>
                        <a:pt x="647" y="158"/>
                      </a:lnTo>
                      <a:lnTo>
                        <a:pt x="647" y="158"/>
                      </a:lnTo>
                      <a:lnTo>
                        <a:pt x="647" y="159"/>
                      </a:lnTo>
                      <a:lnTo>
                        <a:pt x="646" y="159"/>
                      </a:lnTo>
                      <a:lnTo>
                        <a:pt x="646" y="159"/>
                      </a:lnTo>
                      <a:lnTo>
                        <a:pt x="646" y="159"/>
                      </a:lnTo>
                      <a:lnTo>
                        <a:pt x="645" y="159"/>
                      </a:lnTo>
                      <a:lnTo>
                        <a:pt x="646" y="159"/>
                      </a:lnTo>
                      <a:lnTo>
                        <a:pt x="646" y="159"/>
                      </a:lnTo>
                      <a:lnTo>
                        <a:pt x="647" y="159"/>
                      </a:lnTo>
                      <a:lnTo>
                        <a:pt x="647" y="159"/>
                      </a:lnTo>
                      <a:lnTo>
                        <a:pt x="647" y="159"/>
                      </a:lnTo>
                      <a:lnTo>
                        <a:pt x="647" y="159"/>
                      </a:lnTo>
                      <a:lnTo>
                        <a:pt x="647" y="159"/>
                      </a:lnTo>
                      <a:lnTo>
                        <a:pt x="648" y="159"/>
                      </a:lnTo>
                      <a:lnTo>
                        <a:pt x="648" y="160"/>
                      </a:lnTo>
                      <a:lnTo>
                        <a:pt x="649" y="160"/>
                      </a:lnTo>
                      <a:lnTo>
                        <a:pt x="648" y="160"/>
                      </a:lnTo>
                      <a:lnTo>
                        <a:pt x="649" y="160"/>
                      </a:lnTo>
                      <a:lnTo>
                        <a:pt x="649" y="159"/>
                      </a:lnTo>
                      <a:lnTo>
                        <a:pt x="649" y="159"/>
                      </a:lnTo>
                      <a:lnTo>
                        <a:pt x="649" y="160"/>
                      </a:lnTo>
                      <a:lnTo>
                        <a:pt x="649" y="159"/>
                      </a:lnTo>
                      <a:lnTo>
                        <a:pt x="649" y="160"/>
                      </a:lnTo>
                      <a:lnTo>
                        <a:pt x="649" y="159"/>
                      </a:lnTo>
                      <a:lnTo>
                        <a:pt x="649" y="160"/>
                      </a:lnTo>
                      <a:lnTo>
                        <a:pt x="649" y="159"/>
                      </a:lnTo>
                      <a:lnTo>
                        <a:pt x="649" y="160"/>
                      </a:lnTo>
                      <a:lnTo>
                        <a:pt x="649" y="160"/>
                      </a:lnTo>
                      <a:lnTo>
                        <a:pt x="650" y="160"/>
                      </a:lnTo>
                      <a:lnTo>
                        <a:pt x="650" y="160"/>
                      </a:lnTo>
                      <a:lnTo>
                        <a:pt x="650" y="160"/>
                      </a:lnTo>
                      <a:lnTo>
                        <a:pt x="650" y="160"/>
                      </a:lnTo>
                      <a:lnTo>
                        <a:pt x="651" y="160"/>
                      </a:lnTo>
                      <a:lnTo>
                        <a:pt x="651" y="160"/>
                      </a:lnTo>
                      <a:lnTo>
                        <a:pt x="651" y="160"/>
                      </a:lnTo>
                      <a:lnTo>
                        <a:pt x="651" y="161"/>
                      </a:lnTo>
                      <a:lnTo>
                        <a:pt x="650" y="161"/>
                      </a:lnTo>
                      <a:lnTo>
                        <a:pt x="650" y="162"/>
                      </a:lnTo>
                      <a:lnTo>
                        <a:pt x="651" y="161"/>
                      </a:lnTo>
                      <a:lnTo>
                        <a:pt x="651" y="161"/>
                      </a:lnTo>
                      <a:lnTo>
                        <a:pt x="651" y="161"/>
                      </a:lnTo>
                      <a:lnTo>
                        <a:pt x="651" y="160"/>
                      </a:lnTo>
                      <a:lnTo>
                        <a:pt x="651" y="160"/>
                      </a:lnTo>
                      <a:lnTo>
                        <a:pt x="651" y="160"/>
                      </a:lnTo>
                      <a:lnTo>
                        <a:pt x="650" y="160"/>
                      </a:lnTo>
                      <a:lnTo>
                        <a:pt x="650" y="160"/>
                      </a:lnTo>
                      <a:lnTo>
                        <a:pt x="650" y="160"/>
                      </a:lnTo>
                      <a:lnTo>
                        <a:pt x="650" y="159"/>
                      </a:lnTo>
                      <a:lnTo>
                        <a:pt x="650" y="159"/>
                      </a:lnTo>
                      <a:lnTo>
                        <a:pt x="650" y="159"/>
                      </a:lnTo>
                      <a:lnTo>
                        <a:pt x="650" y="159"/>
                      </a:lnTo>
                      <a:lnTo>
                        <a:pt x="650" y="159"/>
                      </a:lnTo>
                      <a:lnTo>
                        <a:pt x="649" y="159"/>
                      </a:lnTo>
                      <a:lnTo>
                        <a:pt x="650" y="159"/>
                      </a:lnTo>
                      <a:lnTo>
                        <a:pt x="649" y="159"/>
                      </a:lnTo>
                      <a:lnTo>
                        <a:pt x="649" y="159"/>
                      </a:lnTo>
                      <a:lnTo>
                        <a:pt x="649" y="159"/>
                      </a:lnTo>
                      <a:lnTo>
                        <a:pt x="649" y="159"/>
                      </a:lnTo>
                      <a:lnTo>
                        <a:pt x="649" y="158"/>
                      </a:lnTo>
                      <a:lnTo>
                        <a:pt x="649" y="159"/>
                      </a:lnTo>
                      <a:lnTo>
                        <a:pt x="648" y="159"/>
                      </a:lnTo>
                      <a:lnTo>
                        <a:pt x="649" y="159"/>
                      </a:lnTo>
                      <a:lnTo>
                        <a:pt x="648" y="159"/>
                      </a:lnTo>
                      <a:lnTo>
                        <a:pt x="649" y="159"/>
                      </a:lnTo>
                      <a:lnTo>
                        <a:pt x="648" y="159"/>
                      </a:lnTo>
                      <a:lnTo>
                        <a:pt x="647" y="158"/>
                      </a:lnTo>
                      <a:lnTo>
                        <a:pt x="647" y="159"/>
                      </a:lnTo>
                      <a:lnTo>
                        <a:pt x="647" y="158"/>
                      </a:lnTo>
                      <a:lnTo>
                        <a:pt x="648" y="158"/>
                      </a:lnTo>
                      <a:lnTo>
                        <a:pt x="648" y="157"/>
                      </a:lnTo>
                      <a:lnTo>
                        <a:pt x="649" y="157"/>
                      </a:lnTo>
                      <a:lnTo>
                        <a:pt x="649" y="158"/>
                      </a:lnTo>
                      <a:lnTo>
                        <a:pt x="649" y="158"/>
                      </a:lnTo>
                      <a:lnTo>
                        <a:pt x="649" y="158"/>
                      </a:lnTo>
                      <a:lnTo>
                        <a:pt x="649" y="158"/>
                      </a:lnTo>
                      <a:lnTo>
                        <a:pt x="650" y="158"/>
                      </a:lnTo>
                      <a:lnTo>
                        <a:pt x="650" y="158"/>
                      </a:lnTo>
                      <a:lnTo>
                        <a:pt x="650" y="158"/>
                      </a:lnTo>
                      <a:lnTo>
                        <a:pt x="650" y="158"/>
                      </a:lnTo>
                      <a:lnTo>
                        <a:pt x="650" y="158"/>
                      </a:lnTo>
                      <a:lnTo>
                        <a:pt x="650" y="158"/>
                      </a:lnTo>
                      <a:lnTo>
                        <a:pt x="651" y="158"/>
                      </a:lnTo>
                      <a:lnTo>
                        <a:pt x="651" y="159"/>
                      </a:lnTo>
                      <a:lnTo>
                        <a:pt x="651" y="158"/>
                      </a:lnTo>
                      <a:lnTo>
                        <a:pt x="650" y="158"/>
                      </a:lnTo>
                      <a:lnTo>
                        <a:pt x="651" y="158"/>
                      </a:lnTo>
                      <a:lnTo>
                        <a:pt x="651" y="159"/>
                      </a:lnTo>
                      <a:lnTo>
                        <a:pt x="650" y="159"/>
                      </a:lnTo>
                      <a:lnTo>
                        <a:pt x="650" y="159"/>
                      </a:lnTo>
                      <a:lnTo>
                        <a:pt x="650" y="159"/>
                      </a:lnTo>
                      <a:lnTo>
                        <a:pt x="651" y="159"/>
                      </a:lnTo>
                      <a:lnTo>
                        <a:pt x="651" y="159"/>
                      </a:lnTo>
                      <a:lnTo>
                        <a:pt x="652" y="159"/>
                      </a:lnTo>
                      <a:lnTo>
                        <a:pt x="652" y="159"/>
                      </a:lnTo>
                      <a:lnTo>
                        <a:pt x="652" y="159"/>
                      </a:lnTo>
                      <a:lnTo>
                        <a:pt x="651" y="159"/>
                      </a:lnTo>
                      <a:lnTo>
                        <a:pt x="651" y="158"/>
                      </a:lnTo>
                      <a:lnTo>
                        <a:pt x="652" y="158"/>
                      </a:lnTo>
                      <a:lnTo>
                        <a:pt x="652" y="159"/>
                      </a:lnTo>
                      <a:lnTo>
                        <a:pt x="652" y="158"/>
                      </a:lnTo>
                      <a:lnTo>
                        <a:pt x="652" y="159"/>
                      </a:lnTo>
                      <a:lnTo>
                        <a:pt x="652" y="158"/>
                      </a:lnTo>
                      <a:lnTo>
                        <a:pt x="651" y="158"/>
                      </a:lnTo>
                      <a:lnTo>
                        <a:pt x="651" y="159"/>
                      </a:lnTo>
                      <a:lnTo>
                        <a:pt x="651" y="159"/>
                      </a:lnTo>
                      <a:lnTo>
                        <a:pt x="650" y="159"/>
                      </a:lnTo>
                      <a:lnTo>
                        <a:pt x="651" y="159"/>
                      </a:lnTo>
                      <a:lnTo>
                        <a:pt x="651" y="158"/>
                      </a:lnTo>
                      <a:lnTo>
                        <a:pt x="650" y="158"/>
                      </a:lnTo>
                      <a:lnTo>
                        <a:pt x="651" y="158"/>
                      </a:lnTo>
                      <a:lnTo>
                        <a:pt x="651" y="158"/>
                      </a:lnTo>
                      <a:lnTo>
                        <a:pt x="651" y="157"/>
                      </a:lnTo>
                      <a:lnTo>
                        <a:pt x="652" y="157"/>
                      </a:lnTo>
                      <a:lnTo>
                        <a:pt x="652" y="158"/>
                      </a:lnTo>
                      <a:lnTo>
                        <a:pt x="652" y="157"/>
                      </a:lnTo>
                      <a:lnTo>
                        <a:pt x="651" y="157"/>
                      </a:lnTo>
                      <a:lnTo>
                        <a:pt x="652" y="157"/>
                      </a:lnTo>
                      <a:lnTo>
                        <a:pt x="651" y="157"/>
                      </a:lnTo>
                      <a:lnTo>
                        <a:pt x="652" y="157"/>
                      </a:lnTo>
                      <a:lnTo>
                        <a:pt x="651" y="157"/>
                      </a:lnTo>
                      <a:lnTo>
                        <a:pt x="651" y="157"/>
                      </a:lnTo>
                      <a:lnTo>
                        <a:pt x="650" y="157"/>
                      </a:lnTo>
                      <a:lnTo>
                        <a:pt x="650" y="157"/>
                      </a:lnTo>
                      <a:lnTo>
                        <a:pt x="649" y="157"/>
                      </a:lnTo>
                      <a:lnTo>
                        <a:pt x="650" y="157"/>
                      </a:lnTo>
                      <a:lnTo>
                        <a:pt x="650" y="157"/>
                      </a:lnTo>
                      <a:lnTo>
                        <a:pt x="651" y="157"/>
                      </a:lnTo>
                      <a:lnTo>
                        <a:pt x="650" y="157"/>
                      </a:lnTo>
                      <a:lnTo>
                        <a:pt x="651" y="157"/>
                      </a:lnTo>
                      <a:lnTo>
                        <a:pt x="651" y="157"/>
                      </a:lnTo>
                      <a:lnTo>
                        <a:pt x="652" y="157"/>
                      </a:lnTo>
                      <a:lnTo>
                        <a:pt x="653" y="157"/>
                      </a:lnTo>
                      <a:lnTo>
                        <a:pt x="652" y="157"/>
                      </a:lnTo>
                      <a:lnTo>
                        <a:pt x="652" y="156"/>
                      </a:lnTo>
                      <a:lnTo>
                        <a:pt x="651" y="156"/>
                      </a:lnTo>
                      <a:lnTo>
                        <a:pt x="651" y="157"/>
                      </a:lnTo>
                      <a:lnTo>
                        <a:pt x="651" y="157"/>
                      </a:lnTo>
                      <a:lnTo>
                        <a:pt x="651" y="156"/>
                      </a:lnTo>
                      <a:lnTo>
                        <a:pt x="651" y="157"/>
                      </a:lnTo>
                      <a:lnTo>
                        <a:pt x="651" y="156"/>
                      </a:lnTo>
                      <a:lnTo>
                        <a:pt x="650" y="156"/>
                      </a:lnTo>
                      <a:lnTo>
                        <a:pt x="650" y="156"/>
                      </a:lnTo>
                      <a:lnTo>
                        <a:pt x="650" y="156"/>
                      </a:lnTo>
                      <a:lnTo>
                        <a:pt x="650" y="156"/>
                      </a:lnTo>
                      <a:lnTo>
                        <a:pt x="650" y="157"/>
                      </a:lnTo>
                      <a:lnTo>
                        <a:pt x="649" y="156"/>
                      </a:lnTo>
                      <a:lnTo>
                        <a:pt x="649" y="156"/>
                      </a:lnTo>
                      <a:lnTo>
                        <a:pt x="649" y="156"/>
                      </a:lnTo>
                      <a:lnTo>
                        <a:pt x="649" y="156"/>
                      </a:lnTo>
                      <a:lnTo>
                        <a:pt x="649" y="156"/>
                      </a:lnTo>
                      <a:lnTo>
                        <a:pt x="649" y="156"/>
                      </a:lnTo>
                      <a:lnTo>
                        <a:pt x="649" y="156"/>
                      </a:lnTo>
                      <a:lnTo>
                        <a:pt x="649" y="156"/>
                      </a:lnTo>
                      <a:lnTo>
                        <a:pt x="648" y="156"/>
                      </a:lnTo>
                      <a:lnTo>
                        <a:pt x="649" y="156"/>
                      </a:lnTo>
                      <a:lnTo>
                        <a:pt x="648" y="156"/>
                      </a:lnTo>
                      <a:lnTo>
                        <a:pt x="649" y="156"/>
                      </a:lnTo>
                      <a:lnTo>
                        <a:pt x="649" y="155"/>
                      </a:lnTo>
                      <a:lnTo>
                        <a:pt x="649" y="155"/>
                      </a:lnTo>
                      <a:lnTo>
                        <a:pt x="650" y="155"/>
                      </a:lnTo>
                      <a:lnTo>
                        <a:pt x="650" y="154"/>
                      </a:lnTo>
                      <a:lnTo>
                        <a:pt x="650" y="153"/>
                      </a:lnTo>
                      <a:lnTo>
                        <a:pt x="650" y="153"/>
                      </a:lnTo>
                      <a:lnTo>
                        <a:pt x="650" y="152"/>
                      </a:lnTo>
                      <a:lnTo>
                        <a:pt x="651" y="152"/>
                      </a:lnTo>
                      <a:lnTo>
                        <a:pt x="651" y="152"/>
                      </a:lnTo>
                      <a:lnTo>
                        <a:pt x="652" y="152"/>
                      </a:lnTo>
                      <a:lnTo>
                        <a:pt x="653" y="152"/>
                      </a:lnTo>
                      <a:lnTo>
                        <a:pt x="653" y="152"/>
                      </a:lnTo>
                      <a:lnTo>
                        <a:pt x="654" y="152"/>
                      </a:lnTo>
                      <a:lnTo>
                        <a:pt x="654" y="152"/>
                      </a:lnTo>
                      <a:lnTo>
                        <a:pt x="655" y="152"/>
                      </a:lnTo>
                      <a:lnTo>
                        <a:pt x="655" y="152"/>
                      </a:lnTo>
                      <a:lnTo>
                        <a:pt x="656" y="152"/>
                      </a:lnTo>
                      <a:lnTo>
                        <a:pt x="656" y="151"/>
                      </a:lnTo>
                      <a:lnTo>
                        <a:pt x="656" y="152"/>
                      </a:lnTo>
                      <a:lnTo>
                        <a:pt x="656" y="152"/>
                      </a:lnTo>
                      <a:lnTo>
                        <a:pt x="656" y="152"/>
                      </a:lnTo>
                      <a:lnTo>
                        <a:pt x="656" y="151"/>
                      </a:lnTo>
                      <a:lnTo>
                        <a:pt x="657" y="151"/>
                      </a:lnTo>
                      <a:lnTo>
                        <a:pt x="657" y="151"/>
                      </a:lnTo>
                      <a:lnTo>
                        <a:pt x="657" y="152"/>
                      </a:lnTo>
                      <a:lnTo>
                        <a:pt x="657" y="152"/>
                      </a:lnTo>
                      <a:lnTo>
                        <a:pt x="658" y="152"/>
                      </a:lnTo>
                      <a:lnTo>
                        <a:pt x="658" y="153"/>
                      </a:lnTo>
                      <a:lnTo>
                        <a:pt x="658" y="153"/>
                      </a:lnTo>
                      <a:lnTo>
                        <a:pt x="658" y="153"/>
                      </a:lnTo>
                      <a:lnTo>
                        <a:pt x="658" y="154"/>
                      </a:lnTo>
                      <a:lnTo>
                        <a:pt x="658" y="154"/>
                      </a:lnTo>
                      <a:lnTo>
                        <a:pt x="658" y="154"/>
                      </a:lnTo>
                      <a:lnTo>
                        <a:pt x="658" y="155"/>
                      </a:lnTo>
                      <a:lnTo>
                        <a:pt x="658" y="155"/>
                      </a:lnTo>
                      <a:lnTo>
                        <a:pt x="658" y="155"/>
                      </a:lnTo>
                      <a:lnTo>
                        <a:pt x="659" y="155"/>
                      </a:lnTo>
                      <a:lnTo>
                        <a:pt x="658" y="155"/>
                      </a:lnTo>
                      <a:lnTo>
                        <a:pt x="659" y="155"/>
                      </a:lnTo>
                      <a:lnTo>
                        <a:pt x="659" y="156"/>
                      </a:lnTo>
                      <a:lnTo>
                        <a:pt x="660" y="155"/>
                      </a:lnTo>
                      <a:lnTo>
                        <a:pt x="660" y="155"/>
                      </a:lnTo>
                      <a:lnTo>
                        <a:pt x="660" y="155"/>
                      </a:lnTo>
                      <a:lnTo>
                        <a:pt x="661" y="155"/>
                      </a:lnTo>
                      <a:lnTo>
                        <a:pt x="660" y="155"/>
                      </a:lnTo>
                      <a:lnTo>
                        <a:pt x="661" y="155"/>
                      </a:lnTo>
                      <a:lnTo>
                        <a:pt x="661" y="154"/>
                      </a:lnTo>
                      <a:lnTo>
                        <a:pt x="661" y="154"/>
                      </a:lnTo>
                      <a:lnTo>
                        <a:pt x="662" y="154"/>
                      </a:lnTo>
                      <a:lnTo>
                        <a:pt x="662" y="154"/>
                      </a:lnTo>
                      <a:lnTo>
                        <a:pt x="663" y="154"/>
                      </a:lnTo>
                      <a:lnTo>
                        <a:pt x="664" y="154"/>
                      </a:lnTo>
                      <a:lnTo>
                        <a:pt x="664" y="154"/>
                      </a:lnTo>
                      <a:lnTo>
                        <a:pt x="665" y="154"/>
                      </a:lnTo>
                      <a:lnTo>
                        <a:pt x="665" y="155"/>
                      </a:lnTo>
                      <a:lnTo>
                        <a:pt x="664" y="155"/>
                      </a:lnTo>
                      <a:lnTo>
                        <a:pt x="665" y="155"/>
                      </a:lnTo>
                      <a:lnTo>
                        <a:pt x="665" y="154"/>
                      </a:lnTo>
                      <a:lnTo>
                        <a:pt x="665" y="155"/>
                      </a:lnTo>
                      <a:lnTo>
                        <a:pt x="665" y="155"/>
                      </a:lnTo>
                      <a:lnTo>
                        <a:pt x="666" y="155"/>
                      </a:lnTo>
                      <a:lnTo>
                        <a:pt x="666" y="155"/>
                      </a:lnTo>
                      <a:lnTo>
                        <a:pt x="666" y="155"/>
                      </a:lnTo>
                      <a:lnTo>
                        <a:pt x="665" y="155"/>
                      </a:lnTo>
                      <a:lnTo>
                        <a:pt x="666" y="155"/>
                      </a:lnTo>
                      <a:lnTo>
                        <a:pt x="665" y="155"/>
                      </a:lnTo>
                      <a:lnTo>
                        <a:pt x="666" y="155"/>
                      </a:lnTo>
                      <a:lnTo>
                        <a:pt x="666" y="155"/>
                      </a:lnTo>
                      <a:lnTo>
                        <a:pt x="665" y="155"/>
                      </a:lnTo>
                      <a:lnTo>
                        <a:pt x="665" y="155"/>
                      </a:lnTo>
                      <a:lnTo>
                        <a:pt x="665" y="156"/>
                      </a:lnTo>
                      <a:lnTo>
                        <a:pt x="665" y="156"/>
                      </a:lnTo>
                      <a:lnTo>
                        <a:pt x="665" y="156"/>
                      </a:lnTo>
                      <a:lnTo>
                        <a:pt x="664" y="156"/>
                      </a:lnTo>
                      <a:lnTo>
                        <a:pt x="664" y="156"/>
                      </a:lnTo>
                      <a:lnTo>
                        <a:pt x="665" y="156"/>
                      </a:lnTo>
                      <a:lnTo>
                        <a:pt x="665" y="156"/>
                      </a:lnTo>
                      <a:lnTo>
                        <a:pt x="665" y="156"/>
                      </a:lnTo>
                      <a:lnTo>
                        <a:pt x="665" y="156"/>
                      </a:lnTo>
                      <a:lnTo>
                        <a:pt x="665" y="156"/>
                      </a:lnTo>
                      <a:lnTo>
                        <a:pt x="664" y="156"/>
                      </a:lnTo>
                      <a:lnTo>
                        <a:pt x="664" y="156"/>
                      </a:lnTo>
                      <a:lnTo>
                        <a:pt x="665" y="156"/>
                      </a:lnTo>
                      <a:lnTo>
                        <a:pt x="665" y="156"/>
                      </a:lnTo>
                      <a:lnTo>
                        <a:pt x="665" y="156"/>
                      </a:lnTo>
                      <a:lnTo>
                        <a:pt x="665" y="155"/>
                      </a:lnTo>
                      <a:lnTo>
                        <a:pt x="665" y="155"/>
                      </a:lnTo>
                      <a:lnTo>
                        <a:pt x="665" y="156"/>
                      </a:lnTo>
                      <a:lnTo>
                        <a:pt x="666" y="156"/>
                      </a:lnTo>
                      <a:lnTo>
                        <a:pt x="665" y="155"/>
                      </a:lnTo>
                      <a:lnTo>
                        <a:pt x="666" y="155"/>
                      </a:lnTo>
                      <a:lnTo>
                        <a:pt x="666" y="155"/>
                      </a:lnTo>
                      <a:lnTo>
                        <a:pt x="666" y="154"/>
                      </a:lnTo>
                      <a:lnTo>
                        <a:pt x="667" y="155"/>
                      </a:lnTo>
                      <a:lnTo>
                        <a:pt x="667" y="155"/>
                      </a:lnTo>
                      <a:lnTo>
                        <a:pt x="667" y="155"/>
                      </a:lnTo>
                      <a:lnTo>
                        <a:pt x="667" y="154"/>
                      </a:lnTo>
                      <a:lnTo>
                        <a:pt x="667" y="155"/>
                      </a:lnTo>
                      <a:lnTo>
                        <a:pt x="666" y="154"/>
                      </a:lnTo>
                      <a:lnTo>
                        <a:pt x="666" y="155"/>
                      </a:lnTo>
                      <a:lnTo>
                        <a:pt x="665" y="155"/>
                      </a:lnTo>
                      <a:lnTo>
                        <a:pt x="665" y="154"/>
                      </a:lnTo>
                      <a:lnTo>
                        <a:pt x="665" y="154"/>
                      </a:lnTo>
                      <a:lnTo>
                        <a:pt x="664" y="154"/>
                      </a:lnTo>
                      <a:lnTo>
                        <a:pt x="665" y="154"/>
                      </a:lnTo>
                      <a:lnTo>
                        <a:pt x="664" y="154"/>
                      </a:lnTo>
                      <a:lnTo>
                        <a:pt x="664" y="153"/>
                      </a:lnTo>
                      <a:lnTo>
                        <a:pt x="665" y="153"/>
                      </a:lnTo>
                      <a:lnTo>
                        <a:pt x="664" y="153"/>
                      </a:lnTo>
                      <a:lnTo>
                        <a:pt x="665" y="153"/>
                      </a:lnTo>
                      <a:lnTo>
                        <a:pt x="664" y="153"/>
                      </a:lnTo>
                      <a:lnTo>
                        <a:pt x="664" y="153"/>
                      </a:lnTo>
                      <a:lnTo>
                        <a:pt x="664" y="153"/>
                      </a:lnTo>
                      <a:lnTo>
                        <a:pt x="664" y="152"/>
                      </a:lnTo>
                      <a:lnTo>
                        <a:pt x="664" y="152"/>
                      </a:lnTo>
                      <a:lnTo>
                        <a:pt x="663" y="152"/>
                      </a:lnTo>
                      <a:lnTo>
                        <a:pt x="664" y="152"/>
                      </a:lnTo>
                      <a:lnTo>
                        <a:pt x="663" y="152"/>
                      </a:lnTo>
                      <a:lnTo>
                        <a:pt x="664" y="152"/>
                      </a:lnTo>
                      <a:lnTo>
                        <a:pt x="663" y="152"/>
                      </a:lnTo>
                      <a:lnTo>
                        <a:pt x="663" y="151"/>
                      </a:lnTo>
                      <a:lnTo>
                        <a:pt x="663" y="151"/>
                      </a:lnTo>
                      <a:lnTo>
                        <a:pt x="663" y="151"/>
                      </a:lnTo>
                      <a:lnTo>
                        <a:pt x="663" y="151"/>
                      </a:lnTo>
                      <a:lnTo>
                        <a:pt x="663" y="150"/>
                      </a:lnTo>
                      <a:lnTo>
                        <a:pt x="663" y="149"/>
                      </a:lnTo>
                      <a:lnTo>
                        <a:pt x="662" y="149"/>
                      </a:lnTo>
                      <a:lnTo>
                        <a:pt x="663" y="149"/>
                      </a:lnTo>
                      <a:lnTo>
                        <a:pt x="664" y="149"/>
                      </a:lnTo>
                      <a:lnTo>
                        <a:pt x="664" y="149"/>
                      </a:lnTo>
                      <a:lnTo>
                        <a:pt x="665" y="149"/>
                      </a:lnTo>
                      <a:lnTo>
                        <a:pt x="664" y="149"/>
                      </a:lnTo>
                      <a:lnTo>
                        <a:pt x="664" y="149"/>
                      </a:lnTo>
                      <a:lnTo>
                        <a:pt x="663" y="149"/>
                      </a:lnTo>
                      <a:lnTo>
                        <a:pt x="662" y="149"/>
                      </a:lnTo>
                      <a:lnTo>
                        <a:pt x="663" y="149"/>
                      </a:lnTo>
                      <a:lnTo>
                        <a:pt x="662" y="149"/>
                      </a:lnTo>
                      <a:lnTo>
                        <a:pt x="662" y="148"/>
                      </a:lnTo>
                      <a:lnTo>
                        <a:pt x="663" y="148"/>
                      </a:lnTo>
                      <a:lnTo>
                        <a:pt x="662" y="148"/>
                      </a:lnTo>
                      <a:lnTo>
                        <a:pt x="662" y="148"/>
                      </a:lnTo>
                      <a:lnTo>
                        <a:pt x="662" y="148"/>
                      </a:lnTo>
                      <a:lnTo>
                        <a:pt x="661" y="148"/>
                      </a:lnTo>
                      <a:lnTo>
                        <a:pt x="660" y="148"/>
                      </a:lnTo>
                      <a:lnTo>
                        <a:pt x="660" y="147"/>
                      </a:lnTo>
                      <a:lnTo>
                        <a:pt x="660" y="146"/>
                      </a:lnTo>
                      <a:lnTo>
                        <a:pt x="661" y="146"/>
                      </a:lnTo>
                      <a:lnTo>
                        <a:pt x="661" y="146"/>
                      </a:lnTo>
                      <a:lnTo>
                        <a:pt x="661" y="146"/>
                      </a:lnTo>
                      <a:lnTo>
                        <a:pt x="661" y="146"/>
                      </a:lnTo>
                      <a:lnTo>
                        <a:pt x="661" y="147"/>
                      </a:lnTo>
                      <a:lnTo>
                        <a:pt x="661" y="147"/>
                      </a:lnTo>
                      <a:lnTo>
                        <a:pt x="661" y="148"/>
                      </a:lnTo>
                      <a:lnTo>
                        <a:pt x="662" y="148"/>
                      </a:lnTo>
                      <a:lnTo>
                        <a:pt x="662" y="147"/>
                      </a:lnTo>
                      <a:lnTo>
                        <a:pt x="662" y="147"/>
                      </a:lnTo>
                      <a:lnTo>
                        <a:pt x="662" y="146"/>
                      </a:lnTo>
                      <a:lnTo>
                        <a:pt x="663" y="146"/>
                      </a:lnTo>
                      <a:lnTo>
                        <a:pt x="663" y="146"/>
                      </a:lnTo>
                      <a:lnTo>
                        <a:pt x="664" y="145"/>
                      </a:lnTo>
                      <a:lnTo>
                        <a:pt x="664" y="145"/>
                      </a:lnTo>
                      <a:lnTo>
                        <a:pt x="664" y="145"/>
                      </a:lnTo>
                      <a:lnTo>
                        <a:pt x="664" y="144"/>
                      </a:lnTo>
                      <a:lnTo>
                        <a:pt x="665" y="144"/>
                      </a:lnTo>
                      <a:lnTo>
                        <a:pt x="665" y="144"/>
                      </a:lnTo>
                      <a:lnTo>
                        <a:pt x="665" y="144"/>
                      </a:lnTo>
                      <a:lnTo>
                        <a:pt x="666" y="144"/>
                      </a:lnTo>
                      <a:lnTo>
                        <a:pt x="667" y="144"/>
                      </a:lnTo>
                      <a:lnTo>
                        <a:pt x="666" y="144"/>
                      </a:lnTo>
                      <a:lnTo>
                        <a:pt x="665" y="144"/>
                      </a:lnTo>
                      <a:lnTo>
                        <a:pt x="665" y="145"/>
                      </a:lnTo>
                      <a:lnTo>
                        <a:pt x="666" y="145"/>
                      </a:lnTo>
                      <a:lnTo>
                        <a:pt x="667" y="145"/>
                      </a:lnTo>
                      <a:lnTo>
                        <a:pt x="667" y="144"/>
                      </a:lnTo>
                      <a:lnTo>
                        <a:pt x="667" y="144"/>
                      </a:lnTo>
                      <a:lnTo>
                        <a:pt x="668" y="144"/>
                      </a:lnTo>
                      <a:lnTo>
                        <a:pt x="668" y="144"/>
                      </a:lnTo>
                      <a:lnTo>
                        <a:pt x="668" y="144"/>
                      </a:lnTo>
                      <a:lnTo>
                        <a:pt x="667" y="144"/>
                      </a:lnTo>
                      <a:lnTo>
                        <a:pt x="667" y="144"/>
                      </a:lnTo>
                      <a:lnTo>
                        <a:pt x="667" y="144"/>
                      </a:lnTo>
                      <a:lnTo>
                        <a:pt x="666" y="144"/>
                      </a:lnTo>
                      <a:lnTo>
                        <a:pt x="666" y="143"/>
                      </a:lnTo>
                      <a:lnTo>
                        <a:pt x="665" y="143"/>
                      </a:lnTo>
                      <a:lnTo>
                        <a:pt x="666" y="142"/>
                      </a:lnTo>
                      <a:lnTo>
                        <a:pt x="665" y="142"/>
                      </a:lnTo>
                      <a:lnTo>
                        <a:pt x="665" y="143"/>
                      </a:lnTo>
                      <a:lnTo>
                        <a:pt x="666" y="143"/>
                      </a:lnTo>
                      <a:lnTo>
                        <a:pt x="665" y="143"/>
                      </a:lnTo>
                      <a:lnTo>
                        <a:pt x="665" y="144"/>
                      </a:lnTo>
                      <a:lnTo>
                        <a:pt x="665" y="144"/>
                      </a:lnTo>
                      <a:lnTo>
                        <a:pt x="664" y="144"/>
                      </a:lnTo>
                      <a:lnTo>
                        <a:pt x="664" y="144"/>
                      </a:lnTo>
                      <a:lnTo>
                        <a:pt x="663" y="144"/>
                      </a:lnTo>
                      <a:lnTo>
                        <a:pt x="662" y="143"/>
                      </a:lnTo>
                      <a:lnTo>
                        <a:pt x="662" y="144"/>
                      </a:lnTo>
                      <a:lnTo>
                        <a:pt x="661" y="144"/>
                      </a:lnTo>
                      <a:lnTo>
                        <a:pt x="661" y="144"/>
                      </a:lnTo>
                      <a:lnTo>
                        <a:pt x="661" y="144"/>
                      </a:lnTo>
                      <a:lnTo>
                        <a:pt x="662" y="144"/>
                      </a:lnTo>
                      <a:lnTo>
                        <a:pt x="662" y="145"/>
                      </a:lnTo>
                      <a:lnTo>
                        <a:pt x="662" y="144"/>
                      </a:lnTo>
                      <a:lnTo>
                        <a:pt x="661" y="144"/>
                      </a:lnTo>
                      <a:lnTo>
                        <a:pt x="661" y="144"/>
                      </a:lnTo>
                      <a:lnTo>
                        <a:pt x="660" y="145"/>
                      </a:lnTo>
                      <a:lnTo>
                        <a:pt x="660" y="144"/>
                      </a:lnTo>
                      <a:lnTo>
                        <a:pt x="660" y="144"/>
                      </a:lnTo>
                      <a:lnTo>
                        <a:pt x="659" y="144"/>
                      </a:lnTo>
                      <a:lnTo>
                        <a:pt x="660" y="144"/>
                      </a:lnTo>
                      <a:lnTo>
                        <a:pt x="660" y="145"/>
                      </a:lnTo>
                      <a:lnTo>
                        <a:pt x="660" y="145"/>
                      </a:lnTo>
                      <a:lnTo>
                        <a:pt x="660" y="145"/>
                      </a:lnTo>
                      <a:lnTo>
                        <a:pt x="659" y="145"/>
                      </a:lnTo>
                      <a:lnTo>
                        <a:pt x="659" y="144"/>
                      </a:lnTo>
                      <a:lnTo>
                        <a:pt x="658" y="144"/>
                      </a:lnTo>
                      <a:lnTo>
                        <a:pt x="658" y="144"/>
                      </a:lnTo>
                      <a:lnTo>
                        <a:pt x="658" y="143"/>
                      </a:lnTo>
                      <a:lnTo>
                        <a:pt x="658" y="142"/>
                      </a:lnTo>
                      <a:lnTo>
                        <a:pt x="658" y="142"/>
                      </a:lnTo>
                      <a:lnTo>
                        <a:pt x="659" y="142"/>
                      </a:lnTo>
                      <a:lnTo>
                        <a:pt x="658" y="142"/>
                      </a:lnTo>
                      <a:lnTo>
                        <a:pt x="659" y="142"/>
                      </a:lnTo>
                      <a:lnTo>
                        <a:pt x="659" y="141"/>
                      </a:lnTo>
                      <a:lnTo>
                        <a:pt x="660" y="141"/>
                      </a:lnTo>
                      <a:lnTo>
                        <a:pt x="660" y="141"/>
                      </a:lnTo>
                      <a:lnTo>
                        <a:pt x="661" y="141"/>
                      </a:lnTo>
                      <a:lnTo>
                        <a:pt x="661" y="141"/>
                      </a:lnTo>
                      <a:lnTo>
                        <a:pt x="661" y="141"/>
                      </a:lnTo>
                      <a:lnTo>
                        <a:pt x="662" y="141"/>
                      </a:lnTo>
                      <a:lnTo>
                        <a:pt x="662" y="141"/>
                      </a:lnTo>
                      <a:lnTo>
                        <a:pt x="663" y="141"/>
                      </a:lnTo>
                      <a:lnTo>
                        <a:pt x="664" y="141"/>
                      </a:lnTo>
                      <a:lnTo>
                        <a:pt x="664" y="141"/>
                      </a:lnTo>
                      <a:lnTo>
                        <a:pt x="665" y="141"/>
                      </a:lnTo>
                      <a:lnTo>
                        <a:pt x="665" y="141"/>
                      </a:lnTo>
                      <a:lnTo>
                        <a:pt x="665" y="142"/>
                      </a:lnTo>
                      <a:lnTo>
                        <a:pt x="665" y="141"/>
                      </a:lnTo>
                      <a:lnTo>
                        <a:pt x="665" y="141"/>
                      </a:lnTo>
                      <a:lnTo>
                        <a:pt x="664" y="141"/>
                      </a:lnTo>
                      <a:lnTo>
                        <a:pt x="664" y="141"/>
                      </a:lnTo>
                      <a:lnTo>
                        <a:pt x="663" y="141"/>
                      </a:lnTo>
                      <a:lnTo>
                        <a:pt x="662" y="141"/>
                      </a:lnTo>
                      <a:lnTo>
                        <a:pt x="662" y="141"/>
                      </a:lnTo>
                      <a:lnTo>
                        <a:pt x="661" y="141"/>
                      </a:lnTo>
                      <a:lnTo>
                        <a:pt x="661" y="141"/>
                      </a:lnTo>
                      <a:lnTo>
                        <a:pt x="661" y="141"/>
                      </a:lnTo>
                      <a:lnTo>
                        <a:pt x="661" y="141"/>
                      </a:lnTo>
                      <a:lnTo>
                        <a:pt x="661" y="141"/>
                      </a:lnTo>
                      <a:lnTo>
                        <a:pt x="660" y="141"/>
                      </a:lnTo>
                      <a:lnTo>
                        <a:pt x="661" y="140"/>
                      </a:lnTo>
                      <a:lnTo>
                        <a:pt x="661" y="140"/>
                      </a:lnTo>
                      <a:lnTo>
                        <a:pt x="661" y="140"/>
                      </a:lnTo>
                      <a:lnTo>
                        <a:pt x="662" y="139"/>
                      </a:lnTo>
                      <a:lnTo>
                        <a:pt x="662" y="140"/>
                      </a:lnTo>
                      <a:lnTo>
                        <a:pt x="662" y="139"/>
                      </a:lnTo>
                      <a:lnTo>
                        <a:pt x="662" y="139"/>
                      </a:lnTo>
                      <a:lnTo>
                        <a:pt x="663" y="138"/>
                      </a:lnTo>
                      <a:lnTo>
                        <a:pt x="664" y="138"/>
                      </a:lnTo>
                      <a:lnTo>
                        <a:pt x="665" y="138"/>
                      </a:lnTo>
                      <a:lnTo>
                        <a:pt x="665" y="138"/>
                      </a:lnTo>
                      <a:lnTo>
                        <a:pt x="666" y="138"/>
                      </a:lnTo>
                      <a:lnTo>
                        <a:pt x="667" y="138"/>
                      </a:lnTo>
                      <a:lnTo>
                        <a:pt x="667" y="138"/>
                      </a:lnTo>
                      <a:lnTo>
                        <a:pt x="667" y="138"/>
                      </a:lnTo>
                      <a:lnTo>
                        <a:pt x="667" y="138"/>
                      </a:lnTo>
                      <a:lnTo>
                        <a:pt x="667" y="138"/>
                      </a:lnTo>
                      <a:lnTo>
                        <a:pt x="667" y="138"/>
                      </a:lnTo>
                      <a:lnTo>
                        <a:pt x="667" y="138"/>
                      </a:lnTo>
                      <a:lnTo>
                        <a:pt x="667" y="138"/>
                      </a:lnTo>
                      <a:lnTo>
                        <a:pt x="667" y="138"/>
                      </a:lnTo>
                      <a:lnTo>
                        <a:pt x="667" y="138"/>
                      </a:lnTo>
                      <a:lnTo>
                        <a:pt x="667" y="138"/>
                      </a:lnTo>
                      <a:lnTo>
                        <a:pt x="668" y="138"/>
                      </a:lnTo>
                      <a:lnTo>
                        <a:pt x="667" y="138"/>
                      </a:lnTo>
                      <a:lnTo>
                        <a:pt x="668" y="138"/>
                      </a:lnTo>
                      <a:lnTo>
                        <a:pt x="667" y="138"/>
                      </a:lnTo>
                      <a:lnTo>
                        <a:pt x="668" y="138"/>
                      </a:lnTo>
                      <a:lnTo>
                        <a:pt x="668" y="138"/>
                      </a:lnTo>
                      <a:lnTo>
                        <a:pt x="668" y="138"/>
                      </a:lnTo>
                      <a:lnTo>
                        <a:pt x="668" y="139"/>
                      </a:lnTo>
                      <a:lnTo>
                        <a:pt x="667" y="139"/>
                      </a:lnTo>
                      <a:lnTo>
                        <a:pt x="668" y="140"/>
                      </a:lnTo>
                      <a:lnTo>
                        <a:pt x="667" y="140"/>
                      </a:lnTo>
                      <a:lnTo>
                        <a:pt x="668" y="140"/>
                      </a:lnTo>
                      <a:lnTo>
                        <a:pt x="668" y="140"/>
                      </a:lnTo>
                      <a:lnTo>
                        <a:pt x="669" y="140"/>
                      </a:lnTo>
                      <a:lnTo>
                        <a:pt x="668" y="140"/>
                      </a:lnTo>
                      <a:lnTo>
                        <a:pt x="669" y="140"/>
                      </a:lnTo>
                      <a:lnTo>
                        <a:pt x="669" y="140"/>
                      </a:lnTo>
                      <a:lnTo>
                        <a:pt x="669" y="140"/>
                      </a:lnTo>
                      <a:lnTo>
                        <a:pt x="669" y="140"/>
                      </a:lnTo>
                      <a:lnTo>
                        <a:pt x="669" y="140"/>
                      </a:lnTo>
                      <a:lnTo>
                        <a:pt x="669" y="140"/>
                      </a:lnTo>
                      <a:lnTo>
                        <a:pt x="670" y="140"/>
                      </a:lnTo>
                      <a:lnTo>
                        <a:pt x="671" y="140"/>
                      </a:lnTo>
                      <a:lnTo>
                        <a:pt x="671" y="139"/>
                      </a:lnTo>
                      <a:lnTo>
                        <a:pt x="670" y="139"/>
                      </a:lnTo>
                      <a:lnTo>
                        <a:pt x="671" y="139"/>
                      </a:lnTo>
                      <a:lnTo>
                        <a:pt x="670" y="139"/>
                      </a:lnTo>
                      <a:lnTo>
                        <a:pt x="671" y="139"/>
                      </a:lnTo>
                      <a:lnTo>
                        <a:pt x="671" y="138"/>
                      </a:lnTo>
                      <a:lnTo>
                        <a:pt x="672" y="138"/>
                      </a:lnTo>
                      <a:lnTo>
                        <a:pt x="672" y="138"/>
                      </a:lnTo>
                      <a:lnTo>
                        <a:pt x="672" y="138"/>
                      </a:lnTo>
                      <a:lnTo>
                        <a:pt x="672" y="138"/>
                      </a:lnTo>
                      <a:lnTo>
                        <a:pt x="672" y="138"/>
                      </a:lnTo>
                      <a:lnTo>
                        <a:pt x="672" y="138"/>
                      </a:lnTo>
                      <a:lnTo>
                        <a:pt x="672" y="138"/>
                      </a:lnTo>
                      <a:lnTo>
                        <a:pt x="672" y="138"/>
                      </a:lnTo>
                      <a:lnTo>
                        <a:pt x="672" y="138"/>
                      </a:lnTo>
                      <a:lnTo>
                        <a:pt x="673" y="138"/>
                      </a:lnTo>
                      <a:lnTo>
                        <a:pt x="673" y="138"/>
                      </a:lnTo>
                      <a:lnTo>
                        <a:pt x="673" y="138"/>
                      </a:lnTo>
                      <a:lnTo>
                        <a:pt x="672" y="138"/>
                      </a:lnTo>
                      <a:lnTo>
                        <a:pt x="673" y="138"/>
                      </a:lnTo>
                      <a:lnTo>
                        <a:pt x="672" y="138"/>
                      </a:lnTo>
                      <a:lnTo>
                        <a:pt x="673" y="138"/>
                      </a:lnTo>
                      <a:lnTo>
                        <a:pt x="673" y="138"/>
                      </a:lnTo>
                      <a:lnTo>
                        <a:pt x="672" y="138"/>
                      </a:lnTo>
                      <a:lnTo>
                        <a:pt x="673" y="138"/>
                      </a:lnTo>
                      <a:lnTo>
                        <a:pt x="672" y="138"/>
                      </a:lnTo>
                      <a:lnTo>
                        <a:pt x="673" y="138"/>
                      </a:lnTo>
                      <a:lnTo>
                        <a:pt x="672" y="138"/>
                      </a:lnTo>
                      <a:lnTo>
                        <a:pt x="673" y="138"/>
                      </a:lnTo>
                      <a:lnTo>
                        <a:pt x="672" y="138"/>
                      </a:lnTo>
                      <a:lnTo>
                        <a:pt x="672" y="138"/>
                      </a:lnTo>
                      <a:lnTo>
                        <a:pt x="672" y="138"/>
                      </a:lnTo>
                      <a:lnTo>
                        <a:pt x="672" y="138"/>
                      </a:lnTo>
                      <a:lnTo>
                        <a:pt x="672" y="138"/>
                      </a:lnTo>
                      <a:lnTo>
                        <a:pt x="672" y="137"/>
                      </a:lnTo>
                      <a:lnTo>
                        <a:pt x="673" y="137"/>
                      </a:lnTo>
                      <a:lnTo>
                        <a:pt x="672" y="137"/>
                      </a:lnTo>
                      <a:lnTo>
                        <a:pt x="673" y="137"/>
                      </a:lnTo>
                      <a:lnTo>
                        <a:pt x="673" y="137"/>
                      </a:lnTo>
                      <a:lnTo>
                        <a:pt x="673" y="137"/>
                      </a:lnTo>
                      <a:lnTo>
                        <a:pt x="674" y="137"/>
                      </a:lnTo>
                      <a:lnTo>
                        <a:pt x="674" y="137"/>
                      </a:lnTo>
                      <a:lnTo>
                        <a:pt x="675" y="137"/>
                      </a:lnTo>
                      <a:lnTo>
                        <a:pt x="674" y="137"/>
                      </a:lnTo>
                      <a:lnTo>
                        <a:pt x="675" y="137"/>
                      </a:lnTo>
                      <a:lnTo>
                        <a:pt x="674" y="137"/>
                      </a:lnTo>
                      <a:lnTo>
                        <a:pt x="675" y="137"/>
                      </a:lnTo>
                      <a:lnTo>
                        <a:pt x="674" y="137"/>
                      </a:lnTo>
                      <a:lnTo>
                        <a:pt x="674" y="137"/>
                      </a:lnTo>
                      <a:lnTo>
                        <a:pt x="675" y="137"/>
                      </a:lnTo>
                      <a:lnTo>
                        <a:pt x="674" y="137"/>
                      </a:lnTo>
                      <a:lnTo>
                        <a:pt x="673" y="137"/>
                      </a:lnTo>
                      <a:lnTo>
                        <a:pt x="674" y="137"/>
                      </a:lnTo>
                      <a:lnTo>
                        <a:pt x="673" y="137"/>
                      </a:lnTo>
                      <a:lnTo>
                        <a:pt x="673" y="137"/>
                      </a:lnTo>
                      <a:lnTo>
                        <a:pt x="673" y="136"/>
                      </a:lnTo>
                      <a:lnTo>
                        <a:pt x="673" y="135"/>
                      </a:lnTo>
                      <a:lnTo>
                        <a:pt x="672" y="135"/>
                      </a:lnTo>
                      <a:lnTo>
                        <a:pt x="672" y="135"/>
                      </a:lnTo>
                      <a:lnTo>
                        <a:pt x="671" y="135"/>
                      </a:lnTo>
                      <a:lnTo>
                        <a:pt x="671" y="134"/>
                      </a:lnTo>
                      <a:lnTo>
                        <a:pt x="671" y="134"/>
                      </a:lnTo>
                      <a:lnTo>
                        <a:pt x="671" y="134"/>
                      </a:lnTo>
                      <a:lnTo>
                        <a:pt x="671" y="134"/>
                      </a:lnTo>
                      <a:lnTo>
                        <a:pt x="672" y="134"/>
                      </a:lnTo>
                      <a:lnTo>
                        <a:pt x="672" y="134"/>
                      </a:lnTo>
                      <a:lnTo>
                        <a:pt x="673" y="134"/>
                      </a:lnTo>
                      <a:lnTo>
                        <a:pt x="672" y="134"/>
                      </a:lnTo>
                      <a:lnTo>
                        <a:pt x="673" y="134"/>
                      </a:lnTo>
                      <a:lnTo>
                        <a:pt x="673" y="134"/>
                      </a:lnTo>
                      <a:lnTo>
                        <a:pt x="674" y="134"/>
                      </a:lnTo>
                      <a:lnTo>
                        <a:pt x="675" y="134"/>
                      </a:lnTo>
                      <a:lnTo>
                        <a:pt x="675" y="134"/>
                      </a:lnTo>
                      <a:lnTo>
                        <a:pt x="676" y="134"/>
                      </a:lnTo>
                      <a:lnTo>
                        <a:pt x="676" y="134"/>
                      </a:lnTo>
                      <a:lnTo>
                        <a:pt x="677" y="134"/>
                      </a:lnTo>
                      <a:lnTo>
                        <a:pt x="677" y="135"/>
                      </a:lnTo>
                      <a:lnTo>
                        <a:pt x="677" y="135"/>
                      </a:lnTo>
                      <a:lnTo>
                        <a:pt x="678" y="135"/>
                      </a:lnTo>
                      <a:lnTo>
                        <a:pt x="679" y="135"/>
                      </a:lnTo>
                      <a:lnTo>
                        <a:pt x="679" y="135"/>
                      </a:lnTo>
                      <a:lnTo>
                        <a:pt x="680" y="135"/>
                      </a:lnTo>
                      <a:lnTo>
                        <a:pt x="680" y="136"/>
                      </a:lnTo>
                      <a:lnTo>
                        <a:pt x="681" y="136"/>
                      </a:lnTo>
                      <a:lnTo>
                        <a:pt x="682" y="136"/>
                      </a:lnTo>
                      <a:lnTo>
                        <a:pt x="682" y="136"/>
                      </a:lnTo>
                      <a:lnTo>
                        <a:pt x="683" y="136"/>
                      </a:lnTo>
                      <a:lnTo>
                        <a:pt x="683" y="136"/>
                      </a:lnTo>
                      <a:lnTo>
                        <a:pt x="684" y="136"/>
                      </a:lnTo>
                      <a:lnTo>
                        <a:pt x="685" y="136"/>
                      </a:lnTo>
                      <a:lnTo>
                        <a:pt x="686" y="136"/>
                      </a:lnTo>
                      <a:lnTo>
                        <a:pt x="686" y="136"/>
                      </a:lnTo>
                      <a:lnTo>
                        <a:pt x="687" y="136"/>
                      </a:lnTo>
                      <a:lnTo>
                        <a:pt x="688" y="136"/>
                      </a:lnTo>
                      <a:lnTo>
                        <a:pt x="689" y="137"/>
                      </a:lnTo>
                      <a:lnTo>
                        <a:pt x="690" y="137"/>
                      </a:lnTo>
                      <a:lnTo>
                        <a:pt x="691" y="137"/>
                      </a:lnTo>
                      <a:lnTo>
                        <a:pt x="691" y="137"/>
                      </a:lnTo>
                      <a:lnTo>
                        <a:pt x="692" y="137"/>
                      </a:lnTo>
                      <a:lnTo>
                        <a:pt x="693" y="137"/>
                      </a:lnTo>
                      <a:lnTo>
                        <a:pt x="693" y="137"/>
                      </a:lnTo>
                      <a:lnTo>
                        <a:pt x="694" y="137"/>
                      </a:lnTo>
                      <a:lnTo>
                        <a:pt x="694" y="137"/>
                      </a:lnTo>
                      <a:lnTo>
                        <a:pt x="695" y="137"/>
                      </a:lnTo>
                      <a:lnTo>
                        <a:pt x="695" y="137"/>
                      </a:lnTo>
                      <a:lnTo>
                        <a:pt x="696" y="137"/>
                      </a:lnTo>
                      <a:lnTo>
                        <a:pt x="697" y="137"/>
                      </a:lnTo>
                      <a:lnTo>
                        <a:pt x="698" y="137"/>
                      </a:lnTo>
                      <a:lnTo>
                        <a:pt x="697" y="137"/>
                      </a:lnTo>
                      <a:lnTo>
                        <a:pt x="698" y="137"/>
                      </a:lnTo>
                      <a:lnTo>
                        <a:pt x="698" y="137"/>
                      </a:lnTo>
                      <a:lnTo>
                        <a:pt x="699" y="137"/>
                      </a:lnTo>
                      <a:lnTo>
                        <a:pt x="699" y="137"/>
                      </a:lnTo>
                      <a:lnTo>
                        <a:pt x="699" y="137"/>
                      </a:lnTo>
                      <a:lnTo>
                        <a:pt x="700" y="137"/>
                      </a:lnTo>
                      <a:lnTo>
                        <a:pt x="701" y="137"/>
                      </a:lnTo>
                      <a:lnTo>
                        <a:pt x="701" y="137"/>
                      </a:lnTo>
                      <a:lnTo>
                        <a:pt x="702" y="137"/>
                      </a:lnTo>
                      <a:lnTo>
                        <a:pt x="702" y="137"/>
                      </a:lnTo>
                      <a:lnTo>
                        <a:pt x="702" y="138"/>
                      </a:lnTo>
                      <a:lnTo>
                        <a:pt x="703" y="138"/>
                      </a:lnTo>
                      <a:lnTo>
                        <a:pt x="703" y="138"/>
                      </a:lnTo>
                      <a:lnTo>
                        <a:pt x="703" y="138"/>
                      </a:lnTo>
                      <a:lnTo>
                        <a:pt x="703" y="138"/>
                      </a:lnTo>
                      <a:lnTo>
                        <a:pt x="704" y="138"/>
                      </a:lnTo>
                      <a:lnTo>
                        <a:pt x="705" y="138"/>
                      </a:lnTo>
                      <a:lnTo>
                        <a:pt x="705" y="138"/>
                      </a:lnTo>
                      <a:lnTo>
                        <a:pt x="705" y="138"/>
                      </a:lnTo>
                      <a:lnTo>
                        <a:pt x="705" y="138"/>
                      </a:lnTo>
                      <a:lnTo>
                        <a:pt x="706" y="138"/>
                      </a:lnTo>
                      <a:lnTo>
                        <a:pt x="705" y="138"/>
                      </a:lnTo>
                      <a:lnTo>
                        <a:pt x="706" y="138"/>
                      </a:lnTo>
                      <a:lnTo>
                        <a:pt x="706" y="138"/>
                      </a:lnTo>
                      <a:lnTo>
                        <a:pt x="707" y="138"/>
                      </a:lnTo>
                      <a:lnTo>
                        <a:pt x="708" y="138"/>
                      </a:lnTo>
                      <a:lnTo>
                        <a:pt x="708" y="138"/>
                      </a:lnTo>
                      <a:lnTo>
                        <a:pt x="708" y="138"/>
                      </a:lnTo>
                      <a:lnTo>
                        <a:pt x="708" y="138"/>
                      </a:lnTo>
                      <a:lnTo>
                        <a:pt x="709" y="138"/>
                      </a:lnTo>
                      <a:lnTo>
                        <a:pt x="709" y="139"/>
                      </a:lnTo>
                      <a:lnTo>
                        <a:pt x="709" y="139"/>
                      </a:lnTo>
                      <a:lnTo>
                        <a:pt x="710" y="139"/>
                      </a:lnTo>
                      <a:lnTo>
                        <a:pt x="709" y="139"/>
                      </a:lnTo>
                      <a:lnTo>
                        <a:pt x="710" y="139"/>
                      </a:lnTo>
                      <a:lnTo>
                        <a:pt x="710" y="139"/>
                      </a:lnTo>
                      <a:lnTo>
                        <a:pt x="711" y="139"/>
                      </a:lnTo>
                      <a:lnTo>
                        <a:pt x="712" y="139"/>
                      </a:lnTo>
                      <a:lnTo>
                        <a:pt x="712" y="140"/>
                      </a:lnTo>
                      <a:lnTo>
                        <a:pt x="712" y="139"/>
                      </a:lnTo>
                      <a:lnTo>
                        <a:pt x="712" y="140"/>
                      </a:lnTo>
                      <a:lnTo>
                        <a:pt x="712" y="140"/>
                      </a:lnTo>
                      <a:lnTo>
                        <a:pt x="713" y="140"/>
                      </a:lnTo>
                      <a:lnTo>
                        <a:pt x="713" y="140"/>
                      </a:lnTo>
                      <a:lnTo>
                        <a:pt x="714" y="140"/>
                      </a:lnTo>
                      <a:lnTo>
                        <a:pt x="714" y="140"/>
                      </a:lnTo>
                      <a:lnTo>
                        <a:pt x="714" y="140"/>
                      </a:lnTo>
                      <a:lnTo>
                        <a:pt x="714" y="140"/>
                      </a:lnTo>
                      <a:lnTo>
                        <a:pt x="714" y="140"/>
                      </a:lnTo>
                      <a:lnTo>
                        <a:pt x="715" y="140"/>
                      </a:lnTo>
                      <a:lnTo>
                        <a:pt x="716" y="140"/>
                      </a:lnTo>
                      <a:lnTo>
                        <a:pt x="716" y="140"/>
                      </a:lnTo>
                      <a:lnTo>
                        <a:pt x="716" y="141"/>
                      </a:lnTo>
                      <a:lnTo>
                        <a:pt x="716" y="140"/>
                      </a:lnTo>
                      <a:lnTo>
                        <a:pt x="716" y="141"/>
                      </a:lnTo>
                      <a:lnTo>
                        <a:pt x="717" y="141"/>
                      </a:lnTo>
                      <a:lnTo>
                        <a:pt x="716" y="141"/>
                      </a:lnTo>
                      <a:lnTo>
                        <a:pt x="717" y="141"/>
                      </a:lnTo>
                      <a:lnTo>
                        <a:pt x="716" y="141"/>
                      </a:lnTo>
                      <a:lnTo>
                        <a:pt x="717" y="141"/>
                      </a:lnTo>
                      <a:lnTo>
                        <a:pt x="717" y="141"/>
                      </a:lnTo>
                      <a:lnTo>
                        <a:pt x="718" y="141"/>
                      </a:lnTo>
                      <a:lnTo>
                        <a:pt x="718" y="141"/>
                      </a:lnTo>
                      <a:lnTo>
                        <a:pt x="718" y="141"/>
                      </a:lnTo>
                      <a:lnTo>
                        <a:pt x="718" y="141"/>
                      </a:lnTo>
                      <a:lnTo>
                        <a:pt x="718" y="141"/>
                      </a:lnTo>
                      <a:lnTo>
                        <a:pt x="718" y="141"/>
                      </a:lnTo>
                      <a:lnTo>
                        <a:pt x="718" y="141"/>
                      </a:lnTo>
                      <a:lnTo>
                        <a:pt x="718" y="141"/>
                      </a:lnTo>
                      <a:lnTo>
                        <a:pt x="718" y="141"/>
                      </a:lnTo>
                      <a:lnTo>
                        <a:pt x="718" y="141"/>
                      </a:lnTo>
                      <a:lnTo>
                        <a:pt x="718" y="141"/>
                      </a:lnTo>
                      <a:lnTo>
                        <a:pt x="718" y="141"/>
                      </a:lnTo>
                      <a:lnTo>
                        <a:pt x="718" y="141"/>
                      </a:lnTo>
                      <a:lnTo>
                        <a:pt x="719" y="141"/>
                      </a:lnTo>
                      <a:lnTo>
                        <a:pt x="718" y="141"/>
                      </a:lnTo>
                      <a:lnTo>
                        <a:pt x="719" y="141"/>
                      </a:lnTo>
                      <a:lnTo>
                        <a:pt x="720" y="141"/>
                      </a:lnTo>
                      <a:lnTo>
                        <a:pt x="720" y="141"/>
                      </a:lnTo>
                      <a:lnTo>
                        <a:pt x="720" y="141"/>
                      </a:lnTo>
                      <a:lnTo>
                        <a:pt x="720" y="141"/>
                      </a:lnTo>
                      <a:lnTo>
                        <a:pt x="720" y="142"/>
                      </a:lnTo>
                      <a:lnTo>
                        <a:pt x="720" y="142"/>
                      </a:lnTo>
                      <a:lnTo>
                        <a:pt x="718" y="142"/>
                      </a:lnTo>
                      <a:lnTo>
                        <a:pt x="718" y="141"/>
                      </a:lnTo>
                      <a:lnTo>
                        <a:pt x="717" y="141"/>
                      </a:lnTo>
                      <a:lnTo>
                        <a:pt x="716" y="142"/>
                      </a:lnTo>
                      <a:lnTo>
                        <a:pt x="716" y="142"/>
                      </a:lnTo>
                      <a:lnTo>
                        <a:pt x="715" y="142"/>
                      </a:lnTo>
                      <a:lnTo>
                        <a:pt x="714" y="141"/>
                      </a:lnTo>
                      <a:lnTo>
                        <a:pt x="713" y="142"/>
                      </a:lnTo>
                      <a:lnTo>
                        <a:pt x="713" y="142"/>
                      </a:lnTo>
                      <a:lnTo>
                        <a:pt x="712" y="142"/>
                      </a:lnTo>
                      <a:lnTo>
                        <a:pt x="711" y="141"/>
                      </a:lnTo>
                      <a:lnTo>
                        <a:pt x="711" y="142"/>
                      </a:lnTo>
                      <a:lnTo>
                        <a:pt x="710" y="142"/>
                      </a:lnTo>
                      <a:lnTo>
                        <a:pt x="710" y="141"/>
                      </a:lnTo>
                      <a:lnTo>
                        <a:pt x="710" y="141"/>
                      </a:lnTo>
                      <a:lnTo>
                        <a:pt x="709" y="141"/>
                      </a:lnTo>
                      <a:lnTo>
                        <a:pt x="709" y="141"/>
                      </a:lnTo>
                      <a:lnTo>
                        <a:pt x="709" y="142"/>
                      </a:lnTo>
                      <a:lnTo>
                        <a:pt x="708" y="142"/>
                      </a:lnTo>
                      <a:lnTo>
                        <a:pt x="708" y="141"/>
                      </a:lnTo>
                      <a:lnTo>
                        <a:pt x="708" y="141"/>
                      </a:lnTo>
                      <a:lnTo>
                        <a:pt x="708" y="141"/>
                      </a:lnTo>
                      <a:lnTo>
                        <a:pt x="708" y="140"/>
                      </a:lnTo>
                      <a:lnTo>
                        <a:pt x="707" y="140"/>
                      </a:lnTo>
                      <a:lnTo>
                        <a:pt x="708" y="140"/>
                      </a:lnTo>
                      <a:lnTo>
                        <a:pt x="707" y="140"/>
                      </a:lnTo>
                      <a:lnTo>
                        <a:pt x="708" y="140"/>
                      </a:lnTo>
                      <a:lnTo>
                        <a:pt x="707" y="140"/>
                      </a:lnTo>
                      <a:lnTo>
                        <a:pt x="708" y="140"/>
                      </a:lnTo>
                      <a:lnTo>
                        <a:pt x="707" y="140"/>
                      </a:lnTo>
                      <a:lnTo>
                        <a:pt x="706" y="141"/>
                      </a:lnTo>
                      <a:lnTo>
                        <a:pt x="706" y="141"/>
                      </a:lnTo>
                      <a:lnTo>
                        <a:pt x="706" y="140"/>
                      </a:lnTo>
                      <a:lnTo>
                        <a:pt x="705" y="140"/>
                      </a:lnTo>
                      <a:lnTo>
                        <a:pt x="705" y="140"/>
                      </a:lnTo>
                      <a:lnTo>
                        <a:pt x="704" y="141"/>
                      </a:lnTo>
                      <a:lnTo>
                        <a:pt x="703" y="141"/>
                      </a:lnTo>
                      <a:lnTo>
                        <a:pt x="703" y="141"/>
                      </a:lnTo>
                      <a:lnTo>
                        <a:pt x="703" y="141"/>
                      </a:lnTo>
                      <a:lnTo>
                        <a:pt x="703" y="141"/>
                      </a:lnTo>
                      <a:lnTo>
                        <a:pt x="702" y="142"/>
                      </a:lnTo>
                      <a:lnTo>
                        <a:pt x="702" y="142"/>
                      </a:lnTo>
                      <a:lnTo>
                        <a:pt x="702" y="143"/>
                      </a:lnTo>
                      <a:lnTo>
                        <a:pt x="701" y="143"/>
                      </a:lnTo>
                      <a:lnTo>
                        <a:pt x="701" y="143"/>
                      </a:lnTo>
                      <a:lnTo>
                        <a:pt x="700" y="143"/>
                      </a:lnTo>
                      <a:lnTo>
                        <a:pt x="700" y="142"/>
                      </a:lnTo>
                      <a:lnTo>
                        <a:pt x="699" y="142"/>
                      </a:lnTo>
                      <a:lnTo>
                        <a:pt x="699" y="143"/>
                      </a:lnTo>
                      <a:lnTo>
                        <a:pt x="699" y="143"/>
                      </a:lnTo>
                      <a:lnTo>
                        <a:pt x="699" y="142"/>
                      </a:lnTo>
                      <a:lnTo>
                        <a:pt x="698" y="142"/>
                      </a:lnTo>
                      <a:lnTo>
                        <a:pt x="698" y="143"/>
                      </a:lnTo>
                      <a:lnTo>
                        <a:pt x="698" y="143"/>
                      </a:lnTo>
                      <a:lnTo>
                        <a:pt x="698" y="144"/>
                      </a:lnTo>
                      <a:lnTo>
                        <a:pt x="697" y="144"/>
                      </a:lnTo>
                      <a:lnTo>
                        <a:pt x="698" y="144"/>
                      </a:lnTo>
                      <a:lnTo>
                        <a:pt x="698" y="143"/>
                      </a:lnTo>
                      <a:lnTo>
                        <a:pt x="698" y="143"/>
                      </a:lnTo>
                      <a:lnTo>
                        <a:pt x="698" y="142"/>
                      </a:lnTo>
                      <a:lnTo>
                        <a:pt x="699" y="143"/>
                      </a:lnTo>
                      <a:lnTo>
                        <a:pt x="699" y="143"/>
                      </a:lnTo>
                      <a:lnTo>
                        <a:pt x="699" y="143"/>
                      </a:lnTo>
                      <a:lnTo>
                        <a:pt x="699" y="144"/>
                      </a:lnTo>
                      <a:lnTo>
                        <a:pt x="699" y="144"/>
                      </a:lnTo>
                      <a:lnTo>
                        <a:pt x="698" y="144"/>
                      </a:lnTo>
                      <a:lnTo>
                        <a:pt x="699" y="144"/>
                      </a:lnTo>
                      <a:lnTo>
                        <a:pt x="698" y="144"/>
                      </a:lnTo>
                      <a:lnTo>
                        <a:pt x="698" y="144"/>
                      </a:lnTo>
                      <a:lnTo>
                        <a:pt x="698" y="144"/>
                      </a:lnTo>
                      <a:lnTo>
                        <a:pt x="697" y="144"/>
                      </a:lnTo>
                      <a:lnTo>
                        <a:pt x="698" y="144"/>
                      </a:lnTo>
                      <a:lnTo>
                        <a:pt x="697" y="144"/>
                      </a:lnTo>
                      <a:lnTo>
                        <a:pt x="698" y="144"/>
                      </a:lnTo>
                      <a:lnTo>
                        <a:pt x="698" y="144"/>
                      </a:lnTo>
                      <a:lnTo>
                        <a:pt x="697" y="144"/>
                      </a:lnTo>
                      <a:lnTo>
                        <a:pt x="698" y="144"/>
                      </a:lnTo>
                      <a:lnTo>
                        <a:pt x="698" y="144"/>
                      </a:lnTo>
                      <a:lnTo>
                        <a:pt x="698" y="144"/>
                      </a:lnTo>
                      <a:lnTo>
                        <a:pt x="698" y="144"/>
                      </a:lnTo>
                      <a:lnTo>
                        <a:pt x="699" y="144"/>
                      </a:lnTo>
                      <a:lnTo>
                        <a:pt x="699" y="144"/>
                      </a:lnTo>
                      <a:lnTo>
                        <a:pt x="699" y="144"/>
                      </a:lnTo>
                      <a:lnTo>
                        <a:pt x="699" y="144"/>
                      </a:lnTo>
                      <a:lnTo>
                        <a:pt x="700" y="144"/>
                      </a:lnTo>
                      <a:lnTo>
                        <a:pt x="701" y="144"/>
                      </a:lnTo>
                      <a:lnTo>
                        <a:pt x="701" y="144"/>
                      </a:lnTo>
                      <a:lnTo>
                        <a:pt x="702" y="144"/>
                      </a:lnTo>
                      <a:lnTo>
                        <a:pt x="702" y="144"/>
                      </a:lnTo>
                      <a:lnTo>
                        <a:pt x="703" y="144"/>
                      </a:lnTo>
                      <a:lnTo>
                        <a:pt x="703" y="144"/>
                      </a:lnTo>
                      <a:lnTo>
                        <a:pt x="703" y="144"/>
                      </a:lnTo>
                      <a:lnTo>
                        <a:pt x="704" y="144"/>
                      </a:lnTo>
                      <a:lnTo>
                        <a:pt x="705" y="143"/>
                      </a:lnTo>
                      <a:lnTo>
                        <a:pt x="705" y="143"/>
                      </a:lnTo>
                      <a:lnTo>
                        <a:pt x="706" y="143"/>
                      </a:lnTo>
                      <a:lnTo>
                        <a:pt x="706" y="143"/>
                      </a:lnTo>
                      <a:lnTo>
                        <a:pt x="707" y="143"/>
                      </a:lnTo>
                      <a:lnTo>
                        <a:pt x="708" y="143"/>
                      </a:lnTo>
                      <a:lnTo>
                        <a:pt x="709" y="143"/>
                      </a:lnTo>
                      <a:lnTo>
                        <a:pt x="709" y="142"/>
                      </a:lnTo>
                      <a:lnTo>
                        <a:pt x="710" y="142"/>
                      </a:lnTo>
                      <a:lnTo>
                        <a:pt x="710" y="142"/>
                      </a:lnTo>
                      <a:lnTo>
                        <a:pt x="711" y="142"/>
                      </a:lnTo>
                      <a:lnTo>
                        <a:pt x="712" y="142"/>
                      </a:lnTo>
                      <a:lnTo>
                        <a:pt x="712" y="142"/>
                      </a:lnTo>
                      <a:lnTo>
                        <a:pt x="714" y="142"/>
                      </a:lnTo>
                      <a:lnTo>
                        <a:pt x="714" y="142"/>
                      </a:lnTo>
                      <a:lnTo>
                        <a:pt x="715" y="142"/>
                      </a:lnTo>
                      <a:lnTo>
                        <a:pt x="716" y="142"/>
                      </a:lnTo>
                      <a:lnTo>
                        <a:pt x="716" y="142"/>
                      </a:lnTo>
                      <a:lnTo>
                        <a:pt x="717" y="142"/>
                      </a:lnTo>
                      <a:lnTo>
                        <a:pt x="718" y="142"/>
                      </a:lnTo>
                      <a:lnTo>
                        <a:pt x="718" y="142"/>
                      </a:lnTo>
                      <a:lnTo>
                        <a:pt x="719" y="142"/>
                      </a:lnTo>
                      <a:lnTo>
                        <a:pt x="720" y="142"/>
                      </a:lnTo>
                      <a:lnTo>
                        <a:pt x="720" y="142"/>
                      </a:lnTo>
                      <a:lnTo>
                        <a:pt x="721" y="142"/>
                      </a:lnTo>
                      <a:lnTo>
                        <a:pt x="721" y="142"/>
                      </a:lnTo>
                      <a:lnTo>
                        <a:pt x="720" y="142"/>
                      </a:lnTo>
                      <a:lnTo>
                        <a:pt x="720" y="143"/>
                      </a:lnTo>
                      <a:lnTo>
                        <a:pt x="720" y="143"/>
                      </a:lnTo>
                      <a:lnTo>
                        <a:pt x="720" y="144"/>
                      </a:lnTo>
                      <a:lnTo>
                        <a:pt x="719" y="144"/>
                      </a:lnTo>
                      <a:lnTo>
                        <a:pt x="719" y="144"/>
                      </a:lnTo>
                      <a:lnTo>
                        <a:pt x="718" y="145"/>
                      </a:lnTo>
                      <a:lnTo>
                        <a:pt x="718" y="145"/>
                      </a:lnTo>
                      <a:lnTo>
                        <a:pt x="717" y="145"/>
                      </a:lnTo>
                      <a:lnTo>
                        <a:pt x="717" y="146"/>
                      </a:lnTo>
                      <a:lnTo>
                        <a:pt x="717" y="146"/>
                      </a:lnTo>
                      <a:lnTo>
                        <a:pt x="716" y="146"/>
                      </a:lnTo>
                      <a:lnTo>
                        <a:pt x="717" y="146"/>
                      </a:lnTo>
                      <a:lnTo>
                        <a:pt x="716" y="146"/>
                      </a:lnTo>
                      <a:lnTo>
                        <a:pt x="716" y="146"/>
                      </a:lnTo>
                      <a:lnTo>
                        <a:pt x="715" y="146"/>
                      </a:lnTo>
                      <a:lnTo>
                        <a:pt x="716" y="146"/>
                      </a:lnTo>
                      <a:lnTo>
                        <a:pt x="716" y="147"/>
                      </a:lnTo>
                      <a:lnTo>
                        <a:pt x="715" y="147"/>
                      </a:lnTo>
                      <a:lnTo>
                        <a:pt x="714" y="147"/>
                      </a:lnTo>
                      <a:lnTo>
                        <a:pt x="714" y="148"/>
                      </a:lnTo>
                      <a:lnTo>
                        <a:pt x="714" y="148"/>
                      </a:lnTo>
                      <a:lnTo>
                        <a:pt x="714" y="148"/>
                      </a:lnTo>
                      <a:lnTo>
                        <a:pt x="713" y="148"/>
                      </a:lnTo>
                      <a:lnTo>
                        <a:pt x="713" y="149"/>
                      </a:lnTo>
                      <a:lnTo>
                        <a:pt x="713" y="149"/>
                      </a:lnTo>
                      <a:lnTo>
                        <a:pt x="713" y="148"/>
                      </a:lnTo>
                      <a:lnTo>
                        <a:pt x="713" y="148"/>
                      </a:lnTo>
                      <a:lnTo>
                        <a:pt x="713" y="148"/>
                      </a:lnTo>
                      <a:lnTo>
                        <a:pt x="713" y="147"/>
                      </a:lnTo>
                      <a:lnTo>
                        <a:pt x="713" y="146"/>
                      </a:lnTo>
                      <a:lnTo>
                        <a:pt x="713" y="146"/>
                      </a:lnTo>
                      <a:lnTo>
                        <a:pt x="713" y="146"/>
                      </a:lnTo>
                      <a:lnTo>
                        <a:pt x="714" y="146"/>
                      </a:lnTo>
                      <a:lnTo>
                        <a:pt x="714" y="146"/>
                      </a:lnTo>
                      <a:lnTo>
                        <a:pt x="714" y="146"/>
                      </a:lnTo>
                      <a:lnTo>
                        <a:pt x="714" y="146"/>
                      </a:lnTo>
                      <a:lnTo>
                        <a:pt x="715" y="145"/>
                      </a:lnTo>
                      <a:lnTo>
                        <a:pt x="716" y="145"/>
                      </a:lnTo>
                      <a:lnTo>
                        <a:pt x="715" y="145"/>
                      </a:lnTo>
                      <a:lnTo>
                        <a:pt x="716" y="145"/>
                      </a:lnTo>
                      <a:lnTo>
                        <a:pt x="715" y="145"/>
                      </a:lnTo>
                      <a:lnTo>
                        <a:pt x="715" y="144"/>
                      </a:lnTo>
                      <a:lnTo>
                        <a:pt x="714" y="144"/>
                      </a:lnTo>
                      <a:lnTo>
                        <a:pt x="715" y="144"/>
                      </a:lnTo>
                      <a:lnTo>
                        <a:pt x="714" y="144"/>
                      </a:lnTo>
                      <a:lnTo>
                        <a:pt x="714" y="144"/>
                      </a:lnTo>
                      <a:lnTo>
                        <a:pt x="713" y="144"/>
                      </a:lnTo>
                      <a:lnTo>
                        <a:pt x="713" y="145"/>
                      </a:lnTo>
                      <a:lnTo>
                        <a:pt x="714" y="145"/>
                      </a:lnTo>
                      <a:lnTo>
                        <a:pt x="714" y="145"/>
                      </a:lnTo>
                      <a:lnTo>
                        <a:pt x="713" y="145"/>
                      </a:lnTo>
                      <a:lnTo>
                        <a:pt x="713" y="146"/>
                      </a:lnTo>
                      <a:lnTo>
                        <a:pt x="713" y="145"/>
                      </a:lnTo>
                      <a:lnTo>
                        <a:pt x="713" y="145"/>
                      </a:lnTo>
                      <a:lnTo>
                        <a:pt x="713" y="144"/>
                      </a:lnTo>
                      <a:lnTo>
                        <a:pt x="714" y="144"/>
                      </a:lnTo>
                      <a:lnTo>
                        <a:pt x="713" y="144"/>
                      </a:lnTo>
                      <a:lnTo>
                        <a:pt x="714" y="144"/>
                      </a:lnTo>
                      <a:lnTo>
                        <a:pt x="713" y="144"/>
                      </a:lnTo>
                      <a:lnTo>
                        <a:pt x="713" y="144"/>
                      </a:lnTo>
                      <a:lnTo>
                        <a:pt x="713" y="144"/>
                      </a:lnTo>
                      <a:lnTo>
                        <a:pt x="712" y="145"/>
                      </a:lnTo>
                      <a:lnTo>
                        <a:pt x="712" y="144"/>
                      </a:lnTo>
                      <a:lnTo>
                        <a:pt x="713" y="144"/>
                      </a:lnTo>
                      <a:lnTo>
                        <a:pt x="712" y="144"/>
                      </a:lnTo>
                      <a:lnTo>
                        <a:pt x="713" y="144"/>
                      </a:lnTo>
                      <a:lnTo>
                        <a:pt x="713" y="144"/>
                      </a:lnTo>
                      <a:lnTo>
                        <a:pt x="713" y="144"/>
                      </a:lnTo>
                      <a:lnTo>
                        <a:pt x="712" y="144"/>
                      </a:lnTo>
                      <a:lnTo>
                        <a:pt x="712" y="143"/>
                      </a:lnTo>
                      <a:lnTo>
                        <a:pt x="711" y="143"/>
                      </a:lnTo>
                      <a:lnTo>
                        <a:pt x="710" y="143"/>
                      </a:lnTo>
                      <a:lnTo>
                        <a:pt x="710" y="143"/>
                      </a:lnTo>
                      <a:lnTo>
                        <a:pt x="709" y="143"/>
                      </a:lnTo>
                      <a:lnTo>
                        <a:pt x="710" y="143"/>
                      </a:lnTo>
                      <a:lnTo>
                        <a:pt x="710" y="143"/>
                      </a:lnTo>
                      <a:lnTo>
                        <a:pt x="710" y="144"/>
                      </a:lnTo>
                      <a:lnTo>
                        <a:pt x="711" y="144"/>
                      </a:lnTo>
                      <a:lnTo>
                        <a:pt x="710" y="144"/>
                      </a:lnTo>
                      <a:lnTo>
                        <a:pt x="711" y="144"/>
                      </a:lnTo>
                      <a:lnTo>
                        <a:pt x="712" y="144"/>
                      </a:lnTo>
                      <a:lnTo>
                        <a:pt x="712" y="144"/>
                      </a:lnTo>
                      <a:lnTo>
                        <a:pt x="711" y="144"/>
                      </a:lnTo>
                      <a:lnTo>
                        <a:pt x="711" y="145"/>
                      </a:lnTo>
                      <a:lnTo>
                        <a:pt x="710" y="145"/>
                      </a:lnTo>
                      <a:lnTo>
                        <a:pt x="710" y="145"/>
                      </a:lnTo>
                      <a:lnTo>
                        <a:pt x="710" y="146"/>
                      </a:lnTo>
                      <a:lnTo>
                        <a:pt x="710" y="146"/>
                      </a:lnTo>
                      <a:lnTo>
                        <a:pt x="711" y="146"/>
                      </a:lnTo>
                      <a:lnTo>
                        <a:pt x="711" y="146"/>
                      </a:lnTo>
                      <a:lnTo>
                        <a:pt x="712" y="146"/>
                      </a:lnTo>
                      <a:lnTo>
                        <a:pt x="712" y="146"/>
                      </a:lnTo>
                      <a:lnTo>
                        <a:pt x="712" y="147"/>
                      </a:lnTo>
                      <a:lnTo>
                        <a:pt x="712" y="148"/>
                      </a:lnTo>
                      <a:lnTo>
                        <a:pt x="712" y="148"/>
                      </a:lnTo>
                      <a:lnTo>
                        <a:pt x="712" y="148"/>
                      </a:lnTo>
                      <a:lnTo>
                        <a:pt x="711" y="148"/>
                      </a:lnTo>
                      <a:lnTo>
                        <a:pt x="711" y="148"/>
                      </a:lnTo>
                      <a:lnTo>
                        <a:pt x="710" y="148"/>
                      </a:lnTo>
                      <a:lnTo>
                        <a:pt x="710" y="148"/>
                      </a:lnTo>
                      <a:lnTo>
                        <a:pt x="710" y="148"/>
                      </a:lnTo>
                      <a:lnTo>
                        <a:pt x="709" y="148"/>
                      </a:lnTo>
                      <a:lnTo>
                        <a:pt x="709" y="148"/>
                      </a:lnTo>
                      <a:lnTo>
                        <a:pt x="708" y="149"/>
                      </a:lnTo>
                      <a:lnTo>
                        <a:pt x="708" y="148"/>
                      </a:lnTo>
                      <a:lnTo>
                        <a:pt x="708" y="148"/>
                      </a:lnTo>
                      <a:lnTo>
                        <a:pt x="707" y="148"/>
                      </a:lnTo>
                      <a:lnTo>
                        <a:pt x="707" y="148"/>
                      </a:lnTo>
                      <a:lnTo>
                        <a:pt x="706" y="148"/>
                      </a:lnTo>
                      <a:lnTo>
                        <a:pt x="706" y="148"/>
                      </a:lnTo>
                      <a:lnTo>
                        <a:pt x="706" y="147"/>
                      </a:lnTo>
                      <a:lnTo>
                        <a:pt x="706" y="148"/>
                      </a:lnTo>
                      <a:lnTo>
                        <a:pt x="705" y="148"/>
                      </a:lnTo>
                      <a:lnTo>
                        <a:pt x="705" y="147"/>
                      </a:lnTo>
                      <a:lnTo>
                        <a:pt x="705" y="146"/>
                      </a:lnTo>
                      <a:lnTo>
                        <a:pt x="705" y="146"/>
                      </a:lnTo>
                      <a:lnTo>
                        <a:pt x="705" y="146"/>
                      </a:lnTo>
                      <a:lnTo>
                        <a:pt x="705" y="147"/>
                      </a:lnTo>
                      <a:lnTo>
                        <a:pt x="705" y="148"/>
                      </a:lnTo>
                      <a:lnTo>
                        <a:pt x="706" y="148"/>
                      </a:lnTo>
                      <a:lnTo>
                        <a:pt x="706" y="147"/>
                      </a:lnTo>
                      <a:lnTo>
                        <a:pt x="706" y="148"/>
                      </a:lnTo>
                      <a:lnTo>
                        <a:pt x="705" y="148"/>
                      </a:lnTo>
                      <a:lnTo>
                        <a:pt x="705" y="148"/>
                      </a:lnTo>
                      <a:lnTo>
                        <a:pt x="706" y="148"/>
                      </a:lnTo>
                      <a:lnTo>
                        <a:pt x="706" y="149"/>
                      </a:lnTo>
                      <a:lnTo>
                        <a:pt x="706" y="149"/>
                      </a:lnTo>
                      <a:lnTo>
                        <a:pt x="707" y="149"/>
                      </a:lnTo>
                      <a:lnTo>
                        <a:pt x="707" y="149"/>
                      </a:lnTo>
                      <a:lnTo>
                        <a:pt x="706" y="150"/>
                      </a:lnTo>
                      <a:lnTo>
                        <a:pt x="706" y="149"/>
                      </a:lnTo>
                      <a:lnTo>
                        <a:pt x="706" y="150"/>
                      </a:lnTo>
                      <a:lnTo>
                        <a:pt x="706" y="150"/>
                      </a:lnTo>
                      <a:lnTo>
                        <a:pt x="706" y="151"/>
                      </a:lnTo>
                      <a:lnTo>
                        <a:pt x="705" y="150"/>
                      </a:lnTo>
                      <a:lnTo>
                        <a:pt x="705" y="150"/>
                      </a:lnTo>
                      <a:lnTo>
                        <a:pt x="705" y="151"/>
                      </a:lnTo>
                      <a:lnTo>
                        <a:pt x="705" y="151"/>
                      </a:lnTo>
                      <a:lnTo>
                        <a:pt x="705" y="151"/>
                      </a:lnTo>
                      <a:lnTo>
                        <a:pt x="705" y="151"/>
                      </a:lnTo>
                      <a:lnTo>
                        <a:pt x="705" y="151"/>
                      </a:lnTo>
                      <a:lnTo>
                        <a:pt x="705" y="151"/>
                      </a:lnTo>
                      <a:lnTo>
                        <a:pt x="705" y="152"/>
                      </a:lnTo>
                      <a:lnTo>
                        <a:pt x="705" y="152"/>
                      </a:lnTo>
                      <a:lnTo>
                        <a:pt x="705" y="152"/>
                      </a:lnTo>
                      <a:lnTo>
                        <a:pt x="704" y="152"/>
                      </a:lnTo>
                      <a:lnTo>
                        <a:pt x="703" y="152"/>
                      </a:lnTo>
                      <a:lnTo>
                        <a:pt x="704" y="152"/>
                      </a:lnTo>
                      <a:lnTo>
                        <a:pt x="703" y="152"/>
                      </a:lnTo>
                      <a:lnTo>
                        <a:pt x="703" y="152"/>
                      </a:lnTo>
                      <a:lnTo>
                        <a:pt x="703" y="152"/>
                      </a:lnTo>
                      <a:lnTo>
                        <a:pt x="704" y="152"/>
                      </a:lnTo>
                      <a:lnTo>
                        <a:pt x="704" y="152"/>
                      </a:lnTo>
                      <a:lnTo>
                        <a:pt x="703" y="152"/>
                      </a:lnTo>
                      <a:lnTo>
                        <a:pt x="703" y="153"/>
                      </a:lnTo>
                      <a:lnTo>
                        <a:pt x="703" y="152"/>
                      </a:lnTo>
                      <a:lnTo>
                        <a:pt x="703" y="153"/>
                      </a:lnTo>
                      <a:lnTo>
                        <a:pt x="703" y="153"/>
                      </a:lnTo>
                      <a:lnTo>
                        <a:pt x="703" y="152"/>
                      </a:lnTo>
                      <a:lnTo>
                        <a:pt x="702" y="152"/>
                      </a:lnTo>
                      <a:lnTo>
                        <a:pt x="703" y="152"/>
                      </a:lnTo>
                      <a:lnTo>
                        <a:pt x="703" y="153"/>
                      </a:lnTo>
                      <a:lnTo>
                        <a:pt x="702" y="153"/>
                      </a:lnTo>
                      <a:lnTo>
                        <a:pt x="702" y="152"/>
                      </a:lnTo>
                      <a:lnTo>
                        <a:pt x="702" y="153"/>
                      </a:lnTo>
                      <a:lnTo>
                        <a:pt x="702" y="153"/>
                      </a:lnTo>
                      <a:lnTo>
                        <a:pt x="702" y="153"/>
                      </a:lnTo>
                      <a:lnTo>
                        <a:pt x="702" y="153"/>
                      </a:lnTo>
                      <a:lnTo>
                        <a:pt x="702" y="153"/>
                      </a:lnTo>
                      <a:lnTo>
                        <a:pt x="702" y="153"/>
                      </a:lnTo>
                      <a:lnTo>
                        <a:pt x="702" y="153"/>
                      </a:lnTo>
                      <a:lnTo>
                        <a:pt x="703" y="153"/>
                      </a:lnTo>
                      <a:lnTo>
                        <a:pt x="702" y="153"/>
                      </a:lnTo>
                      <a:lnTo>
                        <a:pt x="702" y="154"/>
                      </a:lnTo>
                      <a:lnTo>
                        <a:pt x="702" y="153"/>
                      </a:lnTo>
                      <a:lnTo>
                        <a:pt x="703" y="153"/>
                      </a:lnTo>
                      <a:lnTo>
                        <a:pt x="702" y="153"/>
                      </a:lnTo>
                      <a:lnTo>
                        <a:pt x="702" y="154"/>
                      </a:lnTo>
                      <a:lnTo>
                        <a:pt x="703" y="153"/>
                      </a:lnTo>
                      <a:lnTo>
                        <a:pt x="703" y="154"/>
                      </a:lnTo>
                      <a:lnTo>
                        <a:pt x="702" y="154"/>
                      </a:lnTo>
                      <a:lnTo>
                        <a:pt x="703" y="155"/>
                      </a:lnTo>
                      <a:lnTo>
                        <a:pt x="702" y="155"/>
                      </a:lnTo>
                      <a:lnTo>
                        <a:pt x="702" y="155"/>
                      </a:lnTo>
                      <a:lnTo>
                        <a:pt x="702" y="155"/>
                      </a:lnTo>
                      <a:lnTo>
                        <a:pt x="702" y="155"/>
                      </a:lnTo>
                      <a:lnTo>
                        <a:pt x="702" y="155"/>
                      </a:lnTo>
                      <a:lnTo>
                        <a:pt x="702" y="155"/>
                      </a:lnTo>
                      <a:lnTo>
                        <a:pt x="702" y="155"/>
                      </a:lnTo>
                      <a:lnTo>
                        <a:pt x="702" y="155"/>
                      </a:lnTo>
                      <a:lnTo>
                        <a:pt x="701" y="155"/>
                      </a:lnTo>
                      <a:lnTo>
                        <a:pt x="701" y="156"/>
                      </a:lnTo>
                      <a:lnTo>
                        <a:pt x="701" y="156"/>
                      </a:lnTo>
                      <a:lnTo>
                        <a:pt x="701" y="156"/>
                      </a:lnTo>
                      <a:lnTo>
                        <a:pt x="701" y="156"/>
                      </a:lnTo>
                      <a:lnTo>
                        <a:pt x="701" y="156"/>
                      </a:lnTo>
                      <a:lnTo>
                        <a:pt x="701" y="156"/>
                      </a:lnTo>
                      <a:lnTo>
                        <a:pt x="701" y="156"/>
                      </a:lnTo>
                      <a:lnTo>
                        <a:pt x="701" y="157"/>
                      </a:lnTo>
                      <a:lnTo>
                        <a:pt x="701" y="157"/>
                      </a:lnTo>
                      <a:lnTo>
                        <a:pt x="701" y="157"/>
                      </a:lnTo>
                      <a:lnTo>
                        <a:pt x="701" y="157"/>
                      </a:lnTo>
                      <a:lnTo>
                        <a:pt x="701" y="157"/>
                      </a:lnTo>
                      <a:lnTo>
                        <a:pt x="701" y="157"/>
                      </a:lnTo>
                      <a:lnTo>
                        <a:pt x="701" y="157"/>
                      </a:lnTo>
                      <a:lnTo>
                        <a:pt x="701" y="158"/>
                      </a:lnTo>
                      <a:lnTo>
                        <a:pt x="700" y="158"/>
                      </a:lnTo>
                      <a:lnTo>
                        <a:pt x="701" y="158"/>
                      </a:lnTo>
                      <a:lnTo>
                        <a:pt x="700" y="158"/>
                      </a:lnTo>
                      <a:lnTo>
                        <a:pt x="700" y="159"/>
                      </a:lnTo>
                      <a:lnTo>
                        <a:pt x="700" y="158"/>
                      </a:lnTo>
                      <a:lnTo>
                        <a:pt x="701" y="158"/>
                      </a:lnTo>
                      <a:lnTo>
                        <a:pt x="701" y="159"/>
                      </a:lnTo>
                      <a:lnTo>
                        <a:pt x="701" y="159"/>
                      </a:lnTo>
                      <a:lnTo>
                        <a:pt x="701" y="159"/>
                      </a:lnTo>
                      <a:lnTo>
                        <a:pt x="701" y="159"/>
                      </a:lnTo>
                      <a:lnTo>
                        <a:pt x="701" y="159"/>
                      </a:lnTo>
                      <a:lnTo>
                        <a:pt x="701" y="160"/>
                      </a:lnTo>
                      <a:lnTo>
                        <a:pt x="701" y="159"/>
                      </a:lnTo>
                      <a:lnTo>
                        <a:pt x="701" y="160"/>
                      </a:lnTo>
                      <a:lnTo>
                        <a:pt x="702" y="160"/>
                      </a:lnTo>
                      <a:lnTo>
                        <a:pt x="702" y="160"/>
                      </a:lnTo>
                      <a:lnTo>
                        <a:pt x="701" y="160"/>
                      </a:lnTo>
                      <a:lnTo>
                        <a:pt x="701" y="160"/>
                      </a:lnTo>
                      <a:lnTo>
                        <a:pt x="701" y="160"/>
                      </a:lnTo>
                      <a:lnTo>
                        <a:pt x="702" y="160"/>
                      </a:lnTo>
                      <a:lnTo>
                        <a:pt x="702" y="160"/>
                      </a:lnTo>
                      <a:lnTo>
                        <a:pt x="701" y="160"/>
                      </a:lnTo>
                      <a:lnTo>
                        <a:pt x="701" y="159"/>
                      </a:lnTo>
                      <a:lnTo>
                        <a:pt x="701" y="160"/>
                      </a:lnTo>
                      <a:lnTo>
                        <a:pt x="701" y="159"/>
                      </a:lnTo>
                      <a:lnTo>
                        <a:pt x="701" y="159"/>
                      </a:lnTo>
                      <a:lnTo>
                        <a:pt x="701" y="159"/>
                      </a:lnTo>
                      <a:lnTo>
                        <a:pt x="701" y="159"/>
                      </a:lnTo>
                      <a:lnTo>
                        <a:pt x="701" y="159"/>
                      </a:lnTo>
                      <a:lnTo>
                        <a:pt x="701" y="158"/>
                      </a:lnTo>
                      <a:lnTo>
                        <a:pt x="700" y="158"/>
                      </a:lnTo>
                      <a:lnTo>
                        <a:pt x="701" y="158"/>
                      </a:lnTo>
                      <a:lnTo>
                        <a:pt x="700" y="158"/>
                      </a:lnTo>
                      <a:lnTo>
                        <a:pt x="701" y="158"/>
                      </a:lnTo>
                      <a:lnTo>
                        <a:pt x="701" y="157"/>
                      </a:lnTo>
                      <a:lnTo>
                        <a:pt x="701" y="157"/>
                      </a:lnTo>
                      <a:lnTo>
                        <a:pt x="701" y="157"/>
                      </a:lnTo>
                      <a:lnTo>
                        <a:pt x="701" y="157"/>
                      </a:lnTo>
                      <a:lnTo>
                        <a:pt x="701" y="157"/>
                      </a:lnTo>
                      <a:lnTo>
                        <a:pt x="701" y="157"/>
                      </a:lnTo>
                      <a:lnTo>
                        <a:pt x="701" y="157"/>
                      </a:lnTo>
                      <a:lnTo>
                        <a:pt x="701" y="157"/>
                      </a:lnTo>
                      <a:lnTo>
                        <a:pt x="701" y="156"/>
                      </a:lnTo>
                      <a:lnTo>
                        <a:pt x="701" y="156"/>
                      </a:lnTo>
                      <a:lnTo>
                        <a:pt x="701" y="156"/>
                      </a:lnTo>
                      <a:lnTo>
                        <a:pt x="701" y="156"/>
                      </a:lnTo>
                      <a:lnTo>
                        <a:pt x="701" y="156"/>
                      </a:lnTo>
                      <a:lnTo>
                        <a:pt x="701" y="156"/>
                      </a:lnTo>
                      <a:lnTo>
                        <a:pt x="701" y="156"/>
                      </a:lnTo>
                      <a:lnTo>
                        <a:pt x="701" y="156"/>
                      </a:lnTo>
                      <a:lnTo>
                        <a:pt x="701" y="156"/>
                      </a:lnTo>
                      <a:lnTo>
                        <a:pt x="701" y="155"/>
                      </a:lnTo>
                      <a:lnTo>
                        <a:pt x="702" y="155"/>
                      </a:lnTo>
                      <a:lnTo>
                        <a:pt x="702" y="155"/>
                      </a:lnTo>
                      <a:lnTo>
                        <a:pt x="702" y="155"/>
                      </a:lnTo>
                      <a:lnTo>
                        <a:pt x="702" y="155"/>
                      </a:lnTo>
                      <a:lnTo>
                        <a:pt x="702" y="155"/>
                      </a:lnTo>
                      <a:lnTo>
                        <a:pt x="702" y="155"/>
                      </a:lnTo>
                      <a:lnTo>
                        <a:pt x="702" y="155"/>
                      </a:lnTo>
                      <a:lnTo>
                        <a:pt x="702" y="155"/>
                      </a:lnTo>
                      <a:lnTo>
                        <a:pt x="703" y="155"/>
                      </a:lnTo>
                      <a:lnTo>
                        <a:pt x="702" y="154"/>
                      </a:lnTo>
                      <a:lnTo>
                        <a:pt x="703" y="154"/>
                      </a:lnTo>
                      <a:lnTo>
                        <a:pt x="703" y="153"/>
                      </a:lnTo>
                      <a:lnTo>
                        <a:pt x="702" y="154"/>
                      </a:lnTo>
                      <a:lnTo>
                        <a:pt x="702" y="153"/>
                      </a:lnTo>
                      <a:lnTo>
                        <a:pt x="703" y="153"/>
                      </a:lnTo>
                      <a:lnTo>
                        <a:pt x="702" y="153"/>
                      </a:lnTo>
                      <a:lnTo>
                        <a:pt x="702" y="154"/>
                      </a:lnTo>
                      <a:lnTo>
                        <a:pt x="702" y="153"/>
                      </a:lnTo>
                      <a:lnTo>
                        <a:pt x="703" y="153"/>
                      </a:lnTo>
                      <a:lnTo>
                        <a:pt x="702" y="153"/>
                      </a:lnTo>
                      <a:lnTo>
                        <a:pt x="702" y="153"/>
                      </a:lnTo>
                      <a:lnTo>
                        <a:pt x="702" y="153"/>
                      </a:lnTo>
                      <a:lnTo>
                        <a:pt x="702" y="153"/>
                      </a:lnTo>
                      <a:lnTo>
                        <a:pt x="703" y="153"/>
                      </a:lnTo>
                      <a:lnTo>
                        <a:pt x="703" y="152"/>
                      </a:lnTo>
                      <a:lnTo>
                        <a:pt x="703" y="153"/>
                      </a:lnTo>
                      <a:lnTo>
                        <a:pt x="703" y="153"/>
                      </a:lnTo>
                      <a:lnTo>
                        <a:pt x="703" y="152"/>
                      </a:lnTo>
                      <a:lnTo>
                        <a:pt x="703" y="153"/>
                      </a:lnTo>
                      <a:lnTo>
                        <a:pt x="704" y="152"/>
                      </a:lnTo>
                      <a:lnTo>
                        <a:pt x="703" y="152"/>
                      </a:lnTo>
                      <a:lnTo>
                        <a:pt x="704" y="152"/>
                      </a:lnTo>
                      <a:lnTo>
                        <a:pt x="704" y="152"/>
                      </a:lnTo>
                      <a:lnTo>
                        <a:pt x="705" y="152"/>
                      </a:lnTo>
                      <a:lnTo>
                        <a:pt x="705" y="152"/>
                      </a:lnTo>
                      <a:lnTo>
                        <a:pt x="705" y="152"/>
                      </a:lnTo>
                      <a:lnTo>
                        <a:pt x="705" y="152"/>
                      </a:lnTo>
                      <a:lnTo>
                        <a:pt x="705" y="151"/>
                      </a:lnTo>
                      <a:lnTo>
                        <a:pt x="706" y="151"/>
                      </a:lnTo>
                      <a:lnTo>
                        <a:pt x="706" y="152"/>
                      </a:lnTo>
                      <a:lnTo>
                        <a:pt x="706" y="152"/>
                      </a:lnTo>
                      <a:lnTo>
                        <a:pt x="706" y="152"/>
                      </a:lnTo>
                      <a:lnTo>
                        <a:pt x="706" y="152"/>
                      </a:lnTo>
                      <a:lnTo>
                        <a:pt x="706" y="151"/>
                      </a:lnTo>
                      <a:lnTo>
                        <a:pt x="706" y="151"/>
                      </a:lnTo>
                      <a:lnTo>
                        <a:pt x="706" y="152"/>
                      </a:lnTo>
                      <a:lnTo>
                        <a:pt x="707" y="152"/>
                      </a:lnTo>
                      <a:lnTo>
                        <a:pt x="708" y="152"/>
                      </a:lnTo>
                      <a:lnTo>
                        <a:pt x="708" y="152"/>
                      </a:lnTo>
                      <a:lnTo>
                        <a:pt x="708" y="152"/>
                      </a:lnTo>
                      <a:lnTo>
                        <a:pt x="709" y="152"/>
                      </a:lnTo>
                      <a:lnTo>
                        <a:pt x="709" y="153"/>
                      </a:lnTo>
                      <a:lnTo>
                        <a:pt x="708" y="153"/>
                      </a:lnTo>
                      <a:lnTo>
                        <a:pt x="708" y="153"/>
                      </a:lnTo>
                      <a:lnTo>
                        <a:pt x="708" y="153"/>
                      </a:lnTo>
                      <a:lnTo>
                        <a:pt x="708" y="154"/>
                      </a:lnTo>
                      <a:lnTo>
                        <a:pt x="707" y="154"/>
                      </a:lnTo>
                      <a:lnTo>
                        <a:pt x="707" y="155"/>
                      </a:lnTo>
                      <a:lnTo>
                        <a:pt x="707" y="154"/>
                      </a:lnTo>
                      <a:lnTo>
                        <a:pt x="706" y="155"/>
                      </a:lnTo>
                      <a:lnTo>
                        <a:pt x="707" y="155"/>
                      </a:lnTo>
                      <a:lnTo>
                        <a:pt x="707" y="155"/>
                      </a:lnTo>
                      <a:lnTo>
                        <a:pt x="706" y="155"/>
                      </a:lnTo>
                      <a:lnTo>
                        <a:pt x="707" y="155"/>
                      </a:lnTo>
                      <a:lnTo>
                        <a:pt x="708" y="155"/>
                      </a:lnTo>
                      <a:lnTo>
                        <a:pt x="708" y="156"/>
                      </a:lnTo>
                      <a:lnTo>
                        <a:pt x="707" y="156"/>
                      </a:lnTo>
                      <a:lnTo>
                        <a:pt x="708" y="156"/>
                      </a:lnTo>
                      <a:lnTo>
                        <a:pt x="708" y="156"/>
                      </a:lnTo>
                      <a:lnTo>
                        <a:pt x="708" y="156"/>
                      </a:lnTo>
                      <a:lnTo>
                        <a:pt x="708" y="156"/>
                      </a:lnTo>
                      <a:lnTo>
                        <a:pt x="707" y="156"/>
                      </a:lnTo>
                      <a:lnTo>
                        <a:pt x="708" y="156"/>
                      </a:lnTo>
                      <a:lnTo>
                        <a:pt x="708" y="155"/>
                      </a:lnTo>
                      <a:lnTo>
                        <a:pt x="707" y="155"/>
                      </a:lnTo>
                      <a:lnTo>
                        <a:pt x="707" y="155"/>
                      </a:lnTo>
                      <a:lnTo>
                        <a:pt x="708" y="155"/>
                      </a:lnTo>
                      <a:lnTo>
                        <a:pt x="707" y="155"/>
                      </a:lnTo>
                      <a:lnTo>
                        <a:pt x="707" y="154"/>
                      </a:lnTo>
                      <a:lnTo>
                        <a:pt x="708" y="154"/>
                      </a:lnTo>
                      <a:lnTo>
                        <a:pt x="708" y="153"/>
                      </a:lnTo>
                      <a:lnTo>
                        <a:pt x="708" y="153"/>
                      </a:lnTo>
                      <a:lnTo>
                        <a:pt x="708" y="153"/>
                      </a:lnTo>
                      <a:lnTo>
                        <a:pt x="709" y="153"/>
                      </a:lnTo>
                      <a:lnTo>
                        <a:pt x="709" y="152"/>
                      </a:lnTo>
                      <a:lnTo>
                        <a:pt x="708" y="152"/>
                      </a:lnTo>
                      <a:lnTo>
                        <a:pt x="709" y="152"/>
                      </a:lnTo>
                      <a:lnTo>
                        <a:pt x="709" y="152"/>
                      </a:lnTo>
                      <a:lnTo>
                        <a:pt x="709" y="151"/>
                      </a:lnTo>
                      <a:lnTo>
                        <a:pt x="710" y="151"/>
                      </a:lnTo>
                      <a:lnTo>
                        <a:pt x="710" y="151"/>
                      </a:lnTo>
                      <a:lnTo>
                        <a:pt x="710" y="151"/>
                      </a:lnTo>
                      <a:lnTo>
                        <a:pt x="711" y="151"/>
                      </a:lnTo>
                      <a:lnTo>
                        <a:pt x="712" y="151"/>
                      </a:lnTo>
                      <a:lnTo>
                        <a:pt x="712" y="151"/>
                      </a:lnTo>
                      <a:lnTo>
                        <a:pt x="712" y="151"/>
                      </a:lnTo>
                      <a:lnTo>
                        <a:pt x="713" y="151"/>
                      </a:lnTo>
                      <a:lnTo>
                        <a:pt x="713" y="151"/>
                      </a:lnTo>
                      <a:lnTo>
                        <a:pt x="713" y="150"/>
                      </a:lnTo>
                      <a:lnTo>
                        <a:pt x="714" y="150"/>
                      </a:lnTo>
                      <a:lnTo>
                        <a:pt x="714" y="149"/>
                      </a:lnTo>
                      <a:lnTo>
                        <a:pt x="715" y="149"/>
                      </a:lnTo>
                      <a:lnTo>
                        <a:pt x="715" y="149"/>
                      </a:lnTo>
                      <a:lnTo>
                        <a:pt x="716" y="149"/>
                      </a:lnTo>
                      <a:lnTo>
                        <a:pt x="716" y="149"/>
                      </a:lnTo>
                      <a:lnTo>
                        <a:pt x="716" y="148"/>
                      </a:lnTo>
                      <a:lnTo>
                        <a:pt x="716" y="149"/>
                      </a:lnTo>
                      <a:lnTo>
                        <a:pt x="716" y="148"/>
                      </a:lnTo>
                      <a:lnTo>
                        <a:pt x="716" y="149"/>
                      </a:lnTo>
                      <a:lnTo>
                        <a:pt x="715" y="149"/>
                      </a:lnTo>
                      <a:lnTo>
                        <a:pt x="716" y="149"/>
                      </a:lnTo>
                      <a:lnTo>
                        <a:pt x="716" y="148"/>
                      </a:lnTo>
                      <a:lnTo>
                        <a:pt x="716" y="148"/>
                      </a:lnTo>
                      <a:lnTo>
                        <a:pt x="717" y="148"/>
                      </a:lnTo>
                      <a:lnTo>
                        <a:pt x="716" y="148"/>
                      </a:lnTo>
                      <a:lnTo>
                        <a:pt x="716" y="148"/>
                      </a:lnTo>
                      <a:lnTo>
                        <a:pt x="717" y="148"/>
                      </a:lnTo>
                      <a:lnTo>
                        <a:pt x="717" y="148"/>
                      </a:lnTo>
                      <a:lnTo>
                        <a:pt x="717" y="148"/>
                      </a:lnTo>
                      <a:lnTo>
                        <a:pt x="717" y="147"/>
                      </a:lnTo>
                      <a:lnTo>
                        <a:pt x="717" y="147"/>
                      </a:lnTo>
                      <a:lnTo>
                        <a:pt x="718" y="146"/>
                      </a:lnTo>
                      <a:lnTo>
                        <a:pt x="718" y="146"/>
                      </a:lnTo>
                      <a:lnTo>
                        <a:pt x="718" y="145"/>
                      </a:lnTo>
                      <a:lnTo>
                        <a:pt x="719" y="145"/>
                      </a:lnTo>
                      <a:lnTo>
                        <a:pt x="720" y="145"/>
                      </a:lnTo>
                      <a:lnTo>
                        <a:pt x="720" y="144"/>
                      </a:lnTo>
                      <a:lnTo>
                        <a:pt x="720" y="144"/>
                      </a:lnTo>
                      <a:lnTo>
                        <a:pt x="721" y="143"/>
                      </a:lnTo>
                      <a:lnTo>
                        <a:pt x="721" y="143"/>
                      </a:lnTo>
                      <a:lnTo>
                        <a:pt x="722" y="143"/>
                      </a:lnTo>
                      <a:lnTo>
                        <a:pt x="722" y="142"/>
                      </a:lnTo>
                      <a:lnTo>
                        <a:pt x="723" y="142"/>
                      </a:lnTo>
                      <a:lnTo>
                        <a:pt x="723" y="142"/>
                      </a:lnTo>
                      <a:lnTo>
                        <a:pt x="723" y="142"/>
                      </a:lnTo>
                      <a:lnTo>
                        <a:pt x="723" y="142"/>
                      </a:lnTo>
                      <a:lnTo>
                        <a:pt x="723" y="142"/>
                      </a:lnTo>
                      <a:lnTo>
                        <a:pt x="723" y="142"/>
                      </a:lnTo>
                      <a:lnTo>
                        <a:pt x="724" y="142"/>
                      </a:lnTo>
                      <a:lnTo>
                        <a:pt x="724" y="142"/>
                      </a:lnTo>
                      <a:lnTo>
                        <a:pt x="725" y="142"/>
                      </a:lnTo>
                      <a:lnTo>
                        <a:pt x="725" y="142"/>
                      </a:lnTo>
                      <a:lnTo>
                        <a:pt x="726" y="142"/>
                      </a:lnTo>
                      <a:lnTo>
                        <a:pt x="727" y="142"/>
                      </a:lnTo>
                      <a:lnTo>
                        <a:pt x="727" y="142"/>
                      </a:lnTo>
                      <a:lnTo>
                        <a:pt x="728" y="142"/>
                      </a:lnTo>
                      <a:lnTo>
                        <a:pt x="728" y="142"/>
                      </a:lnTo>
                      <a:lnTo>
                        <a:pt x="729" y="142"/>
                      </a:lnTo>
                      <a:lnTo>
                        <a:pt x="729" y="142"/>
                      </a:lnTo>
                      <a:lnTo>
                        <a:pt x="730" y="142"/>
                      </a:lnTo>
                      <a:lnTo>
                        <a:pt x="731" y="142"/>
                      </a:lnTo>
                      <a:lnTo>
                        <a:pt x="732" y="142"/>
                      </a:lnTo>
                      <a:lnTo>
                        <a:pt x="732" y="142"/>
                      </a:lnTo>
                      <a:lnTo>
                        <a:pt x="733" y="142"/>
                      </a:lnTo>
                      <a:lnTo>
                        <a:pt x="734" y="142"/>
                      </a:lnTo>
                      <a:lnTo>
                        <a:pt x="734" y="142"/>
                      </a:lnTo>
                      <a:lnTo>
                        <a:pt x="734" y="142"/>
                      </a:lnTo>
                      <a:lnTo>
                        <a:pt x="735" y="142"/>
                      </a:lnTo>
                      <a:lnTo>
                        <a:pt x="735" y="142"/>
                      </a:lnTo>
                      <a:lnTo>
                        <a:pt x="736" y="142"/>
                      </a:lnTo>
                      <a:lnTo>
                        <a:pt x="736" y="143"/>
                      </a:lnTo>
                      <a:lnTo>
                        <a:pt x="736" y="143"/>
                      </a:lnTo>
                      <a:lnTo>
                        <a:pt x="737" y="143"/>
                      </a:lnTo>
                      <a:lnTo>
                        <a:pt x="737" y="144"/>
                      </a:lnTo>
                      <a:lnTo>
                        <a:pt x="737" y="143"/>
                      </a:lnTo>
                      <a:lnTo>
                        <a:pt x="737" y="144"/>
                      </a:lnTo>
                      <a:lnTo>
                        <a:pt x="738" y="143"/>
                      </a:lnTo>
                      <a:lnTo>
                        <a:pt x="737" y="143"/>
                      </a:lnTo>
                      <a:lnTo>
                        <a:pt x="738" y="143"/>
                      </a:lnTo>
                      <a:lnTo>
                        <a:pt x="738" y="143"/>
                      </a:lnTo>
                      <a:lnTo>
                        <a:pt x="738" y="144"/>
                      </a:lnTo>
                      <a:lnTo>
                        <a:pt x="739" y="144"/>
                      </a:lnTo>
                      <a:lnTo>
                        <a:pt x="739" y="144"/>
                      </a:lnTo>
                      <a:lnTo>
                        <a:pt x="740" y="144"/>
                      </a:lnTo>
                      <a:lnTo>
                        <a:pt x="740" y="144"/>
                      </a:lnTo>
                      <a:lnTo>
                        <a:pt x="740" y="144"/>
                      </a:lnTo>
                      <a:lnTo>
                        <a:pt x="741" y="144"/>
                      </a:lnTo>
                      <a:lnTo>
                        <a:pt x="742" y="144"/>
                      </a:lnTo>
                      <a:lnTo>
                        <a:pt x="742" y="145"/>
                      </a:lnTo>
                      <a:lnTo>
                        <a:pt x="742" y="145"/>
                      </a:lnTo>
                      <a:lnTo>
                        <a:pt x="743" y="145"/>
                      </a:lnTo>
                      <a:lnTo>
                        <a:pt x="743" y="145"/>
                      </a:lnTo>
                      <a:lnTo>
                        <a:pt x="744" y="145"/>
                      </a:lnTo>
                      <a:lnTo>
                        <a:pt x="744" y="146"/>
                      </a:lnTo>
                      <a:lnTo>
                        <a:pt x="745" y="146"/>
                      </a:lnTo>
                      <a:lnTo>
                        <a:pt x="745" y="147"/>
                      </a:lnTo>
                      <a:lnTo>
                        <a:pt x="746" y="147"/>
                      </a:lnTo>
                      <a:lnTo>
                        <a:pt x="746" y="148"/>
                      </a:lnTo>
                      <a:lnTo>
                        <a:pt x="746" y="148"/>
                      </a:lnTo>
                      <a:lnTo>
                        <a:pt x="746" y="148"/>
                      </a:lnTo>
                      <a:lnTo>
                        <a:pt x="746" y="149"/>
                      </a:lnTo>
                      <a:lnTo>
                        <a:pt x="746" y="149"/>
                      </a:lnTo>
                      <a:lnTo>
                        <a:pt x="746" y="149"/>
                      </a:lnTo>
                      <a:lnTo>
                        <a:pt x="745" y="149"/>
                      </a:lnTo>
                      <a:lnTo>
                        <a:pt x="744" y="150"/>
                      </a:lnTo>
                      <a:lnTo>
                        <a:pt x="744" y="150"/>
                      </a:lnTo>
                      <a:lnTo>
                        <a:pt x="743" y="150"/>
                      </a:lnTo>
                      <a:lnTo>
                        <a:pt x="743" y="151"/>
                      </a:lnTo>
                      <a:lnTo>
                        <a:pt x="743" y="150"/>
                      </a:lnTo>
                      <a:lnTo>
                        <a:pt x="742" y="150"/>
                      </a:lnTo>
                      <a:lnTo>
                        <a:pt x="742" y="149"/>
                      </a:lnTo>
                      <a:lnTo>
                        <a:pt x="742" y="149"/>
                      </a:lnTo>
                      <a:lnTo>
                        <a:pt x="742" y="148"/>
                      </a:lnTo>
                      <a:lnTo>
                        <a:pt x="741" y="148"/>
                      </a:lnTo>
                      <a:lnTo>
                        <a:pt x="740" y="148"/>
                      </a:lnTo>
                      <a:lnTo>
                        <a:pt x="740" y="149"/>
                      </a:lnTo>
                      <a:lnTo>
                        <a:pt x="740" y="149"/>
                      </a:lnTo>
                      <a:lnTo>
                        <a:pt x="740" y="149"/>
                      </a:lnTo>
                      <a:lnTo>
                        <a:pt x="740" y="149"/>
                      </a:lnTo>
                      <a:lnTo>
                        <a:pt x="740" y="149"/>
                      </a:lnTo>
                      <a:lnTo>
                        <a:pt x="740" y="149"/>
                      </a:lnTo>
                      <a:lnTo>
                        <a:pt x="739" y="149"/>
                      </a:lnTo>
                      <a:lnTo>
                        <a:pt x="739" y="150"/>
                      </a:lnTo>
                      <a:lnTo>
                        <a:pt x="739" y="150"/>
                      </a:lnTo>
                      <a:lnTo>
                        <a:pt x="738" y="150"/>
                      </a:lnTo>
                      <a:lnTo>
                        <a:pt x="738" y="150"/>
                      </a:lnTo>
                      <a:lnTo>
                        <a:pt x="737" y="150"/>
                      </a:lnTo>
                      <a:lnTo>
                        <a:pt x="736" y="149"/>
                      </a:lnTo>
                      <a:lnTo>
                        <a:pt x="736" y="149"/>
                      </a:lnTo>
                      <a:lnTo>
                        <a:pt x="735" y="149"/>
                      </a:lnTo>
                      <a:lnTo>
                        <a:pt x="735" y="150"/>
                      </a:lnTo>
                      <a:lnTo>
                        <a:pt x="735" y="151"/>
                      </a:lnTo>
                      <a:lnTo>
                        <a:pt x="735" y="151"/>
                      </a:lnTo>
                      <a:lnTo>
                        <a:pt x="735" y="151"/>
                      </a:lnTo>
                      <a:lnTo>
                        <a:pt x="735" y="151"/>
                      </a:lnTo>
                      <a:lnTo>
                        <a:pt x="735" y="151"/>
                      </a:lnTo>
                      <a:lnTo>
                        <a:pt x="735" y="150"/>
                      </a:lnTo>
                      <a:lnTo>
                        <a:pt x="735" y="149"/>
                      </a:lnTo>
                      <a:lnTo>
                        <a:pt x="736" y="149"/>
                      </a:lnTo>
                      <a:lnTo>
                        <a:pt x="736" y="149"/>
                      </a:lnTo>
                      <a:lnTo>
                        <a:pt x="736" y="149"/>
                      </a:lnTo>
                      <a:lnTo>
                        <a:pt x="736" y="150"/>
                      </a:lnTo>
                      <a:lnTo>
                        <a:pt x="737" y="150"/>
                      </a:lnTo>
                      <a:lnTo>
                        <a:pt x="738" y="150"/>
                      </a:lnTo>
                      <a:lnTo>
                        <a:pt x="738" y="150"/>
                      </a:lnTo>
                      <a:lnTo>
                        <a:pt x="738" y="151"/>
                      </a:lnTo>
                      <a:lnTo>
                        <a:pt x="738" y="151"/>
                      </a:lnTo>
                      <a:lnTo>
                        <a:pt x="738" y="151"/>
                      </a:lnTo>
                      <a:lnTo>
                        <a:pt x="737" y="151"/>
                      </a:lnTo>
                      <a:lnTo>
                        <a:pt x="736" y="151"/>
                      </a:lnTo>
                      <a:lnTo>
                        <a:pt x="736" y="152"/>
                      </a:lnTo>
                      <a:lnTo>
                        <a:pt x="736" y="152"/>
                      </a:lnTo>
                      <a:lnTo>
                        <a:pt x="736" y="152"/>
                      </a:lnTo>
                      <a:lnTo>
                        <a:pt x="735" y="152"/>
                      </a:lnTo>
                      <a:lnTo>
                        <a:pt x="735" y="153"/>
                      </a:lnTo>
                      <a:lnTo>
                        <a:pt x="735" y="153"/>
                      </a:lnTo>
                      <a:lnTo>
                        <a:pt x="735" y="153"/>
                      </a:lnTo>
                      <a:lnTo>
                        <a:pt x="735" y="154"/>
                      </a:lnTo>
                      <a:lnTo>
                        <a:pt x="735" y="155"/>
                      </a:lnTo>
                      <a:lnTo>
                        <a:pt x="735" y="155"/>
                      </a:lnTo>
                      <a:lnTo>
                        <a:pt x="734" y="155"/>
                      </a:lnTo>
                      <a:lnTo>
                        <a:pt x="734" y="155"/>
                      </a:lnTo>
                      <a:lnTo>
                        <a:pt x="734" y="155"/>
                      </a:lnTo>
                      <a:lnTo>
                        <a:pt x="734" y="155"/>
                      </a:lnTo>
                      <a:lnTo>
                        <a:pt x="733" y="155"/>
                      </a:lnTo>
                      <a:lnTo>
                        <a:pt x="734" y="155"/>
                      </a:lnTo>
                      <a:lnTo>
                        <a:pt x="734" y="155"/>
                      </a:lnTo>
                      <a:lnTo>
                        <a:pt x="734" y="155"/>
                      </a:lnTo>
                      <a:lnTo>
                        <a:pt x="733" y="155"/>
                      </a:lnTo>
                      <a:lnTo>
                        <a:pt x="734" y="155"/>
                      </a:lnTo>
                      <a:lnTo>
                        <a:pt x="734" y="155"/>
                      </a:lnTo>
                      <a:lnTo>
                        <a:pt x="734" y="155"/>
                      </a:lnTo>
                      <a:lnTo>
                        <a:pt x="734" y="155"/>
                      </a:lnTo>
                      <a:lnTo>
                        <a:pt x="735" y="155"/>
                      </a:lnTo>
                      <a:lnTo>
                        <a:pt x="735" y="155"/>
                      </a:lnTo>
                      <a:lnTo>
                        <a:pt x="735" y="154"/>
                      </a:lnTo>
                      <a:lnTo>
                        <a:pt x="735" y="153"/>
                      </a:lnTo>
                      <a:lnTo>
                        <a:pt x="735" y="153"/>
                      </a:lnTo>
                      <a:lnTo>
                        <a:pt x="735" y="153"/>
                      </a:lnTo>
                      <a:lnTo>
                        <a:pt x="736" y="152"/>
                      </a:lnTo>
                      <a:lnTo>
                        <a:pt x="736" y="152"/>
                      </a:lnTo>
                      <a:lnTo>
                        <a:pt x="736" y="152"/>
                      </a:lnTo>
                      <a:lnTo>
                        <a:pt x="736" y="151"/>
                      </a:lnTo>
                      <a:lnTo>
                        <a:pt x="737" y="151"/>
                      </a:lnTo>
                      <a:lnTo>
                        <a:pt x="737" y="152"/>
                      </a:lnTo>
                      <a:lnTo>
                        <a:pt x="738" y="152"/>
                      </a:lnTo>
                      <a:lnTo>
                        <a:pt x="738" y="152"/>
                      </a:lnTo>
                      <a:lnTo>
                        <a:pt x="738" y="152"/>
                      </a:lnTo>
                      <a:lnTo>
                        <a:pt x="738" y="152"/>
                      </a:lnTo>
                      <a:lnTo>
                        <a:pt x="738" y="152"/>
                      </a:lnTo>
                      <a:lnTo>
                        <a:pt x="739" y="153"/>
                      </a:lnTo>
                      <a:lnTo>
                        <a:pt x="738" y="153"/>
                      </a:lnTo>
                      <a:lnTo>
                        <a:pt x="739" y="154"/>
                      </a:lnTo>
                      <a:lnTo>
                        <a:pt x="739" y="154"/>
                      </a:lnTo>
                      <a:lnTo>
                        <a:pt x="739" y="154"/>
                      </a:lnTo>
                      <a:lnTo>
                        <a:pt x="739" y="155"/>
                      </a:lnTo>
                      <a:lnTo>
                        <a:pt x="739" y="155"/>
                      </a:lnTo>
                      <a:lnTo>
                        <a:pt x="739" y="156"/>
                      </a:lnTo>
                      <a:lnTo>
                        <a:pt x="739" y="155"/>
                      </a:lnTo>
                      <a:lnTo>
                        <a:pt x="739" y="155"/>
                      </a:lnTo>
                      <a:lnTo>
                        <a:pt x="739" y="154"/>
                      </a:lnTo>
                      <a:lnTo>
                        <a:pt x="739" y="154"/>
                      </a:lnTo>
                      <a:lnTo>
                        <a:pt x="739" y="154"/>
                      </a:lnTo>
                      <a:lnTo>
                        <a:pt x="739" y="153"/>
                      </a:lnTo>
                      <a:lnTo>
                        <a:pt x="738" y="153"/>
                      </a:lnTo>
                      <a:lnTo>
                        <a:pt x="739" y="153"/>
                      </a:lnTo>
                      <a:lnTo>
                        <a:pt x="738" y="152"/>
                      </a:lnTo>
                      <a:lnTo>
                        <a:pt x="738" y="152"/>
                      </a:lnTo>
                      <a:lnTo>
                        <a:pt x="738" y="152"/>
                      </a:lnTo>
                      <a:lnTo>
                        <a:pt x="738" y="152"/>
                      </a:lnTo>
                      <a:lnTo>
                        <a:pt x="738" y="151"/>
                      </a:lnTo>
                      <a:lnTo>
                        <a:pt x="739" y="151"/>
                      </a:lnTo>
                      <a:lnTo>
                        <a:pt x="739" y="152"/>
                      </a:lnTo>
                      <a:lnTo>
                        <a:pt x="739" y="152"/>
                      </a:lnTo>
                      <a:lnTo>
                        <a:pt x="740" y="151"/>
                      </a:lnTo>
                      <a:lnTo>
                        <a:pt x="740" y="152"/>
                      </a:lnTo>
                      <a:lnTo>
                        <a:pt x="741" y="152"/>
                      </a:lnTo>
                      <a:lnTo>
                        <a:pt x="742" y="152"/>
                      </a:lnTo>
                      <a:lnTo>
                        <a:pt x="742" y="152"/>
                      </a:lnTo>
                      <a:lnTo>
                        <a:pt x="743" y="152"/>
                      </a:lnTo>
                      <a:lnTo>
                        <a:pt x="743" y="152"/>
                      </a:lnTo>
                      <a:lnTo>
                        <a:pt x="743" y="152"/>
                      </a:lnTo>
                      <a:lnTo>
                        <a:pt x="744" y="152"/>
                      </a:lnTo>
                      <a:lnTo>
                        <a:pt x="744" y="153"/>
                      </a:lnTo>
                      <a:lnTo>
                        <a:pt x="744" y="153"/>
                      </a:lnTo>
                      <a:lnTo>
                        <a:pt x="744" y="153"/>
                      </a:lnTo>
                      <a:lnTo>
                        <a:pt x="744" y="154"/>
                      </a:lnTo>
                      <a:lnTo>
                        <a:pt x="744" y="155"/>
                      </a:lnTo>
                      <a:lnTo>
                        <a:pt x="744" y="155"/>
                      </a:lnTo>
                      <a:lnTo>
                        <a:pt x="744" y="155"/>
                      </a:lnTo>
                      <a:lnTo>
                        <a:pt x="743" y="155"/>
                      </a:lnTo>
                      <a:lnTo>
                        <a:pt x="743" y="156"/>
                      </a:lnTo>
                      <a:lnTo>
                        <a:pt x="743" y="156"/>
                      </a:lnTo>
                      <a:lnTo>
                        <a:pt x="743" y="155"/>
                      </a:lnTo>
                      <a:lnTo>
                        <a:pt x="742" y="155"/>
                      </a:lnTo>
                      <a:lnTo>
                        <a:pt x="742" y="156"/>
                      </a:lnTo>
                      <a:lnTo>
                        <a:pt x="742" y="156"/>
                      </a:lnTo>
                      <a:lnTo>
                        <a:pt x="742" y="156"/>
                      </a:lnTo>
                      <a:lnTo>
                        <a:pt x="741" y="156"/>
                      </a:lnTo>
                      <a:lnTo>
                        <a:pt x="742" y="157"/>
                      </a:lnTo>
                      <a:lnTo>
                        <a:pt x="741" y="157"/>
                      </a:lnTo>
                      <a:lnTo>
                        <a:pt x="740" y="156"/>
                      </a:lnTo>
                      <a:lnTo>
                        <a:pt x="741" y="157"/>
                      </a:lnTo>
                      <a:lnTo>
                        <a:pt x="742" y="157"/>
                      </a:lnTo>
                      <a:lnTo>
                        <a:pt x="741" y="157"/>
                      </a:lnTo>
                      <a:lnTo>
                        <a:pt x="741" y="158"/>
                      </a:lnTo>
                      <a:lnTo>
                        <a:pt x="741" y="159"/>
                      </a:lnTo>
                      <a:lnTo>
                        <a:pt x="740" y="159"/>
                      </a:lnTo>
                      <a:lnTo>
                        <a:pt x="740" y="159"/>
                      </a:lnTo>
                      <a:lnTo>
                        <a:pt x="740" y="159"/>
                      </a:lnTo>
                      <a:lnTo>
                        <a:pt x="740" y="159"/>
                      </a:lnTo>
                      <a:lnTo>
                        <a:pt x="740" y="159"/>
                      </a:lnTo>
                      <a:lnTo>
                        <a:pt x="740" y="160"/>
                      </a:lnTo>
                      <a:lnTo>
                        <a:pt x="739" y="160"/>
                      </a:lnTo>
                      <a:lnTo>
                        <a:pt x="740" y="160"/>
                      </a:lnTo>
                      <a:lnTo>
                        <a:pt x="740" y="160"/>
                      </a:lnTo>
                      <a:lnTo>
                        <a:pt x="739" y="160"/>
                      </a:lnTo>
                      <a:lnTo>
                        <a:pt x="739" y="160"/>
                      </a:lnTo>
                      <a:lnTo>
                        <a:pt x="739" y="161"/>
                      </a:lnTo>
                      <a:lnTo>
                        <a:pt x="738" y="161"/>
                      </a:lnTo>
                      <a:lnTo>
                        <a:pt x="738" y="161"/>
                      </a:lnTo>
                      <a:lnTo>
                        <a:pt x="738" y="162"/>
                      </a:lnTo>
                      <a:lnTo>
                        <a:pt x="738" y="162"/>
                      </a:lnTo>
                      <a:lnTo>
                        <a:pt x="738" y="162"/>
                      </a:lnTo>
                      <a:lnTo>
                        <a:pt x="737" y="162"/>
                      </a:lnTo>
                      <a:lnTo>
                        <a:pt x="736" y="162"/>
                      </a:lnTo>
                      <a:lnTo>
                        <a:pt x="736" y="162"/>
                      </a:lnTo>
                      <a:lnTo>
                        <a:pt x="737" y="162"/>
                      </a:lnTo>
                      <a:lnTo>
                        <a:pt x="736" y="162"/>
                      </a:lnTo>
                      <a:lnTo>
                        <a:pt x="736" y="162"/>
                      </a:lnTo>
                      <a:lnTo>
                        <a:pt x="736" y="163"/>
                      </a:lnTo>
                      <a:lnTo>
                        <a:pt x="735" y="163"/>
                      </a:lnTo>
                      <a:lnTo>
                        <a:pt x="735" y="163"/>
                      </a:lnTo>
                      <a:lnTo>
                        <a:pt x="734" y="163"/>
                      </a:lnTo>
                      <a:lnTo>
                        <a:pt x="734" y="163"/>
                      </a:lnTo>
                      <a:lnTo>
                        <a:pt x="734" y="163"/>
                      </a:lnTo>
                      <a:lnTo>
                        <a:pt x="734" y="163"/>
                      </a:lnTo>
                      <a:lnTo>
                        <a:pt x="734" y="164"/>
                      </a:lnTo>
                      <a:lnTo>
                        <a:pt x="733" y="164"/>
                      </a:lnTo>
                      <a:lnTo>
                        <a:pt x="734" y="164"/>
                      </a:lnTo>
                      <a:lnTo>
                        <a:pt x="733" y="164"/>
                      </a:lnTo>
                      <a:lnTo>
                        <a:pt x="734" y="164"/>
                      </a:lnTo>
                      <a:lnTo>
                        <a:pt x="733" y="164"/>
                      </a:lnTo>
                      <a:lnTo>
                        <a:pt x="732" y="164"/>
                      </a:lnTo>
                      <a:lnTo>
                        <a:pt x="732" y="164"/>
                      </a:lnTo>
                      <a:lnTo>
                        <a:pt x="732" y="164"/>
                      </a:lnTo>
                      <a:lnTo>
                        <a:pt x="731" y="164"/>
                      </a:lnTo>
                      <a:lnTo>
                        <a:pt x="731" y="165"/>
                      </a:lnTo>
                      <a:lnTo>
                        <a:pt x="731" y="166"/>
                      </a:lnTo>
                      <a:lnTo>
                        <a:pt x="731" y="165"/>
                      </a:lnTo>
                      <a:lnTo>
                        <a:pt x="730" y="165"/>
                      </a:lnTo>
                      <a:lnTo>
                        <a:pt x="730" y="166"/>
                      </a:lnTo>
                      <a:lnTo>
                        <a:pt x="729" y="166"/>
                      </a:lnTo>
                      <a:lnTo>
                        <a:pt x="729" y="165"/>
                      </a:lnTo>
                      <a:lnTo>
                        <a:pt x="729" y="166"/>
                      </a:lnTo>
                      <a:lnTo>
                        <a:pt x="729" y="165"/>
                      </a:lnTo>
                      <a:lnTo>
                        <a:pt x="728" y="165"/>
                      </a:lnTo>
                      <a:lnTo>
                        <a:pt x="728" y="166"/>
                      </a:lnTo>
                      <a:lnTo>
                        <a:pt x="728" y="165"/>
                      </a:lnTo>
                      <a:lnTo>
                        <a:pt x="728" y="165"/>
                      </a:lnTo>
                      <a:lnTo>
                        <a:pt x="727" y="165"/>
                      </a:lnTo>
                      <a:lnTo>
                        <a:pt x="727" y="164"/>
                      </a:lnTo>
                      <a:lnTo>
                        <a:pt x="727" y="164"/>
                      </a:lnTo>
                      <a:lnTo>
                        <a:pt x="727" y="164"/>
                      </a:lnTo>
                      <a:lnTo>
                        <a:pt x="727" y="164"/>
                      </a:lnTo>
                      <a:lnTo>
                        <a:pt x="727" y="164"/>
                      </a:lnTo>
                      <a:lnTo>
                        <a:pt x="727" y="164"/>
                      </a:lnTo>
                      <a:lnTo>
                        <a:pt x="726" y="164"/>
                      </a:lnTo>
                      <a:lnTo>
                        <a:pt x="726" y="164"/>
                      </a:lnTo>
                      <a:lnTo>
                        <a:pt x="725" y="164"/>
                      </a:lnTo>
                      <a:lnTo>
                        <a:pt x="725" y="164"/>
                      </a:lnTo>
                      <a:lnTo>
                        <a:pt x="725" y="164"/>
                      </a:lnTo>
                      <a:lnTo>
                        <a:pt x="725" y="164"/>
                      </a:lnTo>
                      <a:lnTo>
                        <a:pt x="725" y="164"/>
                      </a:lnTo>
                      <a:lnTo>
                        <a:pt x="725" y="164"/>
                      </a:lnTo>
                      <a:lnTo>
                        <a:pt x="725" y="164"/>
                      </a:lnTo>
                      <a:lnTo>
                        <a:pt x="725" y="164"/>
                      </a:lnTo>
                      <a:lnTo>
                        <a:pt x="725" y="164"/>
                      </a:lnTo>
                      <a:lnTo>
                        <a:pt x="725" y="164"/>
                      </a:lnTo>
                      <a:lnTo>
                        <a:pt x="726" y="164"/>
                      </a:lnTo>
                      <a:lnTo>
                        <a:pt x="726" y="164"/>
                      </a:lnTo>
                      <a:lnTo>
                        <a:pt x="727" y="164"/>
                      </a:lnTo>
                      <a:lnTo>
                        <a:pt x="727" y="164"/>
                      </a:lnTo>
                      <a:lnTo>
                        <a:pt x="727" y="165"/>
                      </a:lnTo>
                      <a:lnTo>
                        <a:pt x="728" y="165"/>
                      </a:lnTo>
                      <a:lnTo>
                        <a:pt x="728" y="165"/>
                      </a:lnTo>
                      <a:lnTo>
                        <a:pt x="728" y="166"/>
                      </a:lnTo>
                      <a:lnTo>
                        <a:pt x="728" y="165"/>
                      </a:lnTo>
                      <a:lnTo>
                        <a:pt x="729" y="165"/>
                      </a:lnTo>
                      <a:lnTo>
                        <a:pt x="729" y="166"/>
                      </a:lnTo>
                      <a:lnTo>
                        <a:pt x="729" y="165"/>
                      </a:lnTo>
                      <a:lnTo>
                        <a:pt x="729" y="166"/>
                      </a:lnTo>
                      <a:lnTo>
                        <a:pt x="730" y="166"/>
                      </a:lnTo>
                      <a:lnTo>
                        <a:pt x="731" y="166"/>
                      </a:lnTo>
                      <a:lnTo>
                        <a:pt x="730" y="166"/>
                      </a:lnTo>
                      <a:lnTo>
                        <a:pt x="729" y="166"/>
                      </a:lnTo>
                      <a:lnTo>
                        <a:pt x="730" y="166"/>
                      </a:lnTo>
                      <a:lnTo>
                        <a:pt x="730" y="166"/>
                      </a:lnTo>
                      <a:lnTo>
                        <a:pt x="731" y="166"/>
                      </a:lnTo>
                      <a:lnTo>
                        <a:pt x="731" y="167"/>
                      </a:lnTo>
                      <a:lnTo>
                        <a:pt x="730" y="167"/>
                      </a:lnTo>
                      <a:lnTo>
                        <a:pt x="729" y="167"/>
                      </a:lnTo>
                      <a:lnTo>
                        <a:pt x="729" y="167"/>
                      </a:lnTo>
                      <a:lnTo>
                        <a:pt x="728" y="167"/>
                      </a:lnTo>
                      <a:lnTo>
                        <a:pt x="728" y="167"/>
                      </a:lnTo>
                      <a:lnTo>
                        <a:pt x="728" y="167"/>
                      </a:lnTo>
                      <a:lnTo>
                        <a:pt x="728" y="167"/>
                      </a:lnTo>
                      <a:lnTo>
                        <a:pt x="728" y="167"/>
                      </a:lnTo>
                      <a:lnTo>
                        <a:pt x="728" y="167"/>
                      </a:lnTo>
                      <a:lnTo>
                        <a:pt x="728" y="167"/>
                      </a:lnTo>
                      <a:lnTo>
                        <a:pt x="728" y="168"/>
                      </a:lnTo>
                      <a:lnTo>
                        <a:pt x="728" y="168"/>
                      </a:lnTo>
                      <a:lnTo>
                        <a:pt x="728" y="167"/>
                      </a:lnTo>
                      <a:lnTo>
                        <a:pt x="727" y="167"/>
                      </a:lnTo>
                      <a:lnTo>
                        <a:pt x="727" y="167"/>
                      </a:lnTo>
                      <a:lnTo>
                        <a:pt x="727" y="168"/>
                      </a:lnTo>
                      <a:lnTo>
                        <a:pt x="726" y="168"/>
                      </a:lnTo>
                      <a:lnTo>
                        <a:pt x="725" y="168"/>
                      </a:lnTo>
                      <a:lnTo>
                        <a:pt x="725" y="168"/>
                      </a:lnTo>
                      <a:lnTo>
                        <a:pt x="724" y="168"/>
                      </a:lnTo>
                      <a:lnTo>
                        <a:pt x="725" y="168"/>
                      </a:lnTo>
                      <a:lnTo>
                        <a:pt x="724" y="168"/>
                      </a:lnTo>
                      <a:lnTo>
                        <a:pt x="724" y="168"/>
                      </a:lnTo>
                      <a:lnTo>
                        <a:pt x="724" y="168"/>
                      </a:lnTo>
                      <a:lnTo>
                        <a:pt x="724" y="168"/>
                      </a:lnTo>
                      <a:lnTo>
                        <a:pt x="724" y="168"/>
                      </a:lnTo>
                      <a:lnTo>
                        <a:pt x="724" y="168"/>
                      </a:lnTo>
                      <a:lnTo>
                        <a:pt x="724" y="168"/>
                      </a:lnTo>
                      <a:lnTo>
                        <a:pt x="725" y="168"/>
                      </a:lnTo>
                      <a:lnTo>
                        <a:pt x="724" y="168"/>
                      </a:lnTo>
                      <a:lnTo>
                        <a:pt x="725" y="168"/>
                      </a:lnTo>
                      <a:lnTo>
                        <a:pt x="725" y="168"/>
                      </a:lnTo>
                      <a:lnTo>
                        <a:pt x="725" y="168"/>
                      </a:lnTo>
                      <a:lnTo>
                        <a:pt x="725" y="168"/>
                      </a:lnTo>
                      <a:lnTo>
                        <a:pt x="725" y="168"/>
                      </a:lnTo>
                      <a:lnTo>
                        <a:pt x="726" y="168"/>
                      </a:lnTo>
                      <a:lnTo>
                        <a:pt x="725" y="168"/>
                      </a:lnTo>
                      <a:lnTo>
                        <a:pt x="725" y="168"/>
                      </a:lnTo>
                      <a:lnTo>
                        <a:pt x="724" y="168"/>
                      </a:lnTo>
                      <a:lnTo>
                        <a:pt x="725" y="168"/>
                      </a:lnTo>
                      <a:lnTo>
                        <a:pt x="725" y="169"/>
                      </a:lnTo>
                      <a:lnTo>
                        <a:pt x="724" y="169"/>
                      </a:lnTo>
                      <a:lnTo>
                        <a:pt x="724" y="169"/>
                      </a:lnTo>
                      <a:lnTo>
                        <a:pt x="724" y="169"/>
                      </a:lnTo>
                      <a:lnTo>
                        <a:pt x="724" y="169"/>
                      </a:lnTo>
                      <a:lnTo>
                        <a:pt x="723" y="169"/>
                      </a:lnTo>
                      <a:lnTo>
                        <a:pt x="723" y="170"/>
                      </a:lnTo>
                      <a:lnTo>
                        <a:pt x="723" y="170"/>
                      </a:lnTo>
                      <a:lnTo>
                        <a:pt x="722" y="170"/>
                      </a:lnTo>
                      <a:lnTo>
                        <a:pt x="721" y="170"/>
                      </a:lnTo>
                      <a:lnTo>
                        <a:pt x="721" y="170"/>
                      </a:lnTo>
                      <a:lnTo>
                        <a:pt x="721" y="170"/>
                      </a:lnTo>
                      <a:lnTo>
                        <a:pt x="721" y="170"/>
                      </a:lnTo>
                      <a:lnTo>
                        <a:pt x="721" y="170"/>
                      </a:lnTo>
                      <a:lnTo>
                        <a:pt x="720" y="171"/>
                      </a:lnTo>
                      <a:lnTo>
                        <a:pt x="721" y="171"/>
                      </a:lnTo>
                      <a:lnTo>
                        <a:pt x="720" y="171"/>
                      </a:lnTo>
                      <a:lnTo>
                        <a:pt x="720" y="171"/>
                      </a:lnTo>
                      <a:lnTo>
                        <a:pt x="720" y="171"/>
                      </a:lnTo>
                      <a:lnTo>
                        <a:pt x="720" y="172"/>
                      </a:lnTo>
                      <a:lnTo>
                        <a:pt x="719" y="172"/>
                      </a:lnTo>
                      <a:lnTo>
                        <a:pt x="719" y="173"/>
                      </a:lnTo>
                      <a:lnTo>
                        <a:pt x="720" y="173"/>
                      </a:lnTo>
                      <a:lnTo>
                        <a:pt x="719" y="173"/>
                      </a:lnTo>
                      <a:lnTo>
                        <a:pt x="720" y="173"/>
                      </a:lnTo>
                      <a:lnTo>
                        <a:pt x="720" y="173"/>
                      </a:lnTo>
                      <a:lnTo>
                        <a:pt x="719" y="173"/>
                      </a:lnTo>
                      <a:lnTo>
                        <a:pt x="719" y="173"/>
                      </a:lnTo>
                      <a:lnTo>
                        <a:pt x="719" y="173"/>
                      </a:lnTo>
                      <a:lnTo>
                        <a:pt x="718" y="173"/>
                      </a:lnTo>
                      <a:lnTo>
                        <a:pt x="718" y="174"/>
                      </a:lnTo>
                      <a:lnTo>
                        <a:pt x="718" y="173"/>
                      </a:lnTo>
                      <a:lnTo>
                        <a:pt x="719" y="173"/>
                      </a:lnTo>
                      <a:lnTo>
                        <a:pt x="720" y="173"/>
                      </a:lnTo>
                      <a:lnTo>
                        <a:pt x="720" y="173"/>
                      </a:lnTo>
                      <a:lnTo>
                        <a:pt x="719" y="173"/>
                      </a:lnTo>
                      <a:lnTo>
                        <a:pt x="719" y="172"/>
                      </a:lnTo>
                      <a:lnTo>
                        <a:pt x="720" y="172"/>
                      </a:lnTo>
                      <a:lnTo>
                        <a:pt x="720" y="172"/>
                      </a:lnTo>
                      <a:lnTo>
                        <a:pt x="720" y="172"/>
                      </a:lnTo>
                      <a:lnTo>
                        <a:pt x="720" y="171"/>
                      </a:lnTo>
                      <a:lnTo>
                        <a:pt x="720" y="171"/>
                      </a:lnTo>
                      <a:lnTo>
                        <a:pt x="720" y="171"/>
                      </a:lnTo>
                      <a:lnTo>
                        <a:pt x="721" y="171"/>
                      </a:lnTo>
                      <a:lnTo>
                        <a:pt x="720" y="171"/>
                      </a:lnTo>
                      <a:lnTo>
                        <a:pt x="721" y="170"/>
                      </a:lnTo>
                      <a:lnTo>
                        <a:pt x="721" y="170"/>
                      </a:lnTo>
                      <a:lnTo>
                        <a:pt x="721" y="170"/>
                      </a:lnTo>
                      <a:lnTo>
                        <a:pt x="722" y="170"/>
                      </a:lnTo>
                      <a:lnTo>
                        <a:pt x="723" y="170"/>
                      </a:lnTo>
                      <a:lnTo>
                        <a:pt x="723" y="170"/>
                      </a:lnTo>
                      <a:lnTo>
                        <a:pt x="724" y="170"/>
                      </a:lnTo>
                      <a:lnTo>
                        <a:pt x="724" y="170"/>
                      </a:lnTo>
                      <a:lnTo>
                        <a:pt x="724" y="170"/>
                      </a:lnTo>
                      <a:lnTo>
                        <a:pt x="724" y="171"/>
                      </a:lnTo>
                      <a:lnTo>
                        <a:pt x="724" y="170"/>
                      </a:lnTo>
                      <a:lnTo>
                        <a:pt x="724" y="170"/>
                      </a:lnTo>
                      <a:lnTo>
                        <a:pt x="724" y="171"/>
                      </a:lnTo>
                      <a:lnTo>
                        <a:pt x="724" y="170"/>
                      </a:lnTo>
                      <a:lnTo>
                        <a:pt x="724" y="170"/>
                      </a:lnTo>
                      <a:lnTo>
                        <a:pt x="724" y="170"/>
                      </a:lnTo>
                      <a:lnTo>
                        <a:pt x="723" y="170"/>
                      </a:lnTo>
                      <a:lnTo>
                        <a:pt x="724" y="170"/>
                      </a:lnTo>
                      <a:lnTo>
                        <a:pt x="723" y="169"/>
                      </a:lnTo>
                      <a:lnTo>
                        <a:pt x="724" y="169"/>
                      </a:lnTo>
                      <a:lnTo>
                        <a:pt x="724" y="169"/>
                      </a:lnTo>
                      <a:lnTo>
                        <a:pt x="724" y="169"/>
                      </a:lnTo>
                      <a:lnTo>
                        <a:pt x="724" y="169"/>
                      </a:lnTo>
                      <a:lnTo>
                        <a:pt x="725" y="169"/>
                      </a:lnTo>
                      <a:lnTo>
                        <a:pt x="725" y="170"/>
                      </a:lnTo>
                      <a:lnTo>
                        <a:pt x="724" y="170"/>
                      </a:lnTo>
                      <a:lnTo>
                        <a:pt x="724" y="170"/>
                      </a:lnTo>
                      <a:lnTo>
                        <a:pt x="725" y="170"/>
                      </a:lnTo>
                      <a:lnTo>
                        <a:pt x="724" y="170"/>
                      </a:lnTo>
                      <a:lnTo>
                        <a:pt x="724" y="171"/>
                      </a:lnTo>
                      <a:lnTo>
                        <a:pt x="725" y="171"/>
                      </a:lnTo>
                      <a:lnTo>
                        <a:pt x="725" y="171"/>
                      </a:lnTo>
                      <a:lnTo>
                        <a:pt x="724" y="171"/>
                      </a:lnTo>
                      <a:lnTo>
                        <a:pt x="725" y="171"/>
                      </a:lnTo>
                      <a:lnTo>
                        <a:pt x="724" y="172"/>
                      </a:lnTo>
                      <a:lnTo>
                        <a:pt x="725" y="172"/>
                      </a:lnTo>
                      <a:lnTo>
                        <a:pt x="725" y="173"/>
                      </a:lnTo>
                      <a:lnTo>
                        <a:pt x="724" y="173"/>
                      </a:lnTo>
                      <a:lnTo>
                        <a:pt x="724" y="173"/>
                      </a:lnTo>
                      <a:lnTo>
                        <a:pt x="724" y="173"/>
                      </a:lnTo>
                      <a:lnTo>
                        <a:pt x="724" y="173"/>
                      </a:lnTo>
                      <a:lnTo>
                        <a:pt x="725" y="174"/>
                      </a:lnTo>
                      <a:lnTo>
                        <a:pt x="725" y="174"/>
                      </a:lnTo>
                      <a:lnTo>
                        <a:pt x="724" y="174"/>
                      </a:lnTo>
                      <a:lnTo>
                        <a:pt x="724" y="174"/>
                      </a:lnTo>
                      <a:lnTo>
                        <a:pt x="723" y="174"/>
                      </a:lnTo>
                      <a:lnTo>
                        <a:pt x="723" y="175"/>
                      </a:lnTo>
                      <a:lnTo>
                        <a:pt x="724" y="175"/>
                      </a:lnTo>
                      <a:lnTo>
                        <a:pt x="724" y="175"/>
                      </a:lnTo>
                      <a:lnTo>
                        <a:pt x="724" y="175"/>
                      </a:lnTo>
                      <a:lnTo>
                        <a:pt x="725" y="175"/>
                      </a:lnTo>
                      <a:lnTo>
                        <a:pt x="725" y="175"/>
                      </a:lnTo>
                      <a:lnTo>
                        <a:pt x="725" y="176"/>
                      </a:lnTo>
                      <a:lnTo>
                        <a:pt x="725" y="175"/>
                      </a:lnTo>
                      <a:lnTo>
                        <a:pt x="725" y="176"/>
                      </a:lnTo>
                      <a:lnTo>
                        <a:pt x="726" y="176"/>
                      </a:lnTo>
                      <a:lnTo>
                        <a:pt x="725" y="176"/>
                      </a:lnTo>
                      <a:lnTo>
                        <a:pt x="725" y="177"/>
                      </a:lnTo>
                      <a:lnTo>
                        <a:pt x="725" y="177"/>
                      </a:lnTo>
                      <a:lnTo>
                        <a:pt x="725" y="177"/>
                      </a:lnTo>
                      <a:lnTo>
                        <a:pt x="725" y="178"/>
                      </a:lnTo>
                      <a:lnTo>
                        <a:pt x="725" y="178"/>
                      </a:lnTo>
                      <a:lnTo>
                        <a:pt x="725" y="178"/>
                      </a:lnTo>
                      <a:lnTo>
                        <a:pt x="725" y="179"/>
                      </a:lnTo>
                      <a:lnTo>
                        <a:pt x="725" y="179"/>
                      </a:lnTo>
                      <a:lnTo>
                        <a:pt x="725" y="180"/>
                      </a:lnTo>
                      <a:lnTo>
                        <a:pt x="725" y="180"/>
                      </a:lnTo>
                      <a:lnTo>
                        <a:pt x="725" y="180"/>
                      </a:lnTo>
                      <a:lnTo>
                        <a:pt x="725" y="181"/>
                      </a:lnTo>
                      <a:lnTo>
                        <a:pt x="724" y="181"/>
                      </a:lnTo>
                      <a:lnTo>
                        <a:pt x="724" y="181"/>
                      </a:lnTo>
                      <a:lnTo>
                        <a:pt x="725" y="181"/>
                      </a:lnTo>
                      <a:lnTo>
                        <a:pt x="725" y="182"/>
                      </a:lnTo>
                      <a:lnTo>
                        <a:pt x="725" y="182"/>
                      </a:lnTo>
                      <a:lnTo>
                        <a:pt x="725" y="182"/>
                      </a:lnTo>
                      <a:lnTo>
                        <a:pt x="725" y="182"/>
                      </a:lnTo>
                      <a:lnTo>
                        <a:pt x="726" y="182"/>
                      </a:lnTo>
                      <a:lnTo>
                        <a:pt x="726" y="182"/>
                      </a:lnTo>
                      <a:lnTo>
                        <a:pt x="725" y="182"/>
                      </a:lnTo>
                      <a:lnTo>
                        <a:pt x="725" y="183"/>
                      </a:lnTo>
                      <a:lnTo>
                        <a:pt x="726" y="183"/>
                      </a:lnTo>
                      <a:lnTo>
                        <a:pt x="726" y="184"/>
                      </a:lnTo>
                      <a:lnTo>
                        <a:pt x="727" y="184"/>
                      </a:lnTo>
                      <a:lnTo>
                        <a:pt x="726" y="184"/>
                      </a:lnTo>
                      <a:lnTo>
                        <a:pt x="726" y="184"/>
                      </a:lnTo>
                      <a:lnTo>
                        <a:pt x="727" y="184"/>
                      </a:lnTo>
                      <a:lnTo>
                        <a:pt x="727" y="185"/>
                      </a:lnTo>
                      <a:lnTo>
                        <a:pt x="726" y="185"/>
                      </a:lnTo>
                      <a:lnTo>
                        <a:pt x="725" y="185"/>
                      </a:lnTo>
                      <a:lnTo>
                        <a:pt x="725" y="185"/>
                      </a:lnTo>
                      <a:lnTo>
                        <a:pt x="725" y="185"/>
                      </a:lnTo>
                      <a:lnTo>
                        <a:pt x="724" y="185"/>
                      </a:lnTo>
                      <a:lnTo>
                        <a:pt x="724" y="186"/>
                      </a:lnTo>
                      <a:lnTo>
                        <a:pt x="724" y="185"/>
                      </a:lnTo>
                      <a:lnTo>
                        <a:pt x="724" y="186"/>
                      </a:lnTo>
                      <a:lnTo>
                        <a:pt x="724" y="186"/>
                      </a:lnTo>
                      <a:lnTo>
                        <a:pt x="724" y="187"/>
                      </a:lnTo>
                      <a:lnTo>
                        <a:pt x="724" y="187"/>
                      </a:lnTo>
                      <a:lnTo>
                        <a:pt x="724" y="188"/>
                      </a:lnTo>
                      <a:lnTo>
                        <a:pt x="723" y="188"/>
                      </a:lnTo>
                      <a:lnTo>
                        <a:pt x="724" y="188"/>
                      </a:lnTo>
                      <a:lnTo>
                        <a:pt x="724" y="188"/>
                      </a:lnTo>
                      <a:lnTo>
                        <a:pt x="724" y="188"/>
                      </a:lnTo>
                      <a:lnTo>
                        <a:pt x="724" y="188"/>
                      </a:lnTo>
                      <a:lnTo>
                        <a:pt x="723" y="188"/>
                      </a:lnTo>
                      <a:lnTo>
                        <a:pt x="724" y="188"/>
                      </a:lnTo>
                      <a:lnTo>
                        <a:pt x="724" y="187"/>
                      </a:lnTo>
                      <a:lnTo>
                        <a:pt x="724" y="187"/>
                      </a:lnTo>
                      <a:lnTo>
                        <a:pt x="724" y="186"/>
                      </a:lnTo>
                      <a:lnTo>
                        <a:pt x="725" y="186"/>
                      </a:lnTo>
                      <a:lnTo>
                        <a:pt x="725" y="187"/>
                      </a:lnTo>
                      <a:lnTo>
                        <a:pt x="725" y="187"/>
                      </a:lnTo>
                      <a:lnTo>
                        <a:pt x="725" y="187"/>
                      </a:lnTo>
                      <a:lnTo>
                        <a:pt x="725" y="187"/>
                      </a:lnTo>
                      <a:lnTo>
                        <a:pt x="725" y="188"/>
                      </a:lnTo>
                      <a:lnTo>
                        <a:pt x="725" y="188"/>
                      </a:lnTo>
                      <a:lnTo>
                        <a:pt x="726" y="188"/>
                      </a:lnTo>
                      <a:lnTo>
                        <a:pt x="725" y="188"/>
                      </a:lnTo>
                      <a:lnTo>
                        <a:pt x="725" y="188"/>
                      </a:lnTo>
                      <a:lnTo>
                        <a:pt x="725" y="189"/>
                      </a:lnTo>
                      <a:lnTo>
                        <a:pt x="725" y="188"/>
                      </a:lnTo>
                      <a:lnTo>
                        <a:pt x="725" y="189"/>
                      </a:lnTo>
                      <a:lnTo>
                        <a:pt x="725" y="189"/>
                      </a:lnTo>
                      <a:lnTo>
                        <a:pt x="725" y="189"/>
                      </a:lnTo>
                      <a:lnTo>
                        <a:pt x="725" y="190"/>
                      </a:lnTo>
                      <a:lnTo>
                        <a:pt x="725" y="190"/>
                      </a:lnTo>
                      <a:lnTo>
                        <a:pt x="724" y="190"/>
                      </a:lnTo>
                      <a:lnTo>
                        <a:pt x="724" y="190"/>
                      </a:lnTo>
                      <a:lnTo>
                        <a:pt x="725" y="190"/>
                      </a:lnTo>
                      <a:lnTo>
                        <a:pt x="724" y="190"/>
                      </a:lnTo>
                      <a:lnTo>
                        <a:pt x="725" y="190"/>
                      </a:lnTo>
                      <a:lnTo>
                        <a:pt x="725" y="191"/>
                      </a:lnTo>
                      <a:lnTo>
                        <a:pt x="725" y="191"/>
                      </a:lnTo>
                      <a:lnTo>
                        <a:pt x="725" y="192"/>
                      </a:lnTo>
                      <a:lnTo>
                        <a:pt x="726" y="192"/>
                      </a:lnTo>
                      <a:lnTo>
                        <a:pt x="726" y="192"/>
                      </a:lnTo>
                      <a:lnTo>
                        <a:pt x="725" y="192"/>
                      </a:lnTo>
                      <a:lnTo>
                        <a:pt x="726" y="192"/>
                      </a:lnTo>
                      <a:lnTo>
                        <a:pt x="725" y="192"/>
                      </a:lnTo>
                      <a:lnTo>
                        <a:pt x="725" y="192"/>
                      </a:lnTo>
                      <a:lnTo>
                        <a:pt x="725" y="192"/>
                      </a:lnTo>
                      <a:lnTo>
                        <a:pt x="724" y="192"/>
                      </a:lnTo>
                      <a:lnTo>
                        <a:pt x="724" y="192"/>
                      </a:lnTo>
                      <a:lnTo>
                        <a:pt x="724" y="192"/>
                      </a:lnTo>
                      <a:lnTo>
                        <a:pt x="724" y="193"/>
                      </a:lnTo>
                      <a:lnTo>
                        <a:pt x="724" y="193"/>
                      </a:lnTo>
                      <a:lnTo>
                        <a:pt x="723" y="193"/>
                      </a:lnTo>
                      <a:lnTo>
                        <a:pt x="723" y="193"/>
                      </a:lnTo>
                      <a:lnTo>
                        <a:pt x="723" y="193"/>
                      </a:lnTo>
                      <a:lnTo>
                        <a:pt x="723" y="193"/>
                      </a:lnTo>
                      <a:lnTo>
                        <a:pt x="722" y="193"/>
                      </a:lnTo>
                      <a:lnTo>
                        <a:pt x="722" y="194"/>
                      </a:lnTo>
                      <a:lnTo>
                        <a:pt x="722" y="194"/>
                      </a:lnTo>
                      <a:lnTo>
                        <a:pt x="721" y="194"/>
                      </a:lnTo>
                      <a:lnTo>
                        <a:pt x="721" y="195"/>
                      </a:lnTo>
                      <a:lnTo>
                        <a:pt x="721" y="195"/>
                      </a:lnTo>
                      <a:lnTo>
                        <a:pt x="721" y="196"/>
                      </a:lnTo>
                      <a:lnTo>
                        <a:pt x="721" y="196"/>
                      </a:lnTo>
                      <a:lnTo>
                        <a:pt x="722" y="196"/>
                      </a:lnTo>
                      <a:lnTo>
                        <a:pt x="722" y="196"/>
                      </a:lnTo>
                      <a:lnTo>
                        <a:pt x="721" y="196"/>
                      </a:lnTo>
                      <a:lnTo>
                        <a:pt x="721" y="197"/>
                      </a:lnTo>
                      <a:lnTo>
                        <a:pt x="721" y="197"/>
                      </a:lnTo>
                      <a:lnTo>
                        <a:pt x="721" y="197"/>
                      </a:lnTo>
                      <a:lnTo>
                        <a:pt x="720" y="197"/>
                      </a:lnTo>
                      <a:lnTo>
                        <a:pt x="720" y="197"/>
                      </a:lnTo>
                      <a:lnTo>
                        <a:pt x="720" y="196"/>
                      </a:lnTo>
                      <a:lnTo>
                        <a:pt x="719" y="196"/>
                      </a:lnTo>
                      <a:lnTo>
                        <a:pt x="719" y="197"/>
                      </a:lnTo>
                      <a:lnTo>
                        <a:pt x="718" y="197"/>
                      </a:lnTo>
                      <a:lnTo>
                        <a:pt x="718" y="197"/>
                      </a:lnTo>
                      <a:lnTo>
                        <a:pt x="718" y="197"/>
                      </a:lnTo>
                      <a:lnTo>
                        <a:pt x="717" y="197"/>
                      </a:lnTo>
                      <a:lnTo>
                        <a:pt x="717" y="197"/>
                      </a:lnTo>
                      <a:lnTo>
                        <a:pt x="716" y="197"/>
                      </a:lnTo>
                      <a:lnTo>
                        <a:pt x="716" y="196"/>
                      </a:lnTo>
                      <a:lnTo>
                        <a:pt x="715" y="196"/>
                      </a:lnTo>
                      <a:lnTo>
                        <a:pt x="714" y="197"/>
                      </a:lnTo>
                      <a:lnTo>
                        <a:pt x="714" y="197"/>
                      </a:lnTo>
                      <a:lnTo>
                        <a:pt x="714" y="197"/>
                      </a:lnTo>
                      <a:lnTo>
                        <a:pt x="713" y="197"/>
                      </a:lnTo>
                      <a:lnTo>
                        <a:pt x="713" y="197"/>
                      </a:lnTo>
                      <a:lnTo>
                        <a:pt x="713" y="198"/>
                      </a:lnTo>
                      <a:lnTo>
                        <a:pt x="713" y="198"/>
                      </a:lnTo>
                      <a:lnTo>
                        <a:pt x="713" y="198"/>
                      </a:lnTo>
                      <a:lnTo>
                        <a:pt x="713" y="199"/>
                      </a:lnTo>
                      <a:lnTo>
                        <a:pt x="712" y="199"/>
                      </a:lnTo>
                      <a:lnTo>
                        <a:pt x="712" y="199"/>
                      </a:lnTo>
                      <a:lnTo>
                        <a:pt x="711" y="199"/>
                      </a:lnTo>
                      <a:lnTo>
                        <a:pt x="712" y="199"/>
                      </a:lnTo>
                      <a:lnTo>
                        <a:pt x="712" y="199"/>
                      </a:lnTo>
                      <a:lnTo>
                        <a:pt x="711" y="199"/>
                      </a:lnTo>
                      <a:lnTo>
                        <a:pt x="711" y="198"/>
                      </a:lnTo>
                      <a:lnTo>
                        <a:pt x="710" y="198"/>
                      </a:lnTo>
                      <a:lnTo>
                        <a:pt x="711" y="198"/>
                      </a:lnTo>
                      <a:lnTo>
                        <a:pt x="711" y="199"/>
                      </a:lnTo>
                      <a:lnTo>
                        <a:pt x="710" y="198"/>
                      </a:lnTo>
                      <a:lnTo>
                        <a:pt x="710" y="198"/>
                      </a:lnTo>
                      <a:lnTo>
                        <a:pt x="709" y="198"/>
                      </a:lnTo>
                      <a:lnTo>
                        <a:pt x="710" y="198"/>
                      </a:lnTo>
                      <a:lnTo>
                        <a:pt x="710" y="197"/>
                      </a:lnTo>
                      <a:lnTo>
                        <a:pt x="710" y="198"/>
                      </a:lnTo>
                      <a:lnTo>
                        <a:pt x="709" y="198"/>
                      </a:lnTo>
                      <a:lnTo>
                        <a:pt x="710" y="197"/>
                      </a:lnTo>
                      <a:lnTo>
                        <a:pt x="709" y="197"/>
                      </a:lnTo>
                      <a:lnTo>
                        <a:pt x="709" y="197"/>
                      </a:lnTo>
                      <a:lnTo>
                        <a:pt x="709" y="197"/>
                      </a:lnTo>
                      <a:lnTo>
                        <a:pt x="708" y="197"/>
                      </a:lnTo>
                      <a:lnTo>
                        <a:pt x="708" y="197"/>
                      </a:lnTo>
                      <a:lnTo>
                        <a:pt x="708" y="197"/>
                      </a:lnTo>
                      <a:lnTo>
                        <a:pt x="708" y="196"/>
                      </a:lnTo>
                      <a:lnTo>
                        <a:pt x="708" y="196"/>
                      </a:lnTo>
                      <a:lnTo>
                        <a:pt x="707" y="196"/>
                      </a:lnTo>
                      <a:lnTo>
                        <a:pt x="707" y="196"/>
                      </a:lnTo>
                      <a:lnTo>
                        <a:pt x="707" y="196"/>
                      </a:lnTo>
                      <a:lnTo>
                        <a:pt x="706" y="196"/>
                      </a:lnTo>
                      <a:lnTo>
                        <a:pt x="706" y="196"/>
                      </a:lnTo>
                      <a:lnTo>
                        <a:pt x="706" y="196"/>
                      </a:lnTo>
                      <a:lnTo>
                        <a:pt x="706" y="196"/>
                      </a:lnTo>
                      <a:lnTo>
                        <a:pt x="706" y="196"/>
                      </a:lnTo>
                      <a:lnTo>
                        <a:pt x="705" y="196"/>
                      </a:lnTo>
                      <a:lnTo>
                        <a:pt x="705" y="195"/>
                      </a:lnTo>
                      <a:lnTo>
                        <a:pt x="705" y="196"/>
                      </a:lnTo>
                      <a:lnTo>
                        <a:pt x="705" y="196"/>
                      </a:lnTo>
                      <a:lnTo>
                        <a:pt x="704" y="196"/>
                      </a:lnTo>
                      <a:lnTo>
                        <a:pt x="705" y="196"/>
                      </a:lnTo>
                      <a:lnTo>
                        <a:pt x="704" y="196"/>
                      </a:lnTo>
                      <a:lnTo>
                        <a:pt x="704" y="197"/>
                      </a:lnTo>
                      <a:lnTo>
                        <a:pt x="704" y="196"/>
                      </a:lnTo>
                      <a:lnTo>
                        <a:pt x="703" y="196"/>
                      </a:lnTo>
                      <a:lnTo>
                        <a:pt x="703" y="197"/>
                      </a:lnTo>
                      <a:lnTo>
                        <a:pt x="703" y="196"/>
                      </a:lnTo>
                      <a:lnTo>
                        <a:pt x="703" y="197"/>
                      </a:lnTo>
                      <a:lnTo>
                        <a:pt x="704" y="197"/>
                      </a:lnTo>
                      <a:lnTo>
                        <a:pt x="703" y="197"/>
                      </a:lnTo>
                      <a:lnTo>
                        <a:pt x="703" y="197"/>
                      </a:lnTo>
                      <a:lnTo>
                        <a:pt x="703" y="197"/>
                      </a:lnTo>
                      <a:lnTo>
                        <a:pt x="703" y="197"/>
                      </a:lnTo>
                      <a:lnTo>
                        <a:pt x="702" y="197"/>
                      </a:lnTo>
                      <a:lnTo>
                        <a:pt x="702" y="197"/>
                      </a:lnTo>
                      <a:lnTo>
                        <a:pt x="702" y="197"/>
                      </a:lnTo>
                      <a:lnTo>
                        <a:pt x="702" y="197"/>
                      </a:lnTo>
                      <a:lnTo>
                        <a:pt x="701" y="197"/>
                      </a:lnTo>
                      <a:lnTo>
                        <a:pt x="701" y="197"/>
                      </a:lnTo>
                      <a:lnTo>
                        <a:pt x="702" y="197"/>
                      </a:lnTo>
                      <a:lnTo>
                        <a:pt x="701" y="197"/>
                      </a:lnTo>
                      <a:lnTo>
                        <a:pt x="701" y="198"/>
                      </a:lnTo>
                      <a:lnTo>
                        <a:pt x="701" y="198"/>
                      </a:lnTo>
                      <a:lnTo>
                        <a:pt x="700" y="198"/>
                      </a:lnTo>
                      <a:lnTo>
                        <a:pt x="701" y="198"/>
                      </a:lnTo>
                      <a:lnTo>
                        <a:pt x="701" y="197"/>
                      </a:lnTo>
                      <a:lnTo>
                        <a:pt x="700" y="197"/>
                      </a:lnTo>
                      <a:lnTo>
                        <a:pt x="699" y="197"/>
                      </a:lnTo>
                      <a:lnTo>
                        <a:pt x="699" y="197"/>
                      </a:lnTo>
                      <a:lnTo>
                        <a:pt x="699" y="197"/>
                      </a:lnTo>
                      <a:lnTo>
                        <a:pt x="699" y="198"/>
                      </a:lnTo>
                      <a:lnTo>
                        <a:pt x="699" y="198"/>
                      </a:lnTo>
                      <a:lnTo>
                        <a:pt x="699" y="197"/>
                      </a:lnTo>
                      <a:lnTo>
                        <a:pt x="699" y="197"/>
                      </a:lnTo>
                      <a:lnTo>
                        <a:pt x="698" y="197"/>
                      </a:lnTo>
                      <a:lnTo>
                        <a:pt x="698" y="197"/>
                      </a:lnTo>
                      <a:lnTo>
                        <a:pt x="698" y="197"/>
                      </a:lnTo>
                      <a:lnTo>
                        <a:pt x="697" y="197"/>
                      </a:lnTo>
                      <a:lnTo>
                        <a:pt x="697" y="197"/>
                      </a:lnTo>
                      <a:lnTo>
                        <a:pt x="697" y="197"/>
                      </a:lnTo>
                      <a:lnTo>
                        <a:pt x="697" y="197"/>
                      </a:lnTo>
                      <a:lnTo>
                        <a:pt x="697" y="197"/>
                      </a:lnTo>
                      <a:lnTo>
                        <a:pt x="697" y="197"/>
                      </a:lnTo>
                      <a:lnTo>
                        <a:pt x="696" y="197"/>
                      </a:lnTo>
                      <a:lnTo>
                        <a:pt x="697" y="197"/>
                      </a:lnTo>
                      <a:lnTo>
                        <a:pt x="697" y="198"/>
                      </a:lnTo>
                      <a:lnTo>
                        <a:pt x="696" y="198"/>
                      </a:lnTo>
                      <a:lnTo>
                        <a:pt x="697" y="198"/>
                      </a:lnTo>
                      <a:lnTo>
                        <a:pt x="696" y="198"/>
                      </a:lnTo>
                      <a:lnTo>
                        <a:pt x="695" y="198"/>
                      </a:lnTo>
                      <a:lnTo>
                        <a:pt x="695" y="199"/>
                      </a:lnTo>
                      <a:lnTo>
                        <a:pt x="695" y="198"/>
                      </a:lnTo>
                      <a:lnTo>
                        <a:pt x="695" y="199"/>
                      </a:lnTo>
                      <a:lnTo>
                        <a:pt x="694" y="199"/>
                      </a:lnTo>
                      <a:lnTo>
                        <a:pt x="694" y="198"/>
                      </a:lnTo>
                      <a:lnTo>
                        <a:pt x="694" y="199"/>
                      </a:lnTo>
                      <a:lnTo>
                        <a:pt x="694" y="199"/>
                      </a:lnTo>
                      <a:lnTo>
                        <a:pt x="694" y="198"/>
                      </a:lnTo>
                      <a:lnTo>
                        <a:pt x="693" y="198"/>
                      </a:lnTo>
                      <a:lnTo>
                        <a:pt x="693" y="198"/>
                      </a:lnTo>
                      <a:lnTo>
                        <a:pt x="693" y="199"/>
                      </a:lnTo>
                      <a:lnTo>
                        <a:pt x="692" y="199"/>
                      </a:lnTo>
                      <a:lnTo>
                        <a:pt x="693" y="199"/>
                      </a:lnTo>
                      <a:lnTo>
                        <a:pt x="692" y="199"/>
                      </a:lnTo>
                      <a:lnTo>
                        <a:pt x="693" y="199"/>
                      </a:lnTo>
                      <a:lnTo>
                        <a:pt x="692" y="199"/>
                      </a:lnTo>
                      <a:lnTo>
                        <a:pt x="691" y="199"/>
                      </a:lnTo>
                      <a:lnTo>
                        <a:pt x="691" y="199"/>
                      </a:lnTo>
                      <a:lnTo>
                        <a:pt x="691" y="198"/>
                      </a:lnTo>
                      <a:lnTo>
                        <a:pt x="691" y="199"/>
                      </a:lnTo>
                      <a:lnTo>
                        <a:pt x="690" y="199"/>
                      </a:lnTo>
                      <a:lnTo>
                        <a:pt x="691" y="199"/>
                      </a:lnTo>
                      <a:lnTo>
                        <a:pt x="690" y="199"/>
                      </a:lnTo>
                      <a:lnTo>
                        <a:pt x="690" y="199"/>
                      </a:lnTo>
                      <a:lnTo>
                        <a:pt x="689" y="199"/>
                      </a:lnTo>
                      <a:lnTo>
                        <a:pt x="690" y="199"/>
                      </a:lnTo>
                      <a:lnTo>
                        <a:pt x="689" y="199"/>
                      </a:lnTo>
                      <a:lnTo>
                        <a:pt x="689" y="198"/>
                      </a:lnTo>
                      <a:lnTo>
                        <a:pt x="688" y="198"/>
                      </a:lnTo>
                      <a:lnTo>
                        <a:pt x="688" y="198"/>
                      </a:lnTo>
                      <a:lnTo>
                        <a:pt x="688" y="198"/>
                      </a:lnTo>
                      <a:lnTo>
                        <a:pt x="689" y="198"/>
                      </a:lnTo>
                      <a:lnTo>
                        <a:pt x="689" y="199"/>
                      </a:lnTo>
                      <a:lnTo>
                        <a:pt x="690" y="199"/>
                      </a:lnTo>
                      <a:lnTo>
                        <a:pt x="689" y="199"/>
                      </a:lnTo>
                      <a:lnTo>
                        <a:pt x="690" y="199"/>
                      </a:lnTo>
                      <a:lnTo>
                        <a:pt x="690" y="199"/>
                      </a:lnTo>
                      <a:lnTo>
                        <a:pt x="691" y="199"/>
                      </a:lnTo>
                      <a:lnTo>
                        <a:pt x="690" y="199"/>
                      </a:lnTo>
                      <a:lnTo>
                        <a:pt x="691" y="199"/>
                      </a:lnTo>
                      <a:lnTo>
                        <a:pt x="691" y="198"/>
                      </a:lnTo>
                      <a:lnTo>
                        <a:pt x="691" y="199"/>
                      </a:lnTo>
                      <a:lnTo>
                        <a:pt x="691" y="199"/>
                      </a:lnTo>
                      <a:lnTo>
                        <a:pt x="691" y="199"/>
                      </a:lnTo>
                      <a:lnTo>
                        <a:pt x="691" y="199"/>
                      </a:lnTo>
                      <a:lnTo>
                        <a:pt x="692" y="199"/>
                      </a:lnTo>
                      <a:lnTo>
                        <a:pt x="692" y="199"/>
                      </a:lnTo>
                      <a:lnTo>
                        <a:pt x="693" y="199"/>
                      </a:lnTo>
                      <a:lnTo>
                        <a:pt x="693" y="198"/>
                      </a:lnTo>
                      <a:lnTo>
                        <a:pt x="693" y="199"/>
                      </a:lnTo>
                      <a:lnTo>
                        <a:pt x="693" y="199"/>
                      </a:lnTo>
                      <a:lnTo>
                        <a:pt x="693" y="198"/>
                      </a:lnTo>
                      <a:lnTo>
                        <a:pt x="694" y="198"/>
                      </a:lnTo>
                      <a:lnTo>
                        <a:pt x="694" y="199"/>
                      </a:lnTo>
                      <a:lnTo>
                        <a:pt x="694" y="199"/>
                      </a:lnTo>
                      <a:lnTo>
                        <a:pt x="694" y="198"/>
                      </a:lnTo>
                      <a:lnTo>
                        <a:pt x="694" y="199"/>
                      </a:lnTo>
                      <a:lnTo>
                        <a:pt x="695" y="199"/>
                      </a:lnTo>
                      <a:lnTo>
                        <a:pt x="695" y="198"/>
                      </a:lnTo>
                      <a:lnTo>
                        <a:pt x="695" y="199"/>
                      </a:lnTo>
                      <a:lnTo>
                        <a:pt x="695" y="199"/>
                      </a:lnTo>
                      <a:lnTo>
                        <a:pt x="695" y="198"/>
                      </a:lnTo>
                      <a:lnTo>
                        <a:pt x="696" y="198"/>
                      </a:lnTo>
                      <a:lnTo>
                        <a:pt x="697" y="198"/>
                      </a:lnTo>
                      <a:lnTo>
                        <a:pt x="696" y="198"/>
                      </a:lnTo>
                      <a:lnTo>
                        <a:pt x="697" y="198"/>
                      </a:lnTo>
                      <a:lnTo>
                        <a:pt x="697" y="197"/>
                      </a:lnTo>
                      <a:lnTo>
                        <a:pt x="696" y="197"/>
                      </a:lnTo>
                      <a:lnTo>
                        <a:pt x="697" y="197"/>
                      </a:lnTo>
                      <a:lnTo>
                        <a:pt x="697" y="197"/>
                      </a:lnTo>
                      <a:lnTo>
                        <a:pt x="697" y="197"/>
                      </a:lnTo>
                      <a:lnTo>
                        <a:pt x="697" y="197"/>
                      </a:lnTo>
                      <a:lnTo>
                        <a:pt x="698" y="197"/>
                      </a:lnTo>
                      <a:lnTo>
                        <a:pt x="698" y="197"/>
                      </a:lnTo>
                      <a:lnTo>
                        <a:pt x="699" y="197"/>
                      </a:lnTo>
                      <a:lnTo>
                        <a:pt x="698" y="197"/>
                      </a:lnTo>
                      <a:lnTo>
                        <a:pt x="699" y="197"/>
                      </a:lnTo>
                      <a:lnTo>
                        <a:pt x="699" y="197"/>
                      </a:lnTo>
                      <a:lnTo>
                        <a:pt x="699" y="198"/>
                      </a:lnTo>
                      <a:lnTo>
                        <a:pt x="699" y="198"/>
                      </a:lnTo>
                      <a:lnTo>
                        <a:pt x="699" y="197"/>
                      </a:lnTo>
                      <a:lnTo>
                        <a:pt x="699" y="197"/>
                      </a:lnTo>
                      <a:lnTo>
                        <a:pt x="699" y="197"/>
                      </a:lnTo>
                      <a:lnTo>
                        <a:pt x="700" y="197"/>
                      </a:lnTo>
                      <a:lnTo>
                        <a:pt x="701" y="197"/>
                      </a:lnTo>
                      <a:lnTo>
                        <a:pt x="701" y="198"/>
                      </a:lnTo>
                      <a:lnTo>
                        <a:pt x="700" y="198"/>
                      </a:lnTo>
                      <a:lnTo>
                        <a:pt x="701" y="198"/>
                      </a:lnTo>
                      <a:lnTo>
                        <a:pt x="701" y="198"/>
                      </a:lnTo>
                      <a:lnTo>
                        <a:pt x="701" y="197"/>
                      </a:lnTo>
                      <a:lnTo>
                        <a:pt x="702" y="197"/>
                      </a:lnTo>
                      <a:lnTo>
                        <a:pt x="701" y="197"/>
                      </a:lnTo>
                      <a:lnTo>
                        <a:pt x="701" y="197"/>
                      </a:lnTo>
                      <a:lnTo>
                        <a:pt x="702" y="197"/>
                      </a:lnTo>
                      <a:lnTo>
                        <a:pt x="702" y="197"/>
                      </a:lnTo>
                      <a:lnTo>
                        <a:pt x="702" y="197"/>
                      </a:lnTo>
                      <a:lnTo>
                        <a:pt x="703" y="197"/>
                      </a:lnTo>
                      <a:lnTo>
                        <a:pt x="702" y="197"/>
                      </a:lnTo>
                      <a:lnTo>
                        <a:pt x="702" y="198"/>
                      </a:lnTo>
                      <a:lnTo>
                        <a:pt x="702" y="197"/>
                      </a:lnTo>
                      <a:lnTo>
                        <a:pt x="702" y="197"/>
                      </a:lnTo>
                      <a:lnTo>
                        <a:pt x="702" y="197"/>
                      </a:lnTo>
                      <a:lnTo>
                        <a:pt x="702" y="197"/>
                      </a:lnTo>
                      <a:lnTo>
                        <a:pt x="702" y="198"/>
                      </a:lnTo>
                      <a:lnTo>
                        <a:pt x="702" y="197"/>
                      </a:lnTo>
                      <a:lnTo>
                        <a:pt x="703" y="197"/>
                      </a:lnTo>
                      <a:lnTo>
                        <a:pt x="702" y="197"/>
                      </a:lnTo>
                      <a:lnTo>
                        <a:pt x="702" y="197"/>
                      </a:lnTo>
                      <a:lnTo>
                        <a:pt x="703" y="197"/>
                      </a:lnTo>
                      <a:lnTo>
                        <a:pt x="703" y="197"/>
                      </a:lnTo>
                      <a:lnTo>
                        <a:pt x="703" y="197"/>
                      </a:lnTo>
                      <a:lnTo>
                        <a:pt x="704" y="197"/>
                      </a:lnTo>
                      <a:lnTo>
                        <a:pt x="703" y="197"/>
                      </a:lnTo>
                      <a:lnTo>
                        <a:pt x="703" y="196"/>
                      </a:lnTo>
                      <a:lnTo>
                        <a:pt x="704" y="196"/>
                      </a:lnTo>
                      <a:lnTo>
                        <a:pt x="704" y="197"/>
                      </a:lnTo>
                      <a:lnTo>
                        <a:pt x="704" y="196"/>
                      </a:lnTo>
                      <a:lnTo>
                        <a:pt x="705" y="196"/>
                      </a:lnTo>
                      <a:lnTo>
                        <a:pt x="705" y="196"/>
                      </a:lnTo>
                      <a:lnTo>
                        <a:pt x="705" y="196"/>
                      </a:lnTo>
                      <a:lnTo>
                        <a:pt x="705" y="195"/>
                      </a:lnTo>
                      <a:lnTo>
                        <a:pt x="705" y="196"/>
                      </a:lnTo>
                      <a:lnTo>
                        <a:pt x="706" y="196"/>
                      </a:lnTo>
                      <a:lnTo>
                        <a:pt x="706" y="196"/>
                      </a:lnTo>
                      <a:lnTo>
                        <a:pt x="706" y="196"/>
                      </a:lnTo>
                      <a:lnTo>
                        <a:pt x="706" y="196"/>
                      </a:lnTo>
                      <a:lnTo>
                        <a:pt x="706" y="196"/>
                      </a:lnTo>
                      <a:lnTo>
                        <a:pt x="707" y="196"/>
                      </a:lnTo>
                      <a:lnTo>
                        <a:pt x="707" y="196"/>
                      </a:lnTo>
                      <a:lnTo>
                        <a:pt x="707" y="196"/>
                      </a:lnTo>
                      <a:lnTo>
                        <a:pt x="708" y="196"/>
                      </a:lnTo>
                      <a:lnTo>
                        <a:pt x="708" y="196"/>
                      </a:lnTo>
                      <a:lnTo>
                        <a:pt x="708" y="196"/>
                      </a:lnTo>
                      <a:lnTo>
                        <a:pt x="708" y="197"/>
                      </a:lnTo>
                      <a:lnTo>
                        <a:pt x="708" y="197"/>
                      </a:lnTo>
                      <a:lnTo>
                        <a:pt x="708" y="197"/>
                      </a:lnTo>
                      <a:lnTo>
                        <a:pt x="709" y="197"/>
                      </a:lnTo>
                      <a:lnTo>
                        <a:pt x="709" y="197"/>
                      </a:lnTo>
                      <a:lnTo>
                        <a:pt x="709" y="197"/>
                      </a:lnTo>
                      <a:lnTo>
                        <a:pt x="710" y="197"/>
                      </a:lnTo>
                      <a:lnTo>
                        <a:pt x="709" y="198"/>
                      </a:lnTo>
                      <a:lnTo>
                        <a:pt x="710" y="198"/>
                      </a:lnTo>
                      <a:lnTo>
                        <a:pt x="710" y="197"/>
                      </a:lnTo>
                      <a:lnTo>
                        <a:pt x="710" y="198"/>
                      </a:lnTo>
                      <a:lnTo>
                        <a:pt x="709" y="198"/>
                      </a:lnTo>
                      <a:lnTo>
                        <a:pt x="710" y="198"/>
                      </a:lnTo>
                      <a:lnTo>
                        <a:pt x="709" y="198"/>
                      </a:lnTo>
                      <a:lnTo>
                        <a:pt x="710" y="198"/>
                      </a:lnTo>
                      <a:lnTo>
                        <a:pt x="710" y="198"/>
                      </a:lnTo>
                      <a:lnTo>
                        <a:pt x="711" y="199"/>
                      </a:lnTo>
                      <a:lnTo>
                        <a:pt x="711" y="198"/>
                      </a:lnTo>
                      <a:lnTo>
                        <a:pt x="710" y="198"/>
                      </a:lnTo>
                      <a:lnTo>
                        <a:pt x="711" y="198"/>
                      </a:lnTo>
                      <a:lnTo>
                        <a:pt x="711" y="199"/>
                      </a:lnTo>
                      <a:lnTo>
                        <a:pt x="712" y="199"/>
                      </a:lnTo>
                      <a:lnTo>
                        <a:pt x="712" y="199"/>
                      </a:lnTo>
                      <a:lnTo>
                        <a:pt x="711" y="199"/>
                      </a:lnTo>
                      <a:lnTo>
                        <a:pt x="712" y="199"/>
                      </a:lnTo>
                      <a:lnTo>
                        <a:pt x="712" y="199"/>
                      </a:lnTo>
                      <a:lnTo>
                        <a:pt x="713" y="200"/>
                      </a:lnTo>
                      <a:lnTo>
                        <a:pt x="713" y="200"/>
                      </a:lnTo>
                      <a:lnTo>
                        <a:pt x="713" y="200"/>
                      </a:lnTo>
                      <a:lnTo>
                        <a:pt x="714" y="200"/>
                      </a:lnTo>
                      <a:lnTo>
                        <a:pt x="713" y="200"/>
                      </a:lnTo>
                      <a:lnTo>
                        <a:pt x="713" y="200"/>
                      </a:lnTo>
                      <a:lnTo>
                        <a:pt x="712" y="200"/>
                      </a:lnTo>
                      <a:lnTo>
                        <a:pt x="713" y="200"/>
                      </a:lnTo>
                      <a:lnTo>
                        <a:pt x="712" y="200"/>
                      </a:lnTo>
                      <a:lnTo>
                        <a:pt x="712" y="200"/>
                      </a:lnTo>
                      <a:lnTo>
                        <a:pt x="711" y="200"/>
                      </a:lnTo>
                      <a:lnTo>
                        <a:pt x="711" y="201"/>
                      </a:lnTo>
                      <a:lnTo>
                        <a:pt x="712" y="201"/>
                      </a:lnTo>
                      <a:lnTo>
                        <a:pt x="712" y="200"/>
                      </a:lnTo>
                      <a:lnTo>
                        <a:pt x="712" y="200"/>
                      </a:lnTo>
                      <a:lnTo>
                        <a:pt x="712" y="201"/>
                      </a:lnTo>
                      <a:lnTo>
                        <a:pt x="712" y="200"/>
                      </a:lnTo>
                      <a:lnTo>
                        <a:pt x="712" y="201"/>
                      </a:lnTo>
                      <a:lnTo>
                        <a:pt x="712" y="201"/>
                      </a:lnTo>
                      <a:lnTo>
                        <a:pt x="711" y="201"/>
                      </a:lnTo>
                      <a:lnTo>
                        <a:pt x="710" y="201"/>
                      </a:lnTo>
                      <a:lnTo>
                        <a:pt x="710" y="201"/>
                      </a:lnTo>
                      <a:lnTo>
                        <a:pt x="710" y="201"/>
                      </a:lnTo>
                      <a:lnTo>
                        <a:pt x="710" y="201"/>
                      </a:lnTo>
                      <a:lnTo>
                        <a:pt x="711" y="201"/>
                      </a:lnTo>
                      <a:lnTo>
                        <a:pt x="711" y="202"/>
                      </a:lnTo>
                      <a:lnTo>
                        <a:pt x="710" y="202"/>
                      </a:lnTo>
                      <a:lnTo>
                        <a:pt x="710" y="202"/>
                      </a:lnTo>
                      <a:lnTo>
                        <a:pt x="709" y="202"/>
                      </a:lnTo>
                      <a:lnTo>
                        <a:pt x="709" y="201"/>
                      </a:lnTo>
                      <a:lnTo>
                        <a:pt x="708" y="201"/>
                      </a:lnTo>
                      <a:lnTo>
                        <a:pt x="708" y="201"/>
                      </a:lnTo>
                      <a:lnTo>
                        <a:pt x="708" y="201"/>
                      </a:lnTo>
                      <a:lnTo>
                        <a:pt x="708" y="202"/>
                      </a:lnTo>
                      <a:lnTo>
                        <a:pt x="708" y="203"/>
                      </a:lnTo>
                      <a:lnTo>
                        <a:pt x="708" y="203"/>
                      </a:lnTo>
                      <a:lnTo>
                        <a:pt x="708" y="203"/>
                      </a:lnTo>
                      <a:lnTo>
                        <a:pt x="708" y="203"/>
                      </a:lnTo>
                      <a:lnTo>
                        <a:pt x="707" y="203"/>
                      </a:lnTo>
                      <a:lnTo>
                        <a:pt x="707" y="204"/>
                      </a:lnTo>
                      <a:lnTo>
                        <a:pt x="706" y="204"/>
                      </a:lnTo>
                      <a:lnTo>
                        <a:pt x="706" y="204"/>
                      </a:lnTo>
                      <a:lnTo>
                        <a:pt x="706" y="204"/>
                      </a:lnTo>
                      <a:lnTo>
                        <a:pt x="706" y="204"/>
                      </a:lnTo>
                      <a:lnTo>
                        <a:pt x="707" y="204"/>
                      </a:lnTo>
                      <a:lnTo>
                        <a:pt x="707" y="205"/>
                      </a:lnTo>
                      <a:lnTo>
                        <a:pt x="706" y="205"/>
                      </a:lnTo>
                      <a:lnTo>
                        <a:pt x="706" y="205"/>
                      </a:lnTo>
                      <a:lnTo>
                        <a:pt x="705" y="204"/>
                      </a:lnTo>
                      <a:lnTo>
                        <a:pt x="705" y="205"/>
                      </a:lnTo>
                      <a:lnTo>
                        <a:pt x="706" y="205"/>
                      </a:lnTo>
                      <a:lnTo>
                        <a:pt x="705" y="205"/>
                      </a:lnTo>
                      <a:lnTo>
                        <a:pt x="706" y="205"/>
                      </a:lnTo>
                      <a:lnTo>
                        <a:pt x="706" y="205"/>
                      </a:lnTo>
                      <a:lnTo>
                        <a:pt x="706" y="206"/>
                      </a:lnTo>
                      <a:lnTo>
                        <a:pt x="706" y="205"/>
                      </a:lnTo>
                      <a:lnTo>
                        <a:pt x="706" y="206"/>
                      </a:lnTo>
                      <a:lnTo>
                        <a:pt x="706" y="207"/>
                      </a:lnTo>
                      <a:lnTo>
                        <a:pt x="705" y="207"/>
                      </a:lnTo>
                      <a:lnTo>
                        <a:pt x="705" y="207"/>
                      </a:lnTo>
                      <a:lnTo>
                        <a:pt x="705" y="206"/>
                      </a:lnTo>
                      <a:lnTo>
                        <a:pt x="704" y="206"/>
                      </a:lnTo>
                      <a:lnTo>
                        <a:pt x="704" y="207"/>
                      </a:lnTo>
                      <a:lnTo>
                        <a:pt x="703" y="207"/>
                      </a:lnTo>
                      <a:lnTo>
                        <a:pt x="703" y="207"/>
                      </a:lnTo>
                      <a:lnTo>
                        <a:pt x="703" y="206"/>
                      </a:lnTo>
                      <a:lnTo>
                        <a:pt x="703" y="207"/>
                      </a:lnTo>
                      <a:lnTo>
                        <a:pt x="703" y="206"/>
                      </a:lnTo>
                      <a:lnTo>
                        <a:pt x="703" y="206"/>
                      </a:lnTo>
                      <a:lnTo>
                        <a:pt x="703" y="206"/>
                      </a:lnTo>
                      <a:lnTo>
                        <a:pt x="703" y="206"/>
                      </a:lnTo>
                      <a:lnTo>
                        <a:pt x="703" y="205"/>
                      </a:lnTo>
                      <a:lnTo>
                        <a:pt x="703" y="205"/>
                      </a:lnTo>
                      <a:lnTo>
                        <a:pt x="703" y="206"/>
                      </a:lnTo>
                      <a:lnTo>
                        <a:pt x="702" y="206"/>
                      </a:lnTo>
                      <a:lnTo>
                        <a:pt x="702" y="205"/>
                      </a:lnTo>
                      <a:lnTo>
                        <a:pt x="702" y="205"/>
                      </a:lnTo>
                      <a:lnTo>
                        <a:pt x="701" y="205"/>
                      </a:lnTo>
                      <a:lnTo>
                        <a:pt x="702" y="205"/>
                      </a:lnTo>
                      <a:lnTo>
                        <a:pt x="701" y="205"/>
                      </a:lnTo>
                      <a:lnTo>
                        <a:pt x="702" y="205"/>
                      </a:lnTo>
                      <a:lnTo>
                        <a:pt x="701" y="205"/>
                      </a:lnTo>
                      <a:lnTo>
                        <a:pt x="701" y="205"/>
                      </a:lnTo>
                      <a:lnTo>
                        <a:pt x="701" y="205"/>
                      </a:lnTo>
                      <a:lnTo>
                        <a:pt x="701" y="205"/>
                      </a:lnTo>
                      <a:lnTo>
                        <a:pt x="700" y="205"/>
                      </a:lnTo>
                      <a:lnTo>
                        <a:pt x="701" y="205"/>
                      </a:lnTo>
                      <a:lnTo>
                        <a:pt x="700" y="205"/>
                      </a:lnTo>
                      <a:lnTo>
                        <a:pt x="700" y="205"/>
                      </a:lnTo>
                      <a:lnTo>
                        <a:pt x="699" y="205"/>
                      </a:lnTo>
                      <a:lnTo>
                        <a:pt x="699" y="205"/>
                      </a:lnTo>
                      <a:lnTo>
                        <a:pt x="699" y="206"/>
                      </a:lnTo>
                      <a:lnTo>
                        <a:pt x="699" y="205"/>
                      </a:lnTo>
                      <a:lnTo>
                        <a:pt x="699" y="205"/>
                      </a:lnTo>
                      <a:lnTo>
                        <a:pt x="699" y="205"/>
                      </a:lnTo>
                      <a:lnTo>
                        <a:pt x="698" y="205"/>
                      </a:lnTo>
                      <a:lnTo>
                        <a:pt x="698" y="205"/>
                      </a:lnTo>
                      <a:lnTo>
                        <a:pt x="697" y="205"/>
                      </a:lnTo>
                      <a:lnTo>
                        <a:pt x="697" y="205"/>
                      </a:lnTo>
                      <a:lnTo>
                        <a:pt x="697" y="205"/>
                      </a:lnTo>
                      <a:lnTo>
                        <a:pt x="697" y="205"/>
                      </a:lnTo>
                      <a:lnTo>
                        <a:pt x="696" y="205"/>
                      </a:lnTo>
                      <a:lnTo>
                        <a:pt x="695" y="205"/>
                      </a:lnTo>
                      <a:lnTo>
                        <a:pt x="695" y="205"/>
                      </a:lnTo>
                      <a:lnTo>
                        <a:pt x="695" y="205"/>
                      </a:lnTo>
                      <a:lnTo>
                        <a:pt x="695" y="205"/>
                      </a:lnTo>
                      <a:lnTo>
                        <a:pt x="695" y="205"/>
                      </a:lnTo>
                      <a:lnTo>
                        <a:pt x="695" y="205"/>
                      </a:lnTo>
                      <a:lnTo>
                        <a:pt x="694" y="205"/>
                      </a:lnTo>
                      <a:lnTo>
                        <a:pt x="694" y="205"/>
                      </a:lnTo>
                      <a:lnTo>
                        <a:pt x="694" y="205"/>
                      </a:lnTo>
                      <a:lnTo>
                        <a:pt x="693" y="205"/>
                      </a:lnTo>
                      <a:lnTo>
                        <a:pt x="693" y="205"/>
                      </a:lnTo>
                      <a:lnTo>
                        <a:pt x="693" y="205"/>
                      </a:lnTo>
                      <a:lnTo>
                        <a:pt x="693" y="205"/>
                      </a:lnTo>
                      <a:lnTo>
                        <a:pt x="693" y="205"/>
                      </a:lnTo>
                      <a:lnTo>
                        <a:pt x="693" y="204"/>
                      </a:lnTo>
                      <a:lnTo>
                        <a:pt x="693" y="204"/>
                      </a:lnTo>
                      <a:lnTo>
                        <a:pt x="693" y="205"/>
                      </a:lnTo>
                      <a:lnTo>
                        <a:pt x="693" y="204"/>
                      </a:lnTo>
                      <a:lnTo>
                        <a:pt x="692" y="204"/>
                      </a:lnTo>
                      <a:lnTo>
                        <a:pt x="691" y="204"/>
                      </a:lnTo>
                      <a:lnTo>
                        <a:pt x="692" y="204"/>
                      </a:lnTo>
                      <a:lnTo>
                        <a:pt x="692" y="205"/>
                      </a:lnTo>
                      <a:lnTo>
                        <a:pt x="692" y="204"/>
                      </a:lnTo>
                      <a:lnTo>
                        <a:pt x="691" y="204"/>
                      </a:lnTo>
                      <a:lnTo>
                        <a:pt x="691" y="205"/>
                      </a:lnTo>
                      <a:lnTo>
                        <a:pt x="691" y="205"/>
                      </a:lnTo>
                      <a:lnTo>
                        <a:pt x="690" y="205"/>
                      </a:lnTo>
                      <a:lnTo>
                        <a:pt x="690" y="204"/>
                      </a:lnTo>
                      <a:lnTo>
                        <a:pt x="690" y="204"/>
                      </a:lnTo>
                      <a:lnTo>
                        <a:pt x="689" y="204"/>
                      </a:lnTo>
                      <a:lnTo>
                        <a:pt x="690" y="204"/>
                      </a:lnTo>
                      <a:lnTo>
                        <a:pt x="690" y="204"/>
                      </a:lnTo>
                      <a:lnTo>
                        <a:pt x="690" y="205"/>
                      </a:lnTo>
                      <a:lnTo>
                        <a:pt x="691" y="205"/>
                      </a:lnTo>
                      <a:lnTo>
                        <a:pt x="691" y="205"/>
                      </a:lnTo>
                      <a:lnTo>
                        <a:pt x="691" y="204"/>
                      </a:lnTo>
                      <a:lnTo>
                        <a:pt x="691" y="205"/>
                      </a:lnTo>
                      <a:lnTo>
                        <a:pt x="692" y="205"/>
                      </a:lnTo>
                      <a:lnTo>
                        <a:pt x="692" y="204"/>
                      </a:lnTo>
                      <a:lnTo>
                        <a:pt x="693" y="204"/>
                      </a:lnTo>
                      <a:lnTo>
                        <a:pt x="693" y="205"/>
                      </a:lnTo>
                      <a:lnTo>
                        <a:pt x="693" y="205"/>
                      </a:lnTo>
                      <a:lnTo>
                        <a:pt x="693" y="205"/>
                      </a:lnTo>
                      <a:lnTo>
                        <a:pt x="693" y="205"/>
                      </a:lnTo>
                      <a:lnTo>
                        <a:pt x="694" y="205"/>
                      </a:lnTo>
                      <a:lnTo>
                        <a:pt x="694" y="205"/>
                      </a:lnTo>
                      <a:lnTo>
                        <a:pt x="694" y="205"/>
                      </a:lnTo>
                      <a:lnTo>
                        <a:pt x="695" y="205"/>
                      </a:lnTo>
                      <a:lnTo>
                        <a:pt x="695" y="205"/>
                      </a:lnTo>
                      <a:lnTo>
                        <a:pt x="695" y="205"/>
                      </a:lnTo>
                      <a:lnTo>
                        <a:pt x="695" y="205"/>
                      </a:lnTo>
                      <a:lnTo>
                        <a:pt x="696" y="205"/>
                      </a:lnTo>
                      <a:lnTo>
                        <a:pt x="697" y="205"/>
                      </a:lnTo>
                      <a:lnTo>
                        <a:pt x="697" y="205"/>
                      </a:lnTo>
                      <a:lnTo>
                        <a:pt x="697" y="205"/>
                      </a:lnTo>
                      <a:lnTo>
                        <a:pt x="697" y="205"/>
                      </a:lnTo>
                      <a:lnTo>
                        <a:pt x="698" y="205"/>
                      </a:lnTo>
                      <a:lnTo>
                        <a:pt x="698" y="205"/>
                      </a:lnTo>
                      <a:lnTo>
                        <a:pt x="699" y="205"/>
                      </a:lnTo>
                      <a:lnTo>
                        <a:pt x="699" y="206"/>
                      </a:lnTo>
                      <a:lnTo>
                        <a:pt x="698" y="206"/>
                      </a:lnTo>
                      <a:lnTo>
                        <a:pt x="699" y="206"/>
                      </a:lnTo>
                      <a:lnTo>
                        <a:pt x="699" y="205"/>
                      </a:lnTo>
                      <a:lnTo>
                        <a:pt x="699" y="205"/>
                      </a:lnTo>
                      <a:lnTo>
                        <a:pt x="700" y="205"/>
                      </a:lnTo>
                      <a:lnTo>
                        <a:pt x="700" y="205"/>
                      </a:lnTo>
                      <a:lnTo>
                        <a:pt x="701" y="205"/>
                      </a:lnTo>
                      <a:lnTo>
                        <a:pt x="701" y="205"/>
                      </a:lnTo>
                      <a:lnTo>
                        <a:pt x="701" y="205"/>
                      </a:lnTo>
                      <a:lnTo>
                        <a:pt x="701" y="205"/>
                      </a:lnTo>
                      <a:lnTo>
                        <a:pt x="702" y="205"/>
                      </a:lnTo>
                      <a:lnTo>
                        <a:pt x="701" y="205"/>
                      </a:lnTo>
                      <a:lnTo>
                        <a:pt x="701" y="205"/>
                      </a:lnTo>
                      <a:lnTo>
                        <a:pt x="702" y="205"/>
                      </a:lnTo>
                      <a:lnTo>
                        <a:pt x="702" y="205"/>
                      </a:lnTo>
                      <a:lnTo>
                        <a:pt x="702" y="206"/>
                      </a:lnTo>
                      <a:lnTo>
                        <a:pt x="703" y="206"/>
                      </a:lnTo>
                      <a:lnTo>
                        <a:pt x="703" y="206"/>
                      </a:lnTo>
                      <a:lnTo>
                        <a:pt x="703" y="206"/>
                      </a:lnTo>
                      <a:lnTo>
                        <a:pt x="703" y="207"/>
                      </a:lnTo>
                      <a:lnTo>
                        <a:pt x="703" y="206"/>
                      </a:lnTo>
                      <a:lnTo>
                        <a:pt x="703" y="207"/>
                      </a:lnTo>
                      <a:lnTo>
                        <a:pt x="703" y="207"/>
                      </a:lnTo>
                      <a:lnTo>
                        <a:pt x="704" y="207"/>
                      </a:lnTo>
                      <a:lnTo>
                        <a:pt x="704" y="206"/>
                      </a:lnTo>
                      <a:lnTo>
                        <a:pt x="705" y="206"/>
                      </a:lnTo>
                      <a:lnTo>
                        <a:pt x="705" y="207"/>
                      </a:lnTo>
                      <a:lnTo>
                        <a:pt x="704" y="207"/>
                      </a:lnTo>
                      <a:lnTo>
                        <a:pt x="704" y="207"/>
                      </a:lnTo>
                      <a:lnTo>
                        <a:pt x="703" y="207"/>
                      </a:lnTo>
                      <a:lnTo>
                        <a:pt x="703" y="207"/>
                      </a:lnTo>
                      <a:lnTo>
                        <a:pt x="702" y="207"/>
                      </a:lnTo>
                      <a:lnTo>
                        <a:pt x="702" y="208"/>
                      </a:lnTo>
                      <a:lnTo>
                        <a:pt x="702" y="208"/>
                      </a:lnTo>
                      <a:lnTo>
                        <a:pt x="702" y="207"/>
                      </a:lnTo>
                      <a:lnTo>
                        <a:pt x="702" y="207"/>
                      </a:lnTo>
                      <a:lnTo>
                        <a:pt x="702" y="207"/>
                      </a:lnTo>
                      <a:lnTo>
                        <a:pt x="701" y="207"/>
                      </a:lnTo>
                      <a:lnTo>
                        <a:pt x="701" y="208"/>
                      </a:lnTo>
                      <a:lnTo>
                        <a:pt x="702" y="208"/>
                      </a:lnTo>
                      <a:lnTo>
                        <a:pt x="701" y="208"/>
                      </a:lnTo>
                      <a:lnTo>
                        <a:pt x="701" y="208"/>
                      </a:lnTo>
                      <a:lnTo>
                        <a:pt x="702" y="208"/>
                      </a:lnTo>
                      <a:lnTo>
                        <a:pt x="702" y="208"/>
                      </a:lnTo>
                      <a:lnTo>
                        <a:pt x="703" y="208"/>
                      </a:lnTo>
                      <a:lnTo>
                        <a:pt x="703" y="209"/>
                      </a:lnTo>
                      <a:lnTo>
                        <a:pt x="703" y="209"/>
                      </a:lnTo>
                      <a:lnTo>
                        <a:pt x="703" y="209"/>
                      </a:lnTo>
                      <a:lnTo>
                        <a:pt x="703" y="210"/>
                      </a:lnTo>
                      <a:lnTo>
                        <a:pt x="702" y="210"/>
                      </a:lnTo>
                      <a:lnTo>
                        <a:pt x="702" y="210"/>
                      </a:lnTo>
                      <a:lnTo>
                        <a:pt x="702" y="210"/>
                      </a:lnTo>
                      <a:lnTo>
                        <a:pt x="701" y="210"/>
                      </a:lnTo>
                      <a:lnTo>
                        <a:pt x="701" y="210"/>
                      </a:lnTo>
                      <a:lnTo>
                        <a:pt x="701" y="210"/>
                      </a:lnTo>
                      <a:lnTo>
                        <a:pt x="700" y="210"/>
                      </a:lnTo>
                      <a:lnTo>
                        <a:pt x="699" y="210"/>
                      </a:lnTo>
                      <a:lnTo>
                        <a:pt x="699" y="210"/>
                      </a:lnTo>
                      <a:lnTo>
                        <a:pt x="699" y="210"/>
                      </a:lnTo>
                      <a:lnTo>
                        <a:pt x="699" y="210"/>
                      </a:lnTo>
                      <a:lnTo>
                        <a:pt x="699" y="210"/>
                      </a:lnTo>
                      <a:lnTo>
                        <a:pt x="699" y="210"/>
                      </a:lnTo>
                      <a:lnTo>
                        <a:pt x="699" y="210"/>
                      </a:lnTo>
                      <a:lnTo>
                        <a:pt x="698" y="210"/>
                      </a:lnTo>
                      <a:lnTo>
                        <a:pt x="698" y="210"/>
                      </a:lnTo>
                      <a:lnTo>
                        <a:pt x="698" y="210"/>
                      </a:lnTo>
                      <a:lnTo>
                        <a:pt x="698" y="210"/>
                      </a:lnTo>
                      <a:lnTo>
                        <a:pt x="697" y="210"/>
                      </a:lnTo>
                      <a:lnTo>
                        <a:pt x="697" y="210"/>
                      </a:lnTo>
                      <a:lnTo>
                        <a:pt x="697" y="210"/>
                      </a:lnTo>
                      <a:lnTo>
                        <a:pt x="697" y="210"/>
                      </a:lnTo>
                      <a:lnTo>
                        <a:pt x="696" y="210"/>
                      </a:lnTo>
                      <a:lnTo>
                        <a:pt x="695" y="210"/>
                      </a:lnTo>
                      <a:lnTo>
                        <a:pt x="695" y="210"/>
                      </a:lnTo>
                      <a:lnTo>
                        <a:pt x="695" y="210"/>
                      </a:lnTo>
                      <a:lnTo>
                        <a:pt x="695" y="210"/>
                      </a:lnTo>
                      <a:lnTo>
                        <a:pt x="695" y="210"/>
                      </a:lnTo>
                      <a:lnTo>
                        <a:pt x="695" y="210"/>
                      </a:lnTo>
                      <a:lnTo>
                        <a:pt x="695" y="210"/>
                      </a:lnTo>
                      <a:lnTo>
                        <a:pt x="695" y="210"/>
                      </a:lnTo>
                      <a:lnTo>
                        <a:pt x="695" y="210"/>
                      </a:lnTo>
                      <a:lnTo>
                        <a:pt x="694" y="210"/>
                      </a:lnTo>
                      <a:lnTo>
                        <a:pt x="695" y="210"/>
                      </a:lnTo>
                      <a:lnTo>
                        <a:pt x="694" y="210"/>
                      </a:lnTo>
                      <a:lnTo>
                        <a:pt x="694" y="210"/>
                      </a:lnTo>
                      <a:lnTo>
                        <a:pt x="694" y="210"/>
                      </a:lnTo>
                      <a:lnTo>
                        <a:pt x="694" y="210"/>
                      </a:lnTo>
                      <a:lnTo>
                        <a:pt x="693" y="210"/>
                      </a:lnTo>
                      <a:lnTo>
                        <a:pt x="693" y="210"/>
                      </a:lnTo>
                      <a:lnTo>
                        <a:pt x="693" y="210"/>
                      </a:lnTo>
                      <a:lnTo>
                        <a:pt x="693" y="210"/>
                      </a:lnTo>
                      <a:lnTo>
                        <a:pt x="692" y="210"/>
                      </a:lnTo>
                      <a:lnTo>
                        <a:pt x="691" y="210"/>
                      </a:lnTo>
                      <a:lnTo>
                        <a:pt x="691" y="210"/>
                      </a:lnTo>
                      <a:lnTo>
                        <a:pt x="691" y="211"/>
                      </a:lnTo>
                      <a:lnTo>
                        <a:pt x="690" y="211"/>
                      </a:lnTo>
                      <a:lnTo>
                        <a:pt x="690" y="211"/>
                      </a:lnTo>
                      <a:lnTo>
                        <a:pt x="690" y="211"/>
                      </a:lnTo>
                      <a:lnTo>
                        <a:pt x="689" y="211"/>
                      </a:lnTo>
                      <a:lnTo>
                        <a:pt x="690" y="211"/>
                      </a:lnTo>
                      <a:lnTo>
                        <a:pt x="689" y="211"/>
                      </a:lnTo>
                      <a:lnTo>
                        <a:pt x="688" y="211"/>
                      </a:lnTo>
                      <a:lnTo>
                        <a:pt x="688" y="212"/>
                      </a:lnTo>
                      <a:lnTo>
                        <a:pt x="687" y="212"/>
                      </a:lnTo>
                      <a:lnTo>
                        <a:pt x="687" y="212"/>
                      </a:lnTo>
                      <a:lnTo>
                        <a:pt x="687" y="212"/>
                      </a:lnTo>
                      <a:lnTo>
                        <a:pt x="686" y="212"/>
                      </a:lnTo>
                      <a:lnTo>
                        <a:pt x="686" y="212"/>
                      </a:lnTo>
                      <a:lnTo>
                        <a:pt x="686" y="212"/>
                      </a:lnTo>
                      <a:lnTo>
                        <a:pt x="687" y="213"/>
                      </a:lnTo>
                      <a:lnTo>
                        <a:pt x="686" y="213"/>
                      </a:lnTo>
                      <a:lnTo>
                        <a:pt x="686" y="214"/>
                      </a:lnTo>
                      <a:lnTo>
                        <a:pt x="686" y="214"/>
                      </a:lnTo>
                      <a:lnTo>
                        <a:pt x="685" y="214"/>
                      </a:lnTo>
                      <a:lnTo>
                        <a:pt x="685" y="214"/>
                      </a:lnTo>
                      <a:lnTo>
                        <a:pt x="685" y="215"/>
                      </a:lnTo>
                      <a:lnTo>
                        <a:pt x="685" y="214"/>
                      </a:lnTo>
                      <a:lnTo>
                        <a:pt x="685" y="215"/>
                      </a:lnTo>
                      <a:lnTo>
                        <a:pt x="685" y="214"/>
                      </a:lnTo>
                      <a:lnTo>
                        <a:pt x="686" y="214"/>
                      </a:lnTo>
                      <a:lnTo>
                        <a:pt x="686" y="214"/>
                      </a:lnTo>
                      <a:lnTo>
                        <a:pt x="686" y="214"/>
                      </a:lnTo>
                      <a:lnTo>
                        <a:pt x="686" y="215"/>
                      </a:lnTo>
                      <a:lnTo>
                        <a:pt x="686" y="214"/>
                      </a:lnTo>
                      <a:lnTo>
                        <a:pt x="686" y="215"/>
                      </a:lnTo>
                      <a:lnTo>
                        <a:pt x="686" y="214"/>
                      </a:lnTo>
                      <a:lnTo>
                        <a:pt x="686" y="215"/>
                      </a:lnTo>
                      <a:lnTo>
                        <a:pt x="686" y="215"/>
                      </a:lnTo>
                      <a:lnTo>
                        <a:pt x="686" y="215"/>
                      </a:lnTo>
                      <a:lnTo>
                        <a:pt x="686" y="215"/>
                      </a:lnTo>
                      <a:lnTo>
                        <a:pt x="686" y="215"/>
                      </a:lnTo>
                      <a:lnTo>
                        <a:pt x="686" y="215"/>
                      </a:lnTo>
                      <a:lnTo>
                        <a:pt x="686" y="215"/>
                      </a:lnTo>
                      <a:lnTo>
                        <a:pt x="686" y="216"/>
                      </a:lnTo>
                      <a:lnTo>
                        <a:pt x="686" y="216"/>
                      </a:lnTo>
                      <a:lnTo>
                        <a:pt x="686" y="216"/>
                      </a:lnTo>
                      <a:lnTo>
                        <a:pt x="686" y="216"/>
                      </a:lnTo>
                      <a:lnTo>
                        <a:pt x="686" y="216"/>
                      </a:lnTo>
                      <a:lnTo>
                        <a:pt x="686" y="216"/>
                      </a:lnTo>
                      <a:lnTo>
                        <a:pt x="686" y="216"/>
                      </a:lnTo>
                      <a:lnTo>
                        <a:pt x="686" y="217"/>
                      </a:lnTo>
                      <a:lnTo>
                        <a:pt x="686" y="216"/>
                      </a:lnTo>
                      <a:lnTo>
                        <a:pt x="686" y="217"/>
                      </a:lnTo>
                      <a:lnTo>
                        <a:pt x="686" y="218"/>
                      </a:lnTo>
                      <a:lnTo>
                        <a:pt x="686" y="218"/>
                      </a:lnTo>
                      <a:lnTo>
                        <a:pt x="686" y="218"/>
                      </a:lnTo>
                      <a:lnTo>
                        <a:pt x="686" y="218"/>
                      </a:lnTo>
                      <a:lnTo>
                        <a:pt x="686" y="219"/>
                      </a:lnTo>
                      <a:lnTo>
                        <a:pt x="686" y="219"/>
                      </a:lnTo>
                      <a:lnTo>
                        <a:pt x="687" y="219"/>
                      </a:lnTo>
                      <a:lnTo>
                        <a:pt x="687" y="220"/>
                      </a:lnTo>
                      <a:lnTo>
                        <a:pt x="687" y="220"/>
                      </a:lnTo>
                      <a:lnTo>
                        <a:pt x="687" y="220"/>
                      </a:lnTo>
                      <a:lnTo>
                        <a:pt x="687" y="221"/>
                      </a:lnTo>
                      <a:lnTo>
                        <a:pt x="687" y="221"/>
                      </a:lnTo>
                      <a:lnTo>
                        <a:pt x="687" y="221"/>
                      </a:lnTo>
                      <a:lnTo>
                        <a:pt x="687" y="221"/>
                      </a:lnTo>
                      <a:lnTo>
                        <a:pt x="687" y="221"/>
                      </a:lnTo>
                      <a:lnTo>
                        <a:pt x="687" y="222"/>
                      </a:lnTo>
                      <a:lnTo>
                        <a:pt x="687" y="222"/>
                      </a:lnTo>
                      <a:lnTo>
                        <a:pt x="688" y="222"/>
                      </a:lnTo>
                      <a:lnTo>
                        <a:pt x="688" y="223"/>
                      </a:lnTo>
                      <a:lnTo>
                        <a:pt x="687" y="223"/>
                      </a:lnTo>
                      <a:lnTo>
                        <a:pt x="688" y="223"/>
                      </a:lnTo>
                      <a:lnTo>
                        <a:pt x="688" y="223"/>
                      </a:lnTo>
                      <a:lnTo>
                        <a:pt x="688" y="224"/>
                      </a:lnTo>
                      <a:lnTo>
                        <a:pt x="688" y="224"/>
                      </a:lnTo>
                      <a:lnTo>
                        <a:pt x="689" y="224"/>
                      </a:lnTo>
                      <a:lnTo>
                        <a:pt x="689" y="225"/>
                      </a:lnTo>
                      <a:lnTo>
                        <a:pt x="690" y="225"/>
                      </a:lnTo>
                      <a:lnTo>
                        <a:pt x="689" y="225"/>
                      </a:lnTo>
                      <a:lnTo>
                        <a:pt x="690" y="225"/>
                      </a:lnTo>
                      <a:lnTo>
                        <a:pt x="690" y="225"/>
                      </a:lnTo>
                      <a:lnTo>
                        <a:pt x="689" y="225"/>
                      </a:lnTo>
                      <a:lnTo>
                        <a:pt x="690" y="225"/>
                      </a:lnTo>
                      <a:lnTo>
                        <a:pt x="690" y="226"/>
                      </a:lnTo>
                      <a:lnTo>
                        <a:pt x="690" y="226"/>
                      </a:lnTo>
                      <a:lnTo>
                        <a:pt x="690" y="226"/>
                      </a:lnTo>
                      <a:lnTo>
                        <a:pt x="690" y="226"/>
                      </a:lnTo>
                      <a:lnTo>
                        <a:pt x="690" y="226"/>
                      </a:lnTo>
                      <a:lnTo>
                        <a:pt x="691" y="226"/>
                      </a:lnTo>
                      <a:lnTo>
                        <a:pt x="690" y="226"/>
                      </a:lnTo>
                      <a:lnTo>
                        <a:pt x="690" y="227"/>
                      </a:lnTo>
                      <a:lnTo>
                        <a:pt x="690" y="227"/>
                      </a:lnTo>
                      <a:lnTo>
                        <a:pt x="690" y="227"/>
                      </a:lnTo>
                      <a:lnTo>
                        <a:pt x="690" y="227"/>
                      </a:lnTo>
                      <a:lnTo>
                        <a:pt x="690" y="227"/>
                      </a:lnTo>
                      <a:lnTo>
                        <a:pt x="691" y="227"/>
                      </a:lnTo>
                      <a:lnTo>
                        <a:pt x="691" y="227"/>
                      </a:lnTo>
                      <a:lnTo>
                        <a:pt x="691" y="227"/>
                      </a:lnTo>
                      <a:lnTo>
                        <a:pt x="691" y="228"/>
                      </a:lnTo>
                      <a:lnTo>
                        <a:pt x="691" y="228"/>
                      </a:lnTo>
                      <a:lnTo>
                        <a:pt x="691" y="228"/>
                      </a:lnTo>
                      <a:lnTo>
                        <a:pt x="691" y="229"/>
                      </a:lnTo>
                      <a:lnTo>
                        <a:pt x="691" y="229"/>
                      </a:lnTo>
                      <a:lnTo>
                        <a:pt x="691" y="230"/>
                      </a:lnTo>
                      <a:lnTo>
                        <a:pt x="691" y="230"/>
                      </a:lnTo>
                      <a:lnTo>
                        <a:pt x="691" y="230"/>
                      </a:lnTo>
                      <a:lnTo>
                        <a:pt x="691" y="231"/>
                      </a:lnTo>
                      <a:lnTo>
                        <a:pt x="690" y="231"/>
                      </a:lnTo>
                      <a:lnTo>
                        <a:pt x="690" y="232"/>
                      </a:lnTo>
                      <a:lnTo>
                        <a:pt x="691" y="232"/>
                      </a:lnTo>
                      <a:lnTo>
                        <a:pt x="691" y="232"/>
                      </a:lnTo>
                      <a:lnTo>
                        <a:pt x="691" y="233"/>
                      </a:lnTo>
                      <a:lnTo>
                        <a:pt x="690" y="233"/>
                      </a:lnTo>
                      <a:lnTo>
                        <a:pt x="690" y="233"/>
                      </a:lnTo>
                      <a:lnTo>
                        <a:pt x="690" y="233"/>
                      </a:lnTo>
                      <a:lnTo>
                        <a:pt x="690" y="234"/>
                      </a:lnTo>
                      <a:lnTo>
                        <a:pt x="690" y="234"/>
                      </a:lnTo>
                      <a:lnTo>
                        <a:pt x="689" y="234"/>
                      </a:lnTo>
                      <a:lnTo>
                        <a:pt x="690" y="234"/>
                      </a:lnTo>
                      <a:lnTo>
                        <a:pt x="689" y="235"/>
                      </a:lnTo>
                      <a:lnTo>
                        <a:pt x="688" y="235"/>
                      </a:lnTo>
                      <a:lnTo>
                        <a:pt x="688" y="236"/>
                      </a:lnTo>
                      <a:lnTo>
                        <a:pt x="687" y="236"/>
                      </a:lnTo>
                      <a:lnTo>
                        <a:pt x="687" y="236"/>
                      </a:lnTo>
                      <a:lnTo>
                        <a:pt x="687" y="237"/>
                      </a:lnTo>
                      <a:lnTo>
                        <a:pt x="687" y="237"/>
                      </a:lnTo>
                      <a:lnTo>
                        <a:pt x="686" y="237"/>
                      </a:lnTo>
                      <a:lnTo>
                        <a:pt x="687" y="237"/>
                      </a:lnTo>
                      <a:lnTo>
                        <a:pt x="686" y="237"/>
                      </a:lnTo>
                      <a:lnTo>
                        <a:pt x="686" y="238"/>
                      </a:lnTo>
                      <a:lnTo>
                        <a:pt x="686" y="238"/>
                      </a:lnTo>
                      <a:lnTo>
                        <a:pt x="686" y="239"/>
                      </a:lnTo>
                      <a:lnTo>
                        <a:pt x="686" y="240"/>
                      </a:lnTo>
                      <a:lnTo>
                        <a:pt x="686" y="240"/>
                      </a:lnTo>
                      <a:lnTo>
                        <a:pt x="686" y="241"/>
                      </a:lnTo>
                      <a:lnTo>
                        <a:pt x="687" y="241"/>
                      </a:lnTo>
                      <a:lnTo>
                        <a:pt x="687" y="240"/>
                      </a:lnTo>
                      <a:lnTo>
                        <a:pt x="687" y="240"/>
                      </a:lnTo>
                      <a:lnTo>
                        <a:pt x="687" y="241"/>
                      </a:lnTo>
                      <a:lnTo>
                        <a:pt x="688" y="241"/>
                      </a:lnTo>
                      <a:lnTo>
                        <a:pt x="688" y="241"/>
                      </a:lnTo>
                      <a:lnTo>
                        <a:pt x="689" y="241"/>
                      </a:lnTo>
                      <a:lnTo>
                        <a:pt x="689" y="241"/>
                      </a:lnTo>
                      <a:lnTo>
                        <a:pt x="690" y="241"/>
                      </a:lnTo>
                      <a:lnTo>
                        <a:pt x="690" y="241"/>
                      </a:lnTo>
                      <a:lnTo>
                        <a:pt x="690" y="241"/>
                      </a:lnTo>
                      <a:lnTo>
                        <a:pt x="691" y="241"/>
                      </a:lnTo>
                      <a:lnTo>
                        <a:pt x="691" y="241"/>
                      </a:lnTo>
                      <a:lnTo>
                        <a:pt x="691" y="241"/>
                      </a:lnTo>
                      <a:lnTo>
                        <a:pt x="691" y="242"/>
                      </a:lnTo>
                      <a:lnTo>
                        <a:pt x="691" y="242"/>
                      </a:lnTo>
                      <a:lnTo>
                        <a:pt x="690" y="242"/>
                      </a:lnTo>
                      <a:lnTo>
                        <a:pt x="690" y="243"/>
                      </a:lnTo>
                      <a:lnTo>
                        <a:pt x="690" y="243"/>
                      </a:lnTo>
                      <a:lnTo>
                        <a:pt x="691" y="243"/>
                      </a:lnTo>
                      <a:lnTo>
                        <a:pt x="691" y="244"/>
                      </a:lnTo>
                      <a:lnTo>
                        <a:pt x="690" y="244"/>
                      </a:lnTo>
                      <a:lnTo>
                        <a:pt x="690" y="244"/>
                      </a:lnTo>
                      <a:lnTo>
                        <a:pt x="690" y="245"/>
                      </a:lnTo>
                      <a:lnTo>
                        <a:pt x="690" y="244"/>
                      </a:lnTo>
                      <a:lnTo>
                        <a:pt x="690" y="244"/>
                      </a:lnTo>
                      <a:lnTo>
                        <a:pt x="690" y="245"/>
                      </a:lnTo>
                      <a:lnTo>
                        <a:pt x="690" y="245"/>
                      </a:lnTo>
                      <a:lnTo>
                        <a:pt x="690" y="245"/>
                      </a:lnTo>
                      <a:lnTo>
                        <a:pt x="690" y="245"/>
                      </a:lnTo>
                      <a:lnTo>
                        <a:pt x="690" y="245"/>
                      </a:lnTo>
                      <a:lnTo>
                        <a:pt x="691" y="245"/>
                      </a:lnTo>
                      <a:lnTo>
                        <a:pt x="691" y="246"/>
                      </a:lnTo>
                      <a:lnTo>
                        <a:pt x="691" y="247"/>
                      </a:lnTo>
                      <a:lnTo>
                        <a:pt x="691" y="247"/>
                      </a:lnTo>
                      <a:lnTo>
                        <a:pt x="691" y="247"/>
                      </a:lnTo>
                      <a:lnTo>
                        <a:pt x="691" y="248"/>
                      </a:lnTo>
                      <a:lnTo>
                        <a:pt x="692" y="248"/>
                      </a:lnTo>
                      <a:lnTo>
                        <a:pt x="692" y="248"/>
                      </a:lnTo>
                      <a:lnTo>
                        <a:pt x="692" y="249"/>
                      </a:lnTo>
                      <a:lnTo>
                        <a:pt x="693" y="249"/>
                      </a:lnTo>
                      <a:lnTo>
                        <a:pt x="693" y="248"/>
                      </a:lnTo>
                      <a:lnTo>
                        <a:pt x="693" y="249"/>
                      </a:lnTo>
                      <a:lnTo>
                        <a:pt x="692" y="249"/>
                      </a:lnTo>
                      <a:lnTo>
                        <a:pt x="692" y="249"/>
                      </a:lnTo>
                      <a:lnTo>
                        <a:pt x="692" y="250"/>
                      </a:lnTo>
                      <a:lnTo>
                        <a:pt x="692" y="251"/>
                      </a:lnTo>
                      <a:lnTo>
                        <a:pt x="691" y="251"/>
                      </a:lnTo>
                      <a:lnTo>
                        <a:pt x="692" y="251"/>
                      </a:lnTo>
                      <a:lnTo>
                        <a:pt x="691" y="251"/>
                      </a:lnTo>
                      <a:lnTo>
                        <a:pt x="691" y="252"/>
                      </a:lnTo>
                      <a:lnTo>
                        <a:pt x="691" y="252"/>
                      </a:lnTo>
                      <a:lnTo>
                        <a:pt x="690" y="252"/>
                      </a:lnTo>
                      <a:lnTo>
                        <a:pt x="690" y="252"/>
                      </a:lnTo>
                      <a:lnTo>
                        <a:pt x="690" y="252"/>
                      </a:lnTo>
                      <a:lnTo>
                        <a:pt x="689" y="252"/>
                      </a:lnTo>
                      <a:lnTo>
                        <a:pt x="689" y="253"/>
                      </a:lnTo>
                      <a:lnTo>
                        <a:pt x="688" y="253"/>
                      </a:lnTo>
                      <a:lnTo>
                        <a:pt x="688" y="253"/>
                      </a:lnTo>
                      <a:lnTo>
                        <a:pt x="688" y="254"/>
                      </a:lnTo>
                      <a:lnTo>
                        <a:pt x="688" y="253"/>
                      </a:lnTo>
                      <a:lnTo>
                        <a:pt x="688" y="254"/>
                      </a:lnTo>
                      <a:lnTo>
                        <a:pt x="687" y="254"/>
                      </a:lnTo>
                      <a:lnTo>
                        <a:pt x="688" y="254"/>
                      </a:lnTo>
                      <a:lnTo>
                        <a:pt x="687" y="254"/>
                      </a:lnTo>
                      <a:lnTo>
                        <a:pt x="687" y="255"/>
                      </a:lnTo>
                      <a:lnTo>
                        <a:pt x="687" y="254"/>
                      </a:lnTo>
                      <a:lnTo>
                        <a:pt x="687" y="255"/>
                      </a:lnTo>
                      <a:lnTo>
                        <a:pt x="688" y="255"/>
                      </a:lnTo>
                      <a:lnTo>
                        <a:pt x="687" y="255"/>
                      </a:lnTo>
                      <a:lnTo>
                        <a:pt x="688" y="255"/>
                      </a:lnTo>
                      <a:lnTo>
                        <a:pt x="687" y="255"/>
                      </a:lnTo>
                      <a:lnTo>
                        <a:pt x="687" y="255"/>
                      </a:lnTo>
                      <a:lnTo>
                        <a:pt x="687" y="255"/>
                      </a:lnTo>
                      <a:lnTo>
                        <a:pt x="687" y="255"/>
                      </a:lnTo>
                      <a:lnTo>
                        <a:pt x="688" y="255"/>
                      </a:lnTo>
                      <a:lnTo>
                        <a:pt x="687" y="255"/>
                      </a:lnTo>
                      <a:lnTo>
                        <a:pt x="687" y="255"/>
                      </a:lnTo>
                      <a:lnTo>
                        <a:pt x="687" y="255"/>
                      </a:lnTo>
                      <a:lnTo>
                        <a:pt x="687" y="255"/>
                      </a:lnTo>
                      <a:lnTo>
                        <a:pt x="688" y="255"/>
                      </a:lnTo>
                      <a:lnTo>
                        <a:pt x="687" y="255"/>
                      </a:lnTo>
                      <a:lnTo>
                        <a:pt x="687" y="254"/>
                      </a:lnTo>
                      <a:lnTo>
                        <a:pt x="687" y="255"/>
                      </a:lnTo>
                      <a:lnTo>
                        <a:pt x="687" y="254"/>
                      </a:lnTo>
                      <a:lnTo>
                        <a:pt x="688" y="254"/>
                      </a:lnTo>
                      <a:lnTo>
                        <a:pt x="687" y="254"/>
                      </a:lnTo>
                      <a:lnTo>
                        <a:pt x="688" y="254"/>
                      </a:lnTo>
                      <a:lnTo>
                        <a:pt x="687" y="254"/>
                      </a:lnTo>
                      <a:lnTo>
                        <a:pt x="688" y="254"/>
                      </a:lnTo>
                      <a:lnTo>
                        <a:pt x="688" y="254"/>
                      </a:lnTo>
                      <a:lnTo>
                        <a:pt x="688" y="254"/>
                      </a:lnTo>
                      <a:lnTo>
                        <a:pt x="688" y="254"/>
                      </a:lnTo>
                      <a:lnTo>
                        <a:pt x="688" y="254"/>
                      </a:lnTo>
                      <a:lnTo>
                        <a:pt x="688" y="254"/>
                      </a:lnTo>
                      <a:lnTo>
                        <a:pt x="687" y="254"/>
                      </a:lnTo>
                      <a:lnTo>
                        <a:pt x="688" y="254"/>
                      </a:lnTo>
                      <a:lnTo>
                        <a:pt x="688" y="253"/>
                      </a:lnTo>
                      <a:lnTo>
                        <a:pt x="688" y="253"/>
                      </a:lnTo>
                      <a:lnTo>
                        <a:pt x="689" y="253"/>
                      </a:lnTo>
                      <a:lnTo>
                        <a:pt x="689" y="252"/>
                      </a:lnTo>
                      <a:lnTo>
                        <a:pt x="689" y="253"/>
                      </a:lnTo>
                      <a:lnTo>
                        <a:pt x="690" y="252"/>
                      </a:lnTo>
                      <a:lnTo>
                        <a:pt x="690" y="253"/>
                      </a:lnTo>
                      <a:lnTo>
                        <a:pt x="690" y="252"/>
                      </a:lnTo>
                      <a:lnTo>
                        <a:pt x="690" y="252"/>
                      </a:lnTo>
                      <a:lnTo>
                        <a:pt x="691" y="252"/>
                      </a:lnTo>
                      <a:lnTo>
                        <a:pt x="691" y="252"/>
                      </a:lnTo>
                      <a:lnTo>
                        <a:pt x="691" y="252"/>
                      </a:lnTo>
                      <a:lnTo>
                        <a:pt x="692" y="252"/>
                      </a:lnTo>
                      <a:lnTo>
                        <a:pt x="692" y="252"/>
                      </a:lnTo>
                      <a:lnTo>
                        <a:pt x="693" y="252"/>
                      </a:lnTo>
                      <a:lnTo>
                        <a:pt x="693" y="252"/>
                      </a:lnTo>
                      <a:lnTo>
                        <a:pt x="694" y="252"/>
                      </a:lnTo>
                      <a:lnTo>
                        <a:pt x="694" y="252"/>
                      </a:lnTo>
                      <a:lnTo>
                        <a:pt x="694" y="253"/>
                      </a:lnTo>
                      <a:lnTo>
                        <a:pt x="695" y="253"/>
                      </a:lnTo>
                      <a:lnTo>
                        <a:pt x="694" y="253"/>
                      </a:lnTo>
                      <a:lnTo>
                        <a:pt x="695" y="253"/>
                      </a:lnTo>
                      <a:lnTo>
                        <a:pt x="695" y="253"/>
                      </a:lnTo>
                      <a:lnTo>
                        <a:pt x="696" y="253"/>
                      </a:lnTo>
                      <a:lnTo>
                        <a:pt x="696" y="254"/>
                      </a:lnTo>
                      <a:lnTo>
                        <a:pt x="697" y="254"/>
                      </a:lnTo>
                      <a:lnTo>
                        <a:pt x="697" y="254"/>
                      </a:lnTo>
                      <a:lnTo>
                        <a:pt x="697" y="254"/>
                      </a:lnTo>
                      <a:lnTo>
                        <a:pt x="698" y="254"/>
                      </a:lnTo>
                      <a:lnTo>
                        <a:pt x="697" y="254"/>
                      </a:lnTo>
                      <a:lnTo>
                        <a:pt x="697" y="254"/>
                      </a:lnTo>
                      <a:lnTo>
                        <a:pt x="697" y="254"/>
                      </a:lnTo>
                      <a:lnTo>
                        <a:pt x="696" y="254"/>
                      </a:lnTo>
                      <a:lnTo>
                        <a:pt x="696" y="253"/>
                      </a:lnTo>
                      <a:lnTo>
                        <a:pt x="695" y="253"/>
                      </a:lnTo>
                      <a:lnTo>
                        <a:pt x="695" y="253"/>
                      </a:lnTo>
                      <a:lnTo>
                        <a:pt x="694" y="253"/>
                      </a:lnTo>
                      <a:lnTo>
                        <a:pt x="694" y="252"/>
                      </a:lnTo>
                      <a:lnTo>
                        <a:pt x="694" y="252"/>
                      </a:lnTo>
                      <a:lnTo>
                        <a:pt x="693" y="252"/>
                      </a:lnTo>
                      <a:lnTo>
                        <a:pt x="693" y="252"/>
                      </a:lnTo>
                      <a:lnTo>
                        <a:pt x="692" y="252"/>
                      </a:lnTo>
                      <a:lnTo>
                        <a:pt x="692" y="252"/>
                      </a:lnTo>
                      <a:lnTo>
                        <a:pt x="691" y="252"/>
                      </a:lnTo>
                      <a:lnTo>
                        <a:pt x="691" y="251"/>
                      </a:lnTo>
                      <a:lnTo>
                        <a:pt x="692" y="251"/>
                      </a:lnTo>
                      <a:lnTo>
                        <a:pt x="692" y="251"/>
                      </a:lnTo>
                      <a:lnTo>
                        <a:pt x="691" y="251"/>
                      </a:lnTo>
                      <a:lnTo>
                        <a:pt x="692" y="251"/>
                      </a:lnTo>
                      <a:lnTo>
                        <a:pt x="692" y="250"/>
                      </a:lnTo>
                      <a:lnTo>
                        <a:pt x="692" y="249"/>
                      </a:lnTo>
                      <a:lnTo>
                        <a:pt x="692" y="249"/>
                      </a:lnTo>
                      <a:lnTo>
                        <a:pt x="693" y="249"/>
                      </a:lnTo>
                      <a:lnTo>
                        <a:pt x="692" y="249"/>
                      </a:lnTo>
                      <a:lnTo>
                        <a:pt x="693" y="249"/>
                      </a:lnTo>
                      <a:lnTo>
                        <a:pt x="693" y="248"/>
                      </a:lnTo>
                      <a:lnTo>
                        <a:pt x="693" y="249"/>
                      </a:lnTo>
                      <a:lnTo>
                        <a:pt x="692" y="249"/>
                      </a:lnTo>
                      <a:lnTo>
                        <a:pt x="692" y="248"/>
                      </a:lnTo>
                      <a:lnTo>
                        <a:pt x="692" y="248"/>
                      </a:lnTo>
                      <a:lnTo>
                        <a:pt x="691" y="248"/>
                      </a:lnTo>
                      <a:lnTo>
                        <a:pt x="691" y="247"/>
                      </a:lnTo>
                      <a:lnTo>
                        <a:pt x="692" y="247"/>
                      </a:lnTo>
                      <a:lnTo>
                        <a:pt x="691" y="247"/>
                      </a:lnTo>
                      <a:lnTo>
                        <a:pt x="691" y="247"/>
                      </a:lnTo>
                      <a:lnTo>
                        <a:pt x="691" y="246"/>
                      </a:lnTo>
                      <a:lnTo>
                        <a:pt x="691" y="246"/>
                      </a:lnTo>
                      <a:lnTo>
                        <a:pt x="691" y="245"/>
                      </a:lnTo>
                      <a:lnTo>
                        <a:pt x="690" y="245"/>
                      </a:lnTo>
                      <a:lnTo>
                        <a:pt x="690" y="245"/>
                      </a:lnTo>
                      <a:lnTo>
                        <a:pt x="690" y="244"/>
                      </a:lnTo>
                      <a:lnTo>
                        <a:pt x="690" y="245"/>
                      </a:lnTo>
                      <a:lnTo>
                        <a:pt x="690" y="245"/>
                      </a:lnTo>
                      <a:lnTo>
                        <a:pt x="690" y="244"/>
                      </a:lnTo>
                      <a:lnTo>
                        <a:pt x="690" y="244"/>
                      </a:lnTo>
                      <a:lnTo>
                        <a:pt x="691" y="244"/>
                      </a:lnTo>
                      <a:lnTo>
                        <a:pt x="691" y="243"/>
                      </a:lnTo>
                      <a:lnTo>
                        <a:pt x="690" y="243"/>
                      </a:lnTo>
                      <a:lnTo>
                        <a:pt x="690" y="243"/>
                      </a:lnTo>
                      <a:lnTo>
                        <a:pt x="690" y="242"/>
                      </a:lnTo>
                      <a:lnTo>
                        <a:pt x="691" y="242"/>
                      </a:lnTo>
                      <a:lnTo>
                        <a:pt x="691" y="242"/>
                      </a:lnTo>
                      <a:lnTo>
                        <a:pt x="691" y="241"/>
                      </a:lnTo>
                      <a:lnTo>
                        <a:pt x="691" y="241"/>
                      </a:lnTo>
                      <a:lnTo>
                        <a:pt x="691" y="241"/>
                      </a:lnTo>
                      <a:lnTo>
                        <a:pt x="691" y="241"/>
                      </a:lnTo>
                      <a:lnTo>
                        <a:pt x="691" y="241"/>
                      </a:lnTo>
                      <a:lnTo>
                        <a:pt x="690" y="241"/>
                      </a:lnTo>
                      <a:lnTo>
                        <a:pt x="690" y="241"/>
                      </a:lnTo>
                      <a:lnTo>
                        <a:pt x="690" y="241"/>
                      </a:lnTo>
                      <a:lnTo>
                        <a:pt x="689" y="241"/>
                      </a:lnTo>
                      <a:lnTo>
                        <a:pt x="689" y="241"/>
                      </a:lnTo>
                      <a:lnTo>
                        <a:pt x="688" y="241"/>
                      </a:lnTo>
                      <a:lnTo>
                        <a:pt x="688" y="241"/>
                      </a:lnTo>
                      <a:lnTo>
                        <a:pt x="687" y="241"/>
                      </a:lnTo>
                      <a:lnTo>
                        <a:pt x="687" y="240"/>
                      </a:lnTo>
                      <a:lnTo>
                        <a:pt x="687" y="240"/>
                      </a:lnTo>
                      <a:lnTo>
                        <a:pt x="687" y="241"/>
                      </a:lnTo>
                      <a:lnTo>
                        <a:pt x="686" y="241"/>
                      </a:lnTo>
                      <a:lnTo>
                        <a:pt x="686" y="240"/>
                      </a:lnTo>
                      <a:lnTo>
                        <a:pt x="686" y="240"/>
                      </a:lnTo>
                      <a:lnTo>
                        <a:pt x="686" y="239"/>
                      </a:lnTo>
                      <a:lnTo>
                        <a:pt x="686" y="238"/>
                      </a:lnTo>
                      <a:lnTo>
                        <a:pt x="686" y="238"/>
                      </a:lnTo>
                      <a:lnTo>
                        <a:pt x="686" y="237"/>
                      </a:lnTo>
                      <a:lnTo>
                        <a:pt x="687" y="237"/>
                      </a:lnTo>
                      <a:lnTo>
                        <a:pt x="687" y="237"/>
                      </a:lnTo>
                      <a:lnTo>
                        <a:pt x="686" y="237"/>
                      </a:lnTo>
                      <a:lnTo>
                        <a:pt x="687" y="237"/>
                      </a:lnTo>
                      <a:lnTo>
                        <a:pt x="687" y="237"/>
                      </a:lnTo>
                      <a:lnTo>
                        <a:pt x="687" y="236"/>
                      </a:lnTo>
                      <a:lnTo>
                        <a:pt x="687" y="236"/>
                      </a:lnTo>
                      <a:lnTo>
                        <a:pt x="688" y="236"/>
                      </a:lnTo>
                      <a:lnTo>
                        <a:pt x="688" y="236"/>
                      </a:lnTo>
                      <a:lnTo>
                        <a:pt x="688" y="235"/>
                      </a:lnTo>
                      <a:lnTo>
                        <a:pt x="689" y="235"/>
                      </a:lnTo>
                      <a:lnTo>
                        <a:pt x="690" y="235"/>
                      </a:lnTo>
                      <a:lnTo>
                        <a:pt x="690" y="234"/>
                      </a:lnTo>
                      <a:lnTo>
                        <a:pt x="690" y="234"/>
                      </a:lnTo>
                      <a:lnTo>
                        <a:pt x="690" y="233"/>
                      </a:lnTo>
                      <a:lnTo>
                        <a:pt x="690" y="233"/>
                      </a:lnTo>
                      <a:lnTo>
                        <a:pt x="690" y="233"/>
                      </a:lnTo>
                      <a:lnTo>
                        <a:pt x="691" y="233"/>
                      </a:lnTo>
                      <a:lnTo>
                        <a:pt x="691" y="232"/>
                      </a:lnTo>
                      <a:lnTo>
                        <a:pt x="691" y="232"/>
                      </a:lnTo>
                      <a:lnTo>
                        <a:pt x="690" y="232"/>
                      </a:lnTo>
                      <a:lnTo>
                        <a:pt x="690" y="231"/>
                      </a:lnTo>
                      <a:lnTo>
                        <a:pt x="691" y="231"/>
                      </a:lnTo>
                      <a:lnTo>
                        <a:pt x="691" y="230"/>
                      </a:lnTo>
                      <a:lnTo>
                        <a:pt x="691" y="230"/>
                      </a:lnTo>
                      <a:lnTo>
                        <a:pt x="691" y="230"/>
                      </a:lnTo>
                      <a:lnTo>
                        <a:pt x="691" y="229"/>
                      </a:lnTo>
                      <a:lnTo>
                        <a:pt x="691" y="229"/>
                      </a:lnTo>
                      <a:lnTo>
                        <a:pt x="691" y="228"/>
                      </a:lnTo>
                      <a:lnTo>
                        <a:pt x="691" y="228"/>
                      </a:lnTo>
                      <a:lnTo>
                        <a:pt x="691" y="228"/>
                      </a:lnTo>
                      <a:lnTo>
                        <a:pt x="691" y="227"/>
                      </a:lnTo>
                      <a:lnTo>
                        <a:pt x="691" y="228"/>
                      </a:lnTo>
                      <a:lnTo>
                        <a:pt x="691" y="227"/>
                      </a:lnTo>
                      <a:lnTo>
                        <a:pt x="691" y="227"/>
                      </a:lnTo>
                      <a:lnTo>
                        <a:pt x="691" y="227"/>
                      </a:lnTo>
                      <a:lnTo>
                        <a:pt x="690" y="227"/>
                      </a:lnTo>
                      <a:lnTo>
                        <a:pt x="690" y="226"/>
                      </a:lnTo>
                      <a:lnTo>
                        <a:pt x="691" y="226"/>
                      </a:lnTo>
                      <a:lnTo>
                        <a:pt x="691" y="227"/>
                      </a:lnTo>
                      <a:lnTo>
                        <a:pt x="691" y="227"/>
                      </a:lnTo>
                      <a:lnTo>
                        <a:pt x="691" y="227"/>
                      </a:lnTo>
                      <a:lnTo>
                        <a:pt x="691" y="227"/>
                      </a:lnTo>
                      <a:lnTo>
                        <a:pt x="691" y="227"/>
                      </a:lnTo>
                      <a:lnTo>
                        <a:pt x="692" y="227"/>
                      </a:lnTo>
                      <a:lnTo>
                        <a:pt x="692" y="228"/>
                      </a:lnTo>
                      <a:lnTo>
                        <a:pt x="692" y="227"/>
                      </a:lnTo>
                      <a:lnTo>
                        <a:pt x="692" y="228"/>
                      </a:lnTo>
                      <a:lnTo>
                        <a:pt x="693" y="228"/>
                      </a:lnTo>
                      <a:lnTo>
                        <a:pt x="693" y="229"/>
                      </a:lnTo>
                      <a:lnTo>
                        <a:pt x="693" y="228"/>
                      </a:lnTo>
                      <a:lnTo>
                        <a:pt x="693" y="229"/>
                      </a:lnTo>
                      <a:lnTo>
                        <a:pt x="693" y="228"/>
                      </a:lnTo>
                      <a:lnTo>
                        <a:pt x="692" y="228"/>
                      </a:lnTo>
                      <a:lnTo>
                        <a:pt x="692" y="227"/>
                      </a:lnTo>
                      <a:lnTo>
                        <a:pt x="692" y="228"/>
                      </a:lnTo>
                      <a:lnTo>
                        <a:pt x="692" y="227"/>
                      </a:lnTo>
                      <a:lnTo>
                        <a:pt x="691" y="227"/>
                      </a:lnTo>
                      <a:lnTo>
                        <a:pt x="691" y="227"/>
                      </a:lnTo>
                      <a:lnTo>
                        <a:pt x="691" y="227"/>
                      </a:lnTo>
                      <a:lnTo>
                        <a:pt x="691" y="227"/>
                      </a:lnTo>
                      <a:lnTo>
                        <a:pt x="691" y="227"/>
                      </a:lnTo>
                      <a:lnTo>
                        <a:pt x="691" y="226"/>
                      </a:lnTo>
                      <a:lnTo>
                        <a:pt x="691" y="227"/>
                      </a:lnTo>
                      <a:lnTo>
                        <a:pt x="691" y="226"/>
                      </a:lnTo>
                      <a:lnTo>
                        <a:pt x="690" y="226"/>
                      </a:lnTo>
                      <a:lnTo>
                        <a:pt x="691" y="226"/>
                      </a:lnTo>
                      <a:lnTo>
                        <a:pt x="691" y="226"/>
                      </a:lnTo>
                      <a:lnTo>
                        <a:pt x="690" y="226"/>
                      </a:lnTo>
                      <a:lnTo>
                        <a:pt x="690" y="225"/>
                      </a:lnTo>
                      <a:lnTo>
                        <a:pt x="690" y="225"/>
                      </a:lnTo>
                      <a:lnTo>
                        <a:pt x="690" y="225"/>
                      </a:lnTo>
                      <a:lnTo>
                        <a:pt x="690" y="225"/>
                      </a:lnTo>
                      <a:lnTo>
                        <a:pt x="690" y="225"/>
                      </a:lnTo>
                      <a:lnTo>
                        <a:pt x="689" y="225"/>
                      </a:lnTo>
                      <a:lnTo>
                        <a:pt x="689" y="224"/>
                      </a:lnTo>
                      <a:lnTo>
                        <a:pt x="690" y="224"/>
                      </a:lnTo>
                      <a:lnTo>
                        <a:pt x="690" y="225"/>
                      </a:lnTo>
                      <a:lnTo>
                        <a:pt x="690" y="224"/>
                      </a:lnTo>
                      <a:lnTo>
                        <a:pt x="689" y="224"/>
                      </a:lnTo>
                      <a:lnTo>
                        <a:pt x="688" y="224"/>
                      </a:lnTo>
                      <a:lnTo>
                        <a:pt x="688" y="224"/>
                      </a:lnTo>
                      <a:lnTo>
                        <a:pt x="688" y="223"/>
                      </a:lnTo>
                      <a:lnTo>
                        <a:pt x="688" y="223"/>
                      </a:lnTo>
                      <a:lnTo>
                        <a:pt x="688" y="222"/>
                      </a:lnTo>
                      <a:lnTo>
                        <a:pt x="687" y="222"/>
                      </a:lnTo>
                      <a:lnTo>
                        <a:pt x="687" y="221"/>
                      </a:lnTo>
                      <a:lnTo>
                        <a:pt x="687" y="221"/>
                      </a:lnTo>
                      <a:lnTo>
                        <a:pt x="687" y="220"/>
                      </a:lnTo>
                      <a:lnTo>
                        <a:pt x="687" y="220"/>
                      </a:lnTo>
                      <a:lnTo>
                        <a:pt x="687" y="219"/>
                      </a:lnTo>
                      <a:lnTo>
                        <a:pt x="686" y="219"/>
                      </a:lnTo>
                      <a:lnTo>
                        <a:pt x="687" y="219"/>
                      </a:lnTo>
                      <a:lnTo>
                        <a:pt x="686" y="219"/>
                      </a:lnTo>
                      <a:lnTo>
                        <a:pt x="687" y="219"/>
                      </a:lnTo>
                      <a:lnTo>
                        <a:pt x="687" y="219"/>
                      </a:lnTo>
                      <a:lnTo>
                        <a:pt x="687" y="219"/>
                      </a:lnTo>
                      <a:lnTo>
                        <a:pt x="686" y="218"/>
                      </a:lnTo>
                      <a:lnTo>
                        <a:pt x="686" y="218"/>
                      </a:lnTo>
                      <a:lnTo>
                        <a:pt x="686" y="217"/>
                      </a:lnTo>
                      <a:lnTo>
                        <a:pt x="686" y="216"/>
                      </a:lnTo>
                      <a:lnTo>
                        <a:pt x="687" y="216"/>
                      </a:lnTo>
                      <a:lnTo>
                        <a:pt x="686" y="216"/>
                      </a:lnTo>
                      <a:lnTo>
                        <a:pt x="686" y="216"/>
                      </a:lnTo>
                      <a:lnTo>
                        <a:pt x="686" y="216"/>
                      </a:lnTo>
                      <a:lnTo>
                        <a:pt x="686" y="215"/>
                      </a:lnTo>
                      <a:lnTo>
                        <a:pt x="686" y="215"/>
                      </a:lnTo>
                      <a:lnTo>
                        <a:pt x="686" y="216"/>
                      </a:lnTo>
                      <a:lnTo>
                        <a:pt x="686" y="215"/>
                      </a:lnTo>
                      <a:lnTo>
                        <a:pt x="686" y="215"/>
                      </a:lnTo>
                      <a:lnTo>
                        <a:pt x="686" y="215"/>
                      </a:lnTo>
                      <a:lnTo>
                        <a:pt x="686" y="215"/>
                      </a:lnTo>
                      <a:lnTo>
                        <a:pt x="686" y="215"/>
                      </a:lnTo>
                      <a:lnTo>
                        <a:pt x="686" y="215"/>
                      </a:lnTo>
                      <a:lnTo>
                        <a:pt x="686" y="215"/>
                      </a:lnTo>
                      <a:lnTo>
                        <a:pt x="686" y="215"/>
                      </a:lnTo>
                      <a:lnTo>
                        <a:pt x="686" y="215"/>
                      </a:lnTo>
                      <a:lnTo>
                        <a:pt x="686" y="215"/>
                      </a:lnTo>
                      <a:lnTo>
                        <a:pt x="686" y="215"/>
                      </a:lnTo>
                      <a:lnTo>
                        <a:pt x="686" y="215"/>
                      </a:lnTo>
                      <a:lnTo>
                        <a:pt x="686" y="214"/>
                      </a:lnTo>
                      <a:lnTo>
                        <a:pt x="686" y="215"/>
                      </a:lnTo>
                      <a:lnTo>
                        <a:pt x="686" y="214"/>
                      </a:lnTo>
                      <a:lnTo>
                        <a:pt x="686" y="214"/>
                      </a:lnTo>
                      <a:lnTo>
                        <a:pt x="685" y="214"/>
                      </a:lnTo>
                      <a:lnTo>
                        <a:pt x="685" y="214"/>
                      </a:lnTo>
                      <a:lnTo>
                        <a:pt x="686" y="214"/>
                      </a:lnTo>
                      <a:lnTo>
                        <a:pt x="686" y="214"/>
                      </a:lnTo>
                      <a:lnTo>
                        <a:pt x="686" y="213"/>
                      </a:lnTo>
                      <a:lnTo>
                        <a:pt x="687" y="213"/>
                      </a:lnTo>
                      <a:lnTo>
                        <a:pt x="687" y="212"/>
                      </a:lnTo>
                      <a:lnTo>
                        <a:pt x="686" y="212"/>
                      </a:lnTo>
                      <a:lnTo>
                        <a:pt x="686" y="212"/>
                      </a:lnTo>
                      <a:lnTo>
                        <a:pt x="686" y="212"/>
                      </a:lnTo>
                      <a:lnTo>
                        <a:pt x="687" y="212"/>
                      </a:lnTo>
                      <a:lnTo>
                        <a:pt x="687" y="212"/>
                      </a:lnTo>
                      <a:lnTo>
                        <a:pt x="688" y="212"/>
                      </a:lnTo>
                      <a:lnTo>
                        <a:pt x="688" y="212"/>
                      </a:lnTo>
                      <a:lnTo>
                        <a:pt x="688" y="211"/>
                      </a:lnTo>
                      <a:lnTo>
                        <a:pt x="688" y="212"/>
                      </a:lnTo>
                      <a:lnTo>
                        <a:pt x="688" y="211"/>
                      </a:lnTo>
                      <a:lnTo>
                        <a:pt x="689" y="211"/>
                      </a:lnTo>
                      <a:lnTo>
                        <a:pt x="690" y="211"/>
                      </a:lnTo>
                      <a:lnTo>
                        <a:pt x="690" y="211"/>
                      </a:lnTo>
                      <a:lnTo>
                        <a:pt x="690" y="211"/>
                      </a:lnTo>
                      <a:lnTo>
                        <a:pt x="691" y="211"/>
                      </a:lnTo>
                      <a:lnTo>
                        <a:pt x="691" y="211"/>
                      </a:lnTo>
                      <a:lnTo>
                        <a:pt x="691" y="210"/>
                      </a:lnTo>
                      <a:lnTo>
                        <a:pt x="692" y="210"/>
                      </a:lnTo>
                      <a:lnTo>
                        <a:pt x="691" y="210"/>
                      </a:lnTo>
                      <a:lnTo>
                        <a:pt x="692" y="210"/>
                      </a:lnTo>
                      <a:lnTo>
                        <a:pt x="693" y="210"/>
                      </a:lnTo>
                      <a:lnTo>
                        <a:pt x="693" y="210"/>
                      </a:lnTo>
                      <a:lnTo>
                        <a:pt x="694" y="210"/>
                      </a:lnTo>
                      <a:lnTo>
                        <a:pt x="694" y="210"/>
                      </a:lnTo>
                      <a:lnTo>
                        <a:pt x="694" y="210"/>
                      </a:lnTo>
                      <a:lnTo>
                        <a:pt x="694" y="210"/>
                      </a:lnTo>
                      <a:lnTo>
                        <a:pt x="694" y="210"/>
                      </a:lnTo>
                      <a:lnTo>
                        <a:pt x="694" y="210"/>
                      </a:lnTo>
                      <a:lnTo>
                        <a:pt x="695" y="210"/>
                      </a:lnTo>
                      <a:lnTo>
                        <a:pt x="695" y="210"/>
                      </a:lnTo>
                      <a:lnTo>
                        <a:pt x="696" y="210"/>
                      </a:lnTo>
                      <a:lnTo>
                        <a:pt x="695" y="210"/>
                      </a:lnTo>
                      <a:lnTo>
                        <a:pt x="696" y="210"/>
                      </a:lnTo>
                      <a:lnTo>
                        <a:pt x="697" y="210"/>
                      </a:lnTo>
                      <a:lnTo>
                        <a:pt x="697" y="210"/>
                      </a:lnTo>
                      <a:lnTo>
                        <a:pt x="697" y="211"/>
                      </a:lnTo>
                      <a:lnTo>
                        <a:pt x="697" y="210"/>
                      </a:lnTo>
                      <a:lnTo>
                        <a:pt x="698" y="210"/>
                      </a:lnTo>
                      <a:lnTo>
                        <a:pt x="698" y="211"/>
                      </a:lnTo>
                      <a:lnTo>
                        <a:pt x="698" y="210"/>
                      </a:lnTo>
                      <a:lnTo>
                        <a:pt x="698" y="210"/>
                      </a:lnTo>
                      <a:lnTo>
                        <a:pt x="699" y="210"/>
                      </a:lnTo>
                      <a:lnTo>
                        <a:pt x="698" y="210"/>
                      </a:lnTo>
                      <a:lnTo>
                        <a:pt x="699" y="210"/>
                      </a:lnTo>
                      <a:lnTo>
                        <a:pt x="698" y="210"/>
                      </a:lnTo>
                      <a:lnTo>
                        <a:pt x="699" y="210"/>
                      </a:lnTo>
                      <a:lnTo>
                        <a:pt x="699" y="210"/>
                      </a:lnTo>
                      <a:lnTo>
                        <a:pt x="700" y="210"/>
                      </a:lnTo>
                      <a:lnTo>
                        <a:pt x="699" y="210"/>
                      </a:lnTo>
                      <a:lnTo>
                        <a:pt x="700" y="210"/>
                      </a:lnTo>
                      <a:lnTo>
                        <a:pt x="700" y="210"/>
                      </a:lnTo>
                      <a:lnTo>
                        <a:pt x="701" y="210"/>
                      </a:lnTo>
                      <a:lnTo>
                        <a:pt x="701" y="210"/>
                      </a:lnTo>
                      <a:lnTo>
                        <a:pt x="701" y="210"/>
                      </a:lnTo>
                      <a:lnTo>
                        <a:pt x="701" y="210"/>
                      </a:lnTo>
                      <a:lnTo>
                        <a:pt x="701" y="210"/>
                      </a:lnTo>
                      <a:lnTo>
                        <a:pt x="701" y="210"/>
                      </a:lnTo>
                      <a:lnTo>
                        <a:pt x="701" y="210"/>
                      </a:lnTo>
                      <a:lnTo>
                        <a:pt x="700" y="210"/>
                      </a:lnTo>
                      <a:lnTo>
                        <a:pt x="701" y="210"/>
                      </a:lnTo>
                      <a:lnTo>
                        <a:pt x="701" y="210"/>
                      </a:lnTo>
                      <a:lnTo>
                        <a:pt x="702" y="210"/>
                      </a:lnTo>
                      <a:lnTo>
                        <a:pt x="702" y="210"/>
                      </a:lnTo>
                      <a:lnTo>
                        <a:pt x="702" y="210"/>
                      </a:lnTo>
                      <a:lnTo>
                        <a:pt x="702" y="210"/>
                      </a:lnTo>
                      <a:lnTo>
                        <a:pt x="702" y="210"/>
                      </a:lnTo>
                      <a:lnTo>
                        <a:pt x="702" y="210"/>
                      </a:lnTo>
                      <a:lnTo>
                        <a:pt x="702" y="210"/>
                      </a:lnTo>
                      <a:lnTo>
                        <a:pt x="702" y="210"/>
                      </a:lnTo>
                      <a:lnTo>
                        <a:pt x="703" y="210"/>
                      </a:lnTo>
                      <a:lnTo>
                        <a:pt x="702" y="210"/>
                      </a:lnTo>
                      <a:lnTo>
                        <a:pt x="702" y="210"/>
                      </a:lnTo>
                      <a:lnTo>
                        <a:pt x="702" y="210"/>
                      </a:lnTo>
                      <a:lnTo>
                        <a:pt x="702" y="210"/>
                      </a:lnTo>
                      <a:lnTo>
                        <a:pt x="702" y="210"/>
                      </a:lnTo>
                      <a:lnTo>
                        <a:pt x="703" y="210"/>
                      </a:lnTo>
                      <a:lnTo>
                        <a:pt x="703" y="210"/>
                      </a:lnTo>
                      <a:lnTo>
                        <a:pt x="703" y="210"/>
                      </a:lnTo>
                      <a:lnTo>
                        <a:pt x="703" y="210"/>
                      </a:lnTo>
                      <a:lnTo>
                        <a:pt x="703" y="209"/>
                      </a:lnTo>
                      <a:lnTo>
                        <a:pt x="703" y="209"/>
                      </a:lnTo>
                      <a:lnTo>
                        <a:pt x="703" y="208"/>
                      </a:lnTo>
                      <a:lnTo>
                        <a:pt x="703" y="208"/>
                      </a:lnTo>
                      <a:lnTo>
                        <a:pt x="702" y="208"/>
                      </a:lnTo>
                      <a:lnTo>
                        <a:pt x="702" y="208"/>
                      </a:lnTo>
                      <a:lnTo>
                        <a:pt x="701" y="208"/>
                      </a:lnTo>
                      <a:lnTo>
                        <a:pt x="702" y="208"/>
                      </a:lnTo>
                      <a:lnTo>
                        <a:pt x="701" y="208"/>
                      </a:lnTo>
                      <a:lnTo>
                        <a:pt x="701" y="207"/>
                      </a:lnTo>
                      <a:lnTo>
                        <a:pt x="702" y="207"/>
                      </a:lnTo>
                      <a:lnTo>
                        <a:pt x="702" y="208"/>
                      </a:lnTo>
                      <a:lnTo>
                        <a:pt x="702" y="208"/>
                      </a:lnTo>
                      <a:lnTo>
                        <a:pt x="702" y="207"/>
                      </a:lnTo>
                      <a:lnTo>
                        <a:pt x="703" y="207"/>
                      </a:lnTo>
                      <a:lnTo>
                        <a:pt x="703" y="207"/>
                      </a:lnTo>
                      <a:lnTo>
                        <a:pt x="703" y="207"/>
                      </a:lnTo>
                      <a:lnTo>
                        <a:pt x="703" y="207"/>
                      </a:lnTo>
                      <a:lnTo>
                        <a:pt x="704" y="207"/>
                      </a:lnTo>
                      <a:lnTo>
                        <a:pt x="704" y="207"/>
                      </a:lnTo>
                      <a:lnTo>
                        <a:pt x="705" y="207"/>
                      </a:lnTo>
                      <a:lnTo>
                        <a:pt x="705" y="207"/>
                      </a:lnTo>
                      <a:lnTo>
                        <a:pt x="705" y="207"/>
                      </a:lnTo>
                      <a:lnTo>
                        <a:pt x="706" y="207"/>
                      </a:lnTo>
                      <a:lnTo>
                        <a:pt x="705" y="207"/>
                      </a:lnTo>
                      <a:lnTo>
                        <a:pt x="706" y="207"/>
                      </a:lnTo>
                      <a:lnTo>
                        <a:pt x="706" y="206"/>
                      </a:lnTo>
                      <a:lnTo>
                        <a:pt x="706" y="206"/>
                      </a:lnTo>
                      <a:lnTo>
                        <a:pt x="706" y="205"/>
                      </a:lnTo>
                      <a:lnTo>
                        <a:pt x="706" y="205"/>
                      </a:lnTo>
                      <a:lnTo>
                        <a:pt x="706" y="205"/>
                      </a:lnTo>
                      <a:lnTo>
                        <a:pt x="705" y="205"/>
                      </a:lnTo>
                      <a:lnTo>
                        <a:pt x="706" y="205"/>
                      </a:lnTo>
                      <a:lnTo>
                        <a:pt x="706" y="205"/>
                      </a:lnTo>
                      <a:lnTo>
                        <a:pt x="707" y="205"/>
                      </a:lnTo>
                      <a:lnTo>
                        <a:pt x="707" y="204"/>
                      </a:lnTo>
                      <a:lnTo>
                        <a:pt x="708" y="204"/>
                      </a:lnTo>
                      <a:lnTo>
                        <a:pt x="708" y="204"/>
                      </a:lnTo>
                      <a:lnTo>
                        <a:pt x="708" y="204"/>
                      </a:lnTo>
                      <a:lnTo>
                        <a:pt x="708" y="204"/>
                      </a:lnTo>
                      <a:lnTo>
                        <a:pt x="707" y="204"/>
                      </a:lnTo>
                      <a:lnTo>
                        <a:pt x="707" y="203"/>
                      </a:lnTo>
                      <a:lnTo>
                        <a:pt x="708" y="203"/>
                      </a:lnTo>
                      <a:lnTo>
                        <a:pt x="708" y="203"/>
                      </a:lnTo>
                      <a:lnTo>
                        <a:pt x="708" y="203"/>
                      </a:lnTo>
                      <a:lnTo>
                        <a:pt x="708" y="202"/>
                      </a:lnTo>
                      <a:lnTo>
                        <a:pt x="709" y="202"/>
                      </a:lnTo>
                      <a:lnTo>
                        <a:pt x="709" y="202"/>
                      </a:lnTo>
                      <a:lnTo>
                        <a:pt x="710" y="202"/>
                      </a:lnTo>
                      <a:lnTo>
                        <a:pt x="710" y="202"/>
                      </a:lnTo>
                      <a:lnTo>
                        <a:pt x="711" y="202"/>
                      </a:lnTo>
                      <a:lnTo>
                        <a:pt x="710" y="201"/>
                      </a:lnTo>
                      <a:lnTo>
                        <a:pt x="710" y="201"/>
                      </a:lnTo>
                      <a:lnTo>
                        <a:pt x="711" y="201"/>
                      </a:lnTo>
                      <a:lnTo>
                        <a:pt x="712" y="201"/>
                      </a:lnTo>
                      <a:lnTo>
                        <a:pt x="712" y="201"/>
                      </a:lnTo>
                      <a:lnTo>
                        <a:pt x="713" y="201"/>
                      </a:lnTo>
                      <a:lnTo>
                        <a:pt x="712" y="200"/>
                      </a:lnTo>
                      <a:lnTo>
                        <a:pt x="712" y="200"/>
                      </a:lnTo>
                      <a:lnTo>
                        <a:pt x="711" y="200"/>
                      </a:lnTo>
                      <a:lnTo>
                        <a:pt x="712" y="200"/>
                      </a:lnTo>
                      <a:lnTo>
                        <a:pt x="712" y="200"/>
                      </a:lnTo>
                      <a:lnTo>
                        <a:pt x="713" y="200"/>
                      </a:lnTo>
                      <a:lnTo>
                        <a:pt x="713" y="200"/>
                      </a:lnTo>
                      <a:lnTo>
                        <a:pt x="713" y="200"/>
                      </a:lnTo>
                      <a:lnTo>
                        <a:pt x="713" y="200"/>
                      </a:lnTo>
                      <a:lnTo>
                        <a:pt x="714" y="200"/>
                      </a:lnTo>
                      <a:lnTo>
                        <a:pt x="714" y="201"/>
                      </a:lnTo>
                      <a:lnTo>
                        <a:pt x="714" y="201"/>
                      </a:lnTo>
                      <a:lnTo>
                        <a:pt x="714" y="201"/>
                      </a:lnTo>
                      <a:lnTo>
                        <a:pt x="714" y="200"/>
                      </a:lnTo>
                      <a:lnTo>
                        <a:pt x="713" y="200"/>
                      </a:lnTo>
                      <a:lnTo>
                        <a:pt x="714" y="200"/>
                      </a:lnTo>
                      <a:lnTo>
                        <a:pt x="714" y="200"/>
                      </a:lnTo>
                      <a:lnTo>
                        <a:pt x="714" y="200"/>
                      </a:lnTo>
                      <a:lnTo>
                        <a:pt x="714" y="200"/>
                      </a:lnTo>
                      <a:lnTo>
                        <a:pt x="714" y="200"/>
                      </a:lnTo>
                      <a:lnTo>
                        <a:pt x="714" y="200"/>
                      </a:lnTo>
                      <a:lnTo>
                        <a:pt x="714" y="200"/>
                      </a:lnTo>
                      <a:lnTo>
                        <a:pt x="715" y="200"/>
                      </a:lnTo>
                      <a:lnTo>
                        <a:pt x="715" y="200"/>
                      </a:lnTo>
                      <a:lnTo>
                        <a:pt x="716" y="200"/>
                      </a:lnTo>
                      <a:lnTo>
                        <a:pt x="715" y="200"/>
                      </a:lnTo>
                      <a:lnTo>
                        <a:pt x="716" y="200"/>
                      </a:lnTo>
                      <a:lnTo>
                        <a:pt x="715" y="200"/>
                      </a:lnTo>
                      <a:lnTo>
                        <a:pt x="716" y="200"/>
                      </a:lnTo>
                      <a:lnTo>
                        <a:pt x="716" y="200"/>
                      </a:lnTo>
                      <a:lnTo>
                        <a:pt x="716" y="200"/>
                      </a:lnTo>
                      <a:lnTo>
                        <a:pt x="715" y="200"/>
                      </a:lnTo>
                      <a:lnTo>
                        <a:pt x="716" y="200"/>
                      </a:lnTo>
                      <a:lnTo>
                        <a:pt x="715" y="200"/>
                      </a:lnTo>
                      <a:lnTo>
                        <a:pt x="716" y="200"/>
                      </a:lnTo>
                      <a:lnTo>
                        <a:pt x="715" y="200"/>
                      </a:lnTo>
                      <a:lnTo>
                        <a:pt x="715" y="200"/>
                      </a:lnTo>
                      <a:lnTo>
                        <a:pt x="714" y="200"/>
                      </a:lnTo>
                      <a:lnTo>
                        <a:pt x="714" y="200"/>
                      </a:lnTo>
                      <a:lnTo>
                        <a:pt x="714" y="200"/>
                      </a:lnTo>
                      <a:lnTo>
                        <a:pt x="714" y="200"/>
                      </a:lnTo>
                      <a:lnTo>
                        <a:pt x="714" y="200"/>
                      </a:lnTo>
                      <a:lnTo>
                        <a:pt x="714" y="200"/>
                      </a:lnTo>
                      <a:lnTo>
                        <a:pt x="713" y="200"/>
                      </a:lnTo>
                      <a:lnTo>
                        <a:pt x="714" y="200"/>
                      </a:lnTo>
                      <a:lnTo>
                        <a:pt x="713" y="200"/>
                      </a:lnTo>
                      <a:lnTo>
                        <a:pt x="713" y="200"/>
                      </a:lnTo>
                      <a:lnTo>
                        <a:pt x="713" y="199"/>
                      </a:lnTo>
                      <a:lnTo>
                        <a:pt x="712" y="199"/>
                      </a:lnTo>
                      <a:lnTo>
                        <a:pt x="712" y="199"/>
                      </a:lnTo>
                      <a:lnTo>
                        <a:pt x="713" y="199"/>
                      </a:lnTo>
                      <a:lnTo>
                        <a:pt x="713" y="198"/>
                      </a:lnTo>
                      <a:lnTo>
                        <a:pt x="713" y="197"/>
                      </a:lnTo>
                      <a:lnTo>
                        <a:pt x="714" y="197"/>
                      </a:lnTo>
                      <a:lnTo>
                        <a:pt x="714" y="197"/>
                      </a:lnTo>
                      <a:lnTo>
                        <a:pt x="714" y="197"/>
                      </a:lnTo>
                      <a:lnTo>
                        <a:pt x="714" y="197"/>
                      </a:lnTo>
                      <a:lnTo>
                        <a:pt x="714" y="197"/>
                      </a:lnTo>
                      <a:lnTo>
                        <a:pt x="715" y="197"/>
                      </a:lnTo>
                      <a:lnTo>
                        <a:pt x="715" y="197"/>
                      </a:lnTo>
                      <a:lnTo>
                        <a:pt x="714" y="197"/>
                      </a:lnTo>
                      <a:lnTo>
                        <a:pt x="715" y="197"/>
                      </a:lnTo>
                      <a:lnTo>
                        <a:pt x="716" y="197"/>
                      </a:lnTo>
                      <a:lnTo>
                        <a:pt x="716" y="197"/>
                      </a:lnTo>
                      <a:lnTo>
                        <a:pt x="717" y="197"/>
                      </a:lnTo>
                      <a:lnTo>
                        <a:pt x="717" y="197"/>
                      </a:lnTo>
                      <a:lnTo>
                        <a:pt x="717" y="197"/>
                      </a:lnTo>
                      <a:lnTo>
                        <a:pt x="718" y="197"/>
                      </a:lnTo>
                      <a:lnTo>
                        <a:pt x="718" y="197"/>
                      </a:lnTo>
                      <a:lnTo>
                        <a:pt x="718" y="197"/>
                      </a:lnTo>
                      <a:lnTo>
                        <a:pt x="719" y="197"/>
                      </a:lnTo>
                      <a:lnTo>
                        <a:pt x="720" y="197"/>
                      </a:lnTo>
                      <a:lnTo>
                        <a:pt x="720" y="197"/>
                      </a:lnTo>
                      <a:lnTo>
                        <a:pt x="721" y="197"/>
                      </a:lnTo>
                      <a:lnTo>
                        <a:pt x="721" y="197"/>
                      </a:lnTo>
                      <a:lnTo>
                        <a:pt x="721" y="197"/>
                      </a:lnTo>
                      <a:lnTo>
                        <a:pt x="722" y="197"/>
                      </a:lnTo>
                      <a:lnTo>
                        <a:pt x="721" y="197"/>
                      </a:lnTo>
                      <a:lnTo>
                        <a:pt x="721" y="196"/>
                      </a:lnTo>
                      <a:lnTo>
                        <a:pt x="722" y="196"/>
                      </a:lnTo>
                      <a:lnTo>
                        <a:pt x="722" y="196"/>
                      </a:lnTo>
                      <a:lnTo>
                        <a:pt x="722" y="196"/>
                      </a:lnTo>
                      <a:lnTo>
                        <a:pt x="722" y="196"/>
                      </a:lnTo>
                      <a:lnTo>
                        <a:pt x="721" y="196"/>
                      </a:lnTo>
                      <a:lnTo>
                        <a:pt x="721" y="195"/>
                      </a:lnTo>
                      <a:lnTo>
                        <a:pt x="722" y="194"/>
                      </a:lnTo>
                      <a:lnTo>
                        <a:pt x="722" y="195"/>
                      </a:lnTo>
                      <a:lnTo>
                        <a:pt x="722" y="194"/>
                      </a:lnTo>
                      <a:lnTo>
                        <a:pt x="723" y="194"/>
                      </a:lnTo>
                      <a:lnTo>
                        <a:pt x="722" y="194"/>
                      </a:lnTo>
                      <a:lnTo>
                        <a:pt x="722" y="193"/>
                      </a:lnTo>
                      <a:lnTo>
                        <a:pt x="723" y="193"/>
                      </a:lnTo>
                      <a:lnTo>
                        <a:pt x="723" y="193"/>
                      </a:lnTo>
                      <a:lnTo>
                        <a:pt x="723" y="193"/>
                      </a:lnTo>
                      <a:lnTo>
                        <a:pt x="723" y="193"/>
                      </a:lnTo>
                      <a:lnTo>
                        <a:pt x="724" y="193"/>
                      </a:lnTo>
                      <a:lnTo>
                        <a:pt x="724" y="193"/>
                      </a:lnTo>
                      <a:lnTo>
                        <a:pt x="724" y="193"/>
                      </a:lnTo>
                      <a:lnTo>
                        <a:pt x="724" y="192"/>
                      </a:lnTo>
                      <a:lnTo>
                        <a:pt x="724" y="192"/>
                      </a:lnTo>
                      <a:lnTo>
                        <a:pt x="725" y="192"/>
                      </a:lnTo>
                      <a:lnTo>
                        <a:pt x="725" y="192"/>
                      </a:lnTo>
                      <a:lnTo>
                        <a:pt x="725" y="192"/>
                      </a:lnTo>
                      <a:lnTo>
                        <a:pt x="726" y="192"/>
                      </a:lnTo>
                      <a:lnTo>
                        <a:pt x="726" y="192"/>
                      </a:lnTo>
                      <a:lnTo>
                        <a:pt x="725" y="191"/>
                      </a:lnTo>
                      <a:lnTo>
                        <a:pt x="725" y="191"/>
                      </a:lnTo>
                      <a:lnTo>
                        <a:pt x="725" y="190"/>
                      </a:lnTo>
                      <a:lnTo>
                        <a:pt x="725" y="190"/>
                      </a:lnTo>
                      <a:lnTo>
                        <a:pt x="725" y="190"/>
                      </a:lnTo>
                      <a:lnTo>
                        <a:pt x="725" y="189"/>
                      </a:lnTo>
                      <a:lnTo>
                        <a:pt x="725" y="190"/>
                      </a:lnTo>
                      <a:lnTo>
                        <a:pt x="725" y="189"/>
                      </a:lnTo>
                      <a:lnTo>
                        <a:pt x="725" y="189"/>
                      </a:lnTo>
                      <a:lnTo>
                        <a:pt x="725" y="189"/>
                      </a:lnTo>
                      <a:lnTo>
                        <a:pt x="726" y="188"/>
                      </a:lnTo>
                      <a:lnTo>
                        <a:pt x="726" y="189"/>
                      </a:lnTo>
                      <a:lnTo>
                        <a:pt x="725" y="189"/>
                      </a:lnTo>
                      <a:lnTo>
                        <a:pt x="726" y="189"/>
                      </a:lnTo>
                      <a:lnTo>
                        <a:pt x="725" y="189"/>
                      </a:lnTo>
                      <a:lnTo>
                        <a:pt x="726" y="189"/>
                      </a:lnTo>
                      <a:lnTo>
                        <a:pt x="725" y="189"/>
                      </a:lnTo>
                      <a:lnTo>
                        <a:pt x="726" y="189"/>
                      </a:lnTo>
                      <a:lnTo>
                        <a:pt x="726" y="189"/>
                      </a:lnTo>
                      <a:lnTo>
                        <a:pt x="727" y="189"/>
                      </a:lnTo>
                      <a:lnTo>
                        <a:pt x="726" y="189"/>
                      </a:lnTo>
                      <a:lnTo>
                        <a:pt x="726" y="189"/>
                      </a:lnTo>
                      <a:lnTo>
                        <a:pt x="726" y="189"/>
                      </a:lnTo>
                      <a:lnTo>
                        <a:pt x="725" y="189"/>
                      </a:lnTo>
                      <a:lnTo>
                        <a:pt x="726" y="189"/>
                      </a:lnTo>
                      <a:lnTo>
                        <a:pt x="725" y="189"/>
                      </a:lnTo>
                      <a:lnTo>
                        <a:pt x="726" y="189"/>
                      </a:lnTo>
                      <a:lnTo>
                        <a:pt x="726" y="188"/>
                      </a:lnTo>
                      <a:lnTo>
                        <a:pt x="726" y="188"/>
                      </a:lnTo>
                      <a:lnTo>
                        <a:pt x="725" y="188"/>
                      </a:lnTo>
                      <a:lnTo>
                        <a:pt x="725" y="187"/>
                      </a:lnTo>
                      <a:lnTo>
                        <a:pt x="725" y="187"/>
                      </a:lnTo>
                      <a:lnTo>
                        <a:pt x="725" y="186"/>
                      </a:lnTo>
                      <a:lnTo>
                        <a:pt x="724" y="186"/>
                      </a:lnTo>
                      <a:lnTo>
                        <a:pt x="725" y="186"/>
                      </a:lnTo>
                      <a:lnTo>
                        <a:pt x="724" y="186"/>
                      </a:lnTo>
                      <a:lnTo>
                        <a:pt x="724" y="186"/>
                      </a:lnTo>
                      <a:lnTo>
                        <a:pt x="725" y="185"/>
                      </a:lnTo>
                      <a:lnTo>
                        <a:pt x="725" y="185"/>
                      </a:lnTo>
                      <a:lnTo>
                        <a:pt x="726" y="185"/>
                      </a:lnTo>
                      <a:lnTo>
                        <a:pt x="727" y="185"/>
                      </a:lnTo>
                      <a:lnTo>
                        <a:pt x="727" y="185"/>
                      </a:lnTo>
                      <a:lnTo>
                        <a:pt x="727" y="185"/>
                      </a:lnTo>
                      <a:lnTo>
                        <a:pt x="727" y="185"/>
                      </a:lnTo>
                      <a:lnTo>
                        <a:pt x="727" y="185"/>
                      </a:lnTo>
                      <a:lnTo>
                        <a:pt x="727" y="184"/>
                      </a:lnTo>
                      <a:lnTo>
                        <a:pt x="726" y="184"/>
                      </a:lnTo>
                      <a:lnTo>
                        <a:pt x="726" y="184"/>
                      </a:lnTo>
                      <a:lnTo>
                        <a:pt x="726" y="184"/>
                      </a:lnTo>
                      <a:lnTo>
                        <a:pt x="726" y="184"/>
                      </a:lnTo>
                      <a:lnTo>
                        <a:pt x="727" y="184"/>
                      </a:lnTo>
                      <a:lnTo>
                        <a:pt x="726" y="183"/>
                      </a:lnTo>
                      <a:lnTo>
                        <a:pt x="726" y="182"/>
                      </a:lnTo>
                      <a:lnTo>
                        <a:pt x="727" y="182"/>
                      </a:lnTo>
                      <a:lnTo>
                        <a:pt x="726" y="182"/>
                      </a:lnTo>
                      <a:lnTo>
                        <a:pt x="727" y="182"/>
                      </a:lnTo>
                      <a:lnTo>
                        <a:pt x="727" y="182"/>
                      </a:lnTo>
                      <a:lnTo>
                        <a:pt x="727" y="182"/>
                      </a:lnTo>
                      <a:lnTo>
                        <a:pt x="727" y="182"/>
                      </a:lnTo>
                      <a:lnTo>
                        <a:pt x="727" y="182"/>
                      </a:lnTo>
                      <a:lnTo>
                        <a:pt x="727" y="183"/>
                      </a:lnTo>
                      <a:lnTo>
                        <a:pt x="728" y="182"/>
                      </a:lnTo>
                      <a:lnTo>
                        <a:pt x="728" y="183"/>
                      </a:lnTo>
                      <a:lnTo>
                        <a:pt x="728" y="183"/>
                      </a:lnTo>
                      <a:lnTo>
                        <a:pt x="728" y="182"/>
                      </a:lnTo>
                      <a:lnTo>
                        <a:pt x="728" y="182"/>
                      </a:lnTo>
                      <a:lnTo>
                        <a:pt x="728" y="183"/>
                      </a:lnTo>
                      <a:lnTo>
                        <a:pt x="728" y="182"/>
                      </a:lnTo>
                      <a:lnTo>
                        <a:pt x="729" y="182"/>
                      </a:lnTo>
                      <a:lnTo>
                        <a:pt x="728" y="182"/>
                      </a:lnTo>
                      <a:lnTo>
                        <a:pt x="729" y="182"/>
                      </a:lnTo>
                      <a:lnTo>
                        <a:pt x="728" y="182"/>
                      </a:lnTo>
                      <a:lnTo>
                        <a:pt x="728" y="183"/>
                      </a:lnTo>
                      <a:lnTo>
                        <a:pt x="728" y="182"/>
                      </a:lnTo>
                      <a:lnTo>
                        <a:pt x="728" y="182"/>
                      </a:lnTo>
                      <a:lnTo>
                        <a:pt x="728" y="183"/>
                      </a:lnTo>
                      <a:lnTo>
                        <a:pt x="728" y="182"/>
                      </a:lnTo>
                      <a:lnTo>
                        <a:pt x="727" y="182"/>
                      </a:lnTo>
                      <a:lnTo>
                        <a:pt x="727" y="182"/>
                      </a:lnTo>
                      <a:lnTo>
                        <a:pt x="727" y="182"/>
                      </a:lnTo>
                      <a:lnTo>
                        <a:pt x="727" y="182"/>
                      </a:lnTo>
                      <a:lnTo>
                        <a:pt x="727" y="182"/>
                      </a:lnTo>
                      <a:lnTo>
                        <a:pt x="727" y="182"/>
                      </a:lnTo>
                      <a:lnTo>
                        <a:pt x="727" y="182"/>
                      </a:lnTo>
                      <a:lnTo>
                        <a:pt x="727" y="182"/>
                      </a:lnTo>
                      <a:lnTo>
                        <a:pt x="727" y="182"/>
                      </a:lnTo>
                      <a:lnTo>
                        <a:pt x="727" y="182"/>
                      </a:lnTo>
                      <a:lnTo>
                        <a:pt x="726" y="182"/>
                      </a:lnTo>
                      <a:lnTo>
                        <a:pt x="725" y="182"/>
                      </a:lnTo>
                      <a:lnTo>
                        <a:pt x="725" y="182"/>
                      </a:lnTo>
                      <a:lnTo>
                        <a:pt x="725" y="182"/>
                      </a:lnTo>
                      <a:lnTo>
                        <a:pt x="725" y="182"/>
                      </a:lnTo>
                      <a:lnTo>
                        <a:pt x="725" y="181"/>
                      </a:lnTo>
                      <a:lnTo>
                        <a:pt x="724" y="181"/>
                      </a:lnTo>
                      <a:lnTo>
                        <a:pt x="724" y="181"/>
                      </a:lnTo>
                      <a:lnTo>
                        <a:pt x="725" y="181"/>
                      </a:lnTo>
                      <a:lnTo>
                        <a:pt x="725" y="181"/>
                      </a:lnTo>
                      <a:lnTo>
                        <a:pt x="725" y="180"/>
                      </a:lnTo>
                      <a:lnTo>
                        <a:pt x="725" y="180"/>
                      </a:lnTo>
                      <a:lnTo>
                        <a:pt x="725" y="179"/>
                      </a:lnTo>
                      <a:lnTo>
                        <a:pt x="725" y="179"/>
                      </a:lnTo>
                      <a:lnTo>
                        <a:pt x="725" y="179"/>
                      </a:lnTo>
                      <a:lnTo>
                        <a:pt x="725" y="179"/>
                      </a:lnTo>
                      <a:lnTo>
                        <a:pt x="725" y="179"/>
                      </a:lnTo>
                      <a:lnTo>
                        <a:pt x="725" y="179"/>
                      </a:lnTo>
                      <a:lnTo>
                        <a:pt x="725" y="179"/>
                      </a:lnTo>
                      <a:lnTo>
                        <a:pt x="725" y="178"/>
                      </a:lnTo>
                      <a:lnTo>
                        <a:pt x="725" y="178"/>
                      </a:lnTo>
                      <a:lnTo>
                        <a:pt x="725" y="177"/>
                      </a:lnTo>
                      <a:lnTo>
                        <a:pt x="726" y="177"/>
                      </a:lnTo>
                      <a:lnTo>
                        <a:pt x="726" y="176"/>
                      </a:lnTo>
                      <a:lnTo>
                        <a:pt x="725" y="175"/>
                      </a:lnTo>
                      <a:lnTo>
                        <a:pt x="725" y="175"/>
                      </a:lnTo>
                      <a:lnTo>
                        <a:pt x="724" y="175"/>
                      </a:lnTo>
                      <a:lnTo>
                        <a:pt x="724" y="175"/>
                      </a:lnTo>
                      <a:lnTo>
                        <a:pt x="724" y="174"/>
                      </a:lnTo>
                      <a:lnTo>
                        <a:pt x="725" y="174"/>
                      </a:lnTo>
                      <a:lnTo>
                        <a:pt x="725" y="174"/>
                      </a:lnTo>
                      <a:lnTo>
                        <a:pt x="725" y="174"/>
                      </a:lnTo>
                      <a:lnTo>
                        <a:pt x="725" y="174"/>
                      </a:lnTo>
                      <a:lnTo>
                        <a:pt x="725" y="173"/>
                      </a:lnTo>
                      <a:lnTo>
                        <a:pt x="724" y="173"/>
                      </a:lnTo>
                      <a:lnTo>
                        <a:pt x="724" y="173"/>
                      </a:lnTo>
                      <a:lnTo>
                        <a:pt x="724" y="173"/>
                      </a:lnTo>
                      <a:lnTo>
                        <a:pt x="724" y="173"/>
                      </a:lnTo>
                      <a:lnTo>
                        <a:pt x="725" y="173"/>
                      </a:lnTo>
                      <a:lnTo>
                        <a:pt x="725" y="172"/>
                      </a:lnTo>
                      <a:lnTo>
                        <a:pt x="725" y="171"/>
                      </a:lnTo>
                      <a:lnTo>
                        <a:pt x="725" y="171"/>
                      </a:lnTo>
                      <a:lnTo>
                        <a:pt x="725" y="171"/>
                      </a:lnTo>
                      <a:lnTo>
                        <a:pt x="726" y="171"/>
                      </a:lnTo>
                      <a:lnTo>
                        <a:pt x="726" y="171"/>
                      </a:lnTo>
                      <a:lnTo>
                        <a:pt x="725" y="171"/>
                      </a:lnTo>
                      <a:lnTo>
                        <a:pt x="725" y="170"/>
                      </a:lnTo>
                      <a:lnTo>
                        <a:pt x="726" y="170"/>
                      </a:lnTo>
                      <a:lnTo>
                        <a:pt x="726" y="170"/>
                      </a:lnTo>
                      <a:lnTo>
                        <a:pt x="727" y="170"/>
                      </a:lnTo>
                      <a:lnTo>
                        <a:pt x="727" y="169"/>
                      </a:lnTo>
                      <a:lnTo>
                        <a:pt x="727" y="169"/>
                      </a:lnTo>
                      <a:lnTo>
                        <a:pt x="727" y="168"/>
                      </a:lnTo>
                      <a:lnTo>
                        <a:pt x="728" y="168"/>
                      </a:lnTo>
                      <a:lnTo>
                        <a:pt x="728" y="168"/>
                      </a:lnTo>
                      <a:lnTo>
                        <a:pt x="729" y="168"/>
                      </a:lnTo>
                      <a:lnTo>
                        <a:pt x="728" y="168"/>
                      </a:lnTo>
                      <a:lnTo>
                        <a:pt x="728" y="167"/>
                      </a:lnTo>
                      <a:lnTo>
                        <a:pt x="729" y="167"/>
                      </a:lnTo>
                      <a:lnTo>
                        <a:pt x="729" y="167"/>
                      </a:lnTo>
                      <a:lnTo>
                        <a:pt x="730" y="167"/>
                      </a:lnTo>
                      <a:lnTo>
                        <a:pt x="730" y="167"/>
                      </a:lnTo>
                      <a:lnTo>
                        <a:pt x="729" y="167"/>
                      </a:lnTo>
                      <a:lnTo>
                        <a:pt x="730" y="167"/>
                      </a:lnTo>
                      <a:lnTo>
                        <a:pt x="729" y="167"/>
                      </a:lnTo>
                      <a:lnTo>
                        <a:pt x="729" y="168"/>
                      </a:lnTo>
                      <a:lnTo>
                        <a:pt x="729" y="168"/>
                      </a:lnTo>
                      <a:lnTo>
                        <a:pt x="729" y="168"/>
                      </a:lnTo>
                      <a:lnTo>
                        <a:pt x="729" y="168"/>
                      </a:lnTo>
                      <a:lnTo>
                        <a:pt x="729" y="168"/>
                      </a:lnTo>
                      <a:lnTo>
                        <a:pt x="729" y="168"/>
                      </a:lnTo>
                      <a:lnTo>
                        <a:pt x="729" y="168"/>
                      </a:lnTo>
                      <a:lnTo>
                        <a:pt x="730" y="168"/>
                      </a:lnTo>
                      <a:lnTo>
                        <a:pt x="729" y="167"/>
                      </a:lnTo>
                      <a:lnTo>
                        <a:pt x="730" y="167"/>
                      </a:lnTo>
                      <a:lnTo>
                        <a:pt x="729" y="167"/>
                      </a:lnTo>
                      <a:lnTo>
                        <a:pt x="730" y="167"/>
                      </a:lnTo>
                      <a:lnTo>
                        <a:pt x="730" y="167"/>
                      </a:lnTo>
                      <a:lnTo>
                        <a:pt x="730" y="167"/>
                      </a:lnTo>
                      <a:lnTo>
                        <a:pt x="731" y="167"/>
                      </a:lnTo>
                      <a:lnTo>
                        <a:pt x="731" y="167"/>
                      </a:lnTo>
                      <a:lnTo>
                        <a:pt x="732" y="167"/>
                      </a:lnTo>
                      <a:lnTo>
                        <a:pt x="732" y="167"/>
                      </a:lnTo>
                      <a:lnTo>
                        <a:pt x="733" y="167"/>
                      </a:lnTo>
                      <a:lnTo>
                        <a:pt x="734" y="167"/>
                      </a:lnTo>
                      <a:lnTo>
                        <a:pt x="734" y="167"/>
                      </a:lnTo>
                      <a:lnTo>
                        <a:pt x="735" y="167"/>
                      </a:lnTo>
                      <a:lnTo>
                        <a:pt x="735" y="167"/>
                      </a:lnTo>
                      <a:lnTo>
                        <a:pt x="735" y="166"/>
                      </a:lnTo>
                      <a:lnTo>
                        <a:pt x="735" y="166"/>
                      </a:lnTo>
                      <a:lnTo>
                        <a:pt x="735" y="165"/>
                      </a:lnTo>
                      <a:lnTo>
                        <a:pt x="736" y="165"/>
                      </a:lnTo>
                      <a:lnTo>
                        <a:pt x="735" y="165"/>
                      </a:lnTo>
                      <a:lnTo>
                        <a:pt x="735" y="164"/>
                      </a:lnTo>
                      <a:lnTo>
                        <a:pt x="736" y="164"/>
                      </a:lnTo>
                      <a:lnTo>
                        <a:pt x="736" y="164"/>
                      </a:lnTo>
                      <a:lnTo>
                        <a:pt x="737" y="164"/>
                      </a:lnTo>
                      <a:lnTo>
                        <a:pt x="738" y="164"/>
                      </a:lnTo>
                      <a:lnTo>
                        <a:pt x="737" y="164"/>
                      </a:lnTo>
                      <a:lnTo>
                        <a:pt x="738" y="164"/>
                      </a:lnTo>
                      <a:lnTo>
                        <a:pt x="738" y="164"/>
                      </a:lnTo>
                      <a:lnTo>
                        <a:pt x="738" y="164"/>
                      </a:lnTo>
                      <a:lnTo>
                        <a:pt x="739" y="164"/>
                      </a:lnTo>
                      <a:lnTo>
                        <a:pt x="739" y="163"/>
                      </a:lnTo>
                      <a:lnTo>
                        <a:pt x="739" y="163"/>
                      </a:lnTo>
                      <a:lnTo>
                        <a:pt x="740" y="163"/>
                      </a:lnTo>
                      <a:lnTo>
                        <a:pt x="740" y="163"/>
                      </a:lnTo>
                      <a:lnTo>
                        <a:pt x="741" y="163"/>
                      </a:lnTo>
                      <a:lnTo>
                        <a:pt x="742" y="163"/>
                      </a:lnTo>
                      <a:lnTo>
                        <a:pt x="742" y="163"/>
                      </a:lnTo>
                      <a:lnTo>
                        <a:pt x="742" y="163"/>
                      </a:lnTo>
                      <a:lnTo>
                        <a:pt x="743" y="163"/>
                      </a:lnTo>
                      <a:lnTo>
                        <a:pt x="743" y="163"/>
                      </a:lnTo>
                      <a:lnTo>
                        <a:pt x="744" y="163"/>
                      </a:lnTo>
                      <a:lnTo>
                        <a:pt x="744" y="163"/>
                      </a:lnTo>
                      <a:lnTo>
                        <a:pt x="744" y="163"/>
                      </a:lnTo>
                      <a:lnTo>
                        <a:pt x="744" y="163"/>
                      </a:lnTo>
                      <a:lnTo>
                        <a:pt x="745" y="163"/>
                      </a:lnTo>
                      <a:lnTo>
                        <a:pt x="745" y="163"/>
                      </a:lnTo>
                      <a:lnTo>
                        <a:pt x="746" y="163"/>
                      </a:lnTo>
                      <a:lnTo>
                        <a:pt x="746" y="163"/>
                      </a:lnTo>
                      <a:lnTo>
                        <a:pt x="747" y="163"/>
                      </a:lnTo>
                      <a:lnTo>
                        <a:pt x="747" y="163"/>
                      </a:lnTo>
                      <a:lnTo>
                        <a:pt x="747" y="163"/>
                      </a:lnTo>
                      <a:lnTo>
                        <a:pt x="747" y="163"/>
                      </a:lnTo>
                      <a:lnTo>
                        <a:pt x="747" y="163"/>
                      </a:lnTo>
                      <a:lnTo>
                        <a:pt x="748" y="163"/>
                      </a:lnTo>
                      <a:lnTo>
                        <a:pt x="749" y="163"/>
                      </a:lnTo>
                      <a:lnTo>
                        <a:pt x="749" y="162"/>
                      </a:lnTo>
                      <a:lnTo>
                        <a:pt x="749" y="163"/>
                      </a:lnTo>
                      <a:lnTo>
                        <a:pt x="750" y="163"/>
                      </a:lnTo>
                      <a:lnTo>
                        <a:pt x="750" y="162"/>
                      </a:lnTo>
                      <a:lnTo>
                        <a:pt x="750" y="163"/>
                      </a:lnTo>
                      <a:lnTo>
                        <a:pt x="750" y="163"/>
                      </a:lnTo>
                      <a:lnTo>
                        <a:pt x="751" y="163"/>
                      </a:lnTo>
                      <a:lnTo>
                        <a:pt x="751" y="163"/>
                      </a:lnTo>
                      <a:lnTo>
                        <a:pt x="752" y="163"/>
                      </a:lnTo>
                      <a:lnTo>
                        <a:pt x="751" y="163"/>
                      </a:lnTo>
                      <a:lnTo>
                        <a:pt x="751" y="163"/>
                      </a:lnTo>
                      <a:lnTo>
                        <a:pt x="750" y="163"/>
                      </a:lnTo>
                      <a:lnTo>
                        <a:pt x="750" y="163"/>
                      </a:lnTo>
                      <a:lnTo>
                        <a:pt x="750" y="162"/>
                      </a:lnTo>
                      <a:lnTo>
                        <a:pt x="749" y="163"/>
                      </a:lnTo>
                      <a:lnTo>
                        <a:pt x="749" y="162"/>
                      </a:lnTo>
                      <a:lnTo>
                        <a:pt x="749" y="163"/>
                      </a:lnTo>
                      <a:lnTo>
                        <a:pt x="748" y="163"/>
                      </a:lnTo>
                      <a:lnTo>
                        <a:pt x="747" y="163"/>
                      </a:lnTo>
                      <a:lnTo>
                        <a:pt x="747" y="163"/>
                      </a:lnTo>
                      <a:lnTo>
                        <a:pt x="746" y="163"/>
                      </a:lnTo>
                      <a:lnTo>
                        <a:pt x="747" y="163"/>
                      </a:lnTo>
                      <a:lnTo>
                        <a:pt x="747" y="162"/>
                      </a:lnTo>
                      <a:lnTo>
                        <a:pt x="747" y="162"/>
                      </a:lnTo>
                      <a:lnTo>
                        <a:pt x="747" y="162"/>
                      </a:lnTo>
                      <a:lnTo>
                        <a:pt x="748" y="162"/>
                      </a:lnTo>
                      <a:lnTo>
                        <a:pt x="749" y="162"/>
                      </a:lnTo>
                      <a:lnTo>
                        <a:pt x="749" y="162"/>
                      </a:lnTo>
                      <a:lnTo>
                        <a:pt x="749" y="162"/>
                      </a:lnTo>
                      <a:lnTo>
                        <a:pt x="749" y="161"/>
                      </a:lnTo>
                      <a:lnTo>
                        <a:pt x="749" y="161"/>
                      </a:lnTo>
                      <a:lnTo>
                        <a:pt x="749" y="161"/>
                      </a:lnTo>
                      <a:lnTo>
                        <a:pt x="749" y="161"/>
                      </a:lnTo>
                      <a:lnTo>
                        <a:pt x="750" y="161"/>
                      </a:lnTo>
                      <a:lnTo>
                        <a:pt x="750" y="161"/>
                      </a:lnTo>
                      <a:lnTo>
                        <a:pt x="750" y="161"/>
                      </a:lnTo>
                      <a:lnTo>
                        <a:pt x="750" y="160"/>
                      </a:lnTo>
                      <a:lnTo>
                        <a:pt x="750" y="160"/>
                      </a:lnTo>
                      <a:lnTo>
                        <a:pt x="749" y="160"/>
                      </a:lnTo>
                      <a:lnTo>
                        <a:pt x="750" y="160"/>
                      </a:lnTo>
                      <a:lnTo>
                        <a:pt x="750" y="159"/>
                      </a:lnTo>
                      <a:lnTo>
                        <a:pt x="750" y="159"/>
                      </a:lnTo>
                      <a:lnTo>
                        <a:pt x="750" y="159"/>
                      </a:lnTo>
                      <a:lnTo>
                        <a:pt x="750" y="158"/>
                      </a:lnTo>
                      <a:lnTo>
                        <a:pt x="750" y="158"/>
                      </a:lnTo>
                      <a:lnTo>
                        <a:pt x="750" y="157"/>
                      </a:lnTo>
                      <a:lnTo>
                        <a:pt x="751" y="157"/>
                      </a:lnTo>
                      <a:lnTo>
                        <a:pt x="751" y="157"/>
                      </a:lnTo>
                      <a:lnTo>
                        <a:pt x="751" y="157"/>
                      </a:lnTo>
                      <a:lnTo>
                        <a:pt x="751" y="157"/>
                      </a:lnTo>
                      <a:lnTo>
                        <a:pt x="751" y="157"/>
                      </a:lnTo>
                      <a:lnTo>
                        <a:pt x="751" y="156"/>
                      </a:lnTo>
                      <a:lnTo>
                        <a:pt x="752" y="156"/>
                      </a:lnTo>
                      <a:lnTo>
                        <a:pt x="753" y="156"/>
                      </a:lnTo>
                      <a:lnTo>
                        <a:pt x="753" y="156"/>
                      </a:lnTo>
                      <a:lnTo>
                        <a:pt x="753" y="156"/>
                      </a:lnTo>
                      <a:lnTo>
                        <a:pt x="754" y="156"/>
                      </a:lnTo>
                      <a:lnTo>
                        <a:pt x="754" y="156"/>
                      </a:lnTo>
                      <a:lnTo>
                        <a:pt x="755" y="156"/>
                      </a:lnTo>
                      <a:lnTo>
                        <a:pt x="755" y="156"/>
                      </a:lnTo>
                      <a:lnTo>
                        <a:pt x="754" y="156"/>
                      </a:lnTo>
                      <a:lnTo>
                        <a:pt x="755" y="156"/>
                      </a:lnTo>
                      <a:lnTo>
                        <a:pt x="755" y="156"/>
                      </a:lnTo>
                      <a:lnTo>
                        <a:pt x="756" y="156"/>
                      </a:lnTo>
                      <a:lnTo>
                        <a:pt x="757" y="156"/>
                      </a:lnTo>
                      <a:lnTo>
                        <a:pt x="757" y="156"/>
                      </a:lnTo>
                      <a:lnTo>
                        <a:pt x="758" y="157"/>
                      </a:lnTo>
                      <a:lnTo>
                        <a:pt x="758" y="157"/>
                      </a:lnTo>
                      <a:lnTo>
                        <a:pt x="758" y="157"/>
                      </a:lnTo>
                      <a:lnTo>
                        <a:pt x="758" y="157"/>
                      </a:lnTo>
                      <a:lnTo>
                        <a:pt x="758" y="157"/>
                      </a:lnTo>
                      <a:lnTo>
                        <a:pt x="758" y="157"/>
                      </a:lnTo>
                      <a:lnTo>
                        <a:pt x="758" y="157"/>
                      </a:lnTo>
                      <a:lnTo>
                        <a:pt x="759" y="157"/>
                      </a:lnTo>
                      <a:lnTo>
                        <a:pt x="760" y="157"/>
                      </a:lnTo>
                      <a:lnTo>
                        <a:pt x="760" y="158"/>
                      </a:lnTo>
                      <a:lnTo>
                        <a:pt x="760" y="157"/>
                      </a:lnTo>
                      <a:lnTo>
                        <a:pt x="759" y="157"/>
                      </a:lnTo>
                      <a:lnTo>
                        <a:pt x="760" y="157"/>
                      </a:lnTo>
                      <a:lnTo>
                        <a:pt x="759" y="157"/>
                      </a:lnTo>
                      <a:lnTo>
                        <a:pt x="760" y="157"/>
                      </a:lnTo>
                      <a:lnTo>
                        <a:pt x="760" y="158"/>
                      </a:lnTo>
                      <a:lnTo>
                        <a:pt x="760" y="157"/>
                      </a:lnTo>
                      <a:lnTo>
                        <a:pt x="760" y="158"/>
                      </a:lnTo>
                      <a:lnTo>
                        <a:pt x="760" y="158"/>
                      </a:lnTo>
                      <a:lnTo>
                        <a:pt x="760" y="159"/>
                      </a:lnTo>
                      <a:lnTo>
                        <a:pt x="760" y="158"/>
                      </a:lnTo>
                      <a:lnTo>
                        <a:pt x="759" y="158"/>
                      </a:lnTo>
                      <a:lnTo>
                        <a:pt x="760" y="158"/>
                      </a:lnTo>
                      <a:lnTo>
                        <a:pt x="760" y="159"/>
                      </a:lnTo>
                      <a:lnTo>
                        <a:pt x="760" y="159"/>
                      </a:lnTo>
                      <a:lnTo>
                        <a:pt x="761" y="159"/>
                      </a:lnTo>
                      <a:lnTo>
                        <a:pt x="761" y="159"/>
                      </a:lnTo>
                      <a:lnTo>
                        <a:pt x="760" y="159"/>
                      </a:lnTo>
                      <a:lnTo>
                        <a:pt x="760" y="159"/>
                      </a:lnTo>
                      <a:lnTo>
                        <a:pt x="760" y="159"/>
                      </a:lnTo>
                      <a:lnTo>
                        <a:pt x="760" y="158"/>
                      </a:lnTo>
                      <a:lnTo>
                        <a:pt x="759" y="158"/>
                      </a:lnTo>
                      <a:lnTo>
                        <a:pt x="760" y="159"/>
                      </a:lnTo>
                      <a:lnTo>
                        <a:pt x="760" y="158"/>
                      </a:lnTo>
                      <a:lnTo>
                        <a:pt x="760" y="159"/>
                      </a:lnTo>
                      <a:lnTo>
                        <a:pt x="760" y="159"/>
                      </a:lnTo>
                      <a:lnTo>
                        <a:pt x="760" y="159"/>
                      </a:lnTo>
                      <a:lnTo>
                        <a:pt x="761" y="159"/>
                      </a:lnTo>
                      <a:lnTo>
                        <a:pt x="761" y="160"/>
                      </a:lnTo>
                      <a:lnTo>
                        <a:pt x="761" y="160"/>
                      </a:lnTo>
                      <a:lnTo>
                        <a:pt x="761" y="160"/>
                      </a:lnTo>
                      <a:lnTo>
                        <a:pt x="761" y="160"/>
                      </a:lnTo>
                      <a:lnTo>
                        <a:pt x="760" y="160"/>
                      </a:lnTo>
                      <a:lnTo>
                        <a:pt x="760" y="160"/>
                      </a:lnTo>
                      <a:lnTo>
                        <a:pt x="759" y="160"/>
                      </a:lnTo>
                      <a:lnTo>
                        <a:pt x="758" y="160"/>
                      </a:lnTo>
                      <a:lnTo>
                        <a:pt x="758" y="160"/>
                      </a:lnTo>
                      <a:lnTo>
                        <a:pt x="757" y="160"/>
                      </a:lnTo>
                      <a:lnTo>
                        <a:pt x="757" y="160"/>
                      </a:lnTo>
                      <a:lnTo>
                        <a:pt x="757" y="160"/>
                      </a:lnTo>
                      <a:lnTo>
                        <a:pt x="758" y="160"/>
                      </a:lnTo>
                      <a:lnTo>
                        <a:pt x="758" y="160"/>
                      </a:lnTo>
                      <a:lnTo>
                        <a:pt x="759" y="160"/>
                      </a:lnTo>
                      <a:lnTo>
                        <a:pt x="758" y="160"/>
                      </a:lnTo>
                      <a:lnTo>
                        <a:pt x="759" y="160"/>
                      </a:lnTo>
                      <a:lnTo>
                        <a:pt x="759" y="161"/>
                      </a:lnTo>
                      <a:lnTo>
                        <a:pt x="759" y="160"/>
                      </a:lnTo>
                      <a:lnTo>
                        <a:pt x="760" y="160"/>
                      </a:lnTo>
                      <a:lnTo>
                        <a:pt x="760" y="160"/>
                      </a:lnTo>
                      <a:lnTo>
                        <a:pt x="761" y="160"/>
                      </a:lnTo>
                      <a:lnTo>
                        <a:pt x="761" y="160"/>
                      </a:lnTo>
                      <a:lnTo>
                        <a:pt x="762" y="161"/>
                      </a:lnTo>
                      <a:lnTo>
                        <a:pt x="762" y="161"/>
                      </a:lnTo>
                      <a:lnTo>
                        <a:pt x="762" y="162"/>
                      </a:lnTo>
                      <a:lnTo>
                        <a:pt x="762" y="162"/>
                      </a:lnTo>
                      <a:lnTo>
                        <a:pt x="762" y="162"/>
                      </a:lnTo>
                      <a:lnTo>
                        <a:pt x="762" y="162"/>
                      </a:lnTo>
                      <a:lnTo>
                        <a:pt x="762" y="162"/>
                      </a:lnTo>
                      <a:lnTo>
                        <a:pt x="761" y="162"/>
                      </a:lnTo>
                      <a:lnTo>
                        <a:pt x="761" y="162"/>
                      </a:lnTo>
                      <a:lnTo>
                        <a:pt x="760" y="162"/>
                      </a:lnTo>
                      <a:lnTo>
                        <a:pt x="760" y="162"/>
                      </a:lnTo>
                      <a:lnTo>
                        <a:pt x="759" y="162"/>
                      </a:lnTo>
                      <a:lnTo>
                        <a:pt x="758" y="162"/>
                      </a:lnTo>
                      <a:lnTo>
                        <a:pt x="758" y="162"/>
                      </a:lnTo>
                      <a:lnTo>
                        <a:pt x="757" y="162"/>
                      </a:lnTo>
                      <a:lnTo>
                        <a:pt x="757" y="162"/>
                      </a:lnTo>
                      <a:lnTo>
                        <a:pt x="757" y="162"/>
                      </a:lnTo>
                      <a:lnTo>
                        <a:pt x="757" y="162"/>
                      </a:lnTo>
                      <a:lnTo>
                        <a:pt x="756" y="162"/>
                      </a:lnTo>
                      <a:lnTo>
                        <a:pt x="755" y="162"/>
                      </a:lnTo>
                      <a:lnTo>
                        <a:pt x="755" y="162"/>
                      </a:lnTo>
                      <a:lnTo>
                        <a:pt x="754" y="162"/>
                      </a:lnTo>
                      <a:lnTo>
                        <a:pt x="754" y="162"/>
                      </a:lnTo>
                      <a:lnTo>
                        <a:pt x="754" y="163"/>
                      </a:lnTo>
                      <a:lnTo>
                        <a:pt x="753" y="163"/>
                      </a:lnTo>
                      <a:lnTo>
                        <a:pt x="753" y="163"/>
                      </a:lnTo>
                      <a:lnTo>
                        <a:pt x="752" y="163"/>
                      </a:lnTo>
                      <a:lnTo>
                        <a:pt x="753" y="163"/>
                      </a:lnTo>
                      <a:lnTo>
                        <a:pt x="753" y="163"/>
                      </a:lnTo>
                      <a:lnTo>
                        <a:pt x="754" y="163"/>
                      </a:lnTo>
                      <a:lnTo>
                        <a:pt x="754" y="163"/>
                      </a:lnTo>
                      <a:lnTo>
                        <a:pt x="754" y="164"/>
                      </a:lnTo>
                      <a:lnTo>
                        <a:pt x="754" y="164"/>
                      </a:lnTo>
                      <a:lnTo>
                        <a:pt x="754" y="164"/>
                      </a:lnTo>
                      <a:lnTo>
                        <a:pt x="754" y="164"/>
                      </a:lnTo>
                      <a:lnTo>
                        <a:pt x="754" y="164"/>
                      </a:lnTo>
                      <a:lnTo>
                        <a:pt x="754" y="163"/>
                      </a:lnTo>
                      <a:lnTo>
                        <a:pt x="754" y="163"/>
                      </a:lnTo>
                      <a:lnTo>
                        <a:pt x="754" y="163"/>
                      </a:lnTo>
                      <a:lnTo>
                        <a:pt x="754" y="163"/>
                      </a:lnTo>
                      <a:lnTo>
                        <a:pt x="754" y="162"/>
                      </a:lnTo>
                      <a:lnTo>
                        <a:pt x="754" y="162"/>
                      </a:lnTo>
                      <a:lnTo>
                        <a:pt x="754" y="162"/>
                      </a:lnTo>
                      <a:lnTo>
                        <a:pt x="755" y="162"/>
                      </a:lnTo>
                      <a:lnTo>
                        <a:pt x="755" y="162"/>
                      </a:lnTo>
                      <a:lnTo>
                        <a:pt x="756" y="162"/>
                      </a:lnTo>
                      <a:lnTo>
                        <a:pt x="757" y="162"/>
                      </a:lnTo>
                      <a:lnTo>
                        <a:pt x="757" y="162"/>
                      </a:lnTo>
                      <a:lnTo>
                        <a:pt x="757" y="162"/>
                      </a:lnTo>
                      <a:lnTo>
                        <a:pt x="758" y="162"/>
                      </a:lnTo>
                      <a:lnTo>
                        <a:pt x="758" y="162"/>
                      </a:lnTo>
                      <a:lnTo>
                        <a:pt x="759" y="162"/>
                      </a:lnTo>
                      <a:lnTo>
                        <a:pt x="760" y="162"/>
                      </a:lnTo>
                      <a:lnTo>
                        <a:pt x="760" y="162"/>
                      </a:lnTo>
                      <a:lnTo>
                        <a:pt x="761" y="162"/>
                      </a:lnTo>
                      <a:lnTo>
                        <a:pt x="761" y="162"/>
                      </a:lnTo>
                      <a:lnTo>
                        <a:pt x="762" y="163"/>
                      </a:lnTo>
                      <a:lnTo>
                        <a:pt x="762" y="163"/>
                      </a:lnTo>
                      <a:lnTo>
                        <a:pt x="762" y="163"/>
                      </a:lnTo>
                      <a:lnTo>
                        <a:pt x="763" y="163"/>
                      </a:lnTo>
                      <a:lnTo>
                        <a:pt x="764" y="163"/>
                      </a:lnTo>
                      <a:lnTo>
                        <a:pt x="764" y="163"/>
                      </a:lnTo>
                      <a:lnTo>
                        <a:pt x="764" y="164"/>
                      </a:lnTo>
                      <a:lnTo>
                        <a:pt x="765" y="164"/>
                      </a:lnTo>
                      <a:lnTo>
                        <a:pt x="764" y="164"/>
                      </a:lnTo>
                      <a:lnTo>
                        <a:pt x="764" y="164"/>
                      </a:lnTo>
                      <a:lnTo>
                        <a:pt x="765" y="164"/>
                      </a:lnTo>
                      <a:lnTo>
                        <a:pt x="764" y="164"/>
                      </a:lnTo>
                      <a:lnTo>
                        <a:pt x="765" y="164"/>
                      </a:lnTo>
                      <a:lnTo>
                        <a:pt x="764" y="164"/>
                      </a:lnTo>
                      <a:lnTo>
                        <a:pt x="765" y="164"/>
                      </a:lnTo>
                      <a:lnTo>
                        <a:pt x="765" y="164"/>
                      </a:lnTo>
                      <a:lnTo>
                        <a:pt x="766" y="164"/>
                      </a:lnTo>
                      <a:lnTo>
                        <a:pt x="766" y="164"/>
                      </a:lnTo>
                      <a:lnTo>
                        <a:pt x="766" y="165"/>
                      </a:lnTo>
                      <a:lnTo>
                        <a:pt x="765" y="165"/>
                      </a:lnTo>
                      <a:lnTo>
                        <a:pt x="765" y="165"/>
                      </a:lnTo>
                      <a:lnTo>
                        <a:pt x="765" y="165"/>
                      </a:lnTo>
                      <a:lnTo>
                        <a:pt x="765" y="166"/>
                      </a:lnTo>
                      <a:lnTo>
                        <a:pt x="766" y="166"/>
                      </a:lnTo>
                      <a:lnTo>
                        <a:pt x="765" y="166"/>
                      </a:lnTo>
                      <a:lnTo>
                        <a:pt x="765" y="166"/>
                      </a:lnTo>
                      <a:lnTo>
                        <a:pt x="765" y="166"/>
                      </a:lnTo>
                      <a:lnTo>
                        <a:pt x="765" y="166"/>
                      </a:lnTo>
                      <a:lnTo>
                        <a:pt x="765" y="167"/>
                      </a:lnTo>
                      <a:lnTo>
                        <a:pt x="766" y="167"/>
                      </a:lnTo>
                      <a:lnTo>
                        <a:pt x="766" y="166"/>
                      </a:lnTo>
                      <a:lnTo>
                        <a:pt x="766" y="167"/>
                      </a:lnTo>
                      <a:lnTo>
                        <a:pt x="766" y="166"/>
                      </a:lnTo>
                      <a:lnTo>
                        <a:pt x="766" y="167"/>
                      </a:lnTo>
                      <a:lnTo>
                        <a:pt x="765" y="167"/>
                      </a:lnTo>
                      <a:lnTo>
                        <a:pt x="765" y="166"/>
                      </a:lnTo>
                      <a:lnTo>
                        <a:pt x="765" y="166"/>
                      </a:lnTo>
                      <a:lnTo>
                        <a:pt x="766" y="166"/>
                      </a:lnTo>
                      <a:lnTo>
                        <a:pt x="765" y="165"/>
                      </a:lnTo>
                      <a:lnTo>
                        <a:pt x="765" y="165"/>
                      </a:lnTo>
                      <a:lnTo>
                        <a:pt x="765" y="165"/>
                      </a:lnTo>
                      <a:lnTo>
                        <a:pt x="766" y="165"/>
                      </a:lnTo>
                      <a:lnTo>
                        <a:pt x="766" y="164"/>
                      </a:lnTo>
                      <a:lnTo>
                        <a:pt x="766" y="164"/>
                      </a:lnTo>
                      <a:lnTo>
                        <a:pt x="766" y="164"/>
                      </a:lnTo>
                      <a:lnTo>
                        <a:pt x="766" y="164"/>
                      </a:lnTo>
                      <a:lnTo>
                        <a:pt x="767" y="164"/>
                      </a:lnTo>
                      <a:lnTo>
                        <a:pt x="768" y="164"/>
                      </a:lnTo>
                      <a:lnTo>
                        <a:pt x="767" y="164"/>
                      </a:lnTo>
                      <a:lnTo>
                        <a:pt x="768" y="164"/>
                      </a:lnTo>
                      <a:lnTo>
                        <a:pt x="768" y="164"/>
                      </a:lnTo>
                      <a:lnTo>
                        <a:pt x="769" y="164"/>
                      </a:lnTo>
                      <a:lnTo>
                        <a:pt x="769" y="164"/>
                      </a:lnTo>
                      <a:lnTo>
                        <a:pt x="769" y="164"/>
                      </a:lnTo>
                      <a:lnTo>
                        <a:pt x="769" y="164"/>
                      </a:lnTo>
                      <a:lnTo>
                        <a:pt x="769" y="164"/>
                      </a:lnTo>
                      <a:lnTo>
                        <a:pt x="769" y="164"/>
                      </a:lnTo>
                      <a:lnTo>
                        <a:pt x="769" y="164"/>
                      </a:lnTo>
                      <a:lnTo>
                        <a:pt x="769" y="164"/>
                      </a:lnTo>
                      <a:lnTo>
                        <a:pt x="770" y="164"/>
                      </a:lnTo>
                      <a:lnTo>
                        <a:pt x="770" y="164"/>
                      </a:lnTo>
                      <a:lnTo>
                        <a:pt x="770" y="164"/>
                      </a:lnTo>
                      <a:lnTo>
                        <a:pt x="770" y="164"/>
                      </a:lnTo>
                      <a:lnTo>
                        <a:pt x="771" y="164"/>
                      </a:lnTo>
                      <a:lnTo>
                        <a:pt x="770" y="164"/>
                      </a:lnTo>
                      <a:lnTo>
                        <a:pt x="771" y="164"/>
                      </a:lnTo>
                      <a:lnTo>
                        <a:pt x="770" y="164"/>
                      </a:lnTo>
                      <a:lnTo>
                        <a:pt x="771" y="164"/>
                      </a:lnTo>
                      <a:lnTo>
                        <a:pt x="771" y="165"/>
                      </a:lnTo>
                      <a:lnTo>
                        <a:pt x="772" y="165"/>
                      </a:lnTo>
                      <a:lnTo>
                        <a:pt x="771" y="165"/>
                      </a:lnTo>
                      <a:lnTo>
                        <a:pt x="772" y="165"/>
                      </a:lnTo>
                      <a:lnTo>
                        <a:pt x="771" y="165"/>
                      </a:lnTo>
                      <a:lnTo>
                        <a:pt x="771" y="164"/>
                      </a:lnTo>
                      <a:lnTo>
                        <a:pt x="772" y="164"/>
                      </a:lnTo>
                      <a:lnTo>
                        <a:pt x="771" y="164"/>
                      </a:lnTo>
                      <a:lnTo>
                        <a:pt x="770" y="164"/>
                      </a:lnTo>
                      <a:lnTo>
                        <a:pt x="771" y="164"/>
                      </a:lnTo>
                      <a:lnTo>
                        <a:pt x="772" y="164"/>
                      </a:lnTo>
                      <a:lnTo>
                        <a:pt x="772" y="164"/>
                      </a:lnTo>
                      <a:lnTo>
                        <a:pt x="772" y="164"/>
                      </a:lnTo>
                      <a:lnTo>
                        <a:pt x="772" y="164"/>
                      </a:lnTo>
                      <a:lnTo>
                        <a:pt x="773" y="164"/>
                      </a:lnTo>
                      <a:lnTo>
                        <a:pt x="773" y="163"/>
                      </a:lnTo>
                      <a:lnTo>
                        <a:pt x="774" y="163"/>
                      </a:lnTo>
                      <a:lnTo>
                        <a:pt x="775" y="163"/>
                      </a:lnTo>
                      <a:lnTo>
                        <a:pt x="775" y="163"/>
                      </a:lnTo>
                      <a:lnTo>
                        <a:pt x="775" y="163"/>
                      </a:lnTo>
                      <a:lnTo>
                        <a:pt x="775" y="164"/>
                      </a:lnTo>
                      <a:lnTo>
                        <a:pt x="775" y="164"/>
                      </a:lnTo>
                      <a:lnTo>
                        <a:pt x="775" y="164"/>
                      </a:lnTo>
                      <a:lnTo>
                        <a:pt x="775" y="164"/>
                      </a:lnTo>
                      <a:lnTo>
                        <a:pt x="775" y="164"/>
                      </a:lnTo>
                      <a:lnTo>
                        <a:pt x="775" y="165"/>
                      </a:lnTo>
                      <a:lnTo>
                        <a:pt x="775" y="165"/>
                      </a:lnTo>
                      <a:lnTo>
                        <a:pt x="775" y="166"/>
                      </a:lnTo>
                      <a:lnTo>
                        <a:pt x="775" y="166"/>
                      </a:lnTo>
                      <a:lnTo>
                        <a:pt x="776" y="166"/>
                      </a:lnTo>
                      <a:lnTo>
                        <a:pt x="775" y="166"/>
                      </a:lnTo>
                      <a:lnTo>
                        <a:pt x="776" y="166"/>
                      </a:lnTo>
                      <a:lnTo>
                        <a:pt x="776" y="166"/>
                      </a:lnTo>
                      <a:lnTo>
                        <a:pt x="776" y="166"/>
                      </a:lnTo>
                      <a:lnTo>
                        <a:pt x="777" y="166"/>
                      </a:lnTo>
                      <a:lnTo>
                        <a:pt x="776" y="166"/>
                      </a:lnTo>
                      <a:lnTo>
                        <a:pt x="776" y="167"/>
                      </a:lnTo>
                      <a:lnTo>
                        <a:pt x="777" y="167"/>
                      </a:lnTo>
                      <a:lnTo>
                        <a:pt x="776" y="167"/>
                      </a:lnTo>
                      <a:lnTo>
                        <a:pt x="776" y="166"/>
                      </a:lnTo>
                      <a:lnTo>
                        <a:pt x="777" y="166"/>
                      </a:lnTo>
                      <a:lnTo>
                        <a:pt x="777" y="167"/>
                      </a:lnTo>
                      <a:lnTo>
                        <a:pt x="777" y="166"/>
                      </a:lnTo>
                      <a:lnTo>
                        <a:pt x="776" y="166"/>
                      </a:lnTo>
                      <a:lnTo>
                        <a:pt x="776" y="166"/>
                      </a:lnTo>
                      <a:lnTo>
                        <a:pt x="776" y="166"/>
                      </a:lnTo>
                      <a:lnTo>
                        <a:pt x="775" y="166"/>
                      </a:lnTo>
                      <a:lnTo>
                        <a:pt x="776" y="166"/>
                      </a:lnTo>
                      <a:lnTo>
                        <a:pt x="775" y="166"/>
                      </a:lnTo>
                      <a:lnTo>
                        <a:pt x="775" y="166"/>
                      </a:lnTo>
                      <a:lnTo>
                        <a:pt x="775" y="165"/>
                      </a:lnTo>
                      <a:lnTo>
                        <a:pt x="775" y="165"/>
                      </a:lnTo>
                      <a:lnTo>
                        <a:pt x="775" y="164"/>
                      </a:lnTo>
                      <a:lnTo>
                        <a:pt x="776" y="164"/>
                      </a:lnTo>
                      <a:lnTo>
                        <a:pt x="775" y="164"/>
                      </a:lnTo>
                      <a:lnTo>
                        <a:pt x="775" y="164"/>
                      </a:lnTo>
                      <a:lnTo>
                        <a:pt x="775" y="164"/>
                      </a:lnTo>
                      <a:lnTo>
                        <a:pt x="775" y="164"/>
                      </a:lnTo>
                      <a:lnTo>
                        <a:pt x="775" y="163"/>
                      </a:lnTo>
                      <a:lnTo>
                        <a:pt x="776" y="163"/>
                      </a:lnTo>
                      <a:lnTo>
                        <a:pt x="776" y="163"/>
                      </a:lnTo>
                      <a:lnTo>
                        <a:pt x="776" y="164"/>
                      </a:lnTo>
                      <a:lnTo>
                        <a:pt x="776" y="163"/>
                      </a:lnTo>
                      <a:lnTo>
                        <a:pt x="776" y="164"/>
                      </a:lnTo>
                      <a:lnTo>
                        <a:pt x="776" y="163"/>
                      </a:lnTo>
                      <a:lnTo>
                        <a:pt x="776" y="164"/>
                      </a:lnTo>
                      <a:lnTo>
                        <a:pt x="776" y="163"/>
                      </a:lnTo>
                      <a:lnTo>
                        <a:pt x="776" y="163"/>
                      </a:lnTo>
                      <a:lnTo>
                        <a:pt x="776" y="163"/>
                      </a:lnTo>
                      <a:lnTo>
                        <a:pt x="777" y="163"/>
                      </a:lnTo>
                      <a:lnTo>
                        <a:pt x="777" y="163"/>
                      </a:lnTo>
                      <a:lnTo>
                        <a:pt x="777" y="163"/>
                      </a:lnTo>
                      <a:lnTo>
                        <a:pt x="777" y="163"/>
                      </a:lnTo>
                      <a:lnTo>
                        <a:pt x="777" y="163"/>
                      </a:lnTo>
                      <a:lnTo>
                        <a:pt x="778" y="163"/>
                      </a:lnTo>
                      <a:lnTo>
                        <a:pt x="779" y="163"/>
                      </a:lnTo>
                      <a:lnTo>
                        <a:pt x="779" y="163"/>
                      </a:lnTo>
                      <a:lnTo>
                        <a:pt x="780" y="163"/>
                      </a:lnTo>
                      <a:lnTo>
                        <a:pt x="780" y="162"/>
                      </a:lnTo>
                      <a:lnTo>
                        <a:pt x="780" y="162"/>
                      </a:lnTo>
                      <a:lnTo>
                        <a:pt x="781" y="162"/>
                      </a:lnTo>
                      <a:lnTo>
                        <a:pt x="781" y="162"/>
                      </a:lnTo>
                      <a:lnTo>
                        <a:pt x="781" y="162"/>
                      </a:lnTo>
                      <a:lnTo>
                        <a:pt x="781" y="162"/>
                      </a:lnTo>
                      <a:lnTo>
                        <a:pt x="781" y="162"/>
                      </a:lnTo>
                      <a:lnTo>
                        <a:pt x="782" y="162"/>
                      </a:lnTo>
                      <a:lnTo>
                        <a:pt x="783" y="162"/>
                      </a:lnTo>
                      <a:lnTo>
                        <a:pt x="783" y="162"/>
                      </a:lnTo>
                      <a:lnTo>
                        <a:pt x="784" y="162"/>
                      </a:lnTo>
                      <a:lnTo>
                        <a:pt x="783" y="162"/>
                      </a:lnTo>
                      <a:lnTo>
                        <a:pt x="784" y="162"/>
                      </a:lnTo>
                      <a:lnTo>
                        <a:pt x="784" y="162"/>
                      </a:lnTo>
                      <a:lnTo>
                        <a:pt x="785" y="162"/>
                      </a:lnTo>
                      <a:lnTo>
                        <a:pt x="786" y="162"/>
                      </a:lnTo>
                      <a:lnTo>
                        <a:pt x="787" y="162"/>
                      </a:lnTo>
                      <a:lnTo>
                        <a:pt x="787" y="161"/>
                      </a:lnTo>
                      <a:lnTo>
                        <a:pt x="787" y="161"/>
                      </a:lnTo>
                      <a:lnTo>
                        <a:pt x="788" y="161"/>
                      </a:lnTo>
                      <a:lnTo>
                        <a:pt x="788" y="161"/>
                      </a:lnTo>
                      <a:lnTo>
                        <a:pt x="789" y="161"/>
                      </a:lnTo>
                      <a:lnTo>
                        <a:pt x="790" y="161"/>
                      </a:lnTo>
                      <a:lnTo>
                        <a:pt x="790" y="161"/>
                      </a:lnTo>
                      <a:lnTo>
                        <a:pt x="791" y="161"/>
                      </a:lnTo>
                      <a:lnTo>
                        <a:pt x="791" y="160"/>
                      </a:lnTo>
                      <a:lnTo>
                        <a:pt x="792" y="160"/>
                      </a:lnTo>
                      <a:lnTo>
                        <a:pt x="793" y="160"/>
                      </a:lnTo>
                      <a:lnTo>
                        <a:pt x="794" y="160"/>
                      </a:lnTo>
                      <a:lnTo>
                        <a:pt x="794" y="160"/>
                      </a:lnTo>
                      <a:lnTo>
                        <a:pt x="795" y="160"/>
                      </a:lnTo>
                      <a:lnTo>
                        <a:pt x="795" y="160"/>
                      </a:lnTo>
                      <a:lnTo>
                        <a:pt x="796" y="160"/>
                      </a:lnTo>
                      <a:lnTo>
                        <a:pt x="796" y="160"/>
                      </a:lnTo>
                      <a:lnTo>
                        <a:pt x="797" y="160"/>
                      </a:lnTo>
                      <a:lnTo>
                        <a:pt x="798" y="160"/>
                      </a:lnTo>
                      <a:lnTo>
                        <a:pt x="798" y="160"/>
                      </a:lnTo>
                      <a:lnTo>
                        <a:pt x="798" y="161"/>
                      </a:lnTo>
                      <a:lnTo>
                        <a:pt x="798" y="162"/>
                      </a:lnTo>
                      <a:lnTo>
                        <a:pt x="798" y="161"/>
                      </a:lnTo>
                      <a:lnTo>
                        <a:pt x="799" y="162"/>
                      </a:lnTo>
                      <a:lnTo>
                        <a:pt x="798" y="162"/>
                      </a:lnTo>
                      <a:lnTo>
                        <a:pt x="798" y="162"/>
                      </a:lnTo>
                      <a:lnTo>
                        <a:pt x="798" y="162"/>
                      </a:lnTo>
                      <a:lnTo>
                        <a:pt x="798" y="162"/>
                      </a:lnTo>
                      <a:lnTo>
                        <a:pt x="799" y="162"/>
                      </a:lnTo>
                      <a:lnTo>
                        <a:pt x="798" y="162"/>
                      </a:lnTo>
                      <a:lnTo>
                        <a:pt x="799" y="162"/>
                      </a:lnTo>
                      <a:lnTo>
                        <a:pt x="799" y="163"/>
                      </a:lnTo>
                      <a:lnTo>
                        <a:pt x="799" y="163"/>
                      </a:lnTo>
                      <a:lnTo>
                        <a:pt x="799" y="164"/>
                      </a:lnTo>
                      <a:lnTo>
                        <a:pt x="799" y="164"/>
                      </a:lnTo>
                      <a:lnTo>
                        <a:pt x="799" y="164"/>
                      </a:lnTo>
                      <a:lnTo>
                        <a:pt x="799" y="164"/>
                      </a:lnTo>
                      <a:lnTo>
                        <a:pt x="799" y="164"/>
                      </a:lnTo>
                      <a:lnTo>
                        <a:pt x="799" y="164"/>
                      </a:lnTo>
                      <a:lnTo>
                        <a:pt x="799" y="164"/>
                      </a:lnTo>
                      <a:lnTo>
                        <a:pt x="799" y="165"/>
                      </a:lnTo>
                      <a:lnTo>
                        <a:pt x="799" y="165"/>
                      </a:lnTo>
                      <a:lnTo>
                        <a:pt x="799" y="166"/>
                      </a:lnTo>
                      <a:lnTo>
                        <a:pt x="799" y="165"/>
                      </a:lnTo>
                      <a:lnTo>
                        <a:pt x="799" y="165"/>
                      </a:lnTo>
                      <a:lnTo>
                        <a:pt x="799" y="164"/>
                      </a:lnTo>
                      <a:lnTo>
                        <a:pt x="799" y="164"/>
                      </a:lnTo>
                      <a:lnTo>
                        <a:pt x="799" y="164"/>
                      </a:lnTo>
                      <a:lnTo>
                        <a:pt x="799" y="164"/>
                      </a:lnTo>
                      <a:lnTo>
                        <a:pt x="799" y="164"/>
                      </a:lnTo>
                      <a:lnTo>
                        <a:pt x="799" y="163"/>
                      </a:lnTo>
                      <a:lnTo>
                        <a:pt x="799" y="163"/>
                      </a:lnTo>
                      <a:lnTo>
                        <a:pt x="799" y="163"/>
                      </a:lnTo>
                      <a:lnTo>
                        <a:pt x="799" y="163"/>
                      </a:lnTo>
                      <a:lnTo>
                        <a:pt x="799" y="163"/>
                      </a:lnTo>
                      <a:lnTo>
                        <a:pt x="799" y="162"/>
                      </a:lnTo>
                      <a:lnTo>
                        <a:pt x="798" y="162"/>
                      </a:lnTo>
                      <a:lnTo>
                        <a:pt x="798" y="162"/>
                      </a:lnTo>
                      <a:lnTo>
                        <a:pt x="799" y="162"/>
                      </a:lnTo>
                      <a:lnTo>
                        <a:pt x="799" y="161"/>
                      </a:lnTo>
                      <a:lnTo>
                        <a:pt x="798" y="161"/>
                      </a:lnTo>
                      <a:lnTo>
                        <a:pt x="798" y="160"/>
                      </a:lnTo>
                      <a:lnTo>
                        <a:pt x="799" y="160"/>
                      </a:lnTo>
                      <a:lnTo>
                        <a:pt x="799" y="160"/>
                      </a:lnTo>
                      <a:lnTo>
                        <a:pt x="800" y="160"/>
                      </a:lnTo>
                      <a:lnTo>
                        <a:pt x="801" y="160"/>
                      </a:lnTo>
                      <a:lnTo>
                        <a:pt x="800" y="160"/>
                      </a:lnTo>
                      <a:lnTo>
                        <a:pt x="801" y="160"/>
                      </a:lnTo>
                      <a:lnTo>
                        <a:pt x="801" y="160"/>
                      </a:lnTo>
                      <a:lnTo>
                        <a:pt x="801" y="160"/>
                      </a:lnTo>
                      <a:lnTo>
                        <a:pt x="801" y="160"/>
                      </a:lnTo>
                      <a:lnTo>
                        <a:pt x="802" y="160"/>
                      </a:lnTo>
                      <a:lnTo>
                        <a:pt x="802" y="160"/>
                      </a:lnTo>
                      <a:lnTo>
                        <a:pt x="803" y="160"/>
                      </a:lnTo>
                      <a:lnTo>
                        <a:pt x="803" y="160"/>
                      </a:lnTo>
                      <a:lnTo>
                        <a:pt x="803" y="160"/>
                      </a:lnTo>
                      <a:lnTo>
                        <a:pt x="803" y="160"/>
                      </a:lnTo>
                      <a:lnTo>
                        <a:pt x="803" y="161"/>
                      </a:lnTo>
                      <a:lnTo>
                        <a:pt x="804" y="161"/>
                      </a:lnTo>
                      <a:lnTo>
                        <a:pt x="804" y="160"/>
                      </a:lnTo>
                      <a:lnTo>
                        <a:pt x="804" y="161"/>
                      </a:lnTo>
                      <a:lnTo>
                        <a:pt x="804" y="160"/>
                      </a:lnTo>
                      <a:lnTo>
                        <a:pt x="804" y="161"/>
                      </a:lnTo>
                      <a:lnTo>
                        <a:pt x="804" y="160"/>
                      </a:lnTo>
                      <a:lnTo>
                        <a:pt x="804" y="161"/>
                      </a:lnTo>
                      <a:lnTo>
                        <a:pt x="805" y="161"/>
                      </a:lnTo>
                      <a:lnTo>
                        <a:pt x="804" y="160"/>
                      </a:lnTo>
                      <a:lnTo>
                        <a:pt x="805" y="160"/>
                      </a:lnTo>
                      <a:lnTo>
                        <a:pt x="805" y="161"/>
                      </a:lnTo>
                      <a:lnTo>
                        <a:pt x="805" y="160"/>
                      </a:lnTo>
                      <a:lnTo>
                        <a:pt x="805" y="161"/>
                      </a:lnTo>
                      <a:lnTo>
                        <a:pt x="805" y="160"/>
                      </a:lnTo>
                      <a:lnTo>
                        <a:pt x="805" y="161"/>
                      </a:lnTo>
                      <a:lnTo>
                        <a:pt x="805" y="161"/>
                      </a:lnTo>
                      <a:lnTo>
                        <a:pt x="806" y="161"/>
                      </a:lnTo>
                      <a:lnTo>
                        <a:pt x="805" y="161"/>
                      </a:lnTo>
                      <a:lnTo>
                        <a:pt x="806" y="161"/>
                      </a:lnTo>
                      <a:lnTo>
                        <a:pt x="806" y="161"/>
                      </a:lnTo>
                      <a:lnTo>
                        <a:pt x="807" y="161"/>
                      </a:lnTo>
                      <a:lnTo>
                        <a:pt x="807" y="161"/>
                      </a:lnTo>
                      <a:lnTo>
                        <a:pt x="808" y="161"/>
                      </a:lnTo>
                      <a:lnTo>
                        <a:pt x="809" y="161"/>
                      </a:lnTo>
                      <a:lnTo>
                        <a:pt x="809" y="162"/>
                      </a:lnTo>
                      <a:lnTo>
                        <a:pt x="809" y="161"/>
                      </a:lnTo>
                      <a:lnTo>
                        <a:pt x="809" y="161"/>
                      </a:lnTo>
                      <a:lnTo>
                        <a:pt x="809" y="162"/>
                      </a:lnTo>
                      <a:lnTo>
                        <a:pt x="809" y="161"/>
                      </a:lnTo>
                      <a:lnTo>
                        <a:pt x="810" y="162"/>
                      </a:lnTo>
                      <a:lnTo>
                        <a:pt x="809" y="162"/>
                      </a:lnTo>
                      <a:lnTo>
                        <a:pt x="810" y="162"/>
                      </a:lnTo>
                      <a:lnTo>
                        <a:pt x="810" y="162"/>
                      </a:lnTo>
                      <a:lnTo>
                        <a:pt x="811" y="162"/>
                      </a:lnTo>
                      <a:lnTo>
                        <a:pt x="811" y="162"/>
                      </a:lnTo>
                      <a:lnTo>
                        <a:pt x="812" y="162"/>
                      </a:lnTo>
                      <a:lnTo>
                        <a:pt x="812" y="162"/>
                      </a:lnTo>
                      <a:lnTo>
                        <a:pt x="813" y="162"/>
                      </a:lnTo>
                      <a:lnTo>
                        <a:pt x="813" y="162"/>
                      </a:lnTo>
                      <a:lnTo>
                        <a:pt x="814" y="162"/>
                      </a:lnTo>
                      <a:lnTo>
                        <a:pt x="813" y="162"/>
                      </a:lnTo>
                      <a:lnTo>
                        <a:pt x="814" y="162"/>
                      </a:lnTo>
                      <a:lnTo>
                        <a:pt x="814" y="163"/>
                      </a:lnTo>
                      <a:lnTo>
                        <a:pt x="814" y="163"/>
                      </a:lnTo>
                      <a:lnTo>
                        <a:pt x="814" y="162"/>
                      </a:lnTo>
                      <a:lnTo>
                        <a:pt x="814" y="163"/>
                      </a:lnTo>
                      <a:lnTo>
                        <a:pt x="814" y="163"/>
                      </a:lnTo>
                      <a:lnTo>
                        <a:pt x="813" y="163"/>
                      </a:lnTo>
                      <a:lnTo>
                        <a:pt x="814" y="163"/>
                      </a:lnTo>
                      <a:lnTo>
                        <a:pt x="814" y="162"/>
                      </a:lnTo>
                      <a:lnTo>
                        <a:pt x="814" y="163"/>
                      </a:lnTo>
                      <a:lnTo>
                        <a:pt x="814" y="162"/>
                      </a:lnTo>
                      <a:lnTo>
                        <a:pt x="814" y="163"/>
                      </a:lnTo>
                      <a:lnTo>
                        <a:pt x="813" y="163"/>
                      </a:lnTo>
                      <a:lnTo>
                        <a:pt x="813" y="163"/>
                      </a:lnTo>
                      <a:lnTo>
                        <a:pt x="813" y="163"/>
                      </a:lnTo>
                      <a:lnTo>
                        <a:pt x="813" y="164"/>
                      </a:lnTo>
                      <a:lnTo>
                        <a:pt x="812" y="164"/>
                      </a:lnTo>
                      <a:lnTo>
                        <a:pt x="811" y="164"/>
                      </a:lnTo>
                      <a:lnTo>
                        <a:pt x="811" y="164"/>
                      </a:lnTo>
                      <a:lnTo>
                        <a:pt x="810" y="164"/>
                      </a:lnTo>
                      <a:lnTo>
                        <a:pt x="810" y="164"/>
                      </a:lnTo>
                      <a:lnTo>
                        <a:pt x="811" y="164"/>
                      </a:lnTo>
                      <a:lnTo>
                        <a:pt x="810" y="164"/>
                      </a:lnTo>
                      <a:lnTo>
                        <a:pt x="811" y="164"/>
                      </a:lnTo>
                      <a:lnTo>
                        <a:pt x="811" y="165"/>
                      </a:lnTo>
                      <a:lnTo>
                        <a:pt x="811" y="165"/>
                      </a:lnTo>
                      <a:lnTo>
                        <a:pt x="811" y="165"/>
                      </a:lnTo>
                      <a:lnTo>
                        <a:pt x="811" y="166"/>
                      </a:lnTo>
                      <a:lnTo>
                        <a:pt x="811" y="166"/>
                      </a:lnTo>
                      <a:lnTo>
                        <a:pt x="811" y="166"/>
                      </a:lnTo>
                      <a:lnTo>
                        <a:pt x="811" y="166"/>
                      </a:lnTo>
                      <a:lnTo>
                        <a:pt x="811" y="166"/>
                      </a:lnTo>
                      <a:lnTo>
                        <a:pt x="811" y="166"/>
                      </a:lnTo>
                      <a:lnTo>
                        <a:pt x="810" y="166"/>
                      </a:lnTo>
                      <a:lnTo>
                        <a:pt x="811" y="166"/>
                      </a:lnTo>
                      <a:lnTo>
                        <a:pt x="810" y="166"/>
                      </a:lnTo>
                      <a:lnTo>
                        <a:pt x="811" y="166"/>
                      </a:lnTo>
                      <a:lnTo>
                        <a:pt x="811" y="167"/>
                      </a:lnTo>
                      <a:lnTo>
                        <a:pt x="810" y="167"/>
                      </a:lnTo>
                      <a:lnTo>
                        <a:pt x="811" y="167"/>
                      </a:lnTo>
                      <a:lnTo>
                        <a:pt x="810" y="167"/>
                      </a:lnTo>
                      <a:lnTo>
                        <a:pt x="810" y="167"/>
                      </a:lnTo>
                      <a:lnTo>
                        <a:pt x="810" y="167"/>
                      </a:lnTo>
                      <a:lnTo>
                        <a:pt x="810" y="167"/>
                      </a:lnTo>
                      <a:lnTo>
                        <a:pt x="810" y="168"/>
                      </a:lnTo>
                      <a:lnTo>
                        <a:pt x="810" y="168"/>
                      </a:lnTo>
                      <a:lnTo>
                        <a:pt x="810" y="168"/>
                      </a:lnTo>
                      <a:lnTo>
                        <a:pt x="810" y="168"/>
                      </a:lnTo>
                      <a:lnTo>
                        <a:pt x="810" y="168"/>
                      </a:lnTo>
                      <a:lnTo>
                        <a:pt x="810" y="167"/>
                      </a:lnTo>
                      <a:lnTo>
                        <a:pt x="810" y="167"/>
                      </a:lnTo>
                      <a:lnTo>
                        <a:pt x="811" y="167"/>
                      </a:lnTo>
                      <a:lnTo>
                        <a:pt x="810" y="167"/>
                      </a:lnTo>
                      <a:lnTo>
                        <a:pt x="811" y="167"/>
                      </a:lnTo>
                      <a:lnTo>
                        <a:pt x="811" y="167"/>
                      </a:lnTo>
                      <a:lnTo>
                        <a:pt x="811" y="166"/>
                      </a:lnTo>
                      <a:lnTo>
                        <a:pt x="811" y="166"/>
                      </a:lnTo>
                      <a:lnTo>
                        <a:pt x="811" y="166"/>
                      </a:lnTo>
                      <a:lnTo>
                        <a:pt x="811" y="166"/>
                      </a:lnTo>
                      <a:lnTo>
                        <a:pt x="811" y="165"/>
                      </a:lnTo>
                      <a:lnTo>
                        <a:pt x="811" y="165"/>
                      </a:lnTo>
                      <a:lnTo>
                        <a:pt x="811" y="164"/>
                      </a:lnTo>
                      <a:lnTo>
                        <a:pt x="811" y="164"/>
                      </a:lnTo>
                      <a:lnTo>
                        <a:pt x="811" y="164"/>
                      </a:lnTo>
                      <a:lnTo>
                        <a:pt x="812" y="164"/>
                      </a:lnTo>
                      <a:lnTo>
                        <a:pt x="813" y="164"/>
                      </a:lnTo>
                      <a:lnTo>
                        <a:pt x="813" y="163"/>
                      </a:lnTo>
                      <a:lnTo>
                        <a:pt x="813" y="163"/>
                      </a:lnTo>
                      <a:lnTo>
                        <a:pt x="813" y="163"/>
                      </a:lnTo>
                      <a:lnTo>
                        <a:pt x="814" y="163"/>
                      </a:lnTo>
                      <a:lnTo>
                        <a:pt x="814" y="163"/>
                      </a:lnTo>
                      <a:lnTo>
                        <a:pt x="814" y="163"/>
                      </a:lnTo>
                      <a:lnTo>
                        <a:pt x="814" y="163"/>
                      </a:lnTo>
                      <a:lnTo>
                        <a:pt x="815" y="163"/>
                      </a:lnTo>
                      <a:lnTo>
                        <a:pt x="816" y="163"/>
                      </a:lnTo>
                      <a:lnTo>
                        <a:pt x="816" y="163"/>
                      </a:lnTo>
                      <a:lnTo>
                        <a:pt x="816" y="163"/>
                      </a:lnTo>
                      <a:lnTo>
                        <a:pt x="817" y="163"/>
                      </a:lnTo>
                      <a:lnTo>
                        <a:pt x="817" y="163"/>
                      </a:lnTo>
                      <a:lnTo>
                        <a:pt x="818" y="163"/>
                      </a:lnTo>
                      <a:lnTo>
                        <a:pt x="818" y="164"/>
                      </a:lnTo>
                      <a:lnTo>
                        <a:pt x="818" y="164"/>
                      </a:lnTo>
                      <a:lnTo>
                        <a:pt x="819" y="164"/>
                      </a:lnTo>
                      <a:lnTo>
                        <a:pt x="819" y="164"/>
                      </a:lnTo>
                      <a:lnTo>
                        <a:pt x="820" y="164"/>
                      </a:lnTo>
                      <a:lnTo>
                        <a:pt x="820" y="165"/>
                      </a:lnTo>
                      <a:lnTo>
                        <a:pt x="821" y="165"/>
                      </a:lnTo>
                      <a:lnTo>
                        <a:pt x="821" y="165"/>
                      </a:lnTo>
                      <a:lnTo>
                        <a:pt x="821" y="166"/>
                      </a:lnTo>
                      <a:lnTo>
                        <a:pt x="822" y="166"/>
                      </a:lnTo>
                      <a:lnTo>
                        <a:pt x="822" y="166"/>
                      </a:lnTo>
                      <a:lnTo>
                        <a:pt x="823" y="166"/>
                      </a:lnTo>
                      <a:lnTo>
                        <a:pt x="823" y="167"/>
                      </a:lnTo>
                      <a:lnTo>
                        <a:pt x="824" y="167"/>
                      </a:lnTo>
                      <a:lnTo>
                        <a:pt x="824" y="167"/>
                      </a:lnTo>
                      <a:lnTo>
                        <a:pt x="824" y="167"/>
                      </a:lnTo>
                      <a:lnTo>
                        <a:pt x="824" y="168"/>
                      </a:lnTo>
                      <a:lnTo>
                        <a:pt x="825" y="168"/>
                      </a:lnTo>
                      <a:lnTo>
                        <a:pt x="825" y="168"/>
                      </a:lnTo>
                      <a:lnTo>
                        <a:pt x="825" y="169"/>
                      </a:lnTo>
                      <a:lnTo>
                        <a:pt x="825" y="169"/>
                      </a:lnTo>
                      <a:lnTo>
                        <a:pt x="825" y="170"/>
                      </a:lnTo>
                      <a:lnTo>
                        <a:pt x="825" y="170"/>
                      </a:lnTo>
                      <a:lnTo>
                        <a:pt x="826" y="170"/>
                      </a:lnTo>
                      <a:lnTo>
                        <a:pt x="826" y="171"/>
                      </a:lnTo>
                      <a:lnTo>
                        <a:pt x="826" y="171"/>
                      </a:lnTo>
                      <a:lnTo>
                        <a:pt x="827" y="171"/>
                      </a:lnTo>
                      <a:lnTo>
                        <a:pt x="827" y="172"/>
                      </a:lnTo>
                      <a:lnTo>
                        <a:pt x="827" y="173"/>
                      </a:lnTo>
                      <a:lnTo>
                        <a:pt x="826" y="173"/>
                      </a:lnTo>
                      <a:lnTo>
                        <a:pt x="826" y="173"/>
                      </a:lnTo>
                      <a:lnTo>
                        <a:pt x="825" y="173"/>
                      </a:lnTo>
                      <a:lnTo>
                        <a:pt x="825" y="174"/>
                      </a:lnTo>
                      <a:lnTo>
                        <a:pt x="825" y="174"/>
                      </a:lnTo>
                      <a:lnTo>
                        <a:pt x="825" y="174"/>
                      </a:lnTo>
                      <a:lnTo>
                        <a:pt x="824" y="174"/>
                      </a:lnTo>
                      <a:lnTo>
                        <a:pt x="825" y="174"/>
                      </a:lnTo>
                      <a:lnTo>
                        <a:pt x="824" y="174"/>
                      </a:lnTo>
                      <a:lnTo>
                        <a:pt x="824" y="174"/>
                      </a:lnTo>
                      <a:lnTo>
                        <a:pt x="823" y="174"/>
                      </a:lnTo>
                      <a:lnTo>
                        <a:pt x="824" y="174"/>
                      </a:lnTo>
                      <a:lnTo>
                        <a:pt x="823" y="174"/>
                      </a:lnTo>
                      <a:lnTo>
                        <a:pt x="822" y="174"/>
                      </a:lnTo>
                      <a:lnTo>
                        <a:pt x="822" y="175"/>
                      </a:lnTo>
                      <a:lnTo>
                        <a:pt x="822" y="175"/>
                      </a:lnTo>
                      <a:lnTo>
                        <a:pt x="822" y="174"/>
                      </a:lnTo>
                      <a:lnTo>
                        <a:pt x="822" y="175"/>
                      </a:lnTo>
                      <a:lnTo>
                        <a:pt x="821" y="175"/>
                      </a:lnTo>
                      <a:lnTo>
                        <a:pt x="821" y="175"/>
                      </a:lnTo>
                      <a:lnTo>
                        <a:pt x="821" y="175"/>
                      </a:lnTo>
                      <a:lnTo>
                        <a:pt x="820" y="175"/>
                      </a:lnTo>
                      <a:lnTo>
                        <a:pt x="821" y="175"/>
                      </a:lnTo>
                      <a:lnTo>
                        <a:pt x="821" y="176"/>
                      </a:lnTo>
                      <a:lnTo>
                        <a:pt x="820" y="176"/>
                      </a:lnTo>
                      <a:lnTo>
                        <a:pt x="820" y="176"/>
                      </a:lnTo>
                      <a:lnTo>
                        <a:pt x="819" y="176"/>
                      </a:lnTo>
                      <a:lnTo>
                        <a:pt x="819" y="177"/>
                      </a:lnTo>
                      <a:lnTo>
                        <a:pt x="819" y="176"/>
                      </a:lnTo>
                      <a:lnTo>
                        <a:pt x="818" y="176"/>
                      </a:lnTo>
                      <a:lnTo>
                        <a:pt x="818" y="177"/>
                      </a:lnTo>
                      <a:lnTo>
                        <a:pt x="818" y="176"/>
                      </a:lnTo>
                      <a:lnTo>
                        <a:pt x="819" y="176"/>
                      </a:lnTo>
                      <a:lnTo>
                        <a:pt x="819" y="177"/>
                      </a:lnTo>
                      <a:lnTo>
                        <a:pt x="820" y="177"/>
                      </a:lnTo>
                      <a:lnTo>
                        <a:pt x="820" y="176"/>
                      </a:lnTo>
                      <a:lnTo>
                        <a:pt x="820" y="176"/>
                      </a:lnTo>
                      <a:lnTo>
                        <a:pt x="821" y="176"/>
                      </a:lnTo>
                      <a:lnTo>
                        <a:pt x="821" y="175"/>
                      </a:lnTo>
                      <a:lnTo>
                        <a:pt x="820" y="175"/>
                      </a:lnTo>
                      <a:lnTo>
                        <a:pt x="821" y="175"/>
                      </a:lnTo>
                      <a:lnTo>
                        <a:pt x="821" y="175"/>
                      </a:lnTo>
                      <a:lnTo>
                        <a:pt x="821" y="175"/>
                      </a:lnTo>
                      <a:lnTo>
                        <a:pt x="822" y="175"/>
                      </a:lnTo>
                      <a:lnTo>
                        <a:pt x="822" y="174"/>
                      </a:lnTo>
                      <a:lnTo>
                        <a:pt x="822" y="175"/>
                      </a:lnTo>
                      <a:lnTo>
                        <a:pt x="822" y="175"/>
                      </a:lnTo>
                      <a:lnTo>
                        <a:pt x="822" y="174"/>
                      </a:lnTo>
                      <a:lnTo>
                        <a:pt x="823" y="174"/>
                      </a:lnTo>
                      <a:lnTo>
                        <a:pt x="823" y="175"/>
                      </a:lnTo>
                      <a:lnTo>
                        <a:pt x="823" y="174"/>
                      </a:lnTo>
                      <a:lnTo>
                        <a:pt x="824" y="174"/>
                      </a:lnTo>
                      <a:lnTo>
                        <a:pt x="824" y="175"/>
                      </a:lnTo>
                      <a:lnTo>
                        <a:pt x="824" y="174"/>
                      </a:lnTo>
                      <a:lnTo>
                        <a:pt x="824" y="175"/>
                      </a:lnTo>
                      <a:lnTo>
                        <a:pt x="824" y="175"/>
                      </a:lnTo>
                      <a:lnTo>
                        <a:pt x="825" y="175"/>
                      </a:lnTo>
                      <a:lnTo>
                        <a:pt x="825" y="175"/>
                      </a:lnTo>
                      <a:lnTo>
                        <a:pt x="825" y="175"/>
                      </a:lnTo>
                      <a:lnTo>
                        <a:pt x="825" y="176"/>
                      </a:lnTo>
                      <a:lnTo>
                        <a:pt x="825" y="175"/>
                      </a:lnTo>
                      <a:lnTo>
                        <a:pt x="825" y="176"/>
                      </a:lnTo>
                      <a:lnTo>
                        <a:pt x="824" y="176"/>
                      </a:lnTo>
                      <a:lnTo>
                        <a:pt x="825" y="176"/>
                      </a:lnTo>
                      <a:lnTo>
                        <a:pt x="824" y="177"/>
                      </a:lnTo>
                      <a:lnTo>
                        <a:pt x="824" y="177"/>
                      </a:lnTo>
                      <a:lnTo>
                        <a:pt x="824" y="177"/>
                      </a:lnTo>
                      <a:lnTo>
                        <a:pt x="824" y="178"/>
                      </a:lnTo>
                      <a:lnTo>
                        <a:pt x="824" y="177"/>
                      </a:lnTo>
                      <a:lnTo>
                        <a:pt x="823" y="177"/>
                      </a:lnTo>
                      <a:lnTo>
                        <a:pt x="823" y="178"/>
                      </a:lnTo>
                      <a:lnTo>
                        <a:pt x="823" y="178"/>
                      </a:lnTo>
                      <a:lnTo>
                        <a:pt x="824" y="178"/>
                      </a:lnTo>
                      <a:lnTo>
                        <a:pt x="823" y="178"/>
                      </a:lnTo>
                      <a:lnTo>
                        <a:pt x="824" y="178"/>
                      </a:lnTo>
                      <a:lnTo>
                        <a:pt x="823" y="178"/>
                      </a:lnTo>
                      <a:lnTo>
                        <a:pt x="824" y="178"/>
                      </a:lnTo>
                      <a:lnTo>
                        <a:pt x="824" y="179"/>
                      </a:lnTo>
                      <a:lnTo>
                        <a:pt x="824" y="179"/>
                      </a:lnTo>
                      <a:lnTo>
                        <a:pt x="824" y="179"/>
                      </a:lnTo>
                      <a:lnTo>
                        <a:pt x="823" y="179"/>
                      </a:lnTo>
                      <a:lnTo>
                        <a:pt x="823" y="178"/>
                      </a:lnTo>
                      <a:lnTo>
                        <a:pt x="822" y="178"/>
                      </a:lnTo>
                      <a:lnTo>
                        <a:pt x="822" y="178"/>
                      </a:lnTo>
                      <a:lnTo>
                        <a:pt x="822" y="178"/>
                      </a:lnTo>
                      <a:lnTo>
                        <a:pt x="823" y="178"/>
                      </a:lnTo>
                      <a:lnTo>
                        <a:pt x="823" y="179"/>
                      </a:lnTo>
                      <a:lnTo>
                        <a:pt x="823" y="178"/>
                      </a:lnTo>
                      <a:lnTo>
                        <a:pt x="823" y="179"/>
                      </a:lnTo>
                      <a:lnTo>
                        <a:pt x="824" y="179"/>
                      </a:lnTo>
                      <a:lnTo>
                        <a:pt x="824" y="179"/>
                      </a:lnTo>
                      <a:lnTo>
                        <a:pt x="824" y="179"/>
                      </a:lnTo>
                      <a:lnTo>
                        <a:pt x="824" y="179"/>
                      </a:lnTo>
                      <a:lnTo>
                        <a:pt x="824" y="179"/>
                      </a:lnTo>
                      <a:lnTo>
                        <a:pt x="824" y="179"/>
                      </a:lnTo>
                      <a:lnTo>
                        <a:pt x="824" y="179"/>
                      </a:lnTo>
                      <a:lnTo>
                        <a:pt x="824" y="179"/>
                      </a:lnTo>
                      <a:lnTo>
                        <a:pt x="824" y="180"/>
                      </a:lnTo>
                      <a:lnTo>
                        <a:pt x="824" y="181"/>
                      </a:lnTo>
                      <a:lnTo>
                        <a:pt x="823" y="181"/>
                      </a:lnTo>
                      <a:lnTo>
                        <a:pt x="823" y="181"/>
                      </a:lnTo>
                      <a:lnTo>
                        <a:pt x="822" y="181"/>
                      </a:lnTo>
                      <a:lnTo>
                        <a:pt x="822" y="181"/>
                      </a:lnTo>
                      <a:lnTo>
                        <a:pt x="822" y="181"/>
                      </a:lnTo>
                      <a:lnTo>
                        <a:pt x="821" y="181"/>
                      </a:lnTo>
                      <a:lnTo>
                        <a:pt x="821" y="181"/>
                      </a:lnTo>
                      <a:lnTo>
                        <a:pt x="821" y="182"/>
                      </a:lnTo>
                      <a:lnTo>
                        <a:pt x="821" y="182"/>
                      </a:lnTo>
                      <a:lnTo>
                        <a:pt x="820" y="182"/>
                      </a:lnTo>
                      <a:lnTo>
                        <a:pt x="820" y="182"/>
                      </a:lnTo>
                      <a:lnTo>
                        <a:pt x="820" y="182"/>
                      </a:lnTo>
                      <a:lnTo>
                        <a:pt x="820" y="182"/>
                      </a:lnTo>
                      <a:lnTo>
                        <a:pt x="820" y="182"/>
                      </a:lnTo>
                      <a:lnTo>
                        <a:pt x="819" y="182"/>
                      </a:lnTo>
                      <a:lnTo>
                        <a:pt x="818" y="182"/>
                      </a:lnTo>
                      <a:lnTo>
                        <a:pt x="819" y="182"/>
                      </a:lnTo>
                      <a:lnTo>
                        <a:pt x="818" y="183"/>
                      </a:lnTo>
                      <a:lnTo>
                        <a:pt x="819" y="182"/>
                      </a:lnTo>
                      <a:lnTo>
                        <a:pt x="818" y="182"/>
                      </a:lnTo>
                      <a:lnTo>
                        <a:pt x="819" y="182"/>
                      </a:lnTo>
                      <a:lnTo>
                        <a:pt x="820" y="182"/>
                      </a:lnTo>
                      <a:lnTo>
                        <a:pt x="820" y="182"/>
                      </a:lnTo>
                      <a:lnTo>
                        <a:pt x="820" y="182"/>
                      </a:lnTo>
                      <a:lnTo>
                        <a:pt x="820" y="182"/>
                      </a:lnTo>
                      <a:lnTo>
                        <a:pt x="821" y="182"/>
                      </a:lnTo>
                      <a:lnTo>
                        <a:pt x="821" y="182"/>
                      </a:lnTo>
                      <a:lnTo>
                        <a:pt x="821" y="181"/>
                      </a:lnTo>
                      <a:lnTo>
                        <a:pt x="821" y="181"/>
                      </a:lnTo>
                      <a:lnTo>
                        <a:pt x="822" y="181"/>
                      </a:lnTo>
                      <a:lnTo>
                        <a:pt x="822" y="181"/>
                      </a:lnTo>
                      <a:lnTo>
                        <a:pt x="822" y="181"/>
                      </a:lnTo>
                      <a:lnTo>
                        <a:pt x="822" y="181"/>
                      </a:lnTo>
                      <a:lnTo>
                        <a:pt x="823" y="181"/>
                      </a:lnTo>
                      <a:lnTo>
                        <a:pt x="824" y="181"/>
                      </a:lnTo>
                      <a:lnTo>
                        <a:pt x="823" y="181"/>
                      </a:lnTo>
                      <a:lnTo>
                        <a:pt x="824" y="181"/>
                      </a:lnTo>
                      <a:lnTo>
                        <a:pt x="824" y="180"/>
                      </a:lnTo>
                      <a:lnTo>
                        <a:pt x="824" y="179"/>
                      </a:lnTo>
                      <a:lnTo>
                        <a:pt x="825" y="179"/>
                      </a:lnTo>
                      <a:lnTo>
                        <a:pt x="825" y="179"/>
                      </a:lnTo>
                      <a:lnTo>
                        <a:pt x="826" y="179"/>
                      </a:lnTo>
                      <a:lnTo>
                        <a:pt x="826" y="180"/>
                      </a:lnTo>
                      <a:lnTo>
                        <a:pt x="827" y="180"/>
                      </a:lnTo>
                      <a:lnTo>
                        <a:pt x="827" y="181"/>
                      </a:lnTo>
                      <a:lnTo>
                        <a:pt x="827" y="180"/>
                      </a:lnTo>
                      <a:lnTo>
                        <a:pt x="826" y="180"/>
                      </a:lnTo>
                      <a:lnTo>
                        <a:pt x="827" y="180"/>
                      </a:lnTo>
                      <a:lnTo>
                        <a:pt x="827" y="181"/>
                      </a:lnTo>
                      <a:lnTo>
                        <a:pt x="828" y="181"/>
                      </a:lnTo>
                      <a:lnTo>
                        <a:pt x="827" y="181"/>
                      </a:lnTo>
                      <a:lnTo>
                        <a:pt x="827" y="180"/>
                      </a:lnTo>
                      <a:lnTo>
                        <a:pt x="827" y="180"/>
                      </a:lnTo>
                      <a:lnTo>
                        <a:pt x="827" y="180"/>
                      </a:lnTo>
                      <a:lnTo>
                        <a:pt x="827" y="180"/>
                      </a:lnTo>
                      <a:lnTo>
                        <a:pt x="827" y="180"/>
                      </a:lnTo>
                      <a:lnTo>
                        <a:pt x="828" y="180"/>
                      </a:lnTo>
                      <a:lnTo>
                        <a:pt x="828" y="181"/>
                      </a:lnTo>
                      <a:lnTo>
                        <a:pt x="828" y="181"/>
                      </a:lnTo>
                      <a:lnTo>
                        <a:pt x="828" y="181"/>
                      </a:lnTo>
                      <a:lnTo>
                        <a:pt x="828" y="180"/>
                      </a:lnTo>
                      <a:lnTo>
                        <a:pt x="828" y="181"/>
                      </a:lnTo>
                      <a:lnTo>
                        <a:pt x="828" y="181"/>
                      </a:lnTo>
                      <a:lnTo>
                        <a:pt x="829" y="181"/>
                      </a:lnTo>
                      <a:lnTo>
                        <a:pt x="828" y="181"/>
                      </a:lnTo>
                      <a:lnTo>
                        <a:pt x="829" y="181"/>
                      </a:lnTo>
                      <a:lnTo>
                        <a:pt x="828" y="181"/>
                      </a:lnTo>
                      <a:lnTo>
                        <a:pt x="828" y="181"/>
                      </a:lnTo>
                      <a:lnTo>
                        <a:pt x="828" y="182"/>
                      </a:lnTo>
                      <a:lnTo>
                        <a:pt x="829" y="182"/>
                      </a:lnTo>
                      <a:lnTo>
                        <a:pt x="829" y="182"/>
                      </a:lnTo>
                      <a:lnTo>
                        <a:pt x="829" y="182"/>
                      </a:lnTo>
                      <a:lnTo>
                        <a:pt x="829" y="183"/>
                      </a:lnTo>
                      <a:lnTo>
                        <a:pt x="829" y="182"/>
                      </a:lnTo>
                      <a:lnTo>
                        <a:pt x="830" y="183"/>
                      </a:lnTo>
                      <a:lnTo>
                        <a:pt x="830" y="184"/>
                      </a:lnTo>
                      <a:lnTo>
                        <a:pt x="829" y="184"/>
                      </a:lnTo>
                      <a:lnTo>
                        <a:pt x="830" y="184"/>
                      </a:lnTo>
                      <a:lnTo>
                        <a:pt x="830" y="184"/>
                      </a:lnTo>
                      <a:lnTo>
                        <a:pt x="831" y="184"/>
                      </a:lnTo>
                      <a:lnTo>
                        <a:pt x="831" y="185"/>
                      </a:lnTo>
                      <a:lnTo>
                        <a:pt x="831" y="185"/>
                      </a:lnTo>
                      <a:lnTo>
                        <a:pt x="831" y="185"/>
                      </a:lnTo>
                      <a:lnTo>
                        <a:pt x="831" y="186"/>
                      </a:lnTo>
                      <a:lnTo>
                        <a:pt x="832" y="186"/>
                      </a:lnTo>
                      <a:lnTo>
                        <a:pt x="832" y="186"/>
                      </a:lnTo>
                      <a:lnTo>
                        <a:pt x="832" y="186"/>
                      </a:lnTo>
                      <a:lnTo>
                        <a:pt x="833" y="186"/>
                      </a:lnTo>
                      <a:lnTo>
                        <a:pt x="833" y="187"/>
                      </a:lnTo>
                      <a:lnTo>
                        <a:pt x="833" y="187"/>
                      </a:lnTo>
                      <a:lnTo>
                        <a:pt x="833" y="187"/>
                      </a:lnTo>
                      <a:lnTo>
                        <a:pt x="833" y="186"/>
                      </a:lnTo>
                      <a:lnTo>
                        <a:pt x="832" y="186"/>
                      </a:lnTo>
                      <a:lnTo>
                        <a:pt x="832" y="186"/>
                      </a:lnTo>
                      <a:lnTo>
                        <a:pt x="832" y="186"/>
                      </a:lnTo>
                      <a:lnTo>
                        <a:pt x="831" y="186"/>
                      </a:lnTo>
                      <a:lnTo>
                        <a:pt x="831" y="185"/>
                      </a:lnTo>
                      <a:lnTo>
                        <a:pt x="831" y="185"/>
                      </a:lnTo>
                      <a:lnTo>
                        <a:pt x="831" y="184"/>
                      </a:lnTo>
                      <a:lnTo>
                        <a:pt x="830" y="184"/>
                      </a:lnTo>
                      <a:lnTo>
                        <a:pt x="830" y="184"/>
                      </a:lnTo>
                      <a:lnTo>
                        <a:pt x="830" y="183"/>
                      </a:lnTo>
                      <a:lnTo>
                        <a:pt x="830" y="182"/>
                      </a:lnTo>
                      <a:lnTo>
                        <a:pt x="829" y="182"/>
                      </a:lnTo>
                      <a:lnTo>
                        <a:pt x="829" y="182"/>
                      </a:lnTo>
                      <a:lnTo>
                        <a:pt x="829" y="182"/>
                      </a:lnTo>
                      <a:lnTo>
                        <a:pt x="829" y="181"/>
                      </a:lnTo>
                      <a:lnTo>
                        <a:pt x="829" y="181"/>
                      </a:lnTo>
                      <a:lnTo>
                        <a:pt x="829" y="182"/>
                      </a:lnTo>
                      <a:lnTo>
                        <a:pt x="830" y="182"/>
                      </a:lnTo>
                      <a:lnTo>
                        <a:pt x="830" y="182"/>
                      </a:lnTo>
                      <a:lnTo>
                        <a:pt x="831" y="182"/>
                      </a:lnTo>
                      <a:lnTo>
                        <a:pt x="831" y="183"/>
                      </a:lnTo>
                      <a:lnTo>
                        <a:pt x="831" y="183"/>
                      </a:lnTo>
                      <a:lnTo>
                        <a:pt x="832" y="183"/>
                      </a:lnTo>
                      <a:lnTo>
                        <a:pt x="832" y="184"/>
                      </a:lnTo>
                      <a:lnTo>
                        <a:pt x="832" y="184"/>
                      </a:lnTo>
                      <a:lnTo>
                        <a:pt x="832" y="184"/>
                      </a:lnTo>
                      <a:lnTo>
                        <a:pt x="832" y="183"/>
                      </a:lnTo>
                      <a:lnTo>
                        <a:pt x="831" y="183"/>
                      </a:lnTo>
                      <a:lnTo>
                        <a:pt x="831" y="183"/>
                      </a:lnTo>
                      <a:lnTo>
                        <a:pt x="831" y="182"/>
                      </a:lnTo>
                      <a:lnTo>
                        <a:pt x="831" y="182"/>
                      </a:lnTo>
                      <a:lnTo>
                        <a:pt x="831" y="182"/>
                      </a:lnTo>
                      <a:lnTo>
                        <a:pt x="830" y="182"/>
                      </a:lnTo>
                      <a:lnTo>
                        <a:pt x="830" y="182"/>
                      </a:lnTo>
                      <a:lnTo>
                        <a:pt x="831" y="182"/>
                      </a:lnTo>
                      <a:lnTo>
                        <a:pt x="831" y="182"/>
                      </a:lnTo>
                      <a:lnTo>
                        <a:pt x="831" y="182"/>
                      </a:lnTo>
                      <a:lnTo>
                        <a:pt x="831" y="182"/>
                      </a:lnTo>
                      <a:lnTo>
                        <a:pt x="830" y="182"/>
                      </a:lnTo>
                      <a:lnTo>
                        <a:pt x="831" y="182"/>
                      </a:lnTo>
                      <a:lnTo>
                        <a:pt x="831" y="181"/>
                      </a:lnTo>
                      <a:lnTo>
                        <a:pt x="831" y="182"/>
                      </a:lnTo>
                      <a:lnTo>
                        <a:pt x="830" y="182"/>
                      </a:lnTo>
                      <a:lnTo>
                        <a:pt x="829" y="181"/>
                      </a:lnTo>
                      <a:lnTo>
                        <a:pt x="829" y="181"/>
                      </a:lnTo>
                      <a:lnTo>
                        <a:pt x="829" y="181"/>
                      </a:lnTo>
                      <a:lnTo>
                        <a:pt x="829" y="181"/>
                      </a:lnTo>
                      <a:lnTo>
                        <a:pt x="829" y="181"/>
                      </a:lnTo>
                      <a:lnTo>
                        <a:pt x="829" y="181"/>
                      </a:lnTo>
                      <a:lnTo>
                        <a:pt x="830" y="181"/>
                      </a:lnTo>
                      <a:lnTo>
                        <a:pt x="831" y="181"/>
                      </a:lnTo>
                      <a:lnTo>
                        <a:pt x="830" y="181"/>
                      </a:lnTo>
                      <a:lnTo>
                        <a:pt x="831" y="181"/>
                      </a:lnTo>
                      <a:lnTo>
                        <a:pt x="830" y="181"/>
                      </a:lnTo>
                      <a:lnTo>
                        <a:pt x="830" y="181"/>
                      </a:lnTo>
                      <a:lnTo>
                        <a:pt x="830" y="181"/>
                      </a:lnTo>
                      <a:lnTo>
                        <a:pt x="830" y="181"/>
                      </a:lnTo>
                      <a:lnTo>
                        <a:pt x="829" y="181"/>
                      </a:lnTo>
                      <a:lnTo>
                        <a:pt x="830" y="181"/>
                      </a:lnTo>
                      <a:lnTo>
                        <a:pt x="831" y="181"/>
                      </a:lnTo>
                      <a:lnTo>
                        <a:pt x="831" y="181"/>
                      </a:lnTo>
                      <a:lnTo>
                        <a:pt x="831" y="181"/>
                      </a:lnTo>
                      <a:lnTo>
                        <a:pt x="831" y="181"/>
                      </a:lnTo>
                      <a:lnTo>
                        <a:pt x="831" y="181"/>
                      </a:lnTo>
                      <a:lnTo>
                        <a:pt x="831" y="181"/>
                      </a:lnTo>
                      <a:lnTo>
                        <a:pt x="832" y="181"/>
                      </a:lnTo>
                      <a:lnTo>
                        <a:pt x="832" y="181"/>
                      </a:lnTo>
                      <a:lnTo>
                        <a:pt x="832" y="182"/>
                      </a:lnTo>
                      <a:lnTo>
                        <a:pt x="833" y="182"/>
                      </a:lnTo>
                      <a:lnTo>
                        <a:pt x="832" y="182"/>
                      </a:lnTo>
                      <a:lnTo>
                        <a:pt x="832" y="182"/>
                      </a:lnTo>
                      <a:lnTo>
                        <a:pt x="832" y="182"/>
                      </a:lnTo>
                      <a:lnTo>
                        <a:pt x="831" y="182"/>
                      </a:lnTo>
                      <a:lnTo>
                        <a:pt x="832" y="182"/>
                      </a:lnTo>
                      <a:lnTo>
                        <a:pt x="831" y="182"/>
                      </a:lnTo>
                      <a:lnTo>
                        <a:pt x="832" y="182"/>
                      </a:lnTo>
                      <a:lnTo>
                        <a:pt x="831" y="182"/>
                      </a:lnTo>
                      <a:lnTo>
                        <a:pt x="832" y="182"/>
                      </a:lnTo>
                      <a:lnTo>
                        <a:pt x="832" y="182"/>
                      </a:lnTo>
                      <a:lnTo>
                        <a:pt x="832" y="183"/>
                      </a:lnTo>
                      <a:lnTo>
                        <a:pt x="833" y="183"/>
                      </a:lnTo>
                      <a:lnTo>
                        <a:pt x="832" y="183"/>
                      </a:lnTo>
                      <a:lnTo>
                        <a:pt x="832" y="182"/>
                      </a:lnTo>
                      <a:lnTo>
                        <a:pt x="832" y="182"/>
                      </a:lnTo>
                      <a:lnTo>
                        <a:pt x="832" y="182"/>
                      </a:lnTo>
                      <a:lnTo>
                        <a:pt x="833" y="182"/>
                      </a:lnTo>
                      <a:lnTo>
                        <a:pt x="833" y="183"/>
                      </a:lnTo>
                      <a:lnTo>
                        <a:pt x="833" y="182"/>
                      </a:lnTo>
                      <a:lnTo>
                        <a:pt x="832" y="182"/>
                      </a:lnTo>
                      <a:lnTo>
                        <a:pt x="832" y="182"/>
                      </a:lnTo>
                      <a:lnTo>
                        <a:pt x="832" y="182"/>
                      </a:lnTo>
                      <a:lnTo>
                        <a:pt x="832" y="182"/>
                      </a:lnTo>
                      <a:lnTo>
                        <a:pt x="833" y="182"/>
                      </a:lnTo>
                      <a:lnTo>
                        <a:pt x="832" y="182"/>
                      </a:lnTo>
                      <a:lnTo>
                        <a:pt x="833" y="182"/>
                      </a:lnTo>
                      <a:lnTo>
                        <a:pt x="833" y="182"/>
                      </a:lnTo>
                      <a:lnTo>
                        <a:pt x="833" y="182"/>
                      </a:lnTo>
                      <a:lnTo>
                        <a:pt x="833" y="182"/>
                      </a:lnTo>
                      <a:lnTo>
                        <a:pt x="833" y="182"/>
                      </a:lnTo>
                      <a:lnTo>
                        <a:pt x="833" y="182"/>
                      </a:lnTo>
                      <a:lnTo>
                        <a:pt x="834" y="182"/>
                      </a:lnTo>
                      <a:lnTo>
                        <a:pt x="834" y="183"/>
                      </a:lnTo>
                      <a:lnTo>
                        <a:pt x="833" y="183"/>
                      </a:lnTo>
                      <a:lnTo>
                        <a:pt x="833" y="184"/>
                      </a:lnTo>
                      <a:lnTo>
                        <a:pt x="833" y="184"/>
                      </a:lnTo>
                      <a:lnTo>
                        <a:pt x="834" y="184"/>
                      </a:lnTo>
                      <a:lnTo>
                        <a:pt x="833" y="185"/>
                      </a:lnTo>
                      <a:lnTo>
                        <a:pt x="833" y="184"/>
                      </a:lnTo>
                      <a:lnTo>
                        <a:pt x="833" y="185"/>
                      </a:lnTo>
                      <a:lnTo>
                        <a:pt x="833" y="185"/>
                      </a:lnTo>
                      <a:lnTo>
                        <a:pt x="834" y="185"/>
                      </a:lnTo>
                      <a:lnTo>
                        <a:pt x="834" y="186"/>
                      </a:lnTo>
                      <a:lnTo>
                        <a:pt x="834" y="186"/>
                      </a:lnTo>
                      <a:lnTo>
                        <a:pt x="834" y="187"/>
                      </a:lnTo>
                      <a:lnTo>
                        <a:pt x="834" y="188"/>
                      </a:lnTo>
                      <a:lnTo>
                        <a:pt x="834" y="187"/>
                      </a:lnTo>
                      <a:lnTo>
                        <a:pt x="834" y="188"/>
                      </a:lnTo>
                      <a:lnTo>
                        <a:pt x="835" y="188"/>
                      </a:lnTo>
                      <a:lnTo>
                        <a:pt x="834" y="188"/>
                      </a:lnTo>
                      <a:lnTo>
                        <a:pt x="834" y="189"/>
                      </a:lnTo>
                      <a:lnTo>
                        <a:pt x="834" y="188"/>
                      </a:lnTo>
                      <a:lnTo>
                        <a:pt x="834" y="189"/>
                      </a:lnTo>
                      <a:lnTo>
                        <a:pt x="833" y="189"/>
                      </a:lnTo>
                      <a:lnTo>
                        <a:pt x="834" y="189"/>
                      </a:lnTo>
                      <a:lnTo>
                        <a:pt x="834" y="190"/>
                      </a:lnTo>
                      <a:lnTo>
                        <a:pt x="835" y="190"/>
                      </a:lnTo>
                      <a:lnTo>
                        <a:pt x="835" y="190"/>
                      </a:lnTo>
                      <a:lnTo>
                        <a:pt x="836" y="190"/>
                      </a:lnTo>
                      <a:lnTo>
                        <a:pt x="836" y="190"/>
                      </a:lnTo>
                      <a:lnTo>
                        <a:pt x="836" y="190"/>
                      </a:lnTo>
                      <a:lnTo>
                        <a:pt x="837" y="191"/>
                      </a:lnTo>
                      <a:lnTo>
                        <a:pt x="836" y="191"/>
                      </a:lnTo>
                      <a:lnTo>
                        <a:pt x="837" y="192"/>
                      </a:lnTo>
                      <a:lnTo>
                        <a:pt x="836" y="192"/>
                      </a:lnTo>
                      <a:lnTo>
                        <a:pt x="836" y="193"/>
                      </a:lnTo>
                      <a:lnTo>
                        <a:pt x="836" y="193"/>
                      </a:lnTo>
                      <a:lnTo>
                        <a:pt x="836" y="194"/>
                      </a:lnTo>
                      <a:lnTo>
                        <a:pt x="836" y="194"/>
                      </a:lnTo>
                      <a:lnTo>
                        <a:pt x="835" y="194"/>
                      </a:lnTo>
                      <a:lnTo>
                        <a:pt x="836" y="195"/>
                      </a:lnTo>
                      <a:lnTo>
                        <a:pt x="835" y="195"/>
                      </a:lnTo>
                      <a:lnTo>
                        <a:pt x="835" y="195"/>
                      </a:lnTo>
                      <a:lnTo>
                        <a:pt x="834" y="195"/>
                      </a:lnTo>
                      <a:lnTo>
                        <a:pt x="834" y="196"/>
                      </a:lnTo>
                      <a:lnTo>
                        <a:pt x="833" y="195"/>
                      </a:lnTo>
                      <a:lnTo>
                        <a:pt x="833" y="196"/>
                      </a:lnTo>
                      <a:lnTo>
                        <a:pt x="832" y="196"/>
                      </a:lnTo>
                      <a:lnTo>
                        <a:pt x="832" y="196"/>
                      </a:lnTo>
                      <a:lnTo>
                        <a:pt x="831" y="196"/>
                      </a:lnTo>
                      <a:lnTo>
                        <a:pt x="831" y="196"/>
                      </a:lnTo>
                      <a:lnTo>
                        <a:pt x="831" y="195"/>
                      </a:lnTo>
                      <a:lnTo>
                        <a:pt x="830" y="195"/>
                      </a:lnTo>
                      <a:lnTo>
                        <a:pt x="830" y="196"/>
                      </a:lnTo>
                      <a:lnTo>
                        <a:pt x="829" y="196"/>
                      </a:lnTo>
                      <a:lnTo>
                        <a:pt x="829" y="196"/>
                      </a:lnTo>
                      <a:lnTo>
                        <a:pt x="829" y="195"/>
                      </a:lnTo>
                      <a:lnTo>
                        <a:pt x="828" y="195"/>
                      </a:lnTo>
                      <a:lnTo>
                        <a:pt x="828" y="195"/>
                      </a:lnTo>
                      <a:lnTo>
                        <a:pt x="828" y="196"/>
                      </a:lnTo>
                      <a:lnTo>
                        <a:pt x="827" y="196"/>
                      </a:lnTo>
                      <a:lnTo>
                        <a:pt x="827" y="195"/>
                      </a:lnTo>
                      <a:lnTo>
                        <a:pt x="827" y="195"/>
                      </a:lnTo>
                      <a:lnTo>
                        <a:pt x="827" y="196"/>
                      </a:lnTo>
                      <a:lnTo>
                        <a:pt x="827" y="196"/>
                      </a:lnTo>
                      <a:lnTo>
                        <a:pt x="826" y="196"/>
                      </a:lnTo>
                      <a:lnTo>
                        <a:pt x="826" y="195"/>
                      </a:lnTo>
                      <a:lnTo>
                        <a:pt x="825" y="195"/>
                      </a:lnTo>
                      <a:lnTo>
                        <a:pt x="825" y="196"/>
                      </a:lnTo>
                      <a:lnTo>
                        <a:pt x="825" y="195"/>
                      </a:lnTo>
                      <a:lnTo>
                        <a:pt x="825" y="195"/>
                      </a:lnTo>
                      <a:lnTo>
                        <a:pt x="824" y="195"/>
                      </a:lnTo>
                      <a:lnTo>
                        <a:pt x="824" y="194"/>
                      </a:lnTo>
                      <a:lnTo>
                        <a:pt x="825" y="194"/>
                      </a:lnTo>
                      <a:lnTo>
                        <a:pt x="824" y="194"/>
                      </a:lnTo>
                      <a:lnTo>
                        <a:pt x="824" y="194"/>
                      </a:lnTo>
                      <a:lnTo>
                        <a:pt x="824" y="194"/>
                      </a:lnTo>
                      <a:lnTo>
                        <a:pt x="824" y="194"/>
                      </a:lnTo>
                      <a:lnTo>
                        <a:pt x="824" y="194"/>
                      </a:lnTo>
                      <a:lnTo>
                        <a:pt x="824" y="194"/>
                      </a:lnTo>
                      <a:lnTo>
                        <a:pt x="824" y="194"/>
                      </a:lnTo>
                      <a:lnTo>
                        <a:pt x="824" y="194"/>
                      </a:lnTo>
                      <a:lnTo>
                        <a:pt x="823" y="194"/>
                      </a:lnTo>
                      <a:lnTo>
                        <a:pt x="823" y="193"/>
                      </a:lnTo>
                      <a:lnTo>
                        <a:pt x="822" y="193"/>
                      </a:lnTo>
                      <a:lnTo>
                        <a:pt x="822" y="193"/>
                      </a:lnTo>
                      <a:lnTo>
                        <a:pt x="822" y="194"/>
                      </a:lnTo>
                      <a:lnTo>
                        <a:pt x="821" y="194"/>
                      </a:lnTo>
                      <a:lnTo>
                        <a:pt x="821" y="193"/>
                      </a:lnTo>
                      <a:lnTo>
                        <a:pt x="821" y="193"/>
                      </a:lnTo>
                      <a:lnTo>
                        <a:pt x="820" y="193"/>
                      </a:lnTo>
                      <a:lnTo>
                        <a:pt x="820" y="193"/>
                      </a:lnTo>
                      <a:lnTo>
                        <a:pt x="820" y="193"/>
                      </a:lnTo>
                      <a:lnTo>
                        <a:pt x="819" y="193"/>
                      </a:lnTo>
                      <a:lnTo>
                        <a:pt x="819" y="193"/>
                      </a:lnTo>
                      <a:lnTo>
                        <a:pt x="819" y="193"/>
                      </a:lnTo>
                      <a:lnTo>
                        <a:pt x="819" y="193"/>
                      </a:lnTo>
                      <a:lnTo>
                        <a:pt x="818" y="193"/>
                      </a:lnTo>
                      <a:lnTo>
                        <a:pt x="819" y="193"/>
                      </a:lnTo>
                      <a:lnTo>
                        <a:pt x="818" y="193"/>
                      </a:lnTo>
                      <a:lnTo>
                        <a:pt x="818" y="193"/>
                      </a:lnTo>
                      <a:lnTo>
                        <a:pt x="817" y="193"/>
                      </a:lnTo>
                      <a:lnTo>
                        <a:pt x="817" y="192"/>
                      </a:lnTo>
                      <a:lnTo>
                        <a:pt x="817" y="192"/>
                      </a:lnTo>
                      <a:lnTo>
                        <a:pt x="816" y="192"/>
                      </a:lnTo>
                      <a:lnTo>
                        <a:pt x="817" y="192"/>
                      </a:lnTo>
                      <a:lnTo>
                        <a:pt x="817" y="193"/>
                      </a:lnTo>
                      <a:lnTo>
                        <a:pt x="816" y="193"/>
                      </a:lnTo>
                      <a:lnTo>
                        <a:pt x="816" y="193"/>
                      </a:lnTo>
                      <a:lnTo>
                        <a:pt x="816" y="193"/>
                      </a:lnTo>
                      <a:lnTo>
                        <a:pt x="817" y="193"/>
                      </a:lnTo>
                      <a:lnTo>
                        <a:pt x="817" y="192"/>
                      </a:lnTo>
                      <a:lnTo>
                        <a:pt x="817" y="192"/>
                      </a:lnTo>
                      <a:lnTo>
                        <a:pt x="817" y="193"/>
                      </a:lnTo>
                      <a:lnTo>
                        <a:pt x="818" y="193"/>
                      </a:lnTo>
                      <a:lnTo>
                        <a:pt x="818" y="193"/>
                      </a:lnTo>
                      <a:lnTo>
                        <a:pt x="818" y="193"/>
                      </a:lnTo>
                      <a:lnTo>
                        <a:pt x="817" y="193"/>
                      </a:lnTo>
                      <a:lnTo>
                        <a:pt x="817" y="194"/>
                      </a:lnTo>
                      <a:lnTo>
                        <a:pt x="817" y="194"/>
                      </a:lnTo>
                      <a:lnTo>
                        <a:pt x="817" y="194"/>
                      </a:lnTo>
                      <a:lnTo>
                        <a:pt x="817" y="194"/>
                      </a:lnTo>
                      <a:lnTo>
                        <a:pt x="816" y="194"/>
                      </a:lnTo>
                      <a:lnTo>
                        <a:pt x="816" y="194"/>
                      </a:lnTo>
                      <a:lnTo>
                        <a:pt x="816" y="194"/>
                      </a:lnTo>
                      <a:lnTo>
                        <a:pt x="815" y="194"/>
                      </a:lnTo>
                      <a:lnTo>
                        <a:pt x="815" y="194"/>
                      </a:lnTo>
                      <a:lnTo>
                        <a:pt x="815" y="193"/>
                      </a:lnTo>
                      <a:lnTo>
                        <a:pt x="814" y="193"/>
                      </a:lnTo>
                      <a:lnTo>
                        <a:pt x="814" y="193"/>
                      </a:lnTo>
                      <a:lnTo>
                        <a:pt x="813" y="193"/>
                      </a:lnTo>
                      <a:lnTo>
                        <a:pt x="813" y="193"/>
                      </a:lnTo>
                      <a:lnTo>
                        <a:pt x="813" y="193"/>
                      </a:lnTo>
                      <a:lnTo>
                        <a:pt x="813" y="193"/>
                      </a:lnTo>
                      <a:lnTo>
                        <a:pt x="813" y="193"/>
                      </a:lnTo>
                      <a:lnTo>
                        <a:pt x="813" y="193"/>
                      </a:lnTo>
                      <a:lnTo>
                        <a:pt x="813" y="193"/>
                      </a:lnTo>
                      <a:lnTo>
                        <a:pt x="813" y="193"/>
                      </a:lnTo>
                      <a:lnTo>
                        <a:pt x="814" y="193"/>
                      </a:lnTo>
                      <a:lnTo>
                        <a:pt x="814" y="192"/>
                      </a:lnTo>
                      <a:lnTo>
                        <a:pt x="814" y="192"/>
                      </a:lnTo>
                      <a:lnTo>
                        <a:pt x="815" y="192"/>
                      </a:lnTo>
                      <a:lnTo>
                        <a:pt x="815" y="193"/>
                      </a:lnTo>
                      <a:lnTo>
                        <a:pt x="815" y="192"/>
                      </a:lnTo>
                      <a:lnTo>
                        <a:pt x="815" y="193"/>
                      </a:lnTo>
                      <a:lnTo>
                        <a:pt x="815" y="192"/>
                      </a:lnTo>
                      <a:lnTo>
                        <a:pt x="816" y="192"/>
                      </a:lnTo>
                      <a:lnTo>
                        <a:pt x="815" y="192"/>
                      </a:lnTo>
                      <a:lnTo>
                        <a:pt x="815" y="193"/>
                      </a:lnTo>
                      <a:lnTo>
                        <a:pt x="815" y="192"/>
                      </a:lnTo>
                      <a:lnTo>
                        <a:pt x="815" y="193"/>
                      </a:lnTo>
                      <a:lnTo>
                        <a:pt x="815" y="192"/>
                      </a:lnTo>
                      <a:lnTo>
                        <a:pt x="814" y="192"/>
                      </a:lnTo>
                      <a:lnTo>
                        <a:pt x="814" y="192"/>
                      </a:lnTo>
                      <a:lnTo>
                        <a:pt x="814" y="193"/>
                      </a:lnTo>
                      <a:lnTo>
                        <a:pt x="813" y="193"/>
                      </a:lnTo>
                      <a:lnTo>
                        <a:pt x="813" y="193"/>
                      </a:lnTo>
                      <a:lnTo>
                        <a:pt x="812" y="193"/>
                      </a:lnTo>
                      <a:lnTo>
                        <a:pt x="812" y="192"/>
                      </a:lnTo>
                      <a:lnTo>
                        <a:pt x="811" y="192"/>
                      </a:lnTo>
                      <a:lnTo>
                        <a:pt x="811" y="192"/>
                      </a:lnTo>
                      <a:lnTo>
                        <a:pt x="811" y="193"/>
                      </a:lnTo>
                      <a:lnTo>
                        <a:pt x="811" y="193"/>
                      </a:lnTo>
                      <a:lnTo>
                        <a:pt x="811" y="193"/>
                      </a:lnTo>
                      <a:lnTo>
                        <a:pt x="811" y="192"/>
                      </a:lnTo>
                      <a:lnTo>
                        <a:pt x="811" y="192"/>
                      </a:lnTo>
                      <a:lnTo>
                        <a:pt x="812" y="192"/>
                      </a:lnTo>
                      <a:lnTo>
                        <a:pt x="812" y="193"/>
                      </a:lnTo>
                      <a:lnTo>
                        <a:pt x="813" y="193"/>
                      </a:lnTo>
                      <a:lnTo>
                        <a:pt x="813" y="193"/>
                      </a:lnTo>
                      <a:lnTo>
                        <a:pt x="813" y="193"/>
                      </a:lnTo>
                      <a:lnTo>
                        <a:pt x="813" y="193"/>
                      </a:lnTo>
                      <a:lnTo>
                        <a:pt x="813" y="193"/>
                      </a:lnTo>
                      <a:lnTo>
                        <a:pt x="813" y="193"/>
                      </a:lnTo>
                      <a:lnTo>
                        <a:pt x="813" y="193"/>
                      </a:lnTo>
                      <a:lnTo>
                        <a:pt x="813" y="194"/>
                      </a:lnTo>
                      <a:lnTo>
                        <a:pt x="813" y="194"/>
                      </a:lnTo>
                      <a:lnTo>
                        <a:pt x="813" y="194"/>
                      </a:lnTo>
                      <a:lnTo>
                        <a:pt x="812" y="195"/>
                      </a:lnTo>
                      <a:lnTo>
                        <a:pt x="811" y="195"/>
                      </a:lnTo>
                      <a:lnTo>
                        <a:pt x="811" y="196"/>
                      </a:lnTo>
                      <a:lnTo>
                        <a:pt x="811" y="196"/>
                      </a:lnTo>
                      <a:lnTo>
                        <a:pt x="810" y="196"/>
                      </a:lnTo>
                      <a:lnTo>
                        <a:pt x="810" y="196"/>
                      </a:lnTo>
                      <a:lnTo>
                        <a:pt x="810" y="195"/>
                      </a:lnTo>
                      <a:lnTo>
                        <a:pt x="809" y="195"/>
                      </a:lnTo>
                      <a:lnTo>
                        <a:pt x="810" y="195"/>
                      </a:lnTo>
                      <a:lnTo>
                        <a:pt x="809" y="195"/>
                      </a:lnTo>
                      <a:lnTo>
                        <a:pt x="809" y="194"/>
                      </a:lnTo>
                      <a:lnTo>
                        <a:pt x="809" y="195"/>
                      </a:lnTo>
                      <a:lnTo>
                        <a:pt x="809" y="194"/>
                      </a:lnTo>
                      <a:lnTo>
                        <a:pt x="808" y="194"/>
                      </a:lnTo>
                      <a:lnTo>
                        <a:pt x="809" y="194"/>
                      </a:lnTo>
                      <a:lnTo>
                        <a:pt x="809" y="194"/>
                      </a:lnTo>
                      <a:lnTo>
                        <a:pt x="809" y="194"/>
                      </a:lnTo>
                      <a:lnTo>
                        <a:pt x="809" y="194"/>
                      </a:lnTo>
                      <a:lnTo>
                        <a:pt x="809" y="194"/>
                      </a:lnTo>
                      <a:lnTo>
                        <a:pt x="809" y="193"/>
                      </a:lnTo>
                      <a:lnTo>
                        <a:pt x="810" y="193"/>
                      </a:lnTo>
                      <a:lnTo>
                        <a:pt x="809" y="193"/>
                      </a:lnTo>
                      <a:lnTo>
                        <a:pt x="809" y="194"/>
                      </a:lnTo>
                      <a:lnTo>
                        <a:pt x="809" y="194"/>
                      </a:lnTo>
                      <a:lnTo>
                        <a:pt x="809" y="194"/>
                      </a:lnTo>
                      <a:lnTo>
                        <a:pt x="809" y="194"/>
                      </a:lnTo>
                      <a:lnTo>
                        <a:pt x="809" y="194"/>
                      </a:lnTo>
                      <a:lnTo>
                        <a:pt x="809" y="194"/>
                      </a:lnTo>
                      <a:lnTo>
                        <a:pt x="809" y="194"/>
                      </a:lnTo>
                      <a:lnTo>
                        <a:pt x="808" y="194"/>
                      </a:lnTo>
                      <a:lnTo>
                        <a:pt x="809" y="194"/>
                      </a:lnTo>
                      <a:lnTo>
                        <a:pt x="809" y="195"/>
                      </a:lnTo>
                      <a:lnTo>
                        <a:pt x="809" y="194"/>
                      </a:lnTo>
                      <a:lnTo>
                        <a:pt x="809" y="195"/>
                      </a:lnTo>
                      <a:lnTo>
                        <a:pt x="810" y="195"/>
                      </a:lnTo>
                      <a:lnTo>
                        <a:pt x="809" y="195"/>
                      </a:lnTo>
                      <a:lnTo>
                        <a:pt x="810" y="195"/>
                      </a:lnTo>
                      <a:lnTo>
                        <a:pt x="809" y="195"/>
                      </a:lnTo>
                      <a:lnTo>
                        <a:pt x="809" y="196"/>
                      </a:lnTo>
                      <a:lnTo>
                        <a:pt x="809" y="195"/>
                      </a:lnTo>
                      <a:lnTo>
                        <a:pt x="809" y="196"/>
                      </a:lnTo>
                      <a:lnTo>
                        <a:pt x="809" y="196"/>
                      </a:lnTo>
                      <a:lnTo>
                        <a:pt x="809" y="196"/>
                      </a:lnTo>
                      <a:lnTo>
                        <a:pt x="809" y="196"/>
                      </a:lnTo>
                      <a:lnTo>
                        <a:pt x="809" y="196"/>
                      </a:lnTo>
                      <a:lnTo>
                        <a:pt x="810" y="197"/>
                      </a:lnTo>
                      <a:lnTo>
                        <a:pt x="810" y="197"/>
                      </a:lnTo>
                      <a:lnTo>
                        <a:pt x="809" y="197"/>
                      </a:lnTo>
                      <a:lnTo>
                        <a:pt x="810" y="197"/>
                      </a:lnTo>
                      <a:lnTo>
                        <a:pt x="810" y="197"/>
                      </a:lnTo>
                      <a:lnTo>
                        <a:pt x="810" y="197"/>
                      </a:lnTo>
                      <a:lnTo>
                        <a:pt x="810" y="197"/>
                      </a:lnTo>
                      <a:lnTo>
                        <a:pt x="810" y="198"/>
                      </a:lnTo>
                      <a:lnTo>
                        <a:pt x="810" y="199"/>
                      </a:lnTo>
                      <a:lnTo>
                        <a:pt x="809" y="199"/>
                      </a:lnTo>
                      <a:lnTo>
                        <a:pt x="809" y="199"/>
                      </a:lnTo>
                      <a:lnTo>
                        <a:pt x="809" y="199"/>
                      </a:lnTo>
                      <a:lnTo>
                        <a:pt x="808" y="199"/>
                      </a:lnTo>
                      <a:lnTo>
                        <a:pt x="807" y="200"/>
                      </a:lnTo>
                      <a:lnTo>
                        <a:pt x="807" y="200"/>
                      </a:lnTo>
                      <a:lnTo>
                        <a:pt x="807" y="200"/>
                      </a:lnTo>
                      <a:lnTo>
                        <a:pt x="807" y="200"/>
                      </a:lnTo>
                      <a:lnTo>
                        <a:pt x="806" y="200"/>
                      </a:lnTo>
                      <a:lnTo>
                        <a:pt x="806" y="200"/>
                      </a:lnTo>
                      <a:lnTo>
                        <a:pt x="806" y="200"/>
                      </a:lnTo>
                      <a:lnTo>
                        <a:pt x="806" y="200"/>
                      </a:lnTo>
                      <a:lnTo>
                        <a:pt x="805" y="200"/>
                      </a:lnTo>
                      <a:lnTo>
                        <a:pt x="806" y="200"/>
                      </a:lnTo>
                      <a:lnTo>
                        <a:pt x="805" y="200"/>
                      </a:lnTo>
                      <a:lnTo>
                        <a:pt x="806" y="200"/>
                      </a:lnTo>
                      <a:lnTo>
                        <a:pt x="805" y="200"/>
                      </a:lnTo>
                      <a:lnTo>
                        <a:pt x="806" y="200"/>
                      </a:lnTo>
                      <a:lnTo>
                        <a:pt x="806" y="200"/>
                      </a:lnTo>
                      <a:lnTo>
                        <a:pt x="806" y="200"/>
                      </a:lnTo>
                      <a:lnTo>
                        <a:pt x="806" y="200"/>
                      </a:lnTo>
                      <a:lnTo>
                        <a:pt x="807" y="200"/>
                      </a:lnTo>
                      <a:lnTo>
                        <a:pt x="807" y="201"/>
                      </a:lnTo>
                      <a:lnTo>
                        <a:pt x="807" y="201"/>
                      </a:lnTo>
                      <a:lnTo>
                        <a:pt x="807" y="201"/>
                      </a:lnTo>
                      <a:lnTo>
                        <a:pt x="806" y="201"/>
                      </a:lnTo>
                      <a:lnTo>
                        <a:pt x="806" y="201"/>
                      </a:lnTo>
                      <a:lnTo>
                        <a:pt x="806" y="201"/>
                      </a:lnTo>
                      <a:lnTo>
                        <a:pt x="807" y="201"/>
                      </a:lnTo>
                      <a:lnTo>
                        <a:pt x="807" y="201"/>
                      </a:lnTo>
                      <a:lnTo>
                        <a:pt x="807" y="201"/>
                      </a:lnTo>
                      <a:lnTo>
                        <a:pt x="807" y="201"/>
                      </a:lnTo>
                      <a:lnTo>
                        <a:pt x="807" y="202"/>
                      </a:lnTo>
                      <a:lnTo>
                        <a:pt x="807" y="202"/>
                      </a:lnTo>
                      <a:lnTo>
                        <a:pt x="807" y="201"/>
                      </a:lnTo>
                      <a:lnTo>
                        <a:pt x="807" y="202"/>
                      </a:lnTo>
                      <a:lnTo>
                        <a:pt x="807" y="203"/>
                      </a:lnTo>
                      <a:lnTo>
                        <a:pt x="807" y="203"/>
                      </a:lnTo>
                      <a:lnTo>
                        <a:pt x="806" y="203"/>
                      </a:lnTo>
                      <a:lnTo>
                        <a:pt x="806" y="204"/>
                      </a:lnTo>
                      <a:lnTo>
                        <a:pt x="805" y="204"/>
                      </a:lnTo>
                      <a:lnTo>
                        <a:pt x="805" y="204"/>
                      </a:lnTo>
                      <a:lnTo>
                        <a:pt x="804" y="204"/>
                      </a:lnTo>
                      <a:lnTo>
                        <a:pt x="803" y="204"/>
                      </a:lnTo>
                      <a:lnTo>
                        <a:pt x="803" y="204"/>
                      </a:lnTo>
                      <a:lnTo>
                        <a:pt x="803" y="204"/>
                      </a:lnTo>
                      <a:lnTo>
                        <a:pt x="803" y="204"/>
                      </a:lnTo>
                      <a:lnTo>
                        <a:pt x="802" y="204"/>
                      </a:lnTo>
                      <a:lnTo>
                        <a:pt x="802" y="203"/>
                      </a:lnTo>
                      <a:lnTo>
                        <a:pt x="802" y="203"/>
                      </a:lnTo>
                      <a:lnTo>
                        <a:pt x="802" y="203"/>
                      </a:lnTo>
                      <a:lnTo>
                        <a:pt x="802" y="203"/>
                      </a:lnTo>
                      <a:lnTo>
                        <a:pt x="803" y="203"/>
                      </a:lnTo>
                      <a:lnTo>
                        <a:pt x="802" y="203"/>
                      </a:lnTo>
                      <a:lnTo>
                        <a:pt x="803" y="203"/>
                      </a:lnTo>
                      <a:lnTo>
                        <a:pt x="803" y="203"/>
                      </a:lnTo>
                      <a:lnTo>
                        <a:pt x="803" y="203"/>
                      </a:lnTo>
                      <a:lnTo>
                        <a:pt x="803" y="203"/>
                      </a:lnTo>
                      <a:lnTo>
                        <a:pt x="803" y="203"/>
                      </a:lnTo>
                      <a:lnTo>
                        <a:pt x="803" y="203"/>
                      </a:lnTo>
                      <a:lnTo>
                        <a:pt x="803" y="203"/>
                      </a:lnTo>
                      <a:lnTo>
                        <a:pt x="803" y="202"/>
                      </a:lnTo>
                      <a:lnTo>
                        <a:pt x="803" y="202"/>
                      </a:lnTo>
                      <a:lnTo>
                        <a:pt x="803" y="202"/>
                      </a:lnTo>
                      <a:lnTo>
                        <a:pt x="803" y="202"/>
                      </a:lnTo>
                      <a:lnTo>
                        <a:pt x="803" y="202"/>
                      </a:lnTo>
                      <a:lnTo>
                        <a:pt x="803" y="202"/>
                      </a:lnTo>
                      <a:lnTo>
                        <a:pt x="803" y="202"/>
                      </a:lnTo>
                      <a:lnTo>
                        <a:pt x="803" y="202"/>
                      </a:lnTo>
                      <a:lnTo>
                        <a:pt x="803" y="202"/>
                      </a:lnTo>
                      <a:lnTo>
                        <a:pt x="803" y="202"/>
                      </a:lnTo>
                      <a:lnTo>
                        <a:pt x="803" y="202"/>
                      </a:lnTo>
                      <a:lnTo>
                        <a:pt x="803" y="203"/>
                      </a:lnTo>
                      <a:lnTo>
                        <a:pt x="803" y="203"/>
                      </a:lnTo>
                      <a:lnTo>
                        <a:pt x="803" y="203"/>
                      </a:lnTo>
                      <a:lnTo>
                        <a:pt x="802" y="203"/>
                      </a:lnTo>
                      <a:lnTo>
                        <a:pt x="803" y="203"/>
                      </a:lnTo>
                      <a:lnTo>
                        <a:pt x="802" y="203"/>
                      </a:lnTo>
                      <a:lnTo>
                        <a:pt x="802" y="203"/>
                      </a:lnTo>
                      <a:lnTo>
                        <a:pt x="802" y="203"/>
                      </a:lnTo>
                      <a:lnTo>
                        <a:pt x="802" y="203"/>
                      </a:lnTo>
                      <a:lnTo>
                        <a:pt x="802" y="203"/>
                      </a:lnTo>
                      <a:lnTo>
                        <a:pt x="802" y="203"/>
                      </a:lnTo>
                      <a:lnTo>
                        <a:pt x="802" y="204"/>
                      </a:lnTo>
                      <a:lnTo>
                        <a:pt x="802" y="204"/>
                      </a:lnTo>
                      <a:lnTo>
                        <a:pt x="801" y="204"/>
                      </a:lnTo>
                      <a:lnTo>
                        <a:pt x="801" y="204"/>
                      </a:lnTo>
                      <a:lnTo>
                        <a:pt x="802" y="204"/>
                      </a:lnTo>
                      <a:lnTo>
                        <a:pt x="802" y="204"/>
                      </a:lnTo>
                      <a:lnTo>
                        <a:pt x="803" y="204"/>
                      </a:lnTo>
                      <a:lnTo>
                        <a:pt x="803" y="204"/>
                      </a:lnTo>
                      <a:lnTo>
                        <a:pt x="804" y="204"/>
                      </a:lnTo>
                      <a:lnTo>
                        <a:pt x="805" y="204"/>
                      </a:lnTo>
                      <a:lnTo>
                        <a:pt x="805" y="204"/>
                      </a:lnTo>
                      <a:lnTo>
                        <a:pt x="806" y="204"/>
                      </a:lnTo>
                      <a:lnTo>
                        <a:pt x="805" y="204"/>
                      </a:lnTo>
                      <a:lnTo>
                        <a:pt x="806" y="204"/>
                      </a:lnTo>
                      <a:lnTo>
                        <a:pt x="805" y="204"/>
                      </a:lnTo>
                      <a:lnTo>
                        <a:pt x="806" y="204"/>
                      </a:lnTo>
                      <a:lnTo>
                        <a:pt x="805" y="204"/>
                      </a:lnTo>
                      <a:lnTo>
                        <a:pt x="806" y="204"/>
                      </a:lnTo>
                      <a:lnTo>
                        <a:pt x="806" y="204"/>
                      </a:lnTo>
                      <a:lnTo>
                        <a:pt x="806" y="204"/>
                      </a:lnTo>
                      <a:lnTo>
                        <a:pt x="806" y="203"/>
                      </a:lnTo>
                      <a:lnTo>
                        <a:pt x="807" y="203"/>
                      </a:lnTo>
                      <a:lnTo>
                        <a:pt x="806" y="203"/>
                      </a:lnTo>
                      <a:lnTo>
                        <a:pt x="807" y="203"/>
                      </a:lnTo>
                      <a:lnTo>
                        <a:pt x="807" y="203"/>
                      </a:lnTo>
                      <a:lnTo>
                        <a:pt x="807" y="203"/>
                      </a:lnTo>
                      <a:lnTo>
                        <a:pt x="807" y="202"/>
                      </a:lnTo>
                      <a:lnTo>
                        <a:pt x="807" y="202"/>
                      </a:lnTo>
                      <a:lnTo>
                        <a:pt x="807" y="201"/>
                      </a:lnTo>
                      <a:lnTo>
                        <a:pt x="807" y="201"/>
                      </a:lnTo>
                      <a:lnTo>
                        <a:pt x="807" y="201"/>
                      </a:lnTo>
                      <a:lnTo>
                        <a:pt x="807" y="200"/>
                      </a:lnTo>
                      <a:lnTo>
                        <a:pt x="808" y="200"/>
                      </a:lnTo>
                      <a:lnTo>
                        <a:pt x="808" y="200"/>
                      </a:lnTo>
                      <a:lnTo>
                        <a:pt x="809" y="200"/>
                      </a:lnTo>
                      <a:lnTo>
                        <a:pt x="809" y="200"/>
                      </a:lnTo>
                      <a:lnTo>
                        <a:pt x="809" y="199"/>
                      </a:lnTo>
                      <a:lnTo>
                        <a:pt x="809" y="199"/>
                      </a:lnTo>
                      <a:lnTo>
                        <a:pt x="810" y="199"/>
                      </a:lnTo>
                      <a:lnTo>
                        <a:pt x="810" y="198"/>
                      </a:lnTo>
                      <a:lnTo>
                        <a:pt x="810" y="197"/>
                      </a:lnTo>
                      <a:lnTo>
                        <a:pt x="810" y="197"/>
                      </a:lnTo>
                      <a:lnTo>
                        <a:pt x="810" y="197"/>
                      </a:lnTo>
                      <a:lnTo>
                        <a:pt x="810" y="196"/>
                      </a:lnTo>
                      <a:lnTo>
                        <a:pt x="809" y="196"/>
                      </a:lnTo>
                      <a:lnTo>
                        <a:pt x="810" y="196"/>
                      </a:lnTo>
                      <a:lnTo>
                        <a:pt x="810" y="196"/>
                      </a:lnTo>
                      <a:lnTo>
                        <a:pt x="811" y="196"/>
                      </a:lnTo>
                      <a:lnTo>
                        <a:pt x="811" y="196"/>
                      </a:lnTo>
                      <a:lnTo>
                        <a:pt x="812" y="196"/>
                      </a:lnTo>
                      <a:lnTo>
                        <a:pt x="812" y="195"/>
                      </a:lnTo>
                      <a:lnTo>
                        <a:pt x="813" y="195"/>
                      </a:lnTo>
                      <a:lnTo>
                        <a:pt x="813" y="194"/>
                      </a:lnTo>
                      <a:lnTo>
                        <a:pt x="813" y="194"/>
                      </a:lnTo>
                      <a:lnTo>
                        <a:pt x="813" y="194"/>
                      </a:lnTo>
                      <a:lnTo>
                        <a:pt x="813" y="193"/>
                      </a:lnTo>
                      <a:lnTo>
                        <a:pt x="814" y="193"/>
                      </a:lnTo>
                      <a:lnTo>
                        <a:pt x="814" y="193"/>
                      </a:lnTo>
                      <a:lnTo>
                        <a:pt x="814" y="193"/>
                      </a:lnTo>
                      <a:lnTo>
                        <a:pt x="814" y="193"/>
                      </a:lnTo>
                      <a:lnTo>
                        <a:pt x="814" y="193"/>
                      </a:lnTo>
                      <a:lnTo>
                        <a:pt x="814" y="193"/>
                      </a:lnTo>
                      <a:lnTo>
                        <a:pt x="814" y="194"/>
                      </a:lnTo>
                      <a:lnTo>
                        <a:pt x="815" y="194"/>
                      </a:lnTo>
                      <a:lnTo>
                        <a:pt x="815" y="194"/>
                      </a:lnTo>
                      <a:lnTo>
                        <a:pt x="814" y="194"/>
                      </a:lnTo>
                      <a:lnTo>
                        <a:pt x="815" y="194"/>
                      </a:lnTo>
                      <a:lnTo>
                        <a:pt x="814" y="194"/>
                      </a:lnTo>
                      <a:lnTo>
                        <a:pt x="814" y="194"/>
                      </a:lnTo>
                      <a:lnTo>
                        <a:pt x="814" y="194"/>
                      </a:lnTo>
                      <a:lnTo>
                        <a:pt x="814" y="195"/>
                      </a:lnTo>
                      <a:lnTo>
                        <a:pt x="814" y="196"/>
                      </a:lnTo>
                      <a:lnTo>
                        <a:pt x="815" y="196"/>
                      </a:lnTo>
                      <a:lnTo>
                        <a:pt x="814" y="196"/>
                      </a:lnTo>
                      <a:lnTo>
                        <a:pt x="815" y="196"/>
                      </a:lnTo>
                      <a:lnTo>
                        <a:pt x="815" y="196"/>
                      </a:lnTo>
                      <a:lnTo>
                        <a:pt x="815" y="197"/>
                      </a:lnTo>
                      <a:lnTo>
                        <a:pt x="815" y="197"/>
                      </a:lnTo>
                      <a:lnTo>
                        <a:pt x="815" y="198"/>
                      </a:lnTo>
                      <a:lnTo>
                        <a:pt x="814" y="198"/>
                      </a:lnTo>
                      <a:lnTo>
                        <a:pt x="815" y="198"/>
                      </a:lnTo>
                      <a:lnTo>
                        <a:pt x="814" y="199"/>
                      </a:lnTo>
                      <a:lnTo>
                        <a:pt x="815" y="199"/>
                      </a:lnTo>
                      <a:lnTo>
                        <a:pt x="815" y="199"/>
                      </a:lnTo>
                      <a:lnTo>
                        <a:pt x="816" y="199"/>
                      </a:lnTo>
                      <a:lnTo>
                        <a:pt x="815" y="199"/>
                      </a:lnTo>
                      <a:lnTo>
                        <a:pt x="816" y="199"/>
                      </a:lnTo>
                      <a:lnTo>
                        <a:pt x="815" y="199"/>
                      </a:lnTo>
                      <a:lnTo>
                        <a:pt x="816" y="199"/>
                      </a:lnTo>
                      <a:lnTo>
                        <a:pt x="815" y="200"/>
                      </a:lnTo>
                      <a:lnTo>
                        <a:pt x="815" y="200"/>
                      </a:lnTo>
                      <a:lnTo>
                        <a:pt x="814" y="200"/>
                      </a:lnTo>
                      <a:lnTo>
                        <a:pt x="814" y="201"/>
                      </a:lnTo>
                      <a:lnTo>
                        <a:pt x="814" y="200"/>
                      </a:lnTo>
                      <a:lnTo>
                        <a:pt x="814" y="201"/>
                      </a:lnTo>
                      <a:lnTo>
                        <a:pt x="815" y="201"/>
                      </a:lnTo>
                      <a:lnTo>
                        <a:pt x="814" y="201"/>
                      </a:lnTo>
                      <a:lnTo>
                        <a:pt x="814" y="201"/>
                      </a:lnTo>
                      <a:lnTo>
                        <a:pt x="814" y="202"/>
                      </a:lnTo>
                      <a:lnTo>
                        <a:pt x="814" y="202"/>
                      </a:lnTo>
                      <a:lnTo>
                        <a:pt x="814" y="202"/>
                      </a:lnTo>
                      <a:lnTo>
                        <a:pt x="814" y="202"/>
                      </a:lnTo>
                      <a:lnTo>
                        <a:pt x="814" y="203"/>
                      </a:lnTo>
                      <a:lnTo>
                        <a:pt x="813" y="203"/>
                      </a:lnTo>
                      <a:lnTo>
                        <a:pt x="814" y="203"/>
                      </a:lnTo>
                      <a:lnTo>
                        <a:pt x="813" y="203"/>
                      </a:lnTo>
                      <a:lnTo>
                        <a:pt x="814" y="203"/>
                      </a:lnTo>
                      <a:lnTo>
                        <a:pt x="814" y="203"/>
                      </a:lnTo>
                      <a:lnTo>
                        <a:pt x="814" y="203"/>
                      </a:lnTo>
                      <a:lnTo>
                        <a:pt x="814" y="203"/>
                      </a:lnTo>
                      <a:lnTo>
                        <a:pt x="814" y="203"/>
                      </a:lnTo>
                      <a:lnTo>
                        <a:pt x="814" y="202"/>
                      </a:lnTo>
                      <a:lnTo>
                        <a:pt x="814" y="203"/>
                      </a:lnTo>
                      <a:lnTo>
                        <a:pt x="814" y="202"/>
                      </a:lnTo>
                      <a:lnTo>
                        <a:pt x="814" y="201"/>
                      </a:lnTo>
                      <a:lnTo>
                        <a:pt x="814" y="202"/>
                      </a:lnTo>
                      <a:lnTo>
                        <a:pt x="814" y="201"/>
                      </a:lnTo>
                      <a:lnTo>
                        <a:pt x="814" y="202"/>
                      </a:lnTo>
                      <a:lnTo>
                        <a:pt x="815" y="202"/>
                      </a:lnTo>
                      <a:lnTo>
                        <a:pt x="814" y="202"/>
                      </a:lnTo>
                      <a:lnTo>
                        <a:pt x="814" y="201"/>
                      </a:lnTo>
                      <a:lnTo>
                        <a:pt x="815" y="201"/>
                      </a:lnTo>
                      <a:lnTo>
                        <a:pt x="815" y="201"/>
                      </a:lnTo>
                      <a:lnTo>
                        <a:pt x="815" y="201"/>
                      </a:lnTo>
                      <a:lnTo>
                        <a:pt x="815" y="201"/>
                      </a:lnTo>
                      <a:lnTo>
                        <a:pt x="815" y="200"/>
                      </a:lnTo>
                      <a:lnTo>
                        <a:pt x="815" y="201"/>
                      </a:lnTo>
                      <a:lnTo>
                        <a:pt x="815" y="200"/>
                      </a:lnTo>
                      <a:lnTo>
                        <a:pt x="815" y="200"/>
                      </a:lnTo>
                      <a:lnTo>
                        <a:pt x="815" y="200"/>
                      </a:lnTo>
                      <a:lnTo>
                        <a:pt x="816" y="200"/>
                      </a:lnTo>
                      <a:lnTo>
                        <a:pt x="816" y="200"/>
                      </a:lnTo>
                      <a:lnTo>
                        <a:pt x="816" y="199"/>
                      </a:lnTo>
                      <a:lnTo>
                        <a:pt x="816" y="200"/>
                      </a:lnTo>
                      <a:lnTo>
                        <a:pt x="816" y="199"/>
                      </a:lnTo>
                      <a:lnTo>
                        <a:pt x="816" y="199"/>
                      </a:lnTo>
                      <a:lnTo>
                        <a:pt x="816" y="198"/>
                      </a:lnTo>
                      <a:lnTo>
                        <a:pt x="815" y="198"/>
                      </a:lnTo>
                      <a:lnTo>
                        <a:pt x="816" y="198"/>
                      </a:lnTo>
                      <a:lnTo>
                        <a:pt x="816" y="197"/>
                      </a:lnTo>
                      <a:lnTo>
                        <a:pt x="816" y="197"/>
                      </a:lnTo>
                      <a:lnTo>
                        <a:pt x="816" y="197"/>
                      </a:lnTo>
                      <a:lnTo>
                        <a:pt x="816" y="197"/>
                      </a:lnTo>
                      <a:lnTo>
                        <a:pt x="815" y="197"/>
                      </a:lnTo>
                      <a:lnTo>
                        <a:pt x="816" y="196"/>
                      </a:lnTo>
                      <a:lnTo>
                        <a:pt x="815" y="196"/>
                      </a:lnTo>
                      <a:lnTo>
                        <a:pt x="816" y="196"/>
                      </a:lnTo>
                      <a:lnTo>
                        <a:pt x="815" y="196"/>
                      </a:lnTo>
                      <a:lnTo>
                        <a:pt x="815" y="196"/>
                      </a:lnTo>
                      <a:lnTo>
                        <a:pt x="816" y="196"/>
                      </a:lnTo>
                      <a:lnTo>
                        <a:pt x="815" y="196"/>
                      </a:lnTo>
                      <a:lnTo>
                        <a:pt x="815" y="195"/>
                      </a:lnTo>
                      <a:lnTo>
                        <a:pt x="815" y="196"/>
                      </a:lnTo>
                      <a:lnTo>
                        <a:pt x="814" y="196"/>
                      </a:lnTo>
                      <a:lnTo>
                        <a:pt x="814" y="195"/>
                      </a:lnTo>
                      <a:lnTo>
                        <a:pt x="814" y="194"/>
                      </a:lnTo>
                      <a:lnTo>
                        <a:pt x="815" y="195"/>
                      </a:lnTo>
                      <a:lnTo>
                        <a:pt x="815" y="194"/>
                      </a:lnTo>
                      <a:lnTo>
                        <a:pt x="816" y="194"/>
                      </a:lnTo>
                      <a:lnTo>
                        <a:pt x="816" y="194"/>
                      </a:lnTo>
                      <a:lnTo>
                        <a:pt x="817" y="194"/>
                      </a:lnTo>
                      <a:lnTo>
                        <a:pt x="817" y="194"/>
                      </a:lnTo>
                      <a:lnTo>
                        <a:pt x="818" y="194"/>
                      </a:lnTo>
                      <a:lnTo>
                        <a:pt x="818" y="194"/>
                      </a:lnTo>
                      <a:lnTo>
                        <a:pt x="819" y="194"/>
                      </a:lnTo>
                      <a:lnTo>
                        <a:pt x="820" y="194"/>
                      </a:lnTo>
                      <a:lnTo>
                        <a:pt x="820" y="194"/>
                      </a:lnTo>
                      <a:lnTo>
                        <a:pt x="819" y="194"/>
                      </a:lnTo>
                      <a:lnTo>
                        <a:pt x="818" y="194"/>
                      </a:lnTo>
                      <a:lnTo>
                        <a:pt x="819" y="194"/>
                      </a:lnTo>
                      <a:lnTo>
                        <a:pt x="818" y="194"/>
                      </a:lnTo>
                      <a:lnTo>
                        <a:pt x="818" y="194"/>
                      </a:lnTo>
                      <a:lnTo>
                        <a:pt x="818" y="195"/>
                      </a:lnTo>
                      <a:lnTo>
                        <a:pt x="818" y="196"/>
                      </a:lnTo>
                      <a:lnTo>
                        <a:pt x="818" y="196"/>
                      </a:lnTo>
                      <a:lnTo>
                        <a:pt x="819" y="196"/>
                      </a:lnTo>
                      <a:lnTo>
                        <a:pt x="820" y="196"/>
                      </a:lnTo>
                      <a:lnTo>
                        <a:pt x="820" y="196"/>
                      </a:lnTo>
                      <a:lnTo>
                        <a:pt x="820" y="196"/>
                      </a:lnTo>
                      <a:lnTo>
                        <a:pt x="821" y="196"/>
                      </a:lnTo>
                      <a:lnTo>
                        <a:pt x="821" y="196"/>
                      </a:lnTo>
                      <a:lnTo>
                        <a:pt x="822" y="196"/>
                      </a:lnTo>
                      <a:lnTo>
                        <a:pt x="822" y="196"/>
                      </a:lnTo>
                      <a:lnTo>
                        <a:pt x="823" y="197"/>
                      </a:lnTo>
                      <a:lnTo>
                        <a:pt x="824" y="197"/>
                      </a:lnTo>
                      <a:lnTo>
                        <a:pt x="824" y="197"/>
                      </a:lnTo>
                      <a:lnTo>
                        <a:pt x="824" y="197"/>
                      </a:lnTo>
                      <a:lnTo>
                        <a:pt x="824" y="197"/>
                      </a:lnTo>
                      <a:lnTo>
                        <a:pt x="825" y="197"/>
                      </a:lnTo>
                      <a:lnTo>
                        <a:pt x="825" y="197"/>
                      </a:lnTo>
                      <a:lnTo>
                        <a:pt x="826" y="197"/>
                      </a:lnTo>
                      <a:lnTo>
                        <a:pt x="827" y="197"/>
                      </a:lnTo>
                      <a:lnTo>
                        <a:pt x="827" y="197"/>
                      </a:lnTo>
                      <a:lnTo>
                        <a:pt x="828" y="197"/>
                      </a:lnTo>
                      <a:lnTo>
                        <a:pt x="828" y="197"/>
                      </a:lnTo>
                      <a:lnTo>
                        <a:pt x="829" y="197"/>
                      </a:lnTo>
                      <a:lnTo>
                        <a:pt x="829" y="198"/>
                      </a:lnTo>
                      <a:lnTo>
                        <a:pt x="829" y="198"/>
                      </a:lnTo>
                      <a:lnTo>
                        <a:pt x="830" y="198"/>
                      </a:lnTo>
                      <a:lnTo>
                        <a:pt x="831" y="198"/>
                      </a:lnTo>
                      <a:lnTo>
                        <a:pt x="830" y="198"/>
                      </a:lnTo>
                      <a:lnTo>
                        <a:pt x="831" y="198"/>
                      </a:lnTo>
                      <a:lnTo>
                        <a:pt x="831" y="197"/>
                      </a:lnTo>
                      <a:lnTo>
                        <a:pt x="831" y="197"/>
                      </a:lnTo>
                      <a:lnTo>
                        <a:pt x="832" y="197"/>
                      </a:lnTo>
                      <a:lnTo>
                        <a:pt x="832" y="198"/>
                      </a:lnTo>
                      <a:lnTo>
                        <a:pt x="832" y="198"/>
                      </a:lnTo>
                      <a:lnTo>
                        <a:pt x="832" y="198"/>
                      </a:lnTo>
                      <a:lnTo>
                        <a:pt x="831" y="198"/>
                      </a:lnTo>
                      <a:lnTo>
                        <a:pt x="832" y="199"/>
                      </a:lnTo>
                      <a:lnTo>
                        <a:pt x="831" y="199"/>
                      </a:lnTo>
                      <a:lnTo>
                        <a:pt x="831" y="199"/>
                      </a:lnTo>
                      <a:lnTo>
                        <a:pt x="831" y="199"/>
                      </a:lnTo>
                      <a:lnTo>
                        <a:pt x="831" y="199"/>
                      </a:lnTo>
                      <a:lnTo>
                        <a:pt x="832" y="199"/>
                      </a:lnTo>
                      <a:lnTo>
                        <a:pt x="832" y="199"/>
                      </a:lnTo>
                      <a:lnTo>
                        <a:pt x="832" y="199"/>
                      </a:lnTo>
                      <a:lnTo>
                        <a:pt x="832" y="200"/>
                      </a:lnTo>
                      <a:lnTo>
                        <a:pt x="832" y="200"/>
                      </a:lnTo>
                      <a:lnTo>
                        <a:pt x="832" y="200"/>
                      </a:lnTo>
                      <a:lnTo>
                        <a:pt x="832" y="200"/>
                      </a:lnTo>
                      <a:lnTo>
                        <a:pt x="832" y="200"/>
                      </a:lnTo>
                      <a:lnTo>
                        <a:pt x="832" y="200"/>
                      </a:lnTo>
                      <a:lnTo>
                        <a:pt x="833" y="200"/>
                      </a:lnTo>
                      <a:lnTo>
                        <a:pt x="833" y="200"/>
                      </a:lnTo>
                      <a:lnTo>
                        <a:pt x="833" y="201"/>
                      </a:lnTo>
                      <a:lnTo>
                        <a:pt x="833" y="200"/>
                      </a:lnTo>
                      <a:lnTo>
                        <a:pt x="833" y="200"/>
                      </a:lnTo>
                      <a:lnTo>
                        <a:pt x="833" y="200"/>
                      </a:lnTo>
                      <a:lnTo>
                        <a:pt x="833" y="200"/>
                      </a:lnTo>
                      <a:lnTo>
                        <a:pt x="834" y="200"/>
                      </a:lnTo>
                      <a:lnTo>
                        <a:pt x="835" y="200"/>
                      </a:lnTo>
                      <a:lnTo>
                        <a:pt x="835" y="200"/>
                      </a:lnTo>
                      <a:lnTo>
                        <a:pt x="835" y="200"/>
                      </a:lnTo>
                      <a:lnTo>
                        <a:pt x="834" y="200"/>
                      </a:lnTo>
                      <a:lnTo>
                        <a:pt x="834" y="199"/>
                      </a:lnTo>
                      <a:lnTo>
                        <a:pt x="834" y="200"/>
                      </a:lnTo>
                      <a:lnTo>
                        <a:pt x="833" y="200"/>
                      </a:lnTo>
                      <a:lnTo>
                        <a:pt x="833" y="199"/>
                      </a:lnTo>
                      <a:lnTo>
                        <a:pt x="834" y="199"/>
                      </a:lnTo>
                      <a:lnTo>
                        <a:pt x="833" y="199"/>
                      </a:lnTo>
                      <a:lnTo>
                        <a:pt x="833" y="199"/>
                      </a:lnTo>
                      <a:lnTo>
                        <a:pt x="833" y="199"/>
                      </a:lnTo>
                      <a:lnTo>
                        <a:pt x="833" y="199"/>
                      </a:lnTo>
                      <a:lnTo>
                        <a:pt x="834" y="199"/>
                      </a:lnTo>
                      <a:lnTo>
                        <a:pt x="833" y="198"/>
                      </a:lnTo>
                      <a:lnTo>
                        <a:pt x="833" y="198"/>
                      </a:lnTo>
                      <a:lnTo>
                        <a:pt x="832" y="198"/>
                      </a:lnTo>
                      <a:lnTo>
                        <a:pt x="833" y="198"/>
                      </a:lnTo>
                      <a:lnTo>
                        <a:pt x="833" y="197"/>
                      </a:lnTo>
                      <a:lnTo>
                        <a:pt x="834" y="197"/>
                      </a:lnTo>
                      <a:lnTo>
                        <a:pt x="835" y="197"/>
                      </a:lnTo>
                      <a:lnTo>
                        <a:pt x="835" y="197"/>
                      </a:lnTo>
                      <a:lnTo>
                        <a:pt x="835" y="196"/>
                      </a:lnTo>
                      <a:lnTo>
                        <a:pt x="836" y="196"/>
                      </a:lnTo>
                      <a:lnTo>
                        <a:pt x="836" y="195"/>
                      </a:lnTo>
                      <a:lnTo>
                        <a:pt x="837" y="195"/>
                      </a:lnTo>
                      <a:lnTo>
                        <a:pt x="837" y="194"/>
                      </a:lnTo>
                      <a:lnTo>
                        <a:pt x="837" y="194"/>
                      </a:lnTo>
                      <a:lnTo>
                        <a:pt x="837" y="194"/>
                      </a:lnTo>
                      <a:lnTo>
                        <a:pt x="837" y="194"/>
                      </a:lnTo>
                      <a:lnTo>
                        <a:pt x="837" y="194"/>
                      </a:lnTo>
                      <a:lnTo>
                        <a:pt x="838" y="194"/>
                      </a:lnTo>
                      <a:lnTo>
                        <a:pt x="838" y="195"/>
                      </a:lnTo>
                      <a:lnTo>
                        <a:pt x="839" y="195"/>
                      </a:lnTo>
                      <a:lnTo>
                        <a:pt x="839" y="196"/>
                      </a:lnTo>
                      <a:lnTo>
                        <a:pt x="839" y="196"/>
                      </a:lnTo>
                      <a:lnTo>
                        <a:pt x="839" y="196"/>
                      </a:lnTo>
                      <a:lnTo>
                        <a:pt x="839" y="195"/>
                      </a:lnTo>
                      <a:lnTo>
                        <a:pt x="838" y="195"/>
                      </a:lnTo>
                      <a:lnTo>
                        <a:pt x="838" y="194"/>
                      </a:lnTo>
                      <a:lnTo>
                        <a:pt x="837" y="194"/>
                      </a:lnTo>
                      <a:lnTo>
                        <a:pt x="837" y="194"/>
                      </a:lnTo>
                      <a:lnTo>
                        <a:pt x="837" y="194"/>
                      </a:lnTo>
                      <a:lnTo>
                        <a:pt x="836" y="194"/>
                      </a:lnTo>
                      <a:lnTo>
                        <a:pt x="836" y="193"/>
                      </a:lnTo>
                      <a:lnTo>
                        <a:pt x="837" y="193"/>
                      </a:lnTo>
                      <a:lnTo>
                        <a:pt x="837" y="193"/>
                      </a:lnTo>
                      <a:lnTo>
                        <a:pt x="838" y="193"/>
                      </a:lnTo>
                      <a:lnTo>
                        <a:pt x="839" y="193"/>
                      </a:lnTo>
                      <a:lnTo>
                        <a:pt x="839" y="192"/>
                      </a:lnTo>
                      <a:lnTo>
                        <a:pt x="839" y="192"/>
                      </a:lnTo>
                      <a:lnTo>
                        <a:pt x="839" y="192"/>
                      </a:lnTo>
                      <a:lnTo>
                        <a:pt x="839" y="191"/>
                      </a:lnTo>
                      <a:lnTo>
                        <a:pt x="838" y="191"/>
                      </a:lnTo>
                      <a:lnTo>
                        <a:pt x="838" y="190"/>
                      </a:lnTo>
                      <a:lnTo>
                        <a:pt x="838" y="190"/>
                      </a:lnTo>
                      <a:lnTo>
                        <a:pt x="837" y="189"/>
                      </a:lnTo>
                      <a:lnTo>
                        <a:pt x="838" y="189"/>
                      </a:lnTo>
                      <a:lnTo>
                        <a:pt x="838" y="189"/>
                      </a:lnTo>
                      <a:lnTo>
                        <a:pt x="837" y="189"/>
                      </a:lnTo>
                      <a:lnTo>
                        <a:pt x="838" y="188"/>
                      </a:lnTo>
                      <a:lnTo>
                        <a:pt x="837" y="188"/>
                      </a:lnTo>
                      <a:lnTo>
                        <a:pt x="838" y="188"/>
                      </a:lnTo>
                      <a:lnTo>
                        <a:pt x="838" y="188"/>
                      </a:lnTo>
                      <a:lnTo>
                        <a:pt x="837" y="188"/>
                      </a:lnTo>
                      <a:lnTo>
                        <a:pt x="837" y="187"/>
                      </a:lnTo>
                      <a:lnTo>
                        <a:pt x="838" y="187"/>
                      </a:lnTo>
                      <a:lnTo>
                        <a:pt x="839" y="187"/>
                      </a:lnTo>
                      <a:lnTo>
                        <a:pt x="839" y="186"/>
                      </a:lnTo>
                      <a:lnTo>
                        <a:pt x="838" y="186"/>
                      </a:lnTo>
                      <a:lnTo>
                        <a:pt x="837" y="185"/>
                      </a:lnTo>
                      <a:lnTo>
                        <a:pt x="838" y="185"/>
                      </a:lnTo>
                      <a:lnTo>
                        <a:pt x="839" y="185"/>
                      </a:lnTo>
                      <a:lnTo>
                        <a:pt x="839" y="185"/>
                      </a:lnTo>
                      <a:lnTo>
                        <a:pt x="839" y="184"/>
                      </a:lnTo>
                      <a:lnTo>
                        <a:pt x="839" y="184"/>
                      </a:lnTo>
                      <a:lnTo>
                        <a:pt x="840" y="184"/>
                      </a:lnTo>
                      <a:lnTo>
                        <a:pt x="840" y="184"/>
                      </a:lnTo>
                      <a:lnTo>
                        <a:pt x="840" y="183"/>
                      </a:lnTo>
                      <a:lnTo>
                        <a:pt x="841" y="183"/>
                      </a:lnTo>
                      <a:lnTo>
                        <a:pt x="842" y="183"/>
                      </a:lnTo>
                      <a:lnTo>
                        <a:pt x="842" y="183"/>
                      </a:lnTo>
                      <a:lnTo>
                        <a:pt x="842" y="182"/>
                      </a:lnTo>
                      <a:lnTo>
                        <a:pt x="843" y="182"/>
                      </a:lnTo>
                      <a:lnTo>
                        <a:pt x="843" y="182"/>
                      </a:lnTo>
                      <a:lnTo>
                        <a:pt x="843" y="182"/>
                      </a:lnTo>
                      <a:lnTo>
                        <a:pt x="844" y="182"/>
                      </a:lnTo>
                      <a:lnTo>
                        <a:pt x="843" y="182"/>
                      </a:lnTo>
                      <a:lnTo>
                        <a:pt x="843" y="181"/>
                      </a:lnTo>
                      <a:lnTo>
                        <a:pt x="844" y="181"/>
                      </a:lnTo>
                      <a:lnTo>
                        <a:pt x="844" y="181"/>
                      </a:lnTo>
                      <a:lnTo>
                        <a:pt x="845" y="181"/>
                      </a:lnTo>
                      <a:lnTo>
                        <a:pt x="845" y="181"/>
                      </a:lnTo>
                      <a:lnTo>
                        <a:pt x="844" y="181"/>
                      </a:lnTo>
                      <a:lnTo>
                        <a:pt x="845" y="181"/>
                      </a:lnTo>
                      <a:lnTo>
                        <a:pt x="845" y="181"/>
                      </a:lnTo>
                      <a:lnTo>
                        <a:pt x="846" y="181"/>
                      </a:lnTo>
                      <a:lnTo>
                        <a:pt x="846" y="181"/>
                      </a:lnTo>
                      <a:lnTo>
                        <a:pt x="846" y="181"/>
                      </a:lnTo>
                      <a:lnTo>
                        <a:pt x="847" y="181"/>
                      </a:lnTo>
                      <a:lnTo>
                        <a:pt x="847" y="181"/>
                      </a:lnTo>
                      <a:lnTo>
                        <a:pt x="848" y="181"/>
                      </a:lnTo>
                      <a:lnTo>
                        <a:pt x="848" y="181"/>
                      </a:lnTo>
                      <a:lnTo>
                        <a:pt x="849" y="181"/>
                      </a:lnTo>
                      <a:lnTo>
                        <a:pt x="850" y="181"/>
                      </a:lnTo>
                      <a:lnTo>
                        <a:pt x="850" y="181"/>
                      </a:lnTo>
                      <a:lnTo>
                        <a:pt x="850" y="181"/>
                      </a:lnTo>
                      <a:lnTo>
                        <a:pt x="851" y="181"/>
                      </a:lnTo>
                      <a:lnTo>
                        <a:pt x="851" y="180"/>
                      </a:lnTo>
                      <a:lnTo>
                        <a:pt x="852" y="180"/>
                      </a:lnTo>
                      <a:lnTo>
                        <a:pt x="853" y="180"/>
                      </a:lnTo>
                      <a:lnTo>
                        <a:pt x="853" y="181"/>
                      </a:lnTo>
                      <a:lnTo>
                        <a:pt x="853" y="181"/>
                      </a:lnTo>
                      <a:lnTo>
                        <a:pt x="854" y="181"/>
                      </a:lnTo>
                      <a:lnTo>
                        <a:pt x="854" y="181"/>
                      </a:lnTo>
                      <a:lnTo>
                        <a:pt x="855" y="181"/>
                      </a:lnTo>
                      <a:lnTo>
                        <a:pt x="855" y="181"/>
                      </a:lnTo>
                      <a:lnTo>
                        <a:pt x="856" y="181"/>
                      </a:lnTo>
                      <a:lnTo>
                        <a:pt x="857" y="181"/>
                      </a:lnTo>
                      <a:lnTo>
                        <a:pt x="857" y="180"/>
                      </a:lnTo>
                      <a:lnTo>
                        <a:pt x="857" y="180"/>
                      </a:lnTo>
                      <a:lnTo>
                        <a:pt x="858" y="180"/>
                      </a:lnTo>
                      <a:lnTo>
                        <a:pt x="858" y="179"/>
                      </a:lnTo>
                      <a:lnTo>
                        <a:pt x="858" y="179"/>
                      </a:lnTo>
                      <a:lnTo>
                        <a:pt x="859" y="179"/>
                      </a:lnTo>
                      <a:lnTo>
                        <a:pt x="859" y="180"/>
                      </a:lnTo>
                      <a:lnTo>
                        <a:pt x="859" y="180"/>
                      </a:lnTo>
                      <a:lnTo>
                        <a:pt x="859" y="180"/>
                      </a:lnTo>
                      <a:lnTo>
                        <a:pt x="859" y="180"/>
                      </a:lnTo>
                      <a:lnTo>
                        <a:pt x="860" y="181"/>
                      </a:lnTo>
                      <a:lnTo>
                        <a:pt x="859" y="181"/>
                      </a:lnTo>
                      <a:lnTo>
                        <a:pt x="860" y="181"/>
                      </a:lnTo>
                      <a:lnTo>
                        <a:pt x="860" y="181"/>
                      </a:lnTo>
                      <a:lnTo>
                        <a:pt x="861" y="181"/>
                      </a:lnTo>
                      <a:lnTo>
                        <a:pt x="861" y="181"/>
                      </a:lnTo>
                      <a:lnTo>
                        <a:pt x="862" y="182"/>
                      </a:lnTo>
                      <a:lnTo>
                        <a:pt x="861" y="182"/>
                      </a:lnTo>
                      <a:lnTo>
                        <a:pt x="862" y="182"/>
                      </a:lnTo>
                      <a:lnTo>
                        <a:pt x="862" y="182"/>
                      </a:lnTo>
                      <a:lnTo>
                        <a:pt x="863" y="182"/>
                      </a:lnTo>
                      <a:lnTo>
                        <a:pt x="863" y="182"/>
                      </a:lnTo>
                      <a:lnTo>
                        <a:pt x="863" y="182"/>
                      </a:lnTo>
                      <a:lnTo>
                        <a:pt x="864" y="182"/>
                      </a:lnTo>
                      <a:lnTo>
                        <a:pt x="865" y="182"/>
                      </a:lnTo>
                      <a:lnTo>
                        <a:pt x="865" y="182"/>
                      </a:lnTo>
                      <a:lnTo>
                        <a:pt x="866" y="182"/>
                      </a:lnTo>
                      <a:lnTo>
                        <a:pt x="866" y="182"/>
                      </a:lnTo>
                      <a:lnTo>
                        <a:pt x="867" y="182"/>
                      </a:lnTo>
                      <a:lnTo>
                        <a:pt x="868" y="182"/>
                      </a:lnTo>
                      <a:lnTo>
                        <a:pt x="868" y="182"/>
                      </a:lnTo>
                      <a:lnTo>
                        <a:pt x="868" y="182"/>
                      </a:lnTo>
                      <a:lnTo>
                        <a:pt x="868" y="182"/>
                      </a:lnTo>
                      <a:lnTo>
                        <a:pt x="869" y="182"/>
                      </a:lnTo>
                      <a:lnTo>
                        <a:pt x="869" y="182"/>
                      </a:lnTo>
                      <a:lnTo>
                        <a:pt x="870" y="182"/>
                      </a:lnTo>
                      <a:lnTo>
                        <a:pt x="870" y="182"/>
                      </a:lnTo>
                      <a:lnTo>
                        <a:pt x="871" y="182"/>
                      </a:lnTo>
                      <a:lnTo>
                        <a:pt x="872" y="182"/>
                      </a:lnTo>
                      <a:lnTo>
                        <a:pt x="872" y="182"/>
                      </a:lnTo>
                      <a:lnTo>
                        <a:pt x="872" y="182"/>
                      </a:lnTo>
                      <a:lnTo>
                        <a:pt x="873" y="182"/>
                      </a:lnTo>
                      <a:lnTo>
                        <a:pt x="873" y="182"/>
                      </a:lnTo>
                      <a:lnTo>
                        <a:pt x="874" y="183"/>
                      </a:lnTo>
                      <a:lnTo>
                        <a:pt x="874" y="183"/>
                      </a:lnTo>
                      <a:lnTo>
                        <a:pt x="875" y="183"/>
                      </a:lnTo>
                      <a:lnTo>
                        <a:pt x="876" y="183"/>
                      </a:lnTo>
                      <a:lnTo>
                        <a:pt x="876" y="183"/>
                      </a:lnTo>
                      <a:lnTo>
                        <a:pt x="877" y="183"/>
                      </a:lnTo>
                      <a:lnTo>
                        <a:pt x="877" y="183"/>
                      </a:lnTo>
                      <a:lnTo>
                        <a:pt x="878" y="183"/>
                      </a:lnTo>
                      <a:lnTo>
                        <a:pt x="879" y="183"/>
                      </a:lnTo>
                      <a:lnTo>
                        <a:pt x="879" y="183"/>
                      </a:lnTo>
                      <a:lnTo>
                        <a:pt x="880" y="183"/>
                      </a:lnTo>
                      <a:lnTo>
                        <a:pt x="879" y="183"/>
                      </a:lnTo>
                      <a:lnTo>
                        <a:pt x="879" y="184"/>
                      </a:lnTo>
                      <a:lnTo>
                        <a:pt x="879" y="183"/>
                      </a:lnTo>
                      <a:lnTo>
                        <a:pt x="879" y="183"/>
                      </a:lnTo>
                      <a:lnTo>
                        <a:pt x="879" y="184"/>
                      </a:lnTo>
                      <a:lnTo>
                        <a:pt x="879" y="183"/>
                      </a:lnTo>
                      <a:lnTo>
                        <a:pt x="879" y="184"/>
                      </a:lnTo>
                      <a:lnTo>
                        <a:pt x="878" y="184"/>
                      </a:lnTo>
                      <a:lnTo>
                        <a:pt x="878" y="184"/>
                      </a:lnTo>
                      <a:lnTo>
                        <a:pt x="878" y="185"/>
                      </a:lnTo>
                      <a:lnTo>
                        <a:pt x="877" y="185"/>
                      </a:lnTo>
                      <a:lnTo>
                        <a:pt x="878" y="185"/>
                      </a:lnTo>
                      <a:lnTo>
                        <a:pt x="878" y="185"/>
                      </a:lnTo>
                      <a:lnTo>
                        <a:pt x="877" y="185"/>
                      </a:lnTo>
                      <a:lnTo>
                        <a:pt x="878" y="185"/>
                      </a:lnTo>
                      <a:lnTo>
                        <a:pt x="878" y="186"/>
                      </a:lnTo>
                      <a:lnTo>
                        <a:pt x="879" y="186"/>
                      </a:lnTo>
                      <a:lnTo>
                        <a:pt x="879" y="186"/>
                      </a:lnTo>
                      <a:lnTo>
                        <a:pt x="878" y="186"/>
                      </a:lnTo>
                      <a:lnTo>
                        <a:pt x="878" y="187"/>
                      </a:lnTo>
                      <a:lnTo>
                        <a:pt x="879" y="187"/>
                      </a:lnTo>
                      <a:lnTo>
                        <a:pt x="879" y="188"/>
                      </a:lnTo>
                      <a:lnTo>
                        <a:pt x="879" y="188"/>
                      </a:lnTo>
                      <a:lnTo>
                        <a:pt x="879" y="188"/>
                      </a:lnTo>
                      <a:lnTo>
                        <a:pt x="879" y="188"/>
                      </a:lnTo>
                      <a:lnTo>
                        <a:pt x="879" y="188"/>
                      </a:lnTo>
                      <a:lnTo>
                        <a:pt x="879" y="188"/>
                      </a:lnTo>
                      <a:lnTo>
                        <a:pt x="879" y="188"/>
                      </a:lnTo>
                      <a:lnTo>
                        <a:pt x="879" y="188"/>
                      </a:lnTo>
                      <a:lnTo>
                        <a:pt x="879" y="188"/>
                      </a:lnTo>
                      <a:lnTo>
                        <a:pt x="879" y="187"/>
                      </a:lnTo>
                      <a:lnTo>
                        <a:pt x="878" y="187"/>
                      </a:lnTo>
                      <a:lnTo>
                        <a:pt x="878" y="186"/>
                      </a:lnTo>
                      <a:lnTo>
                        <a:pt x="879" y="186"/>
                      </a:lnTo>
                      <a:lnTo>
                        <a:pt x="878" y="186"/>
                      </a:lnTo>
                      <a:lnTo>
                        <a:pt x="879" y="186"/>
                      </a:lnTo>
                      <a:lnTo>
                        <a:pt x="879" y="186"/>
                      </a:lnTo>
                      <a:lnTo>
                        <a:pt x="878" y="186"/>
                      </a:lnTo>
                      <a:lnTo>
                        <a:pt x="878" y="185"/>
                      </a:lnTo>
                      <a:lnTo>
                        <a:pt x="878" y="185"/>
                      </a:lnTo>
                      <a:lnTo>
                        <a:pt x="878" y="184"/>
                      </a:lnTo>
                      <a:lnTo>
                        <a:pt x="878" y="184"/>
                      </a:lnTo>
                      <a:lnTo>
                        <a:pt x="878" y="184"/>
                      </a:lnTo>
                      <a:lnTo>
                        <a:pt x="878" y="184"/>
                      </a:lnTo>
                      <a:lnTo>
                        <a:pt x="879" y="184"/>
                      </a:lnTo>
                      <a:lnTo>
                        <a:pt x="879" y="184"/>
                      </a:lnTo>
                      <a:lnTo>
                        <a:pt x="879" y="184"/>
                      </a:lnTo>
                      <a:lnTo>
                        <a:pt x="879" y="184"/>
                      </a:lnTo>
                      <a:lnTo>
                        <a:pt x="879" y="184"/>
                      </a:lnTo>
                      <a:lnTo>
                        <a:pt x="878" y="184"/>
                      </a:lnTo>
                      <a:lnTo>
                        <a:pt x="879" y="184"/>
                      </a:lnTo>
                      <a:lnTo>
                        <a:pt x="879" y="184"/>
                      </a:lnTo>
                      <a:lnTo>
                        <a:pt x="879" y="184"/>
                      </a:lnTo>
                      <a:lnTo>
                        <a:pt x="879" y="184"/>
                      </a:lnTo>
                      <a:lnTo>
                        <a:pt x="879" y="184"/>
                      </a:lnTo>
                      <a:lnTo>
                        <a:pt x="880" y="184"/>
                      </a:lnTo>
                      <a:lnTo>
                        <a:pt x="880" y="184"/>
                      </a:lnTo>
                      <a:lnTo>
                        <a:pt x="881" y="184"/>
                      </a:lnTo>
                      <a:lnTo>
                        <a:pt x="881" y="184"/>
                      </a:lnTo>
                      <a:lnTo>
                        <a:pt x="882" y="184"/>
                      </a:lnTo>
                      <a:lnTo>
                        <a:pt x="882" y="183"/>
                      </a:lnTo>
                      <a:lnTo>
                        <a:pt x="883" y="183"/>
                      </a:lnTo>
                      <a:lnTo>
                        <a:pt x="883" y="183"/>
                      </a:lnTo>
                      <a:lnTo>
                        <a:pt x="883" y="182"/>
                      </a:lnTo>
                      <a:lnTo>
                        <a:pt x="884" y="182"/>
                      </a:lnTo>
                      <a:lnTo>
                        <a:pt x="884" y="183"/>
                      </a:lnTo>
                      <a:lnTo>
                        <a:pt x="884" y="184"/>
                      </a:lnTo>
                      <a:lnTo>
                        <a:pt x="884" y="184"/>
                      </a:lnTo>
                      <a:lnTo>
                        <a:pt x="884" y="184"/>
                      </a:lnTo>
                      <a:lnTo>
                        <a:pt x="884" y="184"/>
                      </a:lnTo>
                      <a:lnTo>
                        <a:pt x="884" y="184"/>
                      </a:lnTo>
                      <a:lnTo>
                        <a:pt x="884" y="183"/>
                      </a:lnTo>
                      <a:lnTo>
                        <a:pt x="884" y="182"/>
                      </a:lnTo>
                      <a:lnTo>
                        <a:pt x="884" y="182"/>
                      </a:lnTo>
                      <a:lnTo>
                        <a:pt x="885" y="182"/>
                      </a:lnTo>
                      <a:lnTo>
                        <a:pt x="885" y="181"/>
                      </a:lnTo>
                      <a:lnTo>
                        <a:pt x="885" y="182"/>
                      </a:lnTo>
                      <a:lnTo>
                        <a:pt x="885" y="181"/>
                      </a:lnTo>
                      <a:lnTo>
                        <a:pt x="885" y="182"/>
                      </a:lnTo>
                      <a:lnTo>
                        <a:pt x="885" y="181"/>
                      </a:lnTo>
                      <a:lnTo>
                        <a:pt x="885" y="181"/>
                      </a:lnTo>
                      <a:lnTo>
                        <a:pt x="885" y="182"/>
                      </a:lnTo>
                      <a:lnTo>
                        <a:pt x="885" y="181"/>
                      </a:lnTo>
                      <a:lnTo>
                        <a:pt x="885" y="181"/>
                      </a:lnTo>
                      <a:lnTo>
                        <a:pt x="885" y="181"/>
                      </a:lnTo>
                      <a:lnTo>
                        <a:pt x="886" y="181"/>
                      </a:lnTo>
                      <a:lnTo>
                        <a:pt x="887" y="180"/>
                      </a:lnTo>
                      <a:lnTo>
                        <a:pt x="887" y="180"/>
                      </a:lnTo>
                      <a:lnTo>
                        <a:pt x="887" y="179"/>
                      </a:lnTo>
                      <a:lnTo>
                        <a:pt x="888" y="179"/>
                      </a:lnTo>
                      <a:lnTo>
                        <a:pt x="888" y="179"/>
                      </a:lnTo>
                      <a:lnTo>
                        <a:pt x="888" y="179"/>
                      </a:lnTo>
                      <a:lnTo>
                        <a:pt x="888" y="179"/>
                      </a:lnTo>
                      <a:lnTo>
                        <a:pt x="889" y="179"/>
                      </a:lnTo>
                      <a:lnTo>
                        <a:pt x="889" y="179"/>
                      </a:lnTo>
                      <a:lnTo>
                        <a:pt x="890" y="179"/>
                      </a:lnTo>
                      <a:lnTo>
                        <a:pt x="891" y="179"/>
                      </a:lnTo>
                      <a:lnTo>
                        <a:pt x="890" y="179"/>
                      </a:lnTo>
                      <a:lnTo>
                        <a:pt x="891" y="180"/>
                      </a:lnTo>
                      <a:lnTo>
                        <a:pt x="890" y="180"/>
                      </a:lnTo>
                      <a:lnTo>
                        <a:pt x="891" y="180"/>
                      </a:lnTo>
                      <a:lnTo>
                        <a:pt x="891" y="181"/>
                      </a:lnTo>
                      <a:lnTo>
                        <a:pt x="891" y="181"/>
                      </a:lnTo>
                      <a:lnTo>
                        <a:pt x="891" y="181"/>
                      </a:lnTo>
                      <a:lnTo>
                        <a:pt x="890" y="181"/>
                      </a:lnTo>
                      <a:lnTo>
                        <a:pt x="890" y="181"/>
                      </a:lnTo>
                      <a:lnTo>
                        <a:pt x="889" y="181"/>
                      </a:lnTo>
                      <a:lnTo>
                        <a:pt x="890" y="181"/>
                      </a:lnTo>
                      <a:lnTo>
                        <a:pt x="890" y="182"/>
                      </a:lnTo>
                      <a:lnTo>
                        <a:pt x="891" y="182"/>
                      </a:lnTo>
                      <a:lnTo>
                        <a:pt x="891" y="182"/>
                      </a:lnTo>
                      <a:lnTo>
                        <a:pt x="892" y="182"/>
                      </a:lnTo>
                      <a:lnTo>
                        <a:pt x="892" y="182"/>
                      </a:lnTo>
                      <a:lnTo>
                        <a:pt x="892" y="183"/>
                      </a:lnTo>
                      <a:lnTo>
                        <a:pt x="892" y="184"/>
                      </a:lnTo>
                      <a:lnTo>
                        <a:pt x="892" y="184"/>
                      </a:lnTo>
                      <a:lnTo>
                        <a:pt x="892" y="184"/>
                      </a:lnTo>
                      <a:lnTo>
                        <a:pt x="892" y="184"/>
                      </a:lnTo>
                      <a:lnTo>
                        <a:pt x="892" y="185"/>
                      </a:lnTo>
                      <a:lnTo>
                        <a:pt x="892" y="184"/>
                      </a:lnTo>
                      <a:lnTo>
                        <a:pt x="892" y="185"/>
                      </a:lnTo>
                      <a:lnTo>
                        <a:pt x="892" y="185"/>
                      </a:lnTo>
                      <a:lnTo>
                        <a:pt x="892" y="186"/>
                      </a:lnTo>
                      <a:lnTo>
                        <a:pt x="892" y="186"/>
                      </a:lnTo>
                      <a:lnTo>
                        <a:pt x="892" y="187"/>
                      </a:lnTo>
                      <a:lnTo>
                        <a:pt x="892" y="187"/>
                      </a:lnTo>
                      <a:lnTo>
                        <a:pt x="892" y="188"/>
                      </a:lnTo>
                      <a:lnTo>
                        <a:pt x="893" y="188"/>
                      </a:lnTo>
                      <a:lnTo>
                        <a:pt x="894" y="188"/>
                      </a:lnTo>
                      <a:lnTo>
                        <a:pt x="894" y="188"/>
                      </a:lnTo>
                      <a:lnTo>
                        <a:pt x="895" y="188"/>
                      </a:lnTo>
                      <a:lnTo>
                        <a:pt x="896" y="188"/>
                      </a:lnTo>
                      <a:lnTo>
                        <a:pt x="896" y="188"/>
                      </a:lnTo>
                      <a:lnTo>
                        <a:pt x="896" y="188"/>
                      </a:lnTo>
                      <a:lnTo>
                        <a:pt x="897" y="188"/>
                      </a:lnTo>
                      <a:lnTo>
                        <a:pt x="898" y="188"/>
                      </a:lnTo>
                      <a:lnTo>
                        <a:pt x="898" y="189"/>
                      </a:lnTo>
                      <a:lnTo>
                        <a:pt x="899" y="189"/>
                      </a:lnTo>
                      <a:lnTo>
                        <a:pt x="899" y="189"/>
                      </a:lnTo>
                      <a:lnTo>
                        <a:pt x="899" y="189"/>
                      </a:lnTo>
                      <a:lnTo>
                        <a:pt x="900" y="189"/>
                      </a:lnTo>
                      <a:lnTo>
                        <a:pt x="900" y="189"/>
                      </a:lnTo>
                      <a:lnTo>
                        <a:pt x="901" y="189"/>
                      </a:lnTo>
                      <a:lnTo>
                        <a:pt x="901" y="190"/>
                      </a:lnTo>
                      <a:lnTo>
                        <a:pt x="902" y="190"/>
                      </a:lnTo>
                      <a:lnTo>
                        <a:pt x="902" y="191"/>
                      </a:lnTo>
                      <a:lnTo>
                        <a:pt x="902" y="192"/>
                      </a:lnTo>
                      <a:lnTo>
                        <a:pt x="901" y="192"/>
                      </a:lnTo>
                      <a:lnTo>
                        <a:pt x="901" y="192"/>
                      </a:lnTo>
                      <a:lnTo>
                        <a:pt x="902" y="193"/>
                      </a:lnTo>
                      <a:lnTo>
                        <a:pt x="902" y="193"/>
                      </a:lnTo>
                      <a:lnTo>
                        <a:pt x="902" y="193"/>
                      </a:lnTo>
                      <a:lnTo>
                        <a:pt x="903" y="193"/>
                      </a:lnTo>
                      <a:lnTo>
                        <a:pt x="903" y="194"/>
                      </a:lnTo>
                      <a:lnTo>
                        <a:pt x="903" y="194"/>
                      </a:lnTo>
                      <a:lnTo>
                        <a:pt x="904" y="194"/>
                      </a:lnTo>
                      <a:lnTo>
                        <a:pt x="904" y="194"/>
                      </a:lnTo>
                      <a:lnTo>
                        <a:pt x="904" y="193"/>
                      </a:lnTo>
                      <a:lnTo>
                        <a:pt x="905" y="193"/>
                      </a:lnTo>
                      <a:lnTo>
                        <a:pt x="906" y="193"/>
                      </a:lnTo>
                      <a:lnTo>
                        <a:pt x="906" y="194"/>
                      </a:lnTo>
                      <a:lnTo>
                        <a:pt x="906" y="193"/>
                      </a:lnTo>
                      <a:lnTo>
                        <a:pt x="906" y="193"/>
                      </a:lnTo>
                      <a:lnTo>
                        <a:pt x="907" y="193"/>
                      </a:lnTo>
                      <a:lnTo>
                        <a:pt x="907" y="193"/>
                      </a:lnTo>
                      <a:lnTo>
                        <a:pt x="908" y="193"/>
                      </a:lnTo>
                      <a:lnTo>
                        <a:pt x="909" y="193"/>
                      </a:lnTo>
                      <a:lnTo>
                        <a:pt x="909" y="193"/>
                      </a:lnTo>
                      <a:lnTo>
                        <a:pt x="909" y="193"/>
                      </a:lnTo>
                      <a:lnTo>
                        <a:pt x="910" y="193"/>
                      </a:lnTo>
                      <a:lnTo>
                        <a:pt x="910" y="194"/>
                      </a:lnTo>
                      <a:lnTo>
                        <a:pt x="910" y="193"/>
                      </a:lnTo>
                      <a:lnTo>
                        <a:pt x="909" y="193"/>
                      </a:lnTo>
                      <a:lnTo>
                        <a:pt x="910" y="193"/>
                      </a:lnTo>
                      <a:lnTo>
                        <a:pt x="910" y="193"/>
                      </a:lnTo>
                      <a:lnTo>
                        <a:pt x="910" y="194"/>
                      </a:lnTo>
                      <a:lnTo>
                        <a:pt x="911" y="194"/>
                      </a:lnTo>
                      <a:lnTo>
                        <a:pt x="911" y="194"/>
                      </a:lnTo>
                      <a:lnTo>
                        <a:pt x="910" y="194"/>
                      </a:lnTo>
                      <a:lnTo>
                        <a:pt x="911" y="195"/>
                      </a:lnTo>
                      <a:lnTo>
                        <a:pt x="910" y="195"/>
                      </a:lnTo>
                      <a:lnTo>
                        <a:pt x="911" y="195"/>
                      </a:lnTo>
                      <a:lnTo>
                        <a:pt x="911" y="195"/>
                      </a:lnTo>
                      <a:lnTo>
                        <a:pt x="911" y="195"/>
                      </a:lnTo>
                      <a:lnTo>
                        <a:pt x="911" y="195"/>
                      </a:lnTo>
                      <a:lnTo>
                        <a:pt x="911" y="195"/>
                      </a:lnTo>
                      <a:lnTo>
                        <a:pt x="910" y="195"/>
                      </a:lnTo>
                      <a:lnTo>
                        <a:pt x="911" y="195"/>
                      </a:lnTo>
                      <a:lnTo>
                        <a:pt x="910" y="194"/>
                      </a:lnTo>
                      <a:lnTo>
                        <a:pt x="911" y="194"/>
                      </a:lnTo>
                      <a:lnTo>
                        <a:pt x="911" y="194"/>
                      </a:lnTo>
                      <a:lnTo>
                        <a:pt x="911" y="194"/>
                      </a:lnTo>
                      <a:lnTo>
                        <a:pt x="911" y="194"/>
                      </a:lnTo>
                      <a:lnTo>
                        <a:pt x="911" y="194"/>
                      </a:lnTo>
                      <a:lnTo>
                        <a:pt x="911" y="194"/>
                      </a:lnTo>
                      <a:lnTo>
                        <a:pt x="911" y="194"/>
                      </a:lnTo>
                      <a:lnTo>
                        <a:pt x="911" y="194"/>
                      </a:lnTo>
                      <a:lnTo>
                        <a:pt x="910" y="194"/>
                      </a:lnTo>
                      <a:lnTo>
                        <a:pt x="910" y="193"/>
                      </a:lnTo>
                      <a:lnTo>
                        <a:pt x="910" y="193"/>
                      </a:lnTo>
                      <a:lnTo>
                        <a:pt x="910" y="193"/>
                      </a:lnTo>
                      <a:lnTo>
                        <a:pt x="910" y="193"/>
                      </a:lnTo>
                      <a:lnTo>
                        <a:pt x="910" y="193"/>
                      </a:lnTo>
                      <a:lnTo>
                        <a:pt x="910" y="193"/>
                      </a:lnTo>
                      <a:lnTo>
                        <a:pt x="910" y="193"/>
                      </a:lnTo>
                      <a:lnTo>
                        <a:pt x="911" y="193"/>
                      </a:lnTo>
                      <a:lnTo>
                        <a:pt x="910" y="193"/>
                      </a:lnTo>
                      <a:lnTo>
                        <a:pt x="910" y="193"/>
                      </a:lnTo>
                      <a:lnTo>
                        <a:pt x="909" y="193"/>
                      </a:lnTo>
                      <a:lnTo>
                        <a:pt x="909" y="193"/>
                      </a:lnTo>
                      <a:lnTo>
                        <a:pt x="909" y="193"/>
                      </a:lnTo>
                      <a:lnTo>
                        <a:pt x="910" y="192"/>
                      </a:lnTo>
                      <a:lnTo>
                        <a:pt x="910" y="192"/>
                      </a:lnTo>
                      <a:lnTo>
                        <a:pt x="910" y="192"/>
                      </a:lnTo>
                      <a:lnTo>
                        <a:pt x="910" y="192"/>
                      </a:lnTo>
                      <a:lnTo>
                        <a:pt x="910" y="192"/>
                      </a:lnTo>
                      <a:lnTo>
                        <a:pt x="911" y="192"/>
                      </a:lnTo>
                      <a:lnTo>
                        <a:pt x="911" y="192"/>
                      </a:lnTo>
                      <a:lnTo>
                        <a:pt x="911" y="192"/>
                      </a:lnTo>
                      <a:lnTo>
                        <a:pt x="911" y="192"/>
                      </a:lnTo>
                      <a:lnTo>
                        <a:pt x="911" y="192"/>
                      </a:lnTo>
                      <a:lnTo>
                        <a:pt x="911" y="192"/>
                      </a:lnTo>
                      <a:lnTo>
                        <a:pt x="911" y="193"/>
                      </a:lnTo>
                      <a:lnTo>
                        <a:pt x="911" y="193"/>
                      </a:lnTo>
                      <a:lnTo>
                        <a:pt x="911" y="193"/>
                      </a:lnTo>
                      <a:lnTo>
                        <a:pt x="911" y="193"/>
                      </a:lnTo>
                      <a:lnTo>
                        <a:pt x="911" y="193"/>
                      </a:lnTo>
                      <a:lnTo>
                        <a:pt x="911" y="194"/>
                      </a:lnTo>
                      <a:lnTo>
                        <a:pt x="912" y="194"/>
                      </a:lnTo>
                      <a:lnTo>
                        <a:pt x="913" y="194"/>
                      </a:lnTo>
                      <a:lnTo>
                        <a:pt x="912" y="194"/>
                      </a:lnTo>
                      <a:lnTo>
                        <a:pt x="913" y="194"/>
                      </a:lnTo>
                      <a:lnTo>
                        <a:pt x="913" y="194"/>
                      </a:lnTo>
                      <a:lnTo>
                        <a:pt x="912" y="194"/>
                      </a:lnTo>
                      <a:lnTo>
                        <a:pt x="912" y="194"/>
                      </a:lnTo>
                      <a:lnTo>
                        <a:pt x="913" y="194"/>
                      </a:lnTo>
                      <a:lnTo>
                        <a:pt x="912" y="194"/>
                      </a:lnTo>
                      <a:lnTo>
                        <a:pt x="912" y="194"/>
                      </a:lnTo>
                      <a:lnTo>
                        <a:pt x="913" y="194"/>
                      </a:lnTo>
                      <a:lnTo>
                        <a:pt x="912" y="194"/>
                      </a:lnTo>
                      <a:lnTo>
                        <a:pt x="912" y="195"/>
                      </a:lnTo>
                      <a:lnTo>
                        <a:pt x="912" y="194"/>
                      </a:lnTo>
                      <a:lnTo>
                        <a:pt x="912" y="195"/>
                      </a:lnTo>
                      <a:lnTo>
                        <a:pt x="912" y="194"/>
                      </a:lnTo>
                      <a:lnTo>
                        <a:pt x="913" y="194"/>
                      </a:lnTo>
                      <a:lnTo>
                        <a:pt x="913" y="194"/>
                      </a:lnTo>
                      <a:lnTo>
                        <a:pt x="913" y="194"/>
                      </a:lnTo>
                      <a:lnTo>
                        <a:pt x="913" y="194"/>
                      </a:lnTo>
                      <a:lnTo>
                        <a:pt x="914" y="194"/>
                      </a:lnTo>
                      <a:lnTo>
                        <a:pt x="913" y="194"/>
                      </a:lnTo>
                      <a:lnTo>
                        <a:pt x="914" y="194"/>
                      </a:lnTo>
                      <a:lnTo>
                        <a:pt x="914" y="194"/>
                      </a:lnTo>
                      <a:lnTo>
                        <a:pt x="914" y="194"/>
                      </a:lnTo>
                      <a:lnTo>
                        <a:pt x="914" y="194"/>
                      </a:lnTo>
                      <a:lnTo>
                        <a:pt x="914" y="194"/>
                      </a:lnTo>
                      <a:lnTo>
                        <a:pt x="914" y="194"/>
                      </a:lnTo>
                      <a:lnTo>
                        <a:pt x="914" y="194"/>
                      </a:lnTo>
                      <a:lnTo>
                        <a:pt x="913" y="194"/>
                      </a:lnTo>
                      <a:lnTo>
                        <a:pt x="913" y="194"/>
                      </a:lnTo>
                      <a:lnTo>
                        <a:pt x="913" y="194"/>
                      </a:lnTo>
                      <a:lnTo>
                        <a:pt x="913" y="194"/>
                      </a:lnTo>
                      <a:lnTo>
                        <a:pt x="913" y="194"/>
                      </a:lnTo>
                      <a:lnTo>
                        <a:pt x="912" y="194"/>
                      </a:lnTo>
                      <a:lnTo>
                        <a:pt x="911" y="194"/>
                      </a:lnTo>
                      <a:lnTo>
                        <a:pt x="911" y="193"/>
                      </a:lnTo>
                      <a:lnTo>
                        <a:pt x="912" y="193"/>
                      </a:lnTo>
                      <a:lnTo>
                        <a:pt x="912" y="193"/>
                      </a:lnTo>
                      <a:lnTo>
                        <a:pt x="913" y="193"/>
                      </a:lnTo>
                      <a:lnTo>
                        <a:pt x="912" y="193"/>
                      </a:lnTo>
                      <a:lnTo>
                        <a:pt x="912" y="193"/>
                      </a:lnTo>
                      <a:lnTo>
                        <a:pt x="911" y="193"/>
                      </a:lnTo>
                      <a:lnTo>
                        <a:pt x="911" y="192"/>
                      </a:lnTo>
                      <a:lnTo>
                        <a:pt x="912" y="192"/>
                      </a:lnTo>
                      <a:lnTo>
                        <a:pt x="913" y="192"/>
                      </a:lnTo>
                      <a:lnTo>
                        <a:pt x="913" y="192"/>
                      </a:lnTo>
                      <a:lnTo>
                        <a:pt x="913" y="192"/>
                      </a:lnTo>
                      <a:lnTo>
                        <a:pt x="913" y="192"/>
                      </a:lnTo>
                      <a:lnTo>
                        <a:pt x="913" y="192"/>
                      </a:lnTo>
                      <a:lnTo>
                        <a:pt x="913" y="192"/>
                      </a:lnTo>
                      <a:lnTo>
                        <a:pt x="913" y="192"/>
                      </a:lnTo>
                      <a:lnTo>
                        <a:pt x="912" y="192"/>
                      </a:lnTo>
                      <a:lnTo>
                        <a:pt x="911" y="192"/>
                      </a:lnTo>
                      <a:lnTo>
                        <a:pt x="911" y="192"/>
                      </a:lnTo>
                      <a:lnTo>
                        <a:pt x="911" y="192"/>
                      </a:lnTo>
                      <a:lnTo>
                        <a:pt x="911" y="192"/>
                      </a:lnTo>
                      <a:lnTo>
                        <a:pt x="911" y="191"/>
                      </a:lnTo>
                      <a:lnTo>
                        <a:pt x="912" y="191"/>
                      </a:lnTo>
                      <a:lnTo>
                        <a:pt x="913" y="191"/>
                      </a:lnTo>
                      <a:lnTo>
                        <a:pt x="913" y="190"/>
                      </a:lnTo>
                      <a:lnTo>
                        <a:pt x="913" y="190"/>
                      </a:lnTo>
                      <a:lnTo>
                        <a:pt x="914" y="190"/>
                      </a:lnTo>
                      <a:lnTo>
                        <a:pt x="914" y="190"/>
                      </a:lnTo>
                      <a:lnTo>
                        <a:pt x="913" y="190"/>
                      </a:lnTo>
                      <a:lnTo>
                        <a:pt x="914" y="190"/>
                      </a:lnTo>
                      <a:lnTo>
                        <a:pt x="914" y="190"/>
                      </a:lnTo>
                      <a:lnTo>
                        <a:pt x="914" y="190"/>
                      </a:lnTo>
                      <a:lnTo>
                        <a:pt x="914" y="190"/>
                      </a:lnTo>
                      <a:lnTo>
                        <a:pt x="915" y="190"/>
                      </a:lnTo>
                      <a:lnTo>
                        <a:pt x="915" y="190"/>
                      </a:lnTo>
                      <a:lnTo>
                        <a:pt x="915" y="190"/>
                      </a:lnTo>
                      <a:lnTo>
                        <a:pt x="915" y="190"/>
                      </a:lnTo>
                      <a:lnTo>
                        <a:pt x="916" y="190"/>
                      </a:lnTo>
                      <a:lnTo>
                        <a:pt x="916" y="190"/>
                      </a:lnTo>
                      <a:lnTo>
                        <a:pt x="915" y="190"/>
                      </a:lnTo>
                      <a:lnTo>
                        <a:pt x="915" y="190"/>
                      </a:lnTo>
                      <a:lnTo>
                        <a:pt x="914" y="190"/>
                      </a:lnTo>
                      <a:lnTo>
                        <a:pt x="914" y="190"/>
                      </a:lnTo>
                      <a:lnTo>
                        <a:pt x="914" y="189"/>
                      </a:lnTo>
                      <a:lnTo>
                        <a:pt x="914" y="189"/>
                      </a:lnTo>
                      <a:lnTo>
                        <a:pt x="914" y="189"/>
                      </a:lnTo>
                      <a:lnTo>
                        <a:pt x="914" y="189"/>
                      </a:lnTo>
                      <a:lnTo>
                        <a:pt x="914" y="188"/>
                      </a:lnTo>
                      <a:lnTo>
                        <a:pt x="913" y="188"/>
                      </a:lnTo>
                      <a:lnTo>
                        <a:pt x="913" y="188"/>
                      </a:lnTo>
                      <a:lnTo>
                        <a:pt x="913" y="187"/>
                      </a:lnTo>
                      <a:lnTo>
                        <a:pt x="913" y="186"/>
                      </a:lnTo>
                      <a:lnTo>
                        <a:pt x="913" y="186"/>
                      </a:lnTo>
                      <a:lnTo>
                        <a:pt x="913" y="185"/>
                      </a:lnTo>
                      <a:lnTo>
                        <a:pt x="912" y="185"/>
                      </a:lnTo>
                      <a:lnTo>
                        <a:pt x="913" y="185"/>
                      </a:lnTo>
                      <a:lnTo>
                        <a:pt x="913" y="185"/>
                      </a:lnTo>
                      <a:lnTo>
                        <a:pt x="913" y="185"/>
                      </a:lnTo>
                      <a:lnTo>
                        <a:pt x="912" y="185"/>
                      </a:lnTo>
                      <a:lnTo>
                        <a:pt x="912" y="185"/>
                      </a:lnTo>
                      <a:lnTo>
                        <a:pt x="912" y="185"/>
                      </a:lnTo>
                      <a:lnTo>
                        <a:pt x="912" y="184"/>
                      </a:lnTo>
                      <a:lnTo>
                        <a:pt x="912" y="184"/>
                      </a:lnTo>
                      <a:lnTo>
                        <a:pt x="911" y="184"/>
                      </a:lnTo>
                      <a:lnTo>
                        <a:pt x="911" y="183"/>
                      </a:lnTo>
                      <a:lnTo>
                        <a:pt x="911" y="182"/>
                      </a:lnTo>
                      <a:lnTo>
                        <a:pt x="911" y="182"/>
                      </a:lnTo>
                      <a:lnTo>
                        <a:pt x="911" y="182"/>
                      </a:lnTo>
                      <a:lnTo>
                        <a:pt x="910" y="182"/>
                      </a:lnTo>
                      <a:lnTo>
                        <a:pt x="910" y="182"/>
                      </a:lnTo>
                      <a:lnTo>
                        <a:pt x="909" y="182"/>
                      </a:lnTo>
                      <a:lnTo>
                        <a:pt x="909" y="182"/>
                      </a:lnTo>
                      <a:lnTo>
                        <a:pt x="908" y="182"/>
                      </a:lnTo>
                      <a:lnTo>
                        <a:pt x="907" y="182"/>
                      </a:lnTo>
                      <a:lnTo>
                        <a:pt x="907" y="181"/>
                      </a:lnTo>
                      <a:lnTo>
                        <a:pt x="907" y="181"/>
                      </a:lnTo>
                      <a:lnTo>
                        <a:pt x="907" y="181"/>
                      </a:lnTo>
                      <a:lnTo>
                        <a:pt x="907" y="181"/>
                      </a:lnTo>
                      <a:lnTo>
                        <a:pt x="908" y="181"/>
                      </a:lnTo>
                      <a:lnTo>
                        <a:pt x="907" y="181"/>
                      </a:lnTo>
                      <a:lnTo>
                        <a:pt x="908" y="181"/>
                      </a:lnTo>
                      <a:lnTo>
                        <a:pt x="908" y="180"/>
                      </a:lnTo>
                      <a:lnTo>
                        <a:pt x="909" y="180"/>
                      </a:lnTo>
                      <a:lnTo>
                        <a:pt x="909" y="180"/>
                      </a:lnTo>
                      <a:lnTo>
                        <a:pt x="910" y="180"/>
                      </a:lnTo>
                      <a:lnTo>
                        <a:pt x="910" y="180"/>
                      </a:lnTo>
                      <a:lnTo>
                        <a:pt x="910" y="179"/>
                      </a:lnTo>
                      <a:lnTo>
                        <a:pt x="911" y="179"/>
                      </a:lnTo>
                      <a:lnTo>
                        <a:pt x="911" y="180"/>
                      </a:lnTo>
                      <a:lnTo>
                        <a:pt x="910" y="180"/>
                      </a:lnTo>
                      <a:lnTo>
                        <a:pt x="911" y="180"/>
                      </a:lnTo>
                      <a:lnTo>
                        <a:pt x="911" y="179"/>
                      </a:lnTo>
                      <a:lnTo>
                        <a:pt x="911" y="179"/>
                      </a:lnTo>
                      <a:lnTo>
                        <a:pt x="911" y="179"/>
                      </a:lnTo>
                      <a:lnTo>
                        <a:pt x="911" y="179"/>
                      </a:lnTo>
                      <a:lnTo>
                        <a:pt x="910" y="179"/>
                      </a:lnTo>
                      <a:lnTo>
                        <a:pt x="910" y="178"/>
                      </a:lnTo>
                      <a:lnTo>
                        <a:pt x="911" y="178"/>
                      </a:lnTo>
                      <a:lnTo>
                        <a:pt x="910" y="178"/>
                      </a:lnTo>
                      <a:lnTo>
                        <a:pt x="910" y="177"/>
                      </a:lnTo>
                      <a:lnTo>
                        <a:pt x="910" y="177"/>
                      </a:lnTo>
                      <a:lnTo>
                        <a:pt x="910" y="176"/>
                      </a:lnTo>
                      <a:lnTo>
                        <a:pt x="910" y="175"/>
                      </a:lnTo>
                      <a:lnTo>
                        <a:pt x="911" y="175"/>
                      </a:lnTo>
                      <a:lnTo>
                        <a:pt x="911" y="175"/>
                      </a:lnTo>
                      <a:lnTo>
                        <a:pt x="910" y="175"/>
                      </a:lnTo>
                      <a:lnTo>
                        <a:pt x="910" y="175"/>
                      </a:lnTo>
                      <a:lnTo>
                        <a:pt x="909" y="174"/>
                      </a:lnTo>
                      <a:lnTo>
                        <a:pt x="910" y="174"/>
                      </a:lnTo>
                      <a:lnTo>
                        <a:pt x="910" y="174"/>
                      </a:lnTo>
                      <a:lnTo>
                        <a:pt x="911" y="174"/>
                      </a:lnTo>
                      <a:lnTo>
                        <a:pt x="910" y="174"/>
                      </a:lnTo>
                      <a:lnTo>
                        <a:pt x="911" y="174"/>
                      </a:lnTo>
                      <a:lnTo>
                        <a:pt x="911" y="174"/>
                      </a:lnTo>
                      <a:lnTo>
                        <a:pt x="911" y="175"/>
                      </a:lnTo>
                      <a:lnTo>
                        <a:pt x="912" y="175"/>
                      </a:lnTo>
                      <a:lnTo>
                        <a:pt x="913" y="175"/>
                      </a:lnTo>
                      <a:lnTo>
                        <a:pt x="913" y="175"/>
                      </a:lnTo>
                      <a:lnTo>
                        <a:pt x="914" y="175"/>
                      </a:lnTo>
                      <a:lnTo>
                        <a:pt x="913" y="175"/>
                      </a:lnTo>
                      <a:lnTo>
                        <a:pt x="914" y="175"/>
                      </a:lnTo>
                      <a:lnTo>
                        <a:pt x="914" y="175"/>
                      </a:lnTo>
                      <a:lnTo>
                        <a:pt x="915" y="175"/>
                      </a:lnTo>
                      <a:lnTo>
                        <a:pt x="915" y="175"/>
                      </a:lnTo>
                      <a:lnTo>
                        <a:pt x="916" y="175"/>
                      </a:lnTo>
                      <a:lnTo>
                        <a:pt x="917" y="175"/>
                      </a:lnTo>
                      <a:lnTo>
                        <a:pt x="917" y="175"/>
                      </a:lnTo>
                      <a:lnTo>
                        <a:pt x="918" y="175"/>
                      </a:lnTo>
                      <a:lnTo>
                        <a:pt x="918" y="175"/>
                      </a:lnTo>
                      <a:lnTo>
                        <a:pt x="919" y="175"/>
                      </a:lnTo>
                      <a:lnTo>
                        <a:pt x="919" y="176"/>
                      </a:lnTo>
                      <a:lnTo>
                        <a:pt x="919" y="175"/>
                      </a:lnTo>
                      <a:lnTo>
                        <a:pt x="920" y="176"/>
                      </a:lnTo>
                      <a:lnTo>
                        <a:pt x="920" y="176"/>
                      </a:lnTo>
                      <a:lnTo>
                        <a:pt x="921" y="176"/>
                      </a:lnTo>
                      <a:lnTo>
                        <a:pt x="922" y="176"/>
                      </a:lnTo>
                      <a:lnTo>
                        <a:pt x="922" y="177"/>
                      </a:lnTo>
                      <a:lnTo>
                        <a:pt x="922" y="177"/>
                      </a:lnTo>
                      <a:lnTo>
                        <a:pt x="923" y="177"/>
                      </a:lnTo>
                      <a:lnTo>
                        <a:pt x="924" y="177"/>
                      </a:lnTo>
                      <a:lnTo>
                        <a:pt x="924" y="177"/>
                      </a:lnTo>
                      <a:lnTo>
                        <a:pt x="925" y="177"/>
                      </a:lnTo>
                      <a:lnTo>
                        <a:pt x="925" y="177"/>
                      </a:lnTo>
                      <a:lnTo>
                        <a:pt x="925" y="177"/>
                      </a:lnTo>
                      <a:lnTo>
                        <a:pt x="925" y="177"/>
                      </a:lnTo>
                      <a:lnTo>
                        <a:pt x="926" y="177"/>
                      </a:lnTo>
                      <a:lnTo>
                        <a:pt x="926" y="177"/>
                      </a:lnTo>
                      <a:lnTo>
                        <a:pt x="926" y="177"/>
                      </a:lnTo>
                      <a:lnTo>
                        <a:pt x="927" y="177"/>
                      </a:lnTo>
                      <a:lnTo>
                        <a:pt x="928" y="177"/>
                      </a:lnTo>
                      <a:lnTo>
                        <a:pt x="928" y="177"/>
                      </a:lnTo>
                      <a:lnTo>
                        <a:pt x="928" y="177"/>
                      </a:lnTo>
                      <a:lnTo>
                        <a:pt x="929" y="177"/>
                      </a:lnTo>
                      <a:lnTo>
                        <a:pt x="929" y="178"/>
                      </a:lnTo>
                      <a:lnTo>
                        <a:pt x="929" y="178"/>
                      </a:lnTo>
                      <a:lnTo>
                        <a:pt x="930" y="178"/>
                      </a:lnTo>
                      <a:lnTo>
                        <a:pt x="930" y="178"/>
                      </a:lnTo>
                      <a:lnTo>
                        <a:pt x="930" y="178"/>
                      </a:lnTo>
                      <a:lnTo>
                        <a:pt x="931" y="178"/>
                      </a:lnTo>
                      <a:lnTo>
                        <a:pt x="932" y="178"/>
                      </a:lnTo>
                      <a:lnTo>
                        <a:pt x="932" y="179"/>
                      </a:lnTo>
                      <a:lnTo>
                        <a:pt x="932" y="179"/>
                      </a:lnTo>
                      <a:lnTo>
                        <a:pt x="932" y="179"/>
                      </a:lnTo>
                      <a:lnTo>
                        <a:pt x="932" y="179"/>
                      </a:lnTo>
                      <a:lnTo>
                        <a:pt x="932" y="179"/>
                      </a:lnTo>
                      <a:lnTo>
                        <a:pt x="932" y="179"/>
                      </a:lnTo>
                      <a:lnTo>
                        <a:pt x="932" y="180"/>
                      </a:lnTo>
                      <a:lnTo>
                        <a:pt x="932" y="180"/>
                      </a:lnTo>
                      <a:lnTo>
                        <a:pt x="932" y="180"/>
                      </a:lnTo>
                      <a:lnTo>
                        <a:pt x="933" y="180"/>
                      </a:lnTo>
                      <a:lnTo>
                        <a:pt x="932" y="180"/>
                      </a:lnTo>
                      <a:lnTo>
                        <a:pt x="933" y="180"/>
                      </a:lnTo>
                      <a:lnTo>
                        <a:pt x="932" y="180"/>
                      </a:lnTo>
                      <a:lnTo>
                        <a:pt x="932" y="179"/>
                      </a:lnTo>
                      <a:lnTo>
                        <a:pt x="932" y="180"/>
                      </a:lnTo>
                      <a:lnTo>
                        <a:pt x="933" y="180"/>
                      </a:lnTo>
                      <a:lnTo>
                        <a:pt x="932" y="180"/>
                      </a:lnTo>
                      <a:lnTo>
                        <a:pt x="932" y="179"/>
                      </a:lnTo>
                      <a:lnTo>
                        <a:pt x="933" y="179"/>
                      </a:lnTo>
                      <a:lnTo>
                        <a:pt x="932" y="179"/>
                      </a:lnTo>
                      <a:lnTo>
                        <a:pt x="933" y="179"/>
                      </a:lnTo>
                      <a:lnTo>
                        <a:pt x="933" y="180"/>
                      </a:lnTo>
                      <a:lnTo>
                        <a:pt x="933" y="179"/>
                      </a:lnTo>
                      <a:lnTo>
                        <a:pt x="933" y="179"/>
                      </a:lnTo>
                      <a:lnTo>
                        <a:pt x="933" y="179"/>
                      </a:lnTo>
                      <a:lnTo>
                        <a:pt x="933" y="179"/>
                      </a:lnTo>
                      <a:lnTo>
                        <a:pt x="933" y="179"/>
                      </a:lnTo>
                      <a:lnTo>
                        <a:pt x="933" y="179"/>
                      </a:lnTo>
                      <a:lnTo>
                        <a:pt x="933" y="179"/>
                      </a:lnTo>
                      <a:lnTo>
                        <a:pt x="933" y="179"/>
                      </a:lnTo>
                      <a:lnTo>
                        <a:pt x="934" y="179"/>
                      </a:lnTo>
                      <a:lnTo>
                        <a:pt x="933" y="179"/>
                      </a:lnTo>
                      <a:lnTo>
                        <a:pt x="934" y="179"/>
                      </a:lnTo>
                      <a:lnTo>
                        <a:pt x="934" y="179"/>
                      </a:lnTo>
                      <a:lnTo>
                        <a:pt x="934" y="179"/>
                      </a:lnTo>
                      <a:lnTo>
                        <a:pt x="934" y="179"/>
                      </a:lnTo>
                      <a:lnTo>
                        <a:pt x="934" y="178"/>
                      </a:lnTo>
                      <a:lnTo>
                        <a:pt x="933" y="178"/>
                      </a:lnTo>
                      <a:lnTo>
                        <a:pt x="933" y="178"/>
                      </a:lnTo>
                      <a:lnTo>
                        <a:pt x="933" y="178"/>
                      </a:lnTo>
                      <a:lnTo>
                        <a:pt x="933" y="178"/>
                      </a:lnTo>
                      <a:lnTo>
                        <a:pt x="933" y="178"/>
                      </a:lnTo>
                      <a:lnTo>
                        <a:pt x="932" y="178"/>
                      </a:lnTo>
                      <a:lnTo>
                        <a:pt x="933" y="178"/>
                      </a:lnTo>
                      <a:lnTo>
                        <a:pt x="932" y="178"/>
                      </a:lnTo>
                      <a:lnTo>
                        <a:pt x="932" y="177"/>
                      </a:lnTo>
                      <a:lnTo>
                        <a:pt x="932" y="178"/>
                      </a:lnTo>
                      <a:lnTo>
                        <a:pt x="932" y="178"/>
                      </a:lnTo>
                      <a:lnTo>
                        <a:pt x="932" y="178"/>
                      </a:lnTo>
                      <a:lnTo>
                        <a:pt x="932" y="178"/>
                      </a:lnTo>
                      <a:lnTo>
                        <a:pt x="932" y="177"/>
                      </a:lnTo>
                      <a:lnTo>
                        <a:pt x="933" y="177"/>
                      </a:lnTo>
                      <a:lnTo>
                        <a:pt x="933" y="177"/>
                      </a:lnTo>
                      <a:lnTo>
                        <a:pt x="934" y="177"/>
                      </a:lnTo>
                      <a:lnTo>
                        <a:pt x="935" y="177"/>
                      </a:lnTo>
                      <a:lnTo>
                        <a:pt x="935" y="178"/>
                      </a:lnTo>
                      <a:lnTo>
                        <a:pt x="935" y="178"/>
                      </a:lnTo>
                      <a:lnTo>
                        <a:pt x="936" y="178"/>
                      </a:lnTo>
                      <a:lnTo>
                        <a:pt x="935" y="178"/>
                      </a:lnTo>
                      <a:lnTo>
                        <a:pt x="936" y="178"/>
                      </a:lnTo>
                      <a:lnTo>
                        <a:pt x="936" y="178"/>
                      </a:lnTo>
                      <a:lnTo>
                        <a:pt x="935" y="178"/>
                      </a:lnTo>
                      <a:lnTo>
                        <a:pt x="936" y="178"/>
                      </a:lnTo>
                      <a:lnTo>
                        <a:pt x="936" y="179"/>
                      </a:lnTo>
                      <a:lnTo>
                        <a:pt x="936" y="179"/>
                      </a:lnTo>
                      <a:lnTo>
                        <a:pt x="936" y="178"/>
                      </a:lnTo>
                      <a:lnTo>
                        <a:pt x="936" y="178"/>
                      </a:lnTo>
                      <a:lnTo>
                        <a:pt x="936" y="178"/>
                      </a:lnTo>
                      <a:lnTo>
                        <a:pt x="936" y="178"/>
                      </a:lnTo>
                      <a:lnTo>
                        <a:pt x="936" y="178"/>
                      </a:lnTo>
                      <a:lnTo>
                        <a:pt x="936" y="178"/>
                      </a:lnTo>
                      <a:lnTo>
                        <a:pt x="936" y="178"/>
                      </a:lnTo>
                      <a:lnTo>
                        <a:pt x="936" y="178"/>
                      </a:lnTo>
                      <a:lnTo>
                        <a:pt x="937" y="178"/>
                      </a:lnTo>
                      <a:lnTo>
                        <a:pt x="937" y="178"/>
                      </a:lnTo>
                      <a:lnTo>
                        <a:pt x="937" y="178"/>
                      </a:lnTo>
                      <a:lnTo>
                        <a:pt x="937" y="178"/>
                      </a:lnTo>
                      <a:lnTo>
                        <a:pt x="937" y="178"/>
                      </a:lnTo>
                      <a:lnTo>
                        <a:pt x="938" y="178"/>
                      </a:lnTo>
                      <a:lnTo>
                        <a:pt x="937" y="178"/>
                      </a:lnTo>
                      <a:lnTo>
                        <a:pt x="937" y="178"/>
                      </a:lnTo>
                      <a:lnTo>
                        <a:pt x="937" y="178"/>
                      </a:lnTo>
                      <a:lnTo>
                        <a:pt x="937" y="178"/>
                      </a:lnTo>
                      <a:lnTo>
                        <a:pt x="937" y="178"/>
                      </a:lnTo>
                      <a:lnTo>
                        <a:pt x="938" y="178"/>
                      </a:lnTo>
                      <a:lnTo>
                        <a:pt x="938" y="178"/>
                      </a:lnTo>
                      <a:lnTo>
                        <a:pt x="938" y="179"/>
                      </a:lnTo>
                      <a:lnTo>
                        <a:pt x="938" y="178"/>
                      </a:lnTo>
                      <a:lnTo>
                        <a:pt x="938" y="179"/>
                      </a:lnTo>
                      <a:lnTo>
                        <a:pt x="938" y="179"/>
                      </a:lnTo>
                      <a:lnTo>
                        <a:pt x="938" y="180"/>
                      </a:lnTo>
                      <a:lnTo>
                        <a:pt x="939" y="180"/>
                      </a:lnTo>
                      <a:lnTo>
                        <a:pt x="938" y="179"/>
                      </a:lnTo>
                      <a:lnTo>
                        <a:pt x="939" y="179"/>
                      </a:lnTo>
                      <a:lnTo>
                        <a:pt x="939" y="180"/>
                      </a:lnTo>
                      <a:lnTo>
                        <a:pt x="939" y="179"/>
                      </a:lnTo>
                      <a:lnTo>
                        <a:pt x="938" y="179"/>
                      </a:lnTo>
                      <a:lnTo>
                        <a:pt x="939" y="179"/>
                      </a:lnTo>
                      <a:lnTo>
                        <a:pt x="938" y="179"/>
                      </a:lnTo>
                      <a:lnTo>
                        <a:pt x="939" y="179"/>
                      </a:lnTo>
                      <a:lnTo>
                        <a:pt x="938" y="179"/>
                      </a:lnTo>
                      <a:lnTo>
                        <a:pt x="938" y="179"/>
                      </a:lnTo>
                      <a:lnTo>
                        <a:pt x="938" y="179"/>
                      </a:lnTo>
                      <a:lnTo>
                        <a:pt x="939" y="179"/>
                      </a:lnTo>
                      <a:lnTo>
                        <a:pt x="938" y="179"/>
                      </a:lnTo>
                      <a:lnTo>
                        <a:pt x="938" y="179"/>
                      </a:lnTo>
                      <a:lnTo>
                        <a:pt x="939" y="179"/>
                      </a:lnTo>
                      <a:lnTo>
                        <a:pt x="938" y="179"/>
                      </a:lnTo>
                      <a:lnTo>
                        <a:pt x="938" y="178"/>
                      </a:lnTo>
                      <a:lnTo>
                        <a:pt x="938" y="178"/>
                      </a:lnTo>
                      <a:lnTo>
                        <a:pt x="939" y="178"/>
                      </a:lnTo>
                      <a:lnTo>
                        <a:pt x="939" y="178"/>
                      </a:lnTo>
                      <a:lnTo>
                        <a:pt x="939" y="178"/>
                      </a:lnTo>
                      <a:lnTo>
                        <a:pt x="939" y="178"/>
                      </a:lnTo>
                      <a:lnTo>
                        <a:pt x="940" y="178"/>
                      </a:lnTo>
                      <a:lnTo>
                        <a:pt x="940" y="178"/>
                      </a:lnTo>
                      <a:lnTo>
                        <a:pt x="941" y="178"/>
                      </a:lnTo>
                      <a:lnTo>
                        <a:pt x="941" y="178"/>
                      </a:lnTo>
                      <a:lnTo>
                        <a:pt x="942" y="178"/>
                      </a:lnTo>
                      <a:lnTo>
                        <a:pt x="943" y="178"/>
                      </a:lnTo>
                      <a:lnTo>
                        <a:pt x="943" y="178"/>
                      </a:lnTo>
                      <a:lnTo>
                        <a:pt x="944" y="178"/>
                      </a:lnTo>
                      <a:lnTo>
                        <a:pt x="945" y="178"/>
                      </a:lnTo>
                      <a:lnTo>
                        <a:pt x="946" y="178"/>
                      </a:lnTo>
                      <a:lnTo>
                        <a:pt x="946" y="178"/>
                      </a:lnTo>
                      <a:lnTo>
                        <a:pt x="947" y="178"/>
                      </a:lnTo>
                      <a:lnTo>
                        <a:pt x="947" y="178"/>
                      </a:lnTo>
                      <a:lnTo>
                        <a:pt x="948" y="178"/>
                      </a:lnTo>
                      <a:lnTo>
                        <a:pt x="948" y="178"/>
                      </a:lnTo>
                      <a:lnTo>
                        <a:pt x="949" y="178"/>
                      </a:lnTo>
                      <a:lnTo>
                        <a:pt x="950" y="178"/>
                      </a:lnTo>
                      <a:lnTo>
                        <a:pt x="950" y="178"/>
                      </a:lnTo>
                      <a:lnTo>
                        <a:pt x="950" y="178"/>
                      </a:lnTo>
                      <a:lnTo>
                        <a:pt x="949" y="178"/>
                      </a:lnTo>
                      <a:lnTo>
                        <a:pt x="948" y="178"/>
                      </a:lnTo>
                      <a:lnTo>
                        <a:pt x="948" y="178"/>
                      </a:lnTo>
                      <a:lnTo>
                        <a:pt x="948" y="178"/>
                      </a:lnTo>
                      <a:lnTo>
                        <a:pt x="949" y="178"/>
                      </a:lnTo>
                      <a:lnTo>
                        <a:pt x="950" y="178"/>
                      </a:lnTo>
                      <a:lnTo>
                        <a:pt x="950" y="178"/>
                      </a:lnTo>
                      <a:lnTo>
                        <a:pt x="950" y="178"/>
                      </a:lnTo>
                      <a:lnTo>
                        <a:pt x="950" y="178"/>
                      </a:lnTo>
                      <a:lnTo>
                        <a:pt x="950" y="178"/>
                      </a:lnTo>
                      <a:lnTo>
                        <a:pt x="951" y="178"/>
                      </a:lnTo>
                      <a:lnTo>
                        <a:pt x="951" y="178"/>
                      </a:lnTo>
                      <a:lnTo>
                        <a:pt x="952" y="178"/>
                      </a:lnTo>
                      <a:lnTo>
                        <a:pt x="952" y="178"/>
                      </a:lnTo>
                      <a:lnTo>
                        <a:pt x="953" y="178"/>
                      </a:lnTo>
                      <a:lnTo>
                        <a:pt x="952" y="178"/>
                      </a:lnTo>
                      <a:lnTo>
                        <a:pt x="952" y="178"/>
                      </a:lnTo>
                      <a:lnTo>
                        <a:pt x="952" y="178"/>
                      </a:lnTo>
                      <a:lnTo>
                        <a:pt x="952" y="179"/>
                      </a:lnTo>
                      <a:lnTo>
                        <a:pt x="952" y="179"/>
                      </a:lnTo>
                      <a:lnTo>
                        <a:pt x="952" y="179"/>
                      </a:lnTo>
                      <a:lnTo>
                        <a:pt x="952" y="178"/>
                      </a:lnTo>
                      <a:lnTo>
                        <a:pt x="952" y="179"/>
                      </a:lnTo>
                      <a:lnTo>
                        <a:pt x="953" y="179"/>
                      </a:lnTo>
                      <a:lnTo>
                        <a:pt x="954" y="179"/>
                      </a:lnTo>
                      <a:lnTo>
                        <a:pt x="953" y="179"/>
                      </a:lnTo>
                      <a:lnTo>
                        <a:pt x="954" y="179"/>
                      </a:lnTo>
                      <a:lnTo>
                        <a:pt x="954" y="179"/>
                      </a:lnTo>
                      <a:lnTo>
                        <a:pt x="954" y="179"/>
                      </a:lnTo>
                      <a:lnTo>
                        <a:pt x="955" y="179"/>
                      </a:lnTo>
                      <a:lnTo>
                        <a:pt x="955" y="179"/>
                      </a:lnTo>
                      <a:lnTo>
                        <a:pt x="955" y="179"/>
                      </a:lnTo>
                      <a:lnTo>
                        <a:pt x="955" y="178"/>
                      </a:lnTo>
                      <a:lnTo>
                        <a:pt x="955" y="178"/>
                      </a:lnTo>
                      <a:lnTo>
                        <a:pt x="954" y="178"/>
                      </a:lnTo>
                      <a:lnTo>
                        <a:pt x="954" y="178"/>
                      </a:lnTo>
                      <a:lnTo>
                        <a:pt x="954" y="178"/>
                      </a:lnTo>
                      <a:lnTo>
                        <a:pt x="954" y="179"/>
                      </a:lnTo>
                      <a:lnTo>
                        <a:pt x="954" y="178"/>
                      </a:lnTo>
                      <a:lnTo>
                        <a:pt x="954" y="179"/>
                      </a:lnTo>
                      <a:lnTo>
                        <a:pt x="954" y="178"/>
                      </a:lnTo>
                      <a:lnTo>
                        <a:pt x="953" y="178"/>
                      </a:lnTo>
                      <a:lnTo>
                        <a:pt x="954" y="178"/>
                      </a:lnTo>
                      <a:lnTo>
                        <a:pt x="953" y="178"/>
                      </a:lnTo>
                      <a:lnTo>
                        <a:pt x="952" y="178"/>
                      </a:lnTo>
                      <a:lnTo>
                        <a:pt x="952" y="178"/>
                      </a:lnTo>
                      <a:lnTo>
                        <a:pt x="951" y="178"/>
                      </a:lnTo>
                      <a:lnTo>
                        <a:pt x="951" y="178"/>
                      </a:lnTo>
                      <a:lnTo>
                        <a:pt x="950" y="178"/>
                      </a:lnTo>
                      <a:lnTo>
                        <a:pt x="950" y="178"/>
                      </a:lnTo>
                      <a:lnTo>
                        <a:pt x="950" y="178"/>
                      </a:lnTo>
                      <a:lnTo>
                        <a:pt x="950" y="178"/>
                      </a:lnTo>
                      <a:lnTo>
                        <a:pt x="950" y="178"/>
                      </a:lnTo>
                      <a:lnTo>
                        <a:pt x="951" y="178"/>
                      </a:lnTo>
                      <a:lnTo>
                        <a:pt x="952" y="178"/>
                      </a:lnTo>
                      <a:lnTo>
                        <a:pt x="952" y="178"/>
                      </a:lnTo>
                      <a:lnTo>
                        <a:pt x="953" y="178"/>
                      </a:lnTo>
                      <a:lnTo>
                        <a:pt x="954" y="178"/>
                      </a:lnTo>
                      <a:lnTo>
                        <a:pt x="954" y="178"/>
                      </a:lnTo>
                      <a:lnTo>
                        <a:pt x="955" y="178"/>
                      </a:lnTo>
                      <a:lnTo>
                        <a:pt x="955" y="178"/>
                      </a:lnTo>
                      <a:lnTo>
                        <a:pt x="956" y="178"/>
                      </a:lnTo>
                      <a:lnTo>
                        <a:pt x="956" y="179"/>
                      </a:lnTo>
                      <a:lnTo>
                        <a:pt x="956" y="179"/>
                      </a:lnTo>
                      <a:lnTo>
                        <a:pt x="956" y="179"/>
                      </a:lnTo>
                      <a:lnTo>
                        <a:pt x="956" y="179"/>
                      </a:lnTo>
                      <a:lnTo>
                        <a:pt x="956" y="179"/>
                      </a:lnTo>
                      <a:lnTo>
                        <a:pt x="957" y="179"/>
                      </a:lnTo>
                      <a:lnTo>
                        <a:pt x="956" y="179"/>
                      </a:lnTo>
                      <a:lnTo>
                        <a:pt x="957" y="179"/>
                      </a:lnTo>
                      <a:lnTo>
                        <a:pt x="958" y="179"/>
                      </a:lnTo>
                      <a:lnTo>
                        <a:pt x="958" y="180"/>
                      </a:lnTo>
                      <a:lnTo>
                        <a:pt x="958" y="180"/>
                      </a:lnTo>
                      <a:lnTo>
                        <a:pt x="959" y="180"/>
                      </a:lnTo>
                      <a:lnTo>
                        <a:pt x="959" y="180"/>
                      </a:lnTo>
                      <a:lnTo>
                        <a:pt x="959" y="181"/>
                      </a:lnTo>
                      <a:lnTo>
                        <a:pt x="960" y="181"/>
                      </a:lnTo>
                      <a:lnTo>
                        <a:pt x="961" y="181"/>
                      </a:lnTo>
                      <a:lnTo>
                        <a:pt x="960" y="181"/>
                      </a:lnTo>
                      <a:lnTo>
                        <a:pt x="961" y="181"/>
                      </a:lnTo>
                      <a:lnTo>
                        <a:pt x="961" y="181"/>
                      </a:lnTo>
                      <a:lnTo>
                        <a:pt x="961" y="181"/>
                      </a:lnTo>
                      <a:lnTo>
                        <a:pt x="962" y="181"/>
                      </a:lnTo>
                      <a:lnTo>
                        <a:pt x="962" y="181"/>
                      </a:lnTo>
                      <a:lnTo>
                        <a:pt x="963" y="181"/>
                      </a:lnTo>
                      <a:lnTo>
                        <a:pt x="963" y="182"/>
                      </a:lnTo>
                      <a:lnTo>
                        <a:pt x="963" y="182"/>
                      </a:lnTo>
                      <a:lnTo>
                        <a:pt x="964" y="182"/>
                      </a:lnTo>
                      <a:lnTo>
                        <a:pt x="965" y="182"/>
                      </a:lnTo>
                      <a:lnTo>
                        <a:pt x="965" y="182"/>
                      </a:lnTo>
                      <a:lnTo>
                        <a:pt x="966" y="182"/>
                      </a:lnTo>
                      <a:lnTo>
                        <a:pt x="965" y="182"/>
                      </a:lnTo>
                      <a:lnTo>
                        <a:pt x="966" y="182"/>
                      </a:lnTo>
                      <a:lnTo>
                        <a:pt x="966" y="182"/>
                      </a:lnTo>
                      <a:lnTo>
                        <a:pt x="966" y="182"/>
                      </a:lnTo>
                      <a:lnTo>
                        <a:pt x="967" y="182"/>
                      </a:lnTo>
                      <a:lnTo>
                        <a:pt x="967" y="182"/>
                      </a:lnTo>
                      <a:lnTo>
                        <a:pt x="967" y="183"/>
                      </a:lnTo>
                      <a:lnTo>
                        <a:pt x="968" y="183"/>
                      </a:lnTo>
                      <a:lnTo>
                        <a:pt x="967" y="182"/>
                      </a:lnTo>
                      <a:lnTo>
                        <a:pt x="968" y="183"/>
                      </a:lnTo>
                      <a:lnTo>
                        <a:pt x="969" y="183"/>
                      </a:lnTo>
                      <a:lnTo>
                        <a:pt x="969" y="183"/>
                      </a:lnTo>
                      <a:lnTo>
                        <a:pt x="969" y="184"/>
                      </a:lnTo>
                      <a:lnTo>
                        <a:pt x="970" y="184"/>
                      </a:lnTo>
                      <a:lnTo>
                        <a:pt x="970" y="184"/>
                      </a:lnTo>
                      <a:lnTo>
                        <a:pt x="971" y="184"/>
                      </a:lnTo>
                      <a:lnTo>
                        <a:pt x="971" y="184"/>
                      </a:lnTo>
                      <a:lnTo>
                        <a:pt x="972" y="184"/>
                      </a:lnTo>
                      <a:lnTo>
                        <a:pt x="972" y="184"/>
                      </a:lnTo>
                      <a:lnTo>
                        <a:pt x="972" y="184"/>
                      </a:lnTo>
                      <a:lnTo>
                        <a:pt x="973" y="184"/>
                      </a:lnTo>
                      <a:lnTo>
                        <a:pt x="973" y="184"/>
                      </a:lnTo>
                      <a:lnTo>
                        <a:pt x="973" y="184"/>
                      </a:lnTo>
                      <a:lnTo>
                        <a:pt x="973" y="184"/>
                      </a:lnTo>
                      <a:lnTo>
                        <a:pt x="973" y="184"/>
                      </a:lnTo>
                      <a:lnTo>
                        <a:pt x="973" y="184"/>
                      </a:lnTo>
                      <a:lnTo>
                        <a:pt x="973" y="184"/>
                      </a:lnTo>
                      <a:lnTo>
                        <a:pt x="973" y="184"/>
                      </a:lnTo>
                      <a:lnTo>
                        <a:pt x="973" y="184"/>
                      </a:lnTo>
                      <a:lnTo>
                        <a:pt x="972" y="184"/>
                      </a:lnTo>
                      <a:lnTo>
                        <a:pt x="973" y="184"/>
                      </a:lnTo>
                      <a:lnTo>
                        <a:pt x="973" y="184"/>
                      </a:lnTo>
                      <a:lnTo>
                        <a:pt x="973" y="184"/>
                      </a:lnTo>
                      <a:lnTo>
                        <a:pt x="974" y="184"/>
                      </a:lnTo>
                      <a:lnTo>
                        <a:pt x="974" y="184"/>
                      </a:lnTo>
                      <a:lnTo>
                        <a:pt x="974" y="184"/>
                      </a:lnTo>
                      <a:lnTo>
                        <a:pt x="975" y="184"/>
                      </a:lnTo>
                      <a:lnTo>
                        <a:pt x="976" y="184"/>
                      </a:lnTo>
                      <a:lnTo>
                        <a:pt x="976" y="185"/>
                      </a:lnTo>
                      <a:lnTo>
                        <a:pt x="977" y="185"/>
                      </a:lnTo>
                      <a:lnTo>
                        <a:pt x="977" y="185"/>
                      </a:lnTo>
                      <a:lnTo>
                        <a:pt x="977" y="185"/>
                      </a:lnTo>
                      <a:lnTo>
                        <a:pt x="978" y="185"/>
                      </a:lnTo>
                      <a:lnTo>
                        <a:pt x="978" y="185"/>
                      </a:lnTo>
                      <a:lnTo>
                        <a:pt x="979" y="186"/>
                      </a:lnTo>
                      <a:lnTo>
                        <a:pt x="980" y="186"/>
                      </a:lnTo>
                      <a:lnTo>
                        <a:pt x="981" y="187"/>
                      </a:lnTo>
                      <a:lnTo>
                        <a:pt x="981" y="187"/>
                      </a:lnTo>
                      <a:lnTo>
                        <a:pt x="981" y="187"/>
                      </a:lnTo>
                      <a:lnTo>
                        <a:pt x="980" y="186"/>
                      </a:lnTo>
                      <a:lnTo>
                        <a:pt x="980" y="186"/>
                      </a:lnTo>
                      <a:lnTo>
                        <a:pt x="980" y="186"/>
                      </a:lnTo>
                      <a:lnTo>
                        <a:pt x="980" y="186"/>
                      </a:lnTo>
                      <a:lnTo>
                        <a:pt x="980" y="186"/>
                      </a:lnTo>
                      <a:lnTo>
                        <a:pt x="979" y="186"/>
                      </a:lnTo>
                      <a:lnTo>
                        <a:pt x="978" y="186"/>
                      </a:lnTo>
                      <a:lnTo>
                        <a:pt x="978" y="185"/>
                      </a:lnTo>
                      <a:lnTo>
                        <a:pt x="978" y="185"/>
                      </a:lnTo>
                      <a:lnTo>
                        <a:pt x="978" y="185"/>
                      </a:lnTo>
                      <a:lnTo>
                        <a:pt x="978" y="186"/>
                      </a:lnTo>
                      <a:lnTo>
                        <a:pt x="979" y="186"/>
                      </a:lnTo>
                      <a:lnTo>
                        <a:pt x="978" y="186"/>
                      </a:lnTo>
                      <a:lnTo>
                        <a:pt x="979" y="186"/>
                      </a:lnTo>
                      <a:lnTo>
                        <a:pt x="978" y="186"/>
                      </a:lnTo>
                      <a:lnTo>
                        <a:pt x="978" y="186"/>
                      </a:lnTo>
                      <a:lnTo>
                        <a:pt x="978" y="186"/>
                      </a:lnTo>
                      <a:lnTo>
                        <a:pt x="978" y="186"/>
                      </a:lnTo>
                      <a:lnTo>
                        <a:pt x="978" y="185"/>
                      </a:lnTo>
                      <a:lnTo>
                        <a:pt x="977" y="185"/>
                      </a:lnTo>
                      <a:lnTo>
                        <a:pt x="977" y="185"/>
                      </a:lnTo>
                      <a:lnTo>
                        <a:pt x="976" y="185"/>
                      </a:lnTo>
                      <a:lnTo>
                        <a:pt x="976" y="186"/>
                      </a:lnTo>
                      <a:lnTo>
                        <a:pt x="976" y="186"/>
                      </a:lnTo>
                      <a:lnTo>
                        <a:pt x="977" y="186"/>
                      </a:lnTo>
                      <a:lnTo>
                        <a:pt x="977" y="186"/>
                      </a:lnTo>
                      <a:lnTo>
                        <a:pt x="978" y="186"/>
                      </a:lnTo>
                      <a:lnTo>
                        <a:pt x="977" y="186"/>
                      </a:lnTo>
                      <a:lnTo>
                        <a:pt x="978" y="186"/>
                      </a:lnTo>
                      <a:lnTo>
                        <a:pt x="978" y="186"/>
                      </a:lnTo>
                      <a:lnTo>
                        <a:pt x="979" y="186"/>
                      </a:lnTo>
                      <a:lnTo>
                        <a:pt x="980" y="186"/>
                      </a:lnTo>
                      <a:lnTo>
                        <a:pt x="980" y="186"/>
                      </a:lnTo>
                      <a:lnTo>
                        <a:pt x="981" y="186"/>
                      </a:lnTo>
                      <a:lnTo>
                        <a:pt x="981" y="187"/>
                      </a:lnTo>
                      <a:lnTo>
                        <a:pt x="981" y="187"/>
                      </a:lnTo>
                      <a:lnTo>
                        <a:pt x="981" y="188"/>
                      </a:lnTo>
                      <a:lnTo>
                        <a:pt x="981" y="187"/>
                      </a:lnTo>
                      <a:lnTo>
                        <a:pt x="981" y="187"/>
                      </a:lnTo>
                      <a:lnTo>
                        <a:pt x="981" y="188"/>
                      </a:lnTo>
                      <a:lnTo>
                        <a:pt x="981" y="187"/>
                      </a:lnTo>
                      <a:lnTo>
                        <a:pt x="981" y="188"/>
                      </a:lnTo>
                      <a:lnTo>
                        <a:pt x="982" y="188"/>
                      </a:lnTo>
                      <a:lnTo>
                        <a:pt x="982" y="188"/>
                      </a:lnTo>
                      <a:lnTo>
                        <a:pt x="982" y="188"/>
                      </a:lnTo>
                      <a:lnTo>
                        <a:pt x="983" y="189"/>
                      </a:lnTo>
                      <a:lnTo>
                        <a:pt x="984" y="189"/>
                      </a:lnTo>
                      <a:lnTo>
                        <a:pt x="984" y="189"/>
                      </a:lnTo>
                      <a:lnTo>
                        <a:pt x="984" y="189"/>
                      </a:lnTo>
                      <a:lnTo>
                        <a:pt x="985" y="190"/>
                      </a:lnTo>
                      <a:lnTo>
                        <a:pt x="985" y="190"/>
                      </a:lnTo>
                      <a:lnTo>
                        <a:pt x="985" y="190"/>
                      </a:lnTo>
                      <a:lnTo>
                        <a:pt x="985" y="189"/>
                      </a:lnTo>
                      <a:lnTo>
                        <a:pt x="984" y="189"/>
                      </a:lnTo>
                      <a:lnTo>
                        <a:pt x="984" y="189"/>
                      </a:lnTo>
                      <a:lnTo>
                        <a:pt x="983" y="189"/>
                      </a:lnTo>
                      <a:lnTo>
                        <a:pt x="983" y="188"/>
                      </a:lnTo>
                      <a:lnTo>
                        <a:pt x="982" y="188"/>
                      </a:lnTo>
                      <a:lnTo>
                        <a:pt x="982" y="188"/>
                      </a:lnTo>
                      <a:lnTo>
                        <a:pt x="982" y="188"/>
                      </a:lnTo>
                      <a:lnTo>
                        <a:pt x="982" y="187"/>
                      </a:lnTo>
                      <a:lnTo>
                        <a:pt x="981" y="187"/>
                      </a:lnTo>
                      <a:lnTo>
                        <a:pt x="982" y="188"/>
                      </a:lnTo>
                      <a:lnTo>
                        <a:pt x="982" y="188"/>
                      </a:lnTo>
                      <a:lnTo>
                        <a:pt x="983" y="188"/>
                      </a:lnTo>
                      <a:lnTo>
                        <a:pt x="984" y="189"/>
                      </a:lnTo>
                      <a:lnTo>
                        <a:pt x="984" y="189"/>
                      </a:lnTo>
                      <a:lnTo>
                        <a:pt x="985" y="189"/>
                      </a:lnTo>
                      <a:lnTo>
                        <a:pt x="985" y="190"/>
                      </a:lnTo>
                      <a:lnTo>
                        <a:pt x="986" y="190"/>
                      </a:lnTo>
                      <a:lnTo>
                        <a:pt x="987" y="190"/>
                      </a:lnTo>
                      <a:lnTo>
                        <a:pt x="987" y="241"/>
                      </a:lnTo>
                      <a:lnTo>
                        <a:pt x="986" y="241"/>
                      </a:lnTo>
                      <a:lnTo>
                        <a:pt x="985" y="241"/>
                      </a:lnTo>
                      <a:lnTo>
                        <a:pt x="985" y="242"/>
                      </a:lnTo>
                      <a:lnTo>
                        <a:pt x="986" y="242"/>
                      </a:lnTo>
                      <a:lnTo>
                        <a:pt x="985" y="242"/>
                      </a:lnTo>
                      <a:lnTo>
                        <a:pt x="986" y="242"/>
                      </a:lnTo>
                      <a:lnTo>
                        <a:pt x="985" y="242"/>
                      </a:lnTo>
                      <a:lnTo>
                        <a:pt x="985" y="243"/>
                      </a:lnTo>
                      <a:lnTo>
                        <a:pt x="985" y="242"/>
                      </a:lnTo>
                      <a:lnTo>
                        <a:pt x="986" y="242"/>
                      </a:lnTo>
                      <a:lnTo>
                        <a:pt x="987" y="242"/>
                      </a:lnTo>
                      <a:lnTo>
                        <a:pt x="986" y="242"/>
                      </a:lnTo>
                      <a:lnTo>
                        <a:pt x="987" y="242"/>
                      </a:lnTo>
                      <a:lnTo>
                        <a:pt x="987" y="244"/>
                      </a:lnTo>
                      <a:lnTo>
                        <a:pt x="987" y="245"/>
                      </a:lnTo>
                      <a:lnTo>
                        <a:pt x="986" y="245"/>
                      </a:lnTo>
                      <a:lnTo>
                        <a:pt x="986" y="246"/>
                      </a:lnTo>
                      <a:lnTo>
                        <a:pt x="985" y="246"/>
                      </a:lnTo>
                      <a:lnTo>
                        <a:pt x="985" y="246"/>
                      </a:lnTo>
                      <a:lnTo>
                        <a:pt x="985" y="247"/>
                      </a:lnTo>
                      <a:lnTo>
                        <a:pt x="984" y="247"/>
                      </a:lnTo>
                      <a:lnTo>
                        <a:pt x="984" y="247"/>
                      </a:lnTo>
                      <a:lnTo>
                        <a:pt x="984" y="247"/>
                      </a:lnTo>
                      <a:lnTo>
                        <a:pt x="984" y="248"/>
                      </a:lnTo>
                      <a:lnTo>
                        <a:pt x="983" y="248"/>
                      </a:lnTo>
                      <a:lnTo>
                        <a:pt x="983" y="248"/>
                      </a:lnTo>
                      <a:lnTo>
                        <a:pt x="982" y="248"/>
                      </a:lnTo>
                      <a:lnTo>
                        <a:pt x="982" y="249"/>
                      </a:lnTo>
                      <a:lnTo>
                        <a:pt x="982" y="249"/>
                      </a:lnTo>
                      <a:lnTo>
                        <a:pt x="981" y="249"/>
                      </a:lnTo>
                      <a:lnTo>
                        <a:pt x="981" y="249"/>
                      </a:lnTo>
                      <a:lnTo>
                        <a:pt x="980" y="249"/>
                      </a:lnTo>
                      <a:lnTo>
                        <a:pt x="980" y="249"/>
                      </a:lnTo>
                      <a:lnTo>
                        <a:pt x="979" y="249"/>
                      </a:lnTo>
                      <a:lnTo>
                        <a:pt x="979" y="250"/>
                      </a:lnTo>
                      <a:lnTo>
                        <a:pt x="978" y="250"/>
                      </a:lnTo>
                      <a:lnTo>
                        <a:pt x="978" y="250"/>
                      </a:lnTo>
                      <a:lnTo>
                        <a:pt x="977" y="251"/>
                      </a:lnTo>
                      <a:lnTo>
                        <a:pt x="977" y="251"/>
                      </a:lnTo>
                      <a:lnTo>
                        <a:pt x="977" y="251"/>
                      </a:lnTo>
                      <a:lnTo>
                        <a:pt x="976" y="251"/>
                      </a:lnTo>
                      <a:lnTo>
                        <a:pt x="976" y="252"/>
                      </a:lnTo>
                      <a:lnTo>
                        <a:pt x="976" y="252"/>
                      </a:lnTo>
                      <a:lnTo>
                        <a:pt x="975" y="252"/>
                      </a:lnTo>
                      <a:lnTo>
                        <a:pt x="975" y="252"/>
                      </a:lnTo>
                      <a:lnTo>
                        <a:pt x="974" y="252"/>
                      </a:lnTo>
                      <a:lnTo>
                        <a:pt x="974" y="252"/>
                      </a:lnTo>
                      <a:lnTo>
                        <a:pt x="975" y="252"/>
                      </a:lnTo>
                      <a:lnTo>
                        <a:pt x="976" y="252"/>
                      </a:lnTo>
                      <a:lnTo>
                        <a:pt x="976" y="252"/>
                      </a:lnTo>
                      <a:lnTo>
                        <a:pt x="976" y="251"/>
                      </a:lnTo>
                      <a:lnTo>
                        <a:pt x="977" y="251"/>
                      </a:lnTo>
                      <a:lnTo>
                        <a:pt x="977" y="251"/>
                      </a:lnTo>
                      <a:lnTo>
                        <a:pt x="977" y="251"/>
                      </a:lnTo>
                      <a:lnTo>
                        <a:pt x="977" y="251"/>
                      </a:lnTo>
                      <a:lnTo>
                        <a:pt x="976" y="251"/>
                      </a:lnTo>
                      <a:lnTo>
                        <a:pt x="976" y="251"/>
                      </a:lnTo>
                      <a:lnTo>
                        <a:pt x="975" y="251"/>
                      </a:lnTo>
                      <a:lnTo>
                        <a:pt x="975" y="251"/>
                      </a:lnTo>
                      <a:lnTo>
                        <a:pt x="974" y="251"/>
                      </a:lnTo>
                      <a:lnTo>
                        <a:pt x="974" y="251"/>
                      </a:lnTo>
                      <a:lnTo>
                        <a:pt x="973" y="251"/>
                      </a:lnTo>
                      <a:lnTo>
                        <a:pt x="973" y="251"/>
                      </a:lnTo>
                      <a:lnTo>
                        <a:pt x="972" y="251"/>
                      </a:lnTo>
                      <a:lnTo>
                        <a:pt x="973" y="251"/>
                      </a:lnTo>
                      <a:lnTo>
                        <a:pt x="972" y="251"/>
                      </a:lnTo>
                      <a:lnTo>
                        <a:pt x="972" y="251"/>
                      </a:lnTo>
                      <a:lnTo>
                        <a:pt x="971" y="251"/>
                      </a:lnTo>
                      <a:lnTo>
                        <a:pt x="970" y="251"/>
                      </a:lnTo>
                      <a:lnTo>
                        <a:pt x="970" y="251"/>
                      </a:lnTo>
                      <a:lnTo>
                        <a:pt x="970" y="251"/>
                      </a:lnTo>
                      <a:lnTo>
                        <a:pt x="969" y="251"/>
                      </a:lnTo>
                      <a:lnTo>
                        <a:pt x="969" y="251"/>
                      </a:lnTo>
                      <a:lnTo>
                        <a:pt x="968" y="251"/>
                      </a:lnTo>
                      <a:lnTo>
                        <a:pt x="967" y="251"/>
                      </a:lnTo>
                      <a:lnTo>
                        <a:pt x="967" y="250"/>
                      </a:lnTo>
                      <a:lnTo>
                        <a:pt x="967" y="251"/>
                      </a:lnTo>
                      <a:lnTo>
                        <a:pt x="967" y="250"/>
                      </a:lnTo>
                      <a:lnTo>
                        <a:pt x="967" y="249"/>
                      </a:lnTo>
                      <a:lnTo>
                        <a:pt x="966" y="249"/>
                      </a:lnTo>
                      <a:lnTo>
                        <a:pt x="967" y="249"/>
                      </a:lnTo>
                      <a:lnTo>
                        <a:pt x="966" y="249"/>
                      </a:lnTo>
                      <a:lnTo>
                        <a:pt x="966" y="249"/>
                      </a:lnTo>
                      <a:lnTo>
                        <a:pt x="965" y="249"/>
                      </a:lnTo>
                      <a:lnTo>
                        <a:pt x="966" y="249"/>
                      </a:lnTo>
                      <a:lnTo>
                        <a:pt x="966" y="249"/>
                      </a:lnTo>
                      <a:lnTo>
                        <a:pt x="965" y="247"/>
                      </a:lnTo>
                      <a:lnTo>
                        <a:pt x="965" y="247"/>
                      </a:lnTo>
                      <a:lnTo>
                        <a:pt x="964" y="247"/>
                      </a:lnTo>
                      <a:lnTo>
                        <a:pt x="964" y="247"/>
                      </a:lnTo>
                      <a:lnTo>
                        <a:pt x="963" y="246"/>
                      </a:lnTo>
                      <a:lnTo>
                        <a:pt x="964" y="247"/>
                      </a:lnTo>
                      <a:lnTo>
                        <a:pt x="964" y="246"/>
                      </a:lnTo>
                      <a:lnTo>
                        <a:pt x="963" y="246"/>
                      </a:lnTo>
                      <a:lnTo>
                        <a:pt x="963" y="246"/>
                      </a:lnTo>
                      <a:lnTo>
                        <a:pt x="963" y="245"/>
                      </a:lnTo>
                      <a:lnTo>
                        <a:pt x="960" y="245"/>
                      </a:lnTo>
                      <a:lnTo>
                        <a:pt x="962" y="245"/>
                      </a:lnTo>
                      <a:lnTo>
                        <a:pt x="960" y="245"/>
                      </a:lnTo>
                      <a:lnTo>
                        <a:pt x="960" y="246"/>
                      </a:lnTo>
                      <a:lnTo>
                        <a:pt x="959" y="246"/>
                      </a:lnTo>
                      <a:lnTo>
                        <a:pt x="959" y="246"/>
                      </a:lnTo>
                      <a:lnTo>
                        <a:pt x="959" y="245"/>
                      </a:lnTo>
                      <a:lnTo>
                        <a:pt x="958" y="245"/>
                      </a:lnTo>
                      <a:lnTo>
                        <a:pt x="958" y="246"/>
                      </a:lnTo>
                      <a:lnTo>
                        <a:pt x="957" y="246"/>
                      </a:lnTo>
                      <a:lnTo>
                        <a:pt x="958" y="246"/>
                      </a:lnTo>
                      <a:lnTo>
                        <a:pt x="958" y="246"/>
                      </a:lnTo>
                      <a:lnTo>
                        <a:pt x="958" y="247"/>
                      </a:lnTo>
                      <a:lnTo>
                        <a:pt x="959" y="247"/>
                      </a:lnTo>
                      <a:lnTo>
                        <a:pt x="959" y="247"/>
                      </a:lnTo>
                      <a:lnTo>
                        <a:pt x="960" y="247"/>
                      </a:lnTo>
                      <a:lnTo>
                        <a:pt x="961" y="247"/>
                      </a:lnTo>
                      <a:lnTo>
                        <a:pt x="961" y="246"/>
                      </a:lnTo>
                      <a:lnTo>
                        <a:pt x="961" y="246"/>
                      </a:lnTo>
                      <a:lnTo>
                        <a:pt x="962" y="246"/>
                      </a:lnTo>
                      <a:lnTo>
                        <a:pt x="962" y="246"/>
                      </a:lnTo>
                      <a:lnTo>
                        <a:pt x="962" y="247"/>
                      </a:lnTo>
                      <a:lnTo>
                        <a:pt x="963" y="247"/>
                      </a:lnTo>
                      <a:lnTo>
                        <a:pt x="963" y="247"/>
                      </a:lnTo>
                      <a:lnTo>
                        <a:pt x="963" y="247"/>
                      </a:lnTo>
                      <a:lnTo>
                        <a:pt x="964" y="247"/>
                      </a:lnTo>
                      <a:lnTo>
                        <a:pt x="964" y="248"/>
                      </a:lnTo>
                      <a:lnTo>
                        <a:pt x="964" y="247"/>
                      </a:lnTo>
                      <a:lnTo>
                        <a:pt x="965" y="248"/>
                      </a:lnTo>
                      <a:lnTo>
                        <a:pt x="965" y="247"/>
                      </a:lnTo>
                      <a:lnTo>
                        <a:pt x="965" y="248"/>
                      </a:lnTo>
                      <a:lnTo>
                        <a:pt x="964" y="248"/>
                      </a:lnTo>
                      <a:lnTo>
                        <a:pt x="965" y="248"/>
                      </a:lnTo>
                      <a:lnTo>
                        <a:pt x="964" y="248"/>
                      </a:lnTo>
                      <a:lnTo>
                        <a:pt x="965" y="248"/>
                      </a:lnTo>
                      <a:lnTo>
                        <a:pt x="964" y="248"/>
                      </a:lnTo>
                      <a:lnTo>
                        <a:pt x="965" y="248"/>
                      </a:lnTo>
                      <a:lnTo>
                        <a:pt x="965" y="249"/>
                      </a:lnTo>
                      <a:lnTo>
                        <a:pt x="965" y="249"/>
                      </a:lnTo>
                      <a:lnTo>
                        <a:pt x="965" y="249"/>
                      </a:lnTo>
                      <a:lnTo>
                        <a:pt x="964" y="249"/>
                      </a:lnTo>
                      <a:lnTo>
                        <a:pt x="964" y="249"/>
                      </a:lnTo>
                      <a:lnTo>
                        <a:pt x="963" y="249"/>
                      </a:lnTo>
                      <a:lnTo>
                        <a:pt x="963" y="249"/>
                      </a:lnTo>
                      <a:lnTo>
                        <a:pt x="962" y="249"/>
                      </a:lnTo>
                      <a:lnTo>
                        <a:pt x="962" y="249"/>
                      </a:lnTo>
                      <a:lnTo>
                        <a:pt x="962" y="249"/>
                      </a:lnTo>
                      <a:lnTo>
                        <a:pt x="962" y="249"/>
                      </a:lnTo>
                      <a:lnTo>
                        <a:pt x="962" y="249"/>
                      </a:lnTo>
                      <a:lnTo>
                        <a:pt x="962" y="248"/>
                      </a:lnTo>
                      <a:lnTo>
                        <a:pt x="961" y="248"/>
                      </a:lnTo>
                      <a:lnTo>
                        <a:pt x="961" y="249"/>
                      </a:lnTo>
                      <a:lnTo>
                        <a:pt x="961" y="249"/>
                      </a:lnTo>
                      <a:lnTo>
                        <a:pt x="961" y="248"/>
                      </a:lnTo>
                      <a:lnTo>
                        <a:pt x="960" y="248"/>
                      </a:lnTo>
                      <a:lnTo>
                        <a:pt x="959" y="248"/>
                      </a:lnTo>
                      <a:lnTo>
                        <a:pt x="960" y="248"/>
                      </a:lnTo>
                      <a:lnTo>
                        <a:pt x="959" y="248"/>
                      </a:lnTo>
                      <a:lnTo>
                        <a:pt x="959" y="248"/>
                      </a:lnTo>
                      <a:lnTo>
                        <a:pt x="959" y="249"/>
                      </a:lnTo>
                      <a:lnTo>
                        <a:pt x="958" y="249"/>
                      </a:lnTo>
                      <a:lnTo>
                        <a:pt x="958" y="249"/>
                      </a:lnTo>
                      <a:lnTo>
                        <a:pt x="958" y="248"/>
                      </a:lnTo>
                      <a:lnTo>
                        <a:pt x="957" y="248"/>
                      </a:lnTo>
                      <a:lnTo>
                        <a:pt x="957" y="248"/>
                      </a:lnTo>
                      <a:lnTo>
                        <a:pt x="956" y="248"/>
                      </a:lnTo>
                      <a:lnTo>
                        <a:pt x="956" y="248"/>
                      </a:lnTo>
                      <a:lnTo>
                        <a:pt x="955" y="248"/>
                      </a:lnTo>
                      <a:lnTo>
                        <a:pt x="955" y="247"/>
                      </a:lnTo>
                      <a:lnTo>
                        <a:pt x="955" y="247"/>
                      </a:lnTo>
                      <a:lnTo>
                        <a:pt x="955" y="247"/>
                      </a:lnTo>
                      <a:lnTo>
                        <a:pt x="955" y="247"/>
                      </a:lnTo>
                      <a:lnTo>
                        <a:pt x="954" y="247"/>
                      </a:lnTo>
                      <a:lnTo>
                        <a:pt x="954" y="248"/>
                      </a:lnTo>
                      <a:lnTo>
                        <a:pt x="954" y="248"/>
                      </a:lnTo>
                      <a:lnTo>
                        <a:pt x="954" y="248"/>
                      </a:lnTo>
                      <a:lnTo>
                        <a:pt x="953" y="249"/>
                      </a:lnTo>
                      <a:lnTo>
                        <a:pt x="952" y="249"/>
                      </a:lnTo>
                      <a:lnTo>
                        <a:pt x="952" y="249"/>
                      </a:lnTo>
                      <a:lnTo>
                        <a:pt x="952" y="249"/>
                      </a:lnTo>
                      <a:lnTo>
                        <a:pt x="951" y="249"/>
                      </a:lnTo>
                      <a:lnTo>
                        <a:pt x="951" y="249"/>
                      </a:lnTo>
                      <a:lnTo>
                        <a:pt x="950" y="249"/>
                      </a:lnTo>
                      <a:lnTo>
                        <a:pt x="950" y="249"/>
                      </a:lnTo>
                      <a:lnTo>
                        <a:pt x="949" y="250"/>
                      </a:lnTo>
                      <a:lnTo>
                        <a:pt x="949" y="249"/>
                      </a:lnTo>
                      <a:lnTo>
                        <a:pt x="949" y="250"/>
                      </a:lnTo>
                      <a:lnTo>
                        <a:pt x="949" y="249"/>
                      </a:lnTo>
                      <a:lnTo>
                        <a:pt x="949" y="250"/>
                      </a:lnTo>
                      <a:lnTo>
                        <a:pt x="948" y="250"/>
                      </a:lnTo>
                      <a:lnTo>
                        <a:pt x="948" y="249"/>
                      </a:lnTo>
                      <a:lnTo>
                        <a:pt x="948" y="249"/>
                      </a:lnTo>
                      <a:lnTo>
                        <a:pt x="948" y="250"/>
                      </a:lnTo>
                      <a:lnTo>
                        <a:pt x="947" y="250"/>
                      </a:lnTo>
                      <a:lnTo>
                        <a:pt x="947" y="249"/>
                      </a:lnTo>
                      <a:lnTo>
                        <a:pt x="947" y="249"/>
                      </a:lnTo>
                      <a:lnTo>
                        <a:pt x="947" y="250"/>
                      </a:lnTo>
                      <a:lnTo>
                        <a:pt x="946" y="250"/>
                      </a:lnTo>
                      <a:lnTo>
                        <a:pt x="946" y="250"/>
                      </a:lnTo>
                      <a:lnTo>
                        <a:pt x="945" y="251"/>
                      </a:lnTo>
                      <a:lnTo>
                        <a:pt x="944" y="251"/>
                      </a:lnTo>
                      <a:lnTo>
                        <a:pt x="944" y="251"/>
                      </a:lnTo>
                      <a:lnTo>
                        <a:pt x="943" y="251"/>
                      </a:lnTo>
                      <a:lnTo>
                        <a:pt x="944" y="251"/>
                      </a:lnTo>
                      <a:lnTo>
                        <a:pt x="943" y="251"/>
                      </a:lnTo>
                      <a:lnTo>
                        <a:pt x="943" y="251"/>
                      </a:lnTo>
                      <a:lnTo>
                        <a:pt x="943" y="251"/>
                      </a:lnTo>
                      <a:lnTo>
                        <a:pt x="943" y="251"/>
                      </a:lnTo>
                      <a:lnTo>
                        <a:pt x="943" y="251"/>
                      </a:lnTo>
                      <a:lnTo>
                        <a:pt x="943" y="251"/>
                      </a:lnTo>
                      <a:lnTo>
                        <a:pt x="943" y="251"/>
                      </a:lnTo>
                      <a:lnTo>
                        <a:pt x="942" y="251"/>
                      </a:lnTo>
                      <a:lnTo>
                        <a:pt x="941" y="251"/>
                      </a:lnTo>
                      <a:lnTo>
                        <a:pt x="941" y="250"/>
                      </a:lnTo>
                      <a:lnTo>
                        <a:pt x="941" y="250"/>
                      </a:lnTo>
                      <a:lnTo>
                        <a:pt x="941" y="249"/>
                      </a:lnTo>
                      <a:lnTo>
                        <a:pt x="940" y="249"/>
                      </a:lnTo>
                      <a:lnTo>
                        <a:pt x="940" y="248"/>
                      </a:lnTo>
                      <a:lnTo>
                        <a:pt x="941" y="248"/>
                      </a:lnTo>
                      <a:lnTo>
                        <a:pt x="941" y="248"/>
                      </a:lnTo>
                      <a:lnTo>
                        <a:pt x="942" y="248"/>
                      </a:lnTo>
                      <a:lnTo>
                        <a:pt x="942" y="248"/>
                      </a:lnTo>
                      <a:lnTo>
                        <a:pt x="943" y="248"/>
                      </a:lnTo>
                      <a:lnTo>
                        <a:pt x="943" y="247"/>
                      </a:lnTo>
                      <a:lnTo>
                        <a:pt x="943" y="247"/>
                      </a:lnTo>
                      <a:lnTo>
                        <a:pt x="943" y="247"/>
                      </a:lnTo>
                      <a:lnTo>
                        <a:pt x="944" y="247"/>
                      </a:lnTo>
                      <a:lnTo>
                        <a:pt x="944" y="246"/>
                      </a:lnTo>
                      <a:lnTo>
                        <a:pt x="944" y="247"/>
                      </a:lnTo>
                      <a:lnTo>
                        <a:pt x="944" y="246"/>
                      </a:lnTo>
                      <a:lnTo>
                        <a:pt x="944" y="246"/>
                      </a:lnTo>
                      <a:lnTo>
                        <a:pt x="945" y="246"/>
                      </a:lnTo>
                      <a:lnTo>
                        <a:pt x="945" y="245"/>
                      </a:lnTo>
                      <a:lnTo>
                        <a:pt x="945" y="246"/>
                      </a:lnTo>
                      <a:lnTo>
                        <a:pt x="944" y="246"/>
                      </a:lnTo>
                      <a:lnTo>
                        <a:pt x="944" y="246"/>
                      </a:lnTo>
                      <a:lnTo>
                        <a:pt x="944" y="247"/>
                      </a:lnTo>
                      <a:lnTo>
                        <a:pt x="943" y="247"/>
                      </a:lnTo>
                      <a:lnTo>
                        <a:pt x="943" y="247"/>
                      </a:lnTo>
                      <a:lnTo>
                        <a:pt x="943" y="247"/>
                      </a:lnTo>
                      <a:lnTo>
                        <a:pt x="943" y="248"/>
                      </a:lnTo>
                      <a:lnTo>
                        <a:pt x="942" y="248"/>
                      </a:lnTo>
                      <a:lnTo>
                        <a:pt x="942" y="248"/>
                      </a:lnTo>
                      <a:lnTo>
                        <a:pt x="941" y="248"/>
                      </a:lnTo>
                      <a:lnTo>
                        <a:pt x="941" y="248"/>
                      </a:lnTo>
                      <a:lnTo>
                        <a:pt x="940" y="248"/>
                      </a:lnTo>
                      <a:lnTo>
                        <a:pt x="940" y="249"/>
                      </a:lnTo>
                      <a:lnTo>
                        <a:pt x="940" y="249"/>
                      </a:lnTo>
                      <a:lnTo>
                        <a:pt x="941" y="249"/>
                      </a:lnTo>
                      <a:lnTo>
                        <a:pt x="940" y="250"/>
                      </a:lnTo>
                      <a:lnTo>
                        <a:pt x="940" y="249"/>
                      </a:lnTo>
                      <a:lnTo>
                        <a:pt x="940" y="249"/>
                      </a:lnTo>
                      <a:lnTo>
                        <a:pt x="939" y="249"/>
                      </a:lnTo>
                      <a:lnTo>
                        <a:pt x="939" y="249"/>
                      </a:lnTo>
                      <a:lnTo>
                        <a:pt x="939" y="249"/>
                      </a:lnTo>
                      <a:lnTo>
                        <a:pt x="939" y="249"/>
                      </a:lnTo>
                      <a:lnTo>
                        <a:pt x="939" y="249"/>
                      </a:lnTo>
                      <a:lnTo>
                        <a:pt x="939" y="248"/>
                      </a:lnTo>
                      <a:lnTo>
                        <a:pt x="939" y="248"/>
                      </a:lnTo>
                      <a:lnTo>
                        <a:pt x="940" y="248"/>
                      </a:lnTo>
                      <a:lnTo>
                        <a:pt x="939" y="248"/>
                      </a:lnTo>
                      <a:lnTo>
                        <a:pt x="939" y="248"/>
                      </a:lnTo>
                      <a:lnTo>
                        <a:pt x="939" y="248"/>
                      </a:lnTo>
                      <a:lnTo>
                        <a:pt x="939" y="248"/>
                      </a:lnTo>
                      <a:lnTo>
                        <a:pt x="939" y="248"/>
                      </a:lnTo>
                      <a:lnTo>
                        <a:pt x="938" y="247"/>
                      </a:lnTo>
                      <a:lnTo>
                        <a:pt x="937" y="247"/>
                      </a:lnTo>
                      <a:lnTo>
                        <a:pt x="937" y="247"/>
                      </a:lnTo>
                      <a:lnTo>
                        <a:pt x="936" y="247"/>
                      </a:lnTo>
                      <a:lnTo>
                        <a:pt x="937" y="247"/>
                      </a:lnTo>
                      <a:lnTo>
                        <a:pt x="936" y="247"/>
                      </a:lnTo>
                      <a:lnTo>
                        <a:pt x="936" y="247"/>
                      </a:lnTo>
                      <a:lnTo>
                        <a:pt x="936" y="246"/>
                      </a:lnTo>
                      <a:lnTo>
                        <a:pt x="935" y="246"/>
                      </a:lnTo>
                      <a:lnTo>
                        <a:pt x="935" y="245"/>
                      </a:lnTo>
                      <a:lnTo>
                        <a:pt x="935" y="245"/>
                      </a:lnTo>
                      <a:lnTo>
                        <a:pt x="935" y="245"/>
                      </a:lnTo>
                      <a:lnTo>
                        <a:pt x="935" y="245"/>
                      </a:lnTo>
                      <a:lnTo>
                        <a:pt x="935" y="246"/>
                      </a:lnTo>
                      <a:lnTo>
                        <a:pt x="935" y="246"/>
                      </a:lnTo>
                      <a:lnTo>
                        <a:pt x="935" y="246"/>
                      </a:lnTo>
                      <a:lnTo>
                        <a:pt x="935" y="246"/>
                      </a:lnTo>
                      <a:lnTo>
                        <a:pt x="935" y="247"/>
                      </a:lnTo>
                      <a:lnTo>
                        <a:pt x="936" y="247"/>
                      </a:lnTo>
                      <a:lnTo>
                        <a:pt x="936" y="247"/>
                      </a:lnTo>
                      <a:lnTo>
                        <a:pt x="937" y="247"/>
                      </a:lnTo>
                      <a:lnTo>
                        <a:pt x="937" y="247"/>
                      </a:lnTo>
                      <a:lnTo>
                        <a:pt x="937" y="247"/>
                      </a:lnTo>
                      <a:lnTo>
                        <a:pt x="938" y="247"/>
                      </a:lnTo>
                      <a:lnTo>
                        <a:pt x="938" y="248"/>
                      </a:lnTo>
                      <a:lnTo>
                        <a:pt x="938" y="248"/>
                      </a:lnTo>
                      <a:lnTo>
                        <a:pt x="939" y="248"/>
                      </a:lnTo>
                      <a:lnTo>
                        <a:pt x="939" y="249"/>
                      </a:lnTo>
                      <a:lnTo>
                        <a:pt x="939" y="249"/>
                      </a:lnTo>
                      <a:lnTo>
                        <a:pt x="939" y="249"/>
                      </a:lnTo>
                      <a:lnTo>
                        <a:pt x="939" y="249"/>
                      </a:lnTo>
                      <a:lnTo>
                        <a:pt x="939" y="249"/>
                      </a:lnTo>
                      <a:lnTo>
                        <a:pt x="940" y="249"/>
                      </a:lnTo>
                      <a:lnTo>
                        <a:pt x="939" y="250"/>
                      </a:lnTo>
                      <a:lnTo>
                        <a:pt x="939" y="250"/>
                      </a:lnTo>
                      <a:lnTo>
                        <a:pt x="938" y="250"/>
                      </a:lnTo>
                      <a:lnTo>
                        <a:pt x="937" y="250"/>
                      </a:lnTo>
                      <a:lnTo>
                        <a:pt x="937" y="250"/>
                      </a:lnTo>
                      <a:lnTo>
                        <a:pt x="937" y="249"/>
                      </a:lnTo>
                      <a:lnTo>
                        <a:pt x="937" y="249"/>
                      </a:lnTo>
                      <a:lnTo>
                        <a:pt x="937" y="249"/>
                      </a:lnTo>
                      <a:lnTo>
                        <a:pt x="936" y="249"/>
                      </a:lnTo>
                      <a:lnTo>
                        <a:pt x="937" y="249"/>
                      </a:lnTo>
                      <a:lnTo>
                        <a:pt x="937" y="249"/>
                      </a:lnTo>
                      <a:lnTo>
                        <a:pt x="937" y="249"/>
                      </a:lnTo>
                      <a:lnTo>
                        <a:pt x="937" y="249"/>
                      </a:lnTo>
                      <a:lnTo>
                        <a:pt x="937" y="250"/>
                      </a:lnTo>
                      <a:lnTo>
                        <a:pt x="937" y="250"/>
                      </a:lnTo>
                      <a:lnTo>
                        <a:pt x="938" y="250"/>
                      </a:lnTo>
                      <a:lnTo>
                        <a:pt x="939" y="250"/>
                      </a:lnTo>
                      <a:lnTo>
                        <a:pt x="939" y="250"/>
                      </a:lnTo>
                      <a:lnTo>
                        <a:pt x="940" y="249"/>
                      </a:lnTo>
                      <a:lnTo>
                        <a:pt x="940" y="250"/>
                      </a:lnTo>
                      <a:lnTo>
                        <a:pt x="941" y="250"/>
                      </a:lnTo>
                      <a:lnTo>
                        <a:pt x="941" y="251"/>
                      </a:lnTo>
                      <a:lnTo>
                        <a:pt x="941" y="251"/>
                      </a:lnTo>
                      <a:lnTo>
                        <a:pt x="941" y="252"/>
                      </a:lnTo>
                      <a:lnTo>
                        <a:pt x="941" y="252"/>
                      </a:lnTo>
                      <a:lnTo>
                        <a:pt x="941" y="252"/>
                      </a:lnTo>
                      <a:lnTo>
                        <a:pt x="942" y="252"/>
                      </a:lnTo>
                      <a:lnTo>
                        <a:pt x="941" y="252"/>
                      </a:lnTo>
                      <a:lnTo>
                        <a:pt x="941" y="252"/>
                      </a:lnTo>
                      <a:lnTo>
                        <a:pt x="940" y="252"/>
                      </a:lnTo>
                      <a:lnTo>
                        <a:pt x="940" y="252"/>
                      </a:lnTo>
                      <a:lnTo>
                        <a:pt x="939" y="252"/>
                      </a:lnTo>
                      <a:lnTo>
                        <a:pt x="939" y="252"/>
                      </a:lnTo>
                      <a:lnTo>
                        <a:pt x="939" y="253"/>
                      </a:lnTo>
                      <a:lnTo>
                        <a:pt x="939" y="254"/>
                      </a:lnTo>
                      <a:lnTo>
                        <a:pt x="939" y="253"/>
                      </a:lnTo>
                      <a:lnTo>
                        <a:pt x="939" y="254"/>
                      </a:lnTo>
                      <a:lnTo>
                        <a:pt x="939" y="254"/>
                      </a:lnTo>
                      <a:lnTo>
                        <a:pt x="939" y="254"/>
                      </a:lnTo>
                      <a:lnTo>
                        <a:pt x="939" y="254"/>
                      </a:lnTo>
                      <a:lnTo>
                        <a:pt x="939" y="254"/>
                      </a:lnTo>
                      <a:lnTo>
                        <a:pt x="939" y="254"/>
                      </a:lnTo>
                      <a:lnTo>
                        <a:pt x="939" y="254"/>
                      </a:lnTo>
                      <a:lnTo>
                        <a:pt x="940" y="254"/>
                      </a:lnTo>
                      <a:lnTo>
                        <a:pt x="940" y="254"/>
                      </a:lnTo>
                      <a:lnTo>
                        <a:pt x="940" y="254"/>
                      </a:lnTo>
                      <a:lnTo>
                        <a:pt x="940" y="255"/>
                      </a:lnTo>
                      <a:lnTo>
                        <a:pt x="940" y="254"/>
                      </a:lnTo>
                      <a:lnTo>
                        <a:pt x="940" y="255"/>
                      </a:lnTo>
                      <a:lnTo>
                        <a:pt x="941" y="254"/>
                      </a:lnTo>
                      <a:lnTo>
                        <a:pt x="941" y="255"/>
                      </a:lnTo>
                      <a:lnTo>
                        <a:pt x="941" y="255"/>
                      </a:lnTo>
                      <a:lnTo>
                        <a:pt x="941" y="254"/>
                      </a:lnTo>
                      <a:lnTo>
                        <a:pt x="942" y="254"/>
                      </a:lnTo>
                      <a:lnTo>
                        <a:pt x="942" y="255"/>
                      </a:lnTo>
                      <a:lnTo>
                        <a:pt x="943" y="254"/>
                      </a:lnTo>
                      <a:lnTo>
                        <a:pt x="943" y="254"/>
                      </a:lnTo>
                      <a:lnTo>
                        <a:pt x="943" y="254"/>
                      </a:lnTo>
                      <a:lnTo>
                        <a:pt x="944" y="254"/>
                      </a:lnTo>
                      <a:lnTo>
                        <a:pt x="944" y="253"/>
                      </a:lnTo>
                      <a:lnTo>
                        <a:pt x="944" y="253"/>
                      </a:lnTo>
                      <a:lnTo>
                        <a:pt x="944" y="252"/>
                      </a:lnTo>
                      <a:lnTo>
                        <a:pt x="944" y="252"/>
                      </a:lnTo>
                      <a:lnTo>
                        <a:pt x="944" y="251"/>
                      </a:lnTo>
                      <a:lnTo>
                        <a:pt x="944" y="251"/>
                      </a:lnTo>
                      <a:lnTo>
                        <a:pt x="945" y="251"/>
                      </a:lnTo>
                      <a:lnTo>
                        <a:pt x="946" y="251"/>
                      </a:lnTo>
                      <a:lnTo>
                        <a:pt x="946" y="251"/>
                      </a:lnTo>
                      <a:lnTo>
                        <a:pt x="946" y="250"/>
                      </a:lnTo>
                      <a:lnTo>
                        <a:pt x="947" y="250"/>
                      </a:lnTo>
                      <a:lnTo>
                        <a:pt x="947" y="250"/>
                      </a:lnTo>
                      <a:lnTo>
                        <a:pt x="948" y="250"/>
                      </a:lnTo>
                      <a:lnTo>
                        <a:pt x="948" y="250"/>
                      </a:lnTo>
                      <a:lnTo>
                        <a:pt x="948" y="250"/>
                      </a:lnTo>
                      <a:lnTo>
                        <a:pt x="948" y="250"/>
                      </a:lnTo>
                      <a:lnTo>
                        <a:pt x="949" y="250"/>
                      </a:lnTo>
                      <a:lnTo>
                        <a:pt x="950" y="250"/>
                      </a:lnTo>
                      <a:lnTo>
                        <a:pt x="950" y="250"/>
                      </a:lnTo>
                      <a:lnTo>
                        <a:pt x="950" y="249"/>
                      </a:lnTo>
                      <a:lnTo>
                        <a:pt x="950" y="250"/>
                      </a:lnTo>
                      <a:lnTo>
                        <a:pt x="950" y="249"/>
                      </a:lnTo>
                      <a:lnTo>
                        <a:pt x="951" y="249"/>
                      </a:lnTo>
                      <a:lnTo>
                        <a:pt x="951" y="250"/>
                      </a:lnTo>
                      <a:lnTo>
                        <a:pt x="951" y="250"/>
                      </a:lnTo>
                      <a:lnTo>
                        <a:pt x="952" y="250"/>
                      </a:lnTo>
                      <a:lnTo>
                        <a:pt x="952" y="249"/>
                      </a:lnTo>
                      <a:lnTo>
                        <a:pt x="952" y="249"/>
                      </a:lnTo>
                      <a:lnTo>
                        <a:pt x="953" y="249"/>
                      </a:lnTo>
                      <a:lnTo>
                        <a:pt x="953" y="249"/>
                      </a:lnTo>
                      <a:lnTo>
                        <a:pt x="954" y="249"/>
                      </a:lnTo>
                      <a:lnTo>
                        <a:pt x="954" y="248"/>
                      </a:lnTo>
                      <a:lnTo>
                        <a:pt x="954" y="248"/>
                      </a:lnTo>
                      <a:lnTo>
                        <a:pt x="954" y="248"/>
                      </a:lnTo>
                      <a:lnTo>
                        <a:pt x="955" y="248"/>
                      </a:lnTo>
                      <a:lnTo>
                        <a:pt x="955" y="248"/>
                      </a:lnTo>
                      <a:lnTo>
                        <a:pt x="956" y="248"/>
                      </a:lnTo>
                      <a:lnTo>
                        <a:pt x="956" y="248"/>
                      </a:lnTo>
                      <a:lnTo>
                        <a:pt x="956" y="249"/>
                      </a:lnTo>
                      <a:lnTo>
                        <a:pt x="956" y="249"/>
                      </a:lnTo>
                      <a:lnTo>
                        <a:pt x="956" y="249"/>
                      </a:lnTo>
                      <a:lnTo>
                        <a:pt x="957" y="249"/>
                      </a:lnTo>
                      <a:lnTo>
                        <a:pt x="957" y="250"/>
                      </a:lnTo>
                      <a:lnTo>
                        <a:pt x="958" y="250"/>
                      </a:lnTo>
                      <a:lnTo>
                        <a:pt x="958" y="251"/>
                      </a:lnTo>
                      <a:lnTo>
                        <a:pt x="957" y="251"/>
                      </a:lnTo>
                      <a:lnTo>
                        <a:pt x="957" y="251"/>
                      </a:lnTo>
                      <a:lnTo>
                        <a:pt x="956" y="251"/>
                      </a:lnTo>
                      <a:lnTo>
                        <a:pt x="956" y="251"/>
                      </a:lnTo>
                      <a:lnTo>
                        <a:pt x="956" y="252"/>
                      </a:lnTo>
                      <a:lnTo>
                        <a:pt x="955" y="252"/>
                      </a:lnTo>
                      <a:lnTo>
                        <a:pt x="956" y="252"/>
                      </a:lnTo>
                      <a:lnTo>
                        <a:pt x="955" y="252"/>
                      </a:lnTo>
                      <a:lnTo>
                        <a:pt x="955" y="252"/>
                      </a:lnTo>
                      <a:lnTo>
                        <a:pt x="955" y="252"/>
                      </a:lnTo>
                      <a:lnTo>
                        <a:pt x="955" y="253"/>
                      </a:lnTo>
                      <a:lnTo>
                        <a:pt x="955" y="254"/>
                      </a:lnTo>
                      <a:lnTo>
                        <a:pt x="954" y="254"/>
                      </a:lnTo>
                      <a:lnTo>
                        <a:pt x="954" y="255"/>
                      </a:lnTo>
                      <a:lnTo>
                        <a:pt x="955" y="255"/>
                      </a:lnTo>
                      <a:lnTo>
                        <a:pt x="955" y="255"/>
                      </a:lnTo>
                      <a:lnTo>
                        <a:pt x="955" y="255"/>
                      </a:lnTo>
                      <a:lnTo>
                        <a:pt x="956" y="255"/>
                      </a:lnTo>
                      <a:lnTo>
                        <a:pt x="956" y="255"/>
                      </a:lnTo>
                      <a:lnTo>
                        <a:pt x="956" y="256"/>
                      </a:lnTo>
                      <a:lnTo>
                        <a:pt x="956" y="256"/>
                      </a:lnTo>
                      <a:lnTo>
                        <a:pt x="957" y="256"/>
                      </a:lnTo>
                      <a:lnTo>
                        <a:pt x="957" y="255"/>
                      </a:lnTo>
                      <a:lnTo>
                        <a:pt x="956" y="255"/>
                      </a:lnTo>
                      <a:lnTo>
                        <a:pt x="956" y="255"/>
                      </a:lnTo>
                      <a:lnTo>
                        <a:pt x="955" y="255"/>
                      </a:lnTo>
                      <a:lnTo>
                        <a:pt x="955" y="255"/>
                      </a:lnTo>
                      <a:lnTo>
                        <a:pt x="954" y="254"/>
                      </a:lnTo>
                      <a:lnTo>
                        <a:pt x="955" y="254"/>
                      </a:lnTo>
                      <a:lnTo>
                        <a:pt x="955" y="254"/>
                      </a:lnTo>
                      <a:lnTo>
                        <a:pt x="955" y="254"/>
                      </a:lnTo>
                      <a:lnTo>
                        <a:pt x="955" y="253"/>
                      </a:lnTo>
                      <a:lnTo>
                        <a:pt x="955" y="252"/>
                      </a:lnTo>
                      <a:lnTo>
                        <a:pt x="956" y="252"/>
                      </a:lnTo>
                      <a:lnTo>
                        <a:pt x="956" y="252"/>
                      </a:lnTo>
                      <a:lnTo>
                        <a:pt x="957" y="252"/>
                      </a:lnTo>
                      <a:lnTo>
                        <a:pt x="958" y="251"/>
                      </a:lnTo>
                      <a:lnTo>
                        <a:pt x="958" y="251"/>
                      </a:lnTo>
                      <a:lnTo>
                        <a:pt x="958" y="251"/>
                      </a:lnTo>
                      <a:lnTo>
                        <a:pt x="959" y="251"/>
                      </a:lnTo>
                      <a:lnTo>
                        <a:pt x="959" y="251"/>
                      </a:lnTo>
                      <a:lnTo>
                        <a:pt x="960" y="252"/>
                      </a:lnTo>
                      <a:lnTo>
                        <a:pt x="960" y="252"/>
                      </a:lnTo>
                      <a:lnTo>
                        <a:pt x="960" y="253"/>
                      </a:lnTo>
                      <a:lnTo>
                        <a:pt x="960" y="252"/>
                      </a:lnTo>
                      <a:lnTo>
                        <a:pt x="960" y="253"/>
                      </a:lnTo>
                      <a:lnTo>
                        <a:pt x="960" y="252"/>
                      </a:lnTo>
                      <a:lnTo>
                        <a:pt x="961" y="252"/>
                      </a:lnTo>
                      <a:lnTo>
                        <a:pt x="961" y="252"/>
                      </a:lnTo>
                      <a:lnTo>
                        <a:pt x="961" y="252"/>
                      </a:lnTo>
                      <a:lnTo>
                        <a:pt x="961" y="251"/>
                      </a:lnTo>
                      <a:lnTo>
                        <a:pt x="962" y="251"/>
                      </a:lnTo>
                      <a:lnTo>
                        <a:pt x="962" y="251"/>
                      </a:lnTo>
                      <a:lnTo>
                        <a:pt x="962" y="251"/>
                      </a:lnTo>
                      <a:lnTo>
                        <a:pt x="963" y="251"/>
                      </a:lnTo>
                      <a:lnTo>
                        <a:pt x="963" y="250"/>
                      </a:lnTo>
                      <a:lnTo>
                        <a:pt x="963" y="250"/>
                      </a:lnTo>
                      <a:lnTo>
                        <a:pt x="964" y="250"/>
                      </a:lnTo>
                      <a:lnTo>
                        <a:pt x="965" y="250"/>
                      </a:lnTo>
                      <a:lnTo>
                        <a:pt x="965" y="249"/>
                      </a:lnTo>
                      <a:lnTo>
                        <a:pt x="965" y="249"/>
                      </a:lnTo>
                      <a:lnTo>
                        <a:pt x="966" y="249"/>
                      </a:lnTo>
                      <a:lnTo>
                        <a:pt x="966" y="250"/>
                      </a:lnTo>
                      <a:lnTo>
                        <a:pt x="966" y="249"/>
                      </a:lnTo>
                      <a:lnTo>
                        <a:pt x="966" y="250"/>
                      </a:lnTo>
                      <a:lnTo>
                        <a:pt x="966" y="251"/>
                      </a:lnTo>
                      <a:lnTo>
                        <a:pt x="966" y="251"/>
                      </a:lnTo>
                      <a:lnTo>
                        <a:pt x="966" y="251"/>
                      </a:lnTo>
                      <a:lnTo>
                        <a:pt x="966" y="252"/>
                      </a:lnTo>
                      <a:lnTo>
                        <a:pt x="966" y="252"/>
                      </a:lnTo>
                      <a:lnTo>
                        <a:pt x="966" y="253"/>
                      </a:lnTo>
                      <a:lnTo>
                        <a:pt x="966" y="254"/>
                      </a:lnTo>
                      <a:lnTo>
                        <a:pt x="966" y="253"/>
                      </a:lnTo>
                      <a:lnTo>
                        <a:pt x="966" y="254"/>
                      </a:lnTo>
                      <a:lnTo>
                        <a:pt x="966" y="253"/>
                      </a:lnTo>
                      <a:lnTo>
                        <a:pt x="966" y="254"/>
                      </a:lnTo>
                      <a:lnTo>
                        <a:pt x="966" y="254"/>
                      </a:lnTo>
                      <a:lnTo>
                        <a:pt x="966" y="254"/>
                      </a:lnTo>
                      <a:lnTo>
                        <a:pt x="966" y="254"/>
                      </a:lnTo>
                      <a:lnTo>
                        <a:pt x="966" y="254"/>
                      </a:lnTo>
                      <a:lnTo>
                        <a:pt x="966" y="255"/>
                      </a:lnTo>
                      <a:lnTo>
                        <a:pt x="966" y="254"/>
                      </a:lnTo>
                      <a:lnTo>
                        <a:pt x="966" y="255"/>
                      </a:lnTo>
                      <a:lnTo>
                        <a:pt x="967" y="255"/>
                      </a:lnTo>
                      <a:lnTo>
                        <a:pt x="967" y="255"/>
                      </a:lnTo>
                      <a:lnTo>
                        <a:pt x="967" y="255"/>
                      </a:lnTo>
                      <a:lnTo>
                        <a:pt x="967" y="255"/>
                      </a:lnTo>
                      <a:lnTo>
                        <a:pt x="967" y="255"/>
                      </a:lnTo>
                      <a:lnTo>
                        <a:pt x="967" y="256"/>
                      </a:lnTo>
                      <a:lnTo>
                        <a:pt x="967" y="255"/>
                      </a:lnTo>
                      <a:lnTo>
                        <a:pt x="967" y="255"/>
                      </a:lnTo>
                      <a:lnTo>
                        <a:pt x="967" y="255"/>
                      </a:lnTo>
                      <a:lnTo>
                        <a:pt x="968" y="255"/>
                      </a:lnTo>
                      <a:lnTo>
                        <a:pt x="968" y="256"/>
                      </a:lnTo>
                      <a:lnTo>
                        <a:pt x="969" y="256"/>
                      </a:lnTo>
                      <a:lnTo>
                        <a:pt x="969" y="256"/>
                      </a:lnTo>
                      <a:lnTo>
                        <a:pt x="969" y="256"/>
                      </a:lnTo>
                      <a:lnTo>
                        <a:pt x="969" y="256"/>
                      </a:lnTo>
                      <a:lnTo>
                        <a:pt x="969" y="256"/>
                      </a:lnTo>
                      <a:lnTo>
                        <a:pt x="969" y="257"/>
                      </a:lnTo>
                      <a:lnTo>
                        <a:pt x="969" y="256"/>
                      </a:lnTo>
                      <a:lnTo>
                        <a:pt x="969" y="257"/>
                      </a:lnTo>
                      <a:lnTo>
                        <a:pt x="969" y="256"/>
                      </a:lnTo>
                      <a:lnTo>
                        <a:pt x="969" y="257"/>
                      </a:lnTo>
                      <a:lnTo>
                        <a:pt x="970" y="257"/>
                      </a:lnTo>
                      <a:lnTo>
                        <a:pt x="970" y="257"/>
                      </a:lnTo>
                      <a:lnTo>
                        <a:pt x="971" y="257"/>
                      </a:lnTo>
                      <a:lnTo>
                        <a:pt x="972" y="257"/>
                      </a:lnTo>
                      <a:lnTo>
                        <a:pt x="972" y="258"/>
                      </a:lnTo>
                      <a:lnTo>
                        <a:pt x="972" y="257"/>
                      </a:lnTo>
                      <a:lnTo>
                        <a:pt x="972" y="258"/>
                      </a:lnTo>
                      <a:lnTo>
                        <a:pt x="972" y="257"/>
                      </a:lnTo>
                      <a:lnTo>
                        <a:pt x="972" y="258"/>
                      </a:lnTo>
                      <a:lnTo>
                        <a:pt x="973" y="258"/>
                      </a:lnTo>
                      <a:lnTo>
                        <a:pt x="973" y="258"/>
                      </a:lnTo>
                      <a:lnTo>
                        <a:pt x="973" y="258"/>
                      </a:lnTo>
                      <a:lnTo>
                        <a:pt x="973" y="258"/>
                      </a:lnTo>
                      <a:lnTo>
                        <a:pt x="972" y="258"/>
                      </a:lnTo>
                      <a:lnTo>
                        <a:pt x="972" y="258"/>
                      </a:lnTo>
                      <a:lnTo>
                        <a:pt x="972" y="259"/>
                      </a:lnTo>
                      <a:lnTo>
                        <a:pt x="972" y="258"/>
                      </a:lnTo>
                      <a:lnTo>
                        <a:pt x="972" y="258"/>
                      </a:lnTo>
                      <a:lnTo>
                        <a:pt x="973" y="258"/>
                      </a:lnTo>
                      <a:lnTo>
                        <a:pt x="973" y="258"/>
                      </a:lnTo>
                      <a:lnTo>
                        <a:pt x="972" y="258"/>
                      </a:lnTo>
                      <a:lnTo>
                        <a:pt x="972" y="257"/>
                      </a:lnTo>
                      <a:lnTo>
                        <a:pt x="972" y="257"/>
                      </a:lnTo>
                      <a:lnTo>
                        <a:pt x="971" y="257"/>
                      </a:lnTo>
                      <a:lnTo>
                        <a:pt x="971" y="256"/>
                      </a:lnTo>
                      <a:lnTo>
                        <a:pt x="972" y="256"/>
                      </a:lnTo>
                      <a:lnTo>
                        <a:pt x="972" y="256"/>
                      </a:lnTo>
                      <a:lnTo>
                        <a:pt x="972" y="256"/>
                      </a:lnTo>
                      <a:lnTo>
                        <a:pt x="973" y="256"/>
                      </a:lnTo>
                      <a:lnTo>
                        <a:pt x="973" y="255"/>
                      </a:lnTo>
                      <a:lnTo>
                        <a:pt x="973" y="255"/>
                      </a:lnTo>
                      <a:lnTo>
                        <a:pt x="972" y="255"/>
                      </a:lnTo>
                      <a:lnTo>
                        <a:pt x="973" y="254"/>
                      </a:lnTo>
                      <a:lnTo>
                        <a:pt x="972" y="254"/>
                      </a:lnTo>
                      <a:lnTo>
                        <a:pt x="972" y="255"/>
                      </a:lnTo>
                      <a:lnTo>
                        <a:pt x="972" y="254"/>
                      </a:lnTo>
                      <a:lnTo>
                        <a:pt x="973" y="255"/>
                      </a:lnTo>
                      <a:lnTo>
                        <a:pt x="973" y="255"/>
                      </a:lnTo>
                      <a:lnTo>
                        <a:pt x="973" y="255"/>
                      </a:lnTo>
                      <a:lnTo>
                        <a:pt x="973" y="256"/>
                      </a:lnTo>
                      <a:lnTo>
                        <a:pt x="973" y="256"/>
                      </a:lnTo>
                      <a:lnTo>
                        <a:pt x="974" y="256"/>
                      </a:lnTo>
                      <a:lnTo>
                        <a:pt x="974" y="257"/>
                      </a:lnTo>
                      <a:lnTo>
                        <a:pt x="974" y="258"/>
                      </a:lnTo>
                      <a:lnTo>
                        <a:pt x="974" y="258"/>
                      </a:lnTo>
                      <a:lnTo>
                        <a:pt x="975" y="259"/>
                      </a:lnTo>
                      <a:lnTo>
                        <a:pt x="976" y="259"/>
                      </a:lnTo>
                      <a:lnTo>
                        <a:pt x="975" y="259"/>
                      </a:lnTo>
                      <a:lnTo>
                        <a:pt x="975" y="259"/>
                      </a:lnTo>
                      <a:lnTo>
                        <a:pt x="975" y="259"/>
                      </a:lnTo>
                      <a:lnTo>
                        <a:pt x="975" y="259"/>
                      </a:lnTo>
                      <a:lnTo>
                        <a:pt x="974" y="259"/>
                      </a:lnTo>
                      <a:lnTo>
                        <a:pt x="974" y="259"/>
                      </a:lnTo>
                      <a:lnTo>
                        <a:pt x="974" y="259"/>
                      </a:lnTo>
                      <a:lnTo>
                        <a:pt x="974" y="259"/>
                      </a:lnTo>
                      <a:lnTo>
                        <a:pt x="974" y="259"/>
                      </a:lnTo>
                      <a:lnTo>
                        <a:pt x="973" y="259"/>
                      </a:lnTo>
                      <a:lnTo>
                        <a:pt x="974" y="259"/>
                      </a:lnTo>
                      <a:lnTo>
                        <a:pt x="974" y="260"/>
                      </a:lnTo>
                      <a:lnTo>
                        <a:pt x="973" y="260"/>
                      </a:lnTo>
                      <a:lnTo>
                        <a:pt x="973" y="260"/>
                      </a:lnTo>
                      <a:lnTo>
                        <a:pt x="972" y="260"/>
                      </a:lnTo>
                      <a:lnTo>
                        <a:pt x="972" y="260"/>
                      </a:lnTo>
                      <a:lnTo>
                        <a:pt x="972" y="260"/>
                      </a:lnTo>
                      <a:lnTo>
                        <a:pt x="971" y="260"/>
                      </a:lnTo>
                      <a:lnTo>
                        <a:pt x="971" y="261"/>
                      </a:lnTo>
                      <a:lnTo>
                        <a:pt x="970" y="261"/>
                      </a:lnTo>
                      <a:lnTo>
                        <a:pt x="970" y="261"/>
                      </a:lnTo>
                      <a:lnTo>
                        <a:pt x="970" y="261"/>
                      </a:lnTo>
                      <a:lnTo>
                        <a:pt x="970" y="261"/>
                      </a:lnTo>
                      <a:lnTo>
                        <a:pt x="970" y="262"/>
                      </a:lnTo>
                      <a:lnTo>
                        <a:pt x="970" y="262"/>
                      </a:lnTo>
                      <a:lnTo>
                        <a:pt x="969" y="262"/>
                      </a:lnTo>
                      <a:lnTo>
                        <a:pt x="969" y="262"/>
                      </a:lnTo>
                      <a:lnTo>
                        <a:pt x="969" y="262"/>
                      </a:lnTo>
                      <a:lnTo>
                        <a:pt x="969" y="262"/>
                      </a:lnTo>
                      <a:lnTo>
                        <a:pt x="969" y="262"/>
                      </a:lnTo>
                      <a:lnTo>
                        <a:pt x="970" y="262"/>
                      </a:lnTo>
                      <a:lnTo>
                        <a:pt x="970" y="262"/>
                      </a:lnTo>
                      <a:lnTo>
                        <a:pt x="970" y="262"/>
                      </a:lnTo>
                      <a:lnTo>
                        <a:pt x="970" y="262"/>
                      </a:lnTo>
                      <a:lnTo>
                        <a:pt x="970" y="261"/>
                      </a:lnTo>
                      <a:lnTo>
                        <a:pt x="970" y="261"/>
                      </a:lnTo>
                      <a:lnTo>
                        <a:pt x="971" y="261"/>
                      </a:lnTo>
                      <a:lnTo>
                        <a:pt x="971" y="260"/>
                      </a:lnTo>
                      <a:lnTo>
                        <a:pt x="972" y="260"/>
                      </a:lnTo>
                      <a:lnTo>
                        <a:pt x="972" y="260"/>
                      </a:lnTo>
                      <a:lnTo>
                        <a:pt x="973" y="260"/>
                      </a:lnTo>
                      <a:lnTo>
                        <a:pt x="973" y="260"/>
                      </a:lnTo>
                      <a:lnTo>
                        <a:pt x="973" y="260"/>
                      </a:lnTo>
                      <a:lnTo>
                        <a:pt x="974" y="260"/>
                      </a:lnTo>
                      <a:lnTo>
                        <a:pt x="973" y="260"/>
                      </a:lnTo>
                      <a:lnTo>
                        <a:pt x="974" y="260"/>
                      </a:lnTo>
                      <a:lnTo>
                        <a:pt x="974" y="260"/>
                      </a:lnTo>
                      <a:lnTo>
                        <a:pt x="974" y="260"/>
                      </a:lnTo>
                      <a:lnTo>
                        <a:pt x="974" y="260"/>
                      </a:lnTo>
                      <a:lnTo>
                        <a:pt x="975" y="260"/>
                      </a:lnTo>
                      <a:lnTo>
                        <a:pt x="976" y="260"/>
                      </a:lnTo>
                      <a:lnTo>
                        <a:pt x="976" y="260"/>
                      </a:lnTo>
                      <a:lnTo>
                        <a:pt x="976" y="259"/>
                      </a:lnTo>
                      <a:lnTo>
                        <a:pt x="976" y="260"/>
                      </a:lnTo>
                      <a:lnTo>
                        <a:pt x="976" y="260"/>
                      </a:lnTo>
                      <a:lnTo>
                        <a:pt x="976" y="260"/>
                      </a:lnTo>
                      <a:lnTo>
                        <a:pt x="976" y="261"/>
                      </a:lnTo>
                      <a:lnTo>
                        <a:pt x="976" y="262"/>
                      </a:lnTo>
                      <a:lnTo>
                        <a:pt x="976" y="262"/>
                      </a:lnTo>
                      <a:lnTo>
                        <a:pt x="976" y="263"/>
                      </a:lnTo>
                      <a:lnTo>
                        <a:pt x="977" y="263"/>
                      </a:lnTo>
                      <a:lnTo>
                        <a:pt x="977" y="264"/>
                      </a:lnTo>
                      <a:lnTo>
                        <a:pt x="977" y="264"/>
                      </a:lnTo>
                      <a:lnTo>
                        <a:pt x="977" y="265"/>
                      </a:lnTo>
                      <a:lnTo>
                        <a:pt x="977" y="266"/>
                      </a:lnTo>
                      <a:lnTo>
                        <a:pt x="977" y="266"/>
                      </a:lnTo>
                      <a:lnTo>
                        <a:pt x="977" y="267"/>
                      </a:lnTo>
                      <a:lnTo>
                        <a:pt x="977" y="267"/>
                      </a:lnTo>
                      <a:lnTo>
                        <a:pt x="978" y="268"/>
                      </a:lnTo>
                      <a:lnTo>
                        <a:pt x="978" y="269"/>
                      </a:lnTo>
                      <a:lnTo>
                        <a:pt x="978" y="269"/>
                      </a:lnTo>
                      <a:lnTo>
                        <a:pt x="978" y="269"/>
                      </a:lnTo>
                      <a:lnTo>
                        <a:pt x="979" y="269"/>
                      </a:lnTo>
                      <a:lnTo>
                        <a:pt x="979" y="270"/>
                      </a:lnTo>
                      <a:lnTo>
                        <a:pt x="980" y="270"/>
                      </a:lnTo>
                      <a:lnTo>
                        <a:pt x="980" y="270"/>
                      </a:lnTo>
                      <a:lnTo>
                        <a:pt x="980" y="270"/>
                      </a:lnTo>
                      <a:lnTo>
                        <a:pt x="981" y="270"/>
                      </a:lnTo>
                      <a:lnTo>
                        <a:pt x="981" y="271"/>
                      </a:lnTo>
                      <a:lnTo>
                        <a:pt x="981" y="271"/>
                      </a:lnTo>
                      <a:lnTo>
                        <a:pt x="981" y="271"/>
                      </a:lnTo>
                      <a:lnTo>
                        <a:pt x="982" y="271"/>
                      </a:lnTo>
                      <a:lnTo>
                        <a:pt x="982" y="272"/>
                      </a:lnTo>
                      <a:lnTo>
                        <a:pt x="982" y="273"/>
                      </a:lnTo>
                      <a:lnTo>
                        <a:pt x="981" y="273"/>
                      </a:lnTo>
                      <a:lnTo>
                        <a:pt x="981" y="273"/>
                      </a:lnTo>
                      <a:lnTo>
                        <a:pt x="981" y="273"/>
                      </a:lnTo>
                      <a:lnTo>
                        <a:pt x="980" y="273"/>
                      </a:lnTo>
                      <a:lnTo>
                        <a:pt x="981" y="274"/>
                      </a:lnTo>
                      <a:lnTo>
                        <a:pt x="981" y="274"/>
                      </a:lnTo>
                      <a:lnTo>
                        <a:pt x="981" y="275"/>
                      </a:lnTo>
                      <a:lnTo>
                        <a:pt x="981" y="275"/>
                      </a:lnTo>
                      <a:lnTo>
                        <a:pt x="982" y="275"/>
                      </a:lnTo>
                      <a:lnTo>
                        <a:pt x="982" y="275"/>
                      </a:lnTo>
                      <a:lnTo>
                        <a:pt x="982" y="275"/>
                      </a:lnTo>
                      <a:lnTo>
                        <a:pt x="983" y="275"/>
                      </a:lnTo>
                      <a:lnTo>
                        <a:pt x="983" y="276"/>
                      </a:lnTo>
                      <a:lnTo>
                        <a:pt x="983" y="277"/>
                      </a:lnTo>
                      <a:lnTo>
                        <a:pt x="983" y="277"/>
                      </a:lnTo>
                      <a:lnTo>
                        <a:pt x="983" y="278"/>
                      </a:lnTo>
                      <a:lnTo>
                        <a:pt x="983" y="278"/>
                      </a:lnTo>
                      <a:lnTo>
                        <a:pt x="982" y="278"/>
                      </a:lnTo>
                      <a:lnTo>
                        <a:pt x="982" y="278"/>
                      </a:lnTo>
                      <a:lnTo>
                        <a:pt x="982" y="279"/>
                      </a:lnTo>
                      <a:lnTo>
                        <a:pt x="982" y="280"/>
                      </a:lnTo>
                      <a:lnTo>
                        <a:pt x="981" y="280"/>
                      </a:lnTo>
                      <a:lnTo>
                        <a:pt x="981" y="280"/>
                      </a:lnTo>
                      <a:lnTo>
                        <a:pt x="981" y="280"/>
                      </a:lnTo>
                      <a:lnTo>
                        <a:pt x="980" y="280"/>
                      </a:lnTo>
                      <a:lnTo>
                        <a:pt x="980" y="280"/>
                      </a:lnTo>
                      <a:lnTo>
                        <a:pt x="980" y="281"/>
                      </a:lnTo>
                      <a:lnTo>
                        <a:pt x="979" y="281"/>
                      </a:lnTo>
                      <a:lnTo>
                        <a:pt x="979" y="281"/>
                      </a:lnTo>
                      <a:lnTo>
                        <a:pt x="980" y="281"/>
                      </a:lnTo>
                      <a:lnTo>
                        <a:pt x="980" y="282"/>
                      </a:lnTo>
                      <a:lnTo>
                        <a:pt x="980" y="282"/>
                      </a:lnTo>
                      <a:lnTo>
                        <a:pt x="979" y="283"/>
                      </a:lnTo>
                      <a:lnTo>
                        <a:pt x="979" y="282"/>
                      </a:lnTo>
                      <a:lnTo>
                        <a:pt x="978" y="282"/>
                      </a:lnTo>
                      <a:lnTo>
                        <a:pt x="978" y="282"/>
                      </a:lnTo>
                      <a:lnTo>
                        <a:pt x="978" y="282"/>
                      </a:lnTo>
                      <a:lnTo>
                        <a:pt x="977" y="282"/>
                      </a:lnTo>
                      <a:lnTo>
                        <a:pt x="977" y="282"/>
                      </a:lnTo>
                      <a:lnTo>
                        <a:pt x="977" y="281"/>
                      </a:lnTo>
                      <a:lnTo>
                        <a:pt x="976" y="281"/>
                      </a:lnTo>
                      <a:lnTo>
                        <a:pt x="976" y="281"/>
                      </a:lnTo>
                      <a:lnTo>
                        <a:pt x="975" y="281"/>
                      </a:lnTo>
                      <a:lnTo>
                        <a:pt x="975" y="281"/>
                      </a:lnTo>
                      <a:lnTo>
                        <a:pt x="974" y="281"/>
                      </a:lnTo>
                      <a:lnTo>
                        <a:pt x="974" y="281"/>
                      </a:lnTo>
                      <a:lnTo>
                        <a:pt x="973" y="281"/>
                      </a:lnTo>
                      <a:lnTo>
                        <a:pt x="973" y="281"/>
                      </a:lnTo>
                      <a:lnTo>
                        <a:pt x="973" y="280"/>
                      </a:lnTo>
                      <a:lnTo>
                        <a:pt x="972" y="280"/>
                      </a:lnTo>
                      <a:lnTo>
                        <a:pt x="972" y="280"/>
                      </a:lnTo>
                      <a:lnTo>
                        <a:pt x="972" y="280"/>
                      </a:lnTo>
                      <a:lnTo>
                        <a:pt x="971" y="280"/>
                      </a:lnTo>
                      <a:lnTo>
                        <a:pt x="970" y="280"/>
                      </a:lnTo>
                      <a:lnTo>
                        <a:pt x="969" y="280"/>
                      </a:lnTo>
                      <a:lnTo>
                        <a:pt x="968" y="279"/>
                      </a:lnTo>
                      <a:lnTo>
                        <a:pt x="967" y="279"/>
                      </a:lnTo>
                      <a:lnTo>
                        <a:pt x="967" y="279"/>
                      </a:lnTo>
                      <a:lnTo>
                        <a:pt x="967" y="279"/>
                      </a:lnTo>
                      <a:lnTo>
                        <a:pt x="967" y="279"/>
                      </a:lnTo>
                      <a:lnTo>
                        <a:pt x="967" y="279"/>
                      </a:lnTo>
                      <a:lnTo>
                        <a:pt x="967" y="279"/>
                      </a:lnTo>
                      <a:lnTo>
                        <a:pt x="966" y="279"/>
                      </a:lnTo>
                      <a:lnTo>
                        <a:pt x="966" y="279"/>
                      </a:lnTo>
                      <a:lnTo>
                        <a:pt x="965" y="279"/>
                      </a:lnTo>
                      <a:lnTo>
                        <a:pt x="965" y="279"/>
                      </a:lnTo>
                      <a:lnTo>
                        <a:pt x="963" y="280"/>
                      </a:lnTo>
                      <a:lnTo>
                        <a:pt x="963" y="280"/>
                      </a:lnTo>
                      <a:lnTo>
                        <a:pt x="962" y="280"/>
                      </a:lnTo>
                      <a:lnTo>
                        <a:pt x="963" y="280"/>
                      </a:lnTo>
                      <a:lnTo>
                        <a:pt x="963" y="279"/>
                      </a:lnTo>
                      <a:lnTo>
                        <a:pt x="964" y="279"/>
                      </a:lnTo>
                      <a:lnTo>
                        <a:pt x="965" y="279"/>
                      </a:lnTo>
                      <a:lnTo>
                        <a:pt x="964" y="279"/>
                      </a:lnTo>
                      <a:lnTo>
                        <a:pt x="963" y="279"/>
                      </a:lnTo>
                      <a:lnTo>
                        <a:pt x="963" y="280"/>
                      </a:lnTo>
                      <a:lnTo>
                        <a:pt x="962" y="280"/>
                      </a:lnTo>
                      <a:lnTo>
                        <a:pt x="962" y="280"/>
                      </a:lnTo>
                      <a:lnTo>
                        <a:pt x="961" y="280"/>
                      </a:lnTo>
                      <a:lnTo>
                        <a:pt x="962" y="280"/>
                      </a:lnTo>
                      <a:lnTo>
                        <a:pt x="962" y="280"/>
                      </a:lnTo>
                      <a:lnTo>
                        <a:pt x="962" y="280"/>
                      </a:lnTo>
                      <a:lnTo>
                        <a:pt x="961" y="280"/>
                      </a:lnTo>
                      <a:lnTo>
                        <a:pt x="961" y="280"/>
                      </a:lnTo>
                      <a:lnTo>
                        <a:pt x="960" y="280"/>
                      </a:lnTo>
                      <a:lnTo>
                        <a:pt x="959" y="281"/>
                      </a:lnTo>
                      <a:lnTo>
                        <a:pt x="959" y="281"/>
                      </a:lnTo>
                      <a:lnTo>
                        <a:pt x="958" y="281"/>
                      </a:lnTo>
                      <a:lnTo>
                        <a:pt x="958" y="281"/>
                      </a:lnTo>
                      <a:lnTo>
                        <a:pt x="958" y="282"/>
                      </a:lnTo>
                      <a:lnTo>
                        <a:pt x="957" y="282"/>
                      </a:lnTo>
                      <a:lnTo>
                        <a:pt x="957" y="282"/>
                      </a:lnTo>
                      <a:lnTo>
                        <a:pt x="956" y="282"/>
                      </a:lnTo>
                      <a:lnTo>
                        <a:pt x="956" y="282"/>
                      </a:lnTo>
                      <a:lnTo>
                        <a:pt x="956" y="283"/>
                      </a:lnTo>
                      <a:lnTo>
                        <a:pt x="955" y="283"/>
                      </a:lnTo>
                      <a:lnTo>
                        <a:pt x="955" y="283"/>
                      </a:lnTo>
                      <a:lnTo>
                        <a:pt x="954" y="283"/>
                      </a:lnTo>
                      <a:lnTo>
                        <a:pt x="954" y="283"/>
                      </a:lnTo>
                      <a:lnTo>
                        <a:pt x="954" y="284"/>
                      </a:lnTo>
                      <a:lnTo>
                        <a:pt x="953" y="284"/>
                      </a:lnTo>
                      <a:lnTo>
                        <a:pt x="952" y="284"/>
                      </a:lnTo>
                      <a:lnTo>
                        <a:pt x="952" y="284"/>
                      </a:lnTo>
                      <a:lnTo>
                        <a:pt x="951" y="284"/>
                      </a:lnTo>
                      <a:lnTo>
                        <a:pt x="951" y="284"/>
                      </a:lnTo>
                      <a:lnTo>
                        <a:pt x="951" y="285"/>
                      </a:lnTo>
                      <a:lnTo>
                        <a:pt x="950" y="285"/>
                      </a:lnTo>
                      <a:lnTo>
                        <a:pt x="950" y="285"/>
                      </a:lnTo>
                      <a:lnTo>
                        <a:pt x="950" y="285"/>
                      </a:lnTo>
                      <a:lnTo>
                        <a:pt x="949" y="285"/>
                      </a:lnTo>
                      <a:lnTo>
                        <a:pt x="948" y="286"/>
                      </a:lnTo>
                      <a:lnTo>
                        <a:pt x="950" y="285"/>
                      </a:lnTo>
                      <a:lnTo>
                        <a:pt x="949" y="285"/>
                      </a:lnTo>
                      <a:lnTo>
                        <a:pt x="949" y="285"/>
                      </a:lnTo>
                      <a:lnTo>
                        <a:pt x="948" y="285"/>
                      </a:lnTo>
                      <a:lnTo>
                        <a:pt x="948" y="285"/>
                      </a:lnTo>
                      <a:lnTo>
                        <a:pt x="948" y="284"/>
                      </a:lnTo>
                      <a:lnTo>
                        <a:pt x="948" y="285"/>
                      </a:lnTo>
                      <a:lnTo>
                        <a:pt x="948" y="285"/>
                      </a:lnTo>
                      <a:lnTo>
                        <a:pt x="948" y="285"/>
                      </a:lnTo>
                      <a:lnTo>
                        <a:pt x="948" y="285"/>
                      </a:lnTo>
                      <a:lnTo>
                        <a:pt x="948" y="286"/>
                      </a:lnTo>
                      <a:lnTo>
                        <a:pt x="948" y="286"/>
                      </a:lnTo>
                      <a:lnTo>
                        <a:pt x="947" y="286"/>
                      </a:lnTo>
                      <a:lnTo>
                        <a:pt x="948" y="286"/>
                      </a:lnTo>
                      <a:lnTo>
                        <a:pt x="947" y="286"/>
                      </a:lnTo>
                      <a:lnTo>
                        <a:pt x="947" y="287"/>
                      </a:lnTo>
                      <a:lnTo>
                        <a:pt x="946" y="287"/>
                      </a:lnTo>
                      <a:lnTo>
                        <a:pt x="946" y="287"/>
                      </a:lnTo>
                      <a:lnTo>
                        <a:pt x="945" y="288"/>
                      </a:lnTo>
                      <a:lnTo>
                        <a:pt x="944" y="288"/>
                      </a:lnTo>
                      <a:lnTo>
                        <a:pt x="945" y="288"/>
                      </a:lnTo>
                      <a:lnTo>
                        <a:pt x="945" y="287"/>
                      </a:lnTo>
                      <a:lnTo>
                        <a:pt x="945" y="288"/>
                      </a:lnTo>
                      <a:lnTo>
                        <a:pt x="945" y="287"/>
                      </a:lnTo>
                      <a:lnTo>
                        <a:pt x="944" y="287"/>
                      </a:lnTo>
                      <a:lnTo>
                        <a:pt x="944" y="287"/>
                      </a:lnTo>
                      <a:lnTo>
                        <a:pt x="943" y="287"/>
                      </a:lnTo>
                      <a:lnTo>
                        <a:pt x="943" y="286"/>
                      </a:lnTo>
                      <a:lnTo>
                        <a:pt x="943" y="287"/>
                      </a:lnTo>
                      <a:lnTo>
                        <a:pt x="944" y="287"/>
                      </a:lnTo>
                      <a:lnTo>
                        <a:pt x="944" y="288"/>
                      </a:lnTo>
                      <a:lnTo>
                        <a:pt x="944" y="288"/>
                      </a:lnTo>
                      <a:lnTo>
                        <a:pt x="944" y="288"/>
                      </a:lnTo>
                      <a:lnTo>
                        <a:pt x="944" y="288"/>
                      </a:lnTo>
                      <a:lnTo>
                        <a:pt x="944" y="288"/>
                      </a:lnTo>
                      <a:lnTo>
                        <a:pt x="943" y="289"/>
                      </a:lnTo>
                      <a:lnTo>
                        <a:pt x="943" y="289"/>
                      </a:lnTo>
                      <a:lnTo>
                        <a:pt x="942" y="289"/>
                      </a:lnTo>
                      <a:lnTo>
                        <a:pt x="941" y="289"/>
                      </a:lnTo>
                      <a:lnTo>
                        <a:pt x="941" y="289"/>
                      </a:lnTo>
                      <a:lnTo>
                        <a:pt x="940" y="289"/>
                      </a:lnTo>
                      <a:lnTo>
                        <a:pt x="940" y="289"/>
                      </a:lnTo>
                      <a:lnTo>
                        <a:pt x="940" y="289"/>
                      </a:lnTo>
                      <a:lnTo>
                        <a:pt x="940" y="289"/>
                      </a:lnTo>
                      <a:lnTo>
                        <a:pt x="939" y="289"/>
                      </a:lnTo>
                      <a:lnTo>
                        <a:pt x="940" y="289"/>
                      </a:lnTo>
                      <a:lnTo>
                        <a:pt x="940" y="289"/>
                      </a:lnTo>
                      <a:lnTo>
                        <a:pt x="939" y="289"/>
                      </a:lnTo>
                      <a:lnTo>
                        <a:pt x="939" y="289"/>
                      </a:lnTo>
                      <a:lnTo>
                        <a:pt x="939" y="288"/>
                      </a:lnTo>
                      <a:lnTo>
                        <a:pt x="938" y="288"/>
                      </a:lnTo>
                      <a:lnTo>
                        <a:pt x="938" y="288"/>
                      </a:lnTo>
                      <a:lnTo>
                        <a:pt x="937" y="288"/>
                      </a:lnTo>
                      <a:lnTo>
                        <a:pt x="938" y="288"/>
                      </a:lnTo>
                      <a:lnTo>
                        <a:pt x="937" y="288"/>
                      </a:lnTo>
                      <a:lnTo>
                        <a:pt x="938" y="288"/>
                      </a:lnTo>
                      <a:lnTo>
                        <a:pt x="937" y="288"/>
                      </a:lnTo>
                      <a:lnTo>
                        <a:pt x="938" y="288"/>
                      </a:lnTo>
                      <a:lnTo>
                        <a:pt x="938" y="288"/>
                      </a:lnTo>
                      <a:lnTo>
                        <a:pt x="938" y="289"/>
                      </a:lnTo>
                      <a:lnTo>
                        <a:pt x="938" y="288"/>
                      </a:lnTo>
                      <a:lnTo>
                        <a:pt x="939" y="288"/>
                      </a:lnTo>
                      <a:lnTo>
                        <a:pt x="939" y="289"/>
                      </a:lnTo>
                      <a:lnTo>
                        <a:pt x="938" y="289"/>
                      </a:lnTo>
                      <a:lnTo>
                        <a:pt x="939" y="289"/>
                      </a:lnTo>
                      <a:lnTo>
                        <a:pt x="938" y="289"/>
                      </a:lnTo>
                      <a:lnTo>
                        <a:pt x="938" y="288"/>
                      </a:lnTo>
                      <a:lnTo>
                        <a:pt x="938" y="289"/>
                      </a:lnTo>
                      <a:lnTo>
                        <a:pt x="939" y="289"/>
                      </a:lnTo>
                      <a:lnTo>
                        <a:pt x="938" y="289"/>
                      </a:lnTo>
                      <a:lnTo>
                        <a:pt x="938" y="289"/>
                      </a:lnTo>
                      <a:lnTo>
                        <a:pt x="939" y="289"/>
                      </a:lnTo>
                      <a:lnTo>
                        <a:pt x="939" y="289"/>
                      </a:lnTo>
                      <a:lnTo>
                        <a:pt x="939" y="290"/>
                      </a:lnTo>
                      <a:lnTo>
                        <a:pt x="938" y="290"/>
                      </a:lnTo>
                      <a:lnTo>
                        <a:pt x="938" y="291"/>
                      </a:lnTo>
                      <a:lnTo>
                        <a:pt x="937" y="291"/>
                      </a:lnTo>
                      <a:lnTo>
                        <a:pt x="937" y="291"/>
                      </a:lnTo>
                      <a:lnTo>
                        <a:pt x="937" y="291"/>
                      </a:lnTo>
                      <a:lnTo>
                        <a:pt x="936" y="291"/>
                      </a:lnTo>
                      <a:lnTo>
                        <a:pt x="936" y="291"/>
                      </a:lnTo>
                      <a:lnTo>
                        <a:pt x="936" y="290"/>
                      </a:lnTo>
                      <a:lnTo>
                        <a:pt x="935" y="290"/>
                      </a:lnTo>
                      <a:lnTo>
                        <a:pt x="936" y="290"/>
                      </a:lnTo>
                      <a:lnTo>
                        <a:pt x="935" y="290"/>
                      </a:lnTo>
                      <a:lnTo>
                        <a:pt x="935" y="290"/>
                      </a:lnTo>
                      <a:lnTo>
                        <a:pt x="935" y="289"/>
                      </a:lnTo>
                      <a:lnTo>
                        <a:pt x="935" y="289"/>
                      </a:lnTo>
                      <a:lnTo>
                        <a:pt x="935" y="289"/>
                      </a:lnTo>
                      <a:lnTo>
                        <a:pt x="935" y="289"/>
                      </a:lnTo>
                      <a:lnTo>
                        <a:pt x="935" y="289"/>
                      </a:lnTo>
                      <a:lnTo>
                        <a:pt x="935" y="290"/>
                      </a:lnTo>
                      <a:lnTo>
                        <a:pt x="934" y="290"/>
                      </a:lnTo>
                      <a:lnTo>
                        <a:pt x="934" y="289"/>
                      </a:lnTo>
                      <a:lnTo>
                        <a:pt x="934" y="290"/>
                      </a:lnTo>
                      <a:lnTo>
                        <a:pt x="934" y="289"/>
                      </a:lnTo>
                      <a:lnTo>
                        <a:pt x="933" y="289"/>
                      </a:lnTo>
                      <a:lnTo>
                        <a:pt x="934" y="289"/>
                      </a:lnTo>
                      <a:lnTo>
                        <a:pt x="933" y="289"/>
                      </a:lnTo>
                      <a:lnTo>
                        <a:pt x="933" y="289"/>
                      </a:lnTo>
                      <a:lnTo>
                        <a:pt x="933" y="289"/>
                      </a:lnTo>
                      <a:lnTo>
                        <a:pt x="933" y="289"/>
                      </a:lnTo>
                      <a:lnTo>
                        <a:pt x="933" y="289"/>
                      </a:lnTo>
                      <a:lnTo>
                        <a:pt x="934" y="289"/>
                      </a:lnTo>
                      <a:lnTo>
                        <a:pt x="934" y="290"/>
                      </a:lnTo>
                      <a:lnTo>
                        <a:pt x="934" y="291"/>
                      </a:lnTo>
                      <a:lnTo>
                        <a:pt x="934" y="290"/>
                      </a:lnTo>
                      <a:lnTo>
                        <a:pt x="934" y="291"/>
                      </a:lnTo>
                      <a:lnTo>
                        <a:pt x="934" y="291"/>
                      </a:lnTo>
                      <a:lnTo>
                        <a:pt x="934" y="292"/>
                      </a:lnTo>
                      <a:lnTo>
                        <a:pt x="934" y="292"/>
                      </a:lnTo>
                      <a:lnTo>
                        <a:pt x="934" y="293"/>
                      </a:lnTo>
                      <a:lnTo>
                        <a:pt x="933" y="293"/>
                      </a:lnTo>
                      <a:lnTo>
                        <a:pt x="933" y="292"/>
                      </a:lnTo>
                      <a:lnTo>
                        <a:pt x="933" y="293"/>
                      </a:lnTo>
                      <a:lnTo>
                        <a:pt x="933" y="292"/>
                      </a:lnTo>
                      <a:lnTo>
                        <a:pt x="933" y="292"/>
                      </a:lnTo>
                      <a:lnTo>
                        <a:pt x="933" y="293"/>
                      </a:lnTo>
                      <a:lnTo>
                        <a:pt x="933" y="292"/>
                      </a:lnTo>
                      <a:lnTo>
                        <a:pt x="932" y="292"/>
                      </a:lnTo>
                      <a:lnTo>
                        <a:pt x="933" y="292"/>
                      </a:lnTo>
                      <a:lnTo>
                        <a:pt x="933" y="293"/>
                      </a:lnTo>
                      <a:lnTo>
                        <a:pt x="932" y="293"/>
                      </a:lnTo>
                      <a:lnTo>
                        <a:pt x="933" y="293"/>
                      </a:lnTo>
                      <a:lnTo>
                        <a:pt x="933" y="293"/>
                      </a:lnTo>
                      <a:lnTo>
                        <a:pt x="932" y="293"/>
                      </a:lnTo>
                      <a:lnTo>
                        <a:pt x="932" y="294"/>
                      </a:lnTo>
                      <a:lnTo>
                        <a:pt x="932" y="294"/>
                      </a:lnTo>
                      <a:lnTo>
                        <a:pt x="932" y="295"/>
                      </a:lnTo>
                      <a:lnTo>
                        <a:pt x="931" y="295"/>
                      </a:lnTo>
                      <a:lnTo>
                        <a:pt x="930" y="295"/>
                      </a:lnTo>
                      <a:lnTo>
                        <a:pt x="930" y="295"/>
                      </a:lnTo>
                      <a:lnTo>
                        <a:pt x="930" y="294"/>
                      </a:lnTo>
                      <a:lnTo>
                        <a:pt x="929" y="294"/>
                      </a:lnTo>
                      <a:lnTo>
                        <a:pt x="929" y="293"/>
                      </a:lnTo>
                      <a:lnTo>
                        <a:pt x="929" y="293"/>
                      </a:lnTo>
                      <a:lnTo>
                        <a:pt x="929" y="293"/>
                      </a:lnTo>
                      <a:lnTo>
                        <a:pt x="929" y="293"/>
                      </a:lnTo>
                      <a:lnTo>
                        <a:pt x="928" y="294"/>
                      </a:lnTo>
                      <a:lnTo>
                        <a:pt x="928" y="295"/>
                      </a:lnTo>
                      <a:lnTo>
                        <a:pt x="928" y="294"/>
                      </a:lnTo>
                      <a:lnTo>
                        <a:pt x="928" y="294"/>
                      </a:lnTo>
                      <a:lnTo>
                        <a:pt x="928" y="294"/>
                      </a:lnTo>
                      <a:lnTo>
                        <a:pt x="928" y="294"/>
                      </a:lnTo>
                      <a:lnTo>
                        <a:pt x="928" y="294"/>
                      </a:lnTo>
                      <a:lnTo>
                        <a:pt x="928" y="295"/>
                      </a:lnTo>
                      <a:lnTo>
                        <a:pt x="928" y="295"/>
                      </a:lnTo>
                      <a:lnTo>
                        <a:pt x="929" y="295"/>
                      </a:lnTo>
                      <a:lnTo>
                        <a:pt x="929" y="295"/>
                      </a:lnTo>
                      <a:lnTo>
                        <a:pt x="930" y="295"/>
                      </a:lnTo>
                      <a:lnTo>
                        <a:pt x="929" y="295"/>
                      </a:lnTo>
                      <a:lnTo>
                        <a:pt x="929" y="296"/>
                      </a:lnTo>
                      <a:lnTo>
                        <a:pt x="930" y="296"/>
                      </a:lnTo>
                      <a:lnTo>
                        <a:pt x="929" y="296"/>
                      </a:lnTo>
                      <a:lnTo>
                        <a:pt x="929" y="296"/>
                      </a:lnTo>
                      <a:lnTo>
                        <a:pt x="928" y="296"/>
                      </a:lnTo>
                      <a:lnTo>
                        <a:pt x="928" y="296"/>
                      </a:lnTo>
                      <a:lnTo>
                        <a:pt x="928" y="297"/>
                      </a:lnTo>
                      <a:lnTo>
                        <a:pt x="928" y="297"/>
                      </a:lnTo>
                      <a:lnTo>
                        <a:pt x="927" y="297"/>
                      </a:lnTo>
                      <a:lnTo>
                        <a:pt x="926" y="297"/>
                      </a:lnTo>
                      <a:lnTo>
                        <a:pt x="926" y="297"/>
                      </a:lnTo>
                      <a:lnTo>
                        <a:pt x="926" y="297"/>
                      </a:lnTo>
                      <a:lnTo>
                        <a:pt x="925" y="297"/>
                      </a:lnTo>
                      <a:lnTo>
                        <a:pt x="925" y="297"/>
                      </a:lnTo>
                      <a:lnTo>
                        <a:pt x="925" y="296"/>
                      </a:lnTo>
                      <a:lnTo>
                        <a:pt x="925" y="297"/>
                      </a:lnTo>
                      <a:lnTo>
                        <a:pt x="925" y="297"/>
                      </a:lnTo>
                      <a:lnTo>
                        <a:pt x="925" y="297"/>
                      </a:lnTo>
                      <a:lnTo>
                        <a:pt x="925" y="297"/>
                      </a:lnTo>
                      <a:lnTo>
                        <a:pt x="925" y="297"/>
                      </a:lnTo>
                      <a:lnTo>
                        <a:pt x="925" y="297"/>
                      </a:lnTo>
                      <a:lnTo>
                        <a:pt x="925" y="297"/>
                      </a:lnTo>
                      <a:lnTo>
                        <a:pt x="925" y="298"/>
                      </a:lnTo>
                      <a:lnTo>
                        <a:pt x="925" y="298"/>
                      </a:lnTo>
                      <a:lnTo>
                        <a:pt x="924" y="298"/>
                      </a:lnTo>
                      <a:lnTo>
                        <a:pt x="925" y="298"/>
                      </a:lnTo>
                      <a:lnTo>
                        <a:pt x="925" y="298"/>
                      </a:lnTo>
                      <a:lnTo>
                        <a:pt x="925" y="299"/>
                      </a:lnTo>
                      <a:lnTo>
                        <a:pt x="925" y="299"/>
                      </a:lnTo>
                      <a:lnTo>
                        <a:pt x="925" y="299"/>
                      </a:lnTo>
                      <a:lnTo>
                        <a:pt x="926" y="299"/>
                      </a:lnTo>
                      <a:lnTo>
                        <a:pt x="926" y="299"/>
                      </a:lnTo>
                      <a:lnTo>
                        <a:pt x="925" y="299"/>
                      </a:lnTo>
                      <a:lnTo>
                        <a:pt x="925" y="300"/>
                      </a:lnTo>
                      <a:lnTo>
                        <a:pt x="925" y="299"/>
                      </a:lnTo>
                      <a:lnTo>
                        <a:pt x="925" y="300"/>
                      </a:lnTo>
                      <a:lnTo>
                        <a:pt x="925" y="300"/>
                      </a:lnTo>
                      <a:lnTo>
                        <a:pt x="925" y="299"/>
                      </a:lnTo>
                      <a:lnTo>
                        <a:pt x="925" y="300"/>
                      </a:lnTo>
                      <a:lnTo>
                        <a:pt x="924" y="300"/>
                      </a:lnTo>
                      <a:lnTo>
                        <a:pt x="924" y="299"/>
                      </a:lnTo>
                      <a:lnTo>
                        <a:pt x="924" y="299"/>
                      </a:lnTo>
                      <a:lnTo>
                        <a:pt x="924" y="299"/>
                      </a:lnTo>
                      <a:lnTo>
                        <a:pt x="924" y="299"/>
                      </a:lnTo>
                      <a:lnTo>
                        <a:pt x="924" y="299"/>
                      </a:lnTo>
                      <a:lnTo>
                        <a:pt x="923" y="299"/>
                      </a:lnTo>
                      <a:lnTo>
                        <a:pt x="922" y="299"/>
                      </a:lnTo>
                      <a:lnTo>
                        <a:pt x="922" y="299"/>
                      </a:lnTo>
                      <a:lnTo>
                        <a:pt x="922" y="299"/>
                      </a:lnTo>
                      <a:lnTo>
                        <a:pt x="923" y="299"/>
                      </a:lnTo>
                      <a:lnTo>
                        <a:pt x="923" y="299"/>
                      </a:lnTo>
                      <a:lnTo>
                        <a:pt x="924" y="299"/>
                      </a:lnTo>
                      <a:lnTo>
                        <a:pt x="924" y="300"/>
                      </a:lnTo>
                      <a:lnTo>
                        <a:pt x="924" y="300"/>
                      </a:lnTo>
                      <a:lnTo>
                        <a:pt x="923" y="300"/>
                      </a:lnTo>
                      <a:lnTo>
                        <a:pt x="923" y="301"/>
                      </a:lnTo>
                      <a:lnTo>
                        <a:pt x="923" y="302"/>
                      </a:lnTo>
                      <a:lnTo>
                        <a:pt x="922" y="302"/>
                      </a:lnTo>
                      <a:lnTo>
                        <a:pt x="922" y="301"/>
                      </a:lnTo>
                      <a:lnTo>
                        <a:pt x="922" y="301"/>
                      </a:lnTo>
                      <a:lnTo>
                        <a:pt x="922" y="302"/>
                      </a:lnTo>
                      <a:lnTo>
                        <a:pt x="922" y="302"/>
                      </a:lnTo>
                      <a:lnTo>
                        <a:pt x="921" y="302"/>
                      </a:lnTo>
                      <a:lnTo>
                        <a:pt x="921" y="302"/>
                      </a:lnTo>
                      <a:lnTo>
                        <a:pt x="921" y="302"/>
                      </a:lnTo>
                      <a:lnTo>
                        <a:pt x="920" y="302"/>
                      </a:lnTo>
                      <a:lnTo>
                        <a:pt x="920" y="302"/>
                      </a:lnTo>
                      <a:lnTo>
                        <a:pt x="920" y="302"/>
                      </a:lnTo>
                      <a:lnTo>
                        <a:pt x="920" y="302"/>
                      </a:lnTo>
                      <a:lnTo>
                        <a:pt x="920" y="302"/>
                      </a:lnTo>
                      <a:lnTo>
                        <a:pt x="921" y="302"/>
                      </a:lnTo>
                      <a:lnTo>
                        <a:pt x="921" y="301"/>
                      </a:lnTo>
                      <a:lnTo>
                        <a:pt x="920" y="301"/>
                      </a:lnTo>
                      <a:lnTo>
                        <a:pt x="920" y="302"/>
                      </a:lnTo>
                      <a:lnTo>
                        <a:pt x="920" y="301"/>
                      </a:lnTo>
                      <a:lnTo>
                        <a:pt x="920" y="301"/>
                      </a:lnTo>
                      <a:lnTo>
                        <a:pt x="920" y="300"/>
                      </a:lnTo>
                      <a:lnTo>
                        <a:pt x="920" y="300"/>
                      </a:lnTo>
                      <a:lnTo>
                        <a:pt x="920" y="300"/>
                      </a:lnTo>
                      <a:lnTo>
                        <a:pt x="920" y="301"/>
                      </a:lnTo>
                      <a:lnTo>
                        <a:pt x="920" y="302"/>
                      </a:lnTo>
                      <a:lnTo>
                        <a:pt x="920" y="302"/>
                      </a:lnTo>
                      <a:lnTo>
                        <a:pt x="920" y="302"/>
                      </a:lnTo>
                      <a:lnTo>
                        <a:pt x="920" y="302"/>
                      </a:lnTo>
                      <a:lnTo>
                        <a:pt x="920" y="302"/>
                      </a:lnTo>
                      <a:lnTo>
                        <a:pt x="920" y="302"/>
                      </a:lnTo>
                      <a:lnTo>
                        <a:pt x="919" y="303"/>
                      </a:lnTo>
                      <a:lnTo>
                        <a:pt x="920" y="303"/>
                      </a:lnTo>
                      <a:lnTo>
                        <a:pt x="919" y="303"/>
                      </a:lnTo>
                      <a:lnTo>
                        <a:pt x="918" y="303"/>
                      </a:lnTo>
                      <a:lnTo>
                        <a:pt x="918" y="303"/>
                      </a:lnTo>
                      <a:lnTo>
                        <a:pt x="918" y="304"/>
                      </a:lnTo>
                      <a:lnTo>
                        <a:pt x="917" y="304"/>
                      </a:lnTo>
                      <a:lnTo>
                        <a:pt x="917" y="304"/>
                      </a:lnTo>
                      <a:lnTo>
                        <a:pt x="917" y="304"/>
                      </a:lnTo>
                      <a:lnTo>
                        <a:pt x="917" y="305"/>
                      </a:lnTo>
                      <a:lnTo>
                        <a:pt x="916" y="305"/>
                      </a:lnTo>
                      <a:lnTo>
                        <a:pt x="915" y="306"/>
                      </a:lnTo>
                      <a:lnTo>
                        <a:pt x="915" y="306"/>
                      </a:lnTo>
                      <a:lnTo>
                        <a:pt x="914" y="306"/>
                      </a:lnTo>
                      <a:lnTo>
                        <a:pt x="914" y="306"/>
                      </a:lnTo>
                      <a:lnTo>
                        <a:pt x="914" y="306"/>
                      </a:lnTo>
                      <a:lnTo>
                        <a:pt x="913" y="306"/>
                      </a:lnTo>
                      <a:lnTo>
                        <a:pt x="913" y="307"/>
                      </a:lnTo>
                      <a:lnTo>
                        <a:pt x="913" y="307"/>
                      </a:lnTo>
                      <a:lnTo>
                        <a:pt x="912" y="307"/>
                      </a:lnTo>
                      <a:lnTo>
                        <a:pt x="911" y="307"/>
                      </a:lnTo>
                      <a:lnTo>
                        <a:pt x="911" y="307"/>
                      </a:lnTo>
                      <a:lnTo>
                        <a:pt x="911" y="308"/>
                      </a:lnTo>
                      <a:lnTo>
                        <a:pt x="911" y="308"/>
                      </a:lnTo>
                      <a:lnTo>
                        <a:pt x="911" y="308"/>
                      </a:lnTo>
                      <a:lnTo>
                        <a:pt x="911" y="308"/>
                      </a:lnTo>
                      <a:lnTo>
                        <a:pt x="911" y="308"/>
                      </a:lnTo>
                      <a:lnTo>
                        <a:pt x="911" y="309"/>
                      </a:lnTo>
                      <a:lnTo>
                        <a:pt x="911" y="309"/>
                      </a:lnTo>
                      <a:lnTo>
                        <a:pt x="910" y="309"/>
                      </a:lnTo>
                      <a:lnTo>
                        <a:pt x="910" y="310"/>
                      </a:lnTo>
                      <a:lnTo>
                        <a:pt x="910" y="310"/>
                      </a:lnTo>
                      <a:lnTo>
                        <a:pt x="910" y="310"/>
                      </a:lnTo>
                      <a:lnTo>
                        <a:pt x="910" y="310"/>
                      </a:lnTo>
                      <a:lnTo>
                        <a:pt x="910" y="310"/>
                      </a:lnTo>
                      <a:lnTo>
                        <a:pt x="910" y="309"/>
                      </a:lnTo>
                      <a:lnTo>
                        <a:pt x="910" y="309"/>
                      </a:lnTo>
                      <a:lnTo>
                        <a:pt x="910" y="308"/>
                      </a:lnTo>
                      <a:lnTo>
                        <a:pt x="910" y="309"/>
                      </a:lnTo>
                      <a:lnTo>
                        <a:pt x="909" y="309"/>
                      </a:lnTo>
                      <a:lnTo>
                        <a:pt x="910" y="309"/>
                      </a:lnTo>
                      <a:lnTo>
                        <a:pt x="909" y="309"/>
                      </a:lnTo>
                      <a:lnTo>
                        <a:pt x="910" y="309"/>
                      </a:lnTo>
                      <a:lnTo>
                        <a:pt x="910" y="310"/>
                      </a:lnTo>
                      <a:lnTo>
                        <a:pt x="910" y="310"/>
                      </a:lnTo>
                      <a:lnTo>
                        <a:pt x="909" y="310"/>
                      </a:lnTo>
                      <a:lnTo>
                        <a:pt x="909" y="310"/>
                      </a:lnTo>
                      <a:lnTo>
                        <a:pt x="909" y="310"/>
                      </a:lnTo>
                      <a:lnTo>
                        <a:pt x="910" y="310"/>
                      </a:lnTo>
                      <a:lnTo>
                        <a:pt x="909" y="310"/>
                      </a:lnTo>
                      <a:lnTo>
                        <a:pt x="910" y="310"/>
                      </a:lnTo>
                      <a:lnTo>
                        <a:pt x="910" y="311"/>
                      </a:lnTo>
                      <a:lnTo>
                        <a:pt x="910" y="311"/>
                      </a:lnTo>
                      <a:lnTo>
                        <a:pt x="910" y="312"/>
                      </a:lnTo>
                      <a:lnTo>
                        <a:pt x="910" y="313"/>
                      </a:lnTo>
                      <a:lnTo>
                        <a:pt x="909" y="313"/>
                      </a:lnTo>
                      <a:lnTo>
                        <a:pt x="910" y="313"/>
                      </a:lnTo>
                      <a:lnTo>
                        <a:pt x="909" y="313"/>
                      </a:lnTo>
                      <a:lnTo>
                        <a:pt x="909" y="313"/>
                      </a:lnTo>
                      <a:lnTo>
                        <a:pt x="909" y="314"/>
                      </a:lnTo>
                      <a:lnTo>
                        <a:pt x="908" y="314"/>
                      </a:lnTo>
                      <a:lnTo>
                        <a:pt x="908" y="313"/>
                      </a:lnTo>
                      <a:lnTo>
                        <a:pt x="907" y="313"/>
                      </a:lnTo>
                      <a:lnTo>
                        <a:pt x="907" y="313"/>
                      </a:lnTo>
                      <a:lnTo>
                        <a:pt x="907" y="313"/>
                      </a:lnTo>
                      <a:lnTo>
                        <a:pt x="907" y="312"/>
                      </a:lnTo>
                      <a:lnTo>
                        <a:pt x="906" y="312"/>
                      </a:lnTo>
                      <a:lnTo>
                        <a:pt x="906" y="312"/>
                      </a:lnTo>
                      <a:lnTo>
                        <a:pt x="906" y="311"/>
                      </a:lnTo>
                      <a:lnTo>
                        <a:pt x="906" y="311"/>
                      </a:lnTo>
                      <a:lnTo>
                        <a:pt x="905" y="311"/>
                      </a:lnTo>
                      <a:lnTo>
                        <a:pt x="905" y="310"/>
                      </a:lnTo>
                      <a:lnTo>
                        <a:pt x="905" y="310"/>
                      </a:lnTo>
                      <a:lnTo>
                        <a:pt x="905" y="310"/>
                      </a:lnTo>
                      <a:lnTo>
                        <a:pt x="905" y="310"/>
                      </a:lnTo>
                      <a:lnTo>
                        <a:pt x="906" y="310"/>
                      </a:lnTo>
                      <a:lnTo>
                        <a:pt x="905" y="310"/>
                      </a:lnTo>
                      <a:lnTo>
                        <a:pt x="906" y="310"/>
                      </a:lnTo>
                      <a:lnTo>
                        <a:pt x="905" y="310"/>
                      </a:lnTo>
                      <a:lnTo>
                        <a:pt x="906" y="310"/>
                      </a:lnTo>
                      <a:lnTo>
                        <a:pt x="905" y="310"/>
                      </a:lnTo>
                      <a:lnTo>
                        <a:pt x="906" y="310"/>
                      </a:lnTo>
                      <a:lnTo>
                        <a:pt x="906" y="310"/>
                      </a:lnTo>
                      <a:lnTo>
                        <a:pt x="906" y="310"/>
                      </a:lnTo>
                      <a:lnTo>
                        <a:pt x="905" y="310"/>
                      </a:lnTo>
                      <a:lnTo>
                        <a:pt x="904" y="310"/>
                      </a:lnTo>
                      <a:lnTo>
                        <a:pt x="904" y="309"/>
                      </a:lnTo>
                      <a:lnTo>
                        <a:pt x="904" y="309"/>
                      </a:lnTo>
                      <a:lnTo>
                        <a:pt x="904" y="309"/>
                      </a:lnTo>
                      <a:lnTo>
                        <a:pt x="904" y="309"/>
                      </a:lnTo>
                      <a:lnTo>
                        <a:pt x="904" y="308"/>
                      </a:lnTo>
                      <a:lnTo>
                        <a:pt x="904" y="308"/>
                      </a:lnTo>
                      <a:lnTo>
                        <a:pt x="904" y="307"/>
                      </a:lnTo>
                      <a:lnTo>
                        <a:pt x="903" y="307"/>
                      </a:lnTo>
                      <a:lnTo>
                        <a:pt x="903" y="307"/>
                      </a:lnTo>
                      <a:lnTo>
                        <a:pt x="903" y="307"/>
                      </a:lnTo>
                      <a:lnTo>
                        <a:pt x="903" y="307"/>
                      </a:lnTo>
                      <a:lnTo>
                        <a:pt x="904" y="307"/>
                      </a:lnTo>
                      <a:lnTo>
                        <a:pt x="903" y="307"/>
                      </a:lnTo>
                      <a:lnTo>
                        <a:pt x="903" y="307"/>
                      </a:lnTo>
                      <a:lnTo>
                        <a:pt x="903" y="307"/>
                      </a:lnTo>
                      <a:lnTo>
                        <a:pt x="903" y="307"/>
                      </a:lnTo>
                      <a:lnTo>
                        <a:pt x="904" y="307"/>
                      </a:lnTo>
                      <a:lnTo>
                        <a:pt x="904" y="307"/>
                      </a:lnTo>
                      <a:lnTo>
                        <a:pt x="904" y="306"/>
                      </a:lnTo>
                      <a:lnTo>
                        <a:pt x="905" y="306"/>
                      </a:lnTo>
                      <a:lnTo>
                        <a:pt x="905" y="306"/>
                      </a:lnTo>
                      <a:lnTo>
                        <a:pt x="904" y="306"/>
                      </a:lnTo>
                      <a:lnTo>
                        <a:pt x="904" y="305"/>
                      </a:lnTo>
                      <a:lnTo>
                        <a:pt x="904" y="306"/>
                      </a:lnTo>
                      <a:lnTo>
                        <a:pt x="905" y="306"/>
                      </a:lnTo>
                      <a:lnTo>
                        <a:pt x="905" y="306"/>
                      </a:lnTo>
                      <a:lnTo>
                        <a:pt x="904" y="306"/>
                      </a:lnTo>
                      <a:lnTo>
                        <a:pt x="904" y="307"/>
                      </a:lnTo>
                      <a:lnTo>
                        <a:pt x="904" y="307"/>
                      </a:lnTo>
                      <a:lnTo>
                        <a:pt x="903" y="307"/>
                      </a:lnTo>
                      <a:lnTo>
                        <a:pt x="904" y="307"/>
                      </a:lnTo>
                      <a:lnTo>
                        <a:pt x="903" y="307"/>
                      </a:lnTo>
                      <a:lnTo>
                        <a:pt x="903" y="307"/>
                      </a:lnTo>
                      <a:lnTo>
                        <a:pt x="903" y="307"/>
                      </a:lnTo>
                      <a:lnTo>
                        <a:pt x="903" y="307"/>
                      </a:lnTo>
                      <a:lnTo>
                        <a:pt x="902" y="307"/>
                      </a:lnTo>
                      <a:lnTo>
                        <a:pt x="902" y="307"/>
                      </a:lnTo>
                      <a:lnTo>
                        <a:pt x="902" y="306"/>
                      </a:lnTo>
                      <a:lnTo>
                        <a:pt x="901" y="306"/>
                      </a:lnTo>
                      <a:lnTo>
                        <a:pt x="901" y="306"/>
                      </a:lnTo>
                      <a:lnTo>
                        <a:pt x="900" y="306"/>
                      </a:lnTo>
                      <a:lnTo>
                        <a:pt x="900" y="306"/>
                      </a:lnTo>
                      <a:lnTo>
                        <a:pt x="901" y="306"/>
                      </a:lnTo>
                      <a:lnTo>
                        <a:pt x="901" y="305"/>
                      </a:lnTo>
                      <a:lnTo>
                        <a:pt x="900" y="305"/>
                      </a:lnTo>
                      <a:lnTo>
                        <a:pt x="901" y="305"/>
                      </a:lnTo>
                      <a:lnTo>
                        <a:pt x="900" y="305"/>
                      </a:lnTo>
                      <a:lnTo>
                        <a:pt x="900" y="305"/>
                      </a:lnTo>
                      <a:lnTo>
                        <a:pt x="900" y="304"/>
                      </a:lnTo>
                      <a:lnTo>
                        <a:pt x="899" y="304"/>
                      </a:lnTo>
                      <a:lnTo>
                        <a:pt x="899" y="304"/>
                      </a:lnTo>
                      <a:lnTo>
                        <a:pt x="899" y="304"/>
                      </a:lnTo>
                      <a:lnTo>
                        <a:pt x="900" y="304"/>
                      </a:lnTo>
                      <a:lnTo>
                        <a:pt x="900" y="305"/>
                      </a:lnTo>
                      <a:lnTo>
                        <a:pt x="900" y="306"/>
                      </a:lnTo>
                      <a:lnTo>
                        <a:pt x="899" y="306"/>
                      </a:lnTo>
                      <a:lnTo>
                        <a:pt x="899" y="305"/>
                      </a:lnTo>
                      <a:lnTo>
                        <a:pt x="899" y="305"/>
                      </a:lnTo>
                      <a:lnTo>
                        <a:pt x="899" y="305"/>
                      </a:lnTo>
                      <a:lnTo>
                        <a:pt x="899" y="306"/>
                      </a:lnTo>
                      <a:lnTo>
                        <a:pt x="899" y="305"/>
                      </a:lnTo>
                      <a:lnTo>
                        <a:pt x="899" y="305"/>
                      </a:lnTo>
                      <a:lnTo>
                        <a:pt x="898" y="305"/>
                      </a:lnTo>
                      <a:lnTo>
                        <a:pt x="898" y="305"/>
                      </a:lnTo>
                      <a:lnTo>
                        <a:pt x="897" y="305"/>
                      </a:lnTo>
                      <a:lnTo>
                        <a:pt x="896" y="305"/>
                      </a:lnTo>
                      <a:lnTo>
                        <a:pt x="897" y="305"/>
                      </a:lnTo>
                      <a:lnTo>
                        <a:pt x="898" y="305"/>
                      </a:lnTo>
                      <a:lnTo>
                        <a:pt x="898" y="305"/>
                      </a:lnTo>
                      <a:lnTo>
                        <a:pt x="899" y="305"/>
                      </a:lnTo>
                      <a:lnTo>
                        <a:pt x="899" y="306"/>
                      </a:lnTo>
                      <a:lnTo>
                        <a:pt x="899" y="306"/>
                      </a:lnTo>
                      <a:lnTo>
                        <a:pt x="900" y="306"/>
                      </a:lnTo>
                      <a:lnTo>
                        <a:pt x="899" y="306"/>
                      </a:lnTo>
                      <a:lnTo>
                        <a:pt x="898" y="306"/>
                      </a:lnTo>
                      <a:lnTo>
                        <a:pt x="897" y="306"/>
                      </a:lnTo>
                      <a:lnTo>
                        <a:pt x="896" y="306"/>
                      </a:lnTo>
                      <a:lnTo>
                        <a:pt x="895" y="306"/>
                      </a:lnTo>
                      <a:lnTo>
                        <a:pt x="895" y="306"/>
                      </a:lnTo>
                      <a:lnTo>
                        <a:pt x="895" y="305"/>
                      </a:lnTo>
                      <a:lnTo>
                        <a:pt x="894" y="305"/>
                      </a:lnTo>
                      <a:lnTo>
                        <a:pt x="894" y="305"/>
                      </a:lnTo>
                      <a:lnTo>
                        <a:pt x="893" y="305"/>
                      </a:lnTo>
                      <a:lnTo>
                        <a:pt x="892" y="305"/>
                      </a:lnTo>
                      <a:lnTo>
                        <a:pt x="892" y="305"/>
                      </a:lnTo>
                      <a:lnTo>
                        <a:pt x="891" y="305"/>
                      </a:lnTo>
                      <a:lnTo>
                        <a:pt x="891" y="306"/>
                      </a:lnTo>
                      <a:lnTo>
                        <a:pt x="890" y="306"/>
                      </a:lnTo>
                      <a:lnTo>
                        <a:pt x="889" y="306"/>
                      </a:lnTo>
                      <a:lnTo>
                        <a:pt x="889" y="306"/>
                      </a:lnTo>
                      <a:lnTo>
                        <a:pt x="888" y="306"/>
                      </a:lnTo>
                      <a:lnTo>
                        <a:pt x="888" y="306"/>
                      </a:lnTo>
                      <a:lnTo>
                        <a:pt x="888" y="306"/>
                      </a:lnTo>
                      <a:lnTo>
                        <a:pt x="888" y="307"/>
                      </a:lnTo>
                      <a:lnTo>
                        <a:pt x="888" y="307"/>
                      </a:lnTo>
                      <a:lnTo>
                        <a:pt x="888" y="306"/>
                      </a:lnTo>
                      <a:lnTo>
                        <a:pt x="888" y="307"/>
                      </a:lnTo>
                      <a:lnTo>
                        <a:pt x="887" y="307"/>
                      </a:lnTo>
                      <a:lnTo>
                        <a:pt x="887" y="307"/>
                      </a:lnTo>
                      <a:lnTo>
                        <a:pt x="887" y="307"/>
                      </a:lnTo>
                      <a:lnTo>
                        <a:pt x="886" y="307"/>
                      </a:lnTo>
                      <a:lnTo>
                        <a:pt x="885" y="307"/>
                      </a:lnTo>
                      <a:lnTo>
                        <a:pt x="885" y="307"/>
                      </a:lnTo>
                      <a:lnTo>
                        <a:pt x="885" y="307"/>
                      </a:lnTo>
                      <a:lnTo>
                        <a:pt x="885" y="307"/>
                      </a:lnTo>
                      <a:lnTo>
                        <a:pt x="885" y="307"/>
                      </a:lnTo>
                      <a:lnTo>
                        <a:pt x="885" y="307"/>
                      </a:lnTo>
                      <a:lnTo>
                        <a:pt x="885" y="308"/>
                      </a:lnTo>
                      <a:lnTo>
                        <a:pt x="884" y="308"/>
                      </a:lnTo>
                      <a:lnTo>
                        <a:pt x="884" y="308"/>
                      </a:lnTo>
                      <a:lnTo>
                        <a:pt x="884" y="308"/>
                      </a:lnTo>
                      <a:lnTo>
                        <a:pt x="883" y="308"/>
                      </a:lnTo>
                      <a:lnTo>
                        <a:pt x="883" y="308"/>
                      </a:lnTo>
                      <a:lnTo>
                        <a:pt x="883" y="308"/>
                      </a:lnTo>
                      <a:lnTo>
                        <a:pt x="883" y="307"/>
                      </a:lnTo>
                      <a:lnTo>
                        <a:pt x="882" y="307"/>
                      </a:lnTo>
                      <a:lnTo>
                        <a:pt x="883" y="307"/>
                      </a:lnTo>
                      <a:lnTo>
                        <a:pt x="882" y="307"/>
                      </a:lnTo>
                      <a:lnTo>
                        <a:pt x="882" y="308"/>
                      </a:lnTo>
                      <a:lnTo>
                        <a:pt x="883" y="308"/>
                      </a:lnTo>
                      <a:lnTo>
                        <a:pt x="883" y="308"/>
                      </a:lnTo>
                      <a:lnTo>
                        <a:pt x="882" y="308"/>
                      </a:lnTo>
                      <a:lnTo>
                        <a:pt x="882" y="309"/>
                      </a:lnTo>
                      <a:lnTo>
                        <a:pt x="881" y="309"/>
                      </a:lnTo>
                      <a:lnTo>
                        <a:pt x="881" y="310"/>
                      </a:lnTo>
                      <a:lnTo>
                        <a:pt x="881" y="310"/>
                      </a:lnTo>
                      <a:lnTo>
                        <a:pt x="880" y="310"/>
                      </a:lnTo>
                      <a:lnTo>
                        <a:pt x="881" y="310"/>
                      </a:lnTo>
                      <a:lnTo>
                        <a:pt x="881" y="310"/>
                      </a:lnTo>
                      <a:lnTo>
                        <a:pt x="880" y="310"/>
                      </a:lnTo>
                      <a:lnTo>
                        <a:pt x="880" y="311"/>
                      </a:lnTo>
                      <a:lnTo>
                        <a:pt x="880" y="311"/>
                      </a:lnTo>
                      <a:lnTo>
                        <a:pt x="879" y="312"/>
                      </a:lnTo>
                      <a:lnTo>
                        <a:pt x="879" y="313"/>
                      </a:lnTo>
                      <a:lnTo>
                        <a:pt x="878" y="313"/>
                      </a:lnTo>
                      <a:lnTo>
                        <a:pt x="877" y="313"/>
                      </a:lnTo>
                      <a:lnTo>
                        <a:pt x="877" y="314"/>
                      </a:lnTo>
                      <a:lnTo>
                        <a:pt x="877" y="314"/>
                      </a:lnTo>
                      <a:lnTo>
                        <a:pt x="877" y="314"/>
                      </a:lnTo>
                      <a:lnTo>
                        <a:pt x="877" y="315"/>
                      </a:lnTo>
                      <a:lnTo>
                        <a:pt x="876" y="315"/>
                      </a:lnTo>
                      <a:lnTo>
                        <a:pt x="876" y="315"/>
                      </a:lnTo>
                      <a:lnTo>
                        <a:pt x="876" y="315"/>
                      </a:lnTo>
                      <a:lnTo>
                        <a:pt x="876" y="315"/>
                      </a:lnTo>
                      <a:lnTo>
                        <a:pt x="875" y="315"/>
                      </a:lnTo>
                      <a:lnTo>
                        <a:pt x="874" y="315"/>
                      </a:lnTo>
                      <a:lnTo>
                        <a:pt x="874" y="315"/>
                      </a:lnTo>
                      <a:lnTo>
                        <a:pt x="874" y="314"/>
                      </a:lnTo>
                      <a:lnTo>
                        <a:pt x="875" y="314"/>
                      </a:lnTo>
                      <a:lnTo>
                        <a:pt x="875" y="313"/>
                      </a:lnTo>
                      <a:lnTo>
                        <a:pt x="875" y="313"/>
                      </a:lnTo>
                      <a:lnTo>
                        <a:pt x="875" y="312"/>
                      </a:lnTo>
                      <a:lnTo>
                        <a:pt x="875" y="311"/>
                      </a:lnTo>
                      <a:lnTo>
                        <a:pt x="876" y="311"/>
                      </a:lnTo>
                      <a:lnTo>
                        <a:pt x="876" y="311"/>
                      </a:lnTo>
                      <a:lnTo>
                        <a:pt x="876" y="311"/>
                      </a:lnTo>
                      <a:lnTo>
                        <a:pt x="876" y="310"/>
                      </a:lnTo>
                      <a:lnTo>
                        <a:pt x="876" y="310"/>
                      </a:lnTo>
                      <a:lnTo>
                        <a:pt x="876" y="309"/>
                      </a:lnTo>
                      <a:lnTo>
                        <a:pt x="876" y="308"/>
                      </a:lnTo>
                      <a:lnTo>
                        <a:pt x="876" y="308"/>
                      </a:lnTo>
                      <a:lnTo>
                        <a:pt x="876" y="308"/>
                      </a:lnTo>
                      <a:lnTo>
                        <a:pt x="876" y="307"/>
                      </a:lnTo>
                      <a:lnTo>
                        <a:pt x="876" y="307"/>
                      </a:lnTo>
                      <a:lnTo>
                        <a:pt x="876" y="308"/>
                      </a:lnTo>
                      <a:lnTo>
                        <a:pt x="876" y="308"/>
                      </a:lnTo>
                      <a:lnTo>
                        <a:pt x="876" y="308"/>
                      </a:lnTo>
                      <a:lnTo>
                        <a:pt x="877" y="308"/>
                      </a:lnTo>
                      <a:lnTo>
                        <a:pt x="877" y="307"/>
                      </a:lnTo>
                      <a:lnTo>
                        <a:pt x="877" y="307"/>
                      </a:lnTo>
                      <a:lnTo>
                        <a:pt x="876" y="307"/>
                      </a:lnTo>
                      <a:lnTo>
                        <a:pt x="876" y="307"/>
                      </a:lnTo>
                      <a:lnTo>
                        <a:pt x="875" y="307"/>
                      </a:lnTo>
                      <a:lnTo>
                        <a:pt x="876" y="307"/>
                      </a:lnTo>
                      <a:lnTo>
                        <a:pt x="875" y="307"/>
                      </a:lnTo>
                      <a:lnTo>
                        <a:pt x="874" y="307"/>
                      </a:lnTo>
                      <a:lnTo>
                        <a:pt x="874" y="307"/>
                      </a:lnTo>
                      <a:lnTo>
                        <a:pt x="874" y="307"/>
                      </a:lnTo>
                      <a:lnTo>
                        <a:pt x="873" y="307"/>
                      </a:lnTo>
                      <a:lnTo>
                        <a:pt x="873" y="308"/>
                      </a:lnTo>
                      <a:lnTo>
                        <a:pt x="873" y="308"/>
                      </a:lnTo>
                      <a:lnTo>
                        <a:pt x="873" y="308"/>
                      </a:lnTo>
                      <a:lnTo>
                        <a:pt x="874" y="308"/>
                      </a:lnTo>
                      <a:lnTo>
                        <a:pt x="874" y="307"/>
                      </a:lnTo>
                      <a:lnTo>
                        <a:pt x="874" y="307"/>
                      </a:lnTo>
                      <a:lnTo>
                        <a:pt x="874" y="307"/>
                      </a:lnTo>
                      <a:lnTo>
                        <a:pt x="874" y="308"/>
                      </a:lnTo>
                      <a:lnTo>
                        <a:pt x="873" y="308"/>
                      </a:lnTo>
                      <a:lnTo>
                        <a:pt x="873" y="308"/>
                      </a:lnTo>
                      <a:lnTo>
                        <a:pt x="872" y="308"/>
                      </a:lnTo>
                      <a:lnTo>
                        <a:pt x="872" y="309"/>
                      </a:lnTo>
                      <a:lnTo>
                        <a:pt x="872" y="310"/>
                      </a:lnTo>
                      <a:lnTo>
                        <a:pt x="871" y="310"/>
                      </a:lnTo>
                      <a:lnTo>
                        <a:pt x="870" y="310"/>
                      </a:lnTo>
                      <a:lnTo>
                        <a:pt x="870" y="310"/>
                      </a:lnTo>
                      <a:lnTo>
                        <a:pt x="870" y="310"/>
                      </a:lnTo>
                      <a:lnTo>
                        <a:pt x="869" y="310"/>
                      </a:lnTo>
                      <a:lnTo>
                        <a:pt x="869" y="310"/>
                      </a:lnTo>
                      <a:lnTo>
                        <a:pt x="869" y="309"/>
                      </a:lnTo>
                      <a:lnTo>
                        <a:pt x="870" y="309"/>
                      </a:lnTo>
                      <a:lnTo>
                        <a:pt x="870" y="308"/>
                      </a:lnTo>
                      <a:lnTo>
                        <a:pt x="870" y="308"/>
                      </a:lnTo>
                      <a:lnTo>
                        <a:pt x="870" y="308"/>
                      </a:lnTo>
                      <a:lnTo>
                        <a:pt x="871" y="308"/>
                      </a:lnTo>
                      <a:lnTo>
                        <a:pt x="871" y="307"/>
                      </a:lnTo>
                      <a:lnTo>
                        <a:pt x="871" y="308"/>
                      </a:lnTo>
                      <a:lnTo>
                        <a:pt x="870" y="308"/>
                      </a:lnTo>
                      <a:lnTo>
                        <a:pt x="870" y="308"/>
                      </a:lnTo>
                      <a:lnTo>
                        <a:pt x="870" y="308"/>
                      </a:lnTo>
                      <a:lnTo>
                        <a:pt x="870" y="309"/>
                      </a:lnTo>
                      <a:lnTo>
                        <a:pt x="870" y="308"/>
                      </a:lnTo>
                      <a:lnTo>
                        <a:pt x="870" y="309"/>
                      </a:lnTo>
                      <a:lnTo>
                        <a:pt x="869" y="309"/>
                      </a:lnTo>
                      <a:lnTo>
                        <a:pt x="869" y="310"/>
                      </a:lnTo>
                      <a:lnTo>
                        <a:pt x="869" y="310"/>
                      </a:lnTo>
                      <a:lnTo>
                        <a:pt x="870" y="310"/>
                      </a:lnTo>
                      <a:lnTo>
                        <a:pt x="869" y="310"/>
                      </a:lnTo>
                      <a:lnTo>
                        <a:pt x="869" y="311"/>
                      </a:lnTo>
                      <a:lnTo>
                        <a:pt x="868" y="311"/>
                      </a:lnTo>
                      <a:lnTo>
                        <a:pt x="868" y="311"/>
                      </a:lnTo>
                      <a:lnTo>
                        <a:pt x="868" y="311"/>
                      </a:lnTo>
                      <a:lnTo>
                        <a:pt x="867" y="311"/>
                      </a:lnTo>
                      <a:lnTo>
                        <a:pt x="867" y="311"/>
                      </a:lnTo>
                      <a:lnTo>
                        <a:pt x="868" y="311"/>
                      </a:lnTo>
                      <a:lnTo>
                        <a:pt x="867" y="311"/>
                      </a:lnTo>
                      <a:lnTo>
                        <a:pt x="867" y="311"/>
                      </a:lnTo>
                      <a:lnTo>
                        <a:pt x="866" y="311"/>
                      </a:lnTo>
                      <a:lnTo>
                        <a:pt x="866" y="311"/>
                      </a:lnTo>
                      <a:lnTo>
                        <a:pt x="866" y="312"/>
                      </a:lnTo>
                      <a:lnTo>
                        <a:pt x="866" y="312"/>
                      </a:lnTo>
                      <a:lnTo>
                        <a:pt x="866" y="311"/>
                      </a:lnTo>
                      <a:lnTo>
                        <a:pt x="866" y="312"/>
                      </a:lnTo>
                      <a:lnTo>
                        <a:pt x="867" y="311"/>
                      </a:lnTo>
                      <a:lnTo>
                        <a:pt x="867" y="312"/>
                      </a:lnTo>
                      <a:lnTo>
                        <a:pt x="867" y="313"/>
                      </a:lnTo>
                      <a:lnTo>
                        <a:pt x="868" y="313"/>
                      </a:lnTo>
                      <a:lnTo>
                        <a:pt x="868" y="313"/>
                      </a:lnTo>
                      <a:lnTo>
                        <a:pt x="867" y="313"/>
                      </a:lnTo>
                      <a:lnTo>
                        <a:pt x="867" y="314"/>
                      </a:lnTo>
                      <a:lnTo>
                        <a:pt x="867" y="314"/>
                      </a:lnTo>
                      <a:lnTo>
                        <a:pt x="866" y="314"/>
                      </a:lnTo>
                      <a:lnTo>
                        <a:pt x="866" y="315"/>
                      </a:lnTo>
                      <a:lnTo>
                        <a:pt x="866" y="315"/>
                      </a:lnTo>
                      <a:lnTo>
                        <a:pt x="865" y="315"/>
                      </a:lnTo>
                      <a:lnTo>
                        <a:pt x="865" y="315"/>
                      </a:lnTo>
                      <a:lnTo>
                        <a:pt x="865" y="315"/>
                      </a:lnTo>
                      <a:lnTo>
                        <a:pt x="864" y="315"/>
                      </a:lnTo>
                      <a:lnTo>
                        <a:pt x="864" y="314"/>
                      </a:lnTo>
                      <a:lnTo>
                        <a:pt x="864" y="314"/>
                      </a:lnTo>
                      <a:lnTo>
                        <a:pt x="864" y="313"/>
                      </a:lnTo>
                      <a:lnTo>
                        <a:pt x="863" y="313"/>
                      </a:lnTo>
                      <a:lnTo>
                        <a:pt x="863" y="313"/>
                      </a:lnTo>
                      <a:lnTo>
                        <a:pt x="863" y="313"/>
                      </a:lnTo>
                      <a:lnTo>
                        <a:pt x="863" y="312"/>
                      </a:lnTo>
                      <a:lnTo>
                        <a:pt x="862" y="312"/>
                      </a:lnTo>
                      <a:lnTo>
                        <a:pt x="862" y="311"/>
                      </a:lnTo>
                      <a:lnTo>
                        <a:pt x="861" y="311"/>
                      </a:lnTo>
                      <a:lnTo>
                        <a:pt x="861" y="311"/>
                      </a:lnTo>
                      <a:lnTo>
                        <a:pt x="861" y="312"/>
                      </a:lnTo>
                      <a:lnTo>
                        <a:pt x="861" y="311"/>
                      </a:lnTo>
                      <a:lnTo>
                        <a:pt x="860" y="312"/>
                      </a:lnTo>
                      <a:lnTo>
                        <a:pt x="860" y="313"/>
                      </a:lnTo>
                      <a:lnTo>
                        <a:pt x="861" y="313"/>
                      </a:lnTo>
                      <a:lnTo>
                        <a:pt x="861" y="313"/>
                      </a:lnTo>
                      <a:lnTo>
                        <a:pt x="859" y="313"/>
                      </a:lnTo>
                      <a:lnTo>
                        <a:pt x="859" y="313"/>
                      </a:lnTo>
                      <a:lnTo>
                        <a:pt x="859" y="314"/>
                      </a:lnTo>
                      <a:lnTo>
                        <a:pt x="858" y="314"/>
                      </a:lnTo>
                      <a:lnTo>
                        <a:pt x="859" y="314"/>
                      </a:lnTo>
                      <a:lnTo>
                        <a:pt x="859" y="314"/>
                      </a:lnTo>
                      <a:lnTo>
                        <a:pt x="859" y="314"/>
                      </a:lnTo>
                      <a:lnTo>
                        <a:pt x="859" y="314"/>
                      </a:lnTo>
                      <a:lnTo>
                        <a:pt x="859" y="314"/>
                      </a:lnTo>
                      <a:lnTo>
                        <a:pt x="858" y="314"/>
                      </a:lnTo>
                      <a:lnTo>
                        <a:pt x="858" y="314"/>
                      </a:lnTo>
                      <a:lnTo>
                        <a:pt x="859" y="314"/>
                      </a:lnTo>
                      <a:lnTo>
                        <a:pt x="859" y="313"/>
                      </a:lnTo>
                      <a:lnTo>
                        <a:pt x="859" y="313"/>
                      </a:lnTo>
                      <a:lnTo>
                        <a:pt x="859" y="313"/>
                      </a:lnTo>
                      <a:lnTo>
                        <a:pt x="859" y="313"/>
                      </a:lnTo>
                      <a:lnTo>
                        <a:pt x="859" y="313"/>
                      </a:lnTo>
                      <a:lnTo>
                        <a:pt x="859" y="313"/>
                      </a:lnTo>
                      <a:lnTo>
                        <a:pt x="858" y="313"/>
                      </a:lnTo>
                      <a:lnTo>
                        <a:pt x="858" y="313"/>
                      </a:lnTo>
                      <a:lnTo>
                        <a:pt x="858" y="312"/>
                      </a:lnTo>
                      <a:lnTo>
                        <a:pt x="858" y="313"/>
                      </a:lnTo>
                      <a:lnTo>
                        <a:pt x="857" y="313"/>
                      </a:lnTo>
                      <a:lnTo>
                        <a:pt x="857" y="313"/>
                      </a:lnTo>
                      <a:lnTo>
                        <a:pt x="857" y="313"/>
                      </a:lnTo>
                      <a:lnTo>
                        <a:pt x="857" y="313"/>
                      </a:lnTo>
                      <a:lnTo>
                        <a:pt x="857" y="312"/>
                      </a:lnTo>
                      <a:lnTo>
                        <a:pt x="856" y="313"/>
                      </a:lnTo>
                      <a:lnTo>
                        <a:pt x="856" y="312"/>
                      </a:lnTo>
                      <a:lnTo>
                        <a:pt x="855" y="312"/>
                      </a:lnTo>
                      <a:lnTo>
                        <a:pt x="855" y="313"/>
                      </a:lnTo>
                      <a:lnTo>
                        <a:pt x="855" y="312"/>
                      </a:lnTo>
                      <a:lnTo>
                        <a:pt x="855" y="313"/>
                      </a:lnTo>
                      <a:lnTo>
                        <a:pt x="855" y="313"/>
                      </a:lnTo>
                      <a:lnTo>
                        <a:pt x="855" y="313"/>
                      </a:lnTo>
                      <a:lnTo>
                        <a:pt x="855" y="313"/>
                      </a:lnTo>
                      <a:lnTo>
                        <a:pt x="856" y="313"/>
                      </a:lnTo>
                      <a:lnTo>
                        <a:pt x="857" y="313"/>
                      </a:lnTo>
                      <a:lnTo>
                        <a:pt x="856" y="313"/>
                      </a:lnTo>
                      <a:lnTo>
                        <a:pt x="857" y="313"/>
                      </a:lnTo>
                      <a:lnTo>
                        <a:pt x="856" y="313"/>
                      </a:lnTo>
                      <a:lnTo>
                        <a:pt x="856" y="314"/>
                      </a:lnTo>
                      <a:lnTo>
                        <a:pt x="855" y="314"/>
                      </a:lnTo>
                      <a:lnTo>
                        <a:pt x="855" y="314"/>
                      </a:lnTo>
                      <a:lnTo>
                        <a:pt x="855" y="314"/>
                      </a:lnTo>
                      <a:lnTo>
                        <a:pt x="855" y="314"/>
                      </a:lnTo>
                      <a:lnTo>
                        <a:pt x="854" y="314"/>
                      </a:lnTo>
                      <a:lnTo>
                        <a:pt x="854" y="314"/>
                      </a:lnTo>
                      <a:lnTo>
                        <a:pt x="854" y="314"/>
                      </a:lnTo>
                      <a:lnTo>
                        <a:pt x="853" y="315"/>
                      </a:lnTo>
                      <a:lnTo>
                        <a:pt x="853" y="315"/>
                      </a:lnTo>
                      <a:lnTo>
                        <a:pt x="853" y="315"/>
                      </a:lnTo>
                      <a:lnTo>
                        <a:pt x="853" y="316"/>
                      </a:lnTo>
                      <a:lnTo>
                        <a:pt x="853" y="317"/>
                      </a:lnTo>
                      <a:lnTo>
                        <a:pt x="853" y="317"/>
                      </a:lnTo>
                      <a:lnTo>
                        <a:pt x="853" y="317"/>
                      </a:lnTo>
                      <a:lnTo>
                        <a:pt x="853" y="318"/>
                      </a:lnTo>
                      <a:lnTo>
                        <a:pt x="853" y="318"/>
                      </a:lnTo>
                      <a:lnTo>
                        <a:pt x="853" y="318"/>
                      </a:lnTo>
                      <a:lnTo>
                        <a:pt x="852" y="318"/>
                      </a:lnTo>
                      <a:lnTo>
                        <a:pt x="853" y="318"/>
                      </a:lnTo>
                      <a:lnTo>
                        <a:pt x="853" y="318"/>
                      </a:lnTo>
                      <a:lnTo>
                        <a:pt x="853" y="318"/>
                      </a:lnTo>
                      <a:lnTo>
                        <a:pt x="853" y="318"/>
                      </a:lnTo>
                      <a:lnTo>
                        <a:pt x="852" y="318"/>
                      </a:lnTo>
                      <a:lnTo>
                        <a:pt x="852" y="318"/>
                      </a:lnTo>
                      <a:lnTo>
                        <a:pt x="851" y="318"/>
                      </a:lnTo>
                      <a:lnTo>
                        <a:pt x="851" y="319"/>
                      </a:lnTo>
                      <a:lnTo>
                        <a:pt x="852" y="318"/>
                      </a:lnTo>
                      <a:lnTo>
                        <a:pt x="851" y="319"/>
                      </a:lnTo>
                      <a:lnTo>
                        <a:pt x="851" y="319"/>
                      </a:lnTo>
                      <a:lnTo>
                        <a:pt x="851" y="319"/>
                      </a:lnTo>
                      <a:lnTo>
                        <a:pt x="851" y="319"/>
                      </a:lnTo>
                      <a:lnTo>
                        <a:pt x="851" y="319"/>
                      </a:lnTo>
                      <a:lnTo>
                        <a:pt x="851" y="319"/>
                      </a:lnTo>
                      <a:lnTo>
                        <a:pt x="852" y="319"/>
                      </a:lnTo>
                      <a:lnTo>
                        <a:pt x="852" y="320"/>
                      </a:lnTo>
                      <a:lnTo>
                        <a:pt x="853" y="320"/>
                      </a:lnTo>
                      <a:lnTo>
                        <a:pt x="853" y="321"/>
                      </a:lnTo>
                      <a:lnTo>
                        <a:pt x="853" y="321"/>
                      </a:lnTo>
                      <a:lnTo>
                        <a:pt x="853" y="322"/>
                      </a:lnTo>
                      <a:lnTo>
                        <a:pt x="853" y="322"/>
                      </a:lnTo>
                      <a:lnTo>
                        <a:pt x="852" y="322"/>
                      </a:lnTo>
                      <a:lnTo>
                        <a:pt x="852" y="323"/>
                      </a:lnTo>
                      <a:lnTo>
                        <a:pt x="852" y="322"/>
                      </a:lnTo>
                      <a:lnTo>
                        <a:pt x="853" y="322"/>
                      </a:lnTo>
                      <a:lnTo>
                        <a:pt x="853" y="322"/>
                      </a:lnTo>
                      <a:lnTo>
                        <a:pt x="852" y="322"/>
                      </a:lnTo>
                      <a:lnTo>
                        <a:pt x="851" y="322"/>
                      </a:lnTo>
                      <a:lnTo>
                        <a:pt x="851" y="322"/>
                      </a:lnTo>
                      <a:lnTo>
                        <a:pt x="851" y="322"/>
                      </a:lnTo>
                      <a:lnTo>
                        <a:pt x="850" y="322"/>
                      </a:lnTo>
                      <a:lnTo>
                        <a:pt x="850" y="323"/>
                      </a:lnTo>
                      <a:lnTo>
                        <a:pt x="851" y="324"/>
                      </a:lnTo>
                      <a:lnTo>
                        <a:pt x="851" y="324"/>
                      </a:lnTo>
                      <a:lnTo>
                        <a:pt x="852" y="324"/>
                      </a:lnTo>
                      <a:lnTo>
                        <a:pt x="852" y="325"/>
                      </a:lnTo>
                      <a:lnTo>
                        <a:pt x="851" y="325"/>
                      </a:lnTo>
                      <a:lnTo>
                        <a:pt x="851" y="325"/>
                      </a:lnTo>
                      <a:lnTo>
                        <a:pt x="851" y="325"/>
                      </a:lnTo>
                      <a:lnTo>
                        <a:pt x="851" y="325"/>
                      </a:lnTo>
                      <a:lnTo>
                        <a:pt x="852" y="325"/>
                      </a:lnTo>
                      <a:lnTo>
                        <a:pt x="851" y="325"/>
                      </a:lnTo>
                      <a:lnTo>
                        <a:pt x="851" y="324"/>
                      </a:lnTo>
                      <a:lnTo>
                        <a:pt x="851" y="324"/>
                      </a:lnTo>
                      <a:lnTo>
                        <a:pt x="850" y="324"/>
                      </a:lnTo>
                      <a:lnTo>
                        <a:pt x="851" y="324"/>
                      </a:lnTo>
                      <a:lnTo>
                        <a:pt x="850" y="324"/>
                      </a:lnTo>
                      <a:lnTo>
                        <a:pt x="850" y="323"/>
                      </a:lnTo>
                      <a:lnTo>
                        <a:pt x="850" y="324"/>
                      </a:lnTo>
                      <a:lnTo>
                        <a:pt x="850" y="324"/>
                      </a:lnTo>
                      <a:lnTo>
                        <a:pt x="850" y="323"/>
                      </a:lnTo>
                      <a:lnTo>
                        <a:pt x="849" y="323"/>
                      </a:lnTo>
                      <a:lnTo>
                        <a:pt x="850" y="324"/>
                      </a:lnTo>
                      <a:lnTo>
                        <a:pt x="850" y="324"/>
                      </a:lnTo>
                      <a:lnTo>
                        <a:pt x="849" y="324"/>
                      </a:lnTo>
                      <a:lnTo>
                        <a:pt x="849" y="325"/>
                      </a:lnTo>
                      <a:lnTo>
                        <a:pt x="850" y="325"/>
                      </a:lnTo>
                      <a:lnTo>
                        <a:pt x="850" y="325"/>
                      </a:lnTo>
                      <a:lnTo>
                        <a:pt x="850" y="325"/>
                      </a:lnTo>
                      <a:lnTo>
                        <a:pt x="850" y="326"/>
                      </a:lnTo>
                      <a:lnTo>
                        <a:pt x="850" y="325"/>
                      </a:lnTo>
                      <a:lnTo>
                        <a:pt x="850" y="326"/>
                      </a:lnTo>
                      <a:lnTo>
                        <a:pt x="850" y="326"/>
                      </a:lnTo>
                      <a:lnTo>
                        <a:pt x="849" y="326"/>
                      </a:lnTo>
                      <a:lnTo>
                        <a:pt x="848" y="326"/>
                      </a:lnTo>
                      <a:lnTo>
                        <a:pt x="848" y="327"/>
                      </a:lnTo>
                      <a:lnTo>
                        <a:pt x="848" y="326"/>
                      </a:lnTo>
                      <a:lnTo>
                        <a:pt x="849" y="326"/>
                      </a:lnTo>
                      <a:lnTo>
                        <a:pt x="848" y="326"/>
                      </a:lnTo>
                      <a:lnTo>
                        <a:pt x="849" y="326"/>
                      </a:lnTo>
                      <a:lnTo>
                        <a:pt x="850" y="326"/>
                      </a:lnTo>
                      <a:lnTo>
                        <a:pt x="850" y="326"/>
                      </a:lnTo>
                      <a:lnTo>
                        <a:pt x="849" y="326"/>
                      </a:lnTo>
                      <a:lnTo>
                        <a:pt x="849" y="326"/>
                      </a:lnTo>
                      <a:lnTo>
                        <a:pt x="848" y="326"/>
                      </a:lnTo>
                      <a:lnTo>
                        <a:pt x="849" y="326"/>
                      </a:lnTo>
                      <a:lnTo>
                        <a:pt x="848" y="326"/>
                      </a:lnTo>
                      <a:lnTo>
                        <a:pt x="848" y="327"/>
                      </a:lnTo>
                      <a:lnTo>
                        <a:pt x="848" y="327"/>
                      </a:lnTo>
                      <a:lnTo>
                        <a:pt x="847" y="327"/>
                      </a:lnTo>
                      <a:lnTo>
                        <a:pt x="847" y="328"/>
                      </a:lnTo>
                      <a:lnTo>
                        <a:pt x="847" y="327"/>
                      </a:lnTo>
                      <a:lnTo>
                        <a:pt x="847" y="328"/>
                      </a:lnTo>
                      <a:lnTo>
                        <a:pt x="848" y="328"/>
                      </a:lnTo>
                      <a:lnTo>
                        <a:pt x="848" y="328"/>
                      </a:lnTo>
                      <a:lnTo>
                        <a:pt x="848" y="328"/>
                      </a:lnTo>
                      <a:lnTo>
                        <a:pt x="848" y="328"/>
                      </a:lnTo>
                      <a:lnTo>
                        <a:pt x="847" y="328"/>
                      </a:lnTo>
                      <a:lnTo>
                        <a:pt x="847" y="328"/>
                      </a:lnTo>
                      <a:lnTo>
                        <a:pt x="846" y="329"/>
                      </a:lnTo>
                      <a:lnTo>
                        <a:pt x="846" y="328"/>
                      </a:lnTo>
                      <a:lnTo>
                        <a:pt x="847" y="328"/>
                      </a:lnTo>
                      <a:lnTo>
                        <a:pt x="846" y="328"/>
                      </a:lnTo>
                      <a:lnTo>
                        <a:pt x="847" y="328"/>
                      </a:lnTo>
                      <a:lnTo>
                        <a:pt x="846" y="328"/>
                      </a:lnTo>
                      <a:lnTo>
                        <a:pt x="846" y="329"/>
                      </a:lnTo>
                      <a:lnTo>
                        <a:pt x="846" y="329"/>
                      </a:lnTo>
                      <a:lnTo>
                        <a:pt x="846" y="329"/>
                      </a:lnTo>
                      <a:lnTo>
                        <a:pt x="846" y="329"/>
                      </a:lnTo>
                      <a:lnTo>
                        <a:pt x="846" y="329"/>
                      </a:lnTo>
                      <a:lnTo>
                        <a:pt x="845" y="329"/>
                      </a:lnTo>
                      <a:lnTo>
                        <a:pt x="845" y="329"/>
                      </a:lnTo>
                      <a:lnTo>
                        <a:pt x="845" y="329"/>
                      </a:lnTo>
                      <a:lnTo>
                        <a:pt x="846" y="329"/>
                      </a:lnTo>
                      <a:lnTo>
                        <a:pt x="846" y="329"/>
                      </a:lnTo>
                      <a:lnTo>
                        <a:pt x="846" y="329"/>
                      </a:lnTo>
                      <a:lnTo>
                        <a:pt x="847" y="328"/>
                      </a:lnTo>
                      <a:lnTo>
                        <a:pt x="846" y="329"/>
                      </a:lnTo>
                      <a:lnTo>
                        <a:pt x="846" y="329"/>
                      </a:lnTo>
                      <a:lnTo>
                        <a:pt x="845" y="330"/>
                      </a:lnTo>
                      <a:lnTo>
                        <a:pt x="845" y="330"/>
                      </a:lnTo>
                      <a:lnTo>
                        <a:pt x="844" y="330"/>
                      </a:lnTo>
                      <a:lnTo>
                        <a:pt x="844" y="331"/>
                      </a:lnTo>
                      <a:lnTo>
                        <a:pt x="844" y="331"/>
                      </a:lnTo>
                      <a:lnTo>
                        <a:pt x="844" y="332"/>
                      </a:lnTo>
                      <a:lnTo>
                        <a:pt x="843" y="332"/>
                      </a:lnTo>
                      <a:lnTo>
                        <a:pt x="843" y="333"/>
                      </a:lnTo>
                      <a:lnTo>
                        <a:pt x="843" y="333"/>
                      </a:lnTo>
                      <a:lnTo>
                        <a:pt x="843" y="334"/>
                      </a:lnTo>
                      <a:lnTo>
                        <a:pt x="843" y="334"/>
                      </a:lnTo>
                      <a:lnTo>
                        <a:pt x="842" y="334"/>
                      </a:lnTo>
                      <a:lnTo>
                        <a:pt x="842" y="335"/>
                      </a:lnTo>
                      <a:lnTo>
                        <a:pt x="842" y="336"/>
                      </a:lnTo>
                      <a:lnTo>
                        <a:pt x="842" y="336"/>
                      </a:lnTo>
                      <a:lnTo>
                        <a:pt x="842" y="336"/>
                      </a:lnTo>
                      <a:lnTo>
                        <a:pt x="842" y="337"/>
                      </a:lnTo>
                      <a:lnTo>
                        <a:pt x="842" y="337"/>
                      </a:lnTo>
                      <a:lnTo>
                        <a:pt x="842" y="337"/>
                      </a:lnTo>
                      <a:lnTo>
                        <a:pt x="842" y="336"/>
                      </a:lnTo>
                      <a:lnTo>
                        <a:pt x="841" y="336"/>
                      </a:lnTo>
                      <a:lnTo>
                        <a:pt x="841" y="336"/>
                      </a:lnTo>
                      <a:lnTo>
                        <a:pt x="840" y="336"/>
                      </a:lnTo>
                      <a:lnTo>
                        <a:pt x="840" y="336"/>
                      </a:lnTo>
                      <a:lnTo>
                        <a:pt x="841" y="336"/>
                      </a:lnTo>
                      <a:lnTo>
                        <a:pt x="841" y="336"/>
                      </a:lnTo>
                      <a:lnTo>
                        <a:pt x="841" y="336"/>
                      </a:lnTo>
                      <a:lnTo>
                        <a:pt x="841" y="336"/>
                      </a:lnTo>
                      <a:lnTo>
                        <a:pt x="841" y="336"/>
                      </a:lnTo>
                      <a:lnTo>
                        <a:pt x="842" y="336"/>
                      </a:lnTo>
                      <a:lnTo>
                        <a:pt x="842" y="337"/>
                      </a:lnTo>
                      <a:lnTo>
                        <a:pt x="842" y="337"/>
                      </a:lnTo>
                      <a:lnTo>
                        <a:pt x="842" y="338"/>
                      </a:lnTo>
                      <a:lnTo>
                        <a:pt x="842" y="339"/>
                      </a:lnTo>
                      <a:lnTo>
                        <a:pt x="842" y="338"/>
                      </a:lnTo>
                      <a:lnTo>
                        <a:pt x="842" y="339"/>
                      </a:lnTo>
                      <a:lnTo>
                        <a:pt x="841" y="339"/>
                      </a:lnTo>
                      <a:lnTo>
                        <a:pt x="842" y="339"/>
                      </a:lnTo>
                      <a:lnTo>
                        <a:pt x="842" y="339"/>
                      </a:lnTo>
                      <a:lnTo>
                        <a:pt x="842" y="339"/>
                      </a:lnTo>
                      <a:lnTo>
                        <a:pt x="842" y="338"/>
                      </a:lnTo>
                      <a:lnTo>
                        <a:pt x="842" y="339"/>
                      </a:lnTo>
                      <a:lnTo>
                        <a:pt x="842" y="338"/>
                      </a:lnTo>
                      <a:lnTo>
                        <a:pt x="842" y="339"/>
                      </a:lnTo>
                      <a:lnTo>
                        <a:pt x="842" y="339"/>
                      </a:lnTo>
                      <a:lnTo>
                        <a:pt x="842" y="340"/>
                      </a:lnTo>
                      <a:lnTo>
                        <a:pt x="843" y="340"/>
                      </a:lnTo>
                      <a:lnTo>
                        <a:pt x="843" y="340"/>
                      </a:lnTo>
                      <a:lnTo>
                        <a:pt x="843" y="341"/>
                      </a:lnTo>
                      <a:lnTo>
                        <a:pt x="843" y="340"/>
                      </a:lnTo>
                      <a:lnTo>
                        <a:pt x="843" y="341"/>
                      </a:lnTo>
                      <a:lnTo>
                        <a:pt x="842" y="340"/>
                      </a:lnTo>
                      <a:lnTo>
                        <a:pt x="842" y="341"/>
                      </a:lnTo>
                      <a:lnTo>
                        <a:pt x="842" y="340"/>
                      </a:lnTo>
                      <a:lnTo>
                        <a:pt x="842" y="341"/>
                      </a:lnTo>
                      <a:lnTo>
                        <a:pt x="843" y="341"/>
                      </a:lnTo>
                      <a:lnTo>
                        <a:pt x="842" y="341"/>
                      </a:lnTo>
                      <a:lnTo>
                        <a:pt x="843" y="341"/>
                      </a:lnTo>
                      <a:lnTo>
                        <a:pt x="843" y="341"/>
                      </a:lnTo>
                      <a:lnTo>
                        <a:pt x="843" y="341"/>
                      </a:lnTo>
                      <a:lnTo>
                        <a:pt x="843" y="341"/>
                      </a:lnTo>
                      <a:lnTo>
                        <a:pt x="843" y="341"/>
                      </a:lnTo>
                      <a:lnTo>
                        <a:pt x="843" y="341"/>
                      </a:lnTo>
                      <a:lnTo>
                        <a:pt x="843" y="341"/>
                      </a:lnTo>
                      <a:lnTo>
                        <a:pt x="843" y="340"/>
                      </a:lnTo>
                      <a:lnTo>
                        <a:pt x="843" y="340"/>
                      </a:lnTo>
                      <a:lnTo>
                        <a:pt x="843" y="341"/>
                      </a:lnTo>
                      <a:lnTo>
                        <a:pt x="844" y="341"/>
                      </a:lnTo>
                      <a:lnTo>
                        <a:pt x="844" y="341"/>
                      </a:lnTo>
                      <a:lnTo>
                        <a:pt x="845" y="341"/>
                      </a:lnTo>
                      <a:lnTo>
                        <a:pt x="846" y="341"/>
                      </a:lnTo>
                      <a:lnTo>
                        <a:pt x="846" y="341"/>
                      </a:lnTo>
                      <a:lnTo>
                        <a:pt x="846" y="341"/>
                      </a:lnTo>
                      <a:lnTo>
                        <a:pt x="845" y="341"/>
                      </a:lnTo>
                      <a:lnTo>
                        <a:pt x="845" y="341"/>
                      </a:lnTo>
                      <a:lnTo>
                        <a:pt x="845" y="341"/>
                      </a:lnTo>
                      <a:lnTo>
                        <a:pt x="846" y="341"/>
                      </a:lnTo>
                      <a:lnTo>
                        <a:pt x="846" y="341"/>
                      </a:lnTo>
                      <a:lnTo>
                        <a:pt x="845" y="341"/>
                      </a:lnTo>
                      <a:lnTo>
                        <a:pt x="846" y="341"/>
                      </a:lnTo>
                      <a:lnTo>
                        <a:pt x="845" y="341"/>
                      </a:lnTo>
                      <a:lnTo>
                        <a:pt x="845" y="342"/>
                      </a:lnTo>
                      <a:lnTo>
                        <a:pt x="844" y="342"/>
                      </a:lnTo>
                      <a:lnTo>
                        <a:pt x="844" y="343"/>
                      </a:lnTo>
                      <a:lnTo>
                        <a:pt x="844" y="342"/>
                      </a:lnTo>
                      <a:lnTo>
                        <a:pt x="844" y="341"/>
                      </a:lnTo>
                      <a:lnTo>
                        <a:pt x="844" y="342"/>
                      </a:lnTo>
                      <a:lnTo>
                        <a:pt x="844" y="342"/>
                      </a:lnTo>
                      <a:lnTo>
                        <a:pt x="844" y="341"/>
                      </a:lnTo>
                      <a:lnTo>
                        <a:pt x="844" y="342"/>
                      </a:lnTo>
                      <a:lnTo>
                        <a:pt x="844" y="342"/>
                      </a:lnTo>
                      <a:lnTo>
                        <a:pt x="844" y="342"/>
                      </a:lnTo>
                      <a:lnTo>
                        <a:pt x="844" y="342"/>
                      </a:lnTo>
                      <a:lnTo>
                        <a:pt x="844" y="343"/>
                      </a:lnTo>
                      <a:lnTo>
                        <a:pt x="845" y="343"/>
                      </a:lnTo>
                      <a:lnTo>
                        <a:pt x="845" y="342"/>
                      </a:lnTo>
                      <a:lnTo>
                        <a:pt x="846" y="342"/>
                      </a:lnTo>
                      <a:lnTo>
                        <a:pt x="845" y="342"/>
                      </a:lnTo>
                      <a:lnTo>
                        <a:pt x="846" y="342"/>
                      </a:lnTo>
                      <a:lnTo>
                        <a:pt x="846" y="341"/>
                      </a:lnTo>
                      <a:lnTo>
                        <a:pt x="846" y="341"/>
                      </a:lnTo>
                      <a:lnTo>
                        <a:pt x="846" y="341"/>
                      </a:lnTo>
                      <a:lnTo>
                        <a:pt x="846" y="341"/>
                      </a:lnTo>
                      <a:lnTo>
                        <a:pt x="846" y="341"/>
                      </a:lnTo>
                      <a:lnTo>
                        <a:pt x="846" y="341"/>
                      </a:lnTo>
                      <a:lnTo>
                        <a:pt x="846" y="341"/>
                      </a:lnTo>
                      <a:lnTo>
                        <a:pt x="846" y="340"/>
                      </a:lnTo>
                      <a:lnTo>
                        <a:pt x="846" y="340"/>
                      </a:lnTo>
                      <a:lnTo>
                        <a:pt x="846" y="340"/>
                      </a:lnTo>
                      <a:lnTo>
                        <a:pt x="846" y="339"/>
                      </a:lnTo>
                      <a:lnTo>
                        <a:pt x="847" y="339"/>
                      </a:lnTo>
                      <a:lnTo>
                        <a:pt x="847" y="339"/>
                      </a:lnTo>
                      <a:lnTo>
                        <a:pt x="848" y="339"/>
                      </a:lnTo>
                      <a:lnTo>
                        <a:pt x="848" y="340"/>
                      </a:lnTo>
                      <a:lnTo>
                        <a:pt x="849" y="340"/>
                      </a:lnTo>
                      <a:lnTo>
                        <a:pt x="849" y="340"/>
                      </a:lnTo>
                      <a:lnTo>
                        <a:pt x="850" y="340"/>
                      </a:lnTo>
                      <a:lnTo>
                        <a:pt x="850" y="340"/>
                      </a:lnTo>
                      <a:lnTo>
                        <a:pt x="851" y="341"/>
                      </a:lnTo>
                      <a:lnTo>
                        <a:pt x="851" y="340"/>
                      </a:lnTo>
                      <a:lnTo>
                        <a:pt x="851" y="340"/>
                      </a:lnTo>
                      <a:lnTo>
                        <a:pt x="851" y="341"/>
                      </a:lnTo>
                      <a:lnTo>
                        <a:pt x="852" y="341"/>
                      </a:lnTo>
                      <a:lnTo>
                        <a:pt x="852" y="341"/>
                      </a:lnTo>
                      <a:lnTo>
                        <a:pt x="853" y="341"/>
                      </a:lnTo>
                      <a:lnTo>
                        <a:pt x="853" y="342"/>
                      </a:lnTo>
                      <a:lnTo>
                        <a:pt x="852" y="342"/>
                      </a:lnTo>
                      <a:lnTo>
                        <a:pt x="852" y="343"/>
                      </a:lnTo>
                      <a:lnTo>
                        <a:pt x="851" y="343"/>
                      </a:lnTo>
                      <a:lnTo>
                        <a:pt x="852" y="343"/>
                      </a:lnTo>
                      <a:lnTo>
                        <a:pt x="851" y="343"/>
                      </a:lnTo>
                      <a:lnTo>
                        <a:pt x="852" y="343"/>
                      </a:lnTo>
                      <a:lnTo>
                        <a:pt x="851" y="343"/>
                      </a:lnTo>
                      <a:lnTo>
                        <a:pt x="851" y="344"/>
                      </a:lnTo>
                      <a:lnTo>
                        <a:pt x="851" y="344"/>
                      </a:lnTo>
                      <a:lnTo>
                        <a:pt x="851" y="344"/>
                      </a:lnTo>
                      <a:lnTo>
                        <a:pt x="851" y="345"/>
                      </a:lnTo>
                      <a:lnTo>
                        <a:pt x="850" y="345"/>
                      </a:lnTo>
                      <a:lnTo>
                        <a:pt x="850" y="345"/>
                      </a:lnTo>
                      <a:lnTo>
                        <a:pt x="850" y="345"/>
                      </a:lnTo>
                      <a:lnTo>
                        <a:pt x="849" y="345"/>
                      </a:lnTo>
                      <a:lnTo>
                        <a:pt x="848" y="345"/>
                      </a:lnTo>
                      <a:lnTo>
                        <a:pt x="848" y="346"/>
                      </a:lnTo>
                      <a:lnTo>
                        <a:pt x="848" y="347"/>
                      </a:lnTo>
                      <a:lnTo>
                        <a:pt x="847" y="347"/>
                      </a:lnTo>
                      <a:lnTo>
                        <a:pt x="847" y="347"/>
                      </a:lnTo>
                      <a:lnTo>
                        <a:pt x="846" y="347"/>
                      </a:lnTo>
                      <a:lnTo>
                        <a:pt x="846" y="346"/>
                      </a:lnTo>
                      <a:lnTo>
                        <a:pt x="846" y="347"/>
                      </a:lnTo>
                      <a:lnTo>
                        <a:pt x="846" y="346"/>
                      </a:lnTo>
                      <a:lnTo>
                        <a:pt x="846" y="347"/>
                      </a:lnTo>
                      <a:lnTo>
                        <a:pt x="845" y="347"/>
                      </a:lnTo>
                      <a:lnTo>
                        <a:pt x="845" y="346"/>
                      </a:lnTo>
                      <a:lnTo>
                        <a:pt x="844" y="346"/>
                      </a:lnTo>
                      <a:lnTo>
                        <a:pt x="845" y="346"/>
                      </a:lnTo>
                      <a:lnTo>
                        <a:pt x="845" y="347"/>
                      </a:lnTo>
                      <a:lnTo>
                        <a:pt x="846" y="346"/>
                      </a:lnTo>
                      <a:lnTo>
                        <a:pt x="846" y="347"/>
                      </a:lnTo>
                      <a:lnTo>
                        <a:pt x="846" y="346"/>
                      </a:lnTo>
                      <a:lnTo>
                        <a:pt x="846" y="346"/>
                      </a:lnTo>
                      <a:lnTo>
                        <a:pt x="846" y="347"/>
                      </a:lnTo>
                      <a:lnTo>
                        <a:pt x="847" y="347"/>
                      </a:lnTo>
                      <a:lnTo>
                        <a:pt x="847" y="347"/>
                      </a:lnTo>
                      <a:lnTo>
                        <a:pt x="848" y="347"/>
                      </a:lnTo>
                      <a:lnTo>
                        <a:pt x="848" y="347"/>
                      </a:lnTo>
                      <a:lnTo>
                        <a:pt x="848" y="348"/>
                      </a:lnTo>
                      <a:lnTo>
                        <a:pt x="847" y="348"/>
                      </a:lnTo>
                      <a:lnTo>
                        <a:pt x="848" y="348"/>
                      </a:lnTo>
                      <a:lnTo>
                        <a:pt x="848" y="348"/>
                      </a:lnTo>
                      <a:lnTo>
                        <a:pt x="848" y="349"/>
                      </a:lnTo>
                      <a:lnTo>
                        <a:pt x="848" y="350"/>
                      </a:lnTo>
                      <a:lnTo>
                        <a:pt x="848" y="350"/>
                      </a:lnTo>
                      <a:lnTo>
                        <a:pt x="848" y="350"/>
                      </a:lnTo>
                      <a:lnTo>
                        <a:pt x="848" y="351"/>
                      </a:lnTo>
                      <a:lnTo>
                        <a:pt x="848" y="351"/>
                      </a:lnTo>
                      <a:lnTo>
                        <a:pt x="848" y="352"/>
                      </a:lnTo>
                      <a:lnTo>
                        <a:pt x="848" y="352"/>
                      </a:lnTo>
                      <a:lnTo>
                        <a:pt x="848" y="353"/>
                      </a:lnTo>
                      <a:lnTo>
                        <a:pt x="848" y="354"/>
                      </a:lnTo>
                      <a:lnTo>
                        <a:pt x="848" y="354"/>
                      </a:lnTo>
                      <a:lnTo>
                        <a:pt x="848" y="354"/>
                      </a:lnTo>
                      <a:lnTo>
                        <a:pt x="849" y="355"/>
                      </a:lnTo>
                      <a:lnTo>
                        <a:pt x="848" y="355"/>
                      </a:lnTo>
                      <a:lnTo>
                        <a:pt x="848" y="354"/>
                      </a:lnTo>
                      <a:lnTo>
                        <a:pt x="848" y="355"/>
                      </a:lnTo>
                      <a:lnTo>
                        <a:pt x="849" y="355"/>
                      </a:lnTo>
                      <a:lnTo>
                        <a:pt x="850" y="355"/>
                      </a:lnTo>
                      <a:lnTo>
                        <a:pt x="850" y="354"/>
                      </a:lnTo>
                      <a:lnTo>
                        <a:pt x="850" y="354"/>
                      </a:lnTo>
                      <a:lnTo>
                        <a:pt x="851" y="354"/>
                      </a:lnTo>
                      <a:lnTo>
                        <a:pt x="851" y="354"/>
                      </a:lnTo>
                      <a:lnTo>
                        <a:pt x="851" y="355"/>
                      </a:lnTo>
                      <a:lnTo>
                        <a:pt x="852" y="355"/>
                      </a:lnTo>
                      <a:lnTo>
                        <a:pt x="852" y="355"/>
                      </a:lnTo>
                      <a:lnTo>
                        <a:pt x="851" y="355"/>
                      </a:lnTo>
                      <a:lnTo>
                        <a:pt x="852" y="356"/>
                      </a:lnTo>
                      <a:lnTo>
                        <a:pt x="851" y="356"/>
                      </a:lnTo>
                      <a:lnTo>
                        <a:pt x="852" y="356"/>
                      </a:lnTo>
                      <a:lnTo>
                        <a:pt x="852" y="356"/>
                      </a:lnTo>
                      <a:lnTo>
                        <a:pt x="852" y="357"/>
                      </a:lnTo>
                      <a:lnTo>
                        <a:pt x="852" y="358"/>
                      </a:lnTo>
                      <a:lnTo>
                        <a:pt x="852" y="358"/>
                      </a:lnTo>
                      <a:lnTo>
                        <a:pt x="853" y="358"/>
                      </a:lnTo>
                      <a:lnTo>
                        <a:pt x="853" y="359"/>
                      </a:lnTo>
                      <a:lnTo>
                        <a:pt x="853" y="359"/>
                      </a:lnTo>
                      <a:lnTo>
                        <a:pt x="853" y="360"/>
                      </a:lnTo>
                      <a:lnTo>
                        <a:pt x="853" y="361"/>
                      </a:lnTo>
                      <a:lnTo>
                        <a:pt x="853" y="361"/>
                      </a:lnTo>
                      <a:lnTo>
                        <a:pt x="852" y="361"/>
                      </a:lnTo>
                      <a:lnTo>
                        <a:pt x="852" y="362"/>
                      </a:lnTo>
                      <a:lnTo>
                        <a:pt x="851" y="362"/>
                      </a:lnTo>
                      <a:lnTo>
                        <a:pt x="851" y="362"/>
                      </a:lnTo>
                      <a:lnTo>
                        <a:pt x="851" y="362"/>
                      </a:lnTo>
                      <a:lnTo>
                        <a:pt x="850" y="363"/>
                      </a:lnTo>
                      <a:lnTo>
                        <a:pt x="850" y="363"/>
                      </a:lnTo>
                      <a:lnTo>
                        <a:pt x="850" y="363"/>
                      </a:lnTo>
                      <a:lnTo>
                        <a:pt x="849" y="363"/>
                      </a:lnTo>
                      <a:lnTo>
                        <a:pt x="848" y="363"/>
                      </a:lnTo>
                      <a:lnTo>
                        <a:pt x="848" y="362"/>
                      </a:lnTo>
                      <a:lnTo>
                        <a:pt x="848" y="362"/>
                      </a:lnTo>
                      <a:lnTo>
                        <a:pt x="847" y="361"/>
                      </a:lnTo>
                      <a:lnTo>
                        <a:pt x="847" y="361"/>
                      </a:lnTo>
                      <a:lnTo>
                        <a:pt x="846" y="361"/>
                      </a:lnTo>
                      <a:lnTo>
                        <a:pt x="846" y="361"/>
                      </a:lnTo>
                      <a:lnTo>
                        <a:pt x="846" y="361"/>
                      </a:lnTo>
                      <a:lnTo>
                        <a:pt x="847" y="361"/>
                      </a:lnTo>
                      <a:lnTo>
                        <a:pt x="847" y="361"/>
                      </a:lnTo>
                      <a:lnTo>
                        <a:pt x="847" y="360"/>
                      </a:lnTo>
                      <a:lnTo>
                        <a:pt x="847" y="359"/>
                      </a:lnTo>
                      <a:lnTo>
                        <a:pt x="848" y="359"/>
                      </a:lnTo>
                      <a:lnTo>
                        <a:pt x="848" y="359"/>
                      </a:lnTo>
                      <a:lnTo>
                        <a:pt x="848" y="359"/>
                      </a:lnTo>
                      <a:lnTo>
                        <a:pt x="849" y="359"/>
                      </a:lnTo>
                      <a:lnTo>
                        <a:pt x="849" y="358"/>
                      </a:lnTo>
                      <a:lnTo>
                        <a:pt x="850" y="358"/>
                      </a:lnTo>
                      <a:lnTo>
                        <a:pt x="850" y="358"/>
                      </a:lnTo>
                      <a:lnTo>
                        <a:pt x="850" y="358"/>
                      </a:lnTo>
                      <a:lnTo>
                        <a:pt x="851" y="358"/>
                      </a:lnTo>
                      <a:lnTo>
                        <a:pt x="851" y="357"/>
                      </a:lnTo>
                      <a:lnTo>
                        <a:pt x="850" y="357"/>
                      </a:lnTo>
                      <a:lnTo>
                        <a:pt x="850" y="356"/>
                      </a:lnTo>
                      <a:lnTo>
                        <a:pt x="850" y="356"/>
                      </a:lnTo>
                      <a:lnTo>
                        <a:pt x="850" y="357"/>
                      </a:lnTo>
                      <a:lnTo>
                        <a:pt x="850" y="358"/>
                      </a:lnTo>
                      <a:lnTo>
                        <a:pt x="849" y="358"/>
                      </a:lnTo>
                      <a:lnTo>
                        <a:pt x="849" y="358"/>
                      </a:lnTo>
                      <a:lnTo>
                        <a:pt x="848" y="358"/>
                      </a:lnTo>
                      <a:lnTo>
                        <a:pt x="848" y="358"/>
                      </a:lnTo>
                      <a:lnTo>
                        <a:pt x="847" y="357"/>
                      </a:lnTo>
                      <a:lnTo>
                        <a:pt x="847" y="358"/>
                      </a:lnTo>
                      <a:lnTo>
                        <a:pt x="847" y="358"/>
                      </a:lnTo>
                      <a:lnTo>
                        <a:pt x="847" y="358"/>
                      </a:lnTo>
                      <a:lnTo>
                        <a:pt x="846" y="358"/>
                      </a:lnTo>
                      <a:lnTo>
                        <a:pt x="846" y="358"/>
                      </a:lnTo>
                      <a:lnTo>
                        <a:pt x="846" y="359"/>
                      </a:lnTo>
                      <a:lnTo>
                        <a:pt x="845" y="359"/>
                      </a:lnTo>
                      <a:lnTo>
                        <a:pt x="845" y="358"/>
                      </a:lnTo>
                      <a:lnTo>
                        <a:pt x="845" y="359"/>
                      </a:lnTo>
                      <a:lnTo>
                        <a:pt x="846" y="359"/>
                      </a:lnTo>
                      <a:lnTo>
                        <a:pt x="846" y="359"/>
                      </a:lnTo>
                      <a:lnTo>
                        <a:pt x="845" y="359"/>
                      </a:lnTo>
                      <a:lnTo>
                        <a:pt x="846" y="359"/>
                      </a:lnTo>
                      <a:lnTo>
                        <a:pt x="846" y="359"/>
                      </a:lnTo>
                      <a:lnTo>
                        <a:pt x="846" y="359"/>
                      </a:lnTo>
                      <a:lnTo>
                        <a:pt x="846" y="359"/>
                      </a:lnTo>
                      <a:lnTo>
                        <a:pt x="846" y="360"/>
                      </a:lnTo>
                      <a:lnTo>
                        <a:pt x="846" y="360"/>
                      </a:lnTo>
                      <a:lnTo>
                        <a:pt x="846" y="360"/>
                      </a:lnTo>
                      <a:lnTo>
                        <a:pt x="847" y="360"/>
                      </a:lnTo>
                      <a:lnTo>
                        <a:pt x="846" y="360"/>
                      </a:lnTo>
                      <a:lnTo>
                        <a:pt x="846" y="361"/>
                      </a:lnTo>
                      <a:lnTo>
                        <a:pt x="846" y="361"/>
                      </a:lnTo>
                      <a:lnTo>
                        <a:pt x="845" y="360"/>
                      </a:lnTo>
                      <a:lnTo>
                        <a:pt x="844" y="360"/>
                      </a:lnTo>
                      <a:lnTo>
                        <a:pt x="844" y="361"/>
                      </a:lnTo>
                      <a:lnTo>
                        <a:pt x="844" y="361"/>
                      </a:lnTo>
                      <a:lnTo>
                        <a:pt x="844" y="360"/>
                      </a:lnTo>
                      <a:lnTo>
                        <a:pt x="843" y="360"/>
                      </a:lnTo>
                      <a:lnTo>
                        <a:pt x="843" y="360"/>
                      </a:lnTo>
                      <a:lnTo>
                        <a:pt x="843" y="361"/>
                      </a:lnTo>
                      <a:lnTo>
                        <a:pt x="842" y="361"/>
                      </a:lnTo>
                      <a:lnTo>
                        <a:pt x="842" y="361"/>
                      </a:lnTo>
                      <a:lnTo>
                        <a:pt x="841" y="361"/>
                      </a:lnTo>
                      <a:lnTo>
                        <a:pt x="840" y="361"/>
                      </a:lnTo>
                      <a:lnTo>
                        <a:pt x="840" y="360"/>
                      </a:lnTo>
                      <a:lnTo>
                        <a:pt x="840" y="360"/>
                      </a:lnTo>
                      <a:lnTo>
                        <a:pt x="840" y="361"/>
                      </a:lnTo>
                      <a:lnTo>
                        <a:pt x="839" y="360"/>
                      </a:lnTo>
                      <a:lnTo>
                        <a:pt x="839" y="360"/>
                      </a:lnTo>
                      <a:lnTo>
                        <a:pt x="838" y="360"/>
                      </a:lnTo>
                      <a:lnTo>
                        <a:pt x="838" y="359"/>
                      </a:lnTo>
                      <a:lnTo>
                        <a:pt x="837" y="360"/>
                      </a:lnTo>
                      <a:lnTo>
                        <a:pt x="837" y="359"/>
                      </a:lnTo>
                      <a:lnTo>
                        <a:pt x="837" y="359"/>
                      </a:lnTo>
                      <a:lnTo>
                        <a:pt x="837" y="359"/>
                      </a:lnTo>
                      <a:lnTo>
                        <a:pt x="837" y="360"/>
                      </a:lnTo>
                      <a:lnTo>
                        <a:pt x="838" y="360"/>
                      </a:lnTo>
                      <a:lnTo>
                        <a:pt x="838" y="359"/>
                      </a:lnTo>
                      <a:lnTo>
                        <a:pt x="838" y="360"/>
                      </a:lnTo>
                      <a:lnTo>
                        <a:pt x="839" y="360"/>
                      </a:lnTo>
                      <a:lnTo>
                        <a:pt x="839" y="360"/>
                      </a:lnTo>
                      <a:lnTo>
                        <a:pt x="839" y="361"/>
                      </a:lnTo>
                      <a:lnTo>
                        <a:pt x="840" y="361"/>
                      </a:lnTo>
                      <a:lnTo>
                        <a:pt x="840" y="360"/>
                      </a:lnTo>
                      <a:lnTo>
                        <a:pt x="840" y="360"/>
                      </a:lnTo>
                      <a:lnTo>
                        <a:pt x="840" y="361"/>
                      </a:lnTo>
                      <a:lnTo>
                        <a:pt x="841" y="361"/>
                      </a:lnTo>
                      <a:lnTo>
                        <a:pt x="842" y="361"/>
                      </a:lnTo>
                      <a:lnTo>
                        <a:pt x="842" y="361"/>
                      </a:lnTo>
                      <a:lnTo>
                        <a:pt x="843" y="361"/>
                      </a:lnTo>
                      <a:lnTo>
                        <a:pt x="843" y="361"/>
                      </a:lnTo>
                      <a:lnTo>
                        <a:pt x="844" y="361"/>
                      </a:lnTo>
                      <a:lnTo>
                        <a:pt x="844" y="361"/>
                      </a:lnTo>
                      <a:lnTo>
                        <a:pt x="845" y="361"/>
                      </a:lnTo>
                      <a:lnTo>
                        <a:pt x="846" y="361"/>
                      </a:lnTo>
                      <a:lnTo>
                        <a:pt x="845" y="361"/>
                      </a:lnTo>
                      <a:lnTo>
                        <a:pt x="844" y="361"/>
                      </a:lnTo>
                      <a:lnTo>
                        <a:pt x="845" y="361"/>
                      </a:lnTo>
                      <a:lnTo>
                        <a:pt x="845" y="361"/>
                      </a:lnTo>
                      <a:lnTo>
                        <a:pt x="844" y="361"/>
                      </a:lnTo>
                      <a:lnTo>
                        <a:pt x="845" y="361"/>
                      </a:lnTo>
                      <a:lnTo>
                        <a:pt x="844" y="361"/>
                      </a:lnTo>
                      <a:lnTo>
                        <a:pt x="845" y="361"/>
                      </a:lnTo>
                      <a:lnTo>
                        <a:pt x="844" y="361"/>
                      </a:lnTo>
                      <a:lnTo>
                        <a:pt x="844" y="361"/>
                      </a:lnTo>
                      <a:lnTo>
                        <a:pt x="844" y="361"/>
                      </a:lnTo>
                      <a:lnTo>
                        <a:pt x="845" y="361"/>
                      </a:lnTo>
                      <a:lnTo>
                        <a:pt x="846" y="361"/>
                      </a:lnTo>
                      <a:lnTo>
                        <a:pt x="846" y="361"/>
                      </a:lnTo>
                      <a:lnTo>
                        <a:pt x="845" y="361"/>
                      </a:lnTo>
                      <a:lnTo>
                        <a:pt x="844" y="361"/>
                      </a:lnTo>
                      <a:lnTo>
                        <a:pt x="844" y="361"/>
                      </a:lnTo>
                      <a:lnTo>
                        <a:pt x="843" y="362"/>
                      </a:lnTo>
                      <a:lnTo>
                        <a:pt x="843" y="362"/>
                      </a:lnTo>
                      <a:lnTo>
                        <a:pt x="842" y="362"/>
                      </a:lnTo>
                      <a:lnTo>
                        <a:pt x="842" y="363"/>
                      </a:lnTo>
                      <a:lnTo>
                        <a:pt x="842" y="363"/>
                      </a:lnTo>
                      <a:lnTo>
                        <a:pt x="842" y="364"/>
                      </a:lnTo>
                      <a:lnTo>
                        <a:pt x="842" y="364"/>
                      </a:lnTo>
                      <a:lnTo>
                        <a:pt x="842" y="365"/>
                      </a:lnTo>
                      <a:lnTo>
                        <a:pt x="842" y="365"/>
                      </a:lnTo>
                      <a:lnTo>
                        <a:pt x="841" y="365"/>
                      </a:lnTo>
                      <a:lnTo>
                        <a:pt x="841" y="366"/>
                      </a:lnTo>
                      <a:lnTo>
                        <a:pt x="841" y="366"/>
                      </a:lnTo>
                      <a:lnTo>
                        <a:pt x="841" y="367"/>
                      </a:lnTo>
                      <a:lnTo>
                        <a:pt x="840" y="367"/>
                      </a:lnTo>
                      <a:lnTo>
                        <a:pt x="840" y="367"/>
                      </a:lnTo>
                      <a:lnTo>
                        <a:pt x="840" y="368"/>
                      </a:lnTo>
                      <a:lnTo>
                        <a:pt x="840" y="369"/>
                      </a:lnTo>
                      <a:lnTo>
                        <a:pt x="840" y="369"/>
                      </a:lnTo>
                      <a:lnTo>
                        <a:pt x="840" y="370"/>
                      </a:lnTo>
                      <a:lnTo>
                        <a:pt x="840" y="370"/>
                      </a:lnTo>
                      <a:lnTo>
                        <a:pt x="840" y="371"/>
                      </a:lnTo>
                      <a:lnTo>
                        <a:pt x="839" y="371"/>
                      </a:lnTo>
                      <a:lnTo>
                        <a:pt x="839" y="371"/>
                      </a:lnTo>
                      <a:lnTo>
                        <a:pt x="838" y="371"/>
                      </a:lnTo>
                      <a:lnTo>
                        <a:pt x="838" y="370"/>
                      </a:lnTo>
                      <a:lnTo>
                        <a:pt x="838" y="371"/>
                      </a:lnTo>
                      <a:lnTo>
                        <a:pt x="839" y="371"/>
                      </a:lnTo>
                      <a:lnTo>
                        <a:pt x="839" y="371"/>
                      </a:lnTo>
                      <a:lnTo>
                        <a:pt x="840" y="371"/>
                      </a:lnTo>
                      <a:lnTo>
                        <a:pt x="840" y="372"/>
                      </a:lnTo>
                      <a:lnTo>
                        <a:pt x="840" y="372"/>
                      </a:lnTo>
                      <a:lnTo>
                        <a:pt x="840" y="373"/>
                      </a:lnTo>
                      <a:lnTo>
                        <a:pt x="840" y="373"/>
                      </a:lnTo>
                      <a:lnTo>
                        <a:pt x="840" y="374"/>
                      </a:lnTo>
                      <a:lnTo>
                        <a:pt x="840" y="374"/>
                      </a:lnTo>
                      <a:lnTo>
                        <a:pt x="840" y="375"/>
                      </a:lnTo>
                      <a:lnTo>
                        <a:pt x="841" y="375"/>
                      </a:lnTo>
                      <a:lnTo>
                        <a:pt x="840" y="375"/>
                      </a:lnTo>
                      <a:lnTo>
                        <a:pt x="841" y="375"/>
                      </a:lnTo>
                      <a:lnTo>
                        <a:pt x="842" y="375"/>
                      </a:lnTo>
                      <a:lnTo>
                        <a:pt x="842" y="376"/>
                      </a:lnTo>
                      <a:lnTo>
                        <a:pt x="842" y="376"/>
                      </a:lnTo>
                      <a:lnTo>
                        <a:pt x="842" y="376"/>
                      </a:lnTo>
                      <a:lnTo>
                        <a:pt x="842" y="377"/>
                      </a:lnTo>
                      <a:lnTo>
                        <a:pt x="842" y="377"/>
                      </a:lnTo>
                      <a:lnTo>
                        <a:pt x="843" y="377"/>
                      </a:lnTo>
                      <a:lnTo>
                        <a:pt x="843" y="378"/>
                      </a:lnTo>
                      <a:lnTo>
                        <a:pt x="843" y="378"/>
                      </a:lnTo>
                      <a:lnTo>
                        <a:pt x="843" y="379"/>
                      </a:lnTo>
                      <a:lnTo>
                        <a:pt x="842" y="379"/>
                      </a:lnTo>
                      <a:lnTo>
                        <a:pt x="842" y="380"/>
                      </a:lnTo>
                      <a:lnTo>
                        <a:pt x="842" y="379"/>
                      </a:lnTo>
                      <a:lnTo>
                        <a:pt x="842" y="380"/>
                      </a:lnTo>
                      <a:lnTo>
                        <a:pt x="842" y="380"/>
                      </a:lnTo>
                      <a:lnTo>
                        <a:pt x="842" y="380"/>
                      </a:lnTo>
                      <a:lnTo>
                        <a:pt x="841" y="380"/>
                      </a:lnTo>
                      <a:lnTo>
                        <a:pt x="841" y="381"/>
                      </a:lnTo>
                      <a:lnTo>
                        <a:pt x="840" y="381"/>
                      </a:lnTo>
                      <a:lnTo>
                        <a:pt x="840" y="381"/>
                      </a:lnTo>
                      <a:lnTo>
                        <a:pt x="840" y="381"/>
                      </a:lnTo>
                      <a:lnTo>
                        <a:pt x="840" y="382"/>
                      </a:lnTo>
                      <a:lnTo>
                        <a:pt x="839" y="382"/>
                      </a:lnTo>
                      <a:lnTo>
                        <a:pt x="839" y="382"/>
                      </a:lnTo>
                      <a:lnTo>
                        <a:pt x="838" y="382"/>
                      </a:lnTo>
                      <a:lnTo>
                        <a:pt x="837" y="382"/>
                      </a:lnTo>
                      <a:lnTo>
                        <a:pt x="837" y="382"/>
                      </a:lnTo>
                      <a:lnTo>
                        <a:pt x="836" y="382"/>
                      </a:lnTo>
                      <a:lnTo>
                        <a:pt x="836" y="382"/>
                      </a:lnTo>
                      <a:lnTo>
                        <a:pt x="835" y="382"/>
                      </a:lnTo>
                      <a:lnTo>
                        <a:pt x="835" y="381"/>
                      </a:lnTo>
                      <a:lnTo>
                        <a:pt x="835" y="381"/>
                      </a:lnTo>
                      <a:lnTo>
                        <a:pt x="835" y="381"/>
                      </a:lnTo>
                      <a:lnTo>
                        <a:pt x="834" y="381"/>
                      </a:lnTo>
                      <a:lnTo>
                        <a:pt x="833" y="381"/>
                      </a:lnTo>
                      <a:lnTo>
                        <a:pt x="833" y="381"/>
                      </a:lnTo>
                      <a:lnTo>
                        <a:pt x="833" y="381"/>
                      </a:lnTo>
                      <a:lnTo>
                        <a:pt x="832" y="381"/>
                      </a:lnTo>
                      <a:lnTo>
                        <a:pt x="832" y="382"/>
                      </a:lnTo>
                      <a:lnTo>
                        <a:pt x="831" y="382"/>
                      </a:lnTo>
                      <a:lnTo>
                        <a:pt x="831" y="382"/>
                      </a:lnTo>
                      <a:lnTo>
                        <a:pt x="830" y="383"/>
                      </a:lnTo>
                      <a:lnTo>
                        <a:pt x="829" y="383"/>
                      </a:lnTo>
                      <a:lnTo>
                        <a:pt x="829" y="383"/>
                      </a:lnTo>
                      <a:lnTo>
                        <a:pt x="829" y="384"/>
                      </a:lnTo>
                      <a:lnTo>
                        <a:pt x="828" y="384"/>
                      </a:lnTo>
                      <a:lnTo>
                        <a:pt x="828" y="384"/>
                      </a:lnTo>
                      <a:lnTo>
                        <a:pt x="828" y="384"/>
                      </a:lnTo>
                      <a:lnTo>
                        <a:pt x="828" y="385"/>
                      </a:lnTo>
                      <a:lnTo>
                        <a:pt x="827" y="385"/>
                      </a:lnTo>
                      <a:lnTo>
                        <a:pt x="827" y="385"/>
                      </a:lnTo>
                      <a:lnTo>
                        <a:pt x="827" y="385"/>
                      </a:lnTo>
                      <a:lnTo>
                        <a:pt x="827" y="385"/>
                      </a:lnTo>
                      <a:lnTo>
                        <a:pt x="827" y="385"/>
                      </a:lnTo>
                      <a:lnTo>
                        <a:pt x="827" y="386"/>
                      </a:lnTo>
                      <a:lnTo>
                        <a:pt x="826" y="386"/>
                      </a:lnTo>
                      <a:lnTo>
                        <a:pt x="826" y="387"/>
                      </a:lnTo>
                      <a:lnTo>
                        <a:pt x="825" y="387"/>
                      </a:lnTo>
                      <a:lnTo>
                        <a:pt x="826" y="387"/>
                      </a:lnTo>
                      <a:lnTo>
                        <a:pt x="826" y="386"/>
                      </a:lnTo>
                      <a:lnTo>
                        <a:pt x="825" y="386"/>
                      </a:lnTo>
                      <a:lnTo>
                        <a:pt x="826" y="386"/>
                      </a:lnTo>
                      <a:lnTo>
                        <a:pt x="826" y="387"/>
                      </a:lnTo>
                      <a:lnTo>
                        <a:pt x="825" y="387"/>
                      </a:lnTo>
                      <a:lnTo>
                        <a:pt x="825" y="387"/>
                      </a:lnTo>
                      <a:lnTo>
                        <a:pt x="825" y="388"/>
                      </a:lnTo>
                      <a:lnTo>
                        <a:pt x="825" y="388"/>
                      </a:lnTo>
                      <a:lnTo>
                        <a:pt x="825" y="388"/>
                      </a:lnTo>
                      <a:lnTo>
                        <a:pt x="825" y="389"/>
                      </a:lnTo>
                      <a:lnTo>
                        <a:pt x="825" y="389"/>
                      </a:lnTo>
                      <a:lnTo>
                        <a:pt x="824" y="390"/>
                      </a:lnTo>
                      <a:lnTo>
                        <a:pt x="824" y="391"/>
                      </a:lnTo>
                      <a:lnTo>
                        <a:pt x="824" y="391"/>
                      </a:lnTo>
                      <a:lnTo>
                        <a:pt x="824" y="392"/>
                      </a:lnTo>
                      <a:lnTo>
                        <a:pt x="825" y="392"/>
                      </a:lnTo>
                      <a:lnTo>
                        <a:pt x="824" y="392"/>
                      </a:lnTo>
                      <a:lnTo>
                        <a:pt x="824" y="392"/>
                      </a:lnTo>
                      <a:lnTo>
                        <a:pt x="824" y="391"/>
                      </a:lnTo>
                      <a:lnTo>
                        <a:pt x="823" y="391"/>
                      </a:lnTo>
                      <a:lnTo>
                        <a:pt x="823" y="391"/>
                      </a:lnTo>
                      <a:lnTo>
                        <a:pt x="822" y="391"/>
                      </a:lnTo>
                      <a:lnTo>
                        <a:pt x="822" y="391"/>
                      </a:lnTo>
                      <a:lnTo>
                        <a:pt x="822" y="391"/>
                      </a:lnTo>
                      <a:lnTo>
                        <a:pt x="822" y="392"/>
                      </a:lnTo>
                      <a:lnTo>
                        <a:pt x="822" y="391"/>
                      </a:lnTo>
                      <a:lnTo>
                        <a:pt x="821" y="391"/>
                      </a:lnTo>
                      <a:lnTo>
                        <a:pt x="821" y="391"/>
                      </a:lnTo>
                      <a:lnTo>
                        <a:pt x="820" y="391"/>
                      </a:lnTo>
                      <a:lnTo>
                        <a:pt x="820" y="392"/>
                      </a:lnTo>
                      <a:lnTo>
                        <a:pt x="821" y="391"/>
                      </a:lnTo>
                      <a:lnTo>
                        <a:pt x="821" y="392"/>
                      </a:lnTo>
                      <a:lnTo>
                        <a:pt x="821" y="391"/>
                      </a:lnTo>
                      <a:lnTo>
                        <a:pt x="821" y="392"/>
                      </a:lnTo>
                      <a:lnTo>
                        <a:pt x="821" y="391"/>
                      </a:lnTo>
                      <a:lnTo>
                        <a:pt x="821" y="392"/>
                      </a:lnTo>
                      <a:lnTo>
                        <a:pt x="821" y="391"/>
                      </a:lnTo>
                      <a:lnTo>
                        <a:pt x="821" y="392"/>
                      </a:lnTo>
                      <a:lnTo>
                        <a:pt x="822" y="392"/>
                      </a:lnTo>
                      <a:lnTo>
                        <a:pt x="822" y="391"/>
                      </a:lnTo>
                      <a:lnTo>
                        <a:pt x="822" y="391"/>
                      </a:lnTo>
                      <a:lnTo>
                        <a:pt x="823" y="391"/>
                      </a:lnTo>
                      <a:lnTo>
                        <a:pt x="822" y="391"/>
                      </a:lnTo>
                      <a:lnTo>
                        <a:pt x="823" y="391"/>
                      </a:lnTo>
                      <a:lnTo>
                        <a:pt x="824" y="391"/>
                      </a:lnTo>
                      <a:lnTo>
                        <a:pt x="823" y="391"/>
                      </a:lnTo>
                      <a:lnTo>
                        <a:pt x="824" y="391"/>
                      </a:lnTo>
                      <a:lnTo>
                        <a:pt x="824" y="392"/>
                      </a:lnTo>
                      <a:lnTo>
                        <a:pt x="824" y="392"/>
                      </a:lnTo>
                      <a:lnTo>
                        <a:pt x="824" y="392"/>
                      </a:lnTo>
                      <a:lnTo>
                        <a:pt x="824" y="392"/>
                      </a:lnTo>
                      <a:lnTo>
                        <a:pt x="824" y="392"/>
                      </a:lnTo>
                      <a:lnTo>
                        <a:pt x="825" y="392"/>
                      </a:lnTo>
                      <a:lnTo>
                        <a:pt x="825" y="393"/>
                      </a:lnTo>
                      <a:lnTo>
                        <a:pt x="825" y="394"/>
                      </a:lnTo>
                      <a:lnTo>
                        <a:pt x="825" y="393"/>
                      </a:lnTo>
                      <a:lnTo>
                        <a:pt x="825" y="392"/>
                      </a:lnTo>
                      <a:lnTo>
                        <a:pt x="824" y="392"/>
                      </a:lnTo>
                      <a:lnTo>
                        <a:pt x="825" y="392"/>
                      </a:lnTo>
                      <a:lnTo>
                        <a:pt x="825" y="392"/>
                      </a:lnTo>
                      <a:lnTo>
                        <a:pt x="825" y="392"/>
                      </a:lnTo>
                      <a:lnTo>
                        <a:pt x="825" y="393"/>
                      </a:lnTo>
                      <a:lnTo>
                        <a:pt x="825" y="393"/>
                      </a:lnTo>
                      <a:lnTo>
                        <a:pt x="825" y="394"/>
                      </a:lnTo>
                      <a:lnTo>
                        <a:pt x="825" y="394"/>
                      </a:lnTo>
                      <a:lnTo>
                        <a:pt x="825" y="395"/>
                      </a:lnTo>
                      <a:lnTo>
                        <a:pt x="825" y="395"/>
                      </a:lnTo>
                      <a:lnTo>
                        <a:pt x="825" y="394"/>
                      </a:lnTo>
                      <a:lnTo>
                        <a:pt x="824" y="394"/>
                      </a:lnTo>
                      <a:lnTo>
                        <a:pt x="824" y="394"/>
                      </a:lnTo>
                      <a:lnTo>
                        <a:pt x="824" y="394"/>
                      </a:lnTo>
                      <a:lnTo>
                        <a:pt x="824" y="394"/>
                      </a:lnTo>
                      <a:lnTo>
                        <a:pt x="824" y="394"/>
                      </a:lnTo>
                      <a:lnTo>
                        <a:pt x="824" y="395"/>
                      </a:lnTo>
                      <a:lnTo>
                        <a:pt x="824" y="394"/>
                      </a:lnTo>
                      <a:lnTo>
                        <a:pt x="824" y="395"/>
                      </a:lnTo>
                      <a:lnTo>
                        <a:pt x="824" y="394"/>
                      </a:lnTo>
                      <a:lnTo>
                        <a:pt x="824" y="395"/>
                      </a:lnTo>
                      <a:lnTo>
                        <a:pt x="824" y="394"/>
                      </a:lnTo>
                      <a:lnTo>
                        <a:pt x="824" y="395"/>
                      </a:lnTo>
                      <a:lnTo>
                        <a:pt x="825" y="395"/>
                      </a:lnTo>
                      <a:lnTo>
                        <a:pt x="825" y="394"/>
                      </a:lnTo>
                      <a:lnTo>
                        <a:pt x="825" y="395"/>
                      </a:lnTo>
                      <a:lnTo>
                        <a:pt x="824" y="395"/>
                      </a:lnTo>
                      <a:lnTo>
                        <a:pt x="824" y="395"/>
                      </a:lnTo>
                      <a:lnTo>
                        <a:pt x="825" y="395"/>
                      </a:lnTo>
                      <a:lnTo>
                        <a:pt x="825" y="396"/>
                      </a:lnTo>
                      <a:lnTo>
                        <a:pt x="825" y="395"/>
                      </a:lnTo>
                      <a:lnTo>
                        <a:pt x="825" y="396"/>
                      </a:lnTo>
                      <a:lnTo>
                        <a:pt x="825" y="396"/>
                      </a:lnTo>
                      <a:lnTo>
                        <a:pt x="825" y="396"/>
                      </a:lnTo>
                      <a:lnTo>
                        <a:pt x="825" y="396"/>
                      </a:lnTo>
                      <a:lnTo>
                        <a:pt x="825" y="396"/>
                      </a:lnTo>
                      <a:lnTo>
                        <a:pt x="825" y="397"/>
                      </a:lnTo>
                      <a:lnTo>
                        <a:pt x="825" y="397"/>
                      </a:lnTo>
                      <a:lnTo>
                        <a:pt x="825" y="398"/>
                      </a:lnTo>
                      <a:lnTo>
                        <a:pt x="825" y="397"/>
                      </a:lnTo>
                      <a:lnTo>
                        <a:pt x="825" y="398"/>
                      </a:lnTo>
                      <a:lnTo>
                        <a:pt x="825" y="398"/>
                      </a:lnTo>
                      <a:lnTo>
                        <a:pt x="825" y="397"/>
                      </a:lnTo>
                      <a:lnTo>
                        <a:pt x="826" y="397"/>
                      </a:lnTo>
                      <a:lnTo>
                        <a:pt x="826" y="398"/>
                      </a:lnTo>
                      <a:lnTo>
                        <a:pt x="825" y="398"/>
                      </a:lnTo>
                      <a:lnTo>
                        <a:pt x="826" y="398"/>
                      </a:lnTo>
                      <a:lnTo>
                        <a:pt x="826" y="398"/>
                      </a:lnTo>
                      <a:lnTo>
                        <a:pt x="826" y="399"/>
                      </a:lnTo>
                      <a:lnTo>
                        <a:pt x="826" y="399"/>
                      </a:lnTo>
                      <a:lnTo>
                        <a:pt x="826" y="399"/>
                      </a:lnTo>
                      <a:lnTo>
                        <a:pt x="825" y="399"/>
                      </a:lnTo>
                      <a:lnTo>
                        <a:pt x="825" y="399"/>
                      </a:lnTo>
                      <a:lnTo>
                        <a:pt x="825" y="398"/>
                      </a:lnTo>
                      <a:lnTo>
                        <a:pt x="824" y="398"/>
                      </a:lnTo>
                      <a:lnTo>
                        <a:pt x="824" y="398"/>
                      </a:lnTo>
                      <a:lnTo>
                        <a:pt x="824" y="398"/>
                      </a:lnTo>
                      <a:lnTo>
                        <a:pt x="824" y="398"/>
                      </a:lnTo>
                      <a:lnTo>
                        <a:pt x="824" y="397"/>
                      </a:lnTo>
                      <a:lnTo>
                        <a:pt x="824" y="397"/>
                      </a:lnTo>
                      <a:lnTo>
                        <a:pt x="824" y="398"/>
                      </a:lnTo>
                      <a:lnTo>
                        <a:pt x="823" y="398"/>
                      </a:lnTo>
                      <a:lnTo>
                        <a:pt x="823" y="397"/>
                      </a:lnTo>
                      <a:lnTo>
                        <a:pt x="822" y="397"/>
                      </a:lnTo>
                      <a:lnTo>
                        <a:pt x="822" y="397"/>
                      </a:lnTo>
                      <a:lnTo>
                        <a:pt x="822" y="398"/>
                      </a:lnTo>
                      <a:lnTo>
                        <a:pt x="821" y="398"/>
                      </a:lnTo>
                      <a:lnTo>
                        <a:pt x="821" y="398"/>
                      </a:lnTo>
                      <a:lnTo>
                        <a:pt x="821" y="398"/>
                      </a:lnTo>
                      <a:lnTo>
                        <a:pt x="820" y="398"/>
                      </a:lnTo>
                      <a:lnTo>
                        <a:pt x="820" y="398"/>
                      </a:lnTo>
                      <a:lnTo>
                        <a:pt x="820" y="399"/>
                      </a:lnTo>
                      <a:lnTo>
                        <a:pt x="819" y="399"/>
                      </a:lnTo>
                      <a:lnTo>
                        <a:pt x="818" y="399"/>
                      </a:lnTo>
                      <a:lnTo>
                        <a:pt x="818" y="399"/>
                      </a:lnTo>
                      <a:lnTo>
                        <a:pt x="817" y="400"/>
                      </a:lnTo>
                      <a:lnTo>
                        <a:pt x="817" y="400"/>
                      </a:lnTo>
                      <a:lnTo>
                        <a:pt x="817" y="400"/>
                      </a:lnTo>
                      <a:lnTo>
                        <a:pt x="816" y="400"/>
                      </a:lnTo>
                      <a:lnTo>
                        <a:pt x="816" y="401"/>
                      </a:lnTo>
                      <a:lnTo>
                        <a:pt x="816" y="401"/>
                      </a:lnTo>
                      <a:lnTo>
                        <a:pt x="816" y="402"/>
                      </a:lnTo>
                      <a:lnTo>
                        <a:pt x="815" y="402"/>
                      </a:lnTo>
                      <a:lnTo>
                        <a:pt x="815" y="401"/>
                      </a:lnTo>
                      <a:lnTo>
                        <a:pt x="815" y="400"/>
                      </a:lnTo>
                      <a:lnTo>
                        <a:pt x="815" y="401"/>
                      </a:lnTo>
                      <a:lnTo>
                        <a:pt x="815" y="400"/>
                      </a:lnTo>
                      <a:lnTo>
                        <a:pt x="816" y="401"/>
                      </a:lnTo>
                      <a:lnTo>
                        <a:pt x="816" y="400"/>
                      </a:lnTo>
                      <a:lnTo>
                        <a:pt x="815" y="400"/>
                      </a:lnTo>
                      <a:lnTo>
                        <a:pt x="815" y="400"/>
                      </a:lnTo>
                      <a:lnTo>
                        <a:pt x="815" y="400"/>
                      </a:lnTo>
                      <a:lnTo>
                        <a:pt x="815" y="400"/>
                      </a:lnTo>
                      <a:lnTo>
                        <a:pt x="814" y="400"/>
                      </a:lnTo>
                      <a:lnTo>
                        <a:pt x="814" y="399"/>
                      </a:lnTo>
                      <a:lnTo>
                        <a:pt x="814" y="399"/>
                      </a:lnTo>
                      <a:lnTo>
                        <a:pt x="814" y="400"/>
                      </a:lnTo>
                      <a:lnTo>
                        <a:pt x="813" y="400"/>
                      </a:lnTo>
                      <a:lnTo>
                        <a:pt x="813" y="399"/>
                      </a:lnTo>
                      <a:lnTo>
                        <a:pt x="813" y="400"/>
                      </a:lnTo>
                      <a:lnTo>
                        <a:pt x="813" y="399"/>
                      </a:lnTo>
                      <a:lnTo>
                        <a:pt x="813" y="399"/>
                      </a:lnTo>
                      <a:lnTo>
                        <a:pt x="813" y="399"/>
                      </a:lnTo>
                      <a:lnTo>
                        <a:pt x="813" y="399"/>
                      </a:lnTo>
                      <a:lnTo>
                        <a:pt x="813" y="399"/>
                      </a:lnTo>
                      <a:lnTo>
                        <a:pt x="813" y="399"/>
                      </a:lnTo>
                      <a:lnTo>
                        <a:pt x="813" y="399"/>
                      </a:lnTo>
                      <a:lnTo>
                        <a:pt x="813" y="398"/>
                      </a:lnTo>
                      <a:lnTo>
                        <a:pt x="813" y="399"/>
                      </a:lnTo>
                      <a:lnTo>
                        <a:pt x="813" y="399"/>
                      </a:lnTo>
                      <a:lnTo>
                        <a:pt x="813" y="399"/>
                      </a:lnTo>
                      <a:lnTo>
                        <a:pt x="813" y="399"/>
                      </a:lnTo>
                      <a:lnTo>
                        <a:pt x="813" y="399"/>
                      </a:lnTo>
                      <a:lnTo>
                        <a:pt x="813" y="399"/>
                      </a:lnTo>
                      <a:lnTo>
                        <a:pt x="813" y="399"/>
                      </a:lnTo>
                      <a:lnTo>
                        <a:pt x="813" y="400"/>
                      </a:lnTo>
                      <a:lnTo>
                        <a:pt x="813" y="399"/>
                      </a:lnTo>
                      <a:lnTo>
                        <a:pt x="813" y="400"/>
                      </a:lnTo>
                      <a:lnTo>
                        <a:pt x="813" y="399"/>
                      </a:lnTo>
                      <a:lnTo>
                        <a:pt x="813" y="400"/>
                      </a:lnTo>
                      <a:lnTo>
                        <a:pt x="814" y="400"/>
                      </a:lnTo>
                      <a:lnTo>
                        <a:pt x="813" y="400"/>
                      </a:lnTo>
                      <a:lnTo>
                        <a:pt x="813" y="400"/>
                      </a:lnTo>
                      <a:lnTo>
                        <a:pt x="813" y="400"/>
                      </a:lnTo>
                      <a:lnTo>
                        <a:pt x="813" y="401"/>
                      </a:lnTo>
                      <a:lnTo>
                        <a:pt x="813" y="401"/>
                      </a:lnTo>
                      <a:lnTo>
                        <a:pt x="813" y="401"/>
                      </a:lnTo>
                      <a:lnTo>
                        <a:pt x="813" y="402"/>
                      </a:lnTo>
                      <a:lnTo>
                        <a:pt x="814" y="402"/>
                      </a:lnTo>
                      <a:lnTo>
                        <a:pt x="814" y="401"/>
                      </a:lnTo>
                      <a:lnTo>
                        <a:pt x="813" y="401"/>
                      </a:lnTo>
                      <a:lnTo>
                        <a:pt x="814" y="401"/>
                      </a:lnTo>
                      <a:lnTo>
                        <a:pt x="814" y="401"/>
                      </a:lnTo>
                      <a:lnTo>
                        <a:pt x="815" y="401"/>
                      </a:lnTo>
                      <a:lnTo>
                        <a:pt x="814" y="401"/>
                      </a:lnTo>
                      <a:lnTo>
                        <a:pt x="815" y="402"/>
                      </a:lnTo>
                      <a:lnTo>
                        <a:pt x="814" y="402"/>
                      </a:lnTo>
                      <a:lnTo>
                        <a:pt x="815" y="402"/>
                      </a:lnTo>
                      <a:lnTo>
                        <a:pt x="814" y="402"/>
                      </a:lnTo>
                      <a:lnTo>
                        <a:pt x="814" y="402"/>
                      </a:lnTo>
                      <a:lnTo>
                        <a:pt x="815" y="402"/>
                      </a:lnTo>
                      <a:lnTo>
                        <a:pt x="814" y="402"/>
                      </a:lnTo>
                      <a:lnTo>
                        <a:pt x="814" y="403"/>
                      </a:lnTo>
                      <a:lnTo>
                        <a:pt x="814" y="403"/>
                      </a:lnTo>
                      <a:lnTo>
                        <a:pt x="813" y="403"/>
                      </a:lnTo>
                      <a:lnTo>
                        <a:pt x="814" y="403"/>
                      </a:lnTo>
                      <a:lnTo>
                        <a:pt x="813" y="403"/>
                      </a:lnTo>
                      <a:lnTo>
                        <a:pt x="813" y="403"/>
                      </a:lnTo>
                      <a:lnTo>
                        <a:pt x="814" y="403"/>
                      </a:lnTo>
                      <a:lnTo>
                        <a:pt x="813" y="403"/>
                      </a:lnTo>
                      <a:lnTo>
                        <a:pt x="814" y="403"/>
                      </a:lnTo>
                      <a:lnTo>
                        <a:pt x="814" y="404"/>
                      </a:lnTo>
                      <a:lnTo>
                        <a:pt x="814" y="404"/>
                      </a:lnTo>
                      <a:lnTo>
                        <a:pt x="814" y="404"/>
                      </a:lnTo>
                      <a:lnTo>
                        <a:pt x="814" y="404"/>
                      </a:lnTo>
                      <a:lnTo>
                        <a:pt x="814" y="405"/>
                      </a:lnTo>
                      <a:lnTo>
                        <a:pt x="814" y="404"/>
                      </a:lnTo>
                      <a:lnTo>
                        <a:pt x="814" y="405"/>
                      </a:lnTo>
                      <a:lnTo>
                        <a:pt x="813" y="404"/>
                      </a:lnTo>
                      <a:lnTo>
                        <a:pt x="813" y="404"/>
                      </a:lnTo>
                      <a:lnTo>
                        <a:pt x="813" y="404"/>
                      </a:lnTo>
                      <a:lnTo>
                        <a:pt x="813" y="405"/>
                      </a:lnTo>
                      <a:lnTo>
                        <a:pt x="813" y="405"/>
                      </a:lnTo>
                      <a:lnTo>
                        <a:pt x="813" y="405"/>
                      </a:lnTo>
                      <a:lnTo>
                        <a:pt x="813" y="405"/>
                      </a:lnTo>
                      <a:lnTo>
                        <a:pt x="813" y="405"/>
                      </a:lnTo>
                      <a:lnTo>
                        <a:pt x="813" y="406"/>
                      </a:lnTo>
                      <a:lnTo>
                        <a:pt x="814" y="406"/>
                      </a:lnTo>
                      <a:lnTo>
                        <a:pt x="814" y="406"/>
                      </a:lnTo>
                      <a:lnTo>
                        <a:pt x="814" y="407"/>
                      </a:lnTo>
                      <a:lnTo>
                        <a:pt x="813" y="407"/>
                      </a:lnTo>
                      <a:lnTo>
                        <a:pt x="813" y="407"/>
                      </a:lnTo>
                      <a:lnTo>
                        <a:pt x="813" y="407"/>
                      </a:lnTo>
                      <a:lnTo>
                        <a:pt x="813" y="407"/>
                      </a:lnTo>
                      <a:lnTo>
                        <a:pt x="814" y="407"/>
                      </a:lnTo>
                      <a:lnTo>
                        <a:pt x="814" y="407"/>
                      </a:lnTo>
                      <a:lnTo>
                        <a:pt x="814" y="407"/>
                      </a:lnTo>
                      <a:lnTo>
                        <a:pt x="814" y="408"/>
                      </a:lnTo>
                      <a:lnTo>
                        <a:pt x="814" y="408"/>
                      </a:lnTo>
                      <a:lnTo>
                        <a:pt x="813" y="408"/>
                      </a:lnTo>
                      <a:lnTo>
                        <a:pt x="814" y="409"/>
                      </a:lnTo>
                      <a:lnTo>
                        <a:pt x="814" y="408"/>
                      </a:lnTo>
                      <a:lnTo>
                        <a:pt x="814" y="409"/>
                      </a:lnTo>
                      <a:lnTo>
                        <a:pt x="814" y="409"/>
                      </a:lnTo>
                      <a:lnTo>
                        <a:pt x="813" y="409"/>
                      </a:lnTo>
                      <a:lnTo>
                        <a:pt x="813" y="410"/>
                      </a:lnTo>
                      <a:lnTo>
                        <a:pt x="813" y="410"/>
                      </a:lnTo>
                      <a:lnTo>
                        <a:pt x="813" y="410"/>
                      </a:lnTo>
                      <a:lnTo>
                        <a:pt x="813" y="411"/>
                      </a:lnTo>
                      <a:lnTo>
                        <a:pt x="812" y="411"/>
                      </a:lnTo>
                      <a:lnTo>
                        <a:pt x="812" y="410"/>
                      </a:lnTo>
                      <a:lnTo>
                        <a:pt x="812" y="411"/>
                      </a:lnTo>
                      <a:lnTo>
                        <a:pt x="812" y="411"/>
                      </a:lnTo>
                      <a:lnTo>
                        <a:pt x="812" y="412"/>
                      </a:lnTo>
                      <a:lnTo>
                        <a:pt x="811" y="412"/>
                      </a:lnTo>
                      <a:lnTo>
                        <a:pt x="812" y="412"/>
                      </a:lnTo>
                      <a:lnTo>
                        <a:pt x="812" y="413"/>
                      </a:lnTo>
                      <a:lnTo>
                        <a:pt x="811" y="413"/>
                      </a:lnTo>
                      <a:lnTo>
                        <a:pt x="812" y="413"/>
                      </a:lnTo>
                      <a:lnTo>
                        <a:pt x="811" y="413"/>
                      </a:lnTo>
                      <a:lnTo>
                        <a:pt x="811" y="413"/>
                      </a:lnTo>
                      <a:lnTo>
                        <a:pt x="811" y="414"/>
                      </a:lnTo>
                      <a:lnTo>
                        <a:pt x="811" y="414"/>
                      </a:lnTo>
                      <a:lnTo>
                        <a:pt x="810" y="414"/>
                      </a:lnTo>
                      <a:lnTo>
                        <a:pt x="810" y="415"/>
                      </a:lnTo>
                      <a:lnTo>
                        <a:pt x="810" y="415"/>
                      </a:lnTo>
                      <a:lnTo>
                        <a:pt x="809" y="414"/>
                      </a:lnTo>
                      <a:lnTo>
                        <a:pt x="810" y="415"/>
                      </a:lnTo>
                      <a:lnTo>
                        <a:pt x="810" y="415"/>
                      </a:lnTo>
                      <a:lnTo>
                        <a:pt x="809" y="415"/>
                      </a:lnTo>
                      <a:lnTo>
                        <a:pt x="809" y="416"/>
                      </a:lnTo>
                      <a:lnTo>
                        <a:pt x="809" y="417"/>
                      </a:lnTo>
                      <a:lnTo>
                        <a:pt x="809" y="417"/>
                      </a:lnTo>
                      <a:lnTo>
                        <a:pt x="809" y="417"/>
                      </a:lnTo>
                      <a:lnTo>
                        <a:pt x="808" y="417"/>
                      </a:lnTo>
                      <a:lnTo>
                        <a:pt x="807" y="417"/>
                      </a:lnTo>
                      <a:lnTo>
                        <a:pt x="808" y="418"/>
                      </a:lnTo>
                      <a:lnTo>
                        <a:pt x="807" y="418"/>
                      </a:lnTo>
                      <a:lnTo>
                        <a:pt x="808" y="418"/>
                      </a:lnTo>
                      <a:lnTo>
                        <a:pt x="807" y="418"/>
                      </a:lnTo>
                      <a:lnTo>
                        <a:pt x="807" y="418"/>
                      </a:lnTo>
                      <a:lnTo>
                        <a:pt x="806" y="418"/>
                      </a:lnTo>
                      <a:lnTo>
                        <a:pt x="806" y="418"/>
                      </a:lnTo>
                      <a:lnTo>
                        <a:pt x="806" y="418"/>
                      </a:lnTo>
                      <a:lnTo>
                        <a:pt x="806" y="419"/>
                      </a:lnTo>
                      <a:lnTo>
                        <a:pt x="805" y="420"/>
                      </a:lnTo>
                      <a:lnTo>
                        <a:pt x="806" y="420"/>
                      </a:lnTo>
                      <a:lnTo>
                        <a:pt x="805" y="420"/>
                      </a:lnTo>
                      <a:lnTo>
                        <a:pt x="805" y="420"/>
                      </a:lnTo>
                      <a:lnTo>
                        <a:pt x="805" y="420"/>
                      </a:lnTo>
                      <a:lnTo>
                        <a:pt x="805" y="421"/>
                      </a:lnTo>
                      <a:lnTo>
                        <a:pt x="804" y="421"/>
                      </a:lnTo>
                      <a:lnTo>
                        <a:pt x="804" y="421"/>
                      </a:lnTo>
                      <a:lnTo>
                        <a:pt x="804" y="421"/>
                      </a:lnTo>
                      <a:lnTo>
                        <a:pt x="804" y="421"/>
                      </a:lnTo>
                      <a:lnTo>
                        <a:pt x="803" y="421"/>
                      </a:lnTo>
                      <a:lnTo>
                        <a:pt x="803" y="422"/>
                      </a:lnTo>
                      <a:lnTo>
                        <a:pt x="803" y="421"/>
                      </a:lnTo>
                      <a:lnTo>
                        <a:pt x="803" y="422"/>
                      </a:lnTo>
                      <a:lnTo>
                        <a:pt x="803" y="422"/>
                      </a:lnTo>
                      <a:lnTo>
                        <a:pt x="803" y="422"/>
                      </a:lnTo>
                      <a:lnTo>
                        <a:pt x="802" y="422"/>
                      </a:lnTo>
                      <a:lnTo>
                        <a:pt x="802" y="423"/>
                      </a:lnTo>
                      <a:lnTo>
                        <a:pt x="802" y="423"/>
                      </a:lnTo>
                      <a:lnTo>
                        <a:pt x="801" y="424"/>
                      </a:lnTo>
                      <a:lnTo>
                        <a:pt x="801" y="424"/>
                      </a:lnTo>
                      <a:lnTo>
                        <a:pt x="801" y="425"/>
                      </a:lnTo>
                      <a:lnTo>
                        <a:pt x="800" y="425"/>
                      </a:lnTo>
                      <a:lnTo>
                        <a:pt x="800" y="425"/>
                      </a:lnTo>
                      <a:lnTo>
                        <a:pt x="799" y="425"/>
                      </a:lnTo>
                      <a:lnTo>
                        <a:pt x="799" y="426"/>
                      </a:lnTo>
                      <a:lnTo>
                        <a:pt x="799" y="426"/>
                      </a:lnTo>
                      <a:lnTo>
                        <a:pt x="799" y="425"/>
                      </a:lnTo>
                      <a:lnTo>
                        <a:pt x="799" y="425"/>
                      </a:lnTo>
                      <a:lnTo>
                        <a:pt x="799" y="425"/>
                      </a:lnTo>
                      <a:lnTo>
                        <a:pt x="800" y="424"/>
                      </a:lnTo>
                      <a:lnTo>
                        <a:pt x="799" y="424"/>
                      </a:lnTo>
                      <a:lnTo>
                        <a:pt x="799" y="424"/>
                      </a:lnTo>
                      <a:lnTo>
                        <a:pt x="799" y="423"/>
                      </a:lnTo>
                      <a:lnTo>
                        <a:pt x="799" y="422"/>
                      </a:lnTo>
                      <a:lnTo>
                        <a:pt x="799" y="422"/>
                      </a:lnTo>
                      <a:lnTo>
                        <a:pt x="799" y="422"/>
                      </a:lnTo>
                      <a:lnTo>
                        <a:pt x="799" y="421"/>
                      </a:lnTo>
                      <a:lnTo>
                        <a:pt x="798" y="421"/>
                      </a:lnTo>
                      <a:lnTo>
                        <a:pt x="798" y="421"/>
                      </a:lnTo>
                      <a:lnTo>
                        <a:pt x="798" y="421"/>
                      </a:lnTo>
                      <a:lnTo>
                        <a:pt x="798" y="420"/>
                      </a:lnTo>
                      <a:lnTo>
                        <a:pt x="798" y="420"/>
                      </a:lnTo>
                      <a:lnTo>
                        <a:pt x="798" y="419"/>
                      </a:lnTo>
                      <a:lnTo>
                        <a:pt x="798" y="418"/>
                      </a:lnTo>
                      <a:lnTo>
                        <a:pt x="798" y="418"/>
                      </a:lnTo>
                      <a:lnTo>
                        <a:pt x="798" y="417"/>
                      </a:lnTo>
                      <a:lnTo>
                        <a:pt x="798" y="417"/>
                      </a:lnTo>
                      <a:lnTo>
                        <a:pt x="798" y="416"/>
                      </a:lnTo>
                      <a:lnTo>
                        <a:pt x="798" y="415"/>
                      </a:lnTo>
                      <a:lnTo>
                        <a:pt x="798" y="415"/>
                      </a:lnTo>
                      <a:lnTo>
                        <a:pt x="798" y="414"/>
                      </a:lnTo>
                      <a:lnTo>
                        <a:pt x="798" y="414"/>
                      </a:lnTo>
                      <a:lnTo>
                        <a:pt x="798" y="413"/>
                      </a:lnTo>
                      <a:lnTo>
                        <a:pt x="798" y="413"/>
                      </a:lnTo>
                      <a:lnTo>
                        <a:pt x="798" y="412"/>
                      </a:lnTo>
                      <a:lnTo>
                        <a:pt x="798" y="411"/>
                      </a:lnTo>
                      <a:lnTo>
                        <a:pt x="798" y="411"/>
                      </a:lnTo>
                      <a:lnTo>
                        <a:pt x="798" y="410"/>
                      </a:lnTo>
                      <a:lnTo>
                        <a:pt x="798" y="411"/>
                      </a:lnTo>
                      <a:lnTo>
                        <a:pt x="798" y="410"/>
                      </a:lnTo>
                      <a:lnTo>
                        <a:pt x="798" y="410"/>
                      </a:lnTo>
                      <a:lnTo>
                        <a:pt x="799" y="410"/>
                      </a:lnTo>
                      <a:lnTo>
                        <a:pt x="798" y="410"/>
                      </a:lnTo>
                      <a:lnTo>
                        <a:pt x="798" y="410"/>
                      </a:lnTo>
                      <a:lnTo>
                        <a:pt x="798" y="411"/>
                      </a:lnTo>
                      <a:lnTo>
                        <a:pt x="797" y="411"/>
                      </a:lnTo>
                      <a:lnTo>
                        <a:pt x="798" y="411"/>
                      </a:lnTo>
                      <a:lnTo>
                        <a:pt x="798" y="411"/>
                      </a:lnTo>
                      <a:lnTo>
                        <a:pt x="798" y="412"/>
                      </a:lnTo>
                      <a:lnTo>
                        <a:pt x="798" y="413"/>
                      </a:lnTo>
                      <a:lnTo>
                        <a:pt x="798" y="413"/>
                      </a:lnTo>
                      <a:lnTo>
                        <a:pt x="798" y="413"/>
                      </a:lnTo>
                      <a:lnTo>
                        <a:pt x="798" y="412"/>
                      </a:lnTo>
                      <a:lnTo>
                        <a:pt x="797" y="411"/>
                      </a:lnTo>
                      <a:lnTo>
                        <a:pt x="797" y="410"/>
                      </a:lnTo>
                      <a:lnTo>
                        <a:pt x="797" y="410"/>
                      </a:lnTo>
                      <a:lnTo>
                        <a:pt x="797" y="409"/>
                      </a:lnTo>
                      <a:lnTo>
                        <a:pt x="797" y="409"/>
                      </a:lnTo>
                      <a:lnTo>
                        <a:pt x="797" y="408"/>
                      </a:lnTo>
                      <a:lnTo>
                        <a:pt x="796" y="408"/>
                      </a:lnTo>
                      <a:lnTo>
                        <a:pt x="796" y="407"/>
                      </a:lnTo>
                      <a:lnTo>
                        <a:pt x="796" y="407"/>
                      </a:lnTo>
                      <a:lnTo>
                        <a:pt x="796" y="406"/>
                      </a:lnTo>
                      <a:lnTo>
                        <a:pt x="796" y="406"/>
                      </a:lnTo>
                      <a:lnTo>
                        <a:pt x="796" y="406"/>
                      </a:lnTo>
                      <a:lnTo>
                        <a:pt x="796" y="406"/>
                      </a:lnTo>
                      <a:lnTo>
                        <a:pt x="796" y="406"/>
                      </a:lnTo>
                      <a:lnTo>
                        <a:pt x="797" y="406"/>
                      </a:lnTo>
                      <a:lnTo>
                        <a:pt x="796" y="406"/>
                      </a:lnTo>
                      <a:lnTo>
                        <a:pt x="796" y="407"/>
                      </a:lnTo>
                      <a:lnTo>
                        <a:pt x="797" y="407"/>
                      </a:lnTo>
                      <a:lnTo>
                        <a:pt x="797" y="406"/>
                      </a:lnTo>
                      <a:lnTo>
                        <a:pt x="798" y="406"/>
                      </a:lnTo>
                      <a:lnTo>
                        <a:pt x="797" y="406"/>
                      </a:lnTo>
                      <a:lnTo>
                        <a:pt x="797" y="406"/>
                      </a:lnTo>
                      <a:lnTo>
                        <a:pt x="797" y="406"/>
                      </a:lnTo>
                      <a:lnTo>
                        <a:pt x="797" y="406"/>
                      </a:lnTo>
                      <a:lnTo>
                        <a:pt x="796" y="406"/>
                      </a:lnTo>
                      <a:lnTo>
                        <a:pt x="796" y="406"/>
                      </a:lnTo>
                      <a:lnTo>
                        <a:pt x="796" y="406"/>
                      </a:lnTo>
                      <a:lnTo>
                        <a:pt x="796" y="405"/>
                      </a:lnTo>
                      <a:lnTo>
                        <a:pt x="796" y="405"/>
                      </a:lnTo>
                      <a:lnTo>
                        <a:pt x="796" y="405"/>
                      </a:lnTo>
                      <a:lnTo>
                        <a:pt x="796" y="404"/>
                      </a:lnTo>
                      <a:lnTo>
                        <a:pt x="795" y="404"/>
                      </a:lnTo>
                      <a:lnTo>
                        <a:pt x="795" y="404"/>
                      </a:lnTo>
                      <a:lnTo>
                        <a:pt x="795" y="404"/>
                      </a:lnTo>
                      <a:lnTo>
                        <a:pt x="795" y="404"/>
                      </a:lnTo>
                      <a:lnTo>
                        <a:pt x="795" y="403"/>
                      </a:lnTo>
                      <a:lnTo>
                        <a:pt x="796" y="403"/>
                      </a:lnTo>
                      <a:lnTo>
                        <a:pt x="796" y="403"/>
                      </a:lnTo>
                      <a:lnTo>
                        <a:pt x="796" y="403"/>
                      </a:lnTo>
                      <a:lnTo>
                        <a:pt x="795" y="403"/>
                      </a:lnTo>
                      <a:lnTo>
                        <a:pt x="795" y="403"/>
                      </a:lnTo>
                      <a:lnTo>
                        <a:pt x="795" y="403"/>
                      </a:lnTo>
                      <a:lnTo>
                        <a:pt x="795" y="403"/>
                      </a:lnTo>
                      <a:lnTo>
                        <a:pt x="795" y="404"/>
                      </a:lnTo>
                      <a:lnTo>
                        <a:pt x="795" y="404"/>
                      </a:lnTo>
                      <a:lnTo>
                        <a:pt x="796" y="404"/>
                      </a:lnTo>
                      <a:lnTo>
                        <a:pt x="796" y="405"/>
                      </a:lnTo>
                      <a:lnTo>
                        <a:pt x="796" y="406"/>
                      </a:lnTo>
                      <a:lnTo>
                        <a:pt x="796" y="406"/>
                      </a:lnTo>
                      <a:lnTo>
                        <a:pt x="796" y="406"/>
                      </a:lnTo>
                      <a:lnTo>
                        <a:pt x="796" y="405"/>
                      </a:lnTo>
                      <a:lnTo>
                        <a:pt x="795" y="404"/>
                      </a:lnTo>
                      <a:lnTo>
                        <a:pt x="795" y="403"/>
                      </a:lnTo>
                      <a:lnTo>
                        <a:pt x="795" y="403"/>
                      </a:lnTo>
                      <a:lnTo>
                        <a:pt x="795" y="402"/>
                      </a:lnTo>
                      <a:lnTo>
                        <a:pt x="795" y="402"/>
                      </a:lnTo>
                      <a:lnTo>
                        <a:pt x="795" y="401"/>
                      </a:lnTo>
                      <a:lnTo>
                        <a:pt x="795" y="400"/>
                      </a:lnTo>
                      <a:lnTo>
                        <a:pt x="795" y="400"/>
                      </a:lnTo>
                      <a:lnTo>
                        <a:pt x="794" y="400"/>
                      </a:lnTo>
                      <a:lnTo>
                        <a:pt x="794" y="399"/>
                      </a:lnTo>
                      <a:lnTo>
                        <a:pt x="794" y="399"/>
                      </a:lnTo>
                      <a:lnTo>
                        <a:pt x="794" y="398"/>
                      </a:lnTo>
                      <a:lnTo>
                        <a:pt x="794" y="398"/>
                      </a:lnTo>
                      <a:lnTo>
                        <a:pt x="794" y="397"/>
                      </a:lnTo>
                      <a:lnTo>
                        <a:pt x="794" y="396"/>
                      </a:lnTo>
                      <a:lnTo>
                        <a:pt x="794" y="395"/>
                      </a:lnTo>
                      <a:lnTo>
                        <a:pt x="794" y="395"/>
                      </a:lnTo>
                      <a:lnTo>
                        <a:pt x="794" y="394"/>
                      </a:lnTo>
                      <a:lnTo>
                        <a:pt x="794" y="394"/>
                      </a:lnTo>
                      <a:lnTo>
                        <a:pt x="794" y="393"/>
                      </a:lnTo>
                      <a:lnTo>
                        <a:pt x="794" y="392"/>
                      </a:lnTo>
                      <a:lnTo>
                        <a:pt x="794" y="392"/>
                      </a:lnTo>
                      <a:lnTo>
                        <a:pt x="794" y="391"/>
                      </a:lnTo>
                      <a:lnTo>
                        <a:pt x="793" y="391"/>
                      </a:lnTo>
                      <a:lnTo>
                        <a:pt x="793" y="391"/>
                      </a:lnTo>
                      <a:lnTo>
                        <a:pt x="793" y="390"/>
                      </a:lnTo>
                      <a:lnTo>
                        <a:pt x="793" y="389"/>
                      </a:lnTo>
                      <a:lnTo>
                        <a:pt x="793" y="389"/>
                      </a:lnTo>
                      <a:lnTo>
                        <a:pt x="793" y="388"/>
                      </a:lnTo>
                      <a:lnTo>
                        <a:pt x="792" y="388"/>
                      </a:lnTo>
                      <a:lnTo>
                        <a:pt x="792" y="387"/>
                      </a:lnTo>
                      <a:lnTo>
                        <a:pt x="792" y="387"/>
                      </a:lnTo>
                      <a:lnTo>
                        <a:pt x="792" y="386"/>
                      </a:lnTo>
                      <a:lnTo>
                        <a:pt x="792" y="386"/>
                      </a:lnTo>
                      <a:lnTo>
                        <a:pt x="792" y="386"/>
                      </a:lnTo>
                      <a:lnTo>
                        <a:pt x="792" y="386"/>
                      </a:lnTo>
                      <a:lnTo>
                        <a:pt x="792" y="385"/>
                      </a:lnTo>
                      <a:lnTo>
                        <a:pt x="792" y="385"/>
                      </a:lnTo>
                      <a:lnTo>
                        <a:pt x="792" y="384"/>
                      </a:lnTo>
                      <a:lnTo>
                        <a:pt x="792" y="384"/>
                      </a:lnTo>
                      <a:lnTo>
                        <a:pt x="791" y="384"/>
                      </a:lnTo>
                      <a:lnTo>
                        <a:pt x="791" y="383"/>
                      </a:lnTo>
                      <a:lnTo>
                        <a:pt x="791" y="383"/>
                      </a:lnTo>
                      <a:lnTo>
                        <a:pt x="791" y="382"/>
                      </a:lnTo>
                      <a:lnTo>
                        <a:pt x="791" y="381"/>
                      </a:lnTo>
                      <a:lnTo>
                        <a:pt x="791" y="381"/>
                      </a:lnTo>
                      <a:lnTo>
                        <a:pt x="791" y="380"/>
                      </a:lnTo>
                      <a:lnTo>
                        <a:pt x="791" y="380"/>
                      </a:lnTo>
                      <a:lnTo>
                        <a:pt x="791" y="379"/>
                      </a:lnTo>
                      <a:lnTo>
                        <a:pt x="791" y="378"/>
                      </a:lnTo>
                      <a:lnTo>
                        <a:pt x="791" y="378"/>
                      </a:lnTo>
                      <a:lnTo>
                        <a:pt x="791" y="377"/>
                      </a:lnTo>
                      <a:lnTo>
                        <a:pt x="791" y="377"/>
                      </a:lnTo>
                      <a:lnTo>
                        <a:pt x="790" y="377"/>
                      </a:lnTo>
                      <a:lnTo>
                        <a:pt x="790" y="376"/>
                      </a:lnTo>
                      <a:lnTo>
                        <a:pt x="790" y="376"/>
                      </a:lnTo>
                      <a:lnTo>
                        <a:pt x="790" y="375"/>
                      </a:lnTo>
                      <a:lnTo>
                        <a:pt x="790" y="374"/>
                      </a:lnTo>
                      <a:lnTo>
                        <a:pt x="790" y="374"/>
                      </a:lnTo>
                      <a:lnTo>
                        <a:pt x="790" y="373"/>
                      </a:lnTo>
                      <a:lnTo>
                        <a:pt x="790" y="373"/>
                      </a:lnTo>
                      <a:lnTo>
                        <a:pt x="790" y="372"/>
                      </a:lnTo>
                      <a:lnTo>
                        <a:pt x="790" y="372"/>
                      </a:lnTo>
                      <a:lnTo>
                        <a:pt x="790" y="371"/>
                      </a:lnTo>
                      <a:lnTo>
                        <a:pt x="790" y="370"/>
                      </a:lnTo>
                      <a:lnTo>
                        <a:pt x="790" y="370"/>
                      </a:lnTo>
                      <a:lnTo>
                        <a:pt x="790" y="369"/>
                      </a:lnTo>
                      <a:lnTo>
                        <a:pt x="790" y="369"/>
                      </a:lnTo>
                      <a:lnTo>
                        <a:pt x="790" y="368"/>
                      </a:lnTo>
                      <a:lnTo>
                        <a:pt x="791" y="368"/>
                      </a:lnTo>
                      <a:lnTo>
                        <a:pt x="791" y="367"/>
                      </a:lnTo>
                      <a:lnTo>
                        <a:pt x="791" y="367"/>
                      </a:lnTo>
                      <a:lnTo>
                        <a:pt x="791" y="366"/>
                      </a:lnTo>
                      <a:lnTo>
                        <a:pt x="791" y="366"/>
                      </a:lnTo>
                      <a:lnTo>
                        <a:pt x="791" y="365"/>
                      </a:lnTo>
                      <a:lnTo>
                        <a:pt x="791" y="365"/>
                      </a:lnTo>
                      <a:lnTo>
                        <a:pt x="791" y="364"/>
                      </a:lnTo>
                      <a:lnTo>
                        <a:pt x="791" y="363"/>
                      </a:lnTo>
                      <a:lnTo>
                        <a:pt x="791" y="363"/>
                      </a:lnTo>
                      <a:lnTo>
                        <a:pt x="791" y="363"/>
                      </a:lnTo>
                      <a:lnTo>
                        <a:pt x="791" y="363"/>
                      </a:lnTo>
                      <a:lnTo>
                        <a:pt x="791" y="362"/>
                      </a:lnTo>
                      <a:lnTo>
                        <a:pt x="791" y="363"/>
                      </a:lnTo>
                      <a:lnTo>
                        <a:pt x="791" y="362"/>
                      </a:lnTo>
                      <a:lnTo>
                        <a:pt x="792" y="362"/>
                      </a:lnTo>
                      <a:lnTo>
                        <a:pt x="792" y="362"/>
                      </a:lnTo>
                      <a:lnTo>
                        <a:pt x="792" y="362"/>
                      </a:lnTo>
                      <a:lnTo>
                        <a:pt x="791" y="362"/>
                      </a:lnTo>
                      <a:lnTo>
                        <a:pt x="791" y="362"/>
                      </a:lnTo>
                      <a:lnTo>
                        <a:pt x="791" y="361"/>
                      </a:lnTo>
                      <a:lnTo>
                        <a:pt x="792" y="361"/>
                      </a:lnTo>
                      <a:lnTo>
                        <a:pt x="792" y="361"/>
                      </a:lnTo>
                      <a:lnTo>
                        <a:pt x="792" y="360"/>
                      </a:lnTo>
                      <a:lnTo>
                        <a:pt x="792" y="359"/>
                      </a:lnTo>
                      <a:lnTo>
                        <a:pt x="792" y="359"/>
                      </a:lnTo>
                      <a:lnTo>
                        <a:pt x="792" y="358"/>
                      </a:lnTo>
                      <a:lnTo>
                        <a:pt x="792" y="358"/>
                      </a:lnTo>
                      <a:lnTo>
                        <a:pt x="793" y="357"/>
                      </a:lnTo>
                      <a:lnTo>
                        <a:pt x="793" y="356"/>
                      </a:lnTo>
                      <a:lnTo>
                        <a:pt x="793" y="356"/>
                      </a:lnTo>
                      <a:lnTo>
                        <a:pt x="793" y="355"/>
                      </a:lnTo>
                      <a:lnTo>
                        <a:pt x="794" y="355"/>
                      </a:lnTo>
                      <a:lnTo>
                        <a:pt x="794" y="355"/>
                      </a:lnTo>
                      <a:lnTo>
                        <a:pt x="794" y="354"/>
                      </a:lnTo>
                      <a:lnTo>
                        <a:pt x="794" y="354"/>
                      </a:lnTo>
                      <a:lnTo>
                        <a:pt x="795" y="353"/>
                      </a:lnTo>
                      <a:lnTo>
                        <a:pt x="795" y="354"/>
                      </a:lnTo>
                      <a:lnTo>
                        <a:pt x="794" y="354"/>
                      </a:lnTo>
                      <a:lnTo>
                        <a:pt x="794" y="354"/>
                      </a:lnTo>
                      <a:lnTo>
                        <a:pt x="794" y="355"/>
                      </a:lnTo>
                      <a:lnTo>
                        <a:pt x="794" y="355"/>
                      </a:lnTo>
                      <a:lnTo>
                        <a:pt x="794" y="355"/>
                      </a:lnTo>
                      <a:lnTo>
                        <a:pt x="794" y="355"/>
                      </a:lnTo>
                      <a:lnTo>
                        <a:pt x="794" y="355"/>
                      </a:lnTo>
                      <a:lnTo>
                        <a:pt x="794" y="356"/>
                      </a:lnTo>
                      <a:lnTo>
                        <a:pt x="794" y="356"/>
                      </a:lnTo>
                      <a:lnTo>
                        <a:pt x="794" y="356"/>
                      </a:lnTo>
                      <a:lnTo>
                        <a:pt x="794" y="356"/>
                      </a:lnTo>
                      <a:lnTo>
                        <a:pt x="794" y="356"/>
                      </a:lnTo>
                      <a:lnTo>
                        <a:pt x="794" y="356"/>
                      </a:lnTo>
                      <a:lnTo>
                        <a:pt x="794" y="356"/>
                      </a:lnTo>
                      <a:lnTo>
                        <a:pt x="794" y="357"/>
                      </a:lnTo>
                      <a:lnTo>
                        <a:pt x="794" y="357"/>
                      </a:lnTo>
                      <a:lnTo>
                        <a:pt x="794" y="357"/>
                      </a:lnTo>
                      <a:lnTo>
                        <a:pt x="795" y="357"/>
                      </a:lnTo>
                      <a:lnTo>
                        <a:pt x="794" y="357"/>
                      </a:lnTo>
                      <a:lnTo>
                        <a:pt x="794" y="356"/>
                      </a:lnTo>
                      <a:lnTo>
                        <a:pt x="794" y="356"/>
                      </a:lnTo>
                      <a:lnTo>
                        <a:pt x="794" y="356"/>
                      </a:lnTo>
                      <a:lnTo>
                        <a:pt x="794" y="356"/>
                      </a:lnTo>
                      <a:lnTo>
                        <a:pt x="794" y="356"/>
                      </a:lnTo>
                      <a:lnTo>
                        <a:pt x="794" y="356"/>
                      </a:lnTo>
                      <a:lnTo>
                        <a:pt x="794" y="356"/>
                      </a:lnTo>
                      <a:lnTo>
                        <a:pt x="794" y="355"/>
                      </a:lnTo>
                      <a:lnTo>
                        <a:pt x="794" y="355"/>
                      </a:lnTo>
                      <a:lnTo>
                        <a:pt x="794" y="355"/>
                      </a:lnTo>
                      <a:lnTo>
                        <a:pt x="794" y="355"/>
                      </a:lnTo>
                      <a:lnTo>
                        <a:pt x="794" y="355"/>
                      </a:lnTo>
                      <a:lnTo>
                        <a:pt x="794" y="354"/>
                      </a:lnTo>
                      <a:lnTo>
                        <a:pt x="794" y="354"/>
                      </a:lnTo>
                      <a:lnTo>
                        <a:pt x="795" y="354"/>
                      </a:lnTo>
                      <a:lnTo>
                        <a:pt x="795" y="354"/>
                      </a:lnTo>
                      <a:lnTo>
                        <a:pt x="795" y="353"/>
                      </a:lnTo>
                      <a:lnTo>
                        <a:pt x="795" y="352"/>
                      </a:lnTo>
                      <a:lnTo>
                        <a:pt x="796" y="352"/>
                      </a:lnTo>
                      <a:lnTo>
                        <a:pt x="796" y="352"/>
                      </a:lnTo>
                      <a:lnTo>
                        <a:pt x="796" y="352"/>
                      </a:lnTo>
                      <a:lnTo>
                        <a:pt x="797" y="352"/>
                      </a:lnTo>
                      <a:lnTo>
                        <a:pt x="797" y="351"/>
                      </a:lnTo>
                      <a:lnTo>
                        <a:pt x="798" y="351"/>
                      </a:lnTo>
                      <a:lnTo>
                        <a:pt x="798" y="351"/>
                      </a:lnTo>
                      <a:lnTo>
                        <a:pt x="798" y="350"/>
                      </a:lnTo>
                      <a:lnTo>
                        <a:pt x="798" y="350"/>
                      </a:lnTo>
                      <a:lnTo>
                        <a:pt x="798" y="350"/>
                      </a:lnTo>
                      <a:lnTo>
                        <a:pt x="798" y="350"/>
                      </a:lnTo>
                      <a:lnTo>
                        <a:pt x="798" y="350"/>
                      </a:lnTo>
                      <a:lnTo>
                        <a:pt x="799" y="350"/>
                      </a:lnTo>
                      <a:lnTo>
                        <a:pt x="799" y="351"/>
                      </a:lnTo>
                      <a:lnTo>
                        <a:pt x="799" y="350"/>
                      </a:lnTo>
                      <a:lnTo>
                        <a:pt x="799" y="351"/>
                      </a:lnTo>
                      <a:lnTo>
                        <a:pt x="799" y="351"/>
                      </a:lnTo>
                      <a:lnTo>
                        <a:pt x="799" y="351"/>
                      </a:lnTo>
                      <a:lnTo>
                        <a:pt x="799" y="350"/>
                      </a:lnTo>
                      <a:lnTo>
                        <a:pt x="799" y="351"/>
                      </a:lnTo>
                      <a:lnTo>
                        <a:pt x="799" y="350"/>
                      </a:lnTo>
                      <a:lnTo>
                        <a:pt x="799" y="350"/>
                      </a:lnTo>
                      <a:lnTo>
                        <a:pt x="799" y="350"/>
                      </a:lnTo>
                      <a:lnTo>
                        <a:pt x="800" y="350"/>
                      </a:lnTo>
                      <a:lnTo>
                        <a:pt x="800" y="351"/>
                      </a:lnTo>
                      <a:lnTo>
                        <a:pt x="800" y="350"/>
                      </a:lnTo>
                      <a:lnTo>
                        <a:pt x="800" y="351"/>
                      </a:lnTo>
                      <a:lnTo>
                        <a:pt x="801" y="351"/>
                      </a:lnTo>
                      <a:lnTo>
                        <a:pt x="800" y="351"/>
                      </a:lnTo>
                      <a:lnTo>
                        <a:pt x="801" y="351"/>
                      </a:lnTo>
                      <a:lnTo>
                        <a:pt x="800" y="351"/>
                      </a:lnTo>
                      <a:lnTo>
                        <a:pt x="801" y="351"/>
                      </a:lnTo>
                      <a:lnTo>
                        <a:pt x="801" y="352"/>
                      </a:lnTo>
                      <a:lnTo>
                        <a:pt x="801" y="352"/>
                      </a:lnTo>
                      <a:lnTo>
                        <a:pt x="801" y="352"/>
                      </a:lnTo>
                      <a:lnTo>
                        <a:pt x="802" y="352"/>
                      </a:lnTo>
                      <a:lnTo>
                        <a:pt x="802" y="353"/>
                      </a:lnTo>
                      <a:lnTo>
                        <a:pt x="802" y="353"/>
                      </a:lnTo>
                      <a:lnTo>
                        <a:pt x="803" y="353"/>
                      </a:lnTo>
                      <a:lnTo>
                        <a:pt x="802" y="354"/>
                      </a:lnTo>
                      <a:lnTo>
                        <a:pt x="803" y="354"/>
                      </a:lnTo>
                      <a:lnTo>
                        <a:pt x="803" y="354"/>
                      </a:lnTo>
                      <a:lnTo>
                        <a:pt x="803" y="354"/>
                      </a:lnTo>
                      <a:lnTo>
                        <a:pt x="803" y="354"/>
                      </a:lnTo>
                      <a:lnTo>
                        <a:pt x="803" y="354"/>
                      </a:lnTo>
                      <a:lnTo>
                        <a:pt x="802" y="354"/>
                      </a:lnTo>
                      <a:lnTo>
                        <a:pt x="803" y="354"/>
                      </a:lnTo>
                      <a:lnTo>
                        <a:pt x="803" y="353"/>
                      </a:lnTo>
                      <a:lnTo>
                        <a:pt x="802" y="353"/>
                      </a:lnTo>
                      <a:lnTo>
                        <a:pt x="802" y="353"/>
                      </a:lnTo>
                      <a:lnTo>
                        <a:pt x="802" y="353"/>
                      </a:lnTo>
                      <a:lnTo>
                        <a:pt x="802" y="353"/>
                      </a:lnTo>
                      <a:lnTo>
                        <a:pt x="802" y="352"/>
                      </a:lnTo>
                      <a:lnTo>
                        <a:pt x="801" y="352"/>
                      </a:lnTo>
                      <a:lnTo>
                        <a:pt x="801" y="352"/>
                      </a:lnTo>
                      <a:lnTo>
                        <a:pt x="801" y="352"/>
                      </a:lnTo>
                      <a:lnTo>
                        <a:pt x="801" y="351"/>
                      </a:lnTo>
                      <a:lnTo>
                        <a:pt x="801" y="351"/>
                      </a:lnTo>
                      <a:lnTo>
                        <a:pt x="800" y="351"/>
                      </a:lnTo>
                      <a:lnTo>
                        <a:pt x="800" y="350"/>
                      </a:lnTo>
                      <a:lnTo>
                        <a:pt x="800" y="350"/>
                      </a:lnTo>
                      <a:lnTo>
                        <a:pt x="799" y="350"/>
                      </a:lnTo>
                      <a:lnTo>
                        <a:pt x="799" y="350"/>
                      </a:lnTo>
                      <a:lnTo>
                        <a:pt x="799" y="350"/>
                      </a:lnTo>
                      <a:lnTo>
                        <a:pt x="800" y="349"/>
                      </a:lnTo>
                      <a:lnTo>
                        <a:pt x="800" y="348"/>
                      </a:lnTo>
                      <a:lnTo>
                        <a:pt x="801" y="348"/>
                      </a:lnTo>
                      <a:lnTo>
                        <a:pt x="801" y="347"/>
                      </a:lnTo>
                      <a:lnTo>
                        <a:pt x="801" y="347"/>
                      </a:lnTo>
                      <a:lnTo>
                        <a:pt x="801" y="347"/>
                      </a:lnTo>
                      <a:lnTo>
                        <a:pt x="801" y="346"/>
                      </a:lnTo>
                      <a:lnTo>
                        <a:pt x="802" y="346"/>
                      </a:lnTo>
                      <a:lnTo>
                        <a:pt x="802" y="345"/>
                      </a:lnTo>
                      <a:lnTo>
                        <a:pt x="802" y="345"/>
                      </a:lnTo>
                      <a:lnTo>
                        <a:pt x="802" y="344"/>
                      </a:lnTo>
                      <a:lnTo>
                        <a:pt x="801" y="343"/>
                      </a:lnTo>
                      <a:lnTo>
                        <a:pt x="801" y="343"/>
                      </a:lnTo>
                      <a:lnTo>
                        <a:pt x="801" y="343"/>
                      </a:lnTo>
                      <a:lnTo>
                        <a:pt x="801" y="343"/>
                      </a:lnTo>
                      <a:lnTo>
                        <a:pt x="801" y="342"/>
                      </a:lnTo>
                      <a:lnTo>
                        <a:pt x="801" y="342"/>
                      </a:lnTo>
                      <a:lnTo>
                        <a:pt x="802" y="342"/>
                      </a:lnTo>
                      <a:lnTo>
                        <a:pt x="801" y="342"/>
                      </a:lnTo>
                      <a:lnTo>
                        <a:pt x="801" y="342"/>
                      </a:lnTo>
                      <a:lnTo>
                        <a:pt x="800" y="342"/>
                      </a:lnTo>
                      <a:lnTo>
                        <a:pt x="800" y="341"/>
                      </a:lnTo>
                      <a:lnTo>
                        <a:pt x="800" y="342"/>
                      </a:lnTo>
                      <a:lnTo>
                        <a:pt x="800" y="341"/>
                      </a:lnTo>
                      <a:lnTo>
                        <a:pt x="801" y="341"/>
                      </a:lnTo>
                      <a:lnTo>
                        <a:pt x="801" y="341"/>
                      </a:lnTo>
                      <a:lnTo>
                        <a:pt x="801" y="341"/>
                      </a:lnTo>
                      <a:lnTo>
                        <a:pt x="801" y="341"/>
                      </a:lnTo>
                      <a:lnTo>
                        <a:pt x="801" y="340"/>
                      </a:lnTo>
                      <a:lnTo>
                        <a:pt x="802" y="340"/>
                      </a:lnTo>
                      <a:lnTo>
                        <a:pt x="802" y="341"/>
                      </a:lnTo>
                      <a:lnTo>
                        <a:pt x="802" y="341"/>
                      </a:lnTo>
                      <a:lnTo>
                        <a:pt x="803" y="341"/>
                      </a:lnTo>
                      <a:lnTo>
                        <a:pt x="803" y="341"/>
                      </a:lnTo>
                      <a:lnTo>
                        <a:pt x="803" y="342"/>
                      </a:lnTo>
                      <a:lnTo>
                        <a:pt x="803" y="341"/>
                      </a:lnTo>
                      <a:lnTo>
                        <a:pt x="803" y="341"/>
                      </a:lnTo>
                      <a:lnTo>
                        <a:pt x="802" y="341"/>
                      </a:lnTo>
                      <a:lnTo>
                        <a:pt x="803" y="341"/>
                      </a:lnTo>
                      <a:lnTo>
                        <a:pt x="803" y="341"/>
                      </a:lnTo>
                      <a:lnTo>
                        <a:pt x="803" y="341"/>
                      </a:lnTo>
                      <a:lnTo>
                        <a:pt x="804" y="341"/>
                      </a:lnTo>
                      <a:lnTo>
                        <a:pt x="805" y="341"/>
                      </a:lnTo>
                      <a:lnTo>
                        <a:pt x="805" y="341"/>
                      </a:lnTo>
                      <a:lnTo>
                        <a:pt x="805" y="341"/>
                      </a:lnTo>
                      <a:lnTo>
                        <a:pt x="806" y="341"/>
                      </a:lnTo>
                      <a:lnTo>
                        <a:pt x="806" y="340"/>
                      </a:lnTo>
                      <a:lnTo>
                        <a:pt x="806" y="340"/>
                      </a:lnTo>
                      <a:lnTo>
                        <a:pt x="806" y="339"/>
                      </a:lnTo>
                      <a:lnTo>
                        <a:pt x="807" y="339"/>
                      </a:lnTo>
                      <a:lnTo>
                        <a:pt x="807" y="338"/>
                      </a:lnTo>
                      <a:lnTo>
                        <a:pt x="807" y="338"/>
                      </a:lnTo>
                      <a:lnTo>
                        <a:pt x="807" y="339"/>
                      </a:lnTo>
                      <a:lnTo>
                        <a:pt x="808" y="339"/>
                      </a:lnTo>
                      <a:lnTo>
                        <a:pt x="809" y="339"/>
                      </a:lnTo>
                      <a:lnTo>
                        <a:pt x="809" y="339"/>
                      </a:lnTo>
                      <a:lnTo>
                        <a:pt x="810" y="339"/>
                      </a:lnTo>
                      <a:lnTo>
                        <a:pt x="810" y="339"/>
                      </a:lnTo>
                      <a:lnTo>
                        <a:pt x="810" y="338"/>
                      </a:lnTo>
                      <a:lnTo>
                        <a:pt x="811" y="338"/>
                      </a:lnTo>
                      <a:lnTo>
                        <a:pt x="811" y="338"/>
                      </a:lnTo>
                      <a:lnTo>
                        <a:pt x="812" y="338"/>
                      </a:lnTo>
                      <a:lnTo>
                        <a:pt x="812" y="339"/>
                      </a:lnTo>
                      <a:lnTo>
                        <a:pt x="813" y="339"/>
                      </a:lnTo>
                      <a:lnTo>
                        <a:pt x="813" y="339"/>
                      </a:lnTo>
                      <a:lnTo>
                        <a:pt x="812" y="339"/>
                      </a:lnTo>
                      <a:lnTo>
                        <a:pt x="813" y="339"/>
                      </a:lnTo>
                      <a:lnTo>
                        <a:pt x="812" y="339"/>
                      </a:lnTo>
                      <a:lnTo>
                        <a:pt x="813" y="339"/>
                      </a:lnTo>
                      <a:lnTo>
                        <a:pt x="813" y="339"/>
                      </a:lnTo>
                      <a:lnTo>
                        <a:pt x="813" y="339"/>
                      </a:lnTo>
                      <a:lnTo>
                        <a:pt x="813" y="339"/>
                      </a:lnTo>
                      <a:lnTo>
                        <a:pt x="813" y="340"/>
                      </a:lnTo>
                      <a:lnTo>
                        <a:pt x="813" y="340"/>
                      </a:lnTo>
                      <a:lnTo>
                        <a:pt x="814" y="340"/>
                      </a:lnTo>
                      <a:lnTo>
                        <a:pt x="813" y="340"/>
                      </a:lnTo>
                      <a:lnTo>
                        <a:pt x="813" y="339"/>
                      </a:lnTo>
                      <a:lnTo>
                        <a:pt x="813" y="339"/>
                      </a:lnTo>
                      <a:lnTo>
                        <a:pt x="813" y="339"/>
                      </a:lnTo>
                      <a:lnTo>
                        <a:pt x="812" y="339"/>
                      </a:lnTo>
                      <a:lnTo>
                        <a:pt x="812" y="338"/>
                      </a:lnTo>
                      <a:lnTo>
                        <a:pt x="811" y="338"/>
                      </a:lnTo>
                      <a:lnTo>
                        <a:pt x="812" y="337"/>
                      </a:lnTo>
                      <a:lnTo>
                        <a:pt x="813" y="337"/>
                      </a:lnTo>
                      <a:lnTo>
                        <a:pt x="813" y="336"/>
                      </a:lnTo>
                      <a:lnTo>
                        <a:pt x="814" y="336"/>
                      </a:lnTo>
                      <a:lnTo>
                        <a:pt x="814" y="336"/>
                      </a:lnTo>
                      <a:lnTo>
                        <a:pt x="814" y="335"/>
                      </a:lnTo>
                      <a:lnTo>
                        <a:pt x="815" y="335"/>
                      </a:lnTo>
                      <a:lnTo>
                        <a:pt x="816" y="334"/>
                      </a:lnTo>
                      <a:lnTo>
                        <a:pt x="816" y="334"/>
                      </a:lnTo>
                      <a:lnTo>
                        <a:pt x="817" y="334"/>
                      </a:lnTo>
                      <a:lnTo>
                        <a:pt x="817" y="333"/>
                      </a:lnTo>
                      <a:lnTo>
                        <a:pt x="818" y="333"/>
                      </a:lnTo>
                      <a:lnTo>
                        <a:pt x="818" y="333"/>
                      </a:lnTo>
                      <a:lnTo>
                        <a:pt x="818" y="333"/>
                      </a:lnTo>
                      <a:lnTo>
                        <a:pt x="818" y="332"/>
                      </a:lnTo>
                      <a:lnTo>
                        <a:pt x="819" y="332"/>
                      </a:lnTo>
                      <a:lnTo>
                        <a:pt x="819" y="332"/>
                      </a:lnTo>
                      <a:lnTo>
                        <a:pt x="819" y="332"/>
                      </a:lnTo>
                      <a:lnTo>
                        <a:pt x="820" y="332"/>
                      </a:lnTo>
                      <a:lnTo>
                        <a:pt x="820" y="333"/>
                      </a:lnTo>
                      <a:lnTo>
                        <a:pt x="820" y="332"/>
                      </a:lnTo>
                      <a:lnTo>
                        <a:pt x="820" y="333"/>
                      </a:lnTo>
                      <a:lnTo>
                        <a:pt x="820" y="332"/>
                      </a:lnTo>
                      <a:lnTo>
                        <a:pt x="820" y="333"/>
                      </a:lnTo>
                      <a:lnTo>
                        <a:pt x="820" y="332"/>
                      </a:lnTo>
                      <a:lnTo>
                        <a:pt x="819" y="332"/>
                      </a:lnTo>
                      <a:lnTo>
                        <a:pt x="819" y="332"/>
                      </a:lnTo>
                      <a:lnTo>
                        <a:pt x="820" y="331"/>
                      </a:lnTo>
                      <a:lnTo>
                        <a:pt x="820" y="330"/>
                      </a:lnTo>
                      <a:lnTo>
                        <a:pt x="821" y="330"/>
                      </a:lnTo>
                      <a:lnTo>
                        <a:pt x="821" y="330"/>
                      </a:lnTo>
                      <a:lnTo>
                        <a:pt x="821" y="329"/>
                      </a:lnTo>
                      <a:lnTo>
                        <a:pt x="822" y="329"/>
                      </a:lnTo>
                      <a:lnTo>
                        <a:pt x="822" y="329"/>
                      </a:lnTo>
                      <a:lnTo>
                        <a:pt x="822" y="329"/>
                      </a:lnTo>
                      <a:lnTo>
                        <a:pt x="822" y="328"/>
                      </a:lnTo>
                      <a:lnTo>
                        <a:pt x="822" y="328"/>
                      </a:lnTo>
                      <a:lnTo>
                        <a:pt x="823" y="328"/>
                      </a:lnTo>
                      <a:lnTo>
                        <a:pt x="824" y="328"/>
                      </a:lnTo>
                      <a:lnTo>
                        <a:pt x="824" y="327"/>
                      </a:lnTo>
                      <a:lnTo>
                        <a:pt x="824" y="326"/>
                      </a:lnTo>
                      <a:lnTo>
                        <a:pt x="824" y="326"/>
                      </a:lnTo>
                      <a:lnTo>
                        <a:pt x="824" y="325"/>
                      </a:lnTo>
                      <a:lnTo>
                        <a:pt x="824" y="325"/>
                      </a:lnTo>
                      <a:lnTo>
                        <a:pt x="824" y="324"/>
                      </a:lnTo>
                      <a:lnTo>
                        <a:pt x="825" y="324"/>
                      </a:lnTo>
                      <a:lnTo>
                        <a:pt x="825" y="324"/>
                      </a:lnTo>
                      <a:lnTo>
                        <a:pt x="825" y="324"/>
                      </a:lnTo>
                      <a:lnTo>
                        <a:pt x="825" y="323"/>
                      </a:lnTo>
                      <a:lnTo>
                        <a:pt x="826" y="323"/>
                      </a:lnTo>
                      <a:lnTo>
                        <a:pt x="826" y="322"/>
                      </a:lnTo>
                      <a:lnTo>
                        <a:pt x="827" y="322"/>
                      </a:lnTo>
                      <a:lnTo>
                        <a:pt x="827" y="322"/>
                      </a:lnTo>
                      <a:lnTo>
                        <a:pt x="827" y="322"/>
                      </a:lnTo>
                      <a:lnTo>
                        <a:pt x="827" y="322"/>
                      </a:lnTo>
                      <a:lnTo>
                        <a:pt x="827" y="322"/>
                      </a:lnTo>
                      <a:lnTo>
                        <a:pt x="827" y="321"/>
                      </a:lnTo>
                      <a:lnTo>
                        <a:pt x="828" y="321"/>
                      </a:lnTo>
                      <a:lnTo>
                        <a:pt x="828" y="321"/>
                      </a:lnTo>
                      <a:lnTo>
                        <a:pt x="828" y="321"/>
                      </a:lnTo>
                      <a:lnTo>
                        <a:pt x="829" y="321"/>
                      </a:lnTo>
                      <a:lnTo>
                        <a:pt x="829" y="320"/>
                      </a:lnTo>
                      <a:lnTo>
                        <a:pt x="829" y="320"/>
                      </a:lnTo>
                      <a:lnTo>
                        <a:pt x="829" y="319"/>
                      </a:lnTo>
                      <a:lnTo>
                        <a:pt x="830" y="319"/>
                      </a:lnTo>
                      <a:lnTo>
                        <a:pt x="829" y="319"/>
                      </a:lnTo>
                      <a:lnTo>
                        <a:pt x="829" y="319"/>
                      </a:lnTo>
                      <a:lnTo>
                        <a:pt x="829" y="318"/>
                      </a:lnTo>
                      <a:lnTo>
                        <a:pt x="830" y="318"/>
                      </a:lnTo>
                      <a:lnTo>
                        <a:pt x="829" y="318"/>
                      </a:lnTo>
                      <a:lnTo>
                        <a:pt x="830" y="318"/>
                      </a:lnTo>
                      <a:lnTo>
                        <a:pt x="831" y="318"/>
                      </a:lnTo>
                      <a:lnTo>
                        <a:pt x="831" y="318"/>
                      </a:lnTo>
                      <a:lnTo>
                        <a:pt x="831" y="318"/>
                      </a:lnTo>
                      <a:lnTo>
                        <a:pt x="832" y="318"/>
                      </a:lnTo>
                      <a:lnTo>
                        <a:pt x="832" y="318"/>
                      </a:lnTo>
                      <a:lnTo>
                        <a:pt x="833" y="318"/>
                      </a:lnTo>
                      <a:lnTo>
                        <a:pt x="833" y="317"/>
                      </a:lnTo>
                      <a:lnTo>
                        <a:pt x="833" y="317"/>
                      </a:lnTo>
                      <a:lnTo>
                        <a:pt x="833" y="317"/>
                      </a:lnTo>
                      <a:lnTo>
                        <a:pt x="833" y="316"/>
                      </a:lnTo>
                      <a:lnTo>
                        <a:pt x="834" y="316"/>
                      </a:lnTo>
                      <a:lnTo>
                        <a:pt x="835" y="316"/>
                      </a:lnTo>
                      <a:lnTo>
                        <a:pt x="835" y="315"/>
                      </a:lnTo>
                      <a:lnTo>
                        <a:pt x="835" y="315"/>
                      </a:lnTo>
                      <a:lnTo>
                        <a:pt x="835" y="315"/>
                      </a:lnTo>
                      <a:lnTo>
                        <a:pt x="836" y="315"/>
                      </a:lnTo>
                      <a:lnTo>
                        <a:pt x="836" y="314"/>
                      </a:lnTo>
                      <a:lnTo>
                        <a:pt x="836" y="314"/>
                      </a:lnTo>
                      <a:lnTo>
                        <a:pt x="836" y="314"/>
                      </a:lnTo>
                      <a:lnTo>
                        <a:pt x="836" y="313"/>
                      </a:lnTo>
                      <a:lnTo>
                        <a:pt x="837" y="313"/>
                      </a:lnTo>
                      <a:lnTo>
                        <a:pt x="837" y="313"/>
                      </a:lnTo>
                      <a:lnTo>
                        <a:pt x="837" y="312"/>
                      </a:lnTo>
                      <a:lnTo>
                        <a:pt x="838" y="312"/>
                      </a:lnTo>
                      <a:lnTo>
                        <a:pt x="838" y="313"/>
                      </a:lnTo>
                      <a:lnTo>
                        <a:pt x="838" y="312"/>
                      </a:lnTo>
                      <a:lnTo>
                        <a:pt x="839" y="312"/>
                      </a:lnTo>
                      <a:lnTo>
                        <a:pt x="839" y="311"/>
                      </a:lnTo>
                      <a:lnTo>
                        <a:pt x="839" y="311"/>
                      </a:lnTo>
                      <a:lnTo>
                        <a:pt x="840" y="311"/>
                      </a:lnTo>
                      <a:lnTo>
                        <a:pt x="839" y="311"/>
                      </a:lnTo>
                      <a:lnTo>
                        <a:pt x="840" y="311"/>
                      </a:lnTo>
                      <a:lnTo>
                        <a:pt x="840" y="311"/>
                      </a:lnTo>
                      <a:lnTo>
                        <a:pt x="840" y="311"/>
                      </a:lnTo>
                      <a:lnTo>
                        <a:pt x="840" y="310"/>
                      </a:lnTo>
                      <a:lnTo>
                        <a:pt x="841" y="310"/>
                      </a:lnTo>
                      <a:lnTo>
                        <a:pt x="840" y="310"/>
                      </a:lnTo>
                      <a:lnTo>
                        <a:pt x="841" y="310"/>
                      </a:lnTo>
                      <a:lnTo>
                        <a:pt x="841" y="310"/>
                      </a:lnTo>
                      <a:lnTo>
                        <a:pt x="842" y="310"/>
                      </a:lnTo>
                      <a:lnTo>
                        <a:pt x="842" y="309"/>
                      </a:lnTo>
                      <a:lnTo>
                        <a:pt x="841" y="309"/>
                      </a:lnTo>
                      <a:lnTo>
                        <a:pt x="841" y="308"/>
                      </a:lnTo>
                      <a:lnTo>
                        <a:pt x="842" y="308"/>
                      </a:lnTo>
                      <a:lnTo>
                        <a:pt x="841" y="308"/>
                      </a:lnTo>
                      <a:lnTo>
                        <a:pt x="841" y="309"/>
                      </a:lnTo>
                      <a:lnTo>
                        <a:pt x="841" y="308"/>
                      </a:lnTo>
                      <a:lnTo>
                        <a:pt x="841" y="308"/>
                      </a:lnTo>
                      <a:lnTo>
                        <a:pt x="841" y="307"/>
                      </a:lnTo>
                      <a:lnTo>
                        <a:pt x="842" y="307"/>
                      </a:lnTo>
                      <a:lnTo>
                        <a:pt x="841" y="307"/>
                      </a:lnTo>
                      <a:lnTo>
                        <a:pt x="842" y="307"/>
                      </a:lnTo>
                      <a:lnTo>
                        <a:pt x="842" y="307"/>
                      </a:lnTo>
                      <a:lnTo>
                        <a:pt x="842" y="307"/>
                      </a:lnTo>
                      <a:lnTo>
                        <a:pt x="843" y="307"/>
                      </a:lnTo>
                      <a:lnTo>
                        <a:pt x="843" y="306"/>
                      </a:lnTo>
                      <a:lnTo>
                        <a:pt x="843" y="306"/>
                      </a:lnTo>
                      <a:lnTo>
                        <a:pt x="843" y="306"/>
                      </a:lnTo>
                      <a:lnTo>
                        <a:pt x="844" y="306"/>
                      </a:lnTo>
                      <a:lnTo>
                        <a:pt x="844" y="306"/>
                      </a:lnTo>
                      <a:lnTo>
                        <a:pt x="845" y="306"/>
                      </a:lnTo>
                      <a:lnTo>
                        <a:pt x="845" y="305"/>
                      </a:lnTo>
                      <a:lnTo>
                        <a:pt x="846" y="305"/>
                      </a:lnTo>
                      <a:lnTo>
                        <a:pt x="846" y="305"/>
                      </a:lnTo>
                      <a:lnTo>
                        <a:pt x="846" y="304"/>
                      </a:lnTo>
                      <a:lnTo>
                        <a:pt x="846" y="305"/>
                      </a:lnTo>
                      <a:lnTo>
                        <a:pt x="847" y="305"/>
                      </a:lnTo>
                      <a:lnTo>
                        <a:pt x="847" y="305"/>
                      </a:lnTo>
                      <a:lnTo>
                        <a:pt x="847" y="304"/>
                      </a:lnTo>
                      <a:lnTo>
                        <a:pt x="848" y="304"/>
                      </a:lnTo>
                      <a:lnTo>
                        <a:pt x="848" y="304"/>
                      </a:lnTo>
                      <a:lnTo>
                        <a:pt x="848" y="304"/>
                      </a:lnTo>
                      <a:lnTo>
                        <a:pt x="848" y="303"/>
                      </a:lnTo>
                      <a:lnTo>
                        <a:pt x="849" y="303"/>
                      </a:lnTo>
                      <a:lnTo>
                        <a:pt x="849" y="303"/>
                      </a:lnTo>
                      <a:lnTo>
                        <a:pt x="850" y="303"/>
                      </a:lnTo>
                      <a:lnTo>
                        <a:pt x="850" y="303"/>
                      </a:lnTo>
                      <a:lnTo>
                        <a:pt x="851" y="303"/>
                      </a:lnTo>
                      <a:lnTo>
                        <a:pt x="851" y="302"/>
                      </a:lnTo>
                      <a:lnTo>
                        <a:pt x="852" y="302"/>
                      </a:lnTo>
                      <a:lnTo>
                        <a:pt x="853" y="302"/>
                      </a:lnTo>
                      <a:lnTo>
                        <a:pt x="853" y="303"/>
                      </a:lnTo>
                      <a:lnTo>
                        <a:pt x="852" y="303"/>
                      </a:lnTo>
                      <a:lnTo>
                        <a:pt x="852" y="303"/>
                      </a:lnTo>
                      <a:lnTo>
                        <a:pt x="853" y="303"/>
                      </a:lnTo>
                      <a:lnTo>
                        <a:pt x="852" y="303"/>
                      </a:lnTo>
                      <a:lnTo>
                        <a:pt x="853" y="303"/>
                      </a:lnTo>
                      <a:lnTo>
                        <a:pt x="853" y="304"/>
                      </a:lnTo>
                      <a:lnTo>
                        <a:pt x="853" y="303"/>
                      </a:lnTo>
                      <a:lnTo>
                        <a:pt x="852" y="303"/>
                      </a:lnTo>
                      <a:lnTo>
                        <a:pt x="853" y="303"/>
                      </a:lnTo>
                      <a:lnTo>
                        <a:pt x="853" y="303"/>
                      </a:lnTo>
                      <a:lnTo>
                        <a:pt x="853" y="302"/>
                      </a:lnTo>
                      <a:lnTo>
                        <a:pt x="854" y="302"/>
                      </a:lnTo>
                      <a:lnTo>
                        <a:pt x="854" y="302"/>
                      </a:lnTo>
                      <a:lnTo>
                        <a:pt x="855" y="302"/>
                      </a:lnTo>
                      <a:lnTo>
                        <a:pt x="855" y="302"/>
                      </a:lnTo>
                      <a:lnTo>
                        <a:pt x="856" y="302"/>
                      </a:lnTo>
                      <a:lnTo>
                        <a:pt x="855" y="302"/>
                      </a:lnTo>
                      <a:lnTo>
                        <a:pt x="856" y="302"/>
                      </a:lnTo>
                      <a:lnTo>
                        <a:pt x="856" y="302"/>
                      </a:lnTo>
                      <a:lnTo>
                        <a:pt x="856" y="302"/>
                      </a:lnTo>
                      <a:lnTo>
                        <a:pt x="855" y="302"/>
                      </a:lnTo>
                      <a:lnTo>
                        <a:pt x="855" y="301"/>
                      </a:lnTo>
                      <a:lnTo>
                        <a:pt x="855" y="300"/>
                      </a:lnTo>
                      <a:lnTo>
                        <a:pt x="855" y="300"/>
                      </a:lnTo>
                      <a:lnTo>
                        <a:pt x="855" y="300"/>
                      </a:lnTo>
                      <a:lnTo>
                        <a:pt x="854" y="300"/>
                      </a:lnTo>
                      <a:lnTo>
                        <a:pt x="854" y="300"/>
                      </a:lnTo>
                      <a:lnTo>
                        <a:pt x="854" y="299"/>
                      </a:lnTo>
                      <a:lnTo>
                        <a:pt x="854" y="299"/>
                      </a:lnTo>
                      <a:lnTo>
                        <a:pt x="855" y="299"/>
                      </a:lnTo>
                      <a:lnTo>
                        <a:pt x="855" y="299"/>
                      </a:lnTo>
                      <a:lnTo>
                        <a:pt x="855" y="298"/>
                      </a:lnTo>
                      <a:lnTo>
                        <a:pt x="855" y="298"/>
                      </a:lnTo>
                      <a:lnTo>
                        <a:pt x="855" y="297"/>
                      </a:lnTo>
                      <a:lnTo>
                        <a:pt x="856" y="297"/>
                      </a:lnTo>
                      <a:lnTo>
                        <a:pt x="857" y="297"/>
                      </a:lnTo>
                      <a:lnTo>
                        <a:pt x="857" y="297"/>
                      </a:lnTo>
                      <a:lnTo>
                        <a:pt x="857" y="296"/>
                      </a:lnTo>
                      <a:lnTo>
                        <a:pt x="857" y="296"/>
                      </a:lnTo>
                      <a:lnTo>
                        <a:pt x="857" y="296"/>
                      </a:lnTo>
                      <a:lnTo>
                        <a:pt x="858" y="296"/>
                      </a:lnTo>
                      <a:lnTo>
                        <a:pt x="857" y="296"/>
                      </a:lnTo>
                      <a:lnTo>
                        <a:pt x="858" y="296"/>
                      </a:lnTo>
                      <a:lnTo>
                        <a:pt x="858" y="295"/>
                      </a:lnTo>
                      <a:lnTo>
                        <a:pt x="858" y="295"/>
                      </a:lnTo>
                      <a:lnTo>
                        <a:pt x="858" y="295"/>
                      </a:lnTo>
                      <a:lnTo>
                        <a:pt x="858" y="295"/>
                      </a:lnTo>
                      <a:lnTo>
                        <a:pt x="858" y="294"/>
                      </a:lnTo>
                      <a:lnTo>
                        <a:pt x="857" y="294"/>
                      </a:lnTo>
                      <a:lnTo>
                        <a:pt x="857" y="294"/>
                      </a:lnTo>
                      <a:lnTo>
                        <a:pt x="856" y="294"/>
                      </a:lnTo>
                      <a:lnTo>
                        <a:pt x="856" y="293"/>
                      </a:lnTo>
                      <a:lnTo>
                        <a:pt x="856" y="293"/>
                      </a:lnTo>
                      <a:lnTo>
                        <a:pt x="857" y="293"/>
                      </a:lnTo>
                      <a:lnTo>
                        <a:pt x="857" y="292"/>
                      </a:lnTo>
                      <a:lnTo>
                        <a:pt x="857" y="292"/>
                      </a:lnTo>
                      <a:lnTo>
                        <a:pt x="857" y="291"/>
                      </a:lnTo>
                      <a:lnTo>
                        <a:pt x="857" y="291"/>
                      </a:lnTo>
                      <a:lnTo>
                        <a:pt x="858" y="291"/>
                      </a:lnTo>
                      <a:lnTo>
                        <a:pt x="858" y="291"/>
                      </a:lnTo>
                      <a:lnTo>
                        <a:pt x="858" y="290"/>
                      </a:lnTo>
                      <a:lnTo>
                        <a:pt x="858" y="289"/>
                      </a:lnTo>
                      <a:lnTo>
                        <a:pt x="858" y="289"/>
                      </a:lnTo>
                      <a:lnTo>
                        <a:pt x="858" y="288"/>
                      </a:lnTo>
                      <a:lnTo>
                        <a:pt x="858" y="288"/>
                      </a:lnTo>
                      <a:lnTo>
                        <a:pt x="858" y="287"/>
                      </a:lnTo>
                      <a:lnTo>
                        <a:pt x="858" y="286"/>
                      </a:lnTo>
                      <a:lnTo>
                        <a:pt x="859" y="286"/>
                      </a:lnTo>
                      <a:lnTo>
                        <a:pt x="859" y="286"/>
                      </a:lnTo>
                      <a:lnTo>
                        <a:pt x="858" y="286"/>
                      </a:lnTo>
                      <a:lnTo>
                        <a:pt x="858" y="285"/>
                      </a:lnTo>
                      <a:lnTo>
                        <a:pt x="859" y="285"/>
                      </a:lnTo>
                      <a:lnTo>
                        <a:pt x="859" y="285"/>
                      </a:lnTo>
                      <a:lnTo>
                        <a:pt x="859" y="284"/>
                      </a:lnTo>
                      <a:lnTo>
                        <a:pt x="859" y="284"/>
                      </a:lnTo>
                      <a:lnTo>
                        <a:pt x="859" y="283"/>
                      </a:lnTo>
                      <a:lnTo>
                        <a:pt x="859" y="283"/>
                      </a:lnTo>
                      <a:lnTo>
                        <a:pt x="859" y="282"/>
                      </a:lnTo>
                      <a:lnTo>
                        <a:pt x="860" y="282"/>
                      </a:lnTo>
                      <a:lnTo>
                        <a:pt x="860" y="282"/>
                      </a:lnTo>
                      <a:lnTo>
                        <a:pt x="861" y="282"/>
                      </a:lnTo>
                      <a:lnTo>
                        <a:pt x="861" y="282"/>
                      </a:lnTo>
                      <a:lnTo>
                        <a:pt x="861" y="281"/>
                      </a:lnTo>
                      <a:lnTo>
                        <a:pt x="862" y="281"/>
                      </a:lnTo>
                      <a:lnTo>
                        <a:pt x="862" y="281"/>
                      </a:lnTo>
                      <a:lnTo>
                        <a:pt x="862" y="281"/>
                      </a:lnTo>
                      <a:lnTo>
                        <a:pt x="863" y="281"/>
                      </a:lnTo>
                      <a:lnTo>
                        <a:pt x="863" y="281"/>
                      </a:lnTo>
                      <a:lnTo>
                        <a:pt x="864" y="281"/>
                      </a:lnTo>
                      <a:lnTo>
                        <a:pt x="865" y="281"/>
                      </a:lnTo>
                      <a:lnTo>
                        <a:pt x="865" y="281"/>
                      </a:lnTo>
                      <a:lnTo>
                        <a:pt x="866" y="281"/>
                      </a:lnTo>
                      <a:lnTo>
                        <a:pt x="866" y="281"/>
                      </a:lnTo>
                      <a:lnTo>
                        <a:pt x="866" y="281"/>
                      </a:lnTo>
                      <a:lnTo>
                        <a:pt x="867" y="281"/>
                      </a:lnTo>
                      <a:lnTo>
                        <a:pt x="868" y="281"/>
                      </a:lnTo>
                      <a:lnTo>
                        <a:pt x="868" y="281"/>
                      </a:lnTo>
                      <a:lnTo>
                        <a:pt x="868" y="282"/>
                      </a:lnTo>
                      <a:lnTo>
                        <a:pt x="868" y="282"/>
                      </a:lnTo>
                      <a:lnTo>
                        <a:pt x="868" y="282"/>
                      </a:lnTo>
                      <a:lnTo>
                        <a:pt x="869" y="282"/>
                      </a:lnTo>
                      <a:lnTo>
                        <a:pt x="869" y="282"/>
                      </a:lnTo>
                      <a:lnTo>
                        <a:pt x="868" y="282"/>
                      </a:lnTo>
                      <a:lnTo>
                        <a:pt x="869" y="282"/>
                      </a:lnTo>
                      <a:lnTo>
                        <a:pt x="869" y="283"/>
                      </a:lnTo>
                      <a:lnTo>
                        <a:pt x="869" y="284"/>
                      </a:lnTo>
                      <a:lnTo>
                        <a:pt x="868" y="284"/>
                      </a:lnTo>
                      <a:lnTo>
                        <a:pt x="868" y="284"/>
                      </a:lnTo>
                      <a:lnTo>
                        <a:pt x="868" y="284"/>
                      </a:lnTo>
                      <a:lnTo>
                        <a:pt x="868" y="284"/>
                      </a:lnTo>
                      <a:lnTo>
                        <a:pt x="868" y="284"/>
                      </a:lnTo>
                      <a:lnTo>
                        <a:pt x="868" y="284"/>
                      </a:lnTo>
                      <a:lnTo>
                        <a:pt x="868" y="284"/>
                      </a:lnTo>
                      <a:lnTo>
                        <a:pt x="868" y="284"/>
                      </a:lnTo>
                      <a:lnTo>
                        <a:pt x="867" y="284"/>
                      </a:lnTo>
                      <a:lnTo>
                        <a:pt x="867" y="284"/>
                      </a:lnTo>
                      <a:lnTo>
                        <a:pt x="867" y="284"/>
                      </a:lnTo>
                      <a:lnTo>
                        <a:pt x="866" y="284"/>
                      </a:lnTo>
                      <a:lnTo>
                        <a:pt x="866" y="285"/>
                      </a:lnTo>
                      <a:lnTo>
                        <a:pt x="867" y="285"/>
                      </a:lnTo>
                      <a:lnTo>
                        <a:pt x="867" y="285"/>
                      </a:lnTo>
                      <a:lnTo>
                        <a:pt x="867" y="286"/>
                      </a:lnTo>
                      <a:lnTo>
                        <a:pt x="868" y="286"/>
                      </a:lnTo>
                      <a:lnTo>
                        <a:pt x="868" y="285"/>
                      </a:lnTo>
                      <a:lnTo>
                        <a:pt x="868" y="285"/>
                      </a:lnTo>
                      <a:lnTo>
                        <a:pt x="869" y="286"/>
                      </a:lnTo>
                      <a:lnTo>
                        <a:pt x="868" y="286"/>
                      </a:lnTo>
                      <a:lnTo>
                        <a:pt x="869" y="286"/>
                      </a:lnTo>
                      <a:lnTo>
                        <a:pt x="869" y="286"/>
                      </a:lnTo>
                      <a:lnTo>
                        <a:pt x="869" y="286"/>
                      </a:lnTo>
                      <a:lnTo>
                        <a:pt x="869" y="287"/>
                      </a:lnTo>
                      <a:lnTo>
                        <a:pt x="869" y="287"/>
                      </a:lnTo>
                      <a:lnTo>
                        <a:pt x="870" y="287"/>
                      </a:lnTo>
                      <a:lnTo>
                        <a:pt x="870" y="288"/>
                      </a:lnTo>
                      <a:lnTo>
                        <a:pt x="870" y="288"/>
                      </a:lnTo>
                      <a:lnTo>
                        <a:pt x="870" y="288"/>
                      </a:lnTo>
                      <a:lnTo>
                        <a:pt x="870" y="287"/>
                      </a:lnTo>
                      <a:lnTo>
                        <a:pt x="869" y="287"/>
                      </a:lnTo>
                      <a:lnTo>
                        <a:pt x="869" y="287"/>
                      </a:lnTo>
                      <a:lnTo>
                        <a:pt x="869" y="287"/>
                      </a:lnTo>
                      <a:lnTo>
                        <a:pt x="869" y="286"/>
                      </a:lnTo>
                      <a:lnTo>
                        <a:pt x="869" y="286"/>
                      </a:lnTo>
                      <a:lnTo>
                        <a:pt x="869" y="286"/>
                      </a:lnTo>
                      <a:lnTo>
                        <a:pt x="868" y="286"/>
                      </a:lnTo>
                      <a:lnTo>
                        <a:pt x="869" y="286"/>
                      </a:lnTo>
                      <a:lnTo>
                        <a:pt x="869" y="285"/>
                      </a:lnTo>
                      <a:lnTo>
                        <a:pt x="868" y="285"/>
                      </a:lnTo>
                      <a:lnTo>
                        <a:pt x="868" y="285"/>
                      </a:lnTo>
                      <a:lnTo>
                        <a:pt x="868" y="286"/>
                      </a:lnTo>
                      <a:lnTo>
                        <a:pt x="867" y="286"/>
                      </a:lnTo>
                      <a:lnTo>
                        <a:pt x="867" y="285"/>
                      </a:lnTo>
                      <a:lnTo>
                        <a:pt x="867" y="285"/>
                      </a:lnTo>
                      <a:lnTo>
                        <a:pt x="866" y="285"/>
                      </a:lnTo>
                      <a:lnTo>
                        <a:pt x="866" y="284"/>
                      </a:lnTo>
                      <a:lnTo>
                        <a:pt x="867" y="284"/>
                      </a:lnTo>
                      <a:lnTo>
                        <a:pt x="867" y="284"/>
                      </a:lnTo>
                      <a:lnTo>
                        <a:pt x="867" y="284"/>
                      </a:lnTo>
                      <a:lnTo>
                        <a:pt x="868" y="284"/>
                      </a:lnTo>
                      <a:lnTo>
                        <a:pt x="868" y="284"/>
                      </a:lnTo>
                      <a:lnTo>
                        <a:pt x="868" y="284"/>
                      </a:lnTo>
                      <a:lnTo>
                        <a:pt x="868" y="284"/>
                      </a:lnTo>
                      <a:lnTo>
                        <a:pt x="869" y="284"/>
                      </a:lnTo>
                      <a:lnTo>
                        <a:pt x="869" y="283"/>
                      </a:lnTo>
                      <a:lnTo>
                        <a:pt x="869" y="282"/>
                      </a:lnTo>
                      <a:lnTo>
                        <a:pt x="868" y="282"/>
                      </a:lnTo>
                      <a:lnTo>
                        <a:pt x="869" y="282"/>
                      </a:lnTo>
                      <a:lnTo>
                        <a:pt x="869" y="282"/>
                      </a:lnTo>
                      <a:lnTo>
                        <a:pt x="868" y="282"/>
                      </a:lnTo>
                      <a:lnTo>
                        <a:pt x="868" y="281"/>
                      </a:lnTo>
                      <a:lnTo>
                        <a:pt x="868" y="281"/>
                      </a:lnTo>
                      <a:lnTo>
                        <a:pt x="867" y="281"/>
                      </a:lnTo>
                      <a:lnTo>
                        <a:pt x="867" y="281"/>
                      </a:lnTo>
                      <a:lnTo>
                        <a:pt x="866" y="281"/>
                      </a:lnTo>
                      <a:lnTo>
                        <a:pt x="867" y="281"/>
                      </a:lnTo>
                      <a:lnTo>
                        <a:pt x="867" y="280"/>
                      </a:lnTo>
                      <a:lnTo>
                        <a:pt x="868" y="280"/>
                      </a:lnTo>
                      <a:lnTo>
                        <a:pt x="868" y="280"/>
                      </a:lnTo>
                      <a:lnTo>
                        <a:pt x="868" y="281"/>
                      </a:lnTo>
                      <a:lnTo>
                        <a:pt x="868" y="280"/>
                      </a:lnTo>
                      <a:lnTo>
                        <a:pt x="869" y="280"/>
                      </a:lnTo>
                      <a:lnTo>
                        <a:pt x="869" y="280"/>
                      </a:lnTo>
                      <a:lnTo>
                        <a:pt x="869" y="281"/>
                      </a:lnTo>
                      <a:lnTo>
                        <a:pt x="870" y="281"/>
                      </a:lnTo>
                      <a:lnTo>
                        <a:pt x="870" y="281"/>
                      </a:lnTo>
                      <a:lnTo>
                        <a:pt x="871" y="281"/>
                      </a:lnTo>
                      <a:lnTo>
                        <a:pt x="872" y="281"/>
                      </a:lnTo>
                      <a:lnTo>
                        <a:pt x="872" y="281"/>
                      </a:lnTo>
                      <a:lnTo>
                        <a:pt x="873" y="281"/>
                      </a:lnTo>
                      <a:lnTo>
                        <a:pt x="873" y="281"/>
                      </a:lnTo>
                      <a:lnTo>
                        <a:pt x="874" y="281"/>
                      </a:lnTo>
                      <a:lnTo>
                        <a:pt x="874" y="281"/>
                      </a:lnTo>
                      <a:lnTo>
                        <a:pt x="875" y="281"/>
                      </a:lnTo>
                      <a:lnTo>
                        <a:pt x="876" y="281"/>
                      </a:lnTo>
                      <a:lnTo>
                        <a:pt x="876" y="280"/>
                      </a:lnTo>
                      <a:lnTo>
                        <a:pt x="876" y="280"/>
                      </a:lnTo>
                      <a:lnTo>
                        <a:pt x="876" y="280"/>
                      </a:lnTo>
                      <a:lnTo>
                        <a:pt x="876" y="280"/>
                      </a:lnTo>
                      <a:lnTo>
                        <a:pt x="877" y="280"/>
                      </a:lnTo>
                      <a:lnTo>
                        <a:pt x="877" y="280"/>
                      </a:lnTo>
                      <a:lnTo>
                        <a:pt x="877" y="280"/>
                      </a:lnTo>
                      <a:lnTo>
                        <a:pt x="877" y="279"/>
                      </a:lnTo>
                      <a:lnTo>
                        <a:pt x="878" y="279"/>
                      </a:lnTo>
                      <a:lnTo>
                        <a:pt x="879" y="279"/>
                      </a:lnTo>
                      <a:lnTo>
                        <a:pt x="879" y="280"/>
                      </a:lnTo>
                      <a:lnTo>
                        <a:pt x="879" y="280"/>
                      </a:lnTo>
                      <a:lnTo>
                        <a:pt x="879" y="279"/>
                      </a:lnTo>
                      <a:lnTo>
                        <a:pt x="880" y="279"/>
                      </a:lnTo>
                      <a:lnTo>
                        <a:pt x="880" y="280"/>
                      </a:lnTo>
                      <a:lnTo>
                        <a:pt x="880" y="279"/>
                      </a:lnTo>
                      <a:lnTo>
                        <a:pt x="880" y="279"/>
                      </a:lnTo>
                      <a:lnTo>
                        <a:pt x="881" y="279"/>
                      </a:lnTo>
                      <a:lnTo>
                        <a:pt x="881" y="278"/>
                      </a:lnTo>
                      <a:lnTo>
                        <a:pt x="881" y="278"/>
                      </a:lnTo>
                      <a:lnTo>
                        <a:pt x="881" y="278"/>
                      </a:lnTo>
                      <a:lnTo>
                        <a:pt x="881" y="277"/>
                      </a:lnTo>
                      <a:lnTo>
                        <a:pt x="881" y="278"/>
                      </a:lnTo>
                      <a:lnTo>
                        <a:pt x="882" y="278"/>
                      </a:lnTo>
                      <a:lnTo>
                        <a:pt x="882" y="277"/>
                      </a:lnTo>
                      <a:lnTo>
                        <a:pt x="883" y="277"/>
                      </a:lnTo>
                      <a:lnTo>
                        <a:pt x="882" y="277"/>
                      </a:lnTo>
                      <a:lnTo>
                        <a:pt x="882" y="277"/>
                      </a:lnTo>
                      <a:lnTo>
                        <a:pt x="883" y="277"/>
                      </a:lnTo>
                      <a:lnTo>
                        <a:pt x="883" y="276"/>
                      </a:lnTo>
                      <a:lnTo>
                        <a:pt x="883" y="277"/>
                      </a:lnTo>
                      <a:lnTo>
                        <a:pt x="883" y="276"/>
                      </a:lnTo>
                      <a:lnTo>
                        <a:pt x="883" y="275"/>
                      </a:lnTo>
                      <a:lnTo>
                        <a:pt x="883" y="275"/>
                      </a:lnTo>
                      <a:lnTo>
                        <a:pt x="883" y="275"/>
                      </a:lnTo>
                      <a:lnTo>
                        <a:pt x="883" y="275"/>
                      </a:lnTo>
                      <a:lnTo>
                        <a:pt x="883" y="275"/>
                      </a:lnTo>
                      <a:lnTo>
                        <a:pt x="883" y="274"/>
                      </a:lnTo>
                      <a:lnTo>
                        <a:pt x="884" y="274"/>
                      </a:lnTo>
                      <a:lnTo>
                        <a:pt x="884" y="274"/>
                      </a:lnTo>
                      <a:lnTo>
                        <a:pt x="884" y="274"/>
                      </a:lnTo>
                      <a:lnTo>
                        <a:pt x="883" y="274"/>
                      </a:lnTo>
                      <a:lnTo>
                        <a:pt x="883" y="274"/>
                      </a:lnTo>
                      <a:lnTo>
                        <a:pt x="884" y="274"/>
                      </a:lnTo>
                      <a:lnTo>
                        <a:pt x="883" y="274"/>
                      </a:lnTo>
                      <a:lnTo>
                        <a:pt x="884" y="274"/>
                      </a:lnTo>
                      <a:lnTo>
                        <a:pt x="884" y="273"/>
                      </a:lnTo>
                      <a:lnTo>
                        <a:pt x="884" y="273"/>
                      </a:lnTo>
                      <a:lnTo>
                        <a:pt x="884" y="274"/>
                      </a:lnTo>
                      <a:lnTo>
                        <a:pt x="884" y="273"/>
                      </a:lnTo>
                      <a:lnTo>
                        <a:pt x="884" y="274"/>
                      </a:lnTo>
                      <a:lnTo>
                        <a:pt x="884" y="273"/>
                      </a:lnTo>
                      <a:lnTo>
                        <a:pt x="884" y="273"/>
                      </a:lnTo>
                      <a:lnTo>
                        <a:pt x="884" y="274"/>
                      </a:lnTo>
                      <a:lnTo>
                        <a:pt x="883" y="274"/>
                      </a:lnTo>
                      <a:lnTo>
                        <a:pt x="883" y="274"/>
                      </a:lnTo>
                      <a:lnTo>
                        <a:pt x="883" y="275"/>
                      </a:lnTo>
                      <a:lnTo>
                        <a:pt x="883" y="275"/>
                      </a:lnTo>
                      <a:lnTo>
                        <a:pt x="883" y="275"/>
                      </a:lnTo>
                      <a:lnTo>
                        <a:pt x="883" y="275"/>
                      </a:lnTo>
                      <a:lnTo>
                        <a:pt x="883" y="275"/>
                      </a:lnTo>
                      <a:lnTo>
                        <a:pt x="883" y="275"/>
                      </a:lnTo>
                      <a:lnTo>
                        <a:pt x="883" y="275"/>
                      </a:lnTo>
                      <a:lnTo>
                        <a:pt x="883" y="275"/>
                      </a:lnTo>
                      <a:lnTo>
                        <a:pt x="883" y="276"/>
                      </a:lnTo>
                      <a:lnTo>
                        <a:pt x="883" y="277"/>
                      </a:lnTo>
                      <a:lnTo>
                        <a:pt x="882" y="277"/>
                      </a:lnTo>
                      <a:lnTo>
                        <a:pt x="882" y="277"/>
                      </a:lnTo>
                      <a:lnTo>
                        <a:pt x="883" y="277"/>
                      </a:lnTo>
                      <a:lnTo>
                        <a:pt x="882" y="277"/>
                      </a:lnTo>
                      <a:lnTo>
                        <a:pt x="883" y="277"/>
                      </a:lnTo>
                      <a:lnTo>
                        <a:pt x="882" y="277"/>
                      </a:lnTo>
                      <a:lnTo>
                        <a:pt x="882" y="278"/>
                      </a:lnTo>
                      <a:lnTo>
                        <a:pt x="882" y="277"/>
                      </a:lnTo>
                      <a:lnTo>
                        <a:pt x="881" y="278"/>
                      </a:lnTo>
                      <a:lnTo>
                        <a:pt x="881" y="277"/>
                      </a:lnTo>
                      <a:lnTo>
                        <a:pt x="881" y="278"/>
                      </a:lnTo>
                      <a:lnTo>
                        <a:pt x="881" y="278"/>
                      </a:lnTo>
                      <a:lnTo>
                        <a:pt x="881" y="278"/>
                      </a:lnTo>
                      <a:lnTo>
                        <a:pt x="881" y="279"/>
                      </a:lnTo>
                      <a:lnTo>
                        <a:pt x="880" y="279"/>
                      </a:lnTo>
                      <a:lnTo>
                        <a:pt x="880" y="279"/>
                      </a:lnTo>
                      <a:lnTo>
                        <a:pt x="879" y="279"/>
                      </a:lnTo>
                      <a:lnTo>
                        <a:pt x="879" y="280"/>
                      </a:lnTo>
                      <a:lnTo>
                        <a:pt x="879" y="280"/>
                      </a:lnTo>
                      <a:lnTo>
                        <a:pt x="879" y="279"/>
                      </a:lnTo>
                      <a:lnTo>
                        <a:pt x="878" y="279"/>
                      </a:lnTo>
                      <a:lnTo>
                        <a:pt x="877" y="279"/>
                      </a:lnTo>
                      <a:lnTo>
                        <a:pt x="877" y="280"/>
                      </a:lnTo>
                      <a:lnTo>
                        <a:pt x="877" y="279"/>
                      </a:lnTo>
                      <a:lnTo>
                        <a:pt x="877" y="280"/>
                      </a:lnTo>
                      <a:lnTo>
                        <a:pt x="877" y="280"/>
                      </a:lnTo>
                      <a:lnTo>
                        <a:pt x="877" y="280"/>
                      </a:lnTo>
                      <a:lnTo>
                        <a:pt x="877" y="279"/>
                      </a:lnTo>
                      <a:lnTo>
                        <a:pt x="877" y="280"/>
                      </a:lnTo>
                      <a:lnTo>
                        <a:pt x="877" y="280"/>
                      </a:lnTo>
                      <a:lnTo>
                        <a:pt x="877" y="280"/>
                      </a:lnTo>
                      <a:lnTo>
                        <a:pt x="877" y="280"/>
                      </a:lnTo>
                      <a:lnTo>
                        <a:pt x="877" y="280"/>
                      </a:lnTo>
                      <a:lnTo>
                        <a:pt x="876" y="280"/>
                      </a:lnTo>
                      <a:lnTo>
                        <a:pt x="876" y="280"/>
                      </a:lnTo>
                      <a:lnTo>
                        <a:pt x="876" y="280"/>
                      </a:lnTo>
                      <a:lnTo>
                        <a:pt x="876" y="280"/>
                      </a:lnTo>
                      <a:lnTo>
                        <a:pt x="876" y="281"/>
                      </a:lnTo>
                      <a:lnTo>
                        <a:pt x="875" y="281"/>
                      </a:lnTo>
                      <a:lnTo>
                        <a:pt x="874" y="281"/>
                      </a:lnTo>
                      <a:lnTo>
                        <a:pt x="875" y="281"/>
                      </a:lnTo>
                      <a:lnTo>
                        <a:pt x="874" y="281"/>
                      </a:lnTo>
                      <a:lnTo>
                        <a:pt x="874" y="281"/>
                      </a:lnTo>
                      <a:lnTo>
                        <a:pt x="873" y="281"/>
                      </a:lnTo>
                      <a:lnTo>
                        <a:pt x="874" y="281"/>
                      </a:lnTo>
                      <a:lnTo>
                        <a:pt x="873" y="281"/>
                      </a:lnTo>
                      <a:lnTo>
                        <a:pt x="873" y="281"/>
                      </a:lnTo>
                      <a:lnTo>
                        <a:pt x="872" y="281"/>
                      </a:lnTo>
                      <a:lnTo>
                        <a:pt x="872" y="281"/>
                      </a:lnTo>
                      <a:lnTo>
                        <a:pt x="871" y="281"/>
                      </a:lnTo>
                      <a:lnTo>
                        <a:pt x="870" y="281"/>
                      </a:lnTo>
                      <a:lnTo>
                        <a:pt x="870" y="281"/>
                      </a:lnTo>
                      <a:lnTo>
                        <a:pt x="869" y="280"/>
                      </a:lnTo>
                      <a:lnTo>
                        <a:pt x="869" y="280"/>
                      </a:lnTo>
                      <a:lnTo>
                        <a:pt x="868" y="280"/>
                      </a:lnTo>
                      <a:lnTo>
                        <a:pt x="868" y="280"/>
                      </a:lnTo>
                      <a:lnTo>
                        <a:pt x="867" y="280"/>
                      </a:lnTo>
                      <a:lnTo>
                        <a:pt x="866" y="280"/>
                      </a:lnTo>
                      <a:lnTo>
                        <a:pt x="866" y="280"/>
                      </a:lnTo>
                      <a:lnTo>
                        <a:pt x="865" y="280"/>
                      </a:lnTo>
                      <a:lnTo>
                        <a:pt x="865" y="279"/>
                      </a:lnTo>
                      <a:lnTo>
                        <a:pt x="864" y="279"/>
                      </a:lnTo>
                      <a:lnTo>
                        <a:pt x="863" y="279"/>
                      </a:lnTo>
                      <a:lnTo>
                        <a:pt x="863" y="278"/>
                      </a:lnTo>
                      <a:lnTo>
                        <a:pt x="863" y="278"/>
                      </a:lnTo>
                      <a:lnTo>
                        <a:pt x="863" y="278"/>
                      </a:lnTo>
                      <a:lnTo>
                        <a:pt x="863" y="277"/>
                      </a:lnTo>
                      <a:lnTo>
                        <a:pt x="862" y="277"/>
                      </a:lnTo>
                      <a:lnTo>
                        <a:pt x="862" y="278"/>
                      </a:lnTo>
                      <a:lnTo>
                        <a:pt x="862" y="277"/>
                      </a:lnTo>
                      <a:lnTo>
                        <a:pt x="862" y="277"/>
                      </a:lnTo>
                      <a:lnTo>
                        <a:pt x="861" y="277"/>
                      </a:lnTo>
                      <a:lnTo>
                        <a:pt x="861" y="277"/>
                      </a:lnTo>
                      <a:lnTo>
                        <a:pt x="861" y="278"/>
                      </a:lnTo>
                      <a:lnTo>
                        <a:pt x="860" y="278"/>
                      </a:lnTo>
                      <a:lnTo>
                        <a:pt x="859" y="278"/>
                      </a:lnTo>
                      <a:lnTo>
                        <a:pt x="859" y="278"/>
                      </a:lnTo>
                      <a:lnTo>
                        <a:pt x="859" y="277"/>
                      </a:lnTo>
                      <a:lnTo>
                        <a:pt x="859" y="278"/>
                      </a:lnTo>
                      <a:lnTo>
                        <a:pt x="859" y="277"/>
                      </a:lnTo>
                      <a:lnTo>
                        <a:pt x="859" y="278"/>
                      </a:lnTo>
                      <a:lnTo>
                        <a:pt x="858" y="278"/>
                      </a:lnTo>
                      <a:lnTo>
                        <a:pt x="858" y="278"/>
                      </a:lnTo>
                      <a:lnTo>
                        <a:pt x="858" y="278"/>
                      </a:lnTo>
                      <a:lnTo>
                        <a:pt x="857" y="278"/>
                      </a:lnTo>
                      <a:lnTo>
                        <a:pt x="857" y="279"/>
                      </a:lnTo>
                      <a:lnTo>
                        <a:pt x="857" y="278"/>
                      </a:lnTo>
                      <a:lnTo>
                        <a:pt x="857" y="278"/>
                      </a:lnTo>
                      <a:lnTo>
                        <a:pt x="856" y="278"/>
                      </a:lnTo>
                      <a:lnTo>
                        <a:pt x="855" y="279"/>
                      </a:lnTo>
                      <a:lnTo>
                        <a:pt x="855" y="279"/>
                      </a:lnTo>
                      <a:lnTo>
                        <a:pt x="854" y="279"/>
                      </a:lnTo>
                      <a:lnTo>
                        <a:pt x="854" y="279"/>
                      </a:lnTo>
                      <a:lnTo>
                        <a:pt x="853" y="279"/>
                      </a:lnTo>
                      <a:lnTo>
                        <a:pt x="853" y="278"/>
                      </a:lnTo>
                      <a:lnTo>
                        <a:pt x="853" y="279"/>
                      </a:lnTo>
                      <a:lnTo>
                        <a:pt x="853" y="278"/>
                      </a:lnTo>
                      <a:lnTo>
                        <a:pt x="853" y="278"/>
                      </a:lnTo>
                      <a:lnTo>
                        <a:pt x="853" y="278"/>
                      </a:lnTo>
                      <a:lnTo>
                        <a:pt x="852" y="278"/>
                      </a:lnTo>
                      <a:lnTo>
                        <a:pt x="852" y="277"/>
                      </a:lnTo>
                      <a:lnTo>
                        <a:pt x="852" y="277"/>
                      </a:lnTo>
                      <a:lnTo>
                        <a:pt x="852" y="277"/>
                      </a:lnTo>
                      <a:lnTo>
                        <a:pt x="852" y="278"/>
                      </a:lnTo>
                      <a:lnTo>
                        <a:pt x="853" y="278"/>
                      </a:lnTo>
                      <a:lnTo>
                        <a:pt x="853" y="278"/>
                      </a:lnTo>
                      <a:lnTo>
                        <a:pt x="853" y="278"/>
                      </a:lnTo>
                      <a:lnTo>
                        <a:pt x="853" y="279"/>
                      </a:lnTo>
                      <a:lnTo>
                        <a:pt x="853" y="278"/>
                      </a:lnTo>
                      <a:lnTo>
                        <a:pt x="853" y="279"/>
                      </a:lnTo>
                      <a:lnTo>
                        <a:pt x="853" y="280"/>
                      </a:lnTo>
                      <a:lnTo>
                        <a:pt x="852" y="280"/>
                      </a:lnTo>
                      <a:lnTo>
                        <a:pt x="851" y="280"/>
                      </a:lnTo>
                      <a:lnTo>
                        <a:pt x="852" y="280"/>
                      </a:lnTo>
                      <a:lnTo>
                        <a:pt x="852" y="280"/>
                      </a:lnTo>
                      <a:lnTo>
                        <a:pt x="852" y="281"/>
                      </a:lnTo>
                      <a:lnTo>
                        <a:pt x="851" y="281"/>
                      </a:lnTo>
                      <a:lnTo>
                        <a:pt x="851" y="281"/>
                      </a:lnTo>
                      <a:lnTo>
                        <a:pt x="851" y="281"/>
                      </a:lnTo>
                      <a:lnTo>
                        <a:pt x="851" y="281"/>
                      </a:lnTo>
                      <a:lnTo>
                        <a:pt x="851" y="281"/>
                      </a:lnTo>
                      <a:lnTo>
                        <a:pt x="850" y="281"/>
                      </a:lnTo>
                      <a:lnTo>
                        <a:pt x="850" y="281"/>
                      </a:lnTo>
                      <a:lnTo>
                        <a:pt x="850" y="281"/>
                      </a:lnTo>
                      <a:lnTo>
                        <a:pt x="850" y="281"/>
                      </a:lnTo>
                      <a:lnTo>
                        <a:pt x="850" y="281"/>
                      </a:lnTo>
                      <a:lnTo>
                        <a:pt x="849" y="281"/>
                      </a:lnTo>
                      <a:lnTo>
                        <a:pt x="848" y="281"/>
                      </a:lnTo>
                      <a:lnTo>
                        <a:pt x="848" y="280"/>
                      </a:lnTo>
                      <a:lnTo>
                        <a:pt x="848" y="280"/>
                      </a:lnTo>
                      <a:lnTo>
                        <a:pt x="848" y="280"/>
                      </a:lnTo>
                      <a:lnTo>
                        <a:pt x="848" y="281"/>
                      </a:lnTo>
                      <a:lnTo>
                        <a:pt x="849" y="281"/>
                      </a:lnTo>
                      <a:lnTo>
                        <a:pt x="848" y="281"/>
                      </a:lnTo>
                      <a:lnTo>
                        <a:pt x="849" y="281"/>
                      </a:lnTo>
                      <a:lnTo>
                        <a:pt x="850" y="281"/>
                      </a:lnTo>
                      <a:lnTo>
                        <a:pt x="850" y="281"/>
                      </a:lnTo>
                      <a:lnTo>
                        <a:pt x="850" y="281"/>
                      </a:lnTo>
                      <a:lnTo>
                        <a:pt x="850" y="281"/>
                      </a:lnTo>
                      <a:lnTo>
                        <a:pt x="850" y="281"/>
                      </a:lnTo>
                      <a:lnTo>
                        <a:pt x="851" y="281"/>
                      </a:lnTo>
                      <a:lnTo>
                        <a:pt x="851" y="281"/>
                      </a:lnTo>
                      <a:lnTo>
                        <a:pt x="851" y="281"/>
                      </a:lnTo>
                      <a:lnTo>
                        <a:pt x="851" y="281"/>
                      </a:lnTo>
                      <a:lnTo>
                        <a:pt x="851" y="281"/>
                      </a:lnTo>
                      <a:lnTo>
                        <a:pt x="851" y="281"/>
                      </a:lnTo>
                      <a:lnTo>
                        <a:pt x="852" y="281"/>
                      </a:lnTo>
                      <a:lnTo>
                        <a:pt x="853" y="281"/>
                      </a:lnTo>
                      <a:lnTo>
                        <a:pt x="853" y="282"/>
                      </a:lnTo>
                      <a:lnTo>
                        <a:pt x="853" y="282"/>
                      </a:lnTo>
                      <a:lnTo>
                        <a:pt x="852" y="282"/>
                      </a:lnTo>
                      <a:lnTo>
                        <a:pt x="851" y="282"/>
                      </a:lnTo>
                      <a:lnTo>
                        <a:pt x="852" y="282"/>
                      </a:lnTo>
                      <a:lnTo>
                        <a:pt x="851" y="283"/>
                      </a:lnTo>
                      <a:lnTo>
                        <a:pt x="851" y="283"/>
                      </a:lnTo>
                      <a:lnTo>
                        <a:pt x="851" y="284"/>
                      </a:lnTo>
                      <a:lnTo>
                        <a:pt x="850" y="284"/>
                      </a:lnTo>
                      <a:lnTo>
                        <a:pt x="851" y="284"/>
                      </a:lnTo>
                      <a:lnTo>
                        <a:pt x="851" y="284"/>
                      </a:lnTo>
                      <a:lnTo>
                        <a:pt x="850" y="284"/>
                      </a:lnTo>
                      <a:lnTo>
                        <a:pt x="851" y="284"/>
                      </a:lnTo>
                      <a:lnTo>
                        <a:pt x="851" y="285"/>
                      </a:lnTo>
                      <a:lnTo>
                        <a:pt x="851" y="285"/>
                      </a:lnTo>
                      <a:lnTo>
                        <a:pt x="851" y="285"/>
                      </a:lnTo>
                      <a:lnTo>
                        <a:pt x="851" y="286"/>
                      </a:lnTo>
                      <a:lnTo>
                        <a:pt x="851" y="286"/>
                      </a:lnTo>
                      <a:lnTo>
                        <a:pt x="851" y="286"/>
                      </a:lnTo>
                      <a:lnTo>
                        <a:pt x="851" y="287"/>
                      </a:lnTo>
                      <a:lnTo>
                        <a:pt x="850" y="287"/>
                      </a:lnTo>
                      <a:lnTo>
                        <a:pt x="850" y="288"/>
                      </a:lnTo>
                      <a:lnTo>
                        <a:pt x="850" y="288"/>
                      </a:lnTo>
                      <a:lnTo>
                        <a:pt x="850" y="288"/>
                      </a:lnTo>
                      <a:lnTo>
                        <a:pt x="850" y="288"/>
                      </a:lnTo>
                      <a:lnTo>
                        <a:pt x="850" y="288"/>
                      </a:lnTo>
                      <a:lnTo>
                        <a:pt x="850" y="289"/>
                      </a:lnTo>
                      <a:lnTo>
                        <a:pt x="850" y="289"/>
                      </a:lnTo>
                      <a:lnTo>
                        <a:pt x="850" y="289"/>
                      </a:lnTo>
                      <a:lnTo>
                        <a:pt x="851" y="290"/>
                      </a:lnTo>
                      <a:lnTo>
                        <a:pt x="851" y="289"/>
                      </a:lnTo>
                      <a:lnTo>
                        <a:pt x="851" y="290"/>
                      </a:lnTo>
                      <a:lnTo>
                        <a:pt x="851" y="290"/>
                      </a:lnTo>
                      <a:lnTo>
                        <a:pt x="852" y="290"/>
                      </a:lnTo>
                      <a:lnTo>
                        <a:pt x="852" y="291"/>
                      </a:lnTo>
                      <a:lnTo>
                        <a:pt x="853" y="291"/>
                      </a:lnTo>
                      <a:lnTo>
                        <a:pt x="853" y="291"/>
                      </a:lnTo>
                      <a:lnTo>
                        <a:pt x="852" y="291"/>
                      </a:lnTo>
                      <a:lnTo>
                        <a:pt x="851" y="291"/>
                      </a:lnTo>
                      <a:lnTo>
                        <a:pt x="851" y="292"/>
                      </a:lnTo>
                      <a:lnTo>
                        <a:pt x="851" y="291"/>
                      </a:lnTo>
                      <a:lnTo>
                        <a:pt x="851" y="291"/>
                      </a:lnTo>
                      <a:lnTo>
                        <a:pt x="851" y="292"/>
                      </a:lnTo>
                      <a:lnTo>
                        <a:pt x="850" y="292"/>
                      </a:lnTo>
                      <a:lnTo>
                        <a:pt x="850" y="292"/>
                      </a:lnTo>
                      <a:lnTo>
                        <a:pt x="851" y="292"/>
                      </a:lnTo>
                      <a:lnTo>
                        <a:pt x="850" y="293"/>
                      </a:lnTo>
                      <a:lnTo>
                        <a:pt x="850" y="293"/>
                      </a:lnTo>
                      <a:lnTo>
                        <a:pt x="850" y="292"/>
                      </a:lnTo>
                      <a:lnTo>
                        <a:pt x="849" y="292"/>
                      </a:lnTo>
                      <a:lnTo>
                        <a:pt x="849" y="292"/>
                      </a:lnTo>
                      <a:lnTo>
                        <a:pt x="848" y="292"/>
                      </a:lnTo>
                      <a:lnTo>
                        <a:pt x="848" y="291"/>
                      </a:lnTo>
                      <a:lnTo>
                        <a:pt x="849" y="291"/>
                      </a:lnTo>
                      <a:lnTo>
                        <a:pt x="849" y="291"/>
                      </a:lnTo>
                      <a:lnTo>
                        <a:pt x="848" y="291"/>
                      </a:lnTo>
                      <a:lnTo>
                        <a:pt x="848" y="291"/>
                      </a:lnTo>
                      <a:lnTo>
                        <a:pt x="847" y="291"/>
                      </a:lnTo>
                      <a:lnTo>
                        <a:pt x="847" y="291"/>
                      </a:lnTo>
                      <a:lnTo>
                        <a:pt x="847" y="292"/>
                      </a:lnTo>
                      <a:lnTo>
                        <a:pt x="848" y="291"/>
                      </a:lnTo>
                      <a:lnTo>
                        <a:pt x="848" y="292"/>
                      </a:lnTo>
                      <a:lnTo>
                        <a:pt x="847" y="292"/>
                      </a:lnTo>
                      <a:lnTo>
                        <a:pt x="847" y="292"/>
                      </a:lnTo>
                      <a:lnTo>
                        <a:pt x="847" y="291"/>
                      </a:lnTo>
                      <a:lnTo>
                        <a:pt x="847" y="292"/>
                      </a:lnTo>
                      <a:lnTo>
                        <a:pt x="847" y="291"/>
                      </a:lnTo>
                      <a:lnTo>
                        <a:pt x="846" y="291"/>
                      </a:lnTo>
                      <a:lnTo>
                        <a:pt x="846" y="291"/>
                      </a:lnTo>
                      <a:lnTo>
                        <a:pt x="845" y="291"/>
                      </a:lnTo>
                      <a:lnTo>
                        <a:pt x="845" y="291"/>
                      </a:lnTo>
                      <a:lnTo>
                        <a:pt x="844" y="291"/>
                      </a:lnTo>
                      <a:lnTo>
                        <a:pt x="844" y="292"/>
                      </a:lnTo>
                      <a:lnTo>
                        <a:pt x="844" y="292"/>
                      </a:lnTo>
                      <a:lnTo>
                        <a:pt x="844" y="292"/>
                      </a:lnTo>
                      <a:lnTo>
                        <a:pt x="844" y="292"/>
                      </a:lnTo>
                      <a:lnTo>
                        <a:pt x="844" y="292"/>
                      </a:lnTo>
                      <a:lnTo>
                        <a:pt x="843" y="292"/>
                      </a:lnTo>
                      <a:lnTo>
                        <a:pt x="843" y="293"/>
                      </a:lnTo>
                      <a:lnTo>
                        <a:pt x="843" y="293"/>
                      </a:lnTo>
                      <a:lnTo>
                        <a:pt x="843" y="293"/>
                      </a:lnTo>
                      <a:lnTo>
                        <a:pt x="843" y="293"/>
                      </a:lnTo>
                      <a:lnTo>
                        <a:pt x="843" y="293"/>
                      </a:lnTo>
                      <a:lnTo>
                        <a:pt x="843" y="294"/>
                      </a:lnTo>
                      <a:lnTo>
                        <a:pt x="842" y="294"/>
                      </a:lnTo>
                      <a:lnTo>
                        <a:pt x="842" y="295"/>
                      </a:lnTo>
                      <a:lnTo>
                        <a:pt x="842" y="295"/>
                      </a:lnTo>
                      <a:lnTo>
                        <a:pt x="841" y="295"/>
                      </a:lnTo>
                      <a:lnTo>
                        <a:pt x="841" y="294"/>
                      </a:lnTo>
                      <a:lnTo>
                        <a:pt x="841" y="295"/>
                      </a:lnTo>
                      <a:lnTo>
                        <a:pt x="841" y="295"/>
                      </a:lnTo>
                      <a:lnTo>
                        <a:pt x="840" y="295"/>
                      </a:lnTo>
                      <a:lnTo>
                        <a:pt x="840" y="295"/>
                      </a:lnTo>
                      <a:lnTo>
                        <a:pt x="840" y="295"/>
                      </a:lnTo>
                      <a:lnTo>
                        <a:pt x="840" y="295"/>
                      </a:lnTo>
                      <a:lnTo>
                        <a:pt x="840" y="295"/>
                      </a:lnTo>
                      <a:lnTo>
                        <a:pt x="840" y="296"/>
                      </a:lnTo>
                      <a:lnTo>
                        <a:pt x="840" y="296"/>
                      </a:lnTo>
                      <a:lnTo>
                        <a:pt x="839" y="296"/>
                      </a:lnTo>
                      <a:lnTo>
                        <a:pt x="839" y="296"/>
                      </a:lnTo>
                      <a:lnTo>
                        <a:pt x="839" y="296"/>
                      </a:lnTo>
                      <a:lnTo>
                        <a:pt x="838" y="296"/>
                      </a:lnTo>
                      <a:lnTo>
                        <a:pt x="839" y="296"/>
                      </a:lnTo>
                      <a:lnTo>
                        <a:pt x="839" y="297"/>
                      </a:lnTo>
                      <a:lnTo>
                        <a:pt x="838" y="297"/>
                      </a:lnTo>
                      <a:lnTo>
                        <a:pt x="838" y="297"/>
                      </a:lnTo>
                      <a:lnTo>
                        <a:pt x="838" y="297"/>
                      </a:lnTo>
                      <a:lnTo>
                        <a:pt x="837" y="297"/>
                      </a:lnTo>
                      <a:lnTo>
                        <a:pt x="837" y="297"/>
                      </a:lnTo>
                      <a:lnTo>
                        <a:pt x="837" y="297"/>
                      </a:lnTo>
                      <a:lnTo>
                        <a:pt x="837" y="298"/>
                      </a:lnTo>
                      <a:lnTo>
                        <a:pt x="837" y="298"/>
                      </a:lnTo>
                      <a:lnTo>
                        <a:pt x="837" y="298"/>
                      </a:lnTo>
                      <a:lnTo>
                        <a:pt x="836" y="299"/>
                      </a:lnTo>
                      <a:lnTo>
                        <a:pt x="836" y="299"/>
                      </a:lnTo>
                      <a:lnTo>
                        <a:pt x="836" y="299"/>
                      </a:lnTo>
                      <a:lnTo>
                        <a:pt x="836" y="299"/>
                      </a:lnTo>
                      <a:lnTo>
                        <a:pt x="835" y="299"/>
                      </a:lnTo>
                      <a:lnTo>
                        <a:pt x="835" y="299"/>
                      </a:lnTo>
                      <a:lnTo>
                        <a:pt x="835" y="300"/>
                      </a:lnTo>
                      <a:lnTo>
                        <a:pt x="835" y="300"/>
                      </a:lnTo>
                      <a:lnTo>
                        <a:pt x="835" y="300"/>
                      </a:lnTo>
                      <a:lnTo>
                        <a:pt x="834" y="300"/>
                      </a:lnTo>
                      <a:lnTo>
                        <a:pt x="833" y="300"/>
                      </a:lnTo>
                      <a:lnTo>
                        <a:pt x="833" y="301"/>
                      </a:lnTo>
                      <a:lnTo>
                        <a:pt x="833" y="301"/>
                      </a:lnTo>
                      <a:lnTo>
                        <a:pt x="833" y="302"/>
                      </a:lnTo>
                      <a:lnTo>
                        <a:pt x="832" y="302"/>
                      </a:lnTo>
                      <a:lnTo>
                        <a:pt x="832" y="303"/>
                      </a:lnTo>
                      <a:lnTo>
                        <a:pt x="832" y="303"/>
                      </a:lnTo>
                      <a:lnTo>
                        <a:pt x="832" y="303"/>
                      </a:lnTo>
                      <a:lnTo>
                        <a:pt x="832" y="303"/>
                      </a:lnTo>
                      <a:lnTo>
                        <a:pt x="832" y="303"/>
                      </a:lnTo>
                      <a:lnTo>
                        <a:pt x="831" y="303"/>
                      </a:lnTo>
                      <a:lnTo>
                        <a:pt x="831" y="303"/>
                      </a:lnTo>
                      <a:lnTo>
                        <a:pt x="831" y="303"/>
                      </a:lnTo>
                      <a:lnTo>
                        <a:pt x="830" y="303"/>
                      </a:lnTo>
                      <a:lnTo>
                        <a:pt x="831" y="303"/>
                      </a:lnTo>
                      <a:lnTo>
                        <a:pt x="830" y="303"/>
                      </a:lnTo>
                      <a:lnTo>
                        <a:pt x="829" y="303"/>
                      </a:lnTo>
                      <a:lnTo>
                        <a:pt x="829" y="304"/>
                      </a:lnTo>
                      <a:lnTo>
                        <a:pt x="829" y="303"/>
                      </a:lnTo>
                      <a:lnTo>
                        <a:pt x="829" y="303"/>
                      </a:lnTo>
                      <a:lnTo>
                        <a:pt x="829" y="303"/>
                      </a:lnTo>
                      <a:lnTo>
                        <a:pt x="829" y="303"/>
                      </a:lnTo>
                      <a:lnTo>
                        <a:pt x="829" y="303"/>
                      </a:lnTo>
                      <a:lnTo>
                        <a:pt x="829" y="303"/>
                      </a:lnTo>
                      <a:lnTo>
                        <a:pt x="828" y="303"/>
                      </a:lnTo>
                      <a:lnTo>
                        <a:pt x="829" y="303"/>
                      </a:lnTo>
                      <a:lnTo>
                        <a:pt x="829" y="304"/>
                      </a:lnTo>
                      <a:lnTo>
                        <a:pt x="828" y="304"/>
                      </a:lnTo>
                      <a:lnTo>
                        <a:pt x="828" y="304"/>
                      </a:lnTo>
                      <a:lnTo>
                        <a:pt x="828" y="304"/>
                      </a:lnTo>
                      <a:lnTo>
                        <a:pt x="828" y="304"/>
                      </a:lnTo>
                      <a:lnTo>
                        <a:pt x="828" y="304"/>
                      </a:lnTo>
                      <a:lnTo>
                        <a:pt x="828" y="304"/>
                      </a:lnTo>
                      <a:lnTo>
                        <a:pt x="828" y="304"/>
                      </a:lnTo>
                      <a:lnTo>
                        <a:pt x="828" y="305"/>
                      </a:lnTo>
                      <a:lnTo>
                        <a:pt x="827" y="305"/>
                      </a:lnTo>
                      <a:lnTo>
                        <a:pt x="827" y="305"/>
                      </a:lnTo>
                      <a:lnTo>
                        <a:pt x="827" y="305"/>
                      </a:lnTo>
                      <a:lnTo>
                        <a:pt x="827" y="305"/>
                      </a:lnTo>
                      <a:lnTo>
                        <a:pt x="827" y="305"/>
                      </a:lnTo>
                      <a:lnTo>
                        <a:pt x="827" y="304"/>
                      </a:lnTo>
                      <a:lnTo>
                        <a:pt x="827" y="304"/>
                      </a:lnTo>
                      <a:lnTo>
                        <a:pt x="828" y="304"/>
                      </a:lnTo>
                      <a:lnTo>
                        <a:pt x="827" y="304"/>
                      </a:lnTo>
                      <a:lnTo>
                        <a:pt x="827" y="303"/>
                      </a:lnTo>
                      <a:lnTo>
                        <a:pt x="828" y="303"/>
                      </a:lnTo>
                      <a:lnTo>
                        <a:pt x="828" y="303"/>
                      </a:lnTo>
                      <a:lnTo>
                        <a:pt x="828" y="302"/>
                      </a:lnTo>
                      <a:lnTo>
                        <a:pt x="827" y="302"/>
                      </a:lnTo>
                      <a:lnTo>
                        <a:pt x="827" y="302"/>
                      </a:lnTo>
                      <a:lnTo>
                        <a:pt x="828" y="302"/>
                      </a:lnTo>
                      <a:lnTo>
                        <a:pt x="828" y="302"/>
                      </a:lnTo>
                      <a:lnTo>
                        <a:pt x="828" y="302"/>
                      </a:lnTo>
                      <a:lnTo>
                        <a:pt x="828" y="301"/>
                      </a:lnTo>
                      <a:lnTo>
                        <a:pt x="828" y="302"/>
                      </a:lnTo>
                      <a:lnTo>
                        <a:pt x="828" y="301"/>
                      </a:lnTo>
                      <a:lnTo>
                        <a:pt x="828" y="301"/>
                      </a:lnTo>
                      <a:lnTo>
                        <a:pt x="828" y="301"/>
                      </a:lnTo>
                      <a:lnTo>
                        <a:pt x="828" y="301"/>
                      </a:lnTo>
                      <a:lnTo>
                        <a:pt x="829" y="301"/>
                      </a:lnTo>
                      <a:lnTo>
                        <a:pt x="828" y="301"/>
                      </a:lnTo>
                      <a:lnTo>
                        <a:pt x="829" y="301"/>
                      </a:lnTo>
                      <a:lnTo>
                        <a:pt x="828" y="301"/>
                      </a:lnTo>
                      <a:lnTo>
                        <a:pt x="828" y="300"/>
                      </a:lnTo>
                      <a:lnTo>
                        <a:pt x="829" y="300"/>
                      </a:lnTo>
                      <a:lnTo>
                        <a:pt x="829" y="300"/>
                      </a:lnTo>
                      <a:lnTo>
                        <a:pt x="829" y="299"/>
                      </a:lnTo>
                      <a:lnTo>
                        <a:pt x="829" y="299"/>
                      </a:lnTo>
                      <a:lnTo>
                        <a:pt x="829" y="299"/>
                      </a:lnTo>
                      <a:lnTo>
                        <a:pt x="828" y="299"/>
                      </a:lnTo>
                      <a:lnTo>
                        <a:pt x="828" y="299"/>
                      </a:lnTo>
                      <a:lnTo>
                        <a:pt x="827" y="299"/>
                      </a:lnTo>
                      <a:lnTo>
                        <a:pt x="827" y="299"/>
                      </a:lnTo>
                      <a:lnTo>
                        <a:pt x="827" y="300"/>
                      </a:lnTo>
                      <a:lnTo>
                        <a:pt x="826" y="300"/>
                      </a:lnTo>
                      <a:lnTo>
                        <a:pt x="827" y="300"/>
                      </a:lnTo>
                      <a:lnTo>
                        <a:pt x="826" y="300"/>
                      </a:lnTo>
                      <a:lnTo>
                        <a:pt x="825" y="300"/>
                      </a:lnTo>
                      <a:lnTo>
                        <a:pt x="825" y="300"/>
                      </a:lnTo>
                      <a:lnTo>
                        <a:pt x="825" y="300"/>
                      </a:lnTo>
                      <a:lnTo>
                        <a:pt x="825" y="300"/>
                      </a:lnTo>
                      <a:lnTo>
                        <a:pt x="825" y="300"/>
                      </a:lnTo>
                      <a:lnTo>
                        <a:pt x="825" y="301"/>
                      </a:lnTo>
                      <a:lnTo>
                        <a:pt x="825" y="300"/>
                      </a:lnTo>
                      <a:lnTo>
                        <a:pt x="824" y="300"/>
                      </a:lnTo>
                      <a:lnTo>
                        <a:pt x="824" y="300"/>
                      </a:lnTo>
                      <a:lnTo>
                        <a:pt x="825" y="300"/>
                      </a:lnTo>
                      <a:lnTo>
                        <a:pt x="825" y="299"/>
                      </a:lnTo>
                      <a:lnTo>
                        <a:pt x="825" y="299"/>
                      </a:lnTo>
                      <a:lnTo>
                        <a:pt x="825" y="299"/>
                      </a:lnTo>
                      <a:lnTo>
                        <a:pt x="825" y="298"/>
                      </a:lnTo>
                      <a:lnTo>
                        <a:pt x="826" y="298"/>
                      </a:lnTo>
                      <a:lnTo>
                        <a:pt x="825" y="298"/>
                      </a:lnTo>
                      <a:lnTo>
                        <a:pt x="825" y="297"/>
                      </a:lnTo>
                      <a:lnTo>
                        <a:pt x="825" y="297"/>
                      </a:lnTo>
                      <a:lnTo>
                        <a:pt x="825" y="297"/>
                      </a:lnTo>
                      <a:lnTo>
                        <a:pt x="825" y="297"/>
                      </a:lnTo>
                      <a:lnTo>
                        <a:pt x="825" y="296"/>
                      </a:lnTo>
                      <a:lnTo>
                        <a:pt x="825" y="296"/>
                      </a:lnTo>
                      <a:lnTo>
                        <a:pt x="824" y="296"/>
                      </a:lnTo>
                      <a:lnTo>
                        <a:pt x="824" y="296"/>
                      </a:lnTo>
                      <a:lnTo>
                        <a:pt x="824" y="296"/>
                      </a:lnTo>
                      <a:lnTo>
                        <a:pt x="824" y="296"/>
                      </a:lnTo>
                      <a:lnTo>
                        <a:pt x="824" y="296"/>
                      </a:lnTo>
                      <a:lnTo>
                        <a:pt x="824" y="296"/>
                      </a:lnTo>
                      <a:lnTo>
                        <a:pt x="825" y="296"/>
                      </a:lnTo>
                      <a:lnTo>
                        <a:pt x="825" y="296"/>
                      </a:lnTo>
                      <a:lnTo>
                        <a:pt x="825" y="296"/>
                      </a:lnTo>
                      <a:lnTo>
                        <a:pt x="825" y="296"/>
                      </a:lnTo>
                      <a:lnTo>
                        <a:pt x="826" y="296"/>
                      </a:lnTo>
                      <a:lnTo>
                        <a:pt x="825" y="296"/>
                      </a:lnTo>
                      <a:lnTo>
                        <a:pt x="825" y="296"/>
                      </a:lnTo>
                      <a:lnTo>
                        <a:pt x="825" y="295"/>
                      </a:lnTo>
                      <a:lnTo>
                        <a:pt x="825" y="296"/>
                      </a:lnTo>
                      <a:lnTo>
                        <a:pt x="825" y="295"/>
                      </a:lnTo>
                      <a:lnTo>
                        <a:pt x="825" y="295"/>
                      </a:lnTo>
                      <a:lnTo>
                        <a:pt x="825" y="295"/>
                      </a:lnTo>
                      <a:lnTo>
                        <a:pt x="826" y="295"/>
                      </a:lnTo>
                      <a:lnTo>
                        <a:pt x="827" y="295"/>
                      </a:lnTo>
                      <a:lnTo>
                        <a:pt x="826" y="295"/>
                      </a:lnTo>
                      <a:lnTo>
                        <a:pt x="827" y="295"/>
                      </a:lnTo>
                      <a:lnTo>
                        <a:pt x="827" y="294"/>
                      </a:lnTo>
                      <a:lnTo>
                        <a:pt x="827" y="293"/>
                      </a:lnTo>
                      <a:lnTo>
                        <a:pt x="826" y="293"/>
                      </a:lnTo>
                      <a:lnTo>
                        <a:pt x="826" y="294"/>
                      </a:lnTo>
                      <a:lnTo>
                        <a:pt x="826" y="293"/>
                      </a:lnTo>
                      <a:lnTo>
                        <a:pt x="826" y="294"/>
                      </a:lnTo>
                      <a:lnTo>
                        <a:pt x="826" y="293"/>
                      </a:lnTo>
                      <a:lnTo>
                        <a:pt x="827" y="293"/>
                      </a:lnTo>
                      <a:lnTo>
                        <a:pt x="827" y="293"/>
                      </a:lnTo>
                      <a:lnTo>
                        <a:pt x="827" y="293"/>
                      </a:lnTo>
                      <a:lnTo>
                        <a:pt x="828" y="293"/>
                      </a:lnTo>
                      <a:lnTo>
                        <a:pt x="828" y="292"/>
                      </a:lnTo>
                      <a:lnTo>
                        <a:pt x="828" y="292"/>
                      </a:lnTo>
                      <a:lnTo>
                        <a:pt x="828" y="291"/>
                      </a:lnTo>
                      <a:lnTo>
                        <a:pt x="828" y="291"/>
                      </a:lnTo>
                      <a:lnTo>
                        <a:pt x="828" y="291"/>
                      </a:lnTo>
                      <a:lnTo>
                        <a:pt x="828" y="291"/>
                      </a:lnTo>
                      <a:lnTo>
                        <a:pt x="828" y="291"/>
                      </a:lnTo>
                      <a:lnTo>
                        <a:pt x="828" y="290"/>
                      </a:lnTo>
                      <a:lnTo>
                        <a:pt x="829" y="290"/>
                      </a:lnTo>
                      <a:lnTo>
                        <a:pt x="829" y="289"/>
                      </a:lnTo>
                      <a:lnTo>
                        <a:pt x="829" y="289"/>
                      </a:lnTo>
                      <a:lnTo>
                        <a:pt x="828" y="289"/>
                      </a:lnTo>
                      <a:lnTo>
                        <a:pt x="829" y="289"/>
                      </a:lnTo>
                      <a:lnTo>
                        <a:pt x="828" y="289"/>
                      </a:lnTo>
                      <a:lnTo>
                        <a:pt x="829" y="289"/>
                      </a:lnTo>
                      <a:lnTo>
                        <a:pt x="829" y="288"/>
                      </a:lnTo>
                      <a:lnTo>
                        <a:pt x="829" y="288"/>
                      </a:lnTo>
                      <a:lnTo>
                        <a:pt x="828" y="288"/>
                      </a:lnTo>
                      <a:lnTo>
                        <a:pt x="829" y="288"/>
                      </a:lnTo>
                      <a:lnTo>
                        <a:pt x="828" y="288"/>
                      </a:lnTo>
                      <a:lnTo>
                        <a:pt x="828" y="287"/>
                      </a:lnTo>
                      <a:lnTo>
                        <a:pt x="829" y="287"/>
                      </a:lnTo>
                      <a:lnTo>
                        <a:pt x="829" y="286"/>
                      </a:lnTo>
                      <a:lnTo>
                        <a:pt x="829" y="286"/>
                      </a:lnTo>
                      <a:lnTo>
                        <a:pt x="829" y="286"/>
                      </a:lnTo>
                      <a:lnTo>
                        <a:pt x="829" y="287"/>
                      </a:lnTo>
                      <a:lnTo>
                        <a:pt x="828" y="287"/>
                      </a:lnTo>
                      <a:lnTo>
                        <a:pt x="828" y="288"/>
                      </a:lnTo>
                      <a:lnTo>
                        <a:pt x="828" y="287"/>
                      </a:lnTo>
                      <a:lnTo>
                        <a:pt x="828" y="288"/>
                      </a:lnTo>
                      <a:lnTo>
                        <a:pt x="828" y="288"/>
                      </a:lnTo>
                      <a:lnTo>
                        <a:pt x="827" y="288"/>
                      </a:lnTo>
                      <a:lnTo>
                        <a:pt x="827" y="288"/>
                      </a:lnTo>
                      <a:lnTo>
                        <a:pt x="827" y="288"/>
                      </a:lnTo>
                      <a:lnTo>
                        <a:pt x="826" y="288"/>
                      </a:lnTo>
                      <a:lnTo>
                        <a:pt x="826" y="289"/>
                      </a:lnTo>
                      <a:lnTo>
                        <a:pt x="826" y="288"/>
                      </a:lnTo>
                      <a:lnTo>
                        <a:pt x="826" y="289"/>
                      </a:lnTo>
                      <a:lnTo>
                        <a:pt x="825" y="289"/>
                      </a:lnTo>
                      <a:lnTo>
                        <a:pt x="826" y="289"/>
                      </a:lnTo>
                      <a:lnTo>
                        <a:pt x="825" y="289"/>
                      </a:lnTo>
                      <a:lnTo>
                        <a:pt x="825" y="289"/>
                      </a:lnTo>
                      <a:lnTo>
                        <a:pt x="825" y="290"/>
                      </a:lnTo>
                      <a:lnTo>
                        <a:pt x="825" y="290"/>
                      </a:lnTo>
                      <a:lnTo>
                        <a:pt x="825" y="291"/>
                      </a:lnTo>
                      <a:lnTo>
                        <a:pt x="824" y="291"/>
                      </a:lnTo>
                      <a:lnTo>
                        <a:pt x="824" y="290"/>
                      </a:lnTo>
                      <a:lnTo>
                        <a:pt x="824" y="291"/>
                      </a:lnTo>
                      <a:lnTo>
                        <a:pt x="824" y="290"/>
                      </a:lnTo>
                      <a:lnTo>
                        <a:pt x="824" y="291"/>
                      </a:lnTo>
                      <a:lnTo>
                        <a:pt x="824" y="291"/>
                      </a:lnTo>
                      <a:lnTo>
                        <a:pt x="823" y="290"/>
                      </a:lnTo>
                      <a:lnTo>
                        <a:pt x="823" y="291"/>
                      </a:lnTo>
                      <a:lnTo>
                        <a:pt x="822" y="291"/>
                      </a:lnTo>
                      <a:lnTo>
                        <a:pt x="822" y="291"/>
                      </a:lnTo>
                      <a:lnTo>
                        <a:pt x="822" y="291"/>
                      </a:lnTo>
                      <a:lnTo>
                        <a:pt x="822" y="291"/>
                      </a:lnTo>
                      <a:lnTo>
                        <a:pt x="822" y="290"/>
                      </a:lnTo>
                      <a:lnTo>
                        <a:pt x="822" y="289"/>
                      </a:lnTo>
                      <a:lnTo>
                        <a:pt x="822" y="289"/>
                      </a:lnTo>
                      <a:lnTo>
                        <a:pt x="822" y="289"/>
                      </a:lnTo>
                      <a:lnTo>
                        <a:pt x="822" y="289"/>
                      </a:lnTo>
                      <a:lnTo>
                        <a:pt x="822" y="289"/>
                      </a:lnTo>
                      <a:lnTo>
                        <a:pt x="821" y="289"/>
                      </a:lnTo>
                      <a:lnTo>
                        <a:pt x="821" y="289"/>
                      </a:lnTo>
                      <a:lnTo>
                        <a:pt x="821" y="289"/>
                      </a:lnTo>
                      <a:lnTo>
                        <a:pt x="820" y="289"/>
                      </a:lnTo>
                      <a:lnTo>
                        <a:pt x="821" y="289"/>
                      </a:lnTo>
                      <a:lnTo>
                        <a:pt x="820" y="289"/>
                      </a:lnTo>
                      <a:lnTo>
                        <a:pt x="821" y="289"/>
                      </a:lnTo>
                      <a:lnTo>
                        <a:pt x="821" y="288"/>
                      </a:lnTo>
                      <a:lnTo>
                        <a:pt x="820" y="288"/>
                      </a:lnTo>
                      <a:lnTo>
                        <a:pt x="820" y="288"/>
                      </a:lnTo>
                      <a:lnTo>
                        <a:pt x="819" y="288"/>
                      </a:lnTo>
                      <a:lnTo>
                        <a:pt x="818" y="288"/>
                      </a:lnTo>
                      <a:lnTo>
                        <a:pt x="818" y="288"/>
                      </a:lnTo>
                      <a:lnTo>
                        <a:pt x="817" y="288"/>
                      </a:lnTo>
                      <a:lnTo>
                        <a:pt x="818" y="288"/>
                      </a:lnTo>
                      <a:lnTo>
                        <a:pt x="817" y="288"/>
                      </a:lnTo>
                      <a:lnTo>
                        <a:pt x="817" y="288"/>
                      </a:lnTo>
                      <a:lnTo>
                        <a:pt x="817" y="288"/>
                      </a:lnTo>
                      <a:lnTo>
                        <a:pt x="816" y="288"/>
                      </a:lnTo>
                      <a:lnTo>
                        <a:pt x="817" y="288"/>
                      </a:lnTo>
                      <a:lnTo>
                        <a:pt x="816" y="289"/>
                      </a:lnTo>
                      <a:lnTo>
                        <a:pt x="816" y="289"/>
                      </a:lnTo>
                      <a:lnTo>
                        <a:pt x="815" y="289"/>
                      </a:lnTo>
                      <a:lnTo>
                        <a:pt x="814" y="289"/>
                      </a:lnTo>
                      <a:lnTo>
                        <a:pt x="814" y="289"/>
                      </a:lnTo>
                      <a:lnTo>
                        <a:pt x="814" y="289"/>
                      </a:lnTo>
                      <a:lnTo>
                        <a:pt x="813" y="289"/>
                      </a:lnTo>
                      <a:lnTo>
                        <a:pt x="813" y="289"/>
                      </a:lnTo>
                      <a:lnTo>
                        <a:pt x="813" y="289"/>
                      </a:lnTo>
                      <a:lnTo>
                        <a:pt x="812" y="289"/>
                      </a:lnTo>
                      <a:lnTo>
                        <a:pt x="811" y="289"/>
                      </a:lnTo>
                      <a:lnTo>
                        <a:pt x="811" y="289"/>
                      </a:lnTo>
                      <a:lnTo>
                        <a:pt x="811" y="289"/>
                      </a:lnTo>
                      <a:lnTo>
                        <a:pt x="810" y="289"/>
                      </a:lnTo>
                      <a:lnTo>
                        <a:pt x="810" y="290"/>
                      </a:lnTo>
                      <a:lnTo>
                        <a:pt x="810" y="290"/>
                      </a:lnTo>
                      <a:lnTo>
                        <a:pt x="809" y="290"/>
                      </a:lnTo>
                      <a:lnTo>
                        <a:pt x="809" y="289"/>
                      </a:lnTo>
                      <a:lnTo>
                        <a:pt x="809" y="289"/>
                      </a:lnTo>
                      <a:lnTo>
                        <a:pt x="808" y="289"/>
                      </a:lnTo>
                      <a:lnTo>
                        <a:pt x="807" y="289"/>
                      </a:lnTo>
                      <a:lnTo>
                        <a:pt x="807" y="289"/>
                      </a:lnTo>
                      <a:lnTo>
                        <a:pt x="806" y="289"/>
                      </a:lnTo>
                      <a:lnTo>
                        <a:pt x="806" y="289"/>
                      </a:lnTo>
                      <a:lnTo>
                        <a:pt x="805" y="289"/>
                      </a:lnTo>
                      <a:lnTo>
                        <a:pt x="805" y="290"/>
                      </a:lnTo>
                      <a:lnTo>
                        <a:pt x="805" y="290"/>
                      </a:lnTo>
                      <a:lnTo>
                        <a:pt x="805" y="291"/>
                      </a:lnTo>
                      <a:lnTo>
                        <a:pt x="804" y="291"/>
                      </a:lnTo>
                      <a:lnTo>
                        <a:pt x="805" y="291"/>
                      </a:lnTo>
                      <a:lnTo>
                        <a:pt x="804" y="291"/>
                      </a:lnTo>
                      <a:lnTo>
                        <a:pt x="803" y="291"/>
                      </a:lnTo>
                      <a:lnTo>
                        <a:pt x="803" y="291"/>
                      </a:lnTo>
                      <a:lnTo>
                        <a:pt x="802" y="291"/>
                      </a:lnTo>
                      <a:lnTo>
                        <a:pt x="802" y="291"/>
                      </a:lnTo>
                      <a:lnTo>
                        <a:pt x="802" y="292"/>
                      </a:lnTo>
                      <a:lnTo>
                        <a:pt x="801" y="292"/>
                      </a:lnTo>
                      <a:lnTo>
                        <a:pt x="801" y="292"/>
                      </a:lnTo>
                      <a:lnTo>
                        <a:pt x="801" y="292"/>
                      </a:lnTo>
                      <a:lnTo>
                        <a:pt x="801" y="293"/>
                      </a:lnTo>
                      <a:lnTo>
                        <a:pt x="800" y="293"/>
                      </a:lnTo>
                      <a:lnTo>
                        <a:pt x="799" y="293"/>
                      </a:lnTo>
                      <a:lnTo>
                        <a:pt x="799" y="293"/>
                      </a:lnTo>
                      <a:lnTo>
                        <a:pt x="799" y="293"/>
                      </a:lnTo>
                      <a:lnTo>
                        <a:pt x="799" y="293"/>
                      </a:lnTo>
                      <a:lnTo>
                        <a:pt x="799" y="293"/>
                      </a:lnTo>
                      <a:lnTo>
                        <a:pt x="799" y="294"/>
                      </a:lnTo>
                      <a:lnTo>
                        <a:pt x="799" y="295"/>
                      </a:lnTo>
                      <a:lnTo>
                        <a:pt x="799" y="295"/>
                      </a:lnTo>
                      <a:lnTo>
                        <a:pt x="799" y="296"/>
                      </a:lnTo>
                      <a:lnTo>
                        <a:pt x="799" y="296"/>
                      </a:lnTo>
                      <a:lnTo>
                        <a:pt x="799" y="297"/>
                      </a:lnTo>
                      <a:lnTo>
                        <a:pt x="798" y="297"/>
                      </a:lnTo>
                      <a:lnTo>
                        <a:pt x="798" y="297"/>
                      </a:lnTo>
                      <a:lnTo>
                        <a:pt x="797" y="297"/>
                      </a:lnTo>
                      <a:lnTo>
                        <a:pt x="796" y="297"/>
                      </a:lnTo>
                      <a:lnTo>
                        <a:pt x="796" y="298"/>
                      </a:lnTo>
                      <a:lnTo>
                        <a:pt x="796" y="299"/>
                      </a:lnTo>
                      <a:lnTo>
                        <a:pt x="795" y="299"/>
                      </a:lnTo>
                      <a:lnTo>
                        <a:pt x="795" y="299"/>
                      </a:lnTo>
                      <a:lnTo>
                        <a:pt x="794" y="299"/>
                      </a:lnTo>
                      <a:lnTo>
                        <a:pt x="794" y="300"/>
                      </a:lnTo>
                      <a:lnTo>
                        <a:pt x="794" y="300"/>
                      </a:lnTo>
                      <a:lnTo>
                        <a:pt x="794" y="301"/>
                      </a:lnTo>
                      <a:lnTo>
                        <a:pt x="793" y="301"/>
                      </a:lnTo>
                      <a:lnTo>
                        <a:pt x="794" y="301"/>
                      </a:lnTo>
                      <a:lnTo>
                        <a:pt x="793" y="301"/>
                      </a:lnTo>
                      <a:lnTo>
                        <a:pt x="794" y="301"/>
                      </a:lnTo>
                      <a:lnTo>
                        <a:pt x="793" y="301"/>
                      </a:lnTo>
                      <a:lnTo>
                        <a:pt x="793" y="302"/>
                      </a:lnTo>
                      <a:lnTo>
                        <a:pt x="793" y="302"/>
                      </a:lnTo>
                      <a:lnTo>
                        <a:pt x="793" y="303"/>
                      </a:lnTo>
                      <a:lnTo>
                        <a:pt x="793" y="303"/>
                      </a:lnTo>
                      <a:lnTo>
                        <a:pt x="792" y="303"/>
                      </a:lnTo>
                      <a:lnTo>
                        <a:pt x="793" y="303"/>
                      </a:lnTo>
                      <a:lnTo>
                        <a:pt x="792" y="303"/>
                      </a:lnTo>
                      <a:lnTo>
                        <a:pt x="792" y="303"/>
                      </a:lnTo>
                      <a:lnTo>
                        <a:pt x="792" y="304"/>
                      </a:lnTo>
                      <a:lnTo>
                        <a:pt x="791" y="304"/>
                      </a:lnTo>
                      <a:lnTo>
                        <a:pt x="791" y="304"/>
                      </a:lnTo>
                      <a:lnTo>
                        <a:pt x="791" y="304"/>
                      </a:lnTo>
                      <a:lnTo>
                        <a:pt x="791" y="304"/>
                      </a:lnTo>
                      <a:lnTo>
                        <a:pt x="791" y="304"/>
                      </a:lnTo>
                      <a:lnTo>
                        <a:pt x="790" y="304"/>
                      </a:lnTo>
                      <a:lnTo>
                        <a:pt x="790" y="305"/>
                      </a:lnTo>
                      <a:lnTo>
                        <a:pt x="790" y="305"/>
                      </a:lnTo>
                      <a:lnTo>
                        <a:pt x="790" y="306"/>
                      </a:lnTo>
                      <a:lnTo>
                        <a:pt x="789" y="306"/>
                      </a:lnTo>
                      <a:lnTo>
                        <a:pt x="789" y="306"/>
                      </a:lnTo>
                      <a:lnTo>
                        <a:pt x="789" y="306"/>
                      </a:lnTo>
                      <a:lnTo>
                        <a:pt x="788" y="306"/>
                      </a:lnTo>
                      <a:lnTo>
                        <a:pt x="788" y="306"/>
                      </a:lnTo>
                      <a:lnTo>
                        <a:pt x="788" y="306"/>
                      </a:lnTo>
                      <a:lnTo>
                        <a:pt x="787" y="306"/>
                      </a:lnTo>
                      <a:lnTo>
                        <a:pt x="787" y="307"/>
                      </a:lnTo>
                      <a:lnTo>
                        <a:pt x="787" y="307"/>
                      </a:lnTo>
                      <a:lnTo>
                        <a:pt x="786" y="307"/>
                      </a:lnTo>
                      <a:lnTo>
                        <a:pt x="786" y="308"/>
                      </a:lnTo>
                      <a:lnTo>
                        <a:pt x="785" y="308"/>
                      </a:lnTo>
                      <a:lnTo>
                        <a:pt x="785" y="308"/>
                      </a:lnTo>
                      <a:lnTo>
                        <a:pt x="784" y="308"/>
                      </a:lnTo>
                      <a:lnTo>
                        <a:pt x="784" y="309"/>
                      </a:lnTo>
                      <a:lnTo>
                        <a:pt x="784" y="309"/>
                      </a:lnTo>
                      <a:lnTo>
                        <a:pt x="784" y="310"/>
                      </a:lnTo>
                      <a:lnTo>
                        <a:pt x="783" y="310"/>
                      </a:lnTo>
                      <a:lnTo>
                        <a:pt x="784" y="310"/>
                      </a:lnTo>
                      <a:lnTo>
                        <a:pt x="783" y="310"/>
                      </a:lnTo>
                      <a:lnTo>
                        <a:pt x="783" y="310"/>
                      </a:lnTo>
                      <a:lnTo>
                        <a:pt x="783" y="310"/>
                      </a:lnTo>
                      <a:lnTo>
                        <a:pt x="783" y="310"/>
                      </a:lnTo>
                      <a:lnTo>
                        <a:pt x="783" y="310"/>
                      </a:lnTo>
                      <a:lnTo>
                        <a:pt x="783" y="311"/>
                      </a:lnTo>
                      <a:lnTo>
                        <a:pt x="782" y="311"/>
                      </a:lnTo>
                      <a:lnTo>
                        <a:pt x="782" y="312"/>
                      </a:lnTo>
                      <a:lnTo>
                        <a:pt x="781" y="312"/>
                      </a:lnTo>
                      <a:lnTo>
                        <a:pt x="781" y="313"/>
                      </a:lnTo>
                      <a:lnTo>
                        <a:pt x="781" y="313"/>
                      </a:lnTo>
                      <a:lnTo>
                        <a:pt x="781" y="314"/>
                      </a:lnTo>
                      <a:lnTo>
                        <a:pt x="781" y="313"/>
                      </a:lnTo>
                      <a:lnTo>
                        <a:pt x="781" y="313"/>
                      </a:lnTo>
                      <a:lnTo>
                        <a:pt x="781" y="312"/>
                      </a:lnTo>
                      <a:lnTo>
                        <a:pt x="782" y="312"/>
                      </a:lnTo>
                      <a:lnTo>
                        <a:pt x="782" y="311"/>
                      </a:lnTo>
                      <a:lnTo>
                        <a:pt x="781" y="311"/>
                      </a:lnTo>
                      <a:lnTo>
                        <a:pt x="781" y="311"/>
                      </a:lnTo>
                      <a:lnTo>
                        <a:pt x="781" y="312"/>
                      </a:lnTo>
                      <a:lnTo>
                        <a:pt x="781" y="313"/>
                      </a:lnTo>
                      <a:lnTo>
                        <a:pt x="781" y="312"/>
                      </a:lnTo>
                      <a:lnTo>
                        <a:pt x="781" y="313"/>
                      </a:lnTo>
                      <a:lnTo>
                        <a:pt x="781" y="313"/>
                      </a:lnTo>
                      <a:lnTo>
                        <a:pt x="781" y="313"/>
                      </a:lnTo>
                      <a:lnTo>
                        <a:pt x="781" y="314"/>
                      </a:lnTo>
                      <a:lnTo>
                        <a:pt x="781" y="314"/>
                      </a:lnTo>
                      <a:lnTo>
                        <a:pt x="781" y="314"/>
                      </a:lnTo>
                      <a:lnTo>
                        <a:pt x="781" y="314"/>
                      </a:lnTo>
                      <a:lnTo>
                        <a:pt x="781" y="314"/>
                      </a:lnTo>
                      <a:lnTo>
                        <a:pt x="781" y="314"/>
                      </a:lnTo>
                      <a:lnTo>
                        <a:pt x="781" y="314"/>
                      </a:lnTo>
                      <a:lnTo>
                        <a:pt x="781" y="314"/>
                      </a:lnTo>
                      <a:lnTo>
                        <a:pt x="780" y="314"/>
                      </a:lnTo>
                      <a:lnTo>
                        <a:pt x="780" y="314"/>
                      </a:lnTo>
                      <a:lnTo>
                        <a:pt x="780" y="314"/>
                      </a:lnTo>
                      <a:lnTo>
                        <a:pt x="779" y="314"/>
                      </a:lnTo>
                      <a:lnTo>
                        <a:pt x="779" y="315"/>
                      </a:lnTo>
                      <a:lnTo>
                        <a:pt x="779" y="315"/>
                      </a:lnTo>
                      <a:lnTo>
                        <a:pt x="779" y="316"/>
                      </a:lnTo>
                      <a:lnTo>
                        <a:pt x="780" y="317"/>
                      </a:lnTo>
                      <a:lnTo>
                        <a:pt x="780" y="317"/>
                      </a:lnTo>
                      <a:lnTo>
                        <a:pt x="780" y="318"/>
                      </a:lnTo>
                      <a:lnTo>
                        <a:pt x="780" y="318"/>
                      </a:lnTo>
                      <a:lnTo>
                        <a:pt x="780" y="318"/>
                      </a:lnTo>
                      <a:lnTo>
                        <a:pt x="780" y="318"/>
                      </a:lnTo>
                      <a:lnTo>
                        <a:pt x="780" y="317"/>
                      </a:lnTo>
                      <a:lnTo>
                        <a:pt x="779" y="317"/>
                      </a:lnTo>
                      <a:lnTo>
                        <a:pt x="779" y="318"/>
                      </a:lnTo>
                      <a:lnTo>
                        <a:pt x="779" y="318"/>
                      </a:lnTo>
                      <a:lnTo>
                        <a:pt x="779" y="318"/>
                      </a:lnTo>
                      <a:lnTo>
                        <a:pt x="779" y="319"/>
                      </a:lnTo>
                      <a:lnTo>
                        <a:pt x="779" y="318"/>
                      </a:lnTo>
                      <a:lnTo>
                        <a:pt x="778" y="319"/>
                      </a:lnTo>
                      <a:lnTo>
                        <a:pt x="779" y="319"/>
                      </a:lnTo>
                      <a:lnTo>
                        <a:pt x="779" y="320"/>
                      </a:lnTo>
                      <a:lnTo>
                        <a:pt x="778" y="320"/>
                      </a:lnTo>
                      <a:lnTo>
                        <a:pt x="779" y="320"/>
                      </a:lnTo>
                      <a:lnTo>
                        <a:pt x="778" y="320"/>
                      </a:lnTo>
                      <a:lnTo>
                        <a:pt x="779" y="320"/>
                      </a:lnTo>
                      <a:lnTo>
                        <a:pt x="779" y="319"/>
                      </a:lnTo>
                      <a:lnTo>
                        <a:pt x="779" y="320"/>
                      </a:lnTo>
                      <a:lnTo>
                        <a:pt x="779" y="320"/>
                      </a:lnTo>
                      <a:lnTo>
                        <a:pt x="780" y="320"/>
                      </a:lnTo>
                      <a:lnTo>
                        <a:pt x="780" y="319"/>
                      </a:lnTo>
                      <a:lnTo>
                        <a:pt x="780" y="319"/>
                      </a:lnTo>
                      <a:lnTo>
                        <a:pt x="781" y="319"/>
                      </a:lnTo>
                      <a:lnTo>
                        <a:pt x="781" y="319"/>
                      </a:lnTo>
                      <a:lnTo>
                        <a:pt x="780" y="319"/>
                      </a:lnTo>
                      <a:lnTo>
                        <a:pt x="781" y="319"/>
                      </a:lnTo>
                      <a:lnTo>
                        <a:pt x="781" y="320"/>
                      </a:lnTo>
                      <a:lnTo>
                        <a:pt x="781" y="321"/>
                      </a:lnTo>
                      <a:lnTo>
                        <a:pt x="781" y="320"/>
                      </a:lnTo>
                      <a:lnTo>
                        <a:pt x="781" y="320"/>
                      </a:lnTo>
                      <a:lnTo>
                        <a:pt x="782" y="320"/>
                      </a:lnTo>
                      <a:lnTo>
                        <a:pt x="781" y="320"/>
                      </a:lnTo>
                      <a:lnTo>
                        <a:pt x="781" y="319"/>
                      </a:lnTo>
                      <a:lnTo>
                        <a:pt x="781" y="319"/>
                      </a:lnTo>
                      <a:lnTo>
                        <a:pt x="781" y="319"/>
                      </a:lnTo>
                      <a:lnTo>
                        <a:pt x="781" y="319"/>
                      </a:lnTo>
                      <a:lnTo>
                        <a:pt x="781" y="319"/>
                      </a:lnTo>
                      <a:lnTo>
                        <a:pt x="781" y="318"/>
                      </a:lnTo>
                      <a:lnTo>
                        <a:pt x="781" y="319"/>
                      </a:lnTo>
                      <a:lnTo>
                        <a:pt x="782" y="319"/>
                      </a:lnTo>
                      <a:lnTo>
                        <a:pt x="783" y="319"/>
                      </a:lnTo>
                      <a:lnTo>
                        <a:pt x="783" y="318"/>
                      </a:lnTo>
                      <a:lnTo>
                        <a:pt x="783" y="319"/>
                      </a:lnTo>
                      <a:lnTo>
                        <a:pt x="783" y="319"/>
                      </a:lnTo>
                      <a:lnTo>
                        <a:pt x="783" y="319"/>
                      </a:lnTo>
                      <a:lnTo>
                        <a:pt x="784" y="319"/>
                      </a:lnTo>
                      <a:lnTo>
                        <a:pt x="784" y="319"/>
                      </a:lnTo>
                      <a:lnTo>
                        <a:pt x="785" y="319"/>
                      </a:lnTo>
                      <a:lnTo>
                        <a:pt x="785" y="319"/>
                      </a:lnTo>
                      <a:lnTo>
                        <a:pt x="786" y="319"/>
                      </a:lnTo>
                      <a:lnTo>
                        <a:pt x="786" y="319"/>
                      </a:lnTo>
                      <a:lnTo>
                        <a:pt x="786" y="320"/>
                      </a:lnTo>
                      <a:lnTo>
                        <a:pt x="786" y="320"/>
                      </a:lnTo>
                      <a:lnTo>
                        <a:pt x="786" y="321"/>
                      </a:lnTo>
                      <a:lnTo>
                        <a:pt x="787" y="321"/>
                      </a:lnTo>
                      <a:lnTo>
                        <a:pt x="787" y="321"/>
                      </a:lnTo>
                      <a:lnTo>
                        <a:pt x="787" y="321"/>
                      </a:lnTo>
                      <a:lnTo>
                        <a:pt x="787" y="322"/>
                      </a:lnTo>
                      <a:lnTo>
                        <a:pt x="787" y="322"/>
                      </a:lnTo>
                      <a:lnTo>
                        <a:pt x="787" y="322"/>
                      </a:lnTo>
                      <a:lnTo>
                        <a:pt x="787" y="322"/>
                      </a:lnTo>
                      <a:lnTo>
                        <a:pt x="787" y="322"/>
                      </a:lnTo>
                      <a:lnTo>
                        <a:pt x="787" y="323"/>
                      </a:lnTo>
                      <a:lnTo>
                        <a:pt x="787" y="322"/>
                      </a:lnTo>
                      <a:lnTo>
                        <a:pt x="787" y="323"/>
                      </a:lnTo>
                      <a:lnTo>
                        <a:pt x="787" y="323"/>
                      </a:lnTo>
                      <a:lnTo>
                        <a:pt x="787" y="324"/>
                      </a:lnTo>
                      <a:lnTo>
                        <a:pt x="787" y="324"/>
                      </a:lnTo>
                      <a:lnTo>
                        <a:pt x="787" y="323"/>
                      </a:lnTo>
                      <a:lnTo>
                        <a:pt x="786" y="323"/>
                      </a:lnTo>
                      <a:lnTo>
                        <a:pt x="786" y="323"/>
                      </a:lnTo>
                      <a:lnTo>
                        <a:pt x="786" y="324"/>
                      </a:lnTo>
                      <a:lnTo>
                        <a:pt x="786" y="323"/>
                      </a:lnTo>
                      <a:lnTo>
                        <a:pt x="785" y="323"/>
                      </a:lnTo>
                      <a:lnTo>
                        <a:pt x="784" y="323"/>
                      </a:lnTo>
                      <a:lnTo>
                        <a:pt x="784" y="323"/>
                      </a:lnTo>
                      <a:lnTo>
                        <a:pt x="784" y="324"/>
                      </a:lnTo>
                      <a:lnTo>
                        <a:pt x="784" y="324"/>
                      </a:lnTo>
                      <a:lnTo>
                        <a:pt x="784" y="324"/>
                      </a:lnTo>
                      <a:lnTo>
                        <a:pt x="783" y="324"/>
                      </a:lnTo>
                      <a:lnTo>
                        <a:pt x="783" y="324"/>
                      </a:lnTo>
                      <a:lnTo>
                        <a:pt x="783" y="323"/>
                      </a:lnTo>
                      <a:lnTo>
                        <a:pt x="782" y="323"/>
                      </a:lnTo>
                      <a:lnTo>
                        <a:pt x="781" y="323"/>
                      </a:lnTo>
                      <a:lnTo>
                        <a:pt x="781" y="323"/>
                      </a:lnTo>
                      <a:lnTo>
                        <a:pt x="780" y="323"/>
                      </a:lnTo>
                      <a:lnTo>
                        <a:pt x="780" y="324"/>
                      </a:lnTo>
                      <a:lnTo>
                        <a:pt x="780" y="324"/>
                      </a:lnTo>
                      <a:lnTo>
                        <a:pt x="780" y="324"/>
                      </a:lnTo>
                      <a:lnTo>
                        <a:pt x="780" y="325"/>
                      </a:lnTo>
                      <a:lnTo>
                        <a:pt x="779" y="324"/>
                      </a:lnTo>
                      <a:lnTo>
                        <a:pt x="779" y="324"/>
                      </a:lnTo>
                      <a:lnTo>
                        <a:pt x="779" y="325"/>
                      </a:lnTo>
                      <a:lnTo>
                        <a:pt x="778" y="325"/>
                      </a:lnTo>
                      <a:lnTo>
                        <a:pt x="777" y="325"/>
                      </a:lnTo>
                      <a:lnTo>
                        <a:pt x="777" y="325"/>
                      </a:lnTo>
                      <a:lnTo>
                        <a:pt x="777" y="324"/>
                      </a:lnTo>
                      <a:lnTo>
                        <a:pt x="776" y="324"/>
                      </a:lnTo>
                      <a:lnTo>
                        <a:pt x="776" y="324"/>
                      </a:lnTo>
                      <a:lnTo>
                        <a:pt x="776" y="324"/>
                      </a:lnTo>
                      <a:lnTo>
                        <a:pt x="776" y="323"/>
                      </a:lnTo>
                      <a:lnTo>
                        <a:pt x="775" y="323"/>
                      </a:lnTo>
                      <a:lnTo>
                        <a:pt x="776" y="323"/>
                      </a:lnTo>
                      <a:lnTo>
                        <a:pt x="776" y="322"/>
                      </a:lnTo>
                      <a:lnTo>
                        <a:pt x="775" y="322"/>
                      </a:lnTo>
                      <a:lnTo>
                        <a:pt x="775" y="323"/>
                      </a:lnTo>
                      <a:lnTo>
                        <a:pt x="775" y="323"/>
                      </a:lnTo>
                      <a:lnTo>
                        <a:pt x="774" y="323"/>
                      </a:lnTo>
                      <a:lnTo>
                        <a:pt x="774" y="322"/>
                      </a:lnTo>
                      <a:lnTo>
                        <a:pt x="773" y="322"/>
                      </a:lnTo>
                      <a:lnTo>
                        <a:pt x="773" y="322"/>
                      </a:lnTo>
                      <a:lnTo>
                        <a:pt x="773" y="323"/>
                      </a:lnTo>
                      <a:lnTo>
                        <a:pt x="772" y="323"/>
                      </a:lnTo>
                      <a:lnTo>
                        <a:pt x="773" y="322"/>
                      </a:lnTo>
                      <a:lnTo>
                        <a:pt x="772" y="322"/>
                      </a:lnTo>
                      <a:lnTo>
                        <a:pt x="772" y="323"/>
                      </a:lnTo>
                      <a:lnTo>
                        <a:pt x="772" y="324"/>
                      </a:lnTo>
                      <a:lnTo>
                        <a:pt x="772" y="324"/>
                      </a:lnTo>
                      <a:lnTo>
                        <a:pt x="772" y="324"/>
                      </a:lnTo>
                      <a:lnTo>
                        <a:pt x="772" y="324"/>
                      </a:lnTo>
                      <a:lnTo>
                        <a:pt x="772" y="324"/>
                      </a:lnTo>
                      <a:lnTo>
                        <a:pt x="772" y="324"/>
                      </a:lnTo>
                      <a:lnTo>
                        <a:pt x="772" y="324"/>
                      </a:lnTo>
                      <a:lnTo>
                        <a:pt x="772" y="324"/>
                      </a:lnTo>
                      <a:lnTo>
                        <a:pt x="772" y="325"/>
                      </a:lnTo>
                      <a:lnTo>
                        <a:pt x="772" y="324"/>
                      </a:lnTo>
                      <a:lnTo>
                        <a:pt x="772" y="324"/>
                      </a:lnTo>
                      <a:lnTo>
                        <a:pt x="772" y="325"/>
                      </a:lnTo>
                      <a:lnTo>
                        <a:pt x="772" y="324"/>
                      </a:lnTo>
                      <a:lnTo>
                        <a:pt x="771" y="324"/>
                      </a:lnTo>
                      <a:lnTo>
                        <a:pt x="771" y="325"/>
                      </a:lnTo>
                      <a:lnTo>
                        <a:pt x="770" y="325"/>
                      </a:lnTo>
                      <a:lnTo>
                        <a:pt x="770" y="324"/>
                      </a:lnTo>
                      <a:lnTo>
                        <a:pt x="770" y="325"/>
                      </a:lnTo>
                      <a:lnTo>
                        <a:pt x="770" y="325"/>
                      </a:lnTo>
                      <a:lnTo>
                        <a:pt x="769" y="325"/>
                      </a:lnTo>
                      <a:lnTo>
                        <a:pt x="769" y="325"/>
                      </a:lnTo>
                      <a:lnTo>
                        <a:pt x="769" y="325"/>
                      </a:lnTo>
                      <a:lnTo>
                        <a:pt x="769" y="326"/>
                      </a:lnTo>
                      <a:lnTo>
                        <a:pt x="769" y="326"/>
                      </a:lnTo>
                      <a:lnTo>
                        <a:pt x="769" y="327"/>
                      </a:lnTo>
                      <a:lnTo>
                        <a:pt x="769" y="326"/>
                      </a:lnTo>
                      <a:lnTo>
                        <a:pt x="769" y="327"/>
                      </a:lnTo>
                      <a:lnTo>
                        <a:pt x="769" y="326"/>
                      </a:lnTo>
                      <a:lnTo>
                        <a:pt x="768" y="326"/>
                      </a:lnTo>
                      <a:lnTo>
                        <a:pt x="768" y="326"/>
                      </a:lnTo>
                      <a:lnTo>
                        <a:pt x="767" y="326"/>
                      </a:lnTo>
                      <a:lnTo>
                        <a:pt x="767" y="327"/>
                      </a:lnTo>
                      <a:lnTo>
                        <a:pt x="767" y="326"/>
                      </a:lnTo>
                      <a:lnTo>
                        <a:pt x="766" y="326"/>
                      </a:lnTo>
                      <a:lnTo>
                        <a:pt x="766" y="326"/>
                      </a:lnTo>
                      <a:lnTo>
                        <a:pt x="766" y="326"/>
                      </a:lnTo>
                      <a:lnTo>
                        <a:pt x="765" y="326"/>
                      </a:lnTo>
                      <a:lnTo>
                        <a:pt x="766" y="326"/>
                      </a:lnTo>
                      <a:lnTo>
                        <a:pt x="765" y="326"/>
                      </a:lnTo>
                      <a:lnTo>
                        <a:pt x="765" y="325"/>
                      </a:lnTo>
                      <a:lnTo>
                        <a:pt x="765" y="325"/>
                      </a:lnTo>
                      <a:lnTo>
                        <a:pt x="765" y="325"/>
                      </a:lnTo>
                      <a:lnTo>
                        <a:pt x="764" y="325"/>
                      </a:lnTo>
                      <a:lnTo>
                        <a:pt x="764" y="325"/>
                      </a:lnTo>
                      <a:lnTo>
                        <a:pt x="765" y="325"/>
                      </a:lnTo>
                      <a:lnTo>
                        <a:pt x="764" y="325"/>
                      </a:lnTo>
                      <a:lnTo>
                        <a:pt x="764" y="325"/>
                      </a:lnTo>
                      <a:lnTo>
                        <a:pt x="763" y="325"/>
                      </a:lnTo>
                      <a:lnTo>
                        <a:pt x="763" y="326"/>
                      </a:lnTo>
                      <a:lnTo>
                        <a:pt x="762" y="326"/>
                      </a:lnTo>
                      <a:lnTo>
                        <a:pt x="762" y="326"/>
                      </a:lnTo>
                      <a:lnTo>
                        <a:pt x="762" y="326"/>
                      </a:lnTo>
                      <a:lnTo>
                        <a:pt x="762" y="326"/>
                      </a:lnTo>
                      <a:lnTo>
                        <a:pt x="762" y="327"/>
                      </a:lnTo>
                      <a:lnTo>
                        <a:pt x="762" y="327"/>
                      </a:lnTo>
                      <a:lnTo>
                        <a:pt x="761" y="327"/>
                      </a:lnTo>
                      <a:lnTo>
                        <a:pt x="761" y="327"/>
                      </a:lnTo>
                      <a:lnTo>
                        <a:pt x="760" y="327"/>
                      </a:lnTo>
                      <a:lnTo>
                        <a:pt x="760" y="327"/>
                      </a:lnTo>
                      <a:lnTo>
                        <a:pt x="760" y="328"/>
                      </a:lnTo>
                      <a:lnTo>
                        <a:pt x="759" y="328"/>
                      </a:lnTo>
                      <a:lnTo>
                        <a:pt x="758" y="328"/>
                      </a:lnTo>
                      <a:lnTo>
                        <a:pt x="758" y="328"/>
                      </a:lnTo>
                      <a:lnTo>
                        <a:pt x="758" y="327"/>
                      </a:lnTo>
                      <a:lnTo>
                        <a:pt x="757" y="327"/>
                      </a:lnTo>
                      <a:lnTo>
                        <a:pt x="757" y="328"/>
                      </a:lnTo>
                      <a:lnTo>
                        <a:pt x="756" y="328"/>
                      </a:lnTo>
                      <a:lnTo>
                        <a:pt x="756" y="327"/>
                      </a:lnTo>
                      <a:lnTo>
                        <a:pt x="756" y="326"/>
                      </a:lnTo>
                      <a:lnTo>
                        <a:pt x="755" y="326"/>
                      </a:lnTo>
                      <a:lnTo>
                        <a:pt x="755" y="326"/>
                      </a:lnTo>
                      <a:lnTo>
                        <a:pt x="755" y="325"/>
                      </a:lnTo>
                      <a:lnTo>
                        <a:pt x="755" y="325"/>
                      </a:lnTo>
                      <a:lnTo>
                        <a:pt x="755" y="325"/>
                      </a:lnTo>
                      <a:lnTo>
                        <a:pt x="754" y="325"/>
                      </a:lnTo>
                      <a:lnTo>
                        <a:pt x="754" y="324"/>
                      </a:lnTo>
                      <a:lnTo>
                        <a:pt x="755" y="325"/>
                      </a:lnTo>
                      <a:lnTo>
                        <a:pt x="755" y="324"/>
                      </a:lnTo>
                      <a:lnTo>
                        <a:pt x="756" y="324"/>
                      </a:lnTo>
                      <a:lnTo>
                        <a:pt x="757" y="324"/>
                      </a:lnTo>
                      <a:lnTo>
                        <a:pt x="757" y="324"/>
                      </a:lnTo>
                      <a:lnTo>
                        <a:pt x="757" y="324"/>
                      </a:lnTo>
                      <a:lnTo>
                        <a:pt x="758" y="324"/>
                      </a:lnTo>
                      <a:lnTo>
                        <a:pt x="758" y="324"/>
                      </a:lnTo>
                      <a:lnTo>
                        <a:pt x="759" y="324"/>
                      </a:lnTo>
                      <a:lnTo>
                        <a:pt x="760" y="324"/>
                      </a:lnTo>
                      <a:lnTo>
                        <a:pt x="760" y="324"/>
                      </a:lnTo>
                      <a:lnTo>
                        <a:pt x="760" y="324"/>
                      </a:lnTo>
                      <a:lnTo>
                        <a:pt x="761" y="324"/>
                      </a:lnTo>
                      <a:lnTo>
                        <a:pt x="761" y="324"/>
                      </a:lnTo>
                      <a:lnTo>
                        <a:pt x="761" y="324"/>
                      </a:lnTo>
                      <a:lnTo>
                        <a:pt x="762" y="324"/>
                      </a:lnTo>
                      <a:lnTo>
                        <a:pt x="762" y="324"/>
                      </a:lnTo>
                      <a:lnTo>
                        <a:pt x="763" y="323"/>
                      </a:lnTo>
                      <a:lnTo>
                        <a:pt x="764" y="323"/>
                      </a:lnTo>
                      <a:lnTo>
                        <a:pt x="764" y="323"/>
                      </a:lnTo>
                      <a:lnTo>
                        <a:pt x="764" y="322"/>
                      </a:lnTo>
                      <a:lnTo>
                        <a:pt x="764" y="322"/>
                      </a:lnTo>
                      <a:lnTo>
                        <a:pt x="763" y="322"/>
                      </a:lnTo>
                      <a:lnTo>
                        <a:pt x="763" y="322"/>
                      </a:lnTo>
                      <a:lnTo>
                        <a:pt x="762" y="322"/>
                      </a:lnTo>
                      <a:lnTo>
                        <a:pt x="762" y="322"/>
                      </a:lnTo>
                      <a:lnTo>
                        <a:pt x="761" y="322"/>
                      </a:lnTo>
                      <a:lnTo>
                        <a:pt x="761" y="322"/>
                      </a:lnTo>
                      <a:lnTo>
                        <a:pt x="761" y="322"/>
                      </a:lnTo>
                      <a:lnTo>
                        <a:pt x="760" y="322"/>
                      </a:lnTo>
                      <a:lnTo>
                        <a:pt x="760" y="322"/>
                      </a:lnTo>
                      <a:lnTo>
                        <a:pt x="760" y="321"/>
                      </a:lnTo>
                      <a:lnTo>
                        <a:pt x="759" y="321"/>
                      </a:lnTo>
                      <a:lnTo>
                        <a:pt x="760" y="321"/>
                      </a:lnTo>
                      <a:lnTo>
                        <a:pt x="760" y="321"/>
                      </a:lnTo>
                      <a:lnTo>
                        <a:pt x="759" y="321"/>
                      </a:lnTo>
                      <a:lnTo>
                        <a:pt x="759" y="320"/>
                      </a:lnTo>
                      <a:lnTo>
                        <a:pt x="759" y="319"/>
                      </a:lnTo>
                      <a:lnTo>
                        <a:pt x="758" y="319"/>
                      </a:lnTo>
                      <a:lnTo>
                        <a:pt x="758" y="319"/>
                      </a:lnTo>
                      <a:lnTo>
                        <a:pt x="758" y="319"/>
                      </a:lnTo>
                      <a:lnTo>
                        <a:pt x="757" y="319"/>
                      </a:lnTo>
                      <a:lnTo>
                        <a:pt x="757" y="318"/>
                      </a:lnTo>
                      <a:lnTo>
                        <a:pt x="757" y="318"/>
                      </a:lnTo>
                      <a:lnTo>
                        <a:pt x="757" y="318"/>
                      </a:lnTo>
                      <a:lnTo>
                        <a:pt x="757" y="318"/>
                      </a:lnTo>
                      <a:lnTo>
                        <a:pt x="757" y="318"/>
                      </a:lnTo>
                      <a:lnTo>
                        <a:pt x="757" y="318"/>
                      </a:lnTo>
                      <a:lnTo>
                        <a:pt x="756" y="318"/>
                      </a:lnTo>
                      <a:lnTo>
                        <a:pt x="756" y="318"/>
                      </a:lnTo>
                      <a:lnTo>
                        <a:pt x="755" y="318"/>
                      </a:lnTo>
                      <a:lnTo>
                        <a:pt x="756" y="318"/>
                      </a:lnTo>
                      <a:lnTo>
                        <a:pt x="755" y="318"/>
                      </a:lnTo>
                      <a:lnTo>
                        <a:pt x="755" y="318"/>
                      </a:lnTo>
                      <a:lnTo>
                        <a:pt x="754" y="318"/>
                      </a:lnTo>
                      <a:lnTo>
                        <a:pt x="754" y="318"/>
                      </a:lnTo>
                      <a:lnTo>
                        <a:pt x="754" y="318"/>
                      </a:lnTo>
                      <a:lnTo>
                        <a:pt x="753" y="318"/>
                      </a:lnTo>
                      <a:lnTo>
                        <a:pt x="753" y="318"/>
                      </a:lnTo>
                      <a:lnTo>
                        <a:pt x="753" y="319"/>
                      </a:lnTo>
                      <a:lnTo>
                        <a:pt x="753" y="319"/>
                      </a:lnTo>
                      <a:lnTo>
                        <a:pt x="753" y="319"/>
                      </a:lnTo>
                      <a:lnTo>
                        <a:pt x="753" y="319"/>
                      </a:lnTo>
                      <a:lnTo>
                        <a:pt x="753" y="319"/>
                      </a:lnTo>
                      <a:lnTo>
                        <a:pt x="753" y="319"/>
                      </a:lnTo>
                      <a:lnTo>
                        <a:pt x="753" y="319"/>
                      </a:lnTo>
                      <a:lnTo>
                        <a:pt x="753" y="320"/>
                      </a:lnTo>
                      <a:lnTo>
                        <a:pt x="753" y="319"/>
                      </a:lnTo>
                      <a:lnTo>
                        <a:pt x="752" y="319"/>
                      </a:lnTo>
                      <a:lnTo>
                        <a:pt x="752" y="320"/>
                      </a:lnTo>
                      <a:lnTo>
                        <a:pt x="751" y="320"/>
                      </a:lnTo>
                      <a:lnTo>
                        <a:pt x="751" y="319"/>
                      </a:lnTo>
                      <a:lnTo>
                        <a:pt x="751" y="319"/>
                      </a:lnTo>
                      <a:lnTo>
                        <a:pt x="750" y="319"/>
                      </a:lnTo>
                      <a:lnTo>
                        <a:pt x="750" y="319"/>
                      </a:lnTo>
                      <a:lnTo>
                        <a:pt x="750" y="319"/>
                      </a:lnTo>
                      <a:lnTo>
                        <a:pt x="749" y="319"/>
                      </a:lnTo>
                      <a:lnTo>
                        <a:pt x="750" y="319"/>
                      </a:lnTo>
                      <a:lnTo>
                        <a:pt x="750" y="319"/>
                      </a:lnTo>
                      <a:lnTo>
                        <a:pt x="750" y="319"/>
                      </a:lnTo>
                      <a:lnTo>
                        <a:pt x="751" y="319"/>
                      </a:lnTo>
                      <a:lnTo>
                        <a:pt x="751" y="319"/>
                      </a:lnTo>
                      <a:lnTo>
                        <a:pt x="751" y="318"/>
                      </a:lnTo>
                      <a:lnTo>
                        <a:pt x="751" y="318"/>
                      </a:lnTo>
                      <a:lnTo>
                        <a:pt x="750" y="318"/>
                      </a:lnTo>
                      <a:lnTo>
                        <a:pt x="750" y="318"/>
                      </a:lnTo>
                      <a:lnTo>
                        <a:pt x="749" y="318"/>
                      </a:lnTo>
                      <a:lnTo>
                        <a:pt x="749" y="318"/>
                      </a:lnTo>
                      <a:lnTo>
                        <a:pt x="749" y="318"/>
                      </a:lnTo>
                      <a:lnTo>
                        <a:pt x="749" y="317"/>
                      </a:lnTo>
                      <a:lnTo>
                        <a:pt x="748" y="317"/>
                      </a:lnTo>
                      <a:lnTo>
                        <a:pt x="747" y="317"/>
                      </a:lnTo>
                      <a:lnTo>
                        <a:pt x="746" y="317"/>
                      </a:lnTo>
                      <a:lnTo>
                        <a:pt x="746" y="317"/>
                      </a:lnTo>
                      <a:lnTo>
                        <a:pt x="746" y="317"/>
                      </a:lnTo>
                      <a:lnTo>
                        <a:pt x="747" y="317"/>
                      </a:lnTo>
                      <a:lnTo>
                        <a:pt x="746" y="317"/>
                      </a:lnTo>
                      <a:lnTo>
                        <a:pt x="746" y="317"/>
                      </a:lnTo>
                      <a:lnTo>
                        <a:pt x="746" y="317"/>
                      </a:lnTo>
                      <a:lnTo>
                        <a:pt x="745" y="317"/>
                      </a:lnTo>
                      <a:lnTo>
                        <a:pt x="744" y="317"/>
                      </a:lnTo>
                      <a:lnTo>
                        <a:pt x="744" y="316"/>
                      </a:lnTo>
                      <a:lnTo>
                        <a:pt x="743" y="316"/>
                      </a:lnTo>
                      <a:lnTo>
                        <a:pt x="743" y="316"/>
                      </a:lnTo>
                      <a:lnTo>
                        <a:pt x="742" y="316"/>
                      </a:lnTo>
                      <a:lnTo>
                        <a:pt x="742" y="316"/>
                      </a:lnTo>
                      <a:lnTo>
                        <a:pt x="741" y="316"/>
                      </a:lnTo>
                      <a:lnTo>
                        <a:pt x="740" y="316"/>
                      </a:lnTo>
                      <a:lnTo>
                        <a:pt x="741" y="316"/>
                      </a:lnTo>
                      <a:lnTo>
                        <a:pt x="741" y="315"/>
                      </a:lnTo>
                      <a:lnTo>
                        <a:pt x="741" y="316"/>
                      </a:lnTo>
                      <a:lnTo>
                        <a:pt x="741" y="315"/>
                      </a:lnTo>
                      <a:lnTo>
                        <a:pt x="740" y="316"/>
                      </a:lnTo>
                      <a:lnTo>
                        <a:pt x="740" y="316"/>
                      </a:lnTo>
                      <a:lnTo>
                        <a:pt x="740" y="316"/>
                      </a:lnTo>
                      <a:lnTo>
                        <a:pt x="740" y="316"/>
                      </a:lnTo>
                      <a:lnTo>
                        <a:pt x="740" y="317"/>
                      </a:lnTo>
                      <a:lnTo>
                        <a:pt x="739" y="317"/>
                      </a:lnTo>
                      <a:lnTo>
                        <a:pt x="739" y="317"/>
                      </a:lnTo>
                      <a:lnTo>
                        <a:pt x="738" y="317"/>
                      </a:lnTo>
                      <a:lnTo>
                        <a:pt x="738" y="317"/>
                      </a:lnTo>
                      <a:lnTo>
                        <a:pt x="738" y="317"/>
                      </a:lnTo>
                      <a:lnTo>
                        <a:pt x="737" y="317"/>
                      </a:lnTo>
                      <a:lnTo>
                        <a:pt x="736" y="317"/>
                      </a:lnTo>
                      <a:lnTo>
                        <a:pt x="737" y="316"/>
                      </a:lnTo>
                      <a:lnTo>
                        <a:pt x="736" y="316"/>
                      </a:lnTo>
                      <a:lnTo>
                        <a:pt x="736" y="315"/>
                      </a:lnTo>
                      <a:lnTo>
                        <a:pt x="736" y="315"/>
                      </a:lnTo>
                      <a:lnTo>
                        <a:pt x="735" y="315"/>
                      </a:lnTo>
                      <a:lnTo>
                        <a:pt x="736" y="315"/>
                      </a:lnTo>
                      <a:lnTo>
                        <a:pt x="736" y="316"/>
                      </a:lnTo>
                      <a:lnTo>
                        <a:pt x="736" y="316"/>
                      </a:lnTo>
                      <a:lnTo>
                        <a:pt x="736" y="317"/>
                      </a:lnTo>
                      <a:lnTo>
                        <a:pt x="737" y="317"/>
                      </a:lnTo>
                      <a:lnTo>
                        <a:pt x="736" y="317"/>
                      </a:lnTo>
                      <a:lnTo>
                        <a:pt x="737" y="317"/>
                      </a:lnTo>
                      <a:lnTo>
                        <a:pt x="738" y="317"/>
                      </a:lnTo>
                      <a:lnTo>
                        <a:pt x="738" y="317"/>
                      </a:lnTo>
                      <a:lnTo>
                        <a:pt x="738" y="317"/>
                      </a:lnTo>
                      <a:lnTo>
                        <a:pt x="738" y="318"/>
                      </a:lnTo>
                      <a:lnTo>
                        <a:pt x="738" y="317"/>
                      </a:lnTo>
                      <a:lnTo>
                        <a:pt x="738" y="318"/>
                      </a:lnTo>
                      <a:lnTo>
                        <a:pt x="738" y="318"/>
                      </a:lnTo>
                      <a:lnTo>
                        <a:pt x="738" y="318"/>
                      </a:lnTo>
                      <a:lnTo>
                        <a:pt x="738" y="318"/>
                      </a:lnTo>
                      <a:lnTo>
                        <a:pt x="738" y="319"/>
                      </a:lnTo>
                      <a:lnTo>
                        <a:pt x="739" y="319"/>
                      </a:lnTo>
                      <a:lnTo>
                        <a:pt x="739" y="319"/>
                      </a:lnTo>
                      <a:lnTo>
                        <a:pt x="739" y="319"/>
                      </a:lnTo>
                      <a:lnTo>
                        <a:pt x="739" y="319"/>
                      </a:lnTo>
                      <a:lnTo>
                        <a:pt x="738" y="319"/>
                      </a:lnTo>
                      <a:lnTo>
                        <a:pt x="738" y="319"/>
                      </a:lnTo>
                      <a:lnTo>
                        <a:pt x="737" y="319"/>
                      </a:lnTo>
                      <a:lnTo>
                        <a:pt x="736" y="319"/>
                      </a:lnTo>
                      <a:lnTo>
                        <a:pt x="736" y="319"/>
                      </a:lnTo>
                      <a:lnTo>
                        <a:pt x="737" y="319"/>
                      </a:lnTo>
                      <a:lnTo>
                        <a:pt x="736" y="319"/>
                      </a:lnTo>
                      <a:lnTo>
                        <a:pt x="736" y="318"/>
                      </a:lnTo>
                      <a:lnTo>
                        <a:pt x="736" y="318"/>
                      </a:lnTo>
                      <a:lnTo>
                        <a:pt x="736" y="318"/>
                      </a:lnTo>
                      <a:lnTo>
                        <a:pt x="736" y="319"/>
                      </a:lnTo>
                      <a:lnTo>
                        <a:pt x="735" y="319"/>
                      </a:lnTo>
                      <a:lnTo>
                        <a:pt x="735" y="319"/>
                      </a:lnTo>
                      <a:lnTo>
                        <a:pt x="735" y="320"/>
                      </a:lnTo>
                      <a:lnTo>
                        <a:pt x="735" y="321"/>
                      </a:lnTo>
                      <a:lnTo>
                        <a:pt x="735" y="321"/>
                      </a:lnTo>
                      <a:lnTo>
                        <a:pt x="736" y="321"/>
                      </a:lnTo>
                      <a:lnTo>
                        <a:pt x="736" y="321"/>
                      </a:lnTo>
                      <a:lnTo>
                        <a:pt x="736" y="321"/>
                      </a:lnTo>
                      <a:lnTo>
                        <a:pt x="736" y="321"/>
                      </a:lnTo>
                      <a:lnTo>
                        <a:pt x="737" y="321"/>
                      </a:lnTo>
                      <a:lnTo>
                        <a:pt x="737" y="321"/>
                      </a:lnTo>
                      <a:lnTo>
                        <a:pt x="736" y="321"/>
                      </a:lnTo>
                      <a:lnTo>
                        <a:pt x="737" y="321"/>
                      </a:lnTo>
                      <a:lnTo>
                        <a:pt x="738" y="321"/>
                      </a:lnTo>
                      <a:lnTo>
                        <a:pt x="737" y="321"/>
                      </a:lnTo>
                      <a:lnTo>
                        <a:pt x="737" y="322"/>
                      </a:lnTo>
                      <a:lnTo>
                        <a:pt x="736" y="322"/>
                      </a:lnTo>
                      <a:lnTo>
                        <a:pt x="737" y="322"/>
                      </a:lnTo>
                      <a:lnTo>
                        <a:pt x="737" y="322"/>
                      </a:lnTo>
                      <a:lnTo>
                        <a:pt x="736" y="322"/>
                      </a:lnTo>
                      <a:lnTo>
                        <a:pt x="736" y="322"/>
                      </a:lnTo>
                      <a:lnTo>
                        <a:pt x="736" y="322"/>
                      </a:lnTo>
                      <a:lnTo>
                        <a:pt x="736" y="322"/>
                      </a:lnTo>
                      <a:lnTo>
                        <a:pt x="735" y="322"/>
                      </a:lnTo>
                      <a:lnTo>
                        <a:pt x="735" y="322"/>
                      </a:lnTo>
                      <a:lnTo>
                        <a:pt x="734" y="322"/>
                      </a:lnTo>
                      <a:lnTo>
                        <a:pt x="734" y="322"/>
                      </a:lnTo>
                      <a:lnTo>
                        <a:pt x="733" y="322"/>
                      </a:lnTo>
                      <a:lnTo>
                        <a:pt x="732" y="322"/>
                      </a:lnTo>
                      <a:lnTo>
                        <a:pt x="733" y="322"/>
                      </a:lnTo>
                      <a:lnTo>
                        <a:pt x="733" y="322"/>
                      </a:lnTo>
                      <a:lnTo>
                        <a:pt x="732" y="322"/>
                      </a:lnTo>
                      <a:lnTo>
                        <a:pt x="733" y="321"/>
                      </a:lnTo>
                      <a:lnTo>
                        <a:pt x="732" y="321"/>
                      </a:lnTo>
                      <a:lnTo>
                        <a:pt x="733" y="321"/>
                      </a:lnTo>
                      <a:lnTo>
                        <a:pt x="732" y="321"/>
                      </a:lnTo>
                      <a:lnTo>
                        <a:pt x="732" y="321"/>
                      </a:lnTo>
                      <a:lnTo>
                        <a:pt x="732" y="321"/>
                      </a:lnTo>
                      <a:lnTo>
                        <a:pt x="732" y="320"/>
                      </a:lnTo>
                      <a:lnTo>
                        <a:pt x="731" y="320"/>
                      </a:lnTo>
                      <a:lnTo>
                        <a:pt x="731" y="320"/>
                      </a:lnTo>
                      <a:lnTo>
                        <a:pt x="730" y="320"/>
                      </a:lnTo>
                      <a:lnTo>
                        <a:pt x="730" y="321"/>
                      </a:lnTo>
                      <a:lnTo>
                        <a:pt x="730" y="320"/>
                      </a:lnTo>
                      <a:lnTo>
                        <a:pt x="730" y="321"/>
                      </a:lnTo>
                      <a:lnTo>
                        <a:pt x="729" y="321"/>
                      </a:lnTo>
                      <a:lnTo>
                        <a:pt x="729" y="321"/>
                      </a:lnTo>
                      <a:lnTo>
                        <a:pt x="728" y="321"/>
                      </a:lnTo>
                      <a:lnTo>
                        <a:pt x="728" y="321"/>
                      </a:lnTo>
                      <a:lnTo>
                        <a:pt x="728" y="321"/>
                      </a:lnTo>
                      <a:lnTo>
                        <a:pt x="727" y="321"/>
                      </a:lnTo>
                      <a:lnTo>
                        <a:pt x="728" y="321"/>
                      </a:lnTo>
                      <a:lnTo>
                        <a:pt x="728" y="322"/>
                      </a:lnTo>
                      <a:lnTo>
                        <a:pt x="728" y="322"/>
                      </a:lnTo>
                      <a:lnTo>
                        <a:pt x="728" y="322"/>
                      </a:lnTo>
                      <a:lnTo>
                        <a:pt x="727" y="322"/>
                      </a:lnTo>
                      <a:lnTo>
                        <a:pt x="727" y="322"/>
                      </a:lnTo>
                      <a:lnTo>
                        <a:pt x="727" y="322"/>
                      </a:lnTo>
                      <a:lnTo>
                        <a:pt x="726" y="322"/>
                      </a:lnTo>
                      <a:lnTo>
                        <a:pt x="725" y="322"/>
                      </a:lnTo>
                      <a:lnTo>
                        <a:pt x="725" y="322"/>
                      </a:lnTo>
                      <a:lnTo>
                        <a:pt x="726" y="322"/>
                      </a:lnTo>
                      <a:lnTo>
                        <a:pt x="725" y="322"/>
                      </a:lnTo>
                      <a:lnTo>
                        <a:pt x="725" y="322"/>
                      </a:lnTo>
                      <a:lnTo>
                        <a:pt x="725" y="322"/>
                      </a:lnTo>
                      <a:lnTo>
                        <a:pt x="724" y="322"/>
                      </a:lnTo>
                      <a:lnTo>
                        <a:pt x="724" y="322"/>
                      </a:lnTo>
                      <a:lnTo>
                        <a:pt x="724" y="321"/>
                      </a:lnTo>
                      <a:lnTo>
                        <a:pt x="723" y="321"/>
                      </a:lnTo>
                      <a:lnTo>
                        <a:pt x="723" y="321"/>
                      </a:lnTo>
                      <a:lnTo>
                        <a:pt x="722" y="321"/>
                      </a:lnTo>
                      <a:lnTo>
                        <a:pt x="722" y="321"/>
                      </a:lnTo>
                      <a:lnTo>
                        <a:pt x="722" y="321"/>
                      </a:lnTo>
                      <a:lnTo>
                        <a:pt x="721" y="321"/>
                      </a:lnTo>
                      <a:lnTo>
                        <a:pt x="721" y="321"/>
                      </a:lnTo>
                      <a:lnTo>
                        <a:pt x="721" y="321"/>
                      </a:lnTo>
                      <a:lnTo>
                        <a:pt x="720" y="321"/>
                      </a:lnTo>
                      <a:lnTo>
                        <a:pt x="720" y="321"/>
                      </a:lnTo>
                      <a:lnTo>
                        <a:pt x="719" y="321"/>
                      </a:lnTo>
                      <a:lnTo>
                        <a:pt x="718" y="321"/>
                      </a:lnTo>
                      <a:lnTo>
                        <a:pt x="719" y="320"/>
                      </a:lnTo>
                      <a:lnTo>
                        <a:pt x="718" y="320"/>
                      </a:lnTo>
                      <a:lnTo>
                        <a:pt x="718" y="319"/>
                      </a:lnTo>
                      <a:lnTo>
                        <a:pt x="718" y="320"/>
                      </a:lnTo>
                      <a:lnTo>
                        <a:pt x="718" y="319"/>
                      </a:lnTo>
                      <a:lnTo>
                        <a:pt x="717" y="319"/>
                      </a:lnTo>
                      <a:lnTo>
                        <a:pt x="717" y="319"/>
                      </a:lnTo>
                      <a:lnTo>
                        <a:pt x="716" y="320"/>
                      </a:lnTo>
                      <a:lnTo>
                        <a:pt x="716" y="321"/>
                      </a:lnTo>
                      <a:lnTo>
                        <a:pt x="716" y="321"/>
                      </a:lnTo>
                      <a:lnTo>
                        <a:pt x="716" y="322"/>
                      </a:lnTo>
                      <a:lnTo>
                        <a:pt x="716" y="322"/>
                      </a:lnTo>
                      <a:lnTo>
                        <a:pt x="716" y="322"/>
                      </a:lnTo>
                      <a:lnTo>
                        <a:pt x="716" y="322"/>
                      </a:lnTo>
                      <a:lnTo>
                        <a:pt x="716" y="322"/>
                      </a:lnTo>
                      <a:lnTo>
                        <a:pt x="716" y="323"/>
                      </a:lnTo>
                      <a:lnTo>
                        <a:pt x="716" y="323"/>
                      </a:lnTo>
                      <a:lnTo>
                        <a:pt x="715" y="323"/>
                      </a:lnTo>
                      <a:lnTo>
                        <a:pt x="716" y="323"/>
                      </a:lnTo>
                      <a:lnTo>
                        <a:pt x="715" y="323"/>
                      </a:lnTo>
                      <a:lnTo>
                        <a:pt x="714" y="323"/>
                      </a:lnTo>
                      <a:lnTo>
                        <a:pt x="714" y="324"/>
                      </a:lnTo>
                      <a:lnTo>
                        <a:pt x="714" y="323"/>
                      </a:lnTo>
                      <a:lnTo>
                        <a:pt x="714" y="324"/>
                      </a:lnTo>
                      <a:lnTo>
                        <a:pt x="714" y="324"/>
                      </a:lnTo>
                      <a:lnTo>
                        <a:pt x="713" y="324"/>
                      </a:lnTo>
                      <a:lnTo>
                        <a:pt x="713" y="323"/>
                      </a:lnTo>
                      <a:lnTo>
                        <a:pt x="713" y="323"/>
                      </a:lnTo>
                      <a:lnTo>
                        <a:pt x="712" y="323"/>
                      </a:lnTo>
                      <a:lnTo>
                        <a:pt x="712" y="322"/>
                      </a:lnTo>
                      <a:lnTo>
                        <a:pt x="712" y="322"/>
                      </a:lnTo>
                      <a:lnTo>
                        <a:pt x="712" y="322"/>
                      </a:lnTo>
                      <a:lnTo>
                        <a:pt x="712" y="322"/>
                      </a:lnTo>
                      <a:lnTo>
                        <a:pt x="712" y="321"/>
                      </a:lnTo>
                      <a:lnTo>
                        <a:pt x="713" y="321"/>
                      </a:lnTo>
                      <a:lnTo>
                        <a:pt x="713" y="321"/>
                      </a:lnTo>
                      <a:lnTo>
                        <a:pt x="713" y="320"/>
                      </a:lnTo>
                      <a:lnTo>
                        <a:pt x="712" y="320"/>
                      </a:lnTo>
                      <a:lnTo>
                        <a:pt x="712" y="321"/>
                      </a:lnTo>
                      <a:lnTo>
                        <a:pt x="712" y="320"/>
                      </a:lnTo>
                      <a:lnTo>
                        <a:pt x="712" y="320"/>
                      </a:lnTo>
                      <a:lnTo>
                        <a:pt x="712" y="321"/>
                      </a:lnTo>
                      <a:lnTo>
                        <a:pt x="711" y="321"/>
                      </a:lnTo>
                      <a:lnTo>
                        <a:pt x="711" y="320"/>
                      </a:lnTo>
                      <a:lnTo>
                        <a:pt x="710" y="320"/>
                      </a:lnTo>
                      <a:lnTo>
                        <a:pt x="710" y="320"/>
                      </a:lnTo>
                      <a:lnTo>
                        <a:pt x="709" y="320"/>
                      </a:lnTo>
                      <a:lnTo>
                        <a:pt x="709" y="320"/>
                      </a:lnTo>
                      <a:lnTo>
                        <a:pt x="709" y="321"/>
                      </a:lnTo>
                      <a:lnTo>
                        <a:pt x="708" y="321"/>
                      </a:lnTo>
                      <a:lnTo>
                        <a:pt x="708" y="321"/>
                      </a:lnTo>
                      <a:lnTo>
                        <a:pt x="708" y="321"/>
                      </a:lnTo>
                      <a:lnTo>
                        <a:pt x="708" y="320"/>
                      </a:lnTo>
                      <a:lnTo>
                        <a:pt x="707" y="320"/>
                      </a:lnTo>
                      <a:lnTo>
                        <a:pt x="706" y="321"/>
                      </a:lnTo>
                      <a:lnTo>
                        <a:pt x="706" y="321"/>
                      </a:lnTo>
                      <a:lnTo>
                        <a:pt x="705" y="321"/>
                      </a:lnTo>
                      <a:lnTo>
                        <a:pt x="705" y="321"/>
                      </a:lnTo>
                      <a:lnTo>
                        <a:pt x="704" y="321"/>
                      </a:lnTo>
                      <a:lnTo>
                        <a:pt x="703" y="321"/>
                      </a:lnTo>
                      <a:lnTo>
                        <a:pt x="704" y="321"/>
                      </a:lnTo>
                      <a:lnTo>
                        <a:pt x="705" y="321"/>
                      </a:lnTo>
                      <a:lnTo>
                        <a:pt x="705" y="321"/>
                      </a:lnTo>
                      <a:lnTo>
                        <a:pt x="705" y="320"/>
                      </a:lnTo>
                      <a:lnTo>
                        <a:pt x="705" y="319"/>
                      </a:lnTo>
                      <a:lnTo>
                        <a:pt x="705" y="319"/>
                      </a:lnTo>
                      <a:lnTo>
                        <a:pt x="705" y="318"/>
                      </a:lnTo>
                      <a:lnTo>
                        <a:pt x="704" y="318"/>
                      </a:lnTo>
                      <a:lnTo>
                        <a:pt x="704" y="318"/>
                      </a:lnTo>
                      <a:lnTo>
                        <a:pt x="703" y="318"/>
                      </a:lnTo>
                      <a:lnTo>
                        <a:pt x="704" y="318"/>
                      </a:lnTo>
                      <a:lnTo>
                        <a:pt x="703" y="318"/>
                      </a:lnTo>
                      <a:lnTo>
                        <a:pt x="704" y="317"/>
                      </a:lnTo>
                      <a:lnTo>
                        <a:pt x="703" y="317"/>
                      </a:lnTo>
                      <a:lnTo>
                        <a:pt x="703" y="317"/>
                      </a:lnTo>
                      <a:lnTo>
                        <a:pt x="703" y="317"/>
                      </a:lnTo>
                      <a:lnTo>
                        <a:pt x="703" y="316"/>
                      </a:lnTo>
                      <a:lnTo>
                        <a:pt x="702" y="316"/>
                      </a:lnTo>
                      <a:lnTo>
                        <a:pt x="703" y="316"/>
                      </a:lnTo>
                      <a:lnTo>
                        <a:pt x="703" y="315"/>
                      </a:lnTo>
                      <a:lnTo>
                        <a:pt x="702" y="315"/>
                      </a:lnTo>
                      <a:lnTo>
                        <a:pt x="702" y="315"/>
                      </a:lnTo>
                      <a:lnTo>
                        <a:pt x="702" y="314"/>
                      </a:lnTo>
                      <a:lnTo>
                        <a:pt x="703" y="314"/>
                      </a:lnTo>
                      <a:lnTo>
                        <a:pt x="703" y="314"/>
                      </a:lnTo>
                      <a:lnTo>
                        <a:pt x="703" y="314"/>
                      </a:lnTo>
                      <a:lnTo>
                        <a:pt x="703" y="314"/>
                      </a:lnTo>
                      <a:lnTo>
                        <a:pt x="703" y="314"/>
                      </a:lnTo>
                      <a:lnTo>
                        <a:pt x="702" y="314"/>
                      </a:lnTo>
                      <a:lnTo>
                        <a:pt x="702" y="315"/>
                      </a:lnTo>
                      <a:lnTo>
                        <a:pt x="702" y="315"/>
                      </a:lnTo>
                      <a:lnTo>
                        <a:pt x="703" y="315"/>
                      </a:lnTo>
                      <a:lnTo>
                        <a:pt x="703" y="316"/>
                      </a:lnTo>
                      <a:lnTo>
                        <a:pt x="702" y="316"/>
                      </a:lnTo>
                      <a:lnTo>
                        <a:pt x="703" y="316"/>
                      </a:lnTo>
                      <a:lnTo>
                        <a:pt x="703" y="317"/>
                      </a:lnTo>
                      <a:lnTo>
                        <a:pt x="703" y="317"/>
                      </a:lnTo>
                      <a:lnTo>
                        <a:pt x="703" y="317"/>
                      </a:lnTo>
                      <a:lnTo>
                        <a:pt x="704" y="317"/>
                      </a:lnTo>
                      <a:lnTo>
                        <a:pt x="703" y="317"/>
                      </a:lnTo>
                      <a:lnTo>
                        <a:pt x="704" y="317"/>
                      </a:lnTo>
                      <a:lnTo>
                        <a:pt x="703" y="317"/>
                      </a:lnTo>
                      <a:lnTo>
                        <a:pt x="703" y="318"/>
                      </a:lnTo>
                      <a:lnTo>
                        <a:pt x="704" y="318"/>
                      </a:lnTo>
                      <a:lnTo>
                        <a:pt x="703" y="318"/>
                      </a:lnTo>
                      <a:lnTo>
                        <a:pt x="704" y="318"/>
                      </a:lnTo>
                      <a:lnTo>
                        <a:pt x="704" y="318"/>
                      </a:lnTo>
                      <a:lnTo>
                        <a:pt x="705" y="318"/>
                      </a:lnTo>
                      <a:lnTo>
                        <a:pt x="704" y="318"/>
                      </a:lnTo>
                      <a:lnTo>
                        <a:pt x="705" y="318"/>
                      </a:lnTo>
                      <a:lnTo>
                        <a:pt x="705" y="319"/>
                      </a:lnTo>
                      <a:lnTo>
                        <a:pt x="705" y="319"/>
                      </a:lnTo>
                      <a:lnTo>
                        <a:pt x="704" y="319"/>
                      </a:lnTo>
                      <a:lnTo>
                        <a:pt x="705" y="319"/>
                      </a:lnTo>
                      <a:lnTo>
                        <a:pt x="704" y="319"/>
                      </a:lnTo>
                      <a:lnTo>
                        <a:pt x="705" y="319"/>
                      </a:lnTo>
                      <a:lnTo>
                        <a:pt x="705" y="320"/>
                      </a:lnTo>
                      <a:lnTo>
                        <a:pt x="704" y="320"/>
                      </a:lnTo>
                      <a:lnTo>
                        <a:pt x="705" y="320"/>
                      </a:lnTo>
                      <a:lnTo>
                        <a:pt x="704" y="320"/>
                      </a:lnTo>
                      <a:lnTo>
                        <a:pt x="705" y="320"/>
                      </a:lnTo>
                      <a:lnTo>
                        <a:pt x="705" y="321"/>
                      </a:lnTo>
                      <a:lnTo>
                        <a:pt x="704" y="321"/>
                      </a:lnTo>
                      <a:lnTo>
                        <a:pt x="703" y="321"/>
                      </a:lnTo>
                      <a:lnTo>
                        <a:pt x="703" y="321"/>
                      </a:lnTo>
                      <a:lnTo>
                        <a:pt x="702" y="321"/>
                      </a:lnTo>
                      <a:lnTo>
                        <a:pt x="702" y="321"/>
                      </a:lnTo>
                      <a:lnTo>
                        <a:pt x="701" y="321"/>
                      </a:lnTo>
                      <a:lnTo>
                        <a:pt x="702" y="321"/>
                      </a:lnTo>
                      <a:lnTo>
                        <a:pt x="702" y="321"/>
                      </a:lnTo>
                      <a:lnTo>
                        <a:pt x="702" y="321"/>
                      </a:lnTo>
                      <a:lnTo>
                        <a:pt x="701" y="321"/>
                      </a:lnTo>
                      <a:lnTo>
                        <a:pt x="701" y="321"/>
                      </a:lnTo>
                      <a:lnTo>
                        <a:pt x="701" y="320"/>
                      </a:lnTo>
                      <a:lnTo>
                        <a:pt x="701" y="319"/>
                      </a:lnTo>
                      <a:lnTo>
                        <a:pt x="701" y="320"/>
                      </a:lnTo>
                      <a:lnTo>
                        <a:pt x="701" y="319"/>
                      </a:lnTo>
                      <a:lnTo>
                        <a:pt x="701" y="320"/>
                      </a:lnTo>
                      <a:lnTo>
                        <a:pt x="701" y="321"/>
                      </a:lnTo>
                      <a:lnTo>
                        <a:pt x="700" y="321"/>
                      </a:lnTo>
                      <a:lnTo>
                        <a:pt x="699" y="321"/>
                      </a:lnTo>
                      <a:lnTo>
                        <a:pt x="700" y="321"/>
                      </a:lnTo>
                      <a:lnTo>
                        <a:pt x="701" y="321"/>
                      </a:lnTo>
                      <a:lnTo>
                        <a:pt x="700" y="321"/>
                      </a:lnTo>
                      <a:lnTo>
                        <a:pt x="699" y="321"/>
                      </a:lnTo>
                      <a:lnTo>
                        <a:pt x="699" y="321"/>
                      </a:lnTo>
                      <a:lnTo>
                        <a:pt x="698" y="321"/>
                      </a:lnTo>
                      <a:lnTo>
                        <a:pt x="697" y="321"/>
                      </a:lnTo>
                      <a:lnTo>
                        <a:pt x="697" y="321"/>
                      </a:lnTo>
                      <a:lnTo>
                        <a:pt x="696" y="321"/>
                      </a:lnTo>
                      <a:lnTo>
                        <a:pt x="695" y="321"/>
                      </a:lnTo>
                      <a:lnTo>
                        <a:pt x="695" y="321"/>
                      </a:lnTo>
                      <a:lnTo>
                        <a:pt x="694" y="321"/>
                      </a:lnTo>
                      <a:lnTo>
                        <a:pt x="694" y="321"/>
                      </a:lnTo>
                      <a:lnTo>
                        <a:pt x="694" y="321"/>
                      </a:lnTo>
                      <a:lnTo>
                        <a:pt x="693" y="321"/>
                      </a:lnTo>
                      <a:lnTo>
                        <a:pt x="693" y="321"/>
                      </a:lnTo>
                      <a:lnTo>
                        <a:pt x="692" y="321"/>
                      </a:lnTo>
                      <a:lnTo>
                        <a:pt x="692" y="321"/>
                      </a:lnTo>
                      <a:lnTo>
                        <a:pt x="691" y="321"/>
                      </a:lnTo>
                      <a:lnTo>
                        <a:pt x="691" y="321"/>
                      </a:lnTo>
                      <a:lnTo>
                        <a:pt x="691" y="321"/>
                      </a:lnTo>
                      <a:lnTo>
                        <a:pt x="690" y="321"/>
                      </a:lnTo>
                      <a:lnTo>
                        <a:pt x="691" y="321"/>
                      </a:lnTo>
                      <a:lnTo>
                        <a:pt x="691" y="321"/>
                      </a:lnTo>
                      <a:lnTo>
                        <a:pt x="691" y="321"/>
                      </a:lnTo>
                      <a:lnTo>
                        <a:pt x="691" y="321"/>
                      </a:lnTo>
                      <a:lnTo>
                        <a:pt x="691" y="321"/>
                      </a:lnTo>
                      <a:lnTo>
                        <a:pt x="691" y="320"/>
                      </a:lnTo>
                      <a:lnTo>
                        <a:pt x="691" y="321"/>
                      </a:lnTo>
                      <a:lnTo>
                        <a:pt x="691" y="320"/>
                      </a:lnTo>
                      <a:lnTo>
                        <a:pt x="691" y="321"/>
                      </a:lnTo>
                      <a:lnTo>
                        <a:pt x="691" y="321"/>
                      </a:lnTo>
                      <a:lnTo>
                        <a:pt x="690" y="321"/>
                      </a:lnTo>
                      <a:lnTo>
                        <a:pt x="690" y="321"/>
                      </a:lnTo>
                      <a:lnTo>
                        <a:pt x="690" y="321"/>
                      </a:lnTo>
                      <a:lnTo>
                        <a:pt x="690" y="321"/>
                      </a:lnTo>
                      <a:lnTo>
                        <a:pt x="690" y="321"/>
                      </a:lnTo>
                      <a:lnTo>
                        <a:pt x="689" y="321"/>
                      </a:lnTo>
                      <a:lnTo>
                        <a:pt x="690" y="321"/>
                      </a:lnTo>
                      <a:lnTo>
                        <a:pt x="689" y="320"/>
                      </a:lnTo>
                      <a:lnTo>
                        <a:pt x="689" y="319"/>
                      </a:lnTo>
                      <a:lnTo>
                        <a:pt x="688" y="319"/>
                      </a:lnTo>
                      <a:lnTo>
                        <a:pt x="688" y="319"/>
                      </a:lnTo>
                      <a:lnTo>
                        <a:pt x="688" y="318"/>
                      </a:lnTo>
                      <a:lnTo>
                        <a:pt x="688" y="319"/>
                      </a:lnTo>
                      <a:lnTo>
                        <a:pt x="688" y="318"/>
                      </a:lnTo>
                      <a:lnTo>
                        <a:pt x="688" y="318"/>
                      </a:lnTo>
                      <a:lnTo>
                        <a:pt x="688" y="318"/>
                      </a:lnTo>
                      <a:lnTo>
                        <a:pt x="688" y="318"/>
                      </a:lnTo>
                      <a:lnTo>
                        <a:pt x="688" y="318"/>
                      </a:lnTo>
                      <a:lnTo>
                        <a:pt x="688" y="318"/>
                      </a:lnTo>
                      <a:lnTo>
                        <a:pt x="688" y="319"/>
                      </a:lnTo>
                      <a:lnTo>
                        <a:pt x="688" y="319"/>
                      </a:lnTo>
                      <a:lnTo>
                        <a:pt x="689" y="319"/>
                      </a:lnTo>
                      <a:lnTo>
                        <a:pt x="688" y="319"/>
                      </a:lnTo>
                      <a:lnTo>
                        <a:pt x="689" y="319"/>
                      </a:lnTo>
                      <a:lnTo>
                        <a:pt x="689" y="320"/>
                      </a:lnTo>
                      <a:lnTo>
                        <a:pt x="689" y="321"/>
                      </a:lnTo>
                      <a:lnTo>
                        <a:pt x="690" y="321"/>
                      </a:lnTo>
                      <a:lnTo>
                        <a:pt x="690" y="321"/>
                      </a:lnTo>
                      <a:lnTo>
                        <a:pt x="689" y="321"/>
                      </a:lnTo>
                      <a:lnTo>
                        <a:pt x="689" y="322"/>
                      </a:lnTo>
                      <a:lnTo>
                        <a:pt x="688" y="322"/>
                      </a:lnTo>
                      <a:lnTo>
                        <a:pt x="688" y="322"/>
                      </a:lnTo>
                      <a:lnTo>
                        <a:pt x="687" y="322"/>
                      </a:lnTo>
                      <a:lnTo>
                        <a:pt x="686" y="322"/>
                      </a:lnTo>
                      <a:lnTo>
                        <a:pt x="686" y="322"/>
                      </a:lnTo>
                      <a:lnTo>
                        <a:pt x="685" y="323"/>
                      </a:lnTo>
                      <a:lnTo>
                        <a:pt x="684" y="323"/>
                      </a:lnTo>
                      <a:lnTo>
                        <a:pt x="684" y="324"/>
                      </a:lnTo>
                      <a:lnTo>
                        <a:pt x="684" y="324"/>
                      </a:lnTo>
                      <a:lnTo>
                        <a:pt x="683" y="324"/>
                      </a:lnTo>
                      <a:lnTo>
                        <a:pt x="683" y="324"/>
                      </a:lnTo>
                      <a:lnTo>
                        <a:pt x="683" y="325"/>
                      </a:lnTo>
                      <a:lnTo>
                        <a:pt x="682" y="325"/>
                      </a:lnTo>
                      <a:lnTo>
                        <a:pt x="682" y="325"/>
                      </a:lnTo>
                      <a:lnTo>
                        <a:pt x="682" y="326"/>
                      </a:lnTo>
                      <a:lnTo>
                        <a:pt x="681" y="326"/>
                      </a:lnTo>
                      <a:lnTo>
                        <a:pt x="681" y="326"/>
                      </a:lnTo>
                      <a:lnTo>
                        <a:pt x="680" y="326"/>
                      </a:lnTo>
                      <a:lnTo>
                        <a:pt x="680" y="327"/>
                      </a:lnTo>
                      <a:lnTo>
                        <a:pt x="680" y="328"/>
                      </a:lnTo>
                      <a:lnTo>
                        <a:pt x="680" y="328"/>
                      </a:lnTo>
                      <a:lnTo>
                        <a:pt x="680" y="328"/>
                      </a:lnTo>
                      <a:lnTo>
                        <a:pt x="679" y="328"/>
                      </a:lnTo>
                      <a:lnTo>
                        <a:pt x="679" y="329"/>
                      </a:lnTo>
                      <a:lnTo>
                        <a:pt x="679" y="329"/>
                      </a:lnTo>
                      <a:lnTo>
                        <a:pt x="679" y="330"/>
                      </a:lnTo>
                      <a:lnTo>
                        <a:pt x="679" y="329"/>
                      </a:lnTo>
                      <a:lnTo>
                        <a:pt x="679" y="330"/>
                      </a:lnTo>
                      <a:lnTo>
                        <a:pt x="678" y="330"/>
                      </a:lnTo>
                      <a:lnTo>
                        <a:pt x="678" y="330"/>
                      </a:lnTo>
                      <a:lnTo>
                        <a:pt x="677" y="330"/>
                      </a:lnTo>
                      <a:lnTo>
                        <a:pt x="677" y="331"/>
                      </a:lnTo>
                      <a:lnTo>
                        <a:pt x="676" y="331"/>
                      </a:lnTo>
                      <a:lnTo>
                        <a:pt x="676" y="332"/>
                      </a:lnTo>
                      <a:lnTo>
                        <a:pt x="676" y="332"/>
                      </a:lnTo>
                      <a:lnTo>
                        <a:pt x="675" y="332"/>
                      </a:lnTo>
                      <a:lnTo>
                        <a:pt x="675" y="332"/>
                      </a:lnTo>
                      <a:lnTo>
                        <a:pt x="675" y="332"/>
                      </a:lnTo>
                      <a:lnTo>
                        <a:pt x="674" y="332"/>
                      </a:lnTo>
                      <a:lnTo>
                        <a:pt x="674" y="333"/>
                      </a:lnTo>
                      <a:lnTo>
                        <a:pt x="673" y="333"/>
                      </a:lnTo>
                      <a:lnTo>
                        <a:pt x="673" y="333"/>
                      </a:lnTo>
                      <a:lnTo>
                        <a:pt x="673" y="333"/>
                      </a:lnTo>
                      <a:lnTo>
                        <a:pt x="672" y="333"/>
                      </a:lnTo>
                      <a:lnTo>
                        <a:pt x="672" y="334"/>
                      </a:lnTo>
                      <a:lnTo>
                        <a:pt x="672" y="334"/>
                      </a:lnTo>
                      <a:lnTo>
                        <a:pt x="672" y="334"/>
                      </a:lnTo>
                      <a:lnTo>
                        <a:pt x="671" y="334"/>
                      </a:lnTo>
                      <a:lnTo>
                        <a:pt x="671" y="335"/>
                      </a:lnTo>
                      <a:lnTo>
                        <a:pt x="671" y="336"/>
                      </a:lnTo>
                      <a:lnTo>
                        <a:pt x="671" y="336"/>
                      </a:lnTo>
                      <a:lnTo>
                        <a:pt x="670" y="337"/>
                      </a:lnTo>
                      <a:lnTo>
                        <a:pt x="670" y="337"/>
                      </a:lnTo>
                      <a:lnTo>
                        <a:pt x="669" y="338"/>
                      </a:lnTo>
                      <a:lnTo>
                        <a:pt x="669" y="339"/>
                      </a:lnTo>
                      <a:lnTo>
                        <a:pt x="669" y="339"/>
                      </a:lnTo>
                      <a:lnTo>
                        <a:pt x="669" y="340"/>
                      </a:lnTo>
                      <a:lnTo>
                        <a:pt x="669" y="340"/>
                      </a:lnTo>
                      <a:lnTo>
                        <a:pt x="668" y="340"/>
                      </a:lnTo>
                      <a:lnTo>
                        <a:pt x="668" y="341"/>
                      </a:lnTo>
                      <a:lnTo>
                        <a:pt x="668" y="341"/>
                      </a:lnTo>
                      <a:lnTo>
                        <a:pt x="668" y="341"/>
                      </a:lnTo>
                      <a:lnTo>
                        <a:pt x="667" y="341"/>
                      </a:lnTo>
                      <a:lnTo>
                        <a:pt x="667" y="341"/>
                      </a:lnTo>
                      <a:lnTo>
                        <a:pt x="666" y="341"/>
                      </a:lnTo>
                      <a:lnTo>
                        <a:pt x="665" y="341"/>
                      </a:lnTo>
                      <a:lnTo>
                        <a:pt x="665" y="342"/>
                      </a:lnTo>
                      <a:lnTo>
                        <a:pt x="665" y="342"/>
                      </a:lnTo>
                      <a:lnTo>
                        <a:pt x="665" y="343"/>
                      </a:lnTo>
                      <a:lnTo>
                        <a:pt x="664" y="343"/>
                      </a:lnTo>
                      <a:lnTo>
                        <a:pt x="664" y="343"/>
                      </a:lnTo>
                      <a:lnTo>
                        <a:pt x="664" y="344"/>
                      </a:lnTo>
                      <a:lnTo>
                        <a:pt x="664" y="344"/>
                      </a:lnTo>
                      <a:lnTo>
                        <a:pt x="664" y="345"/>
                      </a:lnTo>
                      <a:lnTo>
                        <a:pt x="663" y="345"/>
                      </a:lnTo>
                      <a:lnTo>
                        <a:pt x="662" y="345"/>
                      </a:lnTo>
                      <a:lnTo>
                        <a:pt x="662" y="345"/>
                      </a:lnTo>
                      <a:lnTo>
                        <a:pt x="662" y="345"/>
                      </a:lnTo>
                      <a:lnTo>
                        <a:pt x="661" y="345"/>
                      </a:lnTo>
                      <a:lnTo>
                        <a:pt x="661" y="346"/>
                      </a:lnTo>
                      <a:lnTo>
                        <a:pt x="661" y="347"/>
                      </a:lnTo>
                      <a:lnTo>
                        <a:pt x="661" y="347"/>
                      </a:lnTo>
                      <a:lnTo>
                        <a:pt x="661" y="347"/>
                      </a:lnTo>
                      <a:lnTo>
                        <a:pt x="660" y="347"/>
                      </a:lnTo>
                      <a:lnTo>
                        <a:pt x="660" y="347"/>
                      </a:lnTo>
                      <a:lnTo>
                        <a:pt x="659" y="347"/>
                      </a:lnTo>
                      <a:lnTo>
                        <a:pt x="658" y="347"/>
                      </a:lnTo>
                      <a:lnTo>
                        <a:pt x="658" y="348"/>
                      </a:lnTo>
                      <a:lnTo>
                        <a:pt x="658" y="348"/>
                      </a:lnTo>
                      <a:lnTo>
                        <a:pt x="658" y="348"/>
                      </a:lnTo>
                      <a:lnTo>
                        <a:pt x="657" y="348"/>
                      </a:lnTo>
                      <a:lnTo>
                        <a:pt x="657" y="349"/>
                      </a:lnTo>
                      <a:lnTo>
                        <a:pt x="657" y="349"/>
                      </a:lnTo>
                      <a:lnTo>
                        <a:pt x="657" y="350"/>
                      </a:lnTo>
                      <a:lnTo>
                        <a:pt x="656" y="350"/>
                      </a:lnTo>
                      <a:lnTo>
                        <a:pt x="657" y="350"/>
                      </a:lnTo>
                      <a:lnTo>
                        <a:pt x="657" y="350"/>
                      </a:lnTo>
                      <a:lnTo>
                        <a:pt x="656" y="350"/>
                      </a:lnTo>
                      <a:lnTo>
                        <a:pt x="656" y="351"/>
                      </a:lnTo>
                      <a:lnTo>
                        <a:pt x="656" y="351"/>
                      </a:lnTo>
                      <a:lnTo>
                        <a:pt x="655" y="351"/>
                      </a:lnTo>
                      <a:lnTo>
                        <a:pt x="655" y="351"/>
                      </a:lnTo>
                      <a:lnTo>
                        <a:pt x="654" y="351"/>
                      </a:lnTo>
                      <a:lnTo>
                        <a:pt x="654" y="351"/>
                      </a:lnTo>
                      <a:lnTo>
                        <a:pt x="654" y="352"/>
                      </a:lnTo>
                      <a:lnTo>
                        <a:pt x="654" y="352"/>
                      </a:lnTo>
                      <a:lnTo>
                        <a:pt x="654" y="353"/>
                      </a:lnTo>
                      <a:lnTo>
                        <a:pt x="653" y="353"/>
                      </a:lnTo>
                      <a:lnTo>
                        <a:pt x="654" y="353"/>
                      </a:lnTo>
                      <a:lnTo>
                        <a:pt x="654" y="354"/>
                      </a:lnTo>
                      <a:lnTo>
                        <a:pt x="653" y="354"/>
                      </a:lnTo>
                      <a:lnTo>
                        <a:pt x="653" y="353"/>
                      </a:lnTo>
                      <a:lnTo>
                        <a:pt x="654" y="352"/>
                      </a:lnTo>
                      <a:lnTo>
                        <a:pt x="653" y="352"/>
                      </a:lnTo>
                      <a:lnTo>
                        <a:pt x="653" y="353"/>
                      </a:lnTo>
                      <a:lnTo>
                        <a:pt x="653" y="353"/>
                      </a:lnTo>
                      <a:lnTo>
                        <a:pt x="653" y="354"/>
                      </a:lnTo>
                      <a:lnTo>
                        <a:pt x="652" y="354"/>
                      </a:lnTo>
                      <a:lnTo>
                        <a:pt x="652" y="354"/>
                      </a:lnTo>
                      <a:lnTo>
                        <a:pt x="652" y="355"/>
                      </a:lnTo>
                      <a:lnTo>
                        <a:pt x="651" y="354"/>
                      </a:lnTo>
                      <a:lnTo>
                        <a:pt x="651" y="355"/>
                      </a:lnTo>
                      <a:lnTo>
                        <a:pt x="651" y="355"/>
                      </a:lnTo>
                      <a:lnTo>
                        <a:pt x="651" y="355"/>
                      </a:lnTo>
                      <a:lnTo>
                        <a:pt x="651" y="356"/>
                      </a:lnTo>
                      <a:lnTo>
                        <a:pt x="651" y="355"/>
                      </a:lnTo>
                      <a:lnTo>
                        <a:pt x="651" y="356"/>
                      </a:lnTo>
                      <a:lnTo>
                        <a:pt x="650" y="356"/>
                      </a:lnTo>
                      <a:lnTo>
                        <a:pt x="650" y="356"/>
                      </a:lnTo>
                      <a:lnTo>
                        <a:pt x="650" y="356"/>
                      </a:lnTo>
                      <a:lnTo>
                        <a:pt x="650" y="357"/>
                      </a:lnTo>
                      <a:lnTo>
                        <a:pt x="650" y="357"/>
                      </a:lnTo>
                      <a:lnTo>
                        <a:pt x="650" y="358"/>
                      </a:lnTo>
                      <a:lnTo>
                        <a:pt x="651" y="358"/>
                      </a:lnTo>
                      <a:lnTo>
                        <a:pt x="651" y="358"/>
                      </a:lnTo>
                      <a:lnTo>
                        <a:pt x="650" y="358"/>
                      </a:lnTo>
                      <a:lnTo>
                        <a:pt x="650" y="358"/>
                      </a:lnTo>
                      <a:lnTo>
                        <a:pt x="650" y="358"/>
                      </a:lnTo>
                      <a:lnTo>
                        <a:pt x="650" y="358"/>
                      </a:lnTo>
                      <a:lnTo>
                        <a:pt x="650" y="358"/>
                      </a:lnTo>
                      <a:lnTo>
                        <a:pt x="650" y="358"/>
                      </a:lnTo>
                      <a:lnTo>
                        <a:pt x="650" y="358"/>
                      </a:lnTo>
                      <a:lnTo>
                        <a:pt x="650" y="358"/>
                      </a:lnTo>
                      <a:lnTo>
                        <a:pt x="649" y="358"/>
                      </a:lnTo>
                      <a:lnTo>
                        <a:pt x="650" y="358"/>
                      </a:lnTo>
                      <a:lnTo>
                        <a:pt x="649" y="358"/>
                      </a:lnTo>
                      <a:lnTo>
                        <a:pt x="650" y="358"/>
                      </a:lnTo>
                      <a:lnTo>
                        <a:pt x="649" y="358"/>
                      </a:lnTo>
                      <a:lnTo>
                        <a:pt x="649" y="359"/>
                      </a:lnTo>
                      <a:lnTo>
                        <a:pt x="649" y="359"/>
                      </a:lnTo>
                      <a:lnTo>
                        <a:pt x="648" y="359"/>
                      </a:lnTo>
                      <a:lnTo>
                        <a:pt x="648" y="359"/>
                      </a:lnTo>
                      <a:lnTo>
                        <a:pt x="648" y="360"/>
                      </a:lnTo>
                      <a:lnTo>
                        <a:pt x="647" y="360"/>
                      </a:lnTo>
                      <a:lnTo>
                        <a:pt x="647" y="361"/>
                      </a:lnTo>
                      <a:lnTo>
                        <a:pt x="647" y="361"/>
                      </a:lnTo>
                      <a:lnTo>
                        <a:pt x="647" y="362"/>
                      </a:lnTo>
                      <a:lnTo>
                        <a:pt x="646" y="362"/>
                      </a:lnTo>
                      <a:lnTo>
                        <a:pt x="646" y="362"/>
                      </a:lnTo>
                      <a:lnTo>
                        <a:pt x="646" y="362"/>
                      </a:lnTo>
                      <a:lnTo>
                        <a:pt x="645" y="362"/>
                      </a:lnTo>
                      <a:lnTo>
                        <a:pt x="646" y="362"/>
                      </a:lnTo>
                      <a:lnTo>
                        <a:pt x="646" y="362"/>
                      </a:lnTo>
                      <a:lnTo>
                        <a:pt x="645" y="362"/>
                      </a:lnTo>
                      <a:lnTo>
                        <a:pt x="645" y="362"/>
                      </a:lnTo>
                      <a:lnTo>
                        <a:pt x="645" y="363"/>
                      </a:lnTo>
                      <a:lnTo>
                        <a:pt x="645" y="363"/>
                      </a:lnTo>
                      <a:lnTo>
                        <a:pt x="645" y="363"/>
                      </a:lnTo>
                      <a:lnTo>
                        <a:pt x="645" y="364"/>
                      </a:lnTo>
                      <a:lnTo>
                        <a:pt x="644" y="364"/>
                      </a:lnTo>
                      <a:lnTo>
                        <a:pt x="643" y="364"/>
                      </a:lnTo>
                      <a:lnTo>
                        <a:pt x="643" y="364"/>
                      </a:lnTo>
                      <a:lnTo>
                        <a:pt x="643" y="365"/>
                      </a:lnTo>
                      <a:lnTo>
                        <a:pt x="642" y="365"/>
                      </a:lnTo>
                      <a:lnTo>
                        <a:pt x="642" y="365"/>
                      </a:lnTo>
                      <a:lnTo>
                        <a:pt x="642" y="365"/>
                      </a:lnTo>
                      <a:lnTo>
                        <a:pt x="642" y="366"/>
                      </a:lnTo>
                      <a:lnTo>
                        <a:pt x="641" y="366"/>
                      </a:lnTo>
                      <a:lnTo>
                        <a:pt x="641" y="366"/>
                      </a:lnTo>
                      <a:lnTo>
                        <a:pt x="641" y="366"/>
                      </a:lnTo>
                      <a:lnTo>
                        <a:pt x="641" y="366"/>
                      </a:lnTo>
                      <a:lnTo>
                        <a:pt x="641" y="366"/>
                      </a:lnTo>
                      <a:lnTo>
                        <a:pt x="640" y="366"/>
                      </a:lnTo>
                      <a:lnTo>
                        <a:pt x="640" y="367"/>
                      </a:lnTo>
                      <a:lnTo>
                        <a:pt x="639" y="367"/>
                      </a:lnTo>
                      <a:lnTo>
                        <a:pt x="639" y="367"/>
                      </a:lnTo>
                      <a:lnTo>
                        <a:pt x="639" y="368"/>
                      </a:lnTo>
                      <a:lnTo>
                        <a:pt x="639" y="367"/>
                      </a:lnTo>
                      <a:lnTo>
                        <a:pt x="638" y="368"/>
                      </a:lnTo>
                      <a:lnTo>
                        <a:pt x="638" y="368"/>
                      </a:lnTo>
                      <a:lnTo>
                        <a:pt x="638" y="369"/>
                      </a:lnTo>
                      <a:lnTo>
                        <a:pt x="637" y="369"/>
                      </a:lnTo>
                      <a:lnTo>
                        <a:pt x="636" y="369"/>
                      </a:lnTo>
                      <a:lnTo>
                        <a:pt x="636" y="369"/>
                      </a:lnTo>
                      <a:lnTo>
                        <a:pt x="636" y="369"/>
                      </a:lnTo>
                      <a:lnTo>
                        <a:pt x="636" y="370"/>
                      </a:lnTo>
                      <a:lnTo>
                        <a:pt x="635" y="370"/>
                      </a:lnTo>
                      <a:lnTo>
                        <a:pt x="635" y="370"/>
                      </a:lnTo>
                      <a:lnTo>
                        <a:pt x="635" y="371"/>
                      </a:lnTo>
                      <a:lnTo>
                        <a:pt x="635" y="372"/>
                      </a:lnTo>
                      <a:lnTo>
                        <a:pt x="634" y="372"/>
                      </a:lnTo>
                      <a:lnTo>
                        <a:pt x="634" y="372"/>
                      </a:lnTo>
                      <a:lnTo>
                        <a:pt x="634" y="372"/>
                      </a:lnTo>
                      <a:lnTo>
                        <a:pt x="634" y="373"/>
                      </a:lnTo>
                      <a:lnTo>
                        <a:pt x="633" y="373"/>
                      </a:lnTo>
                      <a:lnTo>
                        <a:pt x="632" y="373"/>
                      </a:lnTo>
                      <a:lnTo>
                        <a:pt x="632" y="373"/>
                      </a:lnTo>
                      <a:lnTo>
                        <a:pt x="632" y="373"/>
                      </a:lnTo>
                      <a:lnTo>
                        <a:pt x="632" y="374"/>
                      </a:lnTo>
                      <a:lnTo>
                        <a:pt x="631" y="374"/>
                      </a:lnTo>
                      <a:lnTo>
                        <a:pt x="631" y="373"/>
                      </a:lnTo>
                      <a:lnTo>
                        <a:pt x="631" y="374"/>
                      </a:lnTo>
                      <a:lnTo>
                        <a:pt x="631" y="374"/>
                      </a:lnTo>
                      <a:lnTo>
                        <a:pt x="631" y="374"/>
                      </a:lnTo>
                      <a:lnTo>
                        <a:pt x="630" y="374"/>
                      </a:lnTo>
                      <a:lnTo>
                        <a:pt x="630" y="374"/>
                      </a:lnTo>
                      <a:lnTo>
                        <a:pt x="629" y="374"/>
                      </a:lnTo>
                      <a:lnTo>
                        <a:pt x="629" y="375"/>
                      </a:lnTo>
                      <a:lnTo>
                        <a:pt x="628" y="375"/>
                      </a:lnTo>
                      <a:lnTo>
                        <a:pt x="628" y="376"/>
                      </a:lnTo>
                      <a:lnTo>
                        <a:pt x="628" y="376"/>
                      </a:lnTo>
                      <a:lnTo>
                        <a:pt x="628" y="376"/>
                      </a:lnTo>
                      <a:lnTo>
                        <a:pt x="627" y="376"/>
                      </a:lnTo>
                      <a:lnTo>
                        <a:pt x="627" y="377"/>
                      </a:lnTo>
                      <a:lnTo>
                        <a:pt x="627" y="377"/>
                      </a:lnTo>
                      <a:lnTo>
                        <a:pt x="627" y="377"/>
                      </a:lnTo>
                      <a:lnTo>
                        <a:pt x="626" y="377"/>
                      </a:lnTo>
                      <a:lnTo>
                        <a:pt x="626" y="378"/>
                      </a:lnTo>
                      <a:lnTo>
                        <a:pt x="627" y="378"/>
                      </a:lnTo>
                      <a:lnTo>
                        <a:pt x="627" y="379"/>
                      </a:lnTo>
                      <a:lnTo>
                        <a:pt x="627" y="379"/>
                      </a:lnTo>
                      <a:lnTo>
                        <a:pt x="627" y="379"/>
                      </a:lnTo>
                      <a:lnTo>
                        <a:pt x="627" y="380"/>
                      </a:lnTo>
                      <a:lnTo>
                        <a:pt x="626" y="380"/>
                      </a:lnTo>
                      <a:lnTo>
                        <a:pt x="625" y="380"/>
                      </a:lnTo>
                      <a:lnTo>
                        <a:pt x="625" y="380"/>
                      </a:lnTo>
                      <a:lnTo>
                        <a:pt x="625" y="380"/>
                      </a:lnTo>
                      <a:lnTo>
                        <a:pt x="625" y="381"/>
                      </a:lnTo>
                      <a:lnTo>
                        <a:pt x="624" y="381"/>
                      </a:lnTo>
                      <a:lnTo>
                        <a:pt x="625" y="381"/>
                      </a:lnTo>
                      <a:lnTo>
                        <a:pt x="624" y="381"/>
                      </a:lnTo>
                      <a:lnTo>
                        <a:pt x="624" y="381"/>
                      </a:lnTo>
                      <a:lnTo>
                        <a:pt x="623" y="381"/>
                      </a:lnTo>
                      <a:lnTo>
                        <a:pt x="623" y="381"/>
                      </a:lnTo>
                      <a:lnTo>
                        <a:pt x="623" y="381"/>
                      </a:lnTo>
                      <a:lnTo>
                        <a:pt x="623" y="381"/>
                      </a:lnTo>
                      <a:lnTo>
                        <a:pt x="623" y="381"/>
                      </a:lnTo>
                      <a:lnTo>
                        <a:pt x="623" y="382"/>
                      </a:lnTo>
                      <a:lnTo>
                        <a:pt x="622" y="382"/>
                      </a:lnTo>
                      <a:lnTo>
                        <a:pt x="621" y="382"/>
                      </a:lnTo>
                      <a:lnTo>
                        <a:pt x="622" y="382"/>
                      </a:lnTo>
                      <a:lnTo>
                        <a:pt x="621" y="382"/>
                      </a:lnTo>
                      <a:lnTo>
                        <a:pt x="621" y="381"/>
                      </a:lnTo>
                      <a:lnTo>
                        <a:pt x="621" y="382"/>
                      </a:lnTo>
                      <a:lnTo>
                        <a:pt x="621" y="381"/>
                      </a:lnTo>
                      <a:lnTo>
                        <a:pt x="621" y="381"/>
                      </a:lnTo>
                      <a:lnTo>
                        <a:pt x="621" y="381"/>
                      </a:lnTo>
                      <a:lnTo>
                        <a:pt x="620" y="381"/>
                      </a:lnTo>
                      <a:lnTo>
                        <a:pt x="620" y="380"/>
                      </a:lnTo>
                      <a:lnTo>
                        <a:pt x="620" y="380"/>
                      </a:lnTo>
                      <a:lnTo>
                        <a:pt x="620" y="380"/>
                      </a:lnTo>
                      <a:lnTo>
                        <a:pt x="620" y="380"/>
                      </a:lnTo>
                      <a:lnTo>
                        <a:pt x="620" y="380"/>
                      </a:lnTo>
                      <a:lnTo>
                        <a:pt x="620" y="379"/>
                      </a:lnTo>
                      <a:lnTo>
                        <a:pt x="620" y="380"/>
                      </a:lnTo>
                      <a:lnTo>
                        <a:pt x="619" y="380"/>
                      </a:lnTo>
                      <a:lnTo>
                        <a:pt x="619" y="379"/>
                      </a:lnTo>
                      <a:lnTo>
                        <a:pt x="619" y="378"/>
                      </a:lnTo>
                      <a:lnTo>
                        <a:pt x="618" y="378"/>
                      </a:lnTo>
                      <a:lnTo>
                        <a:pt x="618" y="378"/>
                      </a:lnTo>
                      <a:lnTo>
                        <a:pt x="617" y="378"/>
                      </a:lnTo>
                      <a:lnTo>
                        <a:pt x="617" y="377"/>
                      </a:lnTo>
                      <a:lnTo>
                        <a:pt x="617" y="378"/>
                      </a:lnTo>
                      <a:lnTo>
                        <a:pt x="617" y="377"/>
                      </a:lnTo>
                      <a:lnTo>
                        <a:pt x="617" y="377"/>
                      </a:lnTo>
                      <a:lnTo>
                        <a:pt x="617" y="377"/>
                      </a:lnTo>
                      <a:lnTo>
                        <a:pt x="617" y="377"/>
                      </a:lnTo>
                      <a:lnTo>
                        <a:pt x="617" y="377"/>
                      </a:lnTo>
                      <a:lnTo>
                        <a:pt x="617" y="377"/>
                      </a:lnTo>
                      <a:lnTo>
                        <a:pt x="616" y="377"/>
                      </a:lnTo>
                      <a:lnTo>
                        <a:pt x="616" y="377"/>
                      </a:lnTo>
                      <a:lnTo>
                        <a:pt x="616" y="377"/>
                      </a:lnTo>
                      <a:lnTo>
                        <a:pt x="615" y="377"/>
                      </a:lnTo>
                      <a:lnTo>
                        <a:pt x="615" y="377"/>
                      </a:lnTo>
                      <a:lnTo>
                        <a:pt x="615" y="376"/>
                      </a:lnTo>
                      <a:lnTo>
                        <a:pt x="614" y="376"/>
                      </a:lnTo>
                      <a:lnTo>
                        <a:pt x="613" y="376"/>
                      </a:lnTo>
                      <a:lnTo>
                        <a:pt x="613" y="376"/>
                      </a:lnTo>
                      <a:lnTo>
                        <a:pt x="612" y="376"/>
                      </a:lnTo>
                      <a:lnTo>
                        <a:pt x="612" y="377"/>
                      </a:lnTo>
                      <a:lnTo>
                        <a:pt x="612" y="377"/>
                      </a:lnTo>
                      <a:lnTo>
                        <a:pt x="612" y="376"/>
                      </a:lnTo>
                      <a:lnTo>
                        <a:pt x="612" y="377"/>
                      </a:lnTo>
                      <a:lnTo>
                        <a:pt x="612" y="376"/>
                      </a:lnTo>
                      <a:lnTo>
                        <a:pt x="611" y="376"/>
                      </a:lnTo>
                      <a:lnTo>
                        <a:pt x="612" y="377"/>
                      </a:lnTo>
                      <a:lnTo>
                        <a:pt x="612" y="377"/>
                      </a:lnTo>
                      <a:lnTo>
                        <a:pt x="612" y="376"/>
                      </a:lnTo>
                      <a:lnTo>
                        <a:pt x="613" y="376"/>
                      </a:lnTo>
                      <a:lnTo>
                        <a:pt x="613" y="376"/>
                      </a:lnTo>
                      <a:lnTo>
                        <a:pt x="614" y="376"/>
                      </a:lnTo>
                      <a:lnTo>
                        <a:pt x="615" y="376"/>
                      </a:lnTo>
                      <a:lnTo>
                        <a:pt x="615" y="377"/>
                      </a:lnTo>
                      <a:lnTo>
                        <a:pt x="615" y="377"/>
                      </a:lnTo>
                      <a:lnTo>
                        <a:pt x="616" y="377"/>
                      </a:lnTo>
                      <a:lnTo>
                        <a:pt x="616" y="377"/>
                      </a:lnTo>
                      <a:lnTo>
                        <a:pt x="616" y="377"/>
                      </a:lnTo>
                      <a:lnTo>
                        <a:pt x="617" y="377"/>
                      </a:lnTo>
                      <a:lnTo>
                        <a:pt x="617" y="377"/>
                      </a:lnTo>
                      <a:lnTo>
                        <a:pt x="617" y="377"/>
                      </a:lnTo>
                      <a:lnTo>
                        <a:pt x="617" y="377"/>
                      </a:lnTo>
                      <a:lnTo>
                        <a:pt x="617" y="377"/>
                      </a:lnTo>
                      <a:lnTo>
                        <a:pt x="617" y="377"/>
                      </a:lnTo>
                      <a:lnTo>
                        <a:pt x="617" y="378"/>
                      </a:lnTo>
                      <a:lnTo>
                        <a:pt x="617" y="377"/>
                      </a:lnTo>
                      <a:lnTo>
                        <a:pt x="617" y="378"/>
                      </a:lnTo>
                      <a:lnTo>
                        <a:pt x="618" y="378"/>
                      </a:lnTo>
                      <a:lnTo>
                        <a:pt x="618" y="378"/>
                      </a:lnTo>
                      <a:lnTo>
                        <a:pt x="619" y="378"/>
                      </a:lnTo>
                      <a:lnTo>
                        <a:pt x="619" y="379"/>
                      </a:lnTo>
                      <a:lnTo>
                        <a:pt x="619" y="380"/>
                      </a:lnTo>
                      <a:lnTo>
                        <a:pt x="619" y="380"/>
                      </a:lnTo>
                      <a:lnTo>
                        <a:pt x="620" y="380"/>
                      </a:lnTo>
                      <a:lnTo>
                        <a:pt x="619" y="380"/>
                      </a:lnTo>
                      <a:lnTo>
                        <a:pt x="620" y="380"/>
                      </a:lnTo>
                      <a:lnTo>
                        <a:pt x="620" y="379"/>
                      </a:lnTo>
                      <a:lnTo>
                        <a:pt x="620" y="380"/>
                      </a:lnTo>
                      <a:lnTo>
                        <a:pt x="620" y="380"/>
                      </a:lnTo>
                      <a:lnTo>
                        <a:pt x="620" y="380"/>
                      </a:lnTo>
                      <a:lnTo>
                        <a:pt x="620" y="381"/>
                      </a:lnTo>
                      <a:lnTo>
                        <a:pt x="621" y="381"/>
                      </a:lnTo>
                      <a:lnTo>
                        <a:pt x="620" y="381"/>
                      </a:lnTo>
                      <a:lnTo>
                        <a:pt x="621" y="381"/>
                      </a:lnTo>
                      <a:lnTo>
                        <a:pt x="621" y="381"/>
                      </a:lnTo>
                      <a:lnTo>
                        <a:pt x="621" y="381"/>
                      </a:lnTo>
                      <a:lnTo>
                        <a:pt x="621" y="382"/>
                      </a:lnTo>
                      <a:lnTo>
                        <a:pt x="622" y="382"/>
                      </a:lnTo>
                      <a:lnTo>
                        <a:pt x="623" y="382"/>
                      </a:lnTo>
                      <a:lnTo>
                        <a:pt x="622" y="382"/>
                      </a:lnTo>
                      <a:lnTo>
                        <a:pt x="623" y="382"/>
                      </a:lnTo>
                      <a:lnTo>
                        <a:pt x="623" y="381"/>
                      </a:lnTo>
                      <a:lnTo>
                        <a:pt x="623" y="382"/>
                      </a:lnTo>
                      <a:lnTo>
                        <a:pt x="623" y="381"/>
                      </a:lnTo>
                      <a:lnTo>
                        <a:pt x="623" y="382"/>
                      </a:lnTo>
                      <a:lnTo>
                        <a:pt x="623" y="381"/>
                      </a:lnTo>
                      <a:lnTo>
                        <a:pt x="623" y="381"/>
                      </a:lnTo>
                      <a:lnTo>
                        <a:pt x="624" y="381"/>
                      </a:lnTo>
                      <a:lnTo>
                        <a:pt x="624" y="381"/>
                      </a:lnTo>
                      <a:lnTo>
                        <a:pt x="624" y="381"/>
                      </a:lnTo>
                      <a:lnTo>
                        <a:pt x="624" y="381"/>
                      </a:lnTo>
                      <a:lnTo>
                        <a:pt x="624" y="381"/>
                      </a:lnTo>
                      <a:lnTo>
                        <a:pt x="624" y="381"/>
                      </a:lnTo>
                      <a:lnTo>
                        <a:pt x="624" y="381"/>
                      </a:lnTo>
                      <a:lnTo>
                        <a:pt x="625" y="381"/>
                      </a:lnTo>
                      <a:lnTo>
                        <a:pt x="625" y="381"/>
                      </a:lnTo>
                      <a:lnTo>
                        <a:pt x="625" y="380"/>
                      </a:lnTo>
                      <a:lnTo>
                        <a:pt x="626" y="380"/>
                      </a:lnTo>
                      <a:lnTo>
                        <a:pt x="626" y="380"/>
                      </a:lnTo>
                      <a:lnTo>
                        <a:pt x="627" y="380"/>
                      </a:lnTo>
                      <a:lnTo>
                        <a:pt x="627" y="380"/>
                      </a:lnTo>
                      <a:lnTo>
                        <a:pt x="627" y="380"/>
                      </a:lnTo>
                      <a:lnTo>
                        <a:pt x="627" y="379"/>
                      </a:lnTo>
                      <a:lnTo>
                        <a:pt x="628" y="379"/>
                      </a:lnTo>
                      <a:lnTo>
                        <a:pt x="628" y="380"/>
                      </a:lnTo>
                      <a:lnTo>
                        <a:pt x="628" y="380"/>
                      </a:lnTo>
                      <a:lnTo>
                        <a:pt x="629" y="380"/>
                      </a:lnTo>
                      <a:lnTo>
                        <a:pt x="630" y="380"/>
                      </a:lnTo>
                      <a:lnTo>
                        <a:pt x="630" y="380"/>
                      </a:lnTo>
                      <a:lnTo>
                        <a:pt x="630" y="380"/>
                      </a:lnTo>
                      <a:lnTo>
                        <a:pt x="630" y="380"/>
                      </a:lnTo>
                      <a:lnTo>
                        <a:pt x="630" y="380"/>
                      </a:lnTo>
                      <a:lnTo>
                        <a:pt x="631" y="380"/>
                      </a:lnTo>
                      <a:lnTo>
                        <a:pt x="631" y="381"/>
                      </a:lnTo>
                      <a:lnTo>
                        <a:pt x="631" y="381"/>
                      </a:lnTo>
                      <a:lnTo>
                        <a:pt x="631" y="381"/>
                      </a:lnTo>
                      <a:lnTo>
                        <a:pt x="632" y="381"/>
                      </a:lnTo>
                      <a:lnTo>
                        <a:pt x="632" y="381"/>
                      </a:lnTo>
                      <a:lnTo>
                        <a:pt x="633" y="381"/>
                      </a:lnTo>
                      <a:lnTo>
                        <a:pt x="634" y="381"/>
                      </a:lnTo>
                      <a:lnTo>
                        <a:pt x="634" y="381"/>
                      </a:lnTo>
                      <a:lnTo>
                        <a:pt x="635" y="381"/>
                      </a:lnTo>
                      <a:lnTo>
                        <a:pt x="635" y="381"/>
                      </a:lnTo>
                      <a:lnTo>
                        <a:pt x="636" y="381"/>
                      </a:lnTo>
                      <a:lnTo>
                        <a:pt x="636" y="381"/>
                      </a:lnTo>
                      <a:lnTo>
                        <a:pt x="637" y="381"/>
                      </a:lnTo>
                      <a:lnTo>
                        <a:pt x="638" y="381"/>
                      </a:lnTo>
                      <a:lnTo>
                        <a:pt x="638" y="380"/>
                      </a:lnTo>
                      <a:lnTo>
                        <a:pt x="638" y="380"/>
                      </a:lnTo>
                      <a:lnTo>
                        <a:pt x="638" y="380"/>
                      </a:lnTo>
                      <a:lnTo>
                        <a:pt x="638" y="380"/>
                      </a:lnTo>
                      <a:lnTo>
                        <a:pt x="638" y="381"/>
                      </a:lnTo>
                      <a:lnTo>
                        <a:pt x="639" y="381"/>
                      </a:lnTo>
                      <a:lnTo>
                        <a:pt x="639" y="380"/>
                      </a:lnTo>
                      <a:lnTo>
                        <a:pt x="639" y="380"/>
                      </a:lnTo>
                      <a:lnTo>
                        <a:pt x="639" y="380"/>
                      </a:lnTo>
                      <a:lnTo>
                        <a:pt x="639" y="380"/>
                      </a:lnTo>
                      <a:lnTo>
                        <a:pt x="639" y="381"/>
                      </a:lnTo>
                      <a:lnTo>
                        <a:pt x="640" y="381"/>
                      </a:lnTo>
                      <a:lnTo>
                        <a:pt x="640" y="381"/>
                      </a:lnTo>
                      <a:lnTo>
                        <a:pt x="639" y="381"/>
                      </a:lnTo>
                      <a:lnTo>
                        <a:pt x="639" y="382"/>
                      </a:lnTo>
                      <a:lnTo>
                        <a:pt x="640" y="382"/>
                      </a:lnTo>
                      <a:lnTo>
                        <a:pt x="639" y="382"/>
                      </a:lnTo>
                      <a:lnTo>
                        <a:pt x="639" y="383"/>
                      </a:lnTo>
                      <a:lnTo>
                        <a:pt x="639" y="383"/>
                      </a:lnTo>
                      <a:lnTo>
                        <a:pt x="639" y="383"/>
                      </a:lnTo>
                      <a:lnTo>
                        <a:pt x="639" y="383"/>
                      </a:lnTo>
                      <a:lnTo>
                        <a:pt x="639" y="383"/>
                      </a:lnTo>
                      <a:lnTo>
                        <a:pt x="639" y="383"/>
                      </a:lnTo>
                      <a:lnTo>
                        <a:pt x="639" y="383"/>
                      </a:lnTo>
                      <a:lnTo>
                        <a:pt x="639" y="383"/>
                      </a:lnTo>
                      <a:lnTo>
                        <a:pt x="639" y="383"/>
                      </a:lnTo>
                      <a:lnTo>
                        <a:pt x="639" y="384"/>
                      </a:lnTo>
                      <a:lnTo>
                        <a:pt x="639" y="384"/>
                      </a:lnTo>
                      <a:lnTo>
                        <a:pt x="639" y="384"/>
                      </a:lnTo>
                      <a:lnTo>
                        <a:pt x="639" y="384"/>
                      </a:lnTo>
                      <a:lnTo>
                        <a:pt x="639" y="385"/>
                      </a:lnTo>
                      <a:lnTo>
                        <a:pt x="639" y="385"/>
                      </a:lnTo>
                      <a:lnTo>
                        <a:pt x="639" y="385"/>
                      </a:lnTo>
                      <a:lnTo>
                        <a:pt x="639" y="385"/>
                      </a:lnTo>
                      <a:lnTo>
                        <a:pt x="639" y="386"/>
                      </a:lnTo>
                      <a:lnTo>
                        <a:pt x="639" y="387"/>
                      </a:lnTo>
                      <a:lnTo>
                        <a:pt x="639" y="387"/>
                      </a:lnTo>
                      <a:lnTo>
                        <a:pt x="639" y="388"/>
                      </a:lnTo>
                      <a:lnTo>
                        <a:pt x="639" y="388"/>
                      </a:lnTo>
                      <a:lnTo>
                        <a:pt x="639" y="388"/>
                      </a:lnTo>
                      <a:lnTo>
                        <a:pt x="638" y="388"/>
                      </a:lnTo>
                      <a:lnTo>
                        <a:pt x="639" y="388"/>
                      </a:lnTo>
                      <a:lnTo>
                        <a:pt x="638" y="388"/>
                      </a:lnTo>
                      <a:lnTo>
                        <a:pt x="638" y="389"/>
                      </a:lnTo>
                      <a:lnTo>
                        <a:pt x="638" y="389"/>
                      </a:lnTo>
                      <a:lnTo>
                        <a:pt x="639" y="389"/>
                      </a:lnTo>
                      <a:lnTo>
                        <a:pt x="638" y="389"/>
                      </a:lnTo>
                      <a:lnTo>
                        <a:pt x="639" y="389"/>
                      </a:lnTo>
                      <a:lnTo>
                        <a:pt x="639" y="390"/>
                      </a:lnTo>
                      <a:lnTo>
                        <a:pt x="638" y="390"/>
                      </a:lnTo>
                      <a:lnTo>
                        <a:pt x="639" y="390"/>
                      </a:lnTo>
                      <a:lnTo>
                        <a:pt x="639" y="391"/>
                      </a:lnTo>
                      <a:lnTo>
                        <a:pt x="639" y="391"/>
                      </a:lnTo>
                      <a:lnTo>
                        <a:pt x="639" y="391"/>
                      </a:lnTo>
                      <a:lnTo>
                        <a:pt x="639" y="391"/>
                      </a:lnTo>
                      <a:lnTo>
                        <a:pt x="639" y="391"/>
                      </a:lnTo>
                      <a:lnTo>
                        <a:pt x="639" y="391"/>
                      </a:lnTo>
                      <a:lnTo>
                        <a:pt x="640" y="391"/>
                      </a:lnTo>
                      <a:lnTo>
                        <a:pt x="640" y="390"/>
                      </a:lnTo>
                      <a:lnTo>
                        <a:pt x="641" y="390"/>
                      </a:lnTo>
                      <a:lnTo>
                        <a:pt x="641" y="390"/>
                      </a:lnTo>
                      <a:lnTo>
                        <a:pt x="642" y="390"/>
                      </a:lnTo>
                      <a:lnTo>
                        <a:pt x="642" y="391"/>
                      </a:lnTo>
                      <a:lnTo>
                        <a:pt x="642" y="391"/>
                      </a:lnTo>
                      <a:lnTo>
                        <a:pt x="642" y="390"/>
                      </a:lnTo>
                      <a:lnTo>
                        <a:pt x="643" y="390"/>
                      </a:lnTo>
                      <a:lnTo>
                        <a:pt x="642" y="390"/>
                      </a:lnTo>
                      <a:lnTo>
                        <a:pt x="643" y="389"/>
                      </a:lnTo>
                      <a:lnTo>
                        <a:pt x="643" y="389"/>
                      </a:lnTo>
                      <a:lnTo>
                        <a:pt x="643" y="388"/>
                      </a:lnTo>
                      <a:lnTo>
                        <a:pt x="643" y="388"/>
                      </a:lnTo>
                      <a:lnTo>
                        <a:pt x="643" y="388"/>
                      </a:lnTo>
                      <a:lnTo>
                        <a:pt x="643" y="387"/>
                      </a:lnTo>
                      <a:lnTo>
                        <a:pt x="643" y="388"/>
                      </a:lnTo>
                      <a:lnTo>
                        <a:pt x="642" y="388"/>
                      </a:lnTo>
                      <a:lnTo>
                        <a:pt x="642" y="387"/>
                      </a:lnTo>
                      <a:lnTo>
                        <a:pt x="642" y="387"/>
                      </a:lnTo>
                      <a:lnTo>
                        <a:pt x="642" y="387"/>
                      </a:lnTo>
                      <a:lnTo>
                        <a:pt x="642" y="387"/>
                      </a:lnTo>
                      <a:lnTo>
                        <a:pt x="642" y="387"/>
                      </a:lnTo>
                      <a:lnTo>
                        <a:pt x="642" y="386"/>
                      </a:lnTo>
                      <a:lnTo>
                        <a:pt x="642" y="387"/>
                      </a:lnTo>
                      <a:lnTo>
                        <a:pt x="642" y="386"/>
                      </a:lnTo>
                      <a:lnTo>
                        <a:pt x="642" y="386"/>
                      </a:lnTo>
                      <a:lnTo>
                        <a:pt x="642" y="385"/>
                      </a:lnTo>
                      <a:lnTo>
                        <a:pt x="643" y="385"/>
                      </a:lnTo>
                      <a:lnTo>
                        <a:pt x="642" y="385"/>
                      </a:lnTo>
                      <a:lnTo>
                        <a:pt x="643" y="385"/>
                      </a:lnTo>
                      <a:lnTo>
                        <a:pt x="643" y="385"/>
                      </a:lnTo>
                      <a:lnTo>
                        <a:pt x="643" y="385"/>
                      </a:lnTo>
                      <a:lnTo>
                        <a:pt x="643" y="385"/>
                      </a:lnTo>
                      <a:lnTo>
                        <a:pt x="643" y="385"/>
                      </a:lnTo>
                      <a:lnTo>
                        <a:pt x="643" y="385"/>
                      </a:lnTo>
                      <a:lnTo>
                        <a:pt x="644" y="385"/>
                      </a:lnTo>
                      <a:lnTo>
                        <a:pt x="644" y="384"/>
                      </a:lnTo>
                      <a:lnTo>
                        <a:pt x="645" y="384"/>
                      </a:lnTo>
                      <a:lnTo>
                        <a:pt x="645" y="384"/>
                      </a:lnTo>
                      <a:lnTo>
                        <a:pt x="646" y="384"/>
                      </a:lnTo>
                      <a:lnTo>
                        <a:pt x="646" y="384"/>
                      </a:lnTo>
                      <a:lnTo>
                        <a:pt x="647" y="384"/>
                      </a:lnTo>
                      <a:lnTo>
                        <a:pt x="647" y="385"/>
                      </a:lnTo>
                      <a:lnTo>
                        <a:pt x="646" y="385"/>
                      </a:lnTo>
                      <a:lnTo>
                        <a:pt x="646" y="385"/>
                      </a:lnTo>
                      <a:lnTo>
                        <a:pt x="646" y="385"/>
                      </a:lnTo>
                      <a:lnTo>
                        <a:pt x="646" y="386"/>
                      </a:lnTo>
                      <a:lnTo>
                        <a:pt x="645" y="386"/>
                      </a:lnTo>
                      <a:lnTo>
                        <a:pt x="645" y="387"/>
                      </a:lnTo>
                      <a:lnTo>
                        <a:pt x="645" y="387"/>
                      </a:lnTo>
                      <a:lnTo>
                        <a:pt x="645" y="387"/>
                      </a:lnTo>
                      <a:lnTo>
                        <a:pt x="645" y="387"/>
                      </a:lnTo>
                      <a:lnTo>
                        <a:pt x="645" y="386"/>
                      </a:lnTo>
                      <a:lnTo>
                        <a:pt x="645" y="387"/>
                      </a:lnTo>
                      <a:lnTo>
                        <a:pt x="644" y="387"/>
                      </a:lnTo>
                      <a:lnTo>
                        <a:pt x="643" y="387"/>
                      </a:lnTo>
                      <a:lnTo>
                        <a:pt x="643" y="387"/>
                      </a:lnTo>
                      <a:lnTo>
                        <a:pt x="643" y="388"/>
                      </a:lnTo>
                      <a:lnTo>
                        <a:pt x="643" y="387"/>
                      </a:lnTo>
                      <a:lnTo>
                        <a:pt x="643" y="388"/>
                      </a:lnTo>
                      <a:lnTo>
                        <a:pt x="644" y="388"/>
                      </a:lnTo>
                      <a:lnTo>
                        <a:pt x="645" y="388"/>
                      </a:lnTo>
                      <a:lnTo>
                        <a:pt x="645" y="388"/>
                      </a:lnTo>
                      <a:lnTo>
                        <a:pt x="646" y="388"/>
                      </a:lnTo>
                      <a:lnTo>
                        <a:pt x="646" y="389"/>
                      </a:lnTo>
                      <a:lnTo>
                        <a:pt x="646" y="388"/>
                      </a:lnTo>
                      <a:lnTo>
                        <a:pt x="646" y="388"/>
                      </a:lnTo>
                      <a:lnTo>
                        <a:pt x="647" y="388"/>
                      </a:lnTo>
                      <a:lnTo>
                        <a:pt x="647" y="389"/>
                      </a:lnTo>
                      <a:lnTo>
                        <a:pt x="647" y="389"/>
                      </a:lnTo>
                      <a:lnTo>
                        <a:pt x="647" y="388"/>
                      </a:lnTo>
                      <a:lnTo>
                        <a:pt x="648" y="388"/>
                      </a:lnTo>
                      <a:lnTo>
                        <a:pt x="647" y="388"/>
                      </a:lnTo>
                      <a:lnTo>
                        <a:pt x="647" y="389"/>
                      </a:lnTo>
                      <a:lnTo>
                        <a:pt x="647" y="389"/>
                      </a:lnTo>
                      <a:lnTo>
                        <a:pt x="647" y="389"/>
                      </a:lnTo>
                      <a:lnTo>
                        <a:pt x="646" y="389"/>
                      </a:lnTo>
                      <a:lnTo>
                        <a:pt x="646" y="390"/>
                      </a:lnTo>
                      <a:lnTo>
                        <a:pt x="646" y="390"/>
                      </a:lnTo>
                      <a:lnTo>
                        <a:pt x="646" y="391"/>
                      </a:lnTo>
                      <a:lnTo>
                        <a:pt x="646" y="391"/>
                      </a:lnTo>
                      <a:lnTo>
                        <a:pt x="645" y="391"/>
                      </a:lnTo>
                      <a:lnTo>
                        <a:pt x="645" y="392"/>
                      </a:lnTo>
                      <a:lnTo>
                        <a:pt x="645" y="392"/>
                      </a:lnTo>
                      <a:lnTo>
                        <a:pt x="645" y="392"/>
                      </a:lnTo>
                      <a:lnTo>
                        <a:pt x="645" y="392"/>
                      </a:lnTo>
                      <a:lnTo>
                        <a:pt x="645" y="392"/>
                      </a:lnTo>
                      <a:lnTo>
                        <a:pt x="645" y="392"/>
                      </a:lnTo>
                      <a:lnTo>
                        <a:pt x="644" y="392"/>
                      </a:lnTo>
                      <a:lnTo>
                        <a:pt x="643" y="392"/>
                      </a:lnTo>
                      <a:lnTo>
                        <a:pt x="643" y="392"/>
                      </a:lnTo>
                      <a:lnTo>
                        <a:pt x="643" y="393"/>
                      </a:lnTo>
                      <a:lnTo>
                        <a:pt x="642" y="393"/>
                      </a:lnTo>
                      <a:lnTo>
                        <a:pt x="642" y="394"/>
                      </a:lnTo>
                      <a:lnTo>
                        <a:pt x="642" y="393"/>
                      </a:lnTo>
                      <a:lnTo>
                        <a:pt x="643" y="393"/>
                      </a:lnTo>
                      <a:lnTo>
                        <a:pt x="643" y="394"/>
                      </a:lnTo>
                      <a:lnTo>
                        <a:pt x="643" y="394"/>
                      </a:lnTo>
                      <a:lnTo>
                        <a:pt x="643" y="394"/>
                      </a:lnTo>
                      <a:lnTo>
                        <a:pt x="643" y="394"/>
                      </a:lnTo>
                      <a:lnTo>
                        <a:pt x="644" y="394"/>
                      </a:lnTo>
                      <a:lnTo>
                        <a:pt x="644" y="394"/>
                      </a:lnTo>
                      <a:lnTo>
                        <a:pt x="644" y="394"/>
                      </a:lnTo>
                      <a:lnTo>
                        <a:pt x="645" y="394"/>
                      </a:lnTo>
                      <a:lnTo>
                        <a:pt x="646" y="394"/>
                      </a:lnTo>
                      <a:lnTo>
                        <a:pt x="646" y="394"/>
                      </a:lnTo>
                      <a:lnTo>
                        <a:pt x="647" y="394"/>
                      </a:lnTo>
                      <a:lnTo>
                        <a:pt x="647" y="394"/>
                      </a:lnTo>
                      <a:lnTo>
                        <a:pt x="648" y="394"/>
                      </a:lnTo>
                      <a:lnTo>
                        <a:pt x="649" y="394"/>
                      </a:lnTo>
                      <a:lnTo>
                        <a:pt x="649" y="393"/>
                      </a:lnTo>
                      <a:lnTo>
                        <a:pt x="649" y="393"/>
                      </a:lnTo>
                      <a:lnTo>
                        <a:pt x="649" y="392"/>
                      </a:lnTo>
                      <a:lnTo>
                        <a:pt x="650" y="392"/>
                      </a:lnTo>
                      <a:lnTo>
                        <a:pt x="650" y="392"/>
                      </a:lnTo>
                      <a:lnTo>
                        <a:pt x="650" y="392"/>
                      </a:lnTo>
                      <a:lnTo>
                        <a:pt x="651" y="392"/>
                      </a:lnTo>
                      <a:lnTo>
                        <a:pt x="651" y="392"/>
                      </a:lnTo>
                      <a:lnTo>
                        <a:pt x="651" y="391"/>
                      </a:lnTo>
                      <a:lnTo>
                        <a:pt x="651" y="391"/>
                      </a:lnTo>
                      <a:lnTo>
                        <a:pt x="651" y="390"/>
                      </a:lnTo>
                      <a:lnTo>
                        <a:pt x="652" y="390"/>
                      </a:lnTo>
                      <a:lnTo>
                        <a:pt x="652" y="389"/>
                      </a:lnTo>
                      <a:lnTo>
                        <a:pt x="652" y="389"/>
                      </a:lnTo>
                      <a:lnTo>
                        <a:pt x="653" y="389"/>
                      </a:lnTo>
                      <a:lnTo>
                        <a:pt x="653" y="389"/>
                      </a:lnTo>
                      <a:lnTo>
                        <a:pt x="653" y="388"/>
                      </a:lnTo>
                      <a:lnTo>
                        <a:pt x="654" y="388"/>
                      </a:lnTo>
                      <a:lnTo>
                        <a:pt x="654" y="389"/>
                      </a:lnTo>
                      <a:lnTo>
                        <a:pt x="654" y="388"/>
                      </a:lnTo>
                      <a:lnTo>
                        <a:pt x="654" y="389"/>
                      </a:lnTo>
                      <a:lnTo>
                        <a:pt x="654" y="389"/>
                      </a:lnTo>
                      <a:lnTo>
                        <a:pt x="654" y="390"/>
                      </a:lnTo>
                      <a:lnTo>
                        <a:pt x="654" y="391"/>
                      </a:lnTo>
                      <a:lnTo>
                        <a:pt x="653" y="391"/>
                      </a:lnTo>
                      <a:lnTo>
                        <a:pt x="653" y="391"/>
                      </a:lnTo>
                      <a:lnTo>
                        <a:pt x="653" y="391"/>
                      </a:lnTo>
                      <a:lnTo>
                        <a:pt x="653" y="392"/>
                      </a:lnTo>
                      <a:lnTo>
                        <a:pt x="652" y="392"/>
                      </a:lnTo>
                      <a:lnTo>
                        <a:pt x="652" y="392"/>
                      </a:lnTo>
                      <a:lnTo>
                        <a:pt x="651" y="392"/>
                      </a:lnTo>
                      <a:lnTo>
                        <a:pt x="651" y="393"/>
                      </a:lnTo>
                      <a:lnTo>
                        <a:pt x="652" y="393"/>
                      </a:lnTo>
                      <a:lnTo>
                        <a:pt x="651" y="393"/>
                      </a:lnTo>
                      <a:lnTo>
                        <a:pt x="651" y="394"/>
                      </a:lnTo>
                      <a:lnTo>
                        <a:pt x="651" y="394"/>
                      </a:lnTo>
                      <a:lnTo>
                        <a:pt x="651" y="394"/>
                      </a:lnTo>
                      <a:lnTo>
                        <a:pt x="651" y="394"/>
                      </a:lnTo>
                      <a:lnTo>
                        <a:pt x="652" y="394"/>
                      </a:lnTo>
                      <a:lnTo>
                        <a:pt x="653" y="394"/>
                      </a:lnTo>
                      <a:lnTo>
                        <a:pt x="653" y="394"/>
                      </a:lnTo>
                      <a:lnTo>
                        <a:pt x="653" y="394"/>
                      </a:lnTo>
                      <a:lnTo>
                        <a:pt x="653" y="393"/>
                      </a:lnTo>
                      <a:lnTo>
                        <a:pt x="654" y="393"/>
                      </a:lnTo>
                      <a:lnTo>
                        <a:pt x="654" y="392"/>
                      </a:lnTo>
                      <a:lnTo>
                        <a:pt x="654" y="392"/>
                      </a:lnTo>
                      <a:lnTo>
                        <a:pt x="654" y="391"/>
                      </a:lnTo>
                      <a:lnTo>
                        <a:pt x="654" y="391"/>
                      </a:lnTo>
                      <a:lnTo>
                        <a:pt x="654" y="390"/>
                      </a:lnTo>
                      <a:lnTo>
                        <a:pt x="655" y="390"/>
                      </a:lnTo>
                      <a:lnTo>
                        <a:pt x="654" y="390"/>
                      </a:lnTo>
                      <a:lnTo>
                        <a:pt x="655" y="389"/>
                      </a:lnTo>
                      <a:lnTo>
                        <a:pt x="654" y="389"/>
                      </a:lnTo>
                      <a:lnTo>
                        <a:pt x="655" y="389"/>
                      </a:lnTo>
                      <a:lnTo>
                        <a:pt x="654" y="389"/>
                      </a:lnTo>
                      <a:lnTo>
                        <a:pt x="655" y="389"/>
                      </a:lnTo>
                      <a:lnTo>
                        <a:pt x="655" y="389"/>
                      </a:lnTo>
                      <a:lnTo>
                        <a:pt x="655" y="388"/>
                      </a:lnTo>
                      <a:lnTo>
                        <a:pt x="655" y="388"/>
                      </a:lnTo>
                      <a:lnTo>
                        <a:pt x="655" y="387"/>
                      </a:lnTo>
                      <a:lnTo>
                        <a:pt x="654" y="387"/>
                      </a:lnTo>
                      <a:lnTo>
                        <a:pt x="654" y="387"/>
                      </a:lnTo>
                      <a:lnTo>
                        <a:pt x="655" y="387"/>
                      </a:lnTo>
                      <a:lnTo>
                        <a:pt x="655" y="386"/>
                      </a:lnTo>
                      <a:lnTo>
                        <a:pt x="655" y="385"/>
                      </a:lnTo>
                      <a:lnTo>
                        <a:pt x="655" y="385"/>
                      </a:lnTo>
                      <a:lnTo>
                        <a:pt x="654" y="385"/>
                      </a:lnTo>
                      <a:lnTo>
                        <a:pt x="654" y="384"/>
                      </a:lnTo>
                      <a:lnTo>
                        <a:pt x="654" y="385"/>
                      </a:lnTo>
                      <a:lnTo>
                        <a:pt x="654" y="384"/>
                      </a:lnTo>
                      <a:lnTo>
                        <a:pt x="655" y="384"/>
                      </a:lnTo>
                      <a:lnTo>
                        <a:pt x="656" y="385"/>
                      </a:lnTo>
                      <a:lnTo>
                        <a:pt x="656" y="385"/>
                      </a:lnTo>
                      <a:lnTo>
                        <a:pt x="657" y="385"/>
                      </a:lnTo>
                      <a:lnTo>
                        <a:pt x="657" y="385"/>
                      </a:lnTo>
                      <a:lnTo>
                        <a:pt x="658" y="385"/>
                      </a:lnTo>
                      <a:lnTo>
                        <a:pt x="658" y="386"/>
                      </a:lnTo>
                      <a:lnTo>
                        <a:pt x="659" y="386"/>
                      </a:lnTo>
                      <a:lnTo>
                        <a:pt x="660" y="386"/>
                      </a:lnTo>
                      <a:lnTo>
                        <a:pt x="660" y="386"/>
                      </a:lnTo>
                      <a:lnTo>
                        <a:pt x="661" y="386"/>
                      </a:lnTo>
                      <a:lnTo>
                        <a:pt x="661" y="385"/>
                      </a:lnTo>
                      <a:lnTo>
                        <a:pt x="661" y="385"/>
                      </a:lnTo>
                      <a:lnTo>
                        <a:pt x="662" y="385"/>
                      </a:lnTo>
                      <a:lnTo>
                        <a:pt x="662" y="385"/>
                      </a:lnTo>
                      <a:lnTo>
                        <a:pt x="662" y="385"/>
                      </a:lnTo>
                      <a:lnTo>
                        <a:pt x="663" y="384"/>
                      </a:lnTo>
                      <a:lnTo>
                        <a:pt x="664" y="384"/>
                      </a:lnTo>
                      <a:lnTo>
                        <a:pt x="664" y="385"/>
                      </a:lnTo>
                      <a:lnTo>
                        <a:pt x="663" y="385"/>
                      </a:lnTo>
                      <a:lnTo>
                        <a:pt x="664" y="385"/>
                      </a:lnTo>
                      <a:lnTo>
                        <a:pt x="663" y="385"/>
                      </a:lnTo>
                      <a:lnTo>
                        <a:pt x="664" y="385"/>
                      </a:lnTo>
                      <a:lnTo>
                        <a:pt x="664" y="386"/>
                      </a:lnTo>
                      <a:lnTo>
                        <a:pt x="664" y="386"/>
                      </a:lnTo>
                      <a:lnTo>
                        <a:pt x="664" y="385"/>
                      </a:lnTo>
                      <a:lnTo>
                        <a:pt x="664" y="386"/>
                      </a:lnTo>
                      <a:lnTo>
                        <a:pt x="664" y="387"/>
                      </a:lnTo>
                      <a:lnTo>
                        <a:pt x="665" y="387"/>
                      </a:lnTo>
                      <a:lnTo>
                        <a:pt x="665" y="387"/>
                      </a:lnTo>
                      <a:lnTo>
                        <a:pt x="665" y="387"/>
                      </a:lnTo>
                      <a:lnTo>
                        <a:pt x="666" y="387"/>
                      </a:lnTo>
                      <a:lnTo>
                        <a:pt x="667" y="387"/>
                      </a:lnTo>
                      <a:lnTo>
                        <a:pt x="667" y="388"/>
                      </a:lnTo>
                      <a:lnTo>
                        <a:pt x="667" y="388"/>
                      </a:lnTo>
                      <a:lnTo>
                        <a:pt x="667" y="388"/>
                      </a:lnTo>
                      <a:lnTo>
                        <a:pt x="668" y="388"/>
                      </a:lnTo>
                      <a:lnTo>
                        <a:pt x="668" y="389"/>
                      </a:lnTo>
                      <a:lnTo>
                        <a:pt x="667" y="389"/>
                      </a:lnTo>
                      <a:lnTo>
                        <a:pt x="667" y="389"/>
                      </a:lnTo>
                      <a:lnTo>
                        <a:pt x="667" y="390"/>
                      </a:lnTo>
                      <a:lnTo>
                        <a:pt x="668" y="390"/>
                      </a:lnTo>
                      <a:lnTo>
                        <a:pt x="668" y="391"/>
                      </a:lnTo>
                      <a:lnTo>
                        <a:pt x="668" y="391"/>
                      </a:lnTo>
                      <a:lnTo>
                        <a:pt x="668" y="391"/>
                      </a:lnTo>
                      <a:lnTo>
                        <a:pt x="668" y="391"/>
                      </a:lnTo>
                      <a:lnTo>
                        <a:pt x="669" y="391"/>
                      </a:lnTo>
                      <a:lnTo>
                        <a:pt x="669" y="392"/>
                      </a:lnTo>
                      <a:lnTo>
                        <a:pt x="669" y="392"/>
                      </a:lnTo>
                      <a:lnTo>
                        <a:pt x="669" y="392"/>
                      </a:lnTo>
                      <a:lnTo>
                        <a:pt x="670" y="393"/>
                      </a:lnTo>
                      <a:lnTo>
                        <a:pt x="671" y="393"/>
                      </a:lnTo>
                      <a:lnTo>
                        <a:pt x="671" y="394"/>
                      </a:lnTo>
                      <a:lnTo>
                        <a:pt x="671" y="394"/>
                      </a:lnTo>
                      <a:lnTo>
                        <a:pt x="672" y="394"/>
                      </a:lnTo>
                      <a:lnTo>
                        <a:pt x="672" y="394"/>
                      </a:lnTo>
                      <a:lnTo>
                        <a:pt x="672" y="394"/>
                      </a:lnTo>
                      <a:lnTo>
                        <a:pt x="673" y="394"/>
                      </a:lnTo>
                      <a:lnTo>
                        <a:pt x="673" y="394"/>
                      </a:lnTo>
                      <a:lnTo>
                        <a:pt x="673" y="395"/>
                      </a:lnTo>
                      <a:lnTo>
                        <a:pt x="674" y="395"/>
                      </a:lnTo>
                      <a:lnTo>
                        <a:pt x="673" y="395"/>
                      </a:lnTo>
                      <a:lnTo>
                        <a:pt x="673" y="395"/>
                      </a:lnTo>
                      <a:lnTo>
                        <a:pt x="673" y="394"/>
                      </a:lnTo>
                      <a:lnTo>
                        <a:pt x="672" y="394"/>
                      </a:lnTo>
                      <a:lnTo>
                        <a:pt x="672" y="395"/>
                      </a:lnTo>
                      <a:lnTo>
                        <a:pt x="672" y="395"/>
                      </a:lnTo>
                      <a:lnTo>
                        <a:pt x="673" y="395"/>
                      </a:lnTo>
                      <a:lnTo>
                        <a:pt x="673" y="395"/>
                      </a:lnTo>
                      <a:lnTo>
                        <a:pt x="673" y="395"/>
                      </a:lnTo>
                      <a:lnTo>
                        <a:pt x="673" y="395"/>
                      </a:lnTo>
                      <a:lnTo>
                        <a:pt x="674" y="395"/>
                      </a:lnTo>
                      <a:lnTo>
                        <a:pt x="674" y="396"/>
                      </a:lnTo>
                      <a:lnTo>
                        <a:pt x="675" y="396"/>
                      </a:lnTo>
                      <a:lnTo>
                        <a:pt x="675" y="396"/>
                      </a:lnTo>
                      <a:lnTo>
                        <a:pt x="676" y="396"/>
                      </a:lnTo>
                      <a:lnTo>
                        <a:pt x="676" y="396"/>
                      </a:lnTo>
                      <a:lnTo>
                        <a:pt x="676" y="397"/>
                      </a:lnTo>
                      <a:lnTo>
                        <a:pt x="676" y="398"/>
                      </a:lnTo>
                      <a:lnTo>
                        <a:pt x="676" y="397"/>
                      </a:lnTo>
                      <a:lnTo>
                        <a:pt x="676" y="398"/>
                      </a:lnTo>
                      <a:lnTo>
                        <a:pt x="676" y="398"/>
                      </a:lnTo>
                      <a:lnTo>
                        <a:pt x="676" y="398"/>
                      </a:lnTo>
                      <a:lnTo>
                        <a:pt x="677" y="398"/>
                      </a:lnTo>
                      <a:lnTo>
                        <a:pt x="676" y="398"/>
                      </a:lnTo>
                      <a:lnTo>
                        <a:pt x="677" y="398"/>
                      </a:lnTo>
                      <a:lnTo>
                        <a:pt x="676" y="399"/>
                      </a:lnTo>
                      <a:lnTo>
                        <a:pt x="676" y="398"/>
                      </a:lnTo>
                      <a:lnTo>
                        <a:pt x="676" y="399"/>
                      </a:lnTo>
                      <a:lnTo>
                        <a:pt x="676" y="399"/>
                      </a:lnTo>
                      <a:lnTo>
                        <a:pt x="676" y="399"/>
                      </a:lnTo>
                      <a:lnTo>
                        <a:pt x="676" y="399"/>
                      </a:lnTo>
                      <a:lnTo>
                        <a:pt x="676" y="399"/>
                      </a:lnTo>
                      <a:lnTo>
                        <a:pt x="675" y="399"/>
                      </a:lnTo>
                      <a:lnTo>
                        <a:pt x="675" y="399"/>
                      </a:lnTo>
                      <a:lnTo>
                        <a:pt x="675" y="399"/>
                      </a:lnTo>
                      <a:lnTo>
                        <a:pt x="675" y="400"/>
                      </a:lnTo>
                      <a:lnTo>
                        <a:pt x="675" y="400"/>
                      </a:lnTo>
                      <a:lnTo>
                        <a:pt x="675" y="400"/>
                      </a:lnTo>
                      <a:lnTo>
                        <a:pt x="674" y="400"/>
                      </a:lnTo>
                      <a:lnTo>
                        <a:pt x="674" y="400"/>
                      </a:lnTo>
                      <a:lnTo>
                        <a:pt x="673" y="400"/>
                      </a:lnTo>
                      <a:lnTo>
                        <a:pt x="673" y="400"/>
                      </a:lnTo>
                      <a:lnTo>
                        <a:pt x="673" y="399"/>
                      </a:lnTo>
                      <a:lnTo>
                        <a:pt x="672" y="399"/>
                      </a:lnTo>
                      <a:lnTo>
                        <a:pt x="672" y="399"/>
                      </a:lnTo>
                      <a:lnTo>
                        <a:pt x="672" y="399"/>
                      </a:lnTo>
                      <a:lnTo>
                        <a:pt x="671" y="399"/>
                      </a:lnTo>
                      <a:lnTo>
                        <a:pt x="671" y="399"/>
                      </a:lnTo>
                      <a:lnTo>
                        <a:pt x="671" y="399"/>
                      </a:lnTo>
                      <a:lnTo>
                        <a:pt x="671" y="399"/>
                      </a:lnTo>
                      <a:lnTo>
                        <a:pt x="670" y="399"/>
                      </a:lnTo>
                      <a:lnTo>
                        <a:pt x="671" y="399"/>
                      </a:lnTo>
                      <a:lnTo>
                        <a:pt x="670" y="399"/>
                      </a:lnTo>
                      <a:lnTo>
                        <a:pt x="671" y="399"/>
                      </a:lnTo>
                      <a:lnTo>
                        <a:pt x="670" y="399"/>
                      </a:lnTo>
                      <a:lnTo>
                        <a:pt x="669" y="399"/>
                      </a:lnTo>
                      <a:lnTo>
                        <a:pt x="669" y="399"/>
                      </a:lnTo>
                      <a:lnTo>
                        <a:pt x="669" y="398"/>
                      </a:lnTo>
                      <a:lnTo>
                        <a:pt x="669" y="399"/>
                      </a:lnTo>
                      <a:lnTo>
                        <a:pt x="669" y="398"/>
                      </a:lnTo>
                      <a:lnTo>
                        <a:pt x="668" y="398"/>
                      </a:lnTo>
                      <a:lnTo>
                        <a:pt x="668" y="398"/>
                      </a:lnTo>
                      <a:lnTo>
                        <a:pt x="668" y="398"/>
                      </a:lnTo>
                      <a:lnTo>
                        <a:pt x="667" y="398"/>
                      </a:lnTo>
                      <a:lnTo>
                        <a:pt x="667" y="397"/>
                      </a:lnTo>
                      <a:lnTo>
                        <a:pt x="667" y="397"/>
                      </a:lnTo>
                      <a:lnTo>
                        <a:pt x="666" y="397"/>
                      </a:lnTo>
                      <a:lnTo>
                        <a:pt x="665" y="397"/>
                      </a:lnTo>
                      <a:lnTo>
                        <a:pt x="665" y="396"/>
                      </a:lnTo>
                      <a:lnTo>
                        <a:pt x="665" y="397"/>
                      </a:lnTo>
                      <a:lnTo>
                        <a:pt x="664" y="397"/>
                      </a:lnTo>
                      <a:lnTo>
                        <a:pt x="664" y="396"/>
                      </a:lnTo>
                      <a:lnTo>
                        <a:pt x="664" y="396"/>
                      </a:lnTo>
                      <a:lnTo>
                        <a:pt x="664" y="396"/>
                      </a:lnTo>
                      <a:lnTo>
                        <a:pt x="663" y="395"/>
                      </a:lnTo>
                      <a:lnTo>
                        <a:pt x="664" y="395"/>
                      </a:lnTo>
                      <a:lnTo>
                        <a:pt x="664" y="395"/>
                      </a:lnTo>
                      <a:lnTo>
                        <a:pt x="664" y="395"/>
                      </a:lnTo>
                      <a:lnTo>
                        <a:pt x="664" y="394"/>
                      </a:lnTo>
                      <a:lnTo>
                        <a:pt x="665" y="394"/>
                      </a:lnTo>
                      <a:lnTo>
                        <a:pt x="665" y="394"/>
                      </a:lnTo>
                      <a:lnTo>
                        <a:pt x="664" y="394"/>
                      </a:lnTo>
                      <a:lnTo>
                        <a:pt x="664" y="393"/>
                      </a:lnTo>
                      <a:lnTo>
                        <a:pt x="664" y="394"/>
                      </a:lnTo>
                      <a:lnTo>
                        <a:pt x="663" y="394"/>
                      </a:lnTo>
                      <a:lnTo>
                        <a:pt x="663" y="394"/>
                      </a:lnTo>
                      <a:lnTo>
                        <a:pt x="662" y="394"/>
                      </a:lnTo>
                      <a:lnTo>
                        <a:pt x="662" y="395"/>
                      </a:lnTo>
                      <a:lnTo>
                        <a:pt x="662" y="395"/>
                      </a:lnTo>
                      <a:lnTo>
                        <a:pt x="662" y="395"/>
                      </a:lnTo>
                      <a:lnTo>
                        <a:pt x="662" y="395"/>
                      </a:lnTo>
                      <a:lnTo>
                        <a:pt x="662" y="395"/>
                      </a:lnTo>
                      <a:lnTo>
                        <a:pt x="662" y="395"/>
                      </a:lnTo>
                      <a:lnTo>
                        <a:pt x="662" y="395"/>
                      </a:lnTo>
                      <a:lnTo>
                        <a:pt x="662" y="396"/>
                      </a:lnTo>
                      <a:lnTo>
                        <a:pt x="663" y="396"/>
                      </a:lnTo>
                      <a:lnTo>
                        <a:pt x="663" y="396"/>
                      </a:lnTo>
                      <a:lnTo>
                        <a:pt x="664" y="396"/>
                      </a:lnTo>
                      <a:lnTo>
                        <a:pt x="664" y="396"/>
                      </a:lnTo>
                      <a:lnTo>
                        <a:pt x="664" y="396"/>
                      </a:lnTo>
                      <a:lnTo>
                        <a:pt x="664" y="396"/>
                      </a:lnTo>
                      <a:lnTo>
                        <a:pt x="664" y="397"/>
                      </a:lnTo>
                      <a:lnTo>
                        <a:pt x="664" y="396"/>
                      </a:lnTo>
                      <a:lnTo>
                        <a:pt x="664" y="397"/>
                      </a:lnTo>
                      <a:lnTo>
                        <a:pt x="665" y="397"/>
                      </a:lnTo>
                      <a:lnTo>
                        <a:pt x="665" y="396"/>
                      </a:lnTo>
                      <a:lnTo>
                        <a:pt x="665" y="397"/>
                      </a:lnTo>
                      <a:lnTo>
                        <a:pt x="666" y="397"/>
                      </a:lnTo>
                      <a:lnTo>
                        <a:pt x="667" y="397"/>
                      </a:lnTo>
                      <a:lnTo>
                        <a:pt x="667" y="398"/>
                      </a:lnTo>
                      <a:lnTo>
                        <a:pt x="667" y="398"/>
                      </a:lnTo>
                      <a:lnTo>
                        <a:pt x="667" y="398"/>
                      </a:lnTo>
                      <a:lnTo>
                        <a:pt x="667" y="398"/>
                      </a:lnTo>
                      <a:lnTo>
                        <a:pt x="667" y="398"/>
                      </a:lnTo>
                      <a:lnTo>
                        <a:pt x="666" y="398"/>
                      </a:lnTo>
                      <a:lnTo>
                        <a:pt x="665" y="398"/>
                      </a:lnTo>
                      <a:lnTo>
                        <a:pt x="666" y="398"/>
                      </a:lnTo>
                      <a:lnTo>
                        <a:pt x="665" y="398"/>
                      </a:lnTo>
                      <a:lnTo>
                        <a:pt x="665" y="398"/>
                      </a:lnTo>
                      <a:lnTo>
                        <a:pt x="664" y="398"/>
                      </a:lnTo>
                      <a:lnTo>
                        <a:pt x="664" y="397"/>
                      </a:lnTo>
                      <a:lnTo>
                        <a:pt x="664" y="398"/>
                      </a:lnTo>
                      <a:lnTo>
                        <a:pt x="664" y="398"/>
                      </a:lnTo>
                      <a:lnTo>
                        <a:pt x="664" y="398"/>
                      </a:lnTo>
                      <a:lnTo>
                        <a:pt x="664" y="399"/>
                      </a:lnTo>
                      <a:lnTo>
                        <a:pt x="664" y="399"/>
                      </a:lnTo>
                      <a:lnTo>
                        <a:pt x="663" y="399"/>
                      </a:lnTo>
                      <a:lnTo>
                        <a:pt x="663" y="400"/>
                      </a:lnTo>
                      <a:lnTo>
                        <a:pt x="662" y="400"/>
                      </a:lnTo>
                      <a:lnTo>
                        <a:pt x="662" y="400"/>
                      </a:lnTo>
                      <a:lnTo>
                        <a:pt x="662" y="400"/>
                      </a:lnTo>
                      <a:lnTo>
                        <a:pt x="662" y="400"/>
                      </a:lnTo>
                      <a:lnTo>
                        <a:pt x="662" y="400"/>
                      </a:lnTo>
                      <a:lnTo>
                        <a:pt x="662" y="400"/>
                      </a:lnTo>
                      <a:lnTo>
                        <a:pt x="662" y="401"/>
                      </a:lnTo>
                      <a:lnTo>
                        <a:pt x="662" y="401"/>
                      </a:lnTo>
                      <a:lnTo>
                        <a:pt x="661" y="401"/>
                      </a:lnTo>
                      <a:lnTo>
                        <a:pt x="661" y="401"/>
                      </a:lnTo>
                      <a:lnTo>
                        <a:pt x="661" y="400"/>
                      </a:lnTo>
                      <a:lnTo>
                        <a:pt x="661" y="400"/>
                      </a:lnTo>
                      <a:lnTo>
                        <a:pt x="660" y="400"/>
                      </a:lnTo>
                      <a:lnTo>
                        <a:pt x="660" y="400"/>
                      </a:lnTo>
                      <a:lnTo>
                        <a:pt x="660" y="400"/>
                      </a:lnTo>
                      <a:lnTo>
                        <a:pt x="660" y="400"/>
                      </a:lnTo>
                      <a:lnTo>
                        <a:pt x="660" y="400"/>
                      </a:lnTo>
                      <a:lnTo>
                        <a:pt x="659" y="400"/>
                      </a:lnTo>
                      <a:lnTo>
                        <a:pt x="658" y="400"/>
                      </a:lnTo>
                      <a:lnTo>
                        <a:pt x="658" y="400"/>
                      </a:lnTo>
                      <a:lnTo>
                        <a:pt x="658" y="401"/>
                      </a:lnTo>
                      <a:lnTo>
                        <a:pt x="658" y="402"/>
                      </a:lnTo>
                      <a:lnTo>
                        <a:pt x="658" y="401"/>
                      </a:lnTo>
                      <a:lnTo>
                        <a:pt x="658" y="400"/>
                      </a:lnTo>
                      <a:lnTo>
                        <a:pt x="659" y="400"/>
                      </a:lnTo>
                      <a:lnTo>
                        <a:pt x="659" y="401"/>
                      </a:lnTo>
                      <a:lnTo>
                        <a:pt x="658" y="401"/>
                      </a:lnTo>
                      <a:lnTo>
                        <a:pt x="659" y="401"/>
                      </a:lnTo>
                      <a:lnTo>
                        <a:pt x="659" y="400"/>
                      </a:lnTo>
                      <a:lnTo>
                        <a:pt x="660" y="400"/>
                      </a:lnTo>
                      <a:lnTo>
                        <a:pt x="660" y="401"/>
                      </a:lnTo>
                      <a:lnTo>
                        <a:pt x="660" y="401"/>
                      </a:lnTo>
                      <a:lnTo>
                        <a:pt x="661" y="401"/>
                      </a:lnTo>
                      <a:lnTo>
                        <a:pt x="661" y="402"/>
                      </a:lnTo>
                      <a:lnTo>
                        <a:pt x="661" y="401"/>
                      </a:lnTo>
                      <a:lnTo>
                        <a:pt x="661" y="401"/>
                      </a:lnTo>
                      <a:lnTo>
                        <a:pt x="662" y="401"/>
                      </a:lnTo>
                      <a:lnTo>
                        <a:pt x="662" y="401"/>
                      </a:lnTo>
                      <a:lnTo>
                        <a:pt x="663" y="401"/>
                      </a:lnTo>
                      <a:lnTo>
                        <a:pt x="664" y="402"/>
                      </a:lnTo>
                      <a:lnTo>
                        <a:pt x="664" y="402"/>
                      </a:lnTo>
                      <a:lnTo>
                        <a:pt x="665" y="402"/>
                      </a:lnTo>
                      <a:lnTo>
                        <a:pt x="665" y="402"/>
                      </a:lnTo>
                      <a:lnTo>
                        <a:pt x="665" y="403"/>
                      </a:lnTo>
                      <a:lnTo>
                        <a:pt x="665" y="403"/>
                      </a:lnTo>
                      <a:lnTo>
                        <a:pt x="665" y="404"/>
                      </a:lnTo>
                      <a:lnTo>
                        <a:pt x="665" y="404"/>
                      </a:lnTo>
                      <a:lnTo>
                        <a:pt x="666" y="404"/>
                      </a:lnTo>
                      <a:lnTo>
                        <a:pt x="665" y="404"/>
                      </a:lnTo>
                      <a:lnTo>
                        <a:pt x="665" y="405"/>
                      </a:lnTo>
                      <a:lnTo>
                        <a:pt x="666" y="405"/>
                      </a:lnTo>
                      <a:lnTo>
                        <a:pt x="667" y="405"/>
                      </a:lnTo>
                      <a:lnTo>
                        <a:pt x="667" y="405"/>
                      </a:lnTo>
                      <a:lnTo>
                        <a:pt x="668" y="406"/>
                      </a:lnTo>
                      <a:lnTo>
                        <a:pt x="668" y="406"/>
                      </a:lnTo>
                      <a:lnTo>
                        <a:pt x="668" y="407"/>
                      </a:lnTo>
                      <a:lnTo>
                        <a:pt x="668" y="407"/>
                      </a:lnTo>
                      <a:lnTo>
                        <a:pt x="668" y="408"/>
                      </a:lnTo>
                      <a:lnTo>
                        <a:pt x="668" y="409"/>
                      </a:lnTo>
                      <a:lnTo>
                        <a:pt x="668" y="409"/>
                      </a:lnTo>
                      <a:lnTo>
                        <a:pt x="668" y="409"/>
                      </a:lnTo>
                      <a:lnTo>
                        <a:pt x="668" y="410"/>
                      </a:lnTo>
                      <a:lnTo>
                        <a:pt x="668" y="410"/>
                      </a:lnTo>
                      <a:lnTo>
                        <a:pt x="667" y="410"/>
                      </a:lnTo>
                      <a:lnTo>
                        <a:pt x="667" y="411"/>
                      </a:lnTo>
                      <a:lnTo>
                        <a:pt x="667" y="411"/>
                      </a:lnTo>
                      <a:lnTo>
                        <a:pt x="667" y="411"/>
                      </a:lnTo>
                      <a:lnTo>
                        <a:pt x="667" y="412"/>
                      </a:lnTo>
                      <a:lnTo>
                        <a:pt x="666" y="412"/>
                      </a:lnTo>
                      <a:lnTo>
                        <a:pt x="667" y="413"/>
                      </a:lnTo>
                      <a:lnTo>
                        <a:pt x="666" y="413"/>
                      </a:lnTo>
                      <a:lnTo>
                        <a:pt x="667" y="413"/>
                      </a:lnTo>
                      <a:lnTo>
                        <a:pt x="666" y="413"/>
                      </a:lnTo>
                      <a:lnTo>
                        <a:pt x="666" y="413"/>
                      </a:lnTo>
                      <a:lnTo>
                        <a:pt x="667" y="413"/>
                      </a:lnTo>
                      <a:lnTo>
                        <a:pt x="667" y="414"/>
                      </a:lnTo>
                      <a:lnTo>
                        <a:pt x="667" y="414"/>
                      </a:lnTo>
                      <a:lnTo>
                        <a:pt x="667" y="414"/>
                      </a:lnTo>
                      <a:lnTo>
                        <a:pt x="667" y="414"/>
                      </a:lnTo>
                      <a:lnTo>
                        <a:pt x="666" y="414"/>
                      </a:lnTo>
                      <a:lnTo>
                        <a:pt x="666" y="415"/>
                      </a:lnTo>
                      <a:lnTo>
                        <a:pt x="665" y="415"/>
                      </a:lnTo>
                      <a:lnTo>
                        <a:pt x="665" y="415"/>
                      </a:lnTo>
                      <a:lnTo>
                        <a:pt x="665" y="415"/>
                      </a:lnTo>
                      <a:lnTo>
                        <a:pt x="665" y="415"/>
                      </a:lnTo>
                      <a:lnTo>
                        <a:pt x="665" y="416"/>
                      </a:lnTo>
                      <a:lnTo>
                        <a:pt x="664" y="416"/>
                      </a:lnTo>
                      <a:lnTo>
                        <a:pt x="665" y="416"/>
                      </a:lnTo>
                      <a:lnTo>
                        <a:pt x="665" y="417"/>
                      </a:lnTo>
                      <a:lnTo>
                        <a:pt x="664" y="417"/>
                      </a:lnTo>
                      <a:lnTo>
                        <a:pt x="664" y="417"/>
                      </a:lnTo>
                      <a:lnTo>
                        <a:pt x="664" y="417"/>
                      </a:lnTo>
                      <a:lnTo>
                        <a:pt x="663" y="417"/>
                      </a:lnTo>
                      <a:lnTo>
                        <a:pt x="662" y="417"/>
                      </a:lnTo>
                      <a:lnTo>
                        <a:pt x="662" y="418"/>
                      </a:lnTo>
                      <a:lnTo>
                        <a:pt x="662" y="418"/>
                      </a:lnTo>
                      <a:lnTo>
                        <a:pt x="662" y="417"/>
                      </a:lnTo>
                      <a:lnTo>
                        <a:pt x="661" y="417"/>
                      </a:lnTo>
                      <a:lnTo>
                        <a:pt x="661" y="418"/>
                      </a:lnTo>
                      <a:lnTo>
                        <a:pt x="661" y="418"/>
                      </a:lnTo>
                      <a:lnTo>
                        <a:pt x="661" y="418"/>
                      </a:lnTo>
                      <a:lnTo>
                        <a:pt x="661" y="419"/>
                      </a:lnTo>
                      <a:lnTo>
                        <a:pt x="660" y="419"/>
                      </a:lnTo>
                      <a:lnTo>
                        <a:pt x="660" y="420"/>
                      </a:lnTo>
                      <a:lnTo>
                        <a:pt x="660" y="420"/>
                      </a:lnTo>
                      <a:lnTo>
                        <a:pt x="659" y="420"/>
                      </a:lnTo>
                      <a:lnTo>
                        <a:pt x="658" y="420"/>
                      </a:lnTo>
                      <a:lnTo>
                        <a:pt x="658" y="420"/>
                      </a:lnTo>
                      <a:lnTo>
                        <a:pt x="658" y="420"/>
                      </a:lnTo>
                      <a:lnTo>
                        <a:pt x="657" y="420"/>
                      </a:lnTo>
                      <a:lnTo>
                        <a:pt x="657" y="420"/>
                      </a:lnTo>
                      <a:lnTo>
                        <a:pt x="656" y="420"/>
                      </a:lnTo>
                      <a:lnTo>
                        <a:pt x="656" y="420"/>
                      </a:lnTo>
                      <a:lnTo>
                        <a:pt x="656" y="421"/>
                      </a:lnTo>
                      <a:lnTo>
                        <a:pt x="656" y="421"/>
                      </a:lnTo>
                      <a:lnTo>
                        <a:pt x="656" y="421"/>
                      </a:lnTo>
                      <a:lnTo>
                        <a:pt x="655" y="421"/>
                      </a:lnTo>
                      <a:lnTo>
                        <a:pt x="654" y="421"/>
                      </a:lnTo>
                      <a:lnTo>
                        <a:pt x="654" y="422"/>
                      </a:lnTo>
                      <a:lnTo>
                        <a:pt x="654" y="421"/>
                      </a:lnTo>
                      <a:lnTo>
                        <a:pt x="654" y="422"/>
                      </a:lnTo>
                      <a:lnTo>
                        <a:pt x="654" y="422"/>
                      </a:lnTo>
                      <a:lnTo>
                        <a:pt x="654" y="423"/>
                      </a:lnTo>
                      <a:lnTo>
                        <a:pt x="653" y="423"/>
                      </a:lnTo>
                      <a:lnTo>
                        <a:pt x="653" y="423"/>
                      </a:lnTo>
                      <a:lnTo>
                        <a:pt x="652" y="423"/>
                      </a:lnTo>
                      <a:lnTo>
                        <a:pt x="652" y="424"/>
                      </a:lnTo>
                      <a:lnTo>
                        <a:pt x="652" y="424"/>
                      </a:lnTo>
                      <a:lnTo>
                        <a:pt x="651" y="424"/>
                      </a:lnTo>
                      <a:lnTo>
                        <a:pt x="651" y="424"/>
                      </a:lnTo>
                      <a:lnTo>
                        <a:pt x="651" y="425"/>
                      </a:lnTo>
                      <a:lnTo>
                        <a:pt x="650" y="425"/>
                      </a:lnTo>
                      <a:lnTo>
                        <a:pt x="650" y="425"/>
                      </a:lnTo>
                      <a:lnTo>
                        <a:pt x="650" y="425"/>
                      </a:lnTo>
                      <a:lnTo>
                        <a:pt x="651" y="425"/>
                      </a:lnTo>
                      <a:lnTo>
                        <a:pt x="651" y="425"/>
                      </a:lnTo>
                      <a:lnTo>
                        <a:pt x="651" y="424"/>
                      </a:lnTo>
                      <a:lnTo>
                        <a:pt x="652" y="424"/>
                      </a:lnTo>
                      <a:lnTo>
                        <a:pt x="652" y="424"/>
                      </a:lnTo>
                      <a:lnTo>
                        <a:pt x="653" y="424"/>
                      </a:lnTo>
                      <a:lnTo>
                        <a:pt x="653" y="423"/>
                      </a:lnTo>
                      <a:lnTo>
                        <a:pt x="653" y="423"/>
                      </a:lnTo>
                      <a:lnTo>
                        <a:pt x="654" y="423"/>
                      </a:lnTo>
                      <a:lnTo>
                        <a:pt x="654" y="422"/>
                      </a:lnTo>
                      <a:lnTo>
                        <a:pt x="654" y="422"/>
                      </a:lnTo>
                      <a:lnTo>
                        <a:pt x="654" y="422"/>
                      </a:lnTo>
                      <a:lnTo>
                        <a:pt x="655" y="422"/>
                      </a:lnTo>
                      <a:lnTo>
                        <a:pt x="656" y="421"/>
                      </a:lnTo>
                      <a:lnTo>
                        <a:pt x="656" y="421"/>
                      </a:lnTo>
                      <a:lnTo>
                        <a:pt x="656" y="421"/>
                      </a:lnTo>
                      <a:lnTo>
                        <a:pt x="656" y="420"/>
                      </a:lnTo>
                      <a:lnTo>
                        <a:pt x="656" y="420"/>
                      </a:lnTo>
                      <a:lnTo>
                        <a:pt x="657" y="420"/>
                      </a:lnTo>
                      <a:lnTo>
                        <a:pt x="657" y="420"/>
                      </a:lnTo>
                      <a:lnTo>
                        <a:pt x="657" y="420"/>
                      </a:lnTo>
                      <a:lnTo>
                        <a:pt x="658" y="420"/>
                      </a:lnTo>
                      <a:lnTo>
                        <a:pt x="658" y="420"/>
                      </a:lnTo>
                      <a:lnTo>
                        <a:pt x="659" y="420"/>
                      </a:lnTo>
                      <a:lnTo>
                        <a:pt x="660" y="420"/>
                      </a:lnTo>
                      <a:lnTo>
                        <a:pt x="660" y="420"/>
                      </a:lnTo>
                      <a:lnTo>
                        <a:pt x="660" y="420"/>
                      </a:lnTo>
                      <a:lnTo>
                        <a:pt x="661" y="420"/>
                      </a:lnTo>
                      <a:lnTo>
                        <a:pt x="661" y="419"/>
                      </a:lnTo>
                      <a:lnTo>
                        <a:pt x="661" y="419"/>
                      </a:lnTo>
                      <a:lnTo>
                        <a:pt x="661" y="418"/>
                      </a:lnTo>
                      <a:lnTo>
                        <a:pt x="661" y="418"/>
                      </a:lnTo>
                      <a:lnTo>
                        <a:pt x="661" y="418"/>
                      </a:lnTo>
                      <a:lnTo>
                        <a:pt x="661" y="418"/>
                      </a:lnTo>
                      <a:lnTo>
                        <a:pt x="662" y="418"/>
                      </a:lnTo>
                      <a:lnTo>
                        <a:pt x="662" y="418"/>
                      </a:lnTo>
                      <a:lnTo>
                        <a:pt x="662" y="418"/>
                      </a:lnTo>
                      <a:lnTo>
                        <a:pt x="662" y="418"/>
                      </a:lnTo>
                      <a:lnTo>
                        <a:pt x="662" y="418"/>
                      </a:lnTo>
                      <a:lnTo>
                        <a:pt x="663" y="418"/>
                      </a:lnTo>
                      <a:lnTo>
                        <a:pt x="662" y="418"/>
                      </a:lnTo>
                      <a:lnTo>
                        <a:pt x="663" y="418"/>
                      </a:lnTo>
                      <a:lnTo>
                        <a:pt x="664" y="417"/>
                      </a:lnTo>
                      <a:lnTo>
                        <a:pt x="664" y="417"/>
                      </a:lnTo>
                      <a:lnTo>
                        <a:pt x="664" y="418"/>
                      </a:lnTo>
                      <a:lnTo>
                        <a:pt x="664" y="417"/>
                      </a:lnTo>
                      <a:lnTo>
                        <a:pt x="664" y="418"/>
                      </a:lnTo>
                      <a:lnTo>
                        <a:pt x="665" y="418"/>
                      </a:lnTo>
                      <a:lnTo>
                        <a:pt x="665" y="418"/>
                      </a:lnTo>
                      <a:lnTo>
                        <a:pt x="665" y="417"/>
                      </a:lnTo>
                      <a:lnTo>
                        <a:pt x="666" y="417"/>
                      </a:lnTo>
                      <a:lnTo>
                        <a:pt x="665" y="417"/>
                      </a:lnTo>
                      <a:lnTo>
                        <a:pt x="665" y="417"/>
                      </a:lnTo>
                      <a:lnTo>
                        <a:pt x="666" y="416"/>
                      </a:lnTo>
                      <a:lnTo>
                        <a:pt x="667" y="416"/>
                      </a:lnTo>
                      <a:lnTo>
                        <a:pt x="667" y="416"/>
                      </a:lnTo>
                      <a:lnTo>
                        <a:pt x="667" y="416"/>
                      </a:lnTo>
                      <a:lnTo>
                        <a:pt x="667" y="417"/>
                      </a:lnTo>
                      <a:lnTo>
                        <a:pt x="666" y="417"/>
                      </a:lnTo>
                      <a:lnTo>
                        <a:pt x="667" y="417"/>
                      </a:lnTo>
                      <a:lnTo>
                        <a:pt x="667" y="417"/>
                      </a:lnTo>
                      <a:lnTo>
                        <a:pt x="666" y="417"/>
                      </a:lnTo>
                      <a:lnTo>
                        <a:pt x="666" y="418"/>
                      </a:lnTo>
                      <a:lnTo>
                        <a:pt x="667" y="418"/>
                      </a:lnTo>
                      <a:lnTo>
                        <a:pt x="667" y="417"/>
                      </a:lnTo>
                      <a:lnTo>
                        <a:pt x="667" y="417"/>
                      </a:lnTo>
                      <a:lnTo>
                        <a:pt x="667" y="417"/>
                      </a:lnTo>
                      <a:lnTo>
                        <a:pt x="668" y="417"/>
                      </a:lnTo>
                      <a:lnTo>
                        <a:pt x="668" y="417"/>
                      </a:lnTo>
                      <a:lnTo>
                        <a:pt x="668" y="417"/>
                      </a:lnTo>
                      <a:lnTo>
                        <a:pt x="669" y="417"/>
                      </a:lnTo>
                      <a:lnTo>
                        <a:pt x="669" y="417"/>
                      </a:lnTo>
                      <a:lnTo>
                        <a:pt x="670" y="417"/>
                      </a:lnTo>
                      <a:lnTo>
                        <a:pt x="670" y="417"/>
                      </a:lnTo>
                      <a:lnTo>
                        <a:pt x="669" y="417"/>
                      </a:lnTo>
                      <a:lnTo>
                        <a:pt x="670" y="417"/>
                      </a:lnTo>
                      <a:lnTo>
                        <a:pt x="670" y="416"/>
                      </a:lnTo>
                      <a:lnTo>
                        <a:pt x="671" y="417"/>
                      </a:lnTo>
                      <a:lnTo>
                        <a:pt x="671" y="417"/>
                      </a:lnTo>
                      <a:lnTo>
                        <a:pt x="671" y="417"/>
                      </a:lnTo>
                      <a:lnTo>
                        <a:pt x="671" y="416"/>
                      </a:lnTo>
                      <a:lnTo>
                        <a:pt x="671" y="416"/>
                      </a:lnTo>
                      <a:lnTo>
                        <a:pt x="670" y="416"/>
                      </a:lnTo>
                      <a:lnTo>
                        <a:pt x="669" y="416"/>
                      </a:lnTo>
                      <a:lnTo>
                        <a:pt x="669" y="417"/>
                      </a:lnTo>
                      <a:lnTo>
                        <a:pt x="669" y="417"/>
                      </a:lnTo>
                      <a:lnTo>
                        <a:pt x="668" y="417"/>
                      </a:lnTo>
                      <a:lnTo>
                        <a:pt x="668" y="417"/>
                      </a:lnTo>
                      <a:lnTo>
                        <a:pt x="668" y="416"/>
                      </a:lnTo>
                      <a:lnTo>
                        <a:pt x="667" y="416"/>
                      </a:lnTo>
                      <a:lnTo>
                        <a:pt x="667" y="416"/>
                      </a:lnTo>
                      <a:lnTo>
                        <a:pt x="667" y="415"/>
                      </a:lnTo>
                      <a:lnTo>
                        <a:pt x="667" y="415"/>
                      </a:lnTo>
                      <a:lnTo>
                        <a:pt x="667" y="415"/>
                      </a:lnTo>
                      <a:lnTo>
                        <a:pt x="668" y="415"/>
                      </a:lnTo>
                      <a:lnTo>
                        <a:pt x="668" y="415"/>
                      </a:lnTo>
                      <a:lnTo>
                        <a:pt x="668" y="414"/>
                      </a:lnTo>
                      <a:lnTo>
                        <a:pt x="669" y="414"/>
                      </a:lnTo>
                      <a:lnTo>
                        <a:pt x="668" y="414"/>
                      </a:lnTo>
                      <a:lnTo>
                        <a:pt x="668" y="415"/>
                      </a:lnTo>
                      <a:lnTo>
                        <a:pt x="669" y="415"/>
                      </a:lnTo>
                      <a:lnTo>
                        <a:pt x="668" y="414"/>
                      </a:lnTo>
                      <a:lnTo>
                        <a:pt x="669" y="414"/>
                      </a:lnTo>
                      <a:lnTo>
                        <a:pt x="669" y="414"/>
                      </a:lnTo>
                      <a:lnTo>
                        <a:pt x="669" y="414"/>
                      </a:lnTo>
                      <a:lnTo>
                        <a:pt x="670" y="414"/>
                      </a:lnTo>
                      <a:lnTo>
                        <a:pt x="671" y="414"/>
                      </a:lnTo>
                      <a:lnTo>
                        <a:pt x="670" y="414"/>
                      </a:lnTo>
                      <a:lnTo>
                        <a:pt x="669" y="414"/>
                      </a:lnTo>
                      <a:lnTo>
                        <a:pt x="669" y="414"/>
                      </a:lnTo>
                      <a:lnTo>
                        <a:pt x="668" y="414"/>
                      </a:lnTo>
                      <a:lnTo>
                        <a:pt x="668" y="413"/>
                      </a:lnTo>
                      <a:lnTo>
                        <a:pt x="668" y="413"/>
                      </a:lnTo>
                      <a:lnTo>
                        <a:pt x="669" y="413"/>
                      </a:lnTo>
                      <a:lnTo>
                        <a:pt x="668" y="413"/>
                      </a:lnTo>
                      <a:lnTo>
                        <a:pt x="669" y="413"/>
                      </a:lnTo>
                      <a:lnTo>
                        <a:pt x="668" y="413"/>
                      </a:lnTo>
                      <a:lnTo>
                        <a:pt x="669" y="413"/>
                      </a:lnTo>
                      <a:lnTo>
                        <a:pt x="669" y="413"/>
                      </a:lnTo>
                      <a:lnTo>
                        <a:pt x="669" y="413"/>
                      </a:lnTo>
                      <a:lnTo>
                        <a:pt x="668" y="413"/>
                      </a:lnTo>
                      <a:lnTo>
                        <a:pt x="668" y="412"/>
                      </a:lnTo>
                      <a:lnTo>
                        <a:pt x="668" y="412"/>
                      </a:lnTo>
                      <a:lnTo>
                        <a:pt x="668" y="411"/>
                      </a:lnTo>
                      <a:lnTo>
                        <a:pt x="669" y="411"/>
                      </a:lnTo>
                      <a:lnTo>
                        <a:pt x="669" y="411"/>
                      </a:lnTo>
                      <a:lnTo>
                        <a:pt x="669" y="411"/>
                      </a:lnTo>
                      <a:lnTo>
                        <a:pt x="668" y="411"/>
                      </a:lnTo>
                      <a:lnTo>
                        <a:pt x="668" y="411"/>
                      </a:lnTo>
                      <a:lnTo>
                        <a:pt x="668" y="411"/>
                      </a:lnTo>
                      <a:lnTo>
                        <a:pt x="668" y="411"/>
                      </a:lnTo>
                      <a:lnTo>
                        <a:pt x="668" y="410"/>
                      </a:lnTo>
                      <a:lnTo>
                        <a:pt x="668" y="410"/>
                      </a:lnTo>
                      <a:lnTo>
                        <a:pt x="668" y="409"/>
                      </a:lnTo>
                      <a:lnTo>
                        <a:pt x="669" y="409"/>
                      </a:lnTo>
                      <a:lnTo>
                        <a:pt x="668" y="409"/>
                      </a:lnTo>
                      <a:lnTo>
                        <a:pt x="669" y="409"/>
                      </a:lnTo>
                      <a:lnTo>
                        <a:pt x="669" y="408"/>
                      </a:lnTo>
                      <a:lnTo>
                        <a:pt x="668" y="408"/>
                      </a:lnTo>
                      <a:lnTo>
                        <a:pt x="669" y="407"/>
                      </a:lnTo>
                      <a:lnTo>
                        <a:pt x="669" y="407"/>
                      </a:lnTo>
                      <a:lnTo>
                        <a:pt x="668" y="407"/>
                      </a:lnTo>
                      <a:lnTo>
                        <a:pt x="668" y="407"/>
                      </a:lnTo>
                      <a:lnTo>
                        <a:pt x="668" y="407"/>
                      </a:lnTo>
                      <a:lnTo>
                        <a:pt x="668" y="406"/>
                      </a:lnTo>
                      <a:lnTo>
                        <a:pt x="668" y="406"/>
                      </a:lnTo>
                      <a:lnTo>
                        <a:pt x="668" y="406"/>
                      </a:lnTo>
                      <a:lnTo>
                        <a:pt x="668" y="406"/>
                      </a:lnTo>
                      <a:lnTo>
                        <a:pt x="668" y="406"/>
                      </a:lnTo>
                      <a:lnTo>
                        <a:pt x="668" y="405"/>
                      </a:lnTo>
                      <a:lnTo>
                        <a:pt x="667" y="405"/>
                      </a:lnTo>
                      <a:lnTo>
                        <a:pt x="667" y="405"/>
                      </a:lnTo>
                      <a:lnTo>
                        <a:pt x="667" y="404"/>
                      </a:lnTo>
                      <a:lnTo>
                        <a:pt x="667" y="405"/>
                      </a:lnTo>
                      <a:lnTo>
                        <a:pt x="666" y="405"/>
                      </a:lnTo>
                      <a:lnTo>
                        <a:pt x="666" y="404"/>
                      </a:lnTo>
                      <a:lnTo>
                        <a:pt x="666" y="404"/>
                      </a:lnTo>
                      <a:lnTo>
                        <a:pt x="666" y="403"/>
                      </a:lnTo>
                      <a:lnTo>
                        <a:pt x="666" y="403"/>
                      </a:lnTo>
                      <a:lnTo>
                        <a:pt x="665" y="403"/>
                      </a:lnTo>
                      <a:lnTo>
                        <a:pt x="665" y="402"/>
                      </a:lnTo>
                      <a:lnTo>
                        <a:pt x="665" y="402"/>
                      </a:lnTo>
                      <a:lnTo>
                        <a:pt x="665" y="402"/>
                      </a:lnTo>
                      <a:lnTo>
                        <a:pt x="665" y="402"/>
                      </a:lnTo>
                      <a:lnTo>
                        <a:pt x="666" y="402"/>
                      </a:lnTo>
                      <a:lnTo>
                        <a:pt x="665" y="402"/>
                      </a:lnTo>
                      <a:lnTo>
                        <a:pt x="666" y="402"/>
                      </a:lnTo>
                      <a:lnTo>
                        <a:pt x="665" y="402"/>
                      </a:lnTo>
                      <a:lnTo>
                        <a:pt x="665" y="402"/>
                      </a:lnTo>
                      <a:lnTo>
                        <a:pt x="665" y="401"/>
                      </a:lnTo>
                      <a:lnTo>
                        <a:pt x="664" y="401"/>
                      </a:lnTo>
                      <a:lnTo>
                        <a:pt x="664" y="401"/>
                      </a:lnTo>
                      <a:lnTo>
                        <a:pt x="663" y="401"/>
                      </a:lnTo>
                      <a:lnTo>
                        <a:pt x="663" y="400"/>
                      </a:lnTo>
                      <a:lnTo>
                        <a:pt x="663" y="400"/>
                      </a:lnTo>
                      <a:lnTo>
                        <a:pt x="664" y="399"/>
                      </a:lnTo>
                      <a:lnTo>
                        <a:pt x="664" y="400"/>
                      </a:lnTo>
                      <a:lnTo>
                        <a:pt x="664" y="399"/>
                      </a:lnTo>
                      <a:lnTo>
                        <a:pt x="664" y="400"/>
                      </a:lnTo>
                      <a:lnTo>
                        <a:pt x="664" y="399"/>
                      </a:lnTo>
                      <a:lnTo>
                        <a:pt x="664" y="399"/>
                      </a:lnTo>
                      <a:lnTo>
                        <a:pt x="664" y="398"/>
                      </a:lnTo>
                      <a:lnTo>
                        <a:pt x="664" y="398"/>
                      </a:lnTo>
                      <a:lnTo>
                        <a:pt x="664" y="398"/>
                      </a:lnTo>
                      <a:lnTo>
                        <a:pt x="665" y="398"/>
                      </a:lnTo>
                      <a:lnTo>
                        <a:pt x="665" y="398"/>
                      </a:lnTo>
                      <a:lnTo>
                        <a:pt x="666" y="398"/>
                      </a:lnTo>
                      <a:lnTo>
                        <a:pt x="667" y="398"/>
                      </a:lnTo>
                      <a:lnTo>
                        <a:pt x="667" y="398"/>
                      </a:lnTo>
                      <a:lnTo>
                        <a:pt x="668" y="398"/>
                      </a:lnTo>
                      <a:lnTo>
                        <a:pt x="667" y="398"/>
                      </a:lnTo>
                      <a:lnTo>
                        <a:pt x="668" y="398"/>
                      </a:lnTo>
                      <a:lnTo>
                        <a:pt x="668" y="398"/>
                      </a:lnTo>
                      <a:lnTo>
                        <a:pt x="668" y="398"/>
                      </a:lnTo>
                      <a:lnTo>
                        <a:pt x="668" y="398"/>
                      </a:lnTo>
                      <a:lnTo>
                        <a:pt x="668" y="398"/>
                      </a:lnTo>
                      <a:lnTo>
                        <a:pt x="668" y="399"/>
                      </a:lnTo>
                      <a:lnTo>
                        <a:pt x="668" y="399"/>
                      </a:lnTo>
                      <a:lnTo>
                        <a:pt x="668" y="399"/>
                      </a:lnTo>
                      <a:lnTo>
                        <a:pt x="669" y="399"/>
                      </a:lnTo>
                      <a:lnTo>
                        <a:pt x="669" y="399"/>
                      </a:lnTo>
                      <a:lnTo>
                        <a:pt x="669" y="399"/>
                      </a:lnTo>
                      <a:lnTo>
                        <a:pt x="669" y="399"/>
                      </a:lnTo>
                      <a:lnTo>
                        <a:pt x="670" y="399"/>
                      </a:lnTo>
                      <a:lnTo>
                        <a:pt x="670" y="399"/>
                      </a:lnTo>
                      <a:lnTo>
                        <a:pt x="671" y="399"/>
                      </a:lnTo>
                      <a:lnTo>
                        <a:pt x="671" y="399"/>
                      </a:lnTo>
                      <a:lnTo>
                        <a:pt x="671" y="399"/>
                      </a:lnTo>
                      <a:lnTo>
                        <a:pt x="672" y="399"/>
                      </a:lnTo>
                      <a:lnTo>
                        <a:pt x="672" y="400"/>
                      </a:lnTo>
                      <a:lnTo>
                        <a:pt x="672" y="400"/>
                      </a:lnTo>
                      <a:lnTo>
                        <a:pt x="672" y="400"/>
                      </a:lnTo>
                      <a:lnTo>
                        <a:pt x="673" y="400"/>
                      </a:lnTo>
                      <a:lnTo>
                        <a:pt x="673" y="401"/>
                      </a:lnTo>
                      <a:lnTo>
                        <a:pt x="673" y="401"/>
                      </a:lnTo>
                      <a:lnTo>
                        <a:pt x="673" y="402"/>
                      </a:lnTo>
                      <a:lnTo>
                        <a:pt x="674" y="402"/>
                      </a:lnTo>
                      <a:lnTo>
                        <a:pt x="675" y="402"/>
                      </a:lnTo>
                      <a:lnTo>
                        <a:pt x="675" y="402"/>
                      </a:lnTo>
                      <a:lnTo>
                        <a:pt x="675" y="402"/>
                      </a:lnTo>
                      <a:lnTo>
                        <a:pt x="675" y="402"/>
                      </a:lnTo>
                      <a:lnTo>
                        <a:pt x="675" y="402"/>
                      </a:lnTo>
                      <a:lnTo>
                        <a:pt x="675" y="403"/>
                      </a:lnTo>
                      <a:lnTo>
                        <a:pt x="675" y="403"/>
                      </a:lnTo>
                      <a:lnTo>
                        <a:pt x="675" y="403"/>
                      </a:lnTo>
                      <a:lnTo>
                        <a:pt x="675" y="404"/>
                      </a:lnTo>
                      <a:lnTo>
                        <a:pt x="675" y="404"/>
                      </a:lnTo>
                      <a:lnTo>
                        <a:pt x="675" y="405"/>
                      </a:lnTo>
                      <a:lnTo>
                        <a:pt x="675" y="406"/>
                      </a:lnTo>
                      <a:lnTo>
                        <a:pt x="675" y="406"/>
                      </a:lnTo>
                      <a:lnTo>
                        <a:pt x="674" y="406"/>
                      </a:lnTo>
                      <a:lnTo>
                        <a:pt x="674" y="407"/>
                      </a:lnTo>
                      <a:lnTo>
                        <a:pt x="674" y="407"/>
                      </a:lnTo>
                      <a:lnTo>
                        <a:pt x="674" y="408"/>
                      </a:lnTo>
                      <a:lnTo>
                        <a:pt x="675" y="408"/>
                      </a:lnTo>
                      <a:lnTo>
                        <a:pt x="674" y="408"/>
                      </a:lnTo>
                      <a:lnTo>
                        <a:pt x="675" y="408"/>
                      </a:lnTo>
                      <a:lnTo>
                        <a:pt x="675" y="409"/>
                      </a:lnTo>
                      <a:lnTo>
                        <a:pt x="675" y="409"/>
                      </a:lnTo>
                      <a:lnTo>
                        <a:pt x="675" y="409"/>
                      </a:lnTo>
                      <a:lnTo>
                        <a:pt x="676" y="409"/>
                      </a:lnTo>
                      <a:lnTo>
                        <a:pt x="676" y="410"/>
                      </a:lnTo>
                      <a:lnTo>
                        <a:pt x="677" y="410"/>
                      </a:lnTo>
                      <a:lnTo>
                        <a:pt x="677" y="409"/>
                      </a:lnTo>
                      <a:lnTo>
                        <a:pt x="677" y="409"/>
                      </a:lnTo>
                      <a:lnTo>
                        <a:pt x="677" y="410"/>
                      </a:lnTo>
                      <a:lnTo>
                        <a:pt x="677" y="410"/>
                      </a:lnTo>
                      <a:lnTo>
                        <a:pt x="677" y="410"/>
                      </a:lnTo>
                      <a:lnTo>
                        <a:pt x="676" y="410"/>
                      </a:lnTo>
                      <a:lnTo>
                        <a:pt x="676" y="411"/>
                      </a:lnTo>
                      <a:lnTo>
                        <a:pt x="676" y="411"/>
                      </a:lnTo>
                      <a:lnTo>
                        <a:pt x="676" y="411"/>
                      </a:lnTo>
                      <a:lnTo>
                        <a:pt x="676" y="412"/>
                      </a:lnTo>
                      <a:lnTo>
                        <a:pt x="676" y="413"/>
                      </a:lnTo>
                      <a:lnTo>
                        <a:pt x="676" y="413"/>
                      </a:lnTo>
                      <a:lnTo>
                        <a:pt x="676" y="413"/>
                      </a:lnTo>
                      <a:lnTo>
                        <a:pt x="676" y="413"/>
                      </a:lnTo>
                      <a:lnTo>
                        <a:pt x="676" y="414"/>
                      </a:lnTo>
                      <a:lnTo>
                        <a:pt x="675" y="414"/>
                      </a:lnTo>
                      <a:lnTo>
                        <a:pt x="675" y="414"/>
                      </a:lnTo>
                      <a:lnTo>
                        <a:pt x="675" y="415"/>
                      </a:lnTo>
                      <a:lnTo>
                        <a:pt x="674" y="415"/>
                      </a:lnTo>
                      <a:lnTo>
                        <a:pt x="674" y="415"/>
                      </a:lnTo>
                      <a:lnTo>
                        <a:pt x="674" y="416"/>
                      </a:lnTo>
                      <a:lnTo>
                        <a:pt x="673" y="416"/>
                      </a:lnTo>
                      <a:lnTo>
                        <a:pt x="673" y="416"/>
                      </a:lnTo>
                      <a:lnTo>
                        <a:pt x="673" y="417"/>
                      </a:lnTo>
                      <a:lnTo>
                        <a:pt x="672" y="417"/>
                      </a:lnTo>
                      <a:lnTo>
                        <a:pt x="672" y="417"/>
                      </a:lnTo>
                      <a:lnTo>
                        <a:pt x="672" y="418"/>
                      </a:lnTo>
                      <a:lnTo>
                        <a:pt x="672" y="418"/>
                      </a:lnTo>
                      <a:lnTo>
                        <a:pt x="672" y="418"/>
                      </a:lnTo>
                      <a:lnTo>
                        <a:pt x="671" y="418"/>
                      </a:lnTo>
                      <a:lnTo>
                        <a:pt x="671" y="419"/>
                      </a:lnTo>
                      <a:lnTo>
                        <a:pt x="671" y="418"/>
                      </a:lnTo>
                      <a:lnTo>
                        <a:pt x="671" y="419"/>
                      </a:lnTo>
                      <a:lnTo>
                        <a:pt x="672" y="420"/>
                      </a:lnTo>
                      <a:lnTo>
                        <a:pt x="672" y="419"/>
                      </a:lnTo>
                      <a:lnTo>
                        <a:pt x="672" y="420"/>
                      </a:lnTo>
                      <a:lnTo>
                        <a:pt x="672" y="419"/>
                      </a:lnTo>
                      <a:lnTo>
                        <a:pt x="672" y="420"/>
                      </a:lnTo>
                      <a:lnTo>
                        <a:pt x="672" y="419"/>
                      </a:lnTo>
                      <a:lnTo>
                        <a:pt x="672" y="420"/>
                      </a:lnTo>
                      <a:lnTo>
                        <a:pt x="672" y="420"/>
                      </a:lnTo>
                      <a:lnTo>
                        <a:pt x="672" y="420"/>
                      </a:lnTo>
                      <a:lnTo>
                        <a:pt x="672" y="420"/>
                      </a:lnTo>
                      <a:lnTo>
                        <a:pt x="671" y="420"/>
                      </a:lnTo>
                      <a:lnTo>
                        <a:pt x="671" y="420"/>
                      </a:lnTo>
                      <a:lnTo>
                        <a:pt x="671" y="421"/>
                      </a:lnTo>
                      <a:lnTo>
                        <a:pt x="671" y="421"/>
                      </a:lnTo>
                      <a:lnTo>
                        <a:pt x="670" y="421"/>
                      </a:lnTo>
                      <a:lnTo>
                        <a:pt x="670" y="422"/>
                      </a:lnTo>
                      <a:lnTo>
                        <a:pt x="671" y="422"/>
                      </a:lnTo>
                      <a:lnTo>
                        <a:pt x="671" y="422"/>
                      </a:lnTo>
                      <a:lnTo>
                        <a:pt x="670" y="423"/>
                      </a:lnTo>
                      <a:lnTo>
                        <a:pt x="671" y="423"/>
                      </a:lnTo>
                      <a:lnTo>
                        <a:pt x="671" y="424"/>
                      </a:lnTo>
                      <a:lnTo>
                        <a:pt x="670" y="424"/>
                      </a:lnTo>
                      <a:lnTo>
                        <a:pt x="670" y="425"/>
                      </a:lnTo>
                      <a:lnTo>
                        <a:pt x="671" y="425"/>
                      </a:lnTo>
                      <a:lnTo>
                        <a:pt x="670" y="425"/>
                      </a:lnTo>
                      <a:lnTo>
                        <a:pt x="670" y="425"/>
                      </a:lnTo>
                      <a:lnTo>
                        <a:pt x="669" y="425"/>
                      </a:lnTo>
                      <a:lnTo>
                        <a:pt x="669" y="426"/>
                      </a:lnTo>
                      <a:lnTo>
                        <a:pt x="669" y="426"/>
                      </a:lnTo>
                      <a:lnTo>
                        <a:pt x="669" y="426"/>
                      </a:lnTo>
                      <a:lnTo>
                        <a:pt x="669" y="426"/>
                      </a:lnTo>
                      <a:lnTo>
                        <a:pt x="669" y="426"/>
                      </a:lnTo>
                      <a:lnTo>
                        <a:pt x="669" y="427"/>
                      </a:lnTo>
                      <a:lnTo>
                        <a:pt x="669" y="428"/>
                      </a:lnTo>
                      <a:lnTo>
                        <a:pt x="668" y="428"/>
                      </a:lnTo>
                      <a:lnTo>
                        <a:pt x="669" y="428"/>
                      </a:lnTo>
                      <a:lnTo>
                        <a:pt x="669" y="428"/>
                      </a:lnTo>
                      <a:lnTo>
                        <a:pt x="669" y="429"/>
                      </a:lnTo>
                      <a:lnTo>
                        <a:pt x="669" y="429"/>
                      </a:lnTo>
                      <a:lnTo>
                        <a:pt x="668" y="429"/>
                      </a:lnTo>
                      <a:lnTo>
                        <a:pt x="668" y="430"/>
                      </a:lnTo>
                      <a:lnTo>
                        <a:pt x="669" y="431"/>
                      </a:lnTo>
                      <a:lnTo>
                        <a:pt x="669" y="431"/>
                      </a:lnTo>
                      <a:lnTo>
                        <a:pt x="669" y="432"/>
                      </a:lnTo>
                      <a:lnTo>
                        <a:pt x="669" y="432"/>
                      </a:lnTo>
                      <a:lnTo>
                        <a:pt x="669" y="432"/>
                      </a:lnTo>
                      <a:lnTo>
                        <a:pt x="669" y="432"/>
                      </a:lnTo>
                      <a:lnTo>
                        <a:pt x="669" y="433"/>
                      </a:lnTo>
                      <a:lnTo>
                        <a:pt x="669" y="433"/>
                      </a:lnTo>
                      <a:lnTo>
                        <a:pt x="669" y="433"/>
                      </a:lnTo>
                      <a:lnTo>
                        <a:pt x="669" y="433"/>
                      </a:lnTo>
                      <a:lnTo>
                        <a:pt x="669" y="433"/>
                      </a:lnTo>
                      <a:lnTo>
                        <a:pt x="669" y="433"/>
                      </a:lnTo>
                      <a:lnTo>
                        <a:pt x="669" y="434"/>
                      </a:lnTo>
                      <a:lnTo>
                        <a:pt x="669" y="435"/>
                      </a:lnTo>
                      <a:lnTo>
                        <a:pt x="670" y="435"/>
                      </a:lnTo>
                      <a:lnTo>
                        <a:pt x="670" y="435"/>
                      </a:lnTo>
                      <a:lnTo>
                        <a:pt x="671" y="435"/>
                      </a:lnTo>
                      <a:lnTo>
                        <a:pt x="670" y="435"/>
                      </a:lnTo>
                      <a:lnTo>
                        <a:pt x="670" y="436"/>
                      </a:lnTo>
                      <a:lnTo>
                        <a:pt x="669" y="436"/>
                      </a:lnTo>
                      <a:lnTo>
                        <a:pt x="669" y="436"/>
                      </a:lnTo>
                      <a:lnTo>
                        <a:pt x="669" y="437"/>
                      </a:lnTo>
                      <a:lnTo>
                        <a:pt x="668" y="437"/>
                      </a:lnTo>
                      <a:lnTo>
                        <a:pt x="669" y="437"/>
                      </a:lnTo>
                      <a:lnTo>
                        <a:pt x="668" y="437"/>
                      </a:lnTo>
                      <a:lnTo>
                        <a:pt x="668" y="438"/>
                      </a:lnTo>
                      <a:lnTo>
                        <a:pt x="669" y="438"/>
                      </a:lnTo>
                      <a:lnTo>
                        <a:pt x="669" y="439"/>
                      </a:lnTo>
                      <a:lnTo>
                        <a:pt x="669" y="439"/>
                      </a:lnTo>
                      <a:lnTo>
                        <a:pt x="669" y="439"/>
                      </a:lnTo>
                      <a:lnTo>
                        <a:pt x="669" y="439"/>
                      </a:lnTo>
                      <a:lnTo>
                        <a:pt x="669" y="440"/>
                      </a:lnTo>
                      <a:lnTo>
                        <a:pt x="669" y="440"/>
                      </a:lnTo>
                      <a:lnTo>
                        <a:pt x="669" y="441"/>
                      </a:lnTo>
                      <a:lnTo>
                        <a:pt x="669" y="442"/>
                      </a:lnTo>
                      <a:lnTo>
                        <a:pt x="669" y="442"/>
                      </a:lnTo>
                      <a:lnTo>
                        <a:pt x="669" y="442"/>
                      </a:lnTo>
                      <a:lnTo>
                        <a:pt x="669" y="442"/>
                      </a:lnTo>
                      <a:lnTo>
                        <a:pt x="669" y="442"/>
                      </a:lnTo>
                      <a:lnTo>
                        <a:pt x="669" y="442"/>
                      </a:lnTo>
                      <a:lnTo>
                        <a:pt x="669" y="443"/>
                      </a:lnTo>
                      <a:lnTo>
                        <a:pt x="668" y="443"/>
                      </a:lnTo>
                      <a:lnTo>
                        <a:pt x="669" y="443"/>
                      </a:lnTo>
                      <a:lnTo>
                        <a:pt x="668" y="444"/>
                      </a:lnTo>
                      <a:lnTo>
                        <a:pt x="668" y="444"/>
                      </a:lnTo>
                      <a:lnTo>
                        <a:pt x="668" y="444"/>
                      </a:lnTo>
                      <a:lnTo>
                        <a:pt x="668" y="444"/>
                      </a:lnTo>
                      <a:lnTo>
                        <a:pt x="668" y="444"/>
                      </a:lnTo>
                      <a:lnTo>
                        <a:pt x="668" y="445"/>
                      </a:lnTo>
                      <a:lnTo>
                        <a:pt x="667" y="445"/>
                      </a:lnTo>
                      <a:lnTo>
                        <a:pt x="667" y="444"/>
                      </a:lnTo>
                      <a:lnTo>
                        <a:pt x="667" y="445"/>
                      </a:lnTo>
                      <a:lnTo>
                        <a:pt x="668" y="445"/>
                      </a:lnTo>
                      <a:lnTo>
                        <a:pt x="668" y="444"/>
                      </a:lnTo>
                      <a:lnTo>
                        <a:pt x="668" y="444"/>
                      </a:lnTo>
                      <a:lnTo>
                        <a:pt x="668" y="445"/>
                      </a:lnTo>
                      <a:lnTo>
                        <a:pt x="668" y="445"/>
                      </a:lnTo>
                      <a:lnTo>
                        <a:pt x="668" y="446"/>
                      </a:lnTo>
                      <a:lnTo>
                        <a:pt x="668" y="446"/>
                      </a:lnTo>
                      <a:lnTo>
                        <a:pt x="668" y="446"/>
                      </a:lnTo>
                      <a:lnTo>
                        <a:pt x="668" y="446"/>
                      </a:lnTo>
                      <a:lnTo>
                        <a:pt x="668" y="447"/>
                      </a:lnTo>
                      <a:lnTo>
                        <a:pt x="667" y="447"/>
                      </a:lnTo>
                      <a:lnTo>
                        <a:pt x="668" y="447"/>
                      </a:lnTo>
                      <a:lnTo>
                        <a:pt x="668" y="447"/>
                      </a:lnTo>
                      <a:lnTo>
                        <a:pt x="667" y="448"/>
                      </a:lnTo>
                      <a:lnTo>
                        <a:pt x="667" y="447"/>
                      </a:lnTo>
                      <a:lnTo>
                        <a:pt x="667" y="448"/>
                      </a:lnTo>
                      <a:lnTo>
                        <a:pt x="667" y="448"/>
                      </a:lnTo>
                      <a:lnTo>
                        <a:pt x="667" y="448"/>
                      </a:lnTo>
                      <a:lnTo>
                        <a:pt x="667" y="448"/>
                      </a:lnTo>
                      <a:lnTo>
                        <a:pt x="667" y="448"/>
                      </a:lnTo>
                      <a:lnTo>
                        <a:pt x="667" y="448"/>
                      </a:lnTo>
                      <a:lnTo>
                        <a:pt x="667" y="448"/>
                      </a:lnTo>
                      <a:lnTo>
                        <a:pt x="668" y="448"/>
                      </a:lnTo>
                      <a:lnTo>
                        <a:pt x="668" y="448"/>
                      </a:lnTo>
                      <a:lnTo>
                        <a:pt x="668" y="448"/>
                      </a:lnTo>
                      <a:lnTo>
                        <a:pt x="668" y="449"/>
                      </a:lnTo>
                      <a:lnTo>
                        <a:pt x="668" y="449"/>
                      </a:lnTo>
                      <a:lnTo>
                        <a:pt x="668" y="450"/>
                      </a:lnTo>
                      <a:lnTo>
                        <a:pt x="667" y="450"/>
                      </a:lnTo>
                      <a:lnTo>
                        <a:pt x="667" y="450"/>
                      </a:lnTo>
                      <a:lnTo>
                        <a:pt x="667" y="450"/>
                      </a:lnTo>
                      <a:lnTo>
                        <a:pt x="667" y="451"/>
                      </a:lnTo>
                      <a:lnTo>
                        <a:pt x="667" y="451"/>
                      </a:lnTo>
                      <a:lnTo>
                        <a:pt x="667" y="452"/>
                      </a:lnTo>
                      <a:lnTo>
                        <a:pt x="667" y="453"/>
                      </a:lnTo>
                      <a:lnTo>
                        <a:pt x="667" y="453"/>
                      </a:lnTo>
                      <a:lnTo>
                        <a:pt x="667" y="454"/>
                      </a:lnTo>
                      <a:lnTo>
                        <a:pt x="667" y="454"/>
                      </a:lnTo>
                      <a:lnTo>
                        <a:pt x="667" y="455"/>
                      </a:lnTo>
                      <a:lnTo>
                        <a:pt x="666" y="455"/>
                      </a:lnTo>
                      <a:lnTo>
                        <a:pt x="665" y="455"/>
                      </a:lnTo>
                      <a:lnTo>
                        <a:pt x="665" y="455"/>
                      </a:lnTo>
                      <a:lnTo>
                        <a:pt x="665" y="456"/>
                      </a:lnTo>
                      <a:lnTo>
                        <a:pt x="665" y="456"/>
                      </a:lnTo>
                      <a:lnTo>
                        <a:pt x="664" y="456"/>
                      </a:lnTo>
                      <a:lnTo>
                        <a:pt x="664" y="457"/>
                      </a:lnTo>
                      <a:lnTo>
                        <a:pt x="664" y="457"/>
                      </a:lnTo>
                      <a:lnTo>
                        <a:pt x="664" y="457"/>
                      </a:lnTo>
                      <a:lnTo>
                        <a:pt x="663" y="457"/>
                      </a:lnTo>
                      <a:lnTo>
                        <a:pt x="663" y="458"/>
                      </a:lnTo>
                      <a:lnTo>
                        <a:pt x="662" y="458"/>
                      </a:lnTo>
                      <a:lnTo>
                        <a:pt x="662" y="458"/>
                      </a:lnTo>
                      <a:lnTo>
                        <a:pt x="662" y="459"/>
                      </a:lnTo>
                      <a:lnTo>
                        <a:pt x="662" y="459"/>
                      </a:lnTo>
                      <a:lnTo>
                        <a:pt x="662" y="459"/>
                      </a:lnTo>
                      <a:lnTo>
                        <a:pt x="661" y="459"/>
                      </a:lnTo>
                      <a:lnTo>
                        <a:pt x="661" y="460"/>
                      </a:lnTo>
                      <a:lnTo>
                        <a:pt x="661" y="460"/>
                      </a:lnTo>
                      <a:lnTo>
                        <a:pt x="661" y="461"/>
                      </a:lnTo>
                      <a:lnTo>
                        <a:pt x="661" y="460"/>
                      </a:lnTo>
                      <a:lnTo>
                        <a:pt x="661" y="461"/>
                      </a:lnTo>
                      <a:lnTo>
                        <a:pt x="660" y="461"/>
                      </a:lnTo>
                      <a:lnTo>
                        <a:pt x="660" y="461"/>
                      </a:lnTo>
                      <a:lnTo>
                        <a:pt x="660" y="461"/>
                      </a:lnTo>
                      <a:lnTo>
                        <a:pt x="660" y="462"/>
                      </a:lnTo>
                      <a:lnTo>
                        <a:pt x="659" y="462"/>
                      </a:lnTo>
                      <a:lnTo>
                        <a:pt x="659" y="462"/>
                      </a:lnTo>
                      <a:lnTo>
                        <a:pt x="659" y="463"/>
                      </a:lnTo>
                      <a:lnTo>
                        <a:pt x="658" y="463"/>
                      </a:lnTo>
                      <a:lnTo>
                        <a:pt x="658" y="464"/>
                      </a:lnTo>
                      <a:lnTo>
                        <a:pt x="658" y="464"/>
                      </a:lnTo>
                      <a:lnTo>
                        <a:pt x="658" y="465"/>
                      </a:lnTo>
                      <a:lnTo>
                        <a:pt x="658" y="465"/>
                      </a:lnTo>
                      <a:lnTo>
                        <a:pt x="657" y="465"/>
                      </a:lnTo>
                      <a:lnTo>
                        <a:pt x="657" y="466"/>
                      </a:lnTo>
                      <a:lnTo>
                        <a:pt x="657" y="466"/>
                      </a:lnTo>
                      <a:lnTo>
                        <a:pt x="657" y="467"/>
                      </a:lnTo>
                      <a:lnTo>
                        <a:pt x="657" y="467"/>
                      </a:lnTo>
                      <a:lnTo>
                        <a:pt x="657" y="468"/>
                      </a:lnTo>
                      <a:lnTo>
                        <a:pt x="656" y="468"/>
                      </a:lnTo>
                      <a:lnTo>
                        <a:pt x="656" y="468"/>
                      </a:lnTo>
                      <a:lnTo>
                        <a:pt x="656" y="468"/>
                      </a:lnTo>
                      <a:lnTo>
                        <a:pt x="656" y="469"/>
                      </a:lnTo>
                      <a:lnTo>
                        <a:pt x="655" y="469"/>
                      </a:lnTo>
                      <a:lnTo>
                        <a:pt x="655" y="469"/>
                      </a:lnTo>
                      <a:lnTo>
                        <a:pt x="654" y="470"/>
                      </a:lnTo>
                      <a:lnTo>
                        <a:pt x="654" y="470"/>
                      </a:lnTo>
                      <a:lnTo>
                        <a:pt x="654" y="471"/>
                      </a:lnTo>
                      <a:lnTo>
                        <a:pt x="653" y="471"/>
                      </a:lnTo>
                      <a:lnTo>
                        <a:pt x="653" y="472"/>
                      </a:lnTo>
                      <a:lnTo>
                        <a:pt x="653" y="472"/>
                      </a:lnTo>
                      <a:lnTo>
                        <a:pt x="653" y="473"/>
                      </a:lnTo>
                      <a:lnTo>
                        <a:pt x="653" y="473"/>
                      </a:lnTo>
                      <a:lnTo>
                        <a:pt x="653" y="473"/>
                      </a:lnTo>
                      <a:lnTo>
                        <a:pt x="652" y="473"/>
                      </a:lnTo>
                      <a:lnTo>
                        <a:pt x="652" y="474"/>
                      </a:lnTo>
                      <a:lnTo>
                        <a:pt x="652" y="474"/>
                      </a:lnTo>
                      <a:lnTo>
                        <a:pt x="652" y="475"/>
                      </a:lnTo>
                      <a:lnTo>
                        <a:pt x="651" y="475"/>
                      </a:lnTo>
                      <a:lnTo>
                        <a:pt x="651" y="476"/>
                      </a:lnTo>
                      <a:lnTo>
                        <a:pt x="652" y="476"/>
                      </a:lnTo>
                      <a:lnTo>
                        <a:pt x="652" y="476"/>
                      </a:lnTo>
                      <a:lnTo>
                        <a:pt x="651" y="476"/>
                      </a:lnTo>
                      <a:lnTo>
                        <a:pt x="651" y="477"/>
                      </a:lnTo>
                      <a:lnTo>
                        <a:pt x="651" y="477"/>
                      </a:lnTo>
                      <a:lnTo>
                        <a:pt x="651" y="477"/>
                      </a:lnTo>
                      <a:lnTo>
                        <a:pt x="650" y="477"/>
                      </a:lnTo>
                      <a:lnTo>
                        <a:pt x="650" y="478"/>
                      </a:lnTo>
                      <a:lnTo>
                        <a:pt x="650" y="479"/>
                      </a:lnTo>
                      <a:lnTo>
                        <a:pt x="650" y="479"/>
                      </a:lnTo>
                      <a:lnTo>
                        <a:pt x="650" y="479"/>
                      </a:lnTo>
                      <a:lnTo>
                        <a:pt x="650" y="480"/>
                      </a:lnTo>
                      <a:lnTo>
                        <a:pt x="650" y="480"/>
                      </a:lnTo>
                      <a:lnTo>
                        <a:pt x="649" y="480"/>
                      </a:lnTo>
                      <a:lnTo>
                        <a:pt x="649" y="481"/>
                      </a:lnTo>
                      <a:lnTo>
                        <a:pt x="649" y="481"/>
                      </a:lnTo>
                      <a:lnTo>
                        <a:pt x="649" y="482"/>
                      </a:lnTo>
                      <a:lnTo>
                        <a:pt x="648" y="482"/>
                      </a:lnTo>
                      <a:lnTo>
                        <a:pt x="648" y="483"/>
                      </a:lnTo>
                      <a:lnTo>
                        <a:pt x="647" y="483"/>
                      </a:lnTo>
                      <a:lnTo>
                        <a:pt x="647" y="483"/>
                      </a:lnTo>
                      <a:lnTo>
                        <a:pt x="647" y="483"/>
                      </a:lnTo>
                      <a:lnTo>
                        <a:pt x="647" y="484"/>
                      </a:lnTo>
                      <a:lnTo>
                        <a:pt x="647" y="484"/>
                      </a:lnTo>
                      <a:lnTo>
                        <a:pt x="646" y="484"/>
                      </a:lnTo>
                      <a:lnTo>
                        <a:pt x="646" y="485"/>
                      </a:lnTo>
                      <a:lnTo>
                        <a:pt x="646" y="485"/>
                      </a:lnTo>
                      <a:lnTo>
                        <a:pt x="646" y="485"/>
                      </a:lnTo>
                      <a:lnTo>
                        <a:pt x="645" y="486"/>
                      </a:lnTo>
                      <a:lnTo>
                        <a:pt x="645" y="487"/>
                      </a:lnTo>
                      <a:lnTo>
                        <a:pt x="645" y="487"/>
                      </a:lnTo>
                      <a:lnTo>
                        <a:pt x="644" y="487"/>
                      </a:lnTo>
                      <a:lnTo>
                        <a:pt x="644" y="487"/>
                      </a:lnTo>
                      <a:lnTo>
                        <a:pt x="643" y="487"/>
                      </a:lnTo>
                      <a:lnTo>
                        <a:pt x="643" y="488"/>
                      </a:lnTo>
                      <a:lnTo>
                        <a:pt x="643" y="488"/>
                      </a:lnTo>
                      <a:lnTo>
                        <a:pt x="643" y="488"/>
                      </a:lnTo>
                      <a:lnTo>
                        <a:pt x="643" y="489"/>
                      </a:lnTo>
                      <a:lnTo>
                        <a:pt x="642" y="489"/>
                      </a:lnTo>
                      <a:lnTo>
                        <a:pt x="642" y="490"/>
                      </a:lnTo>
                      <a:lnTo>
                        <a:pt x="642" y="490"/>
                      </a:lnTo>
                      <a:lnTo>
                        <a:pt x="641" y="490"/>
                      </a:lnTo>
                      <a:lnTo>
                        <a:pt x="641" y="491"/>
                      </a:lnTo>
                      <a:lnTo>
                        <a:pt x="641" y="491"/>
                      </a:lnTo>
                      <a:lnTo>
                        <a:pt x="641" y="491"/>
                      </a:lnTo>
                      <a:lnTo>
                        <a:pt x="640" y="491"/>
                      </a:lnTo>
                      <a:lnTo>
                        <a:pt x="639" y="492"/>
                      </a:lnTo>
                      <a:lnTo>
                        <a:pt x="639" y="492"/>
                      </a:lnTo>
                      <a:lnTo>
                        <a:pt x="639" y="493"/>
                      </a:lnTo>
                      <a:lnTo>
                        <a:pt x="639" y="493"/>
                      </a:lnTo>
                      <a:lnTo>
                        <a:pt x="639" y="494"/>
                      </a:lnTo>
                      <a:lnTo>
                        <a:pt x="638" y="494"/>
                      </a:lnTo>
                      <a:lnTo>
                        <a:pt x="638" y="494"/>
                      </a:lnTo>
                      <a:lnTo>
                        <a:pt x="638" y="494"/>
                      </a:lnTo>
                      <a:lnTo>
                        <a:pt x="638" y="495"/>
                      </a:lnTo>
                      <a:lnTo>
                        <a:pt x="638" y="495"/>
                      </a:lnTo>
                      <a:lnTo>
                        <a:pt x="637" y="495"/>
                      </a:lnTo>
                      <a:lnTo>
                        <a:pt x="637" y="496"/>
                      </a:lnTo>
                      <a:lnTo>
                        <a:pt x="636" y="496"/>
                      </a:lnTo>
                      <a:lnTo>
                        <a:pt x="636" y="496"/>
                      </a:lnTo>
                      <a:lnTo>
                        <a:pt x="636" y="496"/>
                      </a:lnTo>
                      <a:lnTo>
                        <a:pt x="636" y="497"/>
                      </a:lnTo>
                      <a:lnTo>
                        <a:pt x="635" y="497"/>
                      </a:lnTo>
                      <a:lnTo>
                        <a:pt x="636" y="497"/>
                      </a:lnTo>
                      <a:lnTo>
                        <a:pt x="635" y="498"/>
                      </a:lnTo>
                      <a:lnTo>
                        <a:pt x="635" y="498"/>
                      </a:lnTo>
                      <a:lnTo>
                        <a:pt x="635" y="498"/>
                      </a:lnTo>
                      <a:lnTo>
                        <a:pt x="635" y="499"/>
                      </a:lnTo>
                      <a:lnTo>
                        <a:pt x="635" y="498"/>
                      </a:lnTo>
                      <a:lnTo>
                        <a:pt x="635" y="499"/>
                      </a:lnTo>
                      <a:lnTo>
                        <a:pt x="634" y="499"/>
                      </a:lnTo>
                      <a:lnTo>
                        <a:pt x="635" y="499"/>
                      </a:lnTo>
                      <a:lnTo>
                        <a:pt x="634" y="499"/>
                      </a:lnTo>
                      <a:lnTo>
                        <a:pt x="635" y="499"/>
                      </a:lnTo>
                      <a:lnTo>
                        <a:pt x="634" y="499"/>
                      </a:lnTo>
                      <a:lnTo>
                        <a:pt x="635" y="499"/>
                      </a:lnTo>
                      <a:lnTo>
                        <a:pt x="634" y="499"/>
                      </a:lnTo>
                      <a:lnTo>
                        <a:pt x="634" y="500"/>
                      </a:lnTo>
                      <a:lnTo>
                        <a:pt x="634" y="500"/>
                      </a:lnTo>
                      <a:lnTo>
                        <a:pt x="634" y="501"/>
                      </a:lnTo>
                      <a:lnTo>
                        <a:pt x="633" y="501"/>
                      </a:lnTo>
                      <a:lnTo>
                        <a:pt x="632" y="501"/>
                      </a:lnTo>
                      <a:lnTo>
                        <a:pt x="632" y="501"/>
                      </a:lnTo>
                      <a:lnTo>
                        <a:pt x="632" y="501"/>
                      </a:lnTo>
                      <a:lnTo>
                        <a:pt x="631" y="501"/>
                      </a:lnTo>
                      <a:lnTo>
                        <a:pt x="631" y="502"/>
                      </a:lnTo>
                      <a:lnTo>
                        <a:pt x="632" y="502"/>
                      </a:lnTo>
                      <a:lnTo>
                        <a:pt x="631" y="502"/>
                      </a:lnTo>
                      <a:lnTo>
                        <a:pt x="631" y="502"/>
                      </a:lnTo>
                      <a:lnTo>
                        <a:pt x="631" y="503"/>
                      </a:lnTo>
                      <a:lnTo>
                        <a:pt x="631" y="503"/>
                      </a:lnTo>
                      <a:lnTo>
                        <a:pt x="630" y="503"/>
                      </a:lnTo>
                      <a:lnTo>
                        <a:pt x="630" y="504"/>
                      </a:lnTo>
                      <a:lnTo>
                        <a:pt x="630" y="505"/>
                      </a:lnTo>
                      <a:lnTo>
                        <a:pt x="630" y="505"/>
                      </a:lnTo>
                      <a:lnTo>
                        <a:pt x="630" y="505"/>
                      </a:lnTo>
                      <a:lnTo>
                        <a:pt x="629" y="505"/>
                      </a:lnTo>
                      <a:lnTo>
                        <a:pt x="629" y="506"/>
                      </a:lnTo>
                      <a:lnTo>
                        <a:pt x="629" y="506"/>
                      </a:lnTo>
                      <a:lnTo>
                        <a:pt x="629" y="506"/>
                      </a:lnTo>
                      <a:lnTo>
                        <a:pt x="629" y="506"/>
                      </a:lnTo>
                      <a:lnTo>
                        <a:pt x="629" y="506"/>
                      </a:lnTo>
                      <a:lnTo>
                        <a:pt x="628" y="506"/>
                      </a:lnTo>
                      <a:lnTo>
                        <a:pt x="628" y="506"/>
                      </a:lnTo>
                      <a:lnTo>
                        <a:pt x="629" y="506"/>
                      </a:lnTo>
                      <a:lnTo>
                        <a:pt x="628" y="506"/>
                      </a:lnTo>
                      <a:lnTo>
                        <a:pt x="629" y="506"/>
                      </a:lnTo>
                      <a:lnTo>
                        <a:pt x="628" y="506"/>
                      </a:lnTo>
                      <a:lnTo>
                        <a:pt x="629" y="507"/>
                      </a:lnTo>
                      <a:lnTo>
                        <a:pt x="628" y="507"/>
                      </a:lnTo>
                      <a:lnTo>
                        <a:pt x="629" y="507"/>
                      </a:lnTo>
                      <a:lnTo>
                        <a:pt x="629" y="506"/>
                      </a:lnTo>
                      <a:lnTo>
                        <a:pt x="629" y="507"/>
                      </a:lnTo>
                      <a:lnTo>
                        <a:pt x="629" y="507"/>
                      </a:lnTo>
                      <a:lnTo>
                        <a:pt x="628" y="507"/>
                      </a:lnTo>
                      <a:lnTo>
                        <a:pt x="628" y="508"/>
                      </a:lnTo>
                      <a:lnTo>
                        <a:pt x="628" y="508"/>
                      </a:lnTo>
                      <a:lnTo>
                        <a:pt x="628" y="509"/>
                      </a:lnTo>
                      <a:lnTo>
                        <a:pt x="627" y="509"/>
                      </a:lnTo>
                      <a:lnTo>
                        <a:pt x="627" y="509"/>
                      </a:lnTo>
                      <a:lnTo>
                        <a:pt x="627" y="509"/>
                      </a:lnTo>
                      <a:lnTo>
                        <a:pt x="627" y="509"/>
                      </a:lnTo>
                      <a:lnTo>
                        <a:pt x="627" y="509"/>
                      </a:lnTo>
                      <a:lnTo>
                        <a:pt x="627" y="509"/>
                      </a:lnTo>
                      <a:lnTo>
                        <a:pt x="627" y="508"/>
                      </a:lnTo>
                      <a:lnTo>
                        <a:pt x="627" y="509"/>
                      </a:lnTo>
                      <a:lnTo>
                        <a:pt x="627" y="509"/>
                      </a:lnTo>
                      <a:lnTo>
                        <a:pt x="627" y="510"/>
                      </a:lnTo>
                      <a:lnTo>
                        <a:pt x="626" y="510"/>
                      </a:lnTo>
                      <a:lnTo>
                        <a:pt x="627" y="510"/>
                      </a:lnTo>
                      <a:lnTo>
                        <a:pt x="626" y="510"/>
                      </a:lnTo>
                      <a:lnTo>
                        <a:pt x="627" y="510"/>
                      </a:lnTo>
                      <a:lnTo>
                        <a:pt x="626" y="510"/>
                      </a:lnTo>
                      <a:lnTo>
                        <a:pt x="626" y="511"/>
                      </a:lnTo>
                      <a:lnTo>
                        <a:pt x="625" y="511"/>
                      </a:lnTo>
                      <a:lnTo>
                        <a:pt x="625" y="512"/>
                      </a:lnTo>
                      <a:lnTo>
                        <a:pt x="625" y="512"/>
                      </a:lnTo>
                      <a:lnTo>
                        <a:pt x="624" y="512"/>
                      </a:lnTo>
                      <a:lnTo>
                        <a:pt x="625" y="512"/>
                      </a:lnTo>
                      <a:lnTo>
                        <a:pt x="624" y="512"/>
                      </a:lnTo>
                      <a:lnTo>
                        <a:pt x="624" y="512"/>
                      </a:lnTo>
                      <a:lnTo>
                        <a:pt x="624" y="512"/>
                      </a:lnTo>
                      <a:lnTo>
                        <a:pt x="623" y="513"/>
                      </a:lnTo>
                      <a:lnTo>
                        <a:pt x="623" y="513"/>
                      </a:lnTo>
                      <a:lnTo>
                        <a:pt x="623" y="513"/>
                      </a:lnTo>
                      <a:lnTo>
                        <a:pt x="622" y="513"/>
                      </a:lnTo>
                      <a:lnTo>
                        <a:pt x="623" y="513"/>
                      </a:lnTo>
                      <a:lnTo>
                        <a:pt x="622" y="514"/>
                      </a:lnTo>
                      <a:lnTo>
                        <a:pt x="621" y="514"/>
                      </a:lnTo>
                      <a:lnTo>
                        <a:pt x="621" y="514"/>
                      </a:lnTo>
                      <a:lnTo>
                        <a:pt x="621" y="514"/>
                      </a:lnTo>
                      <a:lnTo>
                        <a:pt x="620" y="515"/>
                      </a:lnTo>
                      <a:lnTo>
                        <a:pt x="620" y="514"/>
                      </a:lnTo>
                      <a:lnTo>
                        <a:pt x="620" y="514"/>
                      </a:lnTo>
                      <a:lnTo>
                        <a:pt x="620" y="514"/>
                      </a:lnTo>
                      <a:lnTo>
                        <a:pt x="620" y="515"/>
                      </a:lnTo>
                      <a:lnTo>
                        <a:pt x="620" y="515"/>
                      </a:lnTo>
                      <a:lnTo>
                        <a:pt x="620" y="516"/>
                      </a:lnTo>
                      <a:lnTo>
                        <a:pt x="619" y="516"/>
                      </a:lnTo>
                      <a:lnTo>
                        <a:pt x="619" y="516"/>
                      </a:lnTo>
                      <a:lnTo>
                        <a:pt x="619" y="516"/>
                      </a:lnTo>
                      <a:lnTo>
                        <a:pt x="619" y="516"/>
                      </a:lnTo>
                      <a:lnTo>
                        <a:pt x="619" y="516"/>
                      </a:lnTo>
                      <a:lnTo>
                        <a:pt x="618" y="516"/>
                      </a:lnTo>
                      <a:lnTo>
                        <a:pt x="619" y="516"/>
                      </a:lnTo>
                      <a:lnTo>
                        <a:pt x="618" y="516"/>
                      </a:lnTo>
                      <a:lnTo>
                        <a:pt x="619" y="516"/>
                      </a:lnTo>
                      <a:lnTo>
                        <a:pt x="618" y="516"/>
                      </a:lnTo>
                      <a:lnTo>
                        <a:pt x="618" y="517"/>
                      </a:lnTo>
                      <a:lnTo>
                        <a:pt x="617" y="517"/>
                      </a:lnTo>
                      <a:lnTo>
                        <a:pt x="617" y="517"/>
                      </a:lnTo>
                      <a:lnTo>
                        <a:pt x="617" y="517"/>
                      </a:lnTo>
                      <a:lnTo>
                        <a:pt x="617" y="518"/>
                      </a:lnTo>
                      <a:lnTo>
                        <a:pt x="616" y="518"/>
                      </a:lnTo>
                      <a:lnTo>
                        <a:pt x="616" y="518"/>
                      </a:lnTo>
                      <a:lnTo>
                        <a:pt x="615" y="518"/>
                      </a:lnTo>
                      <a:lnTo>
                        <a:pt x="615" y="518"/>
                      </a:lnTo>
                      <a:lnTo>
                        <a:pt x="615" y="518"/>
                      </a:lnTo>
                      <a:lnTo>
                        <a:pt x="615" y="518"/>
                      </a:lnTo>
                      <a:lnTo>
                        <a:pt x="615" y="518"/>
                      </a:lnTo>
                      <a:lnTo>
                        <a:pt x="615" y="519"/>
                      </a:lnTo>
                      <a:lnTo>
                        <a:pt x="615" y="518"/>
                      </a:lnTo>
                      <a:lnTo>
                        <a:pt x="614" y="518"/>
                      </a:lnTo>
                      <a:lnTo>
                        <a:pt x="614" y="518"/>
                      </a:lnTo>
                      <a:lnTo>
                        <a:pt x="614" y="518"/>
                      </a:lnTo>
                      <a:lnTo>
                        <a:pt x="613" y="518"/>
                      </a:lnTo>
                      <a:lnTo>
                        <a:pt x="614" y="518"/>
                      </a:lnTo>
                      <a:lnTo>
                        <a:pt x="613" y="518"/>
                      </a:lnTo>
                      <a:lnTo>
                        <a:pt x="613" y="518"/>
                      </a:lnTo>
                      <a:lnTo>
                        <a:pt x="613" y="519"/>
                      </a:lnTo>
                      <a:lnTo>
                        <a:pt x="612" y="519"/>
                      </a:lnTo>
                      <a:lnTo>
                        <a:pt x="612" y="519"/>
                      </a:lnTo>
                      <a:lnTo>
                        <a:pt x="612" y="520"/>
                      </a:lnTo>
                      <a:lnTo>
                        <a:pt x="612" y="519"/>
                      </a:lnTo>
                      <a:lnTo>
                        <a:pt x="611" y="519"/>
                      </a:lnTo>
                      <a:lnTo>
                        <a:pt x="611" y="520"/>
                      </a:lnTo>
                      <a:lnTo>
                        <a:pt x="610" y="520"/>
                      </a:lnTo>
                      <a:lnTo>
                        <a:pt x="610" y="520"/>
                      </a:lnTo>
                      <a:lnTo>
                        <a:pt x="610" y="520"/>
                      </a:lnTo>
                      <a:lnTo>
                        <a:pt x="610" y="520"/>
                      </a:lnTo>
                      <a:lnTo>
                        <a:pt x="610" y="520"/>
                      </a:lnTo>
                      <a:lnTo>
                        <a:pt x="609" y="520"/>
                      </a:lnTo>
                      <a:lnTo>
                        <a:pt x="609" y="520"/>
                      </a:lnTo>
                      <a:lnTo>
                        <a:pt x="609" y="520"/>
                      </a:lnTo>
                      <a:lnTo>
                        <a:pt x="609" y="520"/>
                      </a:lnTo>
                      <a:lnTo>
                        <a:pt x="609" y="520"/>
                      </a:lnTo>
                      <a:lnTo>
                        <a:pt x="609" y="520"/>
                      </a:lnTo>
                      <a:lnTo>
                        <a:pt x="609" y="519"/>
                      </a:lnTo>
                      <a:lnTo>
                        <a:pt x="609" y="520"/>
                      </a:lnTo>
                      <a:lnTo>
                        <a:pt x="609" y="519"/>
                      </a:lnTo>
                      <a:lnTo>
                        <a:pt x="609" y="519"/>
                      </a:lnTo>
                      <a:lnTo>
                        <a:pt x="609" y="518"/>
                      </a:lnTo>
                      <a:lnTo>
                        <a:pt x="609" y="518"/>
                      </a:lnTo>
                      <a:lnTo>
                        <a:pt x="609" y="518"/>
                      </a:lnTo>
                      <a:lnTo>
                        <a:pt x="609" y="518"/>
                      </a:lnTo>
                      <a:lnTo>
                        <a:pt x="609" y="518"/>
                      </a:lnTo>
                      <a:lnTo>
                        <a:pt x="608" y="518"/>
                      </a:lnTo>
                      <a:lnTo>
                        <a:pt x="608" y="519"/>
                      </a:lnTo>
                      <a:lnTo>
                        <a:pt x="608" y="519"/>
                      </a:lnTo>
                      <a:lnTo>
                        <a:pt x="608" y="519"/>
                      </a:lnTo>
                      <a:lnTo>
                        <a:pt x="608" y="520"/>
                      </a:lnTo>
                      <a:lnTo>
                        <a:pt x="608" y="519"/>
                      </a:lnTo>
                      <a:lnTo>
                        <a:pt x="608" y="519"/>
                      </a:lnTo>
                      <a:lnTo>
                        <a:pt x="608" y="520"/>
                      </a:lnTo>
                      <a:lnTo>
                        <a:pt x="608" y="520"/>
                      </a:lnTo>
                      <a:lnTo>
                        <a:pt x="607" y="520"/>
                      </a:lnTo>
                      <a:lnTo>
                        <a:pt x="607" y="519"/>
                      </a:lnTo>
                      <a:lnTo>
                        <a:pt x="608" y="519"/>
                      </a:lnTo>
                      <a:lnTo>
                        <a:pt x="607" y="519"/>
                      </a:lnTo>
                      <a:lnTo>
                        <a:pt x="608" y="519"/>
                      </a:lnTo>
                      <a:lnTo>
                        <a:pt x="607" y="519"/>
                      </a:lnTo>
                      <a:lnTo>
                        <a:pt x="607" y="518"/>
                      </a:lnTo>
                      <a:lnTo>
                        <a:pt x="607" y="518"/>
                      </a:lnTo>
                      <a:lnTo>
                        <a:pt x="606" y="518"/>
                      </a:lnTo>
                      <a:lnTo>
                        <a:pt x="607" y="518"/>
                      </a:lnTo>
                      <a:lnTo>
                        <a:pt x="606" y="518"/>
                      </a:lnTo>
                      <a:lnTo>
                        <a:pt x="606" y="518"/>
                      </a:lnTo>
                      <a:lnTo>
                        <a:pt x="606" y="518"/>
                      </a:lnTo>
                      <a:lnTo>
                        <a:pt x="605" y="518"/>
                      </a:lnTo>
                      <a:lnTo>
                        <a:pt x="605" y="518"/>
                      </a:lnTo>
                      <a:lnTo>
                        <a:pt x="605" y="518"/>
                      </a:lnTo>
                      <a:lnTo>
                        <a:pt x="605" y="518"/>
                      </a:lnTo>
                      <a:lnTo>
                        <a:pt x="605" y="518"/>
                      </a:lnTo>
                      <a:lnTo>
                        <a:pt x="605" y="518"/>
                      </a:lnTo>
                      <a:lnTo>
                        <a:pt x="605" y="517"/>
                      </a:lnTo>
                      <a:lnTo>
                        <a:pt x="604" y="517"/>
                      </a:lnTo>
                      <a:lnTo>
                        <a:pt x="604" y="518"/>
                      </a:lnTo>
                      <a:lnTo>
                        <a:pt x="604" y="517"/>
                      </a:lnTo>
                      <a:lnTo>
                        <a:pt x="604" y="518"/>
                      </a:lnTo>
                      <a:lnTo>
                        <a:pt x="604" y="518"/>
                      </a:lnTo>
                      <a:lnTo>
                        <a:pt x="604" y="517"/>
                      </a:lnTo>
                      <a:lnTo>
                        <a:pt x="604" y="518"/>
                      </a:lnTo>
                      <a:lnTo>
                        <a:pt x="604" y="518"/>
                      </a:lnTo>
                      <a:lnTo>
                        <a:pt x="604" y="518"/>
                      </a:lnTo>
                      <a:lnTo>
                        <a:pt x="603" y="518"/>
                      </a:lnTo>
                      <a:lnTo>
                        <a:pt x="604" y="518"/>
                      </a:lnTo>
                      <a:lnTo>
                        <a:pt x="603" y="518"/>
                      </a:lnTo>
                      <a:lnTo>
                        <a:pt x="604" y="518"/>
                      </a:lnTo>
                      <a:lnTo>
                        <a:pt x="603" y="518"/>
                      </a:lnTo>
                      <a:lnTo>
                        <a:pt x="603" y="517"/>
                      </a:lnTo>
                      <a:lnTo>
                        <a:pt x="604" y="517"/>
                      </a:lnTo>
                      <a:lnTo>
                        <a:pt x="603" y="517"/>
                      </a:lnTo>
                      <a:lnTo>
                        <a:pt x="604" y="517"/>
                      </a:lnTo>
                      <a:lnTo>
                        <a:pt x="603" y="517"/>
                      </a:lnTo>
                      <a:lnTo>
                        <a:pt x="604" y="517"/>
                      </a:lnTo>
                      <a:lnTo>
                        <a:pt x="604" y="516"/>
                      </a:lnTo>
                      <a:lnTo>
                        <a:pt x="603" y="516"/>
                      </a:lnTo>
                      <a:lnTo>
                        <a:pt x="604" y="516"/>
                      </a:lnTo>
                      <a:lnTo>
                        <a:pt x="603" y="516"/>
                      </a:lnTo>
                      <a:lnTo>
                        <a:pt x="603" y="516"/>
                      </a:lnTo>
                      <a:lnTo>
                        <a:pt x="603" y="516"/>
                      </a:lnTo>
                      <a:lnTo>
                        <a:pt x="604" y="516"/>
                      </a:lnTo>
                      <a:lnTo>
                        <a:pt x="604" y="516"/>
                      </a:lnTo>
                      <a:lnTo>
                        <a:pt x="604" y="515"/>
                      </a:lnTo>
                      <a:lnTo>
                        <a:pt x="604" y="514"/>
                      </a:lnTo>
                      <a:lnTo>
                        <a:pt x="604" y="514"/>
                      </a:lnTo>
                      <a:lnTo>
                        <a:pt x="604" y="514"/>
                      </a:lnTo>
                      <a:lnTo>
                        <a:pt x="604" y="514"/>
                      </a:lnTo>
                      <a:lnTo>
                        <a:pt x="604" y="514"/>
                      </a:lnTo>
                      <a:lnTo>
                        <a:pt x="604" y="514"/>
                      </a:lnTo>
                      <a:lnTo>
                        <a:pt x="604" y="514"/>
                      </a:lnTo>
                      <a:lnTo>
                        <a:pt x="604" y="513"/>
                      </a:lnTo>
                      <a:lnTo>
                        <a:pt x="603" y="513"/>
                      </a:lnTo>
                      <a:lnTo>
                        <a:pt x="603" y="513"/>
                      </a:lnTo>
                      <a:lnTo>
                        <a:pt x="603" y="513"/>
                      </a:lnTo>
                      <a:lnTo>
                        <a:pt x="603" y="514"/>
                      </a:lnTo>
                      <a:lnTo>
                        <a:pt x="602" y="514"/>
                      </a:lnTo>
                      <a:lnTo>
                        <a:pt x="602" y="514"/>
                      </a:lnTo>
                      <a:lnTo>
                        <a:pt x="602" y="514"/>
                      </a:lnTo>
                      <a:lnTo>
                        <a:pt x="602" y="515"/>
                      </a:lnTo>
                      <a:lnTo>
                        <a:pt x="601" y="515"/>
                      </a:lnTo>
                      <a:lnTo>
                        <a:pt x="601" y="516"/>
                      </a:lnTo>
                      <a:lnTo>
                        <a:pt x="601" y="516"/>
                      </a:lnTo>
                      <a:lnTo>
                        <a:pt x="601" y="516"/>
                      </a:lnTo>
                      <a:lnTo>
                        <a:pt x="601" y="516"/>
                      </a:lnTo>
                      <a:lnTo>
                        <a:pt x="601" y="516"/>
                      </a:lnTo>
                      <a:lnTo>
                        <a:pt x="600" y="516"/>
                      </a:lnTo>
                      <a:lnTo>
                        <a:pt x="600" y="516"/>
                      </a:lnTo>
                      <a:lnTo>
                        <a:pt x="600" y="516"/>
                      </a:lnTo>
                      <a:lnTo>
                        <a:pt x="600" y="516"/>
                      </a:lnTo>
                      <a:lnTo>
                        <a:pt x="600" y="516"/>
                      </a:lnTo>
                      <a:lnTo>
                        <a:pt x="600" y="516"/>
                      </a:lnTo>
                      <a:lnTo>
                        <a:pt x="600" y="516"/>
                      </a:lnTo>
                      <a:lnTo>
                        <a:pt x="600" y="516"/>
                      </a:lnTo>
                      <a:lnTo>
                        <a:pt x="600" y="515"/>
                      </a:lnTo>
                      <a:lnTo>
                        <a:pt x="600" y="514"/>
                      </a:lnTo>
                      <a:lnTo>
                        <a:pt x="601" y="514"/>
                      </a:lnTo>
                      <a:lnTo>
                        <a:pt x="601" y="514"/>
                      </a:lnTo>
                      <a:lnTo>
                        <a:pt x="601" y="514"/>
                      </a:lnTo>
                      <a:lnTo>
                        <a:pt x="601" y="513"/>
                      </a:lnTo>
                      <a:lnTo>
                        <a:pt x="601" y="513"/>
                      </a:lnTo>
                      <a:lnTo>
                        <a:pt x="601" y="513"/>
                      </a:lnTo>
                      <a:lnTo>
                        <a:pt x="601" y="514"/>
                      </a:lnTo>
                      <a:lnTo>
                        <a:pt x="601" y="513"/>
                      </a:lnTo>
                      <a:lnTo>
                        <a:pt x="600" y="513"/>
                      </a:lnTo>
                      <a:lnTo>
                        <a:pt x="600" y="513"/>
                      </a:lnTo>
                      <a:lnTo>
                        <a:pt x="600" y="513"/>
                      </a:lnTo>
                      <a:lnTo>
                        <a:pt x="600" y="513"/>
                      </a:lnTo>
                      <a:lnTo>
                        <a:pt x="600" y="513"/>
                      </a:lnTo>
                      <a:lnTo>
                        <a:pt x="600" y="513"/>
                      </a:lnTo>
                      <a:lnTo>
                        <a:pt x="600" y="513"/>
                      </a:lnTo>
                      <a:lnTo>
                        <a:pt x="599" y="513"/>
                      </a:lnTo>
                      <a:lnTo>
                        <a:pt x="600" y="513"/>
                      </a:lnTo>
                      <a:lnTo>
                        <a:pt x="599" y="513"/>
                      </a:lnTo>
                      <a:lnTo>
                        <a:pt x="600" y="512"/>
                      </a:lnTo>
                      <a:lnTo>
                        <a:pt x="599" y="512"/>
                      </a:lnTo>
                      <a:lnTo>
                        <a:pt x="600" y="512"/>
                      </a:lnTo>
                      <a:lnTo>
                        <a:pt x="599" y="512"/>
                      </a:lnTo>
                      <a:lnTo>
                        <a:pt x="599" y="513"/>
                      </a:lnTo>
                      <a:lnTo>
                        <a:pt x="599" y="513"/>
                      </a:lnTo>
                      <a:lnTo>
                        <a:pt x="599" y="514"/>
                      </a:lnTo>
                      <a:lnTo>
                        <a:pt x="599" y="514"/>
                      </a:lnTo>
                      <a:lnTo>
                        <a:pt x="598" y="514"/>
                      </a:lnTo>
                      <a:lnTo>
                        <a:pt x="599" y="514"/>
                      </a:lnTo>
                      <a:lnTo>
                        <a:pt x="599" y="515"/>
                      </a:lnTo>
                      <a:lnTo>
                        <a:pt x="598" y="515"/>
                      </a:lnTo>
                      <a:lnTo>
                        <a:pt x="598" y="514"/>
                      </a:lnTo>
                      <a:lnTo>
                        <a:pt x="598" y="515"/>
                      </a:lnTo>
                      <a:lnTo>
                        <a:pt x="598" y="515"/>
                      </a:lnTo>
                      <a:lnTo>
                        <a:pt x="598" y="515"/>
                      </a:lnTo>
                      <a:lnTo>
                        <a:pt x="598" y="514"/>
                      </a:lnTo>
                      <a:lnTo>
                        <a:pt x="598" y="515"/>
                      </a:lnTo>
                      <a:lnTo>
                        <a:pt x="598" y="516"/>
                      </a:lnTo>
                      <a:lnTo>
                        <a:pt x="598" y="516"/>
                      </a:lnTo>
                      <a:lnTo>
                        <a:pt x="597" y="516"/>
                      </a:lnTo>
                      <a:lnTo>
                        <a:pt x="597" y="517"/>
                      </a:lnTo>
                      <a:lnTo>
                        <a:pt x="597" y="517"/>
                      </a:lnTo>
                      <a:lnTo>
                        <a:pt x="596" y="517"/>
                      </a:lnTo>
                      <a:lnTo>
                        <a:pt x="596" y="517"/>
                      </a:lnTo>
                      <a:lnTo>
                        <a:pt x="596" y="517"/>
                      </a:lnTo>
                      <a:lnTo>
                        <a:pt x="597" y="517"/>
                      </a:lnTo>
                      <a:lnTo>
                        <a:pt x="597" y="517"/>
                      </a:lnTo>
                      <a:lnTo>
                        <a:pt x="596" y="517"/>
                      </a:lnTo>
                      <a:lnTo>
                        <a:pt x="596" y="518"/>
                      </a:lnTo>
                      <a:lnTo>
                        <a:pt x="597" y="518"/>
                      </a:lnTo>
                      <a:lnTo>
                        <a:pt x="597" y="518"/>
                      </a:lnTo>
                      <a:lnTo>
                        <a:pt x="596" y="518"/>
                      </a:lnTo>
                      <a:lnTo>
                        <a:pt x="595" y="518"/>
                      </a:lnTo>
                      <a:lnTo>
                        <a:pt x="595" y="519"/>
                      </a:lnTo>
                      <a:lnTo>
                        <a:pt x="596" y="519"/>
                      </a:lnTo>
                      <a:lnTo>
                        <a:pt x="595" y="519"/>
                      </a:lnTo>
                      <a:lnTo>
                        <a:pt x="595" y="519"/>
                      </a:lnTo>
                      <a:lnTo>
                        <a:pt x="595" y="520"/>
                      </a:lnTo>
                      <a:lnTo>
                        <a:pt x="595" y="520"/>
                      </a:lnTo>
                      <a:lnTo>
                        <a:pt x="594" y="520"/>
                      </a:lnTo>
                      <a:lnTo>
                        <a:pt x="595" y="520"/>
                      </a:lnTo>
                      <a:lnTo>
                        <a:pt x="594" y="521"/>
                      </a:lnTo>
                      <a:lnTo>
                        <a:pt x="595" y="521"/>
                      </a:lnTo>
                      <a:lnTo>
                        <a:pt x="595" y="521"/>
                      </a:lnTo>
                      <a:lnTo>
                        <a:pt x="595" y="521"/>
                      </a:lnTo>
                      <a:lnTo>
                        <a:pt x="595" y="521"/>
                      </a:lnTo>
                      <a:lnTo>
                        <a:pt x="594" y="521"/>
                      </a:lnTo>
                      <a:lnTo>
                        <a:pt x="594" y="522"/>
                      </a:lnTo>
                      <a:lnTo>
                        <a:pt x="594" y="521"/>
                      </a:lnTo>
                      <a:lnTo>
                        <a:pt x="594" y="522"/>
                      </a:lnTo>
                      <a:lnTo>
                        <a:pt x="594" y="521"/>
                      </a:lnTo>
                      <a:lnTo>
                        <a:pt x="594" y="521"/>
                      </a:lnTo>
                      <a:lnTo>
                        <a:pt x="594" y="521"/>
                      </a:lnTo>
                      <a:lnTo>
                        <a:pt x="594" y="521"/>
                      </a:lnTo>
                      <a:lnTo>
                        <a:pt x="594" y="521"/>
                      </a:lnTo>
                      <a:lnTo>
                        <a:pt x="594" y="520"/>
                      </a:lnTo>
                      <a:lnTo>
                        <a:pt x="594" y="521"/>
                      </a:lnTo>
                      <a:lnTo>
                        <a:pt x="593" y="521"/>
                      </a:lnTo>
                      <a:lnTo>
                        <a:pt x="594" y="521"/>
                      </a:lnTo>
                      <a:lnTo>
                        <a:pt x="593" y="521"/>
                      </a:lnTo>
                      <a:lnTo>
                        <a:pt x="593" y="521"/>
                      </a:lnTo>
                      <a:lnTo>
                        <a:pt x="592" y="521"/>
                      </a:lnTo>
                      <a:lnTo>
                        <a:pt x="592" y="521"/>
                      </a:lnTo>
                      <a:lnTo>
                        <a:pt x="591" y="521"/>
                      </a:lnTo>
                      <a:lnTo>
                        <a:pt x="592" y="521"/>
                      </a:lnTo>
                      <a:lnTo>
                        <a:pt x="591" y="521"/>
                      </a:lnTo>
                      <a:lnTo>
                        <a:pt x="592" y="521"/>
                      </a:lnTo>
                      <a:lnTo>
                        <a:pt x="593" y="521"/>
                      </a:lnTo>
                      <a:lnTo>
                        <a:pt x="592" y="521"/>
                      </a:lnTo>
                      <a:lnTo>
                        <a:pt x="592" y="520"/>
                      </a:lnTo>
                      <a:lnTo>
                        <a:pt x="592" y="521"/>
                      </a:lnTo>
                      <a:lnTo>
                        <a:pt x="592" y="520"/>
                      </a:lnTo>
                      <a:lnTo>
                        <a:pt x="591" y="520"/>
                      </a:lnTo>
                      <a:lnTo>
                        <a:pt x="591" y="521"/>
                      </a:lnTo>
                      <a:lnTo>
                        <a:pt x="591" y="520"/>
                      </a:lnTo>
                      <a:lnTo>
                        <a:pt x="591" y="521"/>
                      </a:lnTo>
                      <a:lnTo>
                        <a:pt x="591" y="520"/>
                      </a:lnTo>
                      <a:lnTo>
                        <a:pt x="591" y="521"/>
                      </a:lnTo>
                      <a:lnTo>
                        <a:pt x="591" y="520"/>
                      </a:lnTo>
                      <a:lnTo>
                        <a:pt x="591" y="521"/>
                      </a:lnTo>
                      <a:lnTo>
                        <a:pt x="591" y="521"/>
                      </a:lnTo>
                      <a:lnTo>
                        <a:pt x="591" y="520"/>
                      </a:lnTo>
                      <a:lnTo>
                        <a:pt x="591" y="521"/>
                      </a:lnTo>
                      <a:lnTo>
                        <a:pt x="591" y="520"/>
                      </a:lnTo>
                      <a:lnTo>
                        <a:pt x="592" y="520"/>
                      </a:lnTo>
                      <a:lnTo>
                        <a:pt x="591" y="520"/>
                      </a:lnTo>
                      <a:lnTo>
                        <a:pt x="591" y="520"/>
                      </a:lnTo>
                      <a:lnTo>
                        <a:pt x="590" y="520"/>
                      </a:lnTo>
                      <a:lnTo>
                        <a:pt x="590" y="521"/>
                      </a:lnTo>
                      <a:lnTo>
                        <a:pt x="591" y="521"/>
                      </a:lnTo>
                      <a:lnTo>
                        <a:pt x="591" y="521"/>
                      </a:lnTo>
                      <a:lnTo>
                        <a:pt x="590" y="521"/>
                      </a:lnTo>
                      <a:lnTo>
                        <a:pt x="591" y="521"/>
                      </a:lnTo>
                      <a:lnTo>
                        <a:pt x="591" y="521"/>
                      </a:lnTo>
                      <a:lnTo>
                        <a:pt x="591" y="521"/>
                      </a:lnTo>
                      <a:lnTo>
                        <a:pt x="591" y="521"/>
                      </a:lnTo>
                      <a:lnTo>
                        <a:pt x="591" y="521"/>
                      </a:lnTo>
                      <a:lnTo>
                        <a:pt x="591" y="521"/>
                      </a:lnTo>
                      <a:lnTo>
                        <a:pt x="591" y="521"/>
                      </a:lnTo>
                      <a:lnTo>
                        <a:pt x="591" y="521"/>
                      </a:lnTo>
                      <a:lnTo>
                        <a:pt x="591" y="522"/>
                      </a:lnTo>
                      <a:lnTo>
                        <a:pt x="592" y="522"/>
                      </a:lnTo>
                      <a:lnTo>
                        <a:pt x="591" y="522"/>
                      </a:lnTo>
                      <a:lnTo>
                        <a:pt x="591" y="523"/>
                      </a:lnTo>
                      <a:lnTo>
                        <a:pt x="591" y="523"/>
                      </a:lnTo>
                      <a:lnTo>
                        <a:pt x="591" y="523"/>
                      </a:lnTo>
                      <a:lnTo>
                        <a:pt x="591" y="524"/>
                      </a:lnTo>
                      <a:lnTo>
                        <a:pt x="591" y="524"/>
                      </a:lnTo>
                      <a:lnTo>
                        <a:pt x="590" y="524"/>
                      </a:lnTo>
                      <a:lnTo>
                        <a:pt x="590" y="525"/>
                      </a:lnTo>
                      <a:lnTo>
                        <a:pt x="590" y="524"/>
                      </a:lnTo>
                      <a:lnTo>
                        <a:pt x="590" y="524"/>
                      </a:lnTo>
                      <a:lnTo>
                        <a:pt x="590" y="524"/>
                      </a:lnTo>
                      <a:lnTo>
                        <a:pt x="590" y="523"/>
                      </a:lnTo>
                      <a:lnTo>
                        <a:pt x="590" y="523"/>
                      </a:lnTo>
                      <a:lnTo>
                        <a:pt x="589" y="523"/>
                      </a:lnTo>
                      <a:lnTo>
                        <a:pt x="589" y="522"/>
                      </a:lnTo>
                      <a:lnTo>
                        <a:pt x="589" y="521"/>
                      </a:lnTo>
                      <a:lnTo>
                        <a:pt x="590" y="521"/>
                      </a:lnTo>
                      <a:lnTo>
                        <a:pt x="590" y="522"/>
                      </a:lnTo>
                      <a:lnTo>
                        <a:pt x="590" y="521"/>
                      </a:lnTo>
                      <a:lnTo>
                        <a:pt x="590" y="521"/>
                      </a:lnTo>
                      <a:lnTo>
                        <a:pt x="590" y="520"/>
                      </a:lnTo>
                      <a:lnTo>
                        <a:pt x="589" y="520"/>
                      </a:lnTo>
                      <a:lnTo>
                        <a:pt x="589" y="520"/>
                      </a:lnTo>
                      <a:lnTo>
                        <a:pt x="588" y="520"/>
                      </a:lnTo>
                      <a:lnTo>
                        <a:pt x="588" y="520"/>
                      </a:lnTo>
                      <a:lnTo>
                        <a:pt x="589" y="520"/>
                      </a:lnTo>
                      <a:lnTo>
                        <a:pt x="589" y="519"/>
                      </a:lnTo>
                      <a:lnTo>
                        <a:pt x="589" y="519"/>
                      </a:lnTo>
                      <a:lnTo>
                        <a:pt x="589" y="518"/>
                      </a:lnTo>
                      <a:lnTo>
                        <a:pt x="590" y="519"/>
                      </a:lnTo>
                      <a:lnTo>
                        <a:pt x="590" y="518"/>
                      </a:lnTo>
                      <a:lnTo>
                        <a:pt x="590" y="518"/>
                      </a:lnTo>
                      <a:lnTo>
                        <a:pt x="591" y="518"/>
                      </a:lnTo>
                      <a:lnTo>
                        <a:pt x="591" y="518"/>
                      </a:lnTo>
                      <a:lnTo>
                        <a:pt x="591" y="518"/>
                      </a:lnTo>
                      <a:lnTo>
                        <a:pt x="592" y="518"/>
                      </a:lnTo>
                      <a:lnTo>
                        <a:pt x="592" y="518"/>
                      </a:lnTo>
                      <a:lnTo>
                        <a:pt x="593" y="518"/>
                      </a:lnTo>
                      <a:lnTo>
                        <a:pt x="593" y="518"/>
                      </a:lnTo>
                      <a:lnTo>
                        <a:pt x="593" y="518"/>
                      </a:lnTo>
                      <a:lnTo>
                        <a:pt x="593" y="518"/>
                      </a:lnTo>
                      <a:lnTo>
                        <a:pt x="593" y="517"/>
                      </a:lnTo>
                      <a:lnTo>
                        <a:pt x="594" y="518"/>
                      </a:lnTo>
                      <a:lnTo>
                        <a:pt x="594" y="517"/>
                      </a:lnTo>
                      <a:lnTo>
                        <a:pt x="594" y="517"/>
                      </a:lnTo>
                      <a:lnTo>
                        <a:pt x="594" y="516"/>
                      </a:lnTo>
                      <a:lnTo>
                        <a:pt x="594" y="516"/>
                      </a:lnTo>
                      <a:lnTo>
                        <a:pt x="594" y="516"/>
                      </a:lnTo>
                      <a:lnTo>
                        <a:pt x="594" y="515"/>
                      </a:lnTo>
                      <a:lnTo>
                        <a:pt x="594" y="514"/>
                      </a:lnTo>
                      <a:lnTo>
                        <a:pt x="594" y="514"/>
                      </a:lnTo>
                      <a:lnTo>
                        <a:pt x="595" y="514"/>
                      </a:lnTo>
                      <a:lnTo>
                        <a:pt x="595" y="513"/>
                      </a:lnTo>
                      <a:lnTo>
                        <a:pt x="595" y="513"/>
                      </a:lnTo>
                      <a:lnTo>
                        <a:pt x="595" y="512"/>
                      </a:lnTo>
                      <a:lnTo>
                        <a:pt x="595" y="512"/>
                      </a:lnTo>
                      <a:lnTo>
                        <a:pt x="595" y="512"/>
                      </a:lnTo>
                      <a:lnTo>
                        <a:pt x="595" y="512"/>
                      </a:lnTo>
                      <a:lnTo>
                        <a:pt x="595" y="512"/>
                      </a:lnTo>
                      <a:lnTo>
                        <a:pt x="595" y="512"/>
                      </a:lnTo>
                      <a:lnTo>
                        <a:pt x="595" y="511"/>
                      </a:lnTo>
                      <a:lnTo>
                        <a:pt x="594" y="511"/>
                      </a:lnTo>
                      <a:lnTo>
                        <a:pt x="594" y="510"/>
                      </a:lnTo>
                      <a:lnTo>
                        <a:pt x="594" y="510"/>
                      </a:lnTo>
                      <a:lnTo>
                        <a:pt x="595" y="510"/>
                      </a:lnTo>
                      <a:lnTo>
                        <a:pt x="595" y="510"/>
                      </a:lnTo>
                      <a:lnTo>
                        <a:pt x="594" y="510"/>
                      </a:lnTo>
                      <a:lnTo>
                        <a:pt x="595" y="510"/>
                      </a:lnTo>
                      <a:lnTo>
                        <a:pt x="595" y="509"/>
                      </a:lnTo>
                      <a:lnTo>
                        <a:pt x="594" y="509"/>
                      </a:lnTo>
                      <a:lnTo>
                        <a:pt x="594" y="509"/>
                      </a:lnTo>
                      <a:lnTo>
                        <a:pt x="595" y="509"/>
                      </a:lnTo>
                      <a:lnTo>
                        <a:pt x="594" y="508"/>
                      </a:lnTo>
                      <a:lnTo>
                        <a:pt x="594" y="507"/>
                      </a:lnTo>
                      <a:lnTo>
                        <a:pt x="594" y="507"/>
                      </a:lnTo>
                      <a:lnTo>
                        <a:pt x="595" y="507"/>
                      </a:lnTo>
                      <a:lnTo>
                        <a:pt x="595" y="506"/>
                      </a:lnTo>
                      <a:lnTo>
                        <a:pt x="595" y="506"/>
                      </a:lnTo>
                      <a:lnTo>
                        <a:pt x="595" y="505"/>
                      </a:lnTo>
                      <a:lnTo>
                        <a:pt x="595" y="505"/>
                      </a:lnTo>
                      <a:lnTo>
                        <a:pt x="595" y="504"/>
                      </a:lnTo>
                      <a:lnTo>
                        <a:pt x="595" y="503"/>
                      </a:lnTo>
                      <a:lnTo>
                        <a:pt x="595" y="502"/>
                      </a:lnTo>
                      <a:lnTo>
                        <a:pt x="594" y="501"/>
                      </a:lnTo>
                      <a:lnTo>
                        <a:pt x="594" y="501"/>
                      </a:lnTo>
                      <a:lnTo>
                        <a:pt x="594" y="499"/>
                      </a:lnTo>
                      <a:lnTo>
                        <a:pt x="594" y="498"/>
                      </a:lnTo>
                      <a:lnTo>
                        <a:pt x="594" y="497"/>
                      </a:lnTo>
                      <a:lnTo>
                        <a:pt x="593" y="497"/>
                      </a:lnTo>
                      <a:lnTo>
                        <a:pt x="593" y="496"/>
                      </a:lnTo>
                      <a:lnTo>
                        <a:pt x="593" y="496"/>
                      </a:lnTo>
                      <a:lnTo>
                        <a:pt x="593" y="496"/>
                      </a:lnTo>
                      <a:lnTo>
                        <a:pt x="593" y="496"/>
                      </a:lnTo>
                      <a:lnTo>
                        <a:pt x="593" y="496"/>
                      </a:lnTo>
                      <a:lnTo>
                        <a:pt x="593" y="495"/>
                      </a:lnTo>
                      <a:lnTo>
                        <a:pt x="593" y="496"/>
                      </a:lnTo>
                      <a:lnTo>
                        <a:pt x="593" y="495"/>
                      </a:lnTo>
                      <a:lnTo>
                        <a:pt x="593" y="496"/>
                      </a:lnTo>
                      <a:lnTo>
                        <a:pt x="593" y="495"/>
                      </a:lnTo>
                      <a:lnTo>
                        <a:pt x="594" y="495"/>
                      </a:lnTo>
                      <a:lnTo>
                        <a:pt x="593" y="495"/>
                      </a:lnTo>
                      <a:lnTo>
                        <a:pt x="594" y="495"/>
                      </a:lnTo>
                      <a:lnTo>
                        <a:pt x="594" y="495"/>
                      </a:lnTo>
                      <a:lnTo>
                        <a:pt x="594" y="495"/>
                      </a:lnTo>
                      <a:lnTo>
                        <a:pt x="594" y="495"/>
                      </a:lnTo>
                      <a:lnTo>
                        <a:pt x="595" y="495"/>
                      </a:lnTo>
                      <a:lnTo>
                        <a:pt x="595" y="495"/>
                      </a:lnTo>
                      <a:lnTo>
                        <a:pt x="595" y="494"/>
                      </a:lnTo>
                      <a:lnTo>
                        <a:pt x="596" y="494"/>
                      </a:lnTo>
                      <a:lnTo>
                        <a:pt x="596" y="495"/>
                      </a:lnTo>
                      <a:lnTo>
                        <a:pt x="597" y="495"/>
                      </a:lnTo>
                      <a:lnTo>
                        <a:pt x="597" y="494"/>
                      </a:lnTo>
                      <a:lnTo>
                        <a:pt x="597" y="494"/>
                      </a:lnTo>
                      <a:lnTo>
                        <a:pt x="597" y="494"/>
                      </a:lnTo>
                      <a:lnTo>
                        <a:pt x="598" y="494"/>
                      </a:lnTo>
                      <a:lnTo>
                        <a:pt x="598" y="493"/>
                      </a:lnTo>
                      <a:lnTo>
                        <a:pt x="598" y="493"/>
                      </a:lnTo>
                      <a:lnTo>
                        <a:pt x="598" y="492"/>
                      </a:lnTo>
                      <a:lnTo>
                        <a:pt x="598" y="492"/>
                      </a:lnTo>
                      <a:lnTo>
                        <a:pt x="598" y="492"/>
                      </a:lnTo>
                      <a:lnTo>
                        <a:pt x="598" y="492"/>
                      </a:lnTo>
                      <a:lnTo>
                        <a:pt x="598" y="491"/>
                      </a:lnTo>
                      <a:lnTo>
                        <a:pt x="599" y="492"/>
                      </a:lnTo>
                      <a:lnTo>
                        <a:pt x="599" y="491"/>
                      </a:lnTo>
                      <a:lnTo>
                        <a:pt x="600" y="491"/>
                      </a:lnTo>
                      <a:lnTo>
                        <a:pt x="600" y="490"/>
                      </a:lnTo>
                      <a:lnTo>
                        <a:pt x="600" y="490"/>
                      </a:lnTo>
                      <a:lnTo>
                        <a:pt x="600" y="491"/>
                      </a:lnTo>
                      <a:lnTo>
                        <a:pt x="601" y="491"/>
                      </a:lnTo>
                      <a:lnTo>
                        <a:pt x="601" y="491"/>
                      </a:lnTo>
                      <a:lnTo>
                        <a:pt x="601" y="491"/>
                      </a:lnTo>
                      <a:lnTo>
                        <a:pt x="603" y="492"/>
                      </a:lnTo>
                      <a:lnTo>
                        <a:pt x="604" y="492"/>
                      </a:lnTo>
                      <a:lnTo>
                        <a:pt x="605" y="492"/>
                      </a:lnTo>
                      <a:lnTo>
                        <a:pt x="607" y="493"/>
                      </a:lnTo>
                      <a:lnTo>
                        <a:pt x="608" y="494"/>
                      </a:lnTo>
                      <a:lnTo>
                        <a:pt x="608" y="494"/>
                      </a:lnTo>
                      <a:lnTo>
                        <a:pt x="608" y="494"/>
                      </a:lnTo>
                      <a:lnTo>
                        <a:pt x="608" y="494"/>
                      </a:lnTo>
                      <a:lnTo>
                        <a:pt x="608" y="494"/>
                      </a:lnTo>
                      <a:lnTo>
                        <a:pt x="609" y="494"/>
                      </a:lnTo>
                      <a:lnTo>
                        <a:pt x="609" y="494"/>
                      </a:lnTo>
                      <a:lnTo>
                        <a:pt x="608" y="494"/>
                      </a:lnTo>
                      <a:lnTo>
                        <a:pt x="609" y="494"/>
                      </a:lnTo>
                      <a:lnTo>
                        <a:pt x="609" y="494"/>
                      </a:lnTo>
                      <a:lnTo>
                        <a:pt x="609" y="494"/>
                      </a:lnTo>
                      <a:lnTo>
                        <a:pt x="609" y="494"/>
                      </a:lnTo>
                      <a:lnTo>
                        <a:pt x="609" y="493"/>
                      </a:lnTo>
                      <a:lnTo>
                        <a:pt x="610" y="493"/>
                      </a:lnTo>
                      <a:lnTo>
                        <a:pt x="609" y="493"/>
                      </a:lnTo>
                      <a:lnTo>
                        <a:pt x="610" y="493"/>
                      </a:lnTo>
                      <a:lnTo>
                        <a:pt x="609" y="493"/>
                      </a:lnTo>
                      <a:lnTo>
                        <a:pt x="610" y="493"/>
                      </a:lnTo>
                      <a:lnTo>
                        <a:pt x="610" y="492"/>
                      </a:lnTo>
                      <a:lnTo>
                        <a:pt x="610" y="492"/>
                      </a:lnTo>
                      <a:lnTo>
                        <a:pt x="610" y="492"/>
                      </a:lnTo>
                      <a:lnTo>
                        <a:pt x="610" y="492"/>
                      </a:lnTo>
                      <a:lnTo>
                        <a:pt x="610" y="491"/>
                      </a:lnTo>
                      <a:lnTo>
                        <a:pt x="609" y="491"/>
                      </a:lnTo>
                      <a:lnTo>
                        <a:pt x="610" y="491"/>
                      </a:lnTo>
                      <a:lnTo>
                        <a:pt x="609" y="491"/>
                      </a:lnTo>
                      <a:lnTo>
                        <a:pt x="610" y="491"/>
                      </a:lnTo>
                      <a:lnTo>
                        <a:pt x="610" y="491"/>
                      </a:lnTo>
                      <a:lnTo>
                        <a:pt x="610" y="491"/>
                      </a:lnTo>
                      <a:lnTo>
                        <a:pt x="610" y="491"/>
                      </a:lnTo>
                      <a:lnTo>
                        <a:pt x="609" y="491"/>
                      </a:lnTo>
                      <a:lnTo>
                        <a:pt x="610" y="491"/>
                      </a:lnTo>
                      <a:lnTo>
                        <a:pt x="609" y="491"/>
                      </a:lnTo>
                      <a:lnTo>
                        <a:pt x="610" y="491"/>
                      </a:lnTo>
                      <a:lnTo>
                        <a:pt x="609" y="491"/>
                      </a:lnTo>
                      <a:lnTo>
                        <a:pt x="610" y="491"/>
                      </a:lnTo>
                      <a:lnTo>
                        <a:pt x="609" y="491"/>
                      </a:lnTo>
                      <a:lnTo>
                        <a:pt x="610" y="491"/>
                      </a:lnTo>
                      <a:lnTo>
                        <a:pt x="610" y="490"/>
                      </a:lnTo>
                      <a:lnTo>
                        <a:pt x="610" y="490"/>
                      </a:lnTo>
                      <a:lnTo>
                        <a:pt x="610" y="489"/>
                      </a:lnTo>
                      <a:lnTo>
                        <a:pt x="610" y="489"/>
                      </a:lnTo>
                      <a:lnTo>
                        <a:pt x="610" y="489"/>
                      </a:lnTo>
                      <a:lnTo>
                        <a:pt x="610" y="489"/>
                      </a:lnTo>
                      <a:lnTo>
                        <a:pt x="610" y="489"/>
                      </a:lnTo>
                      <a:lnTo>
                        <a:pt x="610" y="489"/>
                      </a:lnTo>
                      <a:lnTo>
                        <a:pt x="610" y="488"/>
                      </a:lnTo>
                      <a:lnTo>
                        <a:pt x="611" y="488"/>
                      </a:lnTo>
                      <a:lnTo>
                        <a:pt x="610" y="488"/>
                      </a:lnTo>
                      <a:lnTo>
                        <a:pt x="611" y="488"/>
                      </a:lnTo>
                      <a:lnTo>
                        <a:pt x="611" y="488"/>
                      </a:lnTo>
                      <a:lnTo>
                        <a:pt x="612" y="488"/>
                      </a:lnTo>
                      <a:lnTo>
                        <a:pt x="611" y="488"/>
                      </a:lnTo>
                      <a:lnTo>
                        <a:pt x="612" y="488"/>
                      </a:lnTo>
                      <a:lnTo>
                        <a:pt x="612" y="487"/>
                      </a:lnTo>
                      <a:lnTo>
                        <a:pt x="612" y="487"/>
                      </a:lnTo>
                      <a:lnTo>
                        <a:pt x="612" y="488"/>
                      </a:lnTo>
                      <a:lnTo>
                        <a:pt x="612" y="487"/>
                      </a:lnTo>
                      <a:lnTo>
                        <a:pt x="612" y="487"/>
                      </a:lnTo>
                      <a:lnTo>
                        <a:pt x="613" y="487"/>
                      </a:lnTo>
                      <a:lnTo>
                        <a:pt x="612" y="487"/>
                      </a:lnTo>
                      <a:lnTo>
                        <a:pt x="613" y="487"/>
                      </a:lnTo>
                      <a:lnTo>
                        <a:pt x="613" y="486"/>
                      </a:lnTo>
                      <a:lnTo>
                        <a:pt x="612" y="486"/>
                      </a:lnTo>
                      <a:lnTo>
                        <a:pt x="612" y="485"/>
                      </a:lnTo>
                      <a:lnTo>
                        <a:pt x="613" y="485"/>
                      </a:lnTo>
                      <a:lnTo>
                        <a:pt x="613" y="485"/>
                      </a:lnTo>
                      <a:lnTo>
                        <a:pt x="613" y="485"/>
                      </a:lnTo>
                      <a:lnTo>
                        <a:pt x="613" y="485"/>
                      </a:lnTo>
                      <a:lnTo>
                        <a:pt x="613" y="484"/>
                      </a:lnTo>
                      <a:lnTo>
                        <a:pt x="613" y="484"/>
                      </a:lnTo>
                      <a:lnTo>
                        <a:pt x="613" y="484"/>
                      </a:lnTo>
                      <a:lnTo>
                        <a:pt x="613" y="484"/>
                      </a:lnTo>
                      <a:lnTo>
                        <a:pt x="613" y="484"/>
                      </a:lnTo>
                      <a:lnTo>
                        <a:pt x="614" y="484"/>
                      </a:lnTo>
                      <a:lnTo>
                        <a:pt x="613" y="484"/>
                      </a:lnTo>
                      <a:lnTo>
                        <a:pt x="613" y="483"/>
                      </a:lnTo>
                      <a:lnTo>
                        <a:pt x="614" y="483"/>
                      </a:lnTo>
                      <a:lnTo>
                        <a:pt x="615" y="483"/>
                      </a:lnTo>
                      <a:lnTo>
                        <a:pt x="615" y="483"/>
                      </a:lnTo>
                      <a:lnTo>
                        <a:pt x="615" y="482"/>
                      </a:lnTo>
                      <a:lnTo>
                        <a:pt x="615" y="481"/>
                      </a:lnTo>
                      <a:lnTo>
                        <a:pt x="615" y="481"/>
                      </a:lnTo>
                      <a:lnTo>
                        <a:pt x="615" y="481"/>
                      </a:lnTo>
                      <a:lnTo>
                        <a:pt x="615" y="480"/>
                      </a:lnTo>
                      <a:lnTo>
                        <a:pt x="616" y="480"/>
                      </a:lnTo>
                      <a:lnTo>
                        <a:pt x="616" y="480"/>
                      </a:lnTo>
                      <a:lnTo>
                        <a:pt x="616" y="480"/>
                      </a:lnTo>
                      <a:lnTo>
                        <a:pt x="616" y="479"/>
                      </a:lnTo>
                      <a:lnTo>
                        <a:pt x="616" y="479"/>
                      </a:lnTo>
                      <a:lnTo>
                        <a:pt x="616" y="479"/>
                      </a:lnTo>
                      <a:lnTo>
                        <a:pt x="616" y="479"/>
                      </a:lnTo>
                      <a:lnTo>
                        <a:pt x="616" y="478"/>
                      </a:lnTo>
                      <a:lnTo>
                        <a:pt x="616" y="477"/>
                      </a:lnTo>
                      <a:lnTo>
                        <a:pt x="616" y="477"/>
                      </a:lnTo>
                      <a:lnTo>
                        <a:pt x="616" y="477"/>
                      </a:lnTo>
                      <a:lnTo>
                        <a:pt x="616" y="476"/>
                      </a:lnTo>
                      <a:lnTo>
                        <a:pt x="616" y="476"/>
                      </a:lnTo>
                      <a:lnTo>
                        <a:pt x="616" y="476"/>
                      </a:lnTo>
                      <a:lnTo>
                        <a:pt x="617" y="476"/>
                      </a:lnTo>
                      <a:lnTo>
                        <a:pt x="617" y="475"/>
                      </a:lnTo>
                      <a:lnTo>
                        <a:pt x="617" y="474"/>
                      </a:lnTo>
                      <a:lnTo>
                        <a:pt x="617" y="474"/>
                      </a:lnTo>
                      <a:lnTo>
                        <a:pt x="617" y="474"/>
                      </a:lnTo>
                      <a:lnTo>
                        <a:pt x="617" y="473"/>
                      </a:lnTo>
                      <a:lnTo>
                        <a:pt x="617" y="473"/>
                      </a:lnTo>
                      <a:lnTo>
                        <a:pt x="617" y="473"/>
                      </a:lnTo>
                      <a:lnTo>
                        <a:pt x="617" y="473"/>
                      </a:lnTo>
                      <a:lnTo>
                        <a:pt x="617" y="472"/>
                      </a:lnTo>
                      <a:lnTo>
                        <a:pt x="617" y="472"/>
                      </a:lnTo>
                      <a:lnTo>
                        <a:pt x="617" y="471"/>
                      </a:lnTo>
                      <a:lnTo>
                        <a:pt x="618" y="470"/>
                      </a:lnTo>
                      <a:lnTo>
                        <a:pt x="618" y="470"/>
                      </a:lnTo>
                      <a:lnTo>
                        <a:pt x="619" y="470"/>
                      </a:lnTo>
                      <a:lnTo>
                        <a:pt x="619" y="469"/>
                      </a:lnTo>
                      <a:lnTo>
                        <a:pt x="619" y="469"/>
                      </a:lnTo>
                      <a:lnTo>
                        <a:pt x="618" y="469"/>
                      </a:lnTo>
                      <a:lnTo>
                        <a:pt x="618" y="468"/>
                      </a:lnTo>
                      <a:lnTo>
                        <a:pt x="618" y="468"/>
                      </a:lnTo>
                      <a:lnTo>
                        <a:pt x="619" y="468"/>
                      </a:lnTo>
                      <a:lnTo>
                        <a:pt x="619" y="467"/>
                      </a:lnTo>
                      <a:lnTo>
                        <a:pt x="619" y="467"/>
                      </a:lnTo>
                      <a:lnTo>
                        <a:pt x="619" y="466"/>
                      </a:lnTo>
                      <a:lnTo>
                        <a:pt x="620" y="466"/>
                      </a:lnTo>
                      <a:lnTo>
                        <a:pt x="620" y="466"/>
                      </a:lnTo>
                      <a:lnTo>
                        <a:pt x="620" y="466"/>
                      </a:lnTo>
                      <a:lnTo>
                        <a:pt x="620" y="466"/>
                      </a:lnTo>
                      <a:lnTo>
                        <a:pt x="621" y="466"/>
                      </a:lnTo>
                      <a:lnTo>
                        <a:pt x="621" y="466"/>
                      </a:lnTo>
                      <a:lnTo>
                        <a:pt x="621" y="465"/>
                      </a:lnTo>
                      <a:lnTo>
                        <a:pt x="622" y="465"/>
                      </a:lnTo>
                      <a:lnTo>
                        <a:pt x="622" y="464"/>
                      </a:lnTo>
                      <a:lnTo>
                        <a:pt x="623" y="464"/>
                      </a:lnTo>
                      <a:lnTo>
                        <a:pt x="622" y="464"/>
                      </a:lnTo>
                      <a:lnTo>
                        <a:pt x="623" y="464"/>
                      </a:lnTo>
                      <a:lnTo>
                        <a:pt x="623" y="464"/>
                      </a:lnTo>
                      <a:lnTo>
                        <a:pt x="623" y="463"/>
                      </a:lnTo>
                      <a:lnTo>
                        <a:pt x="623" y="462"/>
                      </a:lnTo>
                      <a:lnTo>
                        <a:pt x="623" y="462"/>
                      </a:lnTo>
                      <a:lnTo>
                        <a:pt x="623" y="462"/>
                      </a:lnTo>
                      <a:lnTo>
                        <a:pt x="622" y="462"/>
                      </a:lnTo>
                      <a:lnTo>
                        <a:pt x="622" y="461"/>
                      </a:lnTo>
                      <a:lnTo>
                        <a:pt x="622" y="461"/>
                      </a:lnTo>
                      <a:lnTo>
                        <a:pt x="621" y="461"/>
                      </a:lnTo>
                      <a:lnTo>
                        <a:pt x="621" y="460"/>
                      </a:lnTo>
                      <a:lnTo>
                        <a:pt x="621" y="459"/>
                      </a:lnTo>
                      <a:lnTo>
                        <a:pt x="621" y="459"/>
                      </a:lnTo>
                      <a:lnTo>
                        <a:pt x="622" y="458"/>
                      </a:lnTo>
                      <a:lnTo>
                        <a:pt x="622" y="458"/>
                      </a:lnTo>
                      <a:lnTo>
                        <a:pt x="622" y="457"/>
                      </a:lnTo>
                      <a:lnTo>
                        <a:pt x="622" y="457"/>
                      </a:lnTo>
                      <a:lnTo>
                        <a:pt x="623" y="457"/>
                      </a:lnTo>
                      <a:lnTo>
                        <a:pt x="623" y="456"/>
                      </a:lnTo>
                      <a:lnTo>
                        <a:pt x="623" y="455"/>
                      </a:lnTo>
                      <a:lnTo>
                        <a:pt x="623" y="455"/>
                      </a:lnTo>
                      <a:lnTo>
                        <a:pt x="623" y="455"/>
                      </a:lnTo>
                      <a:lnTo>
                        <a:pt x="622" y="455"/>
                      </a:lnTo>
                      <a:lnTo>
                        <a:pt x="621" y="455"/>
                      </a:lnTo>
                      <a:lnTo>
                        <a:pt x="621" y="455"/>
                      </a:lnTo>
                      <a:lnTo>
                        <a:pt x="620" y="455"/>
                      </a:lnTo>
                      <a:lnTo>
                        <a:pt x="620" y="455"/>
                      </a:lnTo>
                      <a:lnTo>
                        <a:pt x="619" y="455"/>
                      </a:lnTo>
                      <a:lnTo>
                        <a:pt x="619" y="455"/>
                      </a:lnTo>
                      <a:lnTo>
                        <a:pt x="618" y="455"/>
                      </a:lnTo>
                      <a:lnTo>
                        <a:pt x="619" y="455"/>
                      </a:lnTo>
                      <a:lnTo>
                        <a:pt x="619" y="456"/>
                      </a:lnTo>
                      <a:lnTo>
                        <a:pt x="618" y="456"/>
                      </a:lnTo>
                      <a:lnTo>
                        <a:pt x="617" y="456"/>
                      </a:lnTo>
                      <a:lnTo>
                        <a:pt x="617" y="455"/>
                      </a:lnTo>
                      <a:lnTo>
                        <a:pt x="617" y="456"/>
                      </a:lnTo>
                      <a:lnTo>
                        <a:pt x="617" y="457"/>
                      </a:lnTo>
                      <a:lnTo>
                        <a:pt x="616" y="457"/>
                      </a:lnTo>
                      <a:lnTo>
                        <a:pt x="616" y="457"/>
                      </a:lnTo>
                      <a:lnTo>
                        <a:pt x="616" y="457"/>
                      </a:lnTo>
                      <a:lnTo>
                        <a:pt x="615" y="457"/>
                      </a:lnTo>
                      <a:lnTo>
                        <a:pt x="615" y="458"/>
                      </a:lnTo>
                      <a:lnTo>
                        <a:pt x="615" y="458"/>
                      </a:lnTo>
                      <a:lnTo>
                        <a:pt x="614" y="458"/>
                      </a:lnTo>
                      <a:lnTo>
                        <a:pt x="613" y="458"/>
                      </a:lnTo>
                      <a:lnTo>
                        <a:pt x="613" y="458"/>
                      </a:lnTo>
                      <a:lnTo>
                        <a:pt x="613" y="458"/>
                      </a:lnTo>
                      <a:lnTo>
                        <a:pt x="613" y="459"/>
                      </a:lnTo>
                      <a:lnTo>
                        <a:pt x="612" y="459"/>
                      </a:lnTo>
                      <a:lnTo>
                        <a:pt x="612" y="458"/>
                      </a:lnTo>
                      <a:lnTo>
                        <a:pt x="612" y="458"/>
                      </a:lnTo>
                      <a:lnTo>
                        <a:pt x="611" y="458"/>
                      </a:lnTo>
                      <a:lnTo>
                        <a:pt x="610" y="458"/>
                      </a:lnTo>
                      <a:lnTo>
                        <a:pt x="610" y="458"/>
                      </a:lnTo>
                      <a:lnTo>
                        <a:pt x="609" y="458"/>
                      </a:lnTo>
                      <a:lnTo>
                        <a:pt x="609" y="459"/>
                      </a:lnTo>
                      <a:lnTo>
                        <a:pt x="609" y="459"/>
                      </a:lnTo>
                      <a:lnTo>
                        <a:pt x="609" y="459"/>
                      </a:lnTo>
                      <a:lnTo>
                        <a:pt x="609" y="459"/>
                      </a:lnTo>
                      <a:lnTo>
                        <a:pt x="609" y="459"/>
                      </a:lnTo>
                      <a:lnTo>
                        <a:pt x="608" y="459"/>
                      </a:lnTo>
                      <a:lnTo>
                        <a:pt x="608" y="459"/>
                      </a:lnTo>
                      <a:lnTo>
                        <a:pt x="608" y="460"/>
                      </a:lnTo>
                      <a:lnTo>
                        <a:pt x="607" y="461"/>
                      </a:lnTo>
                      <a:lnTo>
                        <a:pt x="606" y="460"/>
                      </a:lnTo>
                      <a:lnTo>
                        <a:pt x="606" y="460"/>
                      </a:lnTo>
                      <a:lnTo>
                        <a:pt x="606" y="461"/>
                      </a:lnTo>
                      <a:lnTo>
                        <a:pt x="606" y="461"/>
                      </a:lnTo>
                      <a:lnTo>
                        <a:pt x="606" y="461"/>
                      </a:lnTo>
                      <a:lnTo>
                        <a:pt x="606" y="461"/>
                      </a:lnTo>
                      <a:lnTo>
                        <a:pt x="606" y="461"/>
                      </a:lnTo>
                      <a:lnTo>
                        <a:pt x="606" y="462"/>
                      </a:lnTo>
                      <a:lnTo>
                        <a:pt x="606" y="462"/>
                      </a:lnTo>
                      <a:lnTo>
                        <a:pt x="606" y="462"/>
                      </a:lnTo>
                      <a:lnTo>
                        <a:pt x="606" y="463"/>
                      </a:lnTo>
                      <a:lnTo>
                        <a:pt x="605" y="463"/>
                      </a:lnTo>
                      <a:lnTo>
                        <a:pt x="605" y="463"/>
                      </a:lnTo>
                      <a:lnTo>
                        <a:pt x="604" y="463"/>
                      </a:lnTo>
                      <a:lnTo>
                        <a:pt x="604" y="463"/>
                      </a:lnTo>
                      <a:lnTo>
                        <a:pt x="603" y="463"/>
                      </a:lnTo>
                      <a:lnTo>
                        <a:pt x="602" y="463"/>
                      </a:lnTo>
                      <a:lnTo>
                        <a:pt x="602" y="463"/>
                      </a:lnTo>
                      <a:lnTo>
                        <a:pt x="601" y="463"/>
                      </a:lnTo>
                      <a:lnTo>
                        <a:pt x="601" y="463"/>
                      </a:lnTo>
                      <a:lnTo>
                        <a:pt x="601" y="464"/>
                      </a:lnTo>
                      <a:lnTo>
                        <a:pt x="600" y="464"/>
                      </a:lnTo>
                      <a:lnTo>
                        <a:pt x="600" y="464"/>
                      </a:lnTo>
                      <a:lnTo>
                        <a:pt x="599" y="464"/>
                      </a:lnTo>
                      <a:lnTo>
                        <a:pt x="599" y="463"/>
                      </a:lnTo>
                      <a:lnTo>
                        <a:pt x="598" y="463"/>
                      </a:lnTo>
                      <a:lnTo>
                        <a:pt x="598" y="464"/>
                      </a:lnTo>
                      <a:lnTo>
                        <a:pt x="597" y="464"/>
                      </a:lnTo>
                      <a:lnTo>
                        <a:pt x="597" y="463"/>
                      </a:lnTo>
                      <a:lnTo>
                        <a:pt x="597" y="463"/>
                      </a:lnTo>
                      <a:lnTo>
                        <a:pt x="597" y="462"/>
                      </a:lnTo>
                      <a:lnTo>
                        <a:pt x="596" y="462"/>
                      </a:lnTo>
                      <a:lnTo>
                        <a:pt x="596" y="463"/>
                      </a:lnTo>
                      <a:lnTo>
                        <a:pt x="595" y="463"/>
                      </a:lnTo>
                      <a:lnTo>
                        <a:pt x="595" y="463"/>
                      </a:lnTo>
                      <a:lnTo>
                        <a:pt x="594" y="463"/>
                      </a:lnTo>
                      <a:lnTo>
                        <a:pt x="594" y="464"/>
                      </a:lnTo>
                      <a:lnTo>
                        <a:pt x="593" y="464"/>
                      </a:lnTo>
                      <a:lnTo>
                        <a:pt x="593" y="463"/>
                      </a:lnTo>
                      <a:lnTo>
                        <a:pt x="593" y="463"/>
                      </a:lnTo>
                      <a:lnTo>
                        <a:pt x="593" y="462"/>
                      </a:lnTo>
                      <a:lnTo>
                        <a:pt x="593" y="462"/>
                      </a:lnTo>
                      <a:lnTo>
                        <a:pt x="592" y="462"/>
                      </a:lnTo>
                      <a:lnTo>
                        <a:pt x="592" y="461"/>
                      </a:lnTo>
                      <a:lnTo>
                        <a:pt x="592" y="461"/>
                      </a:lnTo>
                      <a:lnTo>
                        <a:pt x="591" y="461"/>
                      </a:lnTo>
                      <a:lnTo>
                        <a:pt x="591" y="460"/>
                      </a:lnTo>
                      <a:lnTo>
                        <a:pt x="591" y="459"/>
                      </a:lnTo>
                      <a:lnTo>
                        <a:pt x="590" y="459"/>
                      </a:lnTo>
                      <a:lnTo>
                        <a:pt x="590" y="459"/>
                      </a:lnTo>
                      <a:lnTo>
                        <a:pt x="590" y="458"/>
                      </a:lnTo>
                      <a:lnTo>
                        <a:pt x="590" y="458"/>
                      </a:lnTo>
                      <a:lnTo>
                        <a:pt x="591" y="458"/>
                      </a:lnTo>
                      <a:lnTo>
                        <a:pt x="591" y="457"/>
                      </a:lnTo>
                      <a:lnTo>
                        <a:pt x="591" y="457"/>
                      </a:lnTo>
                      <a:lnTo>
                        <a:pt x="591" y="457"/>
                      </a:lnTo>
                      <a:lnTo>
                        <a:pt x="591" y="456"/>
                      </a:lnTo>
                      <a:lnTo>
                        <a:pt x="591" y="455"/>
                      </a:lnTo>
                      <a:lnTo>
                        <a:pt x="591" y="455"/>
                      </a:lnTo>
                      <a:lnTo>
                        <a:pt x="591" y="455"/>
                      </a:lnTo>
                      <a:lnTo>
                        <a:pt x="591" y="454"/>
                      </a:lnTo>
                      <a:lnTo>
                        <a:pt x="591" y="454"/>
                      </a:lnTo>
                      <a:lnTo>
                        <a:pt x="590" y="454"/>
                      </a:lnTo>
                      <a:lnTo>
                        <a:pt x="590" y="454"/>
                      </a:lnTo>
                      <a:lnTo>
                        <a:pt x="590" y="453"/>
                      </a:lnTo>
                      <a:lnTo>
                        <a:pt x="590" y="453"/>
                      </a:lnTo>
                      <a:lnTo>
                        <a:pt x="589" y="453"/>
                      </a:lnTo>
                      <a:lnTo>
                        <a:pt x="589" y="452"/>
                      </a:lnTo>
                      <a:lnTo>
                        <a:pt x="589" y="451"/>
                      </a:lnTo>
                      <a:lnTo>
                        <a:pt x="590" y="451"/>
                      </a:lnTo>
                      <a:lnTo>
                        <a:pt x="590" y="451"/>
                      </a:lnTo>
                      <a:lnTo>
                        <a:pt x="590" y="450"/>
                      </a:lnTo>
                      <a:lnTo>
                        <a:pt x="590" y="450"/>
                      </a:lnTo>
                      <a:lnTo>
                        <a:pt x="590" y="449"/>
                      </a:lnTo>
                      <a:lnTo>
                        <a:pt x="590" y="449"/>
                      </a:lnTo>
                      <a:lnTo>
                        <a:pt x="590" y="450"/>
                      </a:lnTo>
                      <a:lnTo>
                        <a:pt x="589" y="450"/>
                      </a:lnTo>
                      <a:lnTo>
                        <a:pt x="589" y="450"/>
                      </a:lnTo>
                      <a:lnTo>
                        <a:pt x="589" y="449"/>
                      </a:lnTo>
                      <a:lnTo>
                        <a:pt x="588" y="449"/>
                      </a:lnTo>
                      <a:lnTo>
                        <a:pt x="587" y="449"/>
                      </a:lnTo>
                      <a:lnTo>
                        <a:pt x="587" y="450"/>
                      </a:lnTo>
                      <a:lnTo>
                        <a:pt x="587" y="450"/>
                      </a:lnTo>
                      <a:lnTo>
                        <a:pt x="586" y="449"/>
                      </a:lnTo>
                      <a:lnTo>
                        <a:pt x="586" y="448"/>
                      </a:lnTo>
                      <a:lnTo>
                        <a:pt x="585" y="448"/>
                      </a:lnTo>
                      <a:lnTo>
                        <a:pt x="585" y="448"/>
                      </a:lnTo>
                      <a:lnTo>
                        <a:pt x="584" y="448"/>
                      </a:lnTo>
                      <a:lnTo>
                        <a:pt x="584" y="447"/>
                      </a:lnTo>
                      <a:lnTo>
                        <a:pt x="584" y="447"/>
                      </a:lnTo>
                      <a:lnTo>
                        <a:pt x="584" y="447"/>
                      </a:lnTo>
                      <a:lnTo>
                        <a:pt x="583" y="447"/>
                      </a:lnTo>
                      <a:lnTo>
                        <a:pt x="583" y="446"/>
                      </a:lnTo>
                      <a:lnTo>
                        <a:pt x="583" y="446"/>
                      </a:lnTo>
                      <a:lnTo>
                        <a:pt x="583" y="446"/>
                      </a:lnTo>
                      <a:lnTo>
                        <a:pt x="583" y="445"/>
                      </a:lnTo>
                      <a:lnTo>
                        <a:pt x="583" y="444"/>
                      </a:lnTo>
                      <a:lnTo>
                        <a:pt x="582" y="444"/>
                      </a:lnTo>
                      <a:lnTo>
                        <a:pt x="582" y="444"/>
                      </a:lnTo>
                      <a:lnTo>
                        <a:pt x="581" y="444"/>
                      </a:lnTo>
                      <a:lnTo>
                        <a:pt x="581" y="444"/>
                      </a:lnTo>
                      <a:lnTo>
                        <a:pt x="581" y="443"/>
                      </a:lnTo>
                      <a:lnTo>
                        <a:pt x="580" y="443"/>
                      </a:lnTo>
                      <a:lnTo>
                        <a:pt x="580" y="443"/>
                      </a:lnTo>
                      <a:lnTo>
                        <a:pt x="580" y="444"/>
                      </a:lnTo>
                      <a:lnTo>
                        <a:pt x="579" y="444"/>
                      </a:lnTo>
                      <a:lnTo>
                        <a:pt x="579" y="443"/>
                      </a:lnTo>
                      <a:lnTo>
                        <a:pt x="579" y="443"/>
                      </a:lnTo>
                      <a:lnTo>
                        <a:pt x="578" y="443"/>
                      </a:lnTo>
                      <a:lnTo>
                        <a:pt x="578" y="444"/>
                      </a:lnTo>
                      <a:lnTo>
                        <a:pt x="578" y="444"/>
                      </a:lnTo>
                      <a:lnTo>
                        <a:pt x="577" y="444"/>
                      </a:lnTo>
                      <a:lnTo>
                        <a:pt x="577" y="443"/>
                      </a:lnTo>
                      <a:lnTo>
                        <a:pt x="577" y="443"/>
                      </a:lnTo>
                      <a:lnTo>
                        <a:pt x="576" y="443"/>
                      </a:lnTo>
                      <a:lnTo>
                        <a:pt x="576" y="443"/>
                      </a:lnTo>
                      <a:lnTo>
                        <a:pt x="576" y="442"/>
                      </a:lnTo>
                      <a:lnTo>
                        <a:pt x="575" y="442"/>
                      </a:lnTo>
                      <a:lnTo>
                        <a:pt x="575" y="442"/>
                      </a:lnTo>
                      <a:lnTo>
                        <a:pt x="575" y="442"/>
                      </a:lnTo>
                      <a:lnTo>
                        <a:pt x="575" y="442"/>
                      </a:lnTo>
                      <a:lnTo>
                        <a:pt x="575" y="441"/>
                      </a:lnTo>
                      <a:lnTo>
                        <a:pt x="575" y="441"/>
                      </a:lnTo>
                      <a:lnTo>
                        <a:pt x="575" y="442"/>
                      </a:lnTo>
                      <a:lnTo>
                        <a:pt x="574" y="442"/>
                      </a:lnTo>
                      <a:lnTo>
                        <a:pt x="574" y="441"/>
                      </a:lnTo>
                      <a:lnTo>
                        <a:pt x="574" y="441"/>
                      </a:lnTo>
                      <a:lnTo>
                        <a:pt x="573" y="441"/>
                      </a:lnTo>
                      <a:lnTo>
                        <a:pt x="572" y="441"/>
                      </a:lnTo>
                      <a:lnTo>
                        <a:pt x="572" y="442"/>
                      </a:lnTo>
                      <a:lnTo>
                        <a:pt x="571" y="442"/>
                      </a:lnTo>
                      <a:lnTo>
                        <a:pt x="571" y="442"/>
                      </a:lnTo>
                      <a:lnTo>
                        <a:pt x="570" y="442"/>
                      </a:lnTo>
                      <a:lnTo>
                        <a:pt x="569" y="442"/>
                      </a:lnTo>
                      <a:lnTo>
                        <a:pt x="569" y="442"/>
                      </a:lnTo>
                      <a:lnTo>
                        <a:pt x="568" y="442"/>
                      </a:lnTo>
                      <a:lnTo>
                        <a:pt x="568" y="441"/>
                      </a:lnTo>
                      <a:lnTo>
                        <a:pt x="568" y="441"/>
                      </a:lnTo>
                      <a:lnTo>
                        <a:pt x="567" y="441"/>
                      </a:lnTo>
                      <a:lnTo>
                        <a:pt x="567" y="441"/>
                      </a:lnTo>
                      <a:lnTo>
                        <a:pt x="567" y="440"/>
                      </a:lnTo>
                      <a:lnTo>
                        <a:pt x="566" y="440"/>
                      </a:lnTo>
                      <a:lnTo>
                        <a:pt x="566" y="440"/>
                      </a:lnTo>
                      <a:lnTo>
                        <a:pt x="566" y="439"/>
                      </a:lnTo>
                      <a:lnTo>
                        <a:pt x="566" y="439"/>
                      </a:lnTo>
                      <a:lnTo>
                        <a:pt x="565" y="439"/>
                      </a:lnTo>
                      <a:lnTo>
                        <a:pt x="565" y="439"/>
                      </a:lnTo>
                      <a:lnTo>
                        <a:pt x="565" y="438"/>
                      </a:lnTo>
                      <a:lnTo>
                        <a:pt x="565" y="437"/>
                      </a:lnTo>
                      <a:lnTo>
                        <a:pt x="565" y="437"/>
                      </a:lnTo>
                      <a:lnTo>
                        <a:pt x="565" y="436"/>
                      </a:lnTo>
                      <a:lnTo>
                        <a:pt x="565" y="436"/>
                      </a:lnTo>
                      <a:lnTo>
                        <a:pt x="565" y="435"/>
                      </a:lnTo>
                      <a:lnTo>
                        <a:pt x="565" y="435"/>
                      </a:lnTo>
                      <a:lnTo>
                        <a:pt x="565" y="434"/>
                      </a:lnTo>
                      <a:lnTo>
                        <a:pt x="565" y="433"/>
                      </a:lnTo>
                      <a:lnTo>
                        <a:pt x="565" y="433"/>
                      </a:lnTo>
                      <a:lnTo>
                        <a:pt x="565" y="433"/>
                      </a:lnTo>
                      <a:lnTo>
                        <a:pt x="564" y="433"/>
                      </a:lnTo>
                      <a:lnTo>
                        <a:pt x="564" y="433"/>
                      </a:lnTo>
                      <a:lnTo>
                        <a:pt x="563" y="432"/>
                      </a:lnTo>
                      <a:lnTo>
                        <a:pt x="563" y="432"/>
                      </a:lnTo>
                      <a:lnTo>
                        <a:pt x="564" y="432"/>
                      </a:lnTo>
                      <a:lnTo>
                        <a:pt x="564" y="431"/>
                      </a:lnTo>
                      <a:lnTo>
                        <a:pt x="563" y="431"/>
                      </a:lnTo>
                      <a:lnTo>
                        <a:pt x="563" y="431"/>
                      </a:lnTo>
                      <a:lnTo>
                        <a:pt x="563" y="430"/>
                      </a:lnTo>
                      <a:lnTo>
                        <a:pt x="564" y="430"/>
                      </a:lnTo>
                      <a:lnTo>
                        <a:pt x="564" y="429"/>
                      </a:lnTo>
                      <a:lnTo>
                        <a:pt x="564" y="429"/>
                      </a:lnTo>
                      <a:lnTo>
                        <a:pt x="563" y="429"/>
                      </a:lnTo>
                      <a:lnTo>
                        <a:pt x="563" y="428"/>
                      </a:lnTo>
                      <a:lnTo>
                        <a:pt x="563" y="428"/>
                      </a:lnTo>
                      <a:lnTo>
                        <a:pt x="563" y="427"/>
                      </a:lnTo>
                      <a:lnTo>
                        <a:pt x="563" y="427"/>
                      </a:lnTo>
                      <a:lnTo>
                        <a:pt x="563" y="426"/>
                      </a:lnTo>
                      <a:lnTo>
                        <a:pt x="562" y="426"/>
                      </a:lnTo>
                      <a:lnTo>
                        <a:pt x="562" y="426"/>
                      </a:lnTo>
                      <a:lnTo>
                        <a:pt x="562" y="425"/>
                      </a:lnTo>
                      <a:lnTo>
                        <a:pt x="561" y="425"/>
                      </a:lnTo>
                      <a:lnTo>
                        <a:pt x="561" y="425"/>
                      </a:lnTo>
                      <a:lnTo>
                        <a:pt x="561" y="425"/>
                      </a:lnTo>
                      <a:lnTo>
                        <a:pt x="561" y="424"/>
                      </a:lnTo>
                      <a:lnTo>
                        <a:pt x="560" y="424"/>
                      </a:lnTo>
                      <a:lnTo>
                        <a:pt x="560" y="424"/>
                      </a:lnTo>
                      <a:lnTo>
                        <a:pt x="560" y="423"/>
                      </a:lnTo>
                      <a:lnTo>
                        <a:pt x="560" y="422"/>
                      </a:lnTo>
                      <a:lnTo>
                        <a:pt x="560" y="422"/>
                      </a:lnTo>
                      <a:lnTo>
                        <a:pt x="560" y="422"/>
                      </a:lnTo>
                      <a:lnTo>
                        <a:pt x="560" y="421"/>
                      </a:lnTo>
                      <a:lnTo>
                        <a:pt x="560" y="421"/>
                      </a:lnTo>
                      <a:lnTo>
                        <a:pt x="560" y="420"/>
                      </a:lnTo>
                      <a:lnTo>
                        <a:pt x="560" y="421"/>
                      </a:lnTo>
                      <a:lnTo>
                        <a:pt x="560" y="421"/>
                      </a:lnTo>
                      <a:lnTo>
                        <a:pt x="560" y="421"/>
                      </a:lnTo>
                      <a:lnTo>
                        <a:pt x="559" y="421"/>
                      </a:lnTo>
                      <a:lnTo>
                        <a:pt x="559" y="421"/>
                      </a:lnTo>
                      <a:lnTo>
                        <a:pt x="559" y="420"/>
                      </a:lnTo>
                      <a:lnTo>
                        <a:pt x="560" y="420"/>
                      </a:lnTo>
                      <a:lnTo>
                        <a:pt x="560" y="420"/>
                      </a:lnTo>
                      <a:lnTo>
                        <a:pt x="560" y="420"/>
                      </a:lnTo>
                      <a:lnTo>
                        <a:pt x="560" y="420"/>
                      </a:lnTo>
                      <a:lnTo>
                        <a:pt x="559" y="420"/>
                      </a:lnTo>
                      <a:lnTo>
                        <a:pt x="559" y="419"/>
                      </a:lnTo>
                      <a:lnTo>
                        <a:pt x="559" y="418"/>
                      </a:lnTo>
                      <a:lnTo>
                        <a:pt x="560" y="418"/>
                      </a:lnTo>
                      <a:lnTo>
                        <a:pt x="559" y="418"/>
                      </a:lnTo>
                      <a:lnTo>
                        <a:pt x="558" y="418"/>
                      </a:lnTo>
                      <a:lnTo>
                        <a:pt x="558" y="417"/>
                      </a:lnTo>
                      <a:lnTo>
                        <a:pt x="558" y="417"/>
                      </a:lnTo>
                      <a:lnTo>
                        <a:pt x="558" y="417"/>
                      </a:lnTo>
                      <a:lnTo>
                        <a:pt x="558" y="417"/>
                      </a:lnTo>
                      <a:lnTo>
                        <a:pt x="558" y="416"/>
                      </a:lnTo>
                      <a:lnTo>
                        <a:pt x="558" y="415"/>
                      </a:lnTo>
                      <a:lnTo>
                        <a:pt x="558" y="415"/>
                      </a:lnTo>
                      <a:lnTo>
                        <a:pt x="558" y="415"/>
                      </a:lnTo>
                      <a:lnTo>
                        <a:pt x="557" y="415"/>
                      </a:lnTo>
                      <a:lnTo>
                        <a:pt x="557" y="414"/>
                      </a:lnTo>
                      <a:lnTo>
                        <a:pt x="557" y="414"/>
                      </a:lnTo>
                      <a:lnTo>
                        <a:pt x="557" y="413"/>
                      </a:lnTo>
                      <a:lnTo>
                        <a:pt x="556" y="413"/>
                      </a:lnTo>
                      <a:lnTo>
                        <a:pt x="556" y="413"/>
                      </a:lnTo>
                      <a:lnTo>
                        <a:pt x="556" y="412"/>
                      </a:lnTo>
                      <a:lnTo>
                        <a:pt x="557" y="412"/>
                      </a:lnTo>
                      <a:lnTo>
                        <a:pt x="557" y="411"/>
                      </a:lnTo>
                      <a:lnTo>
                        <a:pt x="557" y="411"/>
                      </a:lnTo>
                      <a:lnTo>
                        <a:pt x="557" y="411"/>
                      </a:lnTo>
                      <a:lnTo>
                        <a:pt x="557" y="411"/>
                      </a:lnTo>
                      <a:lnTo>
                        <a:pt x="557" y="410"/>
                      </a:lnTo>
                      <a:lnTo>
                        <a:pt x="556" y="410"/>
                      </a:lnTo>
                      <a:lnTo>
                        <a:pt x="556" y="410"/>
                      </a:lnTo>
                      <a:lnTo>
                        <a:pt x="555" y="410"/>
                      </a:lnTo>
                      <a:lnTo>
                        <a:pt x="556" y="409"/>
                      </a:lnTo>
                      <a:lnTo>
                        <a:pt x="556" y="409"/>
                      </a:lnTo>
                      <a:lnTo>
                        <a:pt x="556" y="409"/>
                      </a:lnTo>
                      <a:lnTo>
                        <a:pt x="556" y="409"/>
                      </a:lnTo>
                      <a:lnTo>
                        <a:pt x="555" y="409"/>
                      </a:lnTo>
                      <a:lnTo>
                        <a:pt x="555" y="408"/>
                      </a:lnTo>
                      <a:lnTo>
                        <a:pt x="556" y="408"/>
                      </a:lnTo>
                      <a:lnTo>
                        <a:pt x="556" y="407"/>
                      </a:lnTo>
                      <a:lnTo>
                        <a:pt x="555" y="407"/>
                      </a:lnTo>
                      <a:lnTo>
                        <a:pt x="555" y="407"/>
                      </a:lnTo>
                      <a:lnTo>
                        <a:pt x="554" y="407"/>
                      </a:lnTo>
                      <a:lnTo>
                        <a:pt x="554" y="407"/>
                      </a:lnTo>
                      <a:lnTo>
                        <a:pt x="554" y="406"/>
                      </a:lnTo>
                      <a:lnTo>
                        <a:pt x="554" y="406"/>
                      </a:lnTo>
                      <a:lnTo>
                        <a:pt x="554" y="406"/>
                      </a:lnTo>
                      <a:lnTo>
                        <a:pt x="554" y="406"/>
                      </a:lnTo>
                      <a:lnTo>
                        <a:pt x="554" y="405"/>
                      </a:lnTo>
                      <a:lnTo>
                        <a:pt x="553" y="405"/>
                      </a:lnTo>
                      <a:lnTo>
                        <a:pt x="553" y="405"/>
                      </a:lnTo>
                      <a:lnTo>
                        <a:pt x="552" y="405"/>
                      </a:lnTo>
                      <a:lnTo>
                        <a:pt x="552" y="404"/>
                      </a:lnTo>
                      <a:lnTo>
                        <a:pt x="553" y="404"/>
                      </a:lnTo>
                      <a:lnTo>
                        <a:pt x="553" y="404"/>
                      </a:lnTo>
                      <a:lnTo>
                        <a:pt x="553" y="404"/>
                      </a:lnTo>
                      <a:lnTo>
                        <a:pt x="553" y="403"/>
                      </a:lnTo>
                      <a:lnTo>
                        <a:pt x="553" y="403"/>
                      </a:lnTo>
                      <a:lnTo>
                        <a:pt x="553" y="403"/>
                      </a:lnTo>
                      <a:lnTo>
                        <a:pt x="553" y="403"/>
                      </a:lnTo>
                      <a:lnTo>
                        <a:pt x="553" y="403"/>
                      </a:lnTo>
                      <a:lnTo>
                        <a:pt x="552" y="403"/>
                      </a:lnTo>
                      <a:lnTo>
                        <a:pt x="552" y="403"/>
                      </a:lnTo>
                      <a:lnTo>
                        <a:pt x="552" y="402"/>
                      </a:lnTo>
                      <a:lnTo>
                        <a:pt x="552" y="402"/>
                      </a:lnTo>
                      <a:lnTo>
                        <a:pt x="552" y="402"/>
                      </a:lnTo>
                      <a:lnTo>
                        <a:pt x="551" y="402"/>
                      </a:lnTo>
                      <a:lnTo>
                        <a:pt x="550" y="402"/>
                      </a:lnTo>
                      <a:lnTo>
                        <a:pt x="550" y="402"/>
                      </a:lnTo>
                      <a:lnTo>
                        <a:pt x="550" y="402"/>
                      </a:lnTo>
                      <a:lnTo>
                        <a:pt x="550" y="401"/>
                      </a:lnTo>
                      <a:lnTo>
                        <a:pt x="550" y="401"/>
                      </a:lnTo>
                      <a:lnTo>
                        <a:pt x="550" y="400"/>
                      </a:lnTo>
                      <a:lnTo>
                        <a:pt x="550" y="400"/>
                      </a:lnTo>
                      <a:lnTo>
                        <a:pt x="550" y="400"/>
                      </a:lnTo>
                      <a:lnTo>
                        <a:pt x="550" y="399"/>
                      </a:lnTo>
                      <a:lnTo>
                        <a:pt x="549" y="399"/>
                      </a:lnTo>
                      <a:lnTo>
                        <a:pt x="549" y="399"/>
                      </a:lnTo>
                      <a:lnTo>
                        <a:pt x="549" y="400"/>
                      </a:lnTo>
                      <a:lnTo>
                        <a:pt x="549" y="399"/>
                      </a:lnTo>
                      <a:lnTo>
                        <a:pt x="548" y="399"/>
                      </a:lnTo>
                      <a:lnTo>
                        <a:pt x="548" y="399"/>
                      </a:lnTo>
                      <a:lnTo>
                        <a:pt x="547" y="399"/>
                      </a:lnTo>
                      <a:lnTo>
                        <a:pt x="547" y="398"/>
                      </a:lnTo>
                      <a:lnTo>
                        <a:pt x="546" y="398"/>
                      </a:lnTo>
                      <a:lnTo>
                        <a:pt x="546" y="398"/>
                      </a:lnTo>
                      <a:lnTo>
                        <a:pt x="546" y="398"/>
                      </a:lnTo>
                      <a:lnTo>
                        <a:pt x="546" y="398"/>
                      </a:lnTo>
                      <a:lnTo>
                        <a:pt x="545" y="398"/>
                      </a:lnTo>
                      <a:lnTo>
                        <a:pt x="545" y="398"/>
                      </a:lnTo>
                      <a:lnTo>
                        <a:pt x="544" y="398"/>
                      </a:lnTo>
                      <a:lnTo>
                        <a:pt x="543" y="398"/>
                      </a:lnTo>
                      <a:lnTo>
                        <a:pt x="543" y="399"/>
                      </a:lnTo>
                      <a:lnTo>
                        <a:pt x="544" y="399"/>
                      </a:lnTo>
                      <a:lnTo>
                        <a:pt x="543" y="399"/>
                      </a:lnTo>
                      <a:lnTo>
                        <a:pt x="543" y="399"/>
                      </a:lnTo>
                      <a:lnTo>
                        <a:pt x="543" y="399"/>
                      </a:lnTo>
                      <a:lnTo>
                        <a:pt x="542" y="399"/>
                      </a:lnTo>
                      <a:lnTo>
                        <a:pt x="542" y="398"/>
                      </a:lnTo>
                      <a:lnTo>
                        <a:pt x="542" y="398"/>
                      </a:lnTo>
                      <a:lnTo>
                        <a:pt x="542" y="398"/>
                      </a:lnTo>
                      <a:lnTo>
                        <a:pt x="541" y="398"/>
                      </a:lnTo>
                      <a:lnTo>
                        <a:pt x="541" y="398"/>
                      </a:lnTo>
                      <a:lnTo>
                        <a:pt x="540" y="398"/>
                      </a:lnTo>
                      <a:lnTo>
                        <a:pt x="540" y="397"/>
                      </a:lnTo>
                      <a:lnTo>
                        <a:pt x="539" y="397"/>
                      </a:lnTo>
                      <a:lnTo>
                        <a:pt x="539" y="396"/>
                      </a:lnTo>
                      <a:lnTo>
                        <a:pt x="539" y="396"/>
                      </a:lnTo>
                      <a:lnTo>
                        <a:pt x="539" y="396"/>
                      </a:lnTo>
                      <a:lnTo>
                        <a:pt x="538" y="396"/>
                      </a:lnTo>
                      <a:lnTo>
                        <a:pt x="538" y="396"/>
                      </a:lnTo>
                      <a:lnTo>
                        <a:pt x="537" y="396"/>
                      </a:lnTo>
                      <a:lnTo>
                        <a:pt x="537" y="395"/>
                      </a:lnTo>
                      <a:lnTo>
                        <a:pt x="537" y="395"/>
                      </a:lnTo>
                      <a:lnTo>
                        <a:pt x="537" y="395"/>
                      </a:lnTo>
                      <a:lnTo>
                        <a:pt x="536" y="395"/>
                      </a:lnTo>
                      <a:lnTo>
                        <a:pt x="535" y="394"/>
                      </a:lnTo>
                      <a:lnTo>
                        <a:pt x="535" y="394"/>
                      </a:lnTo>
                      <a:lnTo>
                        <a:pt x="534" y="394"/>
                      </a:lnTo>
                      <a:lnTo>
                        <a:pt x="534" y="394"/>
                      </a:lnTo>
                      <a:lnTo>
                        <a:pt x="534" y="394"/>
                      </a:lnTo>
                      <a:lnTo>
                        <a:pt x="533" y="394"/>
                      </a:lnTo>
                      <a:lnTo>
                        <a:pt x="533" y="394"/>
                      </a:lnTo>
                      <a:lnTo>
                        <a:pt x="532" y="394"/>
                      </a:lnTo>
                      <a:lnTo>
                        <a:pt x="533" y="394"/>
                      </a:lnTo>
                      <a:lnTo>
                        <a:pt x="533" y="394"/>
                      </a:lnTo>
                      <a:lnTo>
                        <a:pt x="532" y="394"/>
                      </a:lnTo>
                      <a:lnTo>
                        <a:pt x="532" y="394"/>
                      </a:lnTo>
                      <a:lnTo>
                        <a:pt x="532" y="394"/>
                      </a:lnTo>
                      <a:lnTo>
                        <a:pt x="531" y="394"/>
                      </a:lnTo>
                      <a:lnTo>
                        <a:pt x="531" y="394"/>
                      </a:lnTo>
                      <a:lnTo>
                        <a:pt x="530" y="394"/>
                      </a:lnTo>
                      <a:lnTo>
                        <a:pt x="530" y="394"/>
                      </a:lnTo>
                      <a:lnTo>
                        <a:pt x="530" y="394"/>
                      </a:lnTo>
                      <a:lnTo>
                        <a:pt x="529" y="394"/>
                      </a:lnTo>
                      <a:lnTo>
                        <a:pt x="528" y="394"/>
                      </a:lnTo>
                      <a:lnTo>
                        <a:pt x="528" y="395"/>
                      </a:lnTo>
                      <a:lnTo>
                        <a:pt x="527" y="395"/>
                      </a:lnTo>
                      <a:lnTo>
                        <a:pt x="527" y="395"/>
                      </a:lnTo>
                      <a:lnTo>
                        <a:pt x="526" y="395"/>
                      </a:lnTo>
                      <a:lnTo>
                        <a:pt x="526" y="395"/>
                      </a:lnTo>
                      <a:lnTo>
                        <a:pt x="525" y="395"/>
                      </a:lnTo>
                      <a:lnTo>
                        <a:pt x="524" y="395"/>
                      </a:lnTo>
                      <a:lnTo>
                        <a:pt x="524" y="395"/>
                      </a:lnTo>
                      <a:lnTo>
                        <a:pt x="523" y="395"/>
                      </a:lnTo>
                      <a:lnTo>
                        <a:pt x="523" y="394"/>
                      </a:lnTo>
                      <a:lnTo>
                        <a:pt x="523" y="394"/>
                      </a:lnTo>
                      <a:lnTo>
                        <a:pt x="523" y="395"/>
                      </a:lnTo>
                      <a:lnTo>
                        <a:pt x="522" y="395"/>
                      </a:lnTo>
                      <a:lnTo>
                        <a:pt x="522" y="395"/>
                      </a:lnTo>
                      <a:lnTo>
                        <a:pt x="522" y="395"/>
                      </a:lnTo>
                      <a:lnTo>
                        <a:pt x="521" y="395"/>
                      </a:lnTo>
                      <a:lnTo>
                        <a:pt x="520" y="395"/>
                      </a:lnTo>
                      <a:lnTo>
                        <a:pt x="520" y="395"/>
                      </a:lnTo>
                      <a:lnTo>
                        <a:pt x="519" y="395"/>
                      </a:lnTo>
                      <a:lnTo>
                        <a:pt x="519" y="395"/>
                      </a:lnTo>
                      <a:lnTo>
                        <a:pt x="519" y="396"/>
                      </a:lnTo>
                      <a:lnTo>
                        <a:pt x="518" y="395"/>
                      </a:lnTo>
                      <a:lnTo>
                        <a:pt x="517" y="396"/>
                      </a:lnTo>
                      <a:lnTo>
                        <a:pt x="517" y="396"/>
                      </a:lnTo>
                      <a:lnTo>
                        <a:pt x="516" y="396"/>
                      </a:lnTo>
                      <a:lnTo>
                        <a:pt x="516" y="396"/>
                      </a:lnTo>
                      <a:lnTo>
                        <a:pt x="515" y="396"/>
                      </a:lnTo>
                      <a:lnTo>
                        <a:pt x="515" y="396"/>
                      </a:lnTo>
                      <a:lnTo>
                        <a:pt x="515" y="397"/>
                      </a:lnTo>
                      <a:lnTo>
                        <a:pt x="515" y="396"/>
                      </a:lnTo>
                      <a:lnTo>
                        <a:pt x="515" y="397"/>
                      </a:lnTo>
                      <a:lnTo>
                        <a:pt x="514" y="397"/>
                      </a:lnTo>
                      <a:lnTo>
                        <a:pt x="513" y="397"/>
                      </a:lnTo>
                      <a:lnTo>
                        <a:pt x="513" y="396"/>
                      </a:lnTo>
                      <a:lnTo>
                        <a:pt x="513" y="396"/>
                      </a:lnTo>
                      <a:lnTo>
                        <a:pt x="513" y="397"/>
                      </a:lnTo>
                      <a:lnTo>
                        <a:pt x="512" y="397"/>
                      </a:lnTo>
                      <a:lnTo>
                        <a:pt x="512" y="396"/>
                      </a:lnTo>
                      <a:lnTo>
                        <a:pt x="512" y="397"/>
                      </a:lnTo>
                      <a:lnTo>
                        <a:pt x="512" y="396"/>
                      </a:lnTo>
                      <a:lnTo>
                        <a:pt x="512" y="397"/>
                      </a:lnTo>
                      <a:lnTo>
                        <a:pt x="511" y="397"/>
                      </a:lnTo>
                      <a:lnTo>
                        <a:pt x="511" y="398"/>
                      </a:lnTo>
                      <a:lnTo>
                        <a:pt x="511" y="398"/>
                      </a:lnTo>
                      <a:lnTo>
                        <a:pt x="510" y="398"/>
                      </a:lnTo>
                      <a:lnTo>
                        <a:pt x="510" y="399"/>
                      </a:lnTo>
                      <a:lnTo>
                        <a:pt x="509" y="399"/>
                      </a:lnTo>
                      <a:lnTo>
                        <a:pt x="509" y="399"/>
                      </a:lnTo>
                      <a:lnTo>
                        <a:pt x="509" y="399"/>
                      </a:lnTo>
                      <a:lnTo>
                        <a:pt x="509" y="400"/>
                      </a:lnTo>
                      <a:lnTo>
                        <a:pt x="508" y="400"/>
                      </a:lnTo>
                      <a:lnTo>
                        <a:pt x="508" y="400"/>
                      </a:lnTo>
                      <a:lnTo>
                        <a:pt x="508" y="400"/>
                      </a:lnTo>
                      <a:lnTo>
                        <a:pt x="508" y="401"/>
                      </a:lnTo>
                      <a:lnTo>
                        <a:pt x="507" y="401"/>
                      </a:lnTo>
                      <a:lnTo>
                        <a:pt x="507" y="402"/>
                      </a:lnTo>
                      <a:lnTo>
                        <a:pt x="507" y="402"/>
                      </a:lnTo>
                      <a:lnTo>
                        <a:pt x="507" y="402"/>
                      </a:lnTo>
                      <a:lnTo>
                        <a:pt x="507" y="402"/>
                      </a:lnTo>
                      <a:lnTo>
                        <a:pt x="507" y="402"/>
                      </a:lnTo>
                      <a:lnTo>
                        <a:pt x="506" y="402"/>
                      </a:lnTo>
                      <a:lnTo>
                        <a:pt x="506" y="403"/>
                      </a:lnTo>
                      <a:lnTo>
                        <a:pt x="505" y="403"/>
                      </a:lnTo>
                      <a:lnTo>
                        <a:pt x="505" y="403"/>
                      </a:lnTo>
                      <a:lnTo>
                        <a:pt x="505" y="403"/>
                      </a:lnTo>
                      <a:lnTo>
                        <a:pt x="505" y="404"/>
                      </a:lnTo>
                      <a:lnTo>
                        <a:pt x="505" y="404"/>
                      </a:lnTo>
                      <a:lnTo>
                        <a:pt x="505" y="405"/>
                      </a:lnTo>
                      <a:lnTo>
                        <a:pt x="505" y="405"/>
                      </a:lnTo>
                      <a:lnTo>
                        <a:pt x="506" y="405"/>
                      </a:lnTo>
                      <a:lnTo>
                        <a:pt x="507" y="405"/>
                      </a:lnTo>
                      <a:lnTo>
                        <a:pt x="507" y="405"/>
                      </a:lnTo>
                      <a:lnTo>
                        <a:pt x="508" y="405"/>
                      </a:lnTo>
                      <a:lnTo>
                        <a:pt x="508" y="404"/>
                      </a:lnTo>
                      <a:lnTo>
                        <a:pt x="508" y="404"/>
                      </a:lnTo>
                      <a:lnTo>
                        <a:pt x="509" y="405"/>
                      </a:lnTo>
                      <a:lnTo>
                        <a:pt x="509" y="405"/>
                      </a:lnTo>
                      <a:lnTo>
                        <a:pt x="509" y="406"/>
                      </a:lnTo>
                      <a:lnTo>
                        <a:pt x="510" y="406"/>
                      </a:lnTo>
                      <a:lnTo>
                        <a:pt x="511" y="406"/>
                      </a:lnTo>
                      <a:lnTo>
                        <a:pt x="510" y="406"/>
                      </a:lnTo>
                      <a:lnTo>
                        <a:pt x="510" y="407"/>
                      </a:lnTo>
                      <a:lnTo>
                        <a:pt x="510" y="407"/>
                      </a:lnTo>
                      <a:lnTo>
                        <a:pt x="509" y="407"/>
                      </a:lnTo>
                      <a:lnTo>
                        <a:pt x="509" y="408"/>
                      </a:lnTo>
                      <a:lnTo>
                        <a:pt x="509" y="409"/>
                      </a:lnTo>
                      <a:lnTo>
                        <a:pt x="510" y="409"/>
                      </a:lnTo>
                      <a:lnTo>
                        <a:pt x="510" y="409"/>
                      </a:lnTo>
                      <a:lnTo>
                        <a:pt x="511" y="409"/>
                      </a:lnTo>
                      <a:lnTo>
                        <a:pt x="511" y="410"/>
                      </a:lnTo>
                      <a:lnTo>
                        <a:pt x="511" y="410"/>
                      </a:lnTo>
                      <a:lnTo>
                        <a:pt x="511" y="411"/>
                      </a:lnTo>
                      <a:lnTo>
                        <a:pt x="511" y="411"/>
                      </a:lnTo>
                      <a:lnTo>
                        <a:pt x="510" y="411"/>
                      </a:lnTo>
                      <a:lnTo>
                        <a:pt x="510" y="412"/>
                      </a:lnTo>
                      <a:lnTo>
                        <a:pt x="510" y="413"/>
                      </a:lnTo>
                      <a:lnTo>
                        <a:pt x="510" y="413"/>
                      </a:lnTo>
                      <a:lnTo>
                        <a:pt x="509" y="413"/>
                      </a:lnTo>
                      <a:lnTo>
                        <a:pt x="509" y="413"/>
                      </a:lnTo>
                      <a:lnTo>
                        <a:pt x="509" y="414"/>
                      </a:lnTo>
                      <a:lnTo>
                        <a:pt x="508" y="414"/>
                      </a:lnTo>
                      <a:lnTo>
                        <a:pt x="508" y="414"/>
                      </a:lnTo>
                      <a:lnTo>
                        <a:pt x="508" y="414"/>
                      </a:lnTo>
                      <a:lnTo>
                        <a:pt x="508" y="415"/>
                      </a:lnTo>
                      <a:lnTo>
                        <a:pt x="507" y="415"/>
                      </a:lnTo>
                      <a:lnTo>
                        <a:pt x="507" y="415"/>
                      </a:lnTo>
                      <a:lnTo>
                        <a:pt x="507" y="415"/>
                      </a:lnTo>
                      <a:lnTo>
                        <a:pt x="506" y="415"/>
                      </a:lnTo>
                      <a:lnTo>
                        <a:pt x="506" y="416"/>
                      </a:lnTo>
                      <a:lnTo>
                        <a:pt x="505" y="416"/>
                      </a:lnTo>
                      <a:lnTo>
                        <a:pt x="505" y="417"/>
                      </a:lnTo>
                      <a:lnTo>
                        <a:pt x="505" y="417"/>
                      </a:lnTo>
                      <a:lnTo>
                        <a:pt x="505" y="417"/>
                      </a:lnTo>
                      <a:lnTo>
                        <a:pt x="505" y="418"/>
                      </a:lnTo>
                      <a:lnTo>
                        <a:pt x="504" y="418"/>
                      </a:lnTo>
                      <a:lnTo>
                        <a:pt x="504" y="419"/>
                      </a:lnTo>
                      <a:lnTo>
                        <a:pt x="504" y="420"/>
                      </a:lnTo>
                      <a:lnTo>
                        <a:pt x="504" y="420"/>
                      </a:lnTo>
                      <a:lnTo>
                        <a:pt x="504" y="420"/>
                      </a:lnTo>
                      <a:lnTo>
                        <a:pt x="504" y="420"/>
                      </a:lnTo>
                      <a:lnTo>
                        <a:pt x="504" y="420"/>
                      </a:lnTo>
                      <a:lnTo>
                        <a:pt x="504" y="421"/>
                      </a:lnTo>
                      <a:lnTo>
                        <a:pt x="503" y="421"/>
                      </a:lnTo>
                      <a:lnTo>
                        <a:pt x="503" y="421"/>
                      </a:lnTo>
                      <a:lnTo>
                        <a:pt x="503" y="422"/>
                      </a:lnTo>
                      <a:lnTo>
                        <a:pt x="502" y="422"/>
                      </a:lnTo>
                      <a:lnTo>
                        <a:pt x="502" y="422"/>
                      </a:lnTo>
                      <a:lnTo>
                        <a:pt x="502" y="423"/>
                      </a:lnTo>
                      <a:lnTo>
                        <a:pt x="502" y="424"/>
                      </a:lnTo>
                      <a:lnTo>
                        <a:pt x="502" y="424"/>
                      </a:lnTo>
                      <a:lnTo>
                        <a:pt x="502" y="424"/>
                      </a:lnTo>
                      <a:lnTo>
                        <a:pt x="502" y="424"/>
                      </a:lnTo>
                      <a:lnTo>
                        <a:pt x="502" y="424"/>
                      </a:lnTo>
                      <a:lnTo>
                        <a:pt x="501" y="424"/>
                      </a:lnTo>
                      <a:lnTo>
                        <a:pt x="501" y="425"/>
                      </a:lnTo>
                      <a:lnTo>
                        <a:pt x="501" y="425"/>
                      </a:lnTo>
                      <a:lnTo>
                        <a:pt x="501" y="425"/>
                      </a:lnTo>
                      <a:lnTo>
                        <a:pt x="501" y="426"/>
                      </a:lnTo>
                      <a:lnTo>
                        <a:pt x="500" y="426"/>
                      </a:lnTo>
                      <a:lnTo>
                        <a:pt x="500" y="426"/>
                      </a:lnTo>
                      <a:lnTo>
                        <a:pt x="501" y="426"/>
                      </a:lnTo>
                      <a:lnTo>
                        <a:pt x="501" y="427"/>
                      </a:lnTo>
                      <a:lnTo>
                        <a:pt x="500" y="427"/>
                      </a:lnTo>
                      <a:lnTo>
                        <a:pt x="501" y="427"/>
                      </a:lnTo>
                      <a:lnTo>
                        <a:pt x="500" y="427"/>
                      </a:lnTo>
                      <a:lnTo>
                        <a:pt x="501" y="427"/>
                      </a:lnTo>
                      <a:lnTo>
                        <a:pt x="500" y="427"/>
                      </a:lnTo>
                      <a:lnTo>
                        <a:pt x="500" y="428"/>
                      </a:lnTo>
                      <a:lnTo>
                        <a:pt x="500" y="428"/>
                      </a:lnTo>
                      <a:lnTo>
                        <a:pt x="500" y="428"/>
                      </a:lnTo>
                      <a:lnTo>
                        <a:pt x="500" y="429"/>
                      </a:lnTo>
                      <a:lnTo>
                        <a:pt x="499" y="429"/>
                      </a:lnTo>
                      <a:lnTo>
                        <a:pt x="498" y="429"/>
                      </a:lnTo>
                      <a:lnTo>
                        <a:pt x="498" y="429"/>
                      </a:lnTo>
                      <a:lnTo>
                        <a:pt x="499" y="429"/>
                      </a:lnTo>
                      <a:lnTo>
                        <a:pt x="498" y="429"/>
                      </a:lnTo>
                      <a:lnTo>
                        <a:pt x="498" y="430"/>
                      </a:lnTo>
                      <a:lnTo>
                        <a:pt x="498" y="431"/>
                      </a:lnTo>
                      <a:lnTo>
                        <a:pt x="498" y="431"/>
                      </a:lnTo>
                      <a:lnTo>
                        <a:pt x="498" y="431"/>
                      </a:lnTo>
                      <a:lnTo>
                        <a:pt x="497" y="431"/>
                      </a:lnTo>
                      <a:lnTo>
                        <a:pt x="497" y="432"/>
                      </a:lnTo>
                      <a:lnTo>
                        <a:pt x="498" y="432"/>
                      </a:lnTo>
                      <a:lnTo>
                        <a:pt x="498" y="432"/>
                      </a:lnTo>
                      <a:lnTo>
                        <a:pt x="498" y="432"/>
                      </a:lnTo>
                      <a:lnTo>
                        <a:pt x="498" y="432"/>
                      </a:lnTo>
                      <a:lnTo>
                        <a:pt x="498" y="432"/>
                      </a:lnTo>
                      <a:lnTo>
                        <a:pt x="498" y="432"/>
                      </a:lnTo>
                      <a:lnTo>
                        <a:pt x="499" y="432"/>
                      </a:lnTo>
                      <a:lnTo>
                        <a:pt x="499" y="432"/>
                      </a:lnTo>
                      <a:lnTo>
                        <a:pt x="499" y="432"/>
                      </a:lnTo>
                      <a:lnTo>
                        <a:pt x="499" y="432"/>
                      </a:lnTo>
                      <a:lnTo>
                        <a:pt x="499" y="432"/>
                      </a:lnTo>
                      <a:lnTo>
                        <a:pt x="500" y="432"/>
                      </a:lnTo>
                      <a:lnTo>
                        <a:pt x="499" y="432"/>
                      </a:lnTo>
                      <a:lnTo>
                        <a:pt x="500" y="432"/>
                      </a:lnTo>
                      <a:lnTo>
                        <a:pt x="499" y="432"/>
                      </a:lnTo>
                      <a:lnTo>
                        <a:pt x="500" y="432"/>
                      </a:lnTo>
                      <a:lnTo>
                        <a:pt x="499" y="432"/>
                      </a:lnTo>
                      <a:lnTo>
                        <a:pt x="499" y="433"/>
                      </a:lnTo>
                      <a:lnTo>
                        <a:pt x="499" y="433"/>
                      </a:lnTo>
                      <a:lnTo>
                        <a:pt x="499" y="433"/>
                      </a:lnTo>
                      <a:lnTo>
                        <a:pt x="499" y="433"/>
                      </a:lnTo>
                      <a:lnTo>
                        <a:pt x="499" y="434"/>
                      </a:lnTo>
                      <a:lnTo>
                        <a:pt x="499" y="435"/>
                      </a:lnTo>
                      <a:lnTo>
                        <a:pt x="499" y="435"/>
                      </a:lnTo>
                      <a:lnTo>
                        <a:pt x="498" y="435"/>
                      </a:lnTo>
                      <a:lnTo>
                        <a:pt x="498" y="436"/>
                      </a:lnTo>
                      <a:lnTo>
                        <a:pt x="497" y="436"/>
                      </a:lnTo>
                      <a:lnTo>
                        <a:pt x="497" y="436"/>
                      </a:lnTo>
                      <a:lnTo>
                        <a:pt x="497" y="436"/>
                      </a:lnTo>
                      <a:lnTo>
                        <a:pt x="496" y="436"/>
                      </a:lnTo>
                      <a:lnTo>
                        <a:pt x="496" y="436"/>
                      </a:lnTo>
                      <a:lnTo>
                        <a:pt x="495" y="436"/>
                      </a:lnTo>
                      <a:lnTo>
                        <a:pt x="495" y="437"/>
                      </a:lnTo>
                      <a:lnTo>
                        <a:pt x="495" y="436"/>
                      </a:lnTo>
                      <a:lnTo>
                        <a:pt x="495" y="437"/>
                      </a:lnTo>
                      <a:lnTo>
                        <a:pt x="494" y="437"/>
                      </a:lnTo>
                      <a:lnTo>
                        <a:pt x="494" y="437"/>
                      </a:lnTo>
                      <a:lnTo>
                        <a:pt x="493" y="437"/>
                      </a:lnTo>
                      <a:lnTo>
                        <a:pt x="493" y="437"/>
                      </a:lnTo>
                      <a:lnTo>
                        <a:pt x="493" y="437"/>
                      </a:lnTo>
                      <a:lnTo>
                        <a:pt x="493" y="437"/>
                      </a:lnTo>
                      <a:lnTo>
                        <a:pt x="493" y="437"/>
                      </a:lnTo>
                      <a:lnTo>
                        <a:pt x="492" y="437"/>
                      </a:lnTo>
                      <a:lnTo>
                        <a:pt x="493" y="437"/>
                      </a:lnTo>
                      <a:lnTo>
                        <a:pt x="492" y="437"/>
                      </a:lnTo>
                      <a:lnTo>
                        <a:pt x="492" y="438"/>
                      </a:lnTo>
                      <a:lnTo>
                        <a:pt x="493" y="438"/>
                      </a:lnTo>
                      <a:lnTo>
                        <a:pt x="492" y="438"/>
                      </a:lnTo>
                      <a:lnTo>
                        <a:pt x="493" y="438"/>
                      </a:lnTo>
                      <a:lnTo>
                        <a:pt x="492" y="438"/>
                      </a:lnTo>
                      <a:lnTo>
                        <a:pt x="491" y="438"/>
                      </a:lnTo>
                      <a:lnTo>
                        <a:pt x="491" y="439"/>
                      </a:lnTo>
                      <a:lnTo>
                        <a:pt x="491" y="439"/>
                      </a:lnTo>
                      <a:lnTo>
                        <a:pt x="491" y="439"/>
                      </a:lnTo>
                      <a:lnTo>
                        <a:pt x="491" y="439"/>
                      </a:lnTo>
                      <a:lnTo>
                        <a:pt x="491" y="439"/>
                      </a:lnTo>
                      <a:lnTo>
                        <a:pt x="490" y="439"/>
                      </a:lnTo>
                      <a:lnTo>
                        <a:pt x="490" y="440"/>
                      </a:lnTo>
                      <a:lnTo>
                        <a:pt x="490" y="439"/>
                      </a:lnTo>
                      <a:lnTo>
                        <a:pt x="490" y="440"/>
                      </a:lnTo>
                      <a:lnTo>
                        <a:pt x="490" y="440"/>
                      </a:lnTo>
                      <a:lnTo>
                        <a:pt x="490" y="440"/>
                      </a:lnTo>
                      <a:lnTo>
                        <a:pt x="490" y="440"/>
                      </a:lnTo>
                      <a:lnTo>
                        <a:pt x="490" y="440"/>
                      </a:lnTo>
                      <a:lnTo>
                        <a:pt x="489" y="440"/>
                      </a:lnTo>
                      <a:lnTo>
                        <a:pt x="489" y="440"/>
                      </a:lnTo>
                      <a:lnTo>
                        <a:pt x="489" y="441"/>
                      </a:lnTo>
                      <a:lnTo>
                        <a:pt x="489" y="441"/>
                      </a:lnTo>
                      <a:lnTo>
                        <a:pt x="489" y="441"/>
                      </a:lnTo>
                      <a:lnTo>
                        <a:pt x="489" y="441"/>
                      </a:lnTo>
                      <a:lnTo>
                        <a:pt x="488" y="441"/>
                      </a:lnTo>
                      <a:lnTo>
                        <a:pt x="488" y="442"/>
                      </a:lnTo>
                      <a:lnTo>
                        <a:pt x="487" y="442"/>
                      </a:lnTo>
                      <a:lnTo>
                        <a:pt x="487" y="442"/>
                      </a:lnTo>
                      <a:lnTo>
                        <a:pt x="487" y="442"/>
                      </a:lnTo>
                      <a:lnTo>
                        <a:pt x="486" y="442"/>
                      </a:lnTo>
                      <a:lnTo>
                        <a:pt x="486" y="441"/>
                      </a:lnTo>
                      <a:lnTo>
                        <a:pt x="485" y="441"/>
                      </a:lnTo>
                      <a:lnTo>
                        <a:pt x="485" y="441"/>
                      </a:lnTo>
                      <a:lnTo>
                        <a:pt x="484" y="440"/>
                      </a:lnTo>
                      <a:lnTo>
                        <a:pt x="483" y="440"/>
                      </a:lnTo>
                      <a:lnTo>
                        <a:pt x="482" y="440"/>
                      </a:lnTo>
                      <a:lnTo>
                        <a:pt x="482" y="440"/>
                      </a:lnTo>
                      <a:lnTo>
                        <a:pt x="481" y="440"/>
                      </a:lnTo>
                      <a:lnTo>
                        <a:pt x="481" y="440"/>
                      </a:lnTo>
                      <a:lnTo>
                        <a:pt x="480" y="439"/>
                      </a:lnTo>
                      <a:lnTo>
                        <a:pt x="479" y="439"/>
                      </a:lnTo>
                      <a:lnTo>
                        <a:pt x="478" y="438"/>
                      </a:lnTo>
                      <a:lnTo>
                        <a:pt x="478" y="437"/>
                      </a:lnTo>
                      <a:lnTo>
                        <a:pt x="477" y="437"/>
                      </a:lnTo>
                      <a:lnTo>
                        <a:pt x="476" y="436"/>
                      </a:lnTo>
                      <a:lnTo>
                        <a:pt x="476" y="436"/>
                      </a:lnTo>
                      <a:lnTo>
                        <a:pt x="475" y="436"/>
                      </a:lnTo>
                      <a:lnTo>
                        <a:pt x="474" y="436"/>
                      </a:lnTo>
                      <a:lnTo>
                        <a:pt x="474" y="436"/>
                      </a:lnTo>
                      <a:lnTo>
                        <a:pt x="473" y="436"/>
                      </a:lnTo>
                      <a:lnTo>
                        <a:pt x="473" y="436"/>
                      </a:lnTo>
                      <a:lnTo>
                        <a:pt x="472" y="436"/>
                      </a:lnTo>
                      <a:lnTo>
                        <a:pt x="471" y="437"/>
                      </a:lnTo>
                      <a:lnTo>
                        <a:pt x="471" y="437"/>
                      </a:lnTo>
                      <a:lnTo>
                        <a:pt x="470" y="437"/>
                      </a:lnTo>
                      <a:lnTo>
                        <a:pt x="470" y="437"/>
                      </a:lnTo>
                      <a:lnTo>
                        <a:pt x="469" y="437"/>
                      </a:lnTo>
                      <a:lnTo>
                        <a:pt x="468" y="437"/>
                      </a:lnTo>
                      <a:lnTo>
                        <a:pt x="468" y="437"/>
                      </a:lnTo>
                      <a:lnTo>
                        <a:pt x="467" y="437"/>
                      </a:lnTo>
                      <a:lnTo>
                        <a:pt x="467" y="437"/>
                      </a:lnTo>
                      <a:lnTo>
                        <a:pt x="467" y="436"/>
                      </a:lnTo>
                      <a:lnTo>
                        <a:pt x="466" y="436"/>
                      </a:lnTo>
                      <a:lnTo>
                        <a:pt x="466" y="436"/>
                      </a:lnTo>
                      <a:lnTo>
                        <a:pt x="465" y="436"/>
                      </a:lnTo>
                      <a:lnTo>
                        <a:pt x="465" y="435"/>
                      </a:lnTo>
                      <a:lnTo>
                        <a:pt x="465" y="435"/>
                      </a:lnTo>
                      <a:lnTo>
                        <a:pt x="464" y="435"/>
                      </a:lnTo>
                      <a:lnTo>
                        <a:pt x="464" y="434"/>
                      </a:lnTo>
                      <a:lnTo>
                        <a:pt x="463" y="433"/>
                      </a:lnTo>
                      <a:lnTo>
                        <a:pt x="463" y="433"/>
                      </a:lnTo>
                      <a:lnTo>
                        <a:pt x="462" y="433"/>
                      </a:lnTo>
                      <a:lnTo>
                        <a:pt x="461" y="433"/>
                      </a:lnTo>
                      <a:lnTo>
                        <a:pt x="461" y="433"/>
                      </a:lnTo>
                      <a:lnTo>
                        <a:pt x="460" y="433"/>
                      </a:lnTo>
                      <a:lnTo>
                        <a:pt x="460" y="433"/>
                      </a:lnTo>
                      <a:lnTo>
                        <a:pt x="460" y="433"/>
                      </a:lnTo>
                      <a:lnTo>
                        <a:pt x="459" y="433"/>
                      </a:lnTo>
                      <a:lnTo>
                        <a:pt x="459" y="433"/>
                      </a:lnTo>
                      <a:lnTo>
                        <a:pt x="458" y="433"/>
                      </a:lnTo>
                      <a:lnTo>
                        <a:pt x="458" y="433"/>
                      </a:lnTo>
                      <a:lnTo>
                        <a:pt x="457" y="433"/>
                      </a:lnTo>
                      <a:lnTo>
                        <a:pt x="456" y="434"/>
                      </a:lnTo>
                      <a:lnTo>
                        <a:pt x="456" y="435"/>
                      </a:lnTo>
                      <a:lnTo>
                        <a:pt x="455" y="435"/>
                      </a:lnTo>
                      <a:lnTo>
                        <a:pt x="454" y="435"/>
                      </a:lnTo>
                      <a:lnTo>
                        <a:pt x="453" y="436"/>
                      </a:lnTo>
                      <a:lnTo>
                        <a:pt x="453" y="436"/>
                      </a:lnTo>
                      <a:lnTo>
                        <a:pt x="452" y="436"/>
                      </a:lnTo>
                      <a:lnTo>
                        <a:pt x="452" y="437"/>
                      </a:lnTo>
                      <a:lnTo>
                        <a:pt x="452" y="437"/>
                      </a:lnTo>
                      <a:lnTo>
                        <a:pt x="450" y="438"/>
                      </a:lnTo>
                      <a:lnTo>
                        <a:pt x="450" y="438"/>
                      </a:lnTo>
                      <a:lnTo>
                        <a:pt x="449" y="439"/>
                      </a:lnTo>
                      <a:lnTo>
                        <a:pt x="449" y="439"/>
                      </a:lnTo>
                      <a:lnTo>
                        <a:pt x="449" y="440"/>
                      </a:lnTo>
                      <a:lnTo>
                        <a:pt x="449" y="441"/>
                      </a:lnTo>
                      <a:lnTo>
                        <a:pt x="448" y="441"/>
                      </a:lnTo>
                      <a:lnTo>
                        <a:pt x="448" y="441"/>
                      </a:lnTo>
                      <a:lnTo>
                        <a:pt x="448" y="442"/>
                      </a:lnTo>
                      <a:lnTo>
                        <a:pt x="448" y="441"/>
                      </a:lnTo>
                      <a:lnTo>
                        <a:pt x="448" y="442"/>
                      </a:lnTo>
                      <a:lnTo>
                        <a:pt x="447" y="442"/>
                      </a:lnTo>
                      <a:lnTo>
                        <a:pt x="447" y="442"/>
                      </a:lnTo>
                      <a:lnTo>
                        <a:pt x="446" y="442"/>
                      </a:lnTo>
                      <a:lnTo>
                        <a:pt x="446" y="442"/>
                      </a:lnTo>
                      <a:lnTo>
                        <a:pt x="446" y="442"/>
                      </a:lnTo>
                      <a:lnTo>
                        <a:pt x="446" y="442"/>
                      </a:lnTo>
                      <a:lnTo>
                        <a:pt x="446" y="442"/>
                      </a:lnTo>
                      <a:lnTo>
                        <a:pt x="445" y="442"/>
                      </a:lnTo>
                      <a:lnTo>
                        <a:pt x="445" y="442"/>
                      </a:lnTo>
                      <a:lnTo>
                        <a:pt x="444" y="442"/>
                      </a:lnTo>
                      <a:lnTo>
                        <a:pt x="444" y="442"/>
                      </a:lnTo>
                      <a:lnTo>
                        <a:pt x="444" y="442"/>
                      </a:lnTo>
                      <a:lnTo>
                        <a:pt x="443" y="442"/>
                      </a:lnTo>
                      <a:lnTo>
                        <a:pt x="442" y="442"/>
                      </a:lnTo>
                      <a:lnTo>
                        <a:pt x="442" y="443"/>
                      </a:lnTo>
                      <a:lnTo>
                        <a:pt x="441" y="443"/>
                      </a:lnTo>
                      <a:lnTo>
                        <a:pt x="440" y="443"/>
                      </a:lnTo>
                      <a:lnTo>
                        <a:pt x="439" y="443"/>
                      </a:lnTo>
                      <a:lnTo>
                        <a:pt x="439" y="443"/>
                      </a:lnTo>
                      <a:lnTo>
                        <a:pt x="438" y="443"/>
                      </a:lnTo>
                      <a:lnTo>
                        <a:pt x="438" y="443"/>
                      </a:lnTo>
                      <a:lnTo>
                        <a:pt x="437" y="444"/>
                      </a:lnTo>
                      <a:lnTo>
                        <a:pt x="436" y="444"/>
                      </a:lnTo>
                      <a:lnTo>
                        <a:pt x="435" y="444"/>
                      </a:lnTo>
                      <a:lnTo>
                        <a:pt x="434" y="444"/>
                      </a:lnTo>
                      <a:lnTo>
                        <a:pt x="434" y="444"/>
                      </a:lnTo>
                      <a:lnTo>
                        <a:pt x="433" y="445"/>
                      </a:lnTo>
                      <a:lnTo>
                        <a:pt x="432" y="446"/>
                      </a:lnTo>
                      <a:lnTo>
                        <a:pt x="431" y="446"/>
                      </a:lnTo>
                      <a:lnTo>
                        <a:pt x="431" y="446"/>
                      </a:lnTo>
                      <a:lnTo>
                        <a:pt x="430" y="446"/>
                      </a:lnTo>
                      <a:lnTo>
                        <a:pt x="430" y="446"/>
                      </a:lnTo>
                      <a:lnTo>
                        <a:pt x="429" y="446"/>
                      </a:lnTo>
                      <a:lnTo>
                        <a:pt x="429" y="446"/>
                      </a:lnTo>
                      <a:lnTo>
                        <a:pt x="428" y="446"/>
                      </a:lnTo>
                      <a:lnTo>
                        <a:pt x="427" y="446"/>
                      </a:lnTo>
                      <a:lnTo>
                        <a:pt x="427" y="445"/>
                      </a:lnTo>
                      <a:lnTo>
                        <a:pt x="427" y="445"/>
                      </a:lnTo>
                      <a:lnTo>
                        <a:pt x="427" y="446"/>
                      </a:lnTo>
                      <a:lnTo>
                        <a:pt x="426" y="446"/>
                      </a:lnTo>
                      <a:lnTo>
                        <a:pt x="426" y="446"/>
                      </a:lnTo>
                      <a:lnTo>
                        <a:pt x="425" y="446"/>
                      </a:lnTo>
                      <a:lnTo>
                        <a:pt x="425" y="446"/>
                      </a:lnTo>
                      <a:lnTo>
                        <a:pt x="424" y="446"/>
                      </a:lnTo>
                      <a:lnTo>
                        <a:pt x="424" y="446"/>
                      </a:lnTo>
                      <a:lnTo>
                        <a:pt x="423" y="446"/>
                      </a:lnTo>
                      <a:lnTo>
                        <a:pt x="423" y="446"/>
                      </a:lnTo>
                      <a:lnTo>
                        <a:pt x="422" y="446"/>
                      </a:lnTo>
                      <a:lnTo>
                        <a:pt x="422" y="445"/>
                      </a:lnTo>
                      <a:lnTo>
                        <a:pt x="422" y="446"/>
                      </a:lnTo>
                      <a:lnTo>
                        <a:pt x="421" y="446"/>
                      </a:lnTo>
                      <a:lnTo>
                        <a:pt x="420" y="446"/>
                      </a:lnTo>
                      <a:lnTo>
                        <a:pt x="420" y="445"/>
                      </a:lnTo>
                      <a:lnTo>
                        <a:pt x="420" y="444"/>
                      </a:lnTo>
                      <a:lnTo>
                        <a:pt x="419" y="444"/>
                      </a:lnTo>
                      <a:lnTo>
                        <a:pt x="419" y="444"/>
                      </a:lnTo>
                      <a:lnTo>
                        <a:pt x="418" y="444"/>
                      </a:lnTo>
                      <a:lnTo>
                        <a:pt x="418" y="444"/>
                      </a:lnTo>
                      <a:lnTo>
                        <a:pt x="417" y="444"/>
                      </a:lnTo>
                      <a:lnTo>
                        <a:pt x="416" y="444"/>
                      </a:lnTo>
                      <a:lnTo>
                        <a:pt x="416" y="444"/>
                      </a:lnTo>
                      <a:lnTo>
                        <a:pt x="415" y="444"/>
                      </a:lnTo>
                      <a:lnTo>
                        <a:pt x="415" y="444"/>
                      </a:lnTo>
                      <a:lnTo>
                        <a:pt x="414" y="444"/>
                      </a:lnTo>
                      <a:lnTo>
                        <a:pt x="413" y="444"/>
                      </a:lnTo>
                      <a:lnTo>
                        <a:pt x="413" y="444"/>
                      </a:lnTo>
                      <a:lnTo>
                        <a:pt x="412" y="444"/>
                      </a:lnTo>
                      <a:lnTo>
                        <a:pt x="412" y="444"/>
                      </a:lnTo>
                      <a:lnTo>
                        <a:pt x="412" y="443"/>
                      </a:lnTo>
                      <a:lnTo>
                        <a:pt x="412" y="443"/>
                      </a:lnTo>
                      <a:lnTo>
                        <a:pt x="411" y="443"/>
                      </a:lnTo>
                      <a:lnTo>
                        <a:pt x="411" y="442"/>
                      </a:lnTo>
                      <a:lnTo>
                        <a:pt x="411" y="442"/>
                      </a:lnTo>
                      <a:lnTo>
                        <a:pt x="411" y="442"/>
                      </a:lnTo>
                      <a:lnTo>
                        <a:pt x="410" y="442"/>
                      </a:lnTo>
                      <a:lnTo>
                        <a:pt x="409" y="442"/>
                      </a:lnTo>
                      <a:lnTo>
                        <a:pt x="409" y="441"/>
                      </a:lnTo>
                      <a:lnTo>
                        <a:pt x="409" y="441"/>
                      </a:lnTo>
                      <a:lnTo>
                        <a:pt x="408" y="441"/>
                      </a:lnTo>
                      <a:lnTo>
                        <a:pt x="408" y="440"/>
                      </a:lnTo>
                      <a:lnTo>
                        <a:pt x="408" y="440"/>
                      </a:lnTo>
                      <a:lnTo>
                        <a:pt x="408" y="440"/>
                      </a:lnTo>
                      <a:lnTo>
                        <a:pt x="408" y="440"/>
                      </a:lnTo>
                      <a:lnTo>
                        <a:pt x="408" y="440"/>
                      </a:lnTo>
                      <a:lnTo>
                        <a:pt x="408" y="439"/>
                      </a:lnTo>
                      <a:lnTo>
                        <a:pt x="408" y="439"/>
                      </a:lnTo>
                      <a:lnTo>
                        <a:pt x="408" y="438"/>
                      </a:lnTo>
                      <a:lnTo>
                        <a:pt x="408" y="437"/>
                      </a:lnTo>
                      <a:lnTo>
                        <a:pt x="408" y="437"/>
                      </a:lnTo>
                      <a:lnTo>
                        <a:pt x="407" y="437"/>
                      </a:lnTo>
                      <a:lnTo>
                        <a:pt x="407" y="436"/>
                      </a:lnTo>
                      <a:lnTo>
                        <a:pt x="407" y="437"/>
                      </a:lnTo>
                      <a:lnTo>
                        <a:pt x="406" y="437"/>
                      </a:lnTo>
                      <a:lnTo>
                        <a:pt x="406" y="436"/>
                      </a:lnTo>
                      <a:lnTo>
                        <a:pt x="405" y="436"/>
                      </a:lnTo>
                      <a:lnTo>
                        <a:pt x="405" y="436"/>
                      </a:lnTo>
                      <a:lnTo>
                        <a:pt x="404" y="436"/>
                      </a:lnTo>
                      <a:lnTo>
                        <a:pt x="404" y="436"/>
                      </a:lnTo>
                      <a:lnTo>
                        <a:pt x="403" y="436"/>
                      </a:lnTo>
                      <a:lnTo>
                        <a:pt x="403" y="436"/>
                      </a:lnTo>
                      <a:lnTo>
                        <a:pt x="403" y="436"/>
                      </a:lnTo>
                      <a:lnTo>
                        <a:pt x="403" y="436"/>
                      </a:lnTo>
                      <a:lnTo>
                        <a:pt x="402" y="436"/>
                      </a:lnTo>
                      <a:lnTo>
                        <a:pt x="401" y="436"/>
                      </a:lnTo>
                      <a:lnTo>
                        <a:pt x="401" y="436"/>
                      </a:lnTo>
                      <a:lnTo>
                        <a:pt x="401" y="436"/>
                      </a:lnTo>
                      <a:lnTo>
                        <a:pt x="401" y="435"/>
                      </a:lnTo>
                      <a:lnTo>
                        <a:pt x="400" y="435"/>
                      </a:lnTo>
                      <a:lnTo>
                        <a:pt x="400" y="435"/>
                      </a:lnTo>
                      <a:lnTo>
                        <a:pt x="401" y="435"/>
                      </a:lnTo>
                      <a:lnTo>
                        <a:pt x="400" y="435"/>
                      </a:lnTo>
                      <a:lnTo>
                        <a:pt x="400" y="434"/>
                      </a:lnTo>
                      <a:lnTo>
                        <a:pt x="401" y="434"/>
                      </a:lnTo>
                      <a:lnTo>
                        <a:pt x="400" y="434"/>
                      </a:lnTo>
                      <a:lnTo>
                        <a:pt x="400" y="433"/>
                      </a:lnTo>
                      <a:lnTo>
                        <a:pt x="400" y="433"/>
                      </a:lnTo>
                      <a:lnTo>
                        <a:pt x="399" y="433"/>
                      </a:lnTo>
                      <a:lnTo>
                        <a:pt x="398" y="433"/>
                      </a:lnTo>
                      <a:lnTo>
                        <a:pt x="398" y="432"/>
                      </a:lnTo>
                      <a:lnTo>
                        <a:pt x="397" y="432"/>
                      </a:lnTo>
                      <a:lnTo>
                        <a:pt x="396" y="432"/>
                      </a:lnTo>
                      <a:lnTo>
                        <a:pt x="396" y="432"/>
                      </a:lnTo>
                      <a:lnTo>
                        <a:pt x="395" y="432"/>
                      </a:lnTo>
                      <a:lnTo>
                        <a:pt x="394" y="432"/>
                      </a:lnTo>
                      <a:lnTo>
                        <a:pt x="394" y="433"/>
                      </a:lnTo>
                      <a:lnTo>
                        <a:pt x="394" y="432"/>
                      </a:lnTo>
                      <a:lnTo>
                        <a:pt x="394" y="433"/>
                      </a:lnTo>
                      <a:lnTo>
                        <a:pt x="394" y="433"/>
                      </a:lnTo>
                      <a:lnTo>
                        <a:pt x="394" y="432"/>
                      </a:lnTo>
                      <a:lnTo>
                        <a:pt x="393" y="432"/>
                      </a:lnTo>
                      <a:lnTo>
                        <a:pt x="393" y="432"/>
                      </a:lnTo>
                      <a:lnTo>
                        <a:pt x="393" y="432"/>
                      </a:lnTo>
                      <a:lnTo>
                        <a:pt x="393" y="431"/>
                      </a:lnTo>
                      <a:lnTo>
                        <a:pt x="392" y="431"/>
                      </a:lnTo>
                      <a:lnTo>
                        <a:pt x="392" y="431"/>
                      </a:lnTo>
                      <a:lnTo>
                        <a:pt x="391" y="431"/>
                      </a:lnTo>
                      <a:lnTo>
                        <a:pt x="390" y="431"/>
                      </a:lnTo>
                      <a:lnTo>
                        <a:pt x="390" y="431"/>
                      </a:lnTo>
                      <a:lnTo>
                        <a:pt x="389" y="431"/>
                      </a:lnTo>
                      <a:lnTo>
                        <a:pt x="389" y="431"/>
                      </a:lnTo>
                      <a:lnTo>
                        <a:pt x="389" y="431"/>
                      </a:lnTo>
                      <a:lnTo>
                        <a:pt x="388" y="431"/>
                      </a:lnTo>
                      <a:lnTo>
                        <a:pt x="388" y="431"/>
                      </a:lnTo>
                      <a:lnTo>
                        <a:pt x="388" y="431"/>
                      </a:lnTo>
                      <a:lnTo>
                        <a:pt x="388" y="431"/>
                      </a:lnTo>
                      <a:lnTo>
                        <a:pt x="387" y="431"/>
                      </a:lnTo>
                      <a:lnTo>
                        <a:pt x="386" y="431"/>
                      </a:lnTo>
                      <a:lnTo>
                        <a:pt x="386" y="431"/>
                      </a:lnTo>
                      <a:lnTo>
                        <a:pt x="385" y="431"/>
                      </a:lnTo>
                      <a:lnTo>
                        <a:pt x="385" y="432"/>
                      </a:lnTo>
                      <a:lnTo>
                        <a:pt x="385" y="432"/>
                      </a:lnTo>
                      <a:lnTo>
                        <a:pt x="384" y="432"/>
                      </a:lnTo>
                      <a:lnTo>
                        <a:pt x="384" y="431"/>
                      </a:lnTo>
                      <a:lnTo>
                        <a:pt x="383" y="431"/>
                      </a:lnTo>
                      <a:lnTo>
                        <a:pt x="383" y="431"/>
                      </a:lnTo>
                      <a:lnTo>
                        <a:pt x="383" y="432"/>
                      </a:lnTo>
                      <a:lnTo>
                        <a:pt x="382" y="432"/>
                      </a:lnTo>
                      <a:lnTo>
                        <a:pt x="382" y="432"/>
                      </a:lnTo>
                      <a:lnTo>
                        <a:pt x="381" y="432"/>
                      </a:lnTo>
                      <a:lnTo>
                        <a:pt x="381" y="432"/>
                      </a:lnTo>
                      <a:lnTo>
                        <a:pt x="381" y="432"/>
                      </a:lnTo>
                      <a:lnTo>
                        <a:pt x="381" y="433"/>
                      </a:lnTo>
                      <a:lnTo>
                        <a:pt x="381" y="432"/>
                      </a:lnTo>
                      <a:lnTo>
                        <a:pt x="380" y="432"/>
                      </a:lnTo>
                      <a:lnTo>
                        <a:pt x="379" y="432"/>
                      </a:lnTo>
                      <a:lnTo>
                        <a:pt x="379" y="432"/>
                      </a:lnTo>
                      <a:lnTo>
                        <a:pt x="379" y="433"/>
                      </a:lnTo>
                      <a:lnTo>
                        <a:pt x="379" y="433"/>
                      </a:lnTo>
                      <a:lnTo>
                        <a:pt x="378" y="433"/>
                      </a:lnTo>
                      <a:lnTo>
                        <a:pt x="378" y="434"/>
                      </a:lnTo>
                      <a:lnTo>
                        <a:pt x="378" y="434"/>
                      </a:lnTo>
                      <a:lnTo>
                        <a:pt x="377" y="434"/>
                      </a:lnTo>
                      <a:lnTo>
                        <a:pt x="377" y="435"/>
                      </a:lnTo>
                      <a:lnTo>
                        <a:pt x="377" y="435"/>
                      </a:lnTo>
                      <a:lnTo>
                        <a:pt x="376" y="435"/>
                      </a:lnTo>
                      <a:lnTo>
                        <a:pt x="376" y="434"/>
                      </a:lnTo>
                      <a:lnTo>
                        <a:pt x="375" y="434"/>
                      </a:lnTo>
                      <a:lnTo>
                        <a:pt x="375" y="434"/>
                      </a:lnTo>
                      <a:lnTo>
                        <a:pt x="374" y="435"/>
                      </a:lnTo>
                      <a:lnTo>
                        <a:pt x="374" y="434"/>
                      </a:lnTo>
                      <a:lnTo>
                        <a:pt x="374" y="434"/>
                      </a:lnTo>
                      <a:lnTo>
                        <a:pt x="374" y="435"/>
                      </a:lnTo>
                      <a:lnTo>
                        <a:pt x="373" y="435"/>
                      </a:lnTo>
                      <a:lnTo>
                        <a:pt x="373" y="434"/>
                      </a:lnTo>
                      <a:lnTo>
                        <a:pt x="372" y="434"/>
                      </a:lnTo>
                      <a:lnTo>
                        <a:pt x="372" y="434"/>
                      </a:lnTo>
                      <a:lnTo>
                        <a:pt x="372" y="433"/>
                      </a:lnTo>
                      <a:lnTo>
                        <a:pt x="371" y="433"/>
                      </a:lnTo>
                      <a:lnTo>
                        <a:pt x="371" y="433"/>
                      </a:lnTo>
                      <a:lnTo>
                        <a:pt x="371" y="434"/>
                      </a:lnTo>
                      <a:lnTo>
                        <a:pt x="371" y="433"/>
                      </a:lnTo>
                      <a:lnTo>
                        <a:pt x="371" y="434"/>
                      </a:lnTo>
                      <a:lnTo>
                        <a:pt x="370" y="434"/>
                      </a:lnTo>
                      <a:lnTo>
                        <a:pt x="370" y="433"/>
                      </a:lnTo>
                      <a:lnTo>
                        <a:pt x="370" y="433"/>
                      </a:lnTo>
                      <a:lnTo>
                        <a:pt x="370" y="432"/>
                      </a:lnTo>
                      <a:lnTo>
                        <a:pt x="370" y="432"/>
                      </a:lnTo>
                      <a:lnTo>
                        <a:pt x="369" y="432"/>
                      </a:lnTo>
                      <a:lnTo>
                        <a:pt x="368" y="432"/>
                      </a:lnTo>
                      <a:lnTo>
                        <a:pt x="368" y="432"/>
                      </a:lnTo>
                      <a:lnTo>
                        <a:pt x="367" y="432"/>
                      </a:lnTo>
                      <a:lnTo>
                        <a:pt x="367" y="432"/>
                      </a:lnTo>
                      <a:lnTo>
                        <a:pt x="367" y="432"/>
                      </a:lnTo>
                      <a:lnTo>
                        <a:pt x="366" y="432"/>
                      </a:lnTo>
                      <a:lnTo>
                        <a:pt x="366" y="431"/>
                      </a:lnTo>
                      <a:lnTo>
                        <a:pt x="366" y="431"/>
                      </a:lnTo>
                      <a:lnTo>
                        <a:pt x="366" y="432"/>
                      </a:lnTo>
                      <a:lnTo>
                        <a:pt x="365" y="431"/>
                      </a:lnTo>
                      <a:lnTo>
                        <a:pt x="365" y="431"/>
                      </a:lnTo>
                      <a:lnTo>
                        <a:pt x="365" y="430"/>
                      </a:lnTo>
                      <a:lnTo>
                        <a:pt x="364" y="430"/>
                      </a:lnTo>
                      <a:lnTo>
                        <a:pt x="364" y="429"/>
                      </a:lnTo>
                      <a:lnTo>
                        <a:pt x="364" y="429"/>
                      </a:lnTo>
                      <a:lnTo>
                        <a:pt x="364" y="429"/>
                      </a:lnTo>
                      <a:lnTo>
                        <a:pt x="363" y="429"/>
                      </a:lnTo>
                      <a:lnTo>
                        <a:pt x="363" y="428"/>
                      </a:lnTo>
                      <a:lnTo>
                        <a:pt x="363" y="429"/>
                      </a:lnTo>
                      <a:lnTo>
                        <a:pt x="363" y="428"/>
                      </a:lnTo>
                      <a:lnTo>
                        <a:pt x="363" y="428"/>
                      </a:lnTo>
                      <a:lnTo>
                        <a:pt x="362" y="428"/>
                      </a:lnTo>
                      <a:lnTo>
                        <a:pt x="363" y="428"/>
                      </a:lnTo>
                      <a:lnTo>
                        <a:pt x="363" y="427"/>
                      </a:lnTo>
                      <a:lnTo>
                        <a:pt x="362" y="427"/>
                      </a:lnTo>
                      <a:lnTo>
                        <a:pt x="362" y="426"/>
                      </a:lnTo>
                      <a:lnTo>
                        <a:pt x="362" y="426"/>
                      </a:lnTo>
                      <a:lnTo>
                        <a:pt x="362" y="426"/>
                      </a:lnTo>
                      <a:lnTo>
                        <a:pt x="362" y="425"/>
                      </a:lnTo>
                      <a:lnTo>
                        <a:pt x="362" y="425"/>
                      </a:lnTo>
                      <a:lnTo>
                        <a:pt x="362" y="425"/>
                      </a:lnTo>
                      <a:lnTo>
                        <a:pt x="362" y="425"/>
                      </a:lnTo>
                      <a:lnTo>
                        <a:pt x="362" y="425"/>
                      </a:lnTo>
                      <a:lnTo>
                        <a:pt x="362" y="424"/>
                      </a:lnTo>
                      <a:lnTo>
                        <a:pt x="362" y="424"/>
                      </a:lnTo>
                      <a:lnTo>
                        <a:pt x="361" y="424"/>
                      </a:lnTo>
                      <a:lnTo>
                        <a:pt x="361" y="423"/>
                      </a:lnTo>
                      <a:lnTo>
                        <a:pt x="362" y="423"/>
                      </a:lnTo>
                      <a:lnTo>
                        <a:pt x="361" y="423"/>
                      </a:lnTo>
                      <a:lnTo>
                        <a:pt x="361" y="422"/>
                      </a:lnTo>
                      <a:lnTo>
                        <a:pt x="362" y="422"/>
                      </a:lnTo>
                      <a:lnTo>
                        <a:pt x="361" y="422"/>
                      </a:lnTo>
                      <a:lnTo>
                        <a:pt x="361" y="421"/>
                      </a:lnTo>
                      <a:lnTo>
                        <a:pt x="361" y="421"/>
                      </a:lnTo>
                      <a:lnTo>
                        <a:pt x="362" y="421"/>
                      </a:lnTo>
                      <a:lnTo>
                        <a:pt x="361" y="420"/>
                      </a:lnTo>
                      <a:lnTo>
                        <a:pt x="361" y="420"/>
                      </a:lnTo>
                      <a:lnTo>
                        <a:pt x="360" y="420"/>
                      </a:lnTo>
                      <a:lnTo>
                        <a:pt x="360" y="420"/>
                      </a:lnTo>
                      <a:lnTo>
                        <a:pt x="359" y="420"/>
                      </a:lnTo>
                      <a:lnTo>
                        <a:pt x="359" y="420"/>
                      </a:lnTo>
                      <a:lnTo>
                        <a:pt x="359" y="419"/>
                      </a:lnTo>
                      <a:lnTo>
                        <a:pt x="358" y="419"/>
                      </a:lnTo>
                      <a:lnTo>
                        <a:pt x="357" y="419"/>
                      </a:lnTo>
                      <a:lnTo>
                        <a:pt x="357" y="419"/>
                      </a:lnTo>
                      <a:lnTo>
                        <a:pt x="357" y="418"/>
                      </a:lnTo>
                      <a:lnTo>
                        <a:pt x="356" y="418"/>
                      </a:lnTo>
                      <a:lnTo>
                        <a:pt x="356" y="418"/>
                      </a:lnTo>
                      <a:lnTo>
                        <a:pt x="356" y="419"/>
                      </a:lnTo>
                      <a:lnTo>
                        <a:pt x="355" y="419"/>
                      </a:lnTo>
                      <a:lnTo>
                        <a:pt x="355" y="419"/>
                      </a:lnTo>
                      <a:lnTo>
                        <a:pt x="355" y="418"/>
                      </a:lnTo>
                      <a:lnTo>
                        <a:pt x="354" y="418"/>
                      </a:lnTo>
                      <a:lnTo>
                        <a:pt x="354" y="418"/>
                      </a:lnTo>
                      <a:lnTo>
                        <a:pt x="353" y="418"/>
                      </a:lnTo>
                      <a:lnTo>
                        <a:pt x="353" y="418"/>
                      </a:lnTo>
                      <a:lnTo>
                        <a:pt x="353" y="417"/>
                      </a:lnTo>
                      <a:lnTo>
                        <a:pt x="352" y="418"/>
                      </a:lnTo>
                      <a:lnTo>
                        <a:pt x="352" y="417"/>
                      </a:lnTo>
                      <a:lnTo>
                        <a:pt x="352" y="417"/>
                      </a:lnTo>
                      <a:lnTo>
                        <a:pt x="352" y="417"/>
                      </a:lnTo>
                      <a:lnTo>
                        <a:pt x="351" y="417"/>
                      </a:lnTo>
                      <a:lnTo>
                        <a:pt x="351" y="417"/>
                      </a:lnTo>
                      <a:lnTo>
                        <a:pt x="350" y="416"/>
                      </a:lnTo>
                      <a:lnTo>
                        <a:pt x="349" y="416"/>
                      </a:lnTo>
                      <a:lnTo>
                        <a:pt x="349" y="415"/>
                      </a:lnTo>
                      <a:lnTo>
                        <a:pt x="349" y="416"/>
                      </a:lnTo>
                      <a:lnTo>
                        <a:pt x="349" y="415"/>
                      </a:lnTo>
                      <a:lnTo>
                        <a:pt x="349" y="415"/>
                      </a:lnTo>
                      <a:lnTo>
                        <a:pt x="348" y="415"/>
                      </a:lnTo>
                      <a:lnTo>
                        <a:pt x="348" y="415"/>
                      </a:lnTo>
                      <a:lnTo>
                        <a:pt x="347" y="415"/>
                      </a:lnTo>
                      <a:lnTo>
                        <a:pt x="346" y="415"/>
                      </a:lnTo>
                      <a:lnTo>
                        <a:pt x="346" y="415"/>
                      </a:lnTo>
                      <a:lnTo>
                        <a:pt x="345" y="415"/>
                      </a:lnTo>
                      <a:lnTo>
                        <a:pt x="345" y="415"/>
                      </a:lnTo>
                      <a:lnTo>
                        <a:pt x="344" y="415"/>
                      </a:lnTo>
                      <a:lnTo>
                        <a:pt x="344" y="415"/>
                      </a:lnTo>
                      <a:lnTo>
                        <a:pt x="343" y="415"/>
                      </a:lnTo>
                      <a:lnTo>
                        <a:pt x="343" y="415"/>
                      </a:lnTo>
                      <a:lnTo>
                        <a:pt x="342" y="415"/>
                      </a:lnTo>
                      <a:lnTo>
                        <a:pt x="342" y="414"/>
                      </a:lnTo>
                      <a:lnTo>
                        <a:pt x="342" y="414"/>
                      </a:lnTo>
                      <a:lnTo>
                        <a:pt x="342" y="413"/>
                      </a:lnTo>
                      <a:lnTo>
                        <a:pt x="342" y="413"/>
                      </a:lnTo>
                      <a:lnTo>
                        <a:pt x="341" y="414"/>
                      </a:lnTo>
                      <a:lnTo>
                        <a:pt x="341" y="414"/>
                      </a:lnTo>
                      <a:lnTo>
                        <a:pt x="341" y="413"/>
                      </a:lnTo>
                      <a:lnTo>
                        <a:pt x="340" y="413"/>
                      </a:lnTo>
                      <a:lnTo>
                        <a:pt x="340" y="413"/>
                      </a:lnTo>
                      <a:lnTo>
                        <a:pt x="340" y="413"/>
                      </a:lnTo>
                      <a:lnTo>
                        <a:pt x="340" y="413"/>
                      </a:lnTo>
                      <a:lnTo>
                        <a:pt x="340" y="413"/>
                      </a:lnTo>
                      <a:lnTo>
                        <a:pt x="339" y="413"/>
                      </a:lnTo>
                      <a:lnTo>
                        <a:pt x="339" y="413"/>
                      </a:lnTo>
                      <a:lnTo>
                        <a:pt x="338" y="413"/>
                      </a:lnTo>
                      <a:lnTo>
                        <a:pt x="338" y="413"/>
                      </a:lnTo>
                      <a:lnTo>
                        <a:pt x="338" y="412"/>
                      </a:lnTo>
                      <a:lnTo>
                        <a:pt x="337" y="412"/>
                      </a:lnTo>
                      <a:lnTo>
                        <a:pt x="337" y="412"/>
                      </a:lnTo>
                      <a:lnTo>
                        <a:pt x="337" y="411"/>
                      </a:lnTo>
                      <a:lnTo>
                        <a:pt x="336" y="411"/>
                      </a:lnTo>
                      <a:lnTo>
                        <a:pt x="336" y="411"/>
                      </a:lnTo>
                      <a:lnTo>
                        <a:pt x="336" y="411"/>
                      </a:lnTo>
                      <a:lnTo>
                        <a:pt x="336" y="410"/>
                      </a:lnTo>
                      <a:lnTo>
                        <a:pt x="335" y="410"/>
                      </a:lnTo>
                      <a:lnTo>
                        <a:pt x="335" y="411"/>
                      </a:lnTo>
                      <a:lnTo>
                        <a:pt x="334" y="411"/>
                      </a:lnTo>
                      <a:lnTo>
                        <a:pt x="334" y="411"/>
                      </a:lnTo>
                      <a:lnTo>
                        <a:pt x="334" y="412"/>
                      </a:lnTo>
                      <a:lnTo>
                        <a:pt x="334" y="413"/>
                      </a:lnTo>
                      <a:lnTo>
                        <a:pt x="334" y="413"/>
                      </a:lnTo>
                      <a:lnTo>
                        <a:pt x="334" y="413"/>
                      </a:lnTo>
                      <a:lnTo>
                        <a:pt x="334" y="413"/>
                      </a:lnTo>
                      <a:lnTo>
                        <a:pt x="334" y="413"/>
                      </a:lnTo>
                      <a:lnTo>
                        <a:pt x="334" y="414"/>
                      </a:lnTo>
                      <a:lnTo>
                        <a:pt x="334" y="414"/>
                      </a:lnTo>
                      <a:lnTo>
                        <a:pt x="333" y="414"/>
                      </a:lnTo>
                      <a:lnTo>
                        <a:pt x="333" y="414"/>
                      </a:lnTo>
                      <a:lnTo>
                        <a:pt x="333" y="415"/>
                      </a:lnTo>
                      <a:lnTo>
                        <a:pt x="332" y="415"/>
                      </a:lnTo>
                      <a:lnTo>
                        <a:pt x="331" y="415"/>
                      </a:lnTo>
                      <a:lnTo>
                        <a:pt x="331" y="415"/>
                      </a:lnTo>
                      <a:lnTo>
                        <a:pt x="331" y="416"/>
                      </a:lnTo>
                      <a:lnTo>
                        <a:pt x="330" y="416"/>
                      </a:lnTo>
                      <a:lnTo>
                        <a:pt x="330" y="417"/>
                      </a:lnTo>
                      <a:lnTo>
                        <a:pt x="330" y="417"/>
                      </a:lnTo>
                      <a:lnTo>
                        <a:pt x="330" y="417"/>
                      </a:lnTo>
                      <a:lnTo>
                        <a:pt x="330" y="418"/>
                      </a:lnTo>
                      <a:lnTo>
                        <a:pt x="330" y="418"/>
                      </a:lnTo>
                      <a:lnTo>
                        <a:pt x="330" y="419"/>
                      </a:lnTo>
                      <a:lnTo>
                        <a:pt x="329" y="419"/>
                      </a:lnTo>
                      <a:lnTo>
                        <a:pt x="329" y="418"/>
                      </a:lnTo>
                      <a:lnTo>
                        <a:pt x="329" y="418"/>
                      </a:lnTo>
                      <a:lnTo>
                        <a:pt x="329" y="419"/>
                      </a:lnTo>
                      <a:lnTo>
                        <a:pt x="328" y="419"/>
                      </a:lnTo>
                      <a:lnTo>
                        <a:pt x="328" y="420"/>
                      </a:lnTo>
                      <a:lnTo>
                        <a:pt x="327" y="420"/>
                      </a:lnTo>
                      <a:lnTo>
                        <a:pt x="328" y="420"/>
                      </a:lnTo>
                      <a:lnTo>
                        <a:pt x="327" y="420"/>
                      </a:lnTo>
                      <a:lnTo>
                        <a:pt x="328" y="420"/>
                      </a:lnTo>
                      <a:lnTo>
                        <a:pt x="327" y="420"/>
                      </a:lnTo>
                      <a:lnTo>
                        <a:pt x="327" y="421"/>
                      </a:lnTo>
                      <a:lnTo>
                        <a:pt x="327" y="421"/>
                      </a:lnTo>
                      <a:lnTo>
                        <a:pt x="327" y="422"/>
                      </a:lnTo>
                      <a:lnTo>
                        <a:pt x="327" y="422"/>
                      </a:lnTo>
                      <a:lnTo>
                        <a:pt x="327" y="422"/>
                      </a:lnTo>
                      <a:lnTo>
                        <a:pt x="327" y="423"/>
                      </a:lnTo>
                      <a:lnTo>
                        <a:pt x="327" y="424"/>
                      </a:lnTo>
                      <a:lnTo>
                        <a:pt x="327" y="424"/>
                      </a:lnTo>
                      <a:lnTo>
                        <a:pt x="326" y="424"/>
                      </a:lnTo>
                      <a:lnTo>
                        <a:pt x="327" y="424"/>
                      </a:lnTo>
                      <a:lnTo>
                        <a:pt x="327" y="425"/>
                      </a:lnTo>
                      <a:lnTo>
                        <a:pt x="327" y="425"/>
                      </a:lnTo>
                      <a:lnTo>
                        <a:pt x="327" y="425"/>
                      </a:lnTo>
                      <a:lnTo>
                        <a:pt x="328" y="425"/>
                      </a:lnTo>
                      <a:lnTo>
                        <a:pt x="328" y="426"/>
                      </a:lnTo>
                      <a:lnTo>
                        <a:pt x="328" y="426"/>
                      </a:lnTo>
                      <a:lnTo>
                        <a:pt x="327" y="426"/>
                      </a:lnTo>
                      <a:lnTo>
                        <a:pt x="327" y="427"/>
                      </a:lnTo>
                      <a:lnTo>
                        <a:pt x="327" y="428"/>
                      </a:lnTo>
                      <a:lnTo>
                        <a:pt x="328" y="428"/>
                      </a:lnTo>
                      <a:lnTo>
                        <a:pt x="328" y="428"/>
                      </a:lnTo>
                      <a:lnTo>
                        <a:pt x="328" y="429"/>
                      </a:lnTo>
                      <a:lnTo>
                        <a:pt x="329" y="429"/>
                      </a:lnTo>
                      <a:lnTo>
                        <a:pt x="329" y="429"/>
                      </a:lnTo>
                      <a:lnTo>
                        <a:pt x="329" y="429"/>
                      </a:lnTo>
                      <a:lnTo>
                        <a:pt x="329" y="429"/>
                      </a:lnTo>
                      <a:lnTo>
                        <a:pt x="329" y="429"/>
                      </a:lnTo>
                      <a:lnTo>
                        <a:pt x="330" y="429"/>
                      </a:lnTo>
                      <a:lnTo>
                        <a:pt x="330" y="430"/>
                      </a:lnTo>
                      <a:lnTo>
                        <a:pt x="330" y="430"/>
                      </a:lnTo>
                      <a:lnTo>
                        <a:pt x="330" y="431"/>
                      </a:lnTo>
                      <a:lnTo>
                        <a:pt x="330" y="431"/>
                      </a:lnTo>
                      <a:lnTo>
                        <a:pt x="330" y="431"/>
                      </a:lnTo>
                      <a:lnTo>
                        <a:pt x="330" y="431"/>
                      </a:lnTo>
                      <a:lnTo>
                        <a:pt x="330" y="431"/>
                      </a:lnTo>
                      <a:lnTo>
                        <a:pt x="330" y="432"/>
                      </a:lnTo>
                      <a:lnTo>
                        <a:pt x="330" y="432"/>
                      </a:lnTo>
                      <a:lnTo>
                        <a:pt x="330" y="432"/>
                      </a:lnTo>
                      <a:lnTo>
                        <a:pt x="330" y="432"/>
                      </a:lnTo>
                      <a:lnTo>
                        <a:pt x="330" y="433"/>
                      </a:lnTo>
                      <a:lnTo>
                        <a:pt x="330" y="433"/>
                      </a:lnTo>
                      <a:lnTo>
                        <a:pt x="329" y="433"/>
                      </a:lnTo>
                      <a:lnTo>
                        <a:pt x="329" y="434"/>
                      </a:lnTo>
                      <a:lnTo>
                        <a:pt x="329" y="435"/>
                      </a:lnTo>
                      <a:lnTo>
                        <a:pt x="329" y="435"/>
                      </a:lnTo>
                      <a:lnTo>
                        <a:pt x="329" y="435"/>
                      </a:lnTo>
                      <a:lnTo>
                        <a:pt x="329" y="436"/>
                      </a:lnTo>
                      <a:lnTo>
                        <a:pt x="328" y="436"/>
                      </a:lnTo>
                      <a:lnTo>
                        <a:pt x="327" y="436"/>
                      </a:lnTo>
                      <a:lnTo>
                        <a:pt x="327" y="436"/>
                      </a:lnTo>
                      <a:lnTo>
                        <a:pt x="327" y="436"/>
                      </a:lnTo>
                      <a:lnTo>
                        <a:pt x="327" y="437"/>
                      </a:lnTo>
                      <a:lnTo>
                        <a:pt x="326" y="437"/>
                      </a:lnTo>
                      <a:lnTo>
                        <a:pt x="326" y="436"/>
                      </a:lnTo>
                      <a:lnTo>
                        <a:pt x="326" y="436"/>
                      </a:lnTo>
                      <a:lnTo>
                        <a:pt x="325" y="436"/>
                      </a:lnTo>
                      <a:lnTo>
                        <a:pt x="325" y="437"/>
                      </a:lnTo>
                      <a:lnTo>
                        <a:pt x="325" y="437"/>
                      </a:lnTo>
                      <a:lnTo>
                        <a:pt x="324" y="437"/>
                      </a:lnTo>
                      <a:lnTo>
                        <a:pt x="325" y="437"/>
                      </a:lnTo>
                      <a:lnTo>
                        <a:pt x="325" y="437"/>
                      </a:lnTo>
                      <a:lnTo>
                        <a:pt x="325" y="438"/>
                      </a:lnTo>
                      <a:lnTo>
                        <a:pt x="324" y="438"/>
                      </a:lnTo>
                      <a:lnTo>
                        <a:pt x="323" y="439"/>
                      </a:lnTo>
                      <a:lnTo>
                        <a:pt x="323" y="439"/>
                      </a:lnTo>
                      <a:lnTo>
                        <a:pt x="322" y="439"/>
                      </a:lnTo>
                      <a:lnTo>
                        <a:pt x="322" y="439"/>
                      </a:lnTo>
                      <a:lnTo>
                        <a:pt x="322" y="439"/>
                      </a:lnTo>
                      <a:lnTo>
                        <a:pt x="321" y="439"/>
                      </a:lnTo>
                      <a:lnTo>
                        <a:pt x="320" y="439"/>
                      </a:lnTo>
                      <a:lnTo>
                        <a:pt x="321" y="439"/>
                      </a:lnTo>
                      <a:lnTo>
                        <a:pt x="320" y="438"/>
                      </a:lnTo>
                      <a:lnTo>
                        <a:pt x="320" y="438"/>
                      </a:lnTo>
                      <a:lnTo>
                        <a:pt x="320" y="437"/>
                      </a:lnTo>
                      <a:lnTo>
                        <a:pt x="319" y="437"/>
                      </a:lnTo>
                      <a:lnTo>
                        <a:pt x="319" y="437"/>
                      </a:lnTo>
                      <a:lnTo>
                        <a:pt x="318" y="437"/>
                      </a:lnTo>
                      <a:lnTo>
                        <a:pt x="318" y="437"/>
                      </a:lnTo>
                      <a:lnTo>
                        <a:pt x="318" y="437"/>
                      </a:lnTo>
                      <a:lnTo>
                        <a:pt x="317" y="437"/>
                      </a:lnTo>
                      <a:lnTo>
                        <a:pt x="317" y="437"/>
                      </a:lnTo>
                      <a:lnTo>
                        <a:pt x="316" y="437"/>
                      </a:lnTo>
                      <a:lnTo>
                        <a:pt x="316" y="437"/>
                      </a:lnTo>
                      <a:lnTo>
                        <a:pt x="316" y="437"/>
                      </a:lnTo>
                      <a:lnTo>
                        <a:pt x="315" y="437"/>
                      </a:lnTo>
                      <a:lnTo>
                        <a:pt x="315" y="437"/>
                      </a:lnTo>
                      <a:lnTo>
                        <a:pt x="315" y="437"/>
                      </a:lnTo>
                      <a:lnTo>
                        <a:pt x="315" y="437"/>
                      </a:lnTo>
                      <a:lnTo>
                        <a:pt x="314" y="437"/>
                      </a:lnTo>
                      <a:lnTo>
                        <a:pt x="314" y="436"/>
                      </a:lnTo>
                      <a:lnTo>
                        <a:pt x="314" y="436"/>
                      </a:lnTo>
                      <a:lnTo>
                        <a:pt x="313" y="436"/>
                      </a:lnTo>
                      <a:lnTo>
                        <a:pt x="312" y="436"/>
                      </a:lnTo>
                      <a:lnTo>
                        <a:pt x="312" y="436"/>
                      </a:lnTo>
                      <a:lnTo>
                        <a:pt x="312" y="436"/>
                      </a:lnTo>
                      <a:lnTo>
                        <a:pt x="312" y="436"/>
                      </a:lnTo>
                      <a:lnTo>
                        <a:pt x="311" y="436"/>
                      </a:lnTo>
                      <a:lnTo>
                        <a:pt x="311" y="436"/>
                      </a:lnTo>
                      <a:lnTo>
                        <a:pt x="311" y="436"/>
                      </a:lnTo>
                      <a:lnTo>
                        <a:pt x="310" y="436"/>
                      </a:lnTo>
                      <a:lnTo>
                        <a:pt x="310" y="436"/>
                      </a:lnTo>
                      <a:lnTo>
                        <a:pt x="310" y="436"/>
                      </a:lnTo>
                      <a:lnTo>
                        <a:pt x="310" y="437"/>
                      </a:lnTo>
                      <a:lnTo>
                        <a:pt x="310" y="436"/>
                      </a:lnTo>
                      <a:lnTo>
                        <a:pt x="310" y="437"/>
                      </a:lnTo>
                      <a:lnTo>
                        <a:pt x="309" y="436"/>
                      </a:lnTo>
                      <a:lnTo>
                        <a:pt x="309" y="437"/>
                      </a:lnTo>
                      <a:lnTo>
                        <a:pt x="308" y="437"/>
                      </a:lnTo>
                      <a:lnTo>
                        <a:pt x="308" y="437"/>
                      </a:lnTo>
                      <a:lnTo>
                        <a:pt x="308" y="437"/>
                      </a:lnTo>
                      <a:lnTo>
                        <a:pt x="308" y="437"/>
                      </a:lnTo>
                      <a:lnTo>
                        <a:pt x="307" y="437"/>
                      </a:lnTo>
                      <a:lnTo>
                        <a:pt x="306" y="437"/>
                      </a:lnTo>
                      <a:lnTo>
                        <a:pt x="305" y="436"/>
                      </a:lnTo>
                      <a:lnTo>
                        <a:pt x="305" y="436"/>
                      </a:lnTo>
                      <a:lnTo>
                        <a:pt x="304" y="436"/>
                      </a:lnTo>
                      <a:lnTo>
                        <a:pt x="304" y="436"/>
                      </a:lnTo>
                      <a:lnTo>
                        <a:pt x="304" y="436"/>
                      </a:lnTo>
                      <a:lnTo>
                        <a:pt x="303" y="436"/>
                      </a:lnTo>
                      <a:lnTo>
                        <a:pt x="303" y="436"/>
                      </a:lnTo>
                      <a:lnTo>
                        <a:pt x="302" y="436"/>
                      </a:lnTo>
                      <a:lnTo>
                        <a:pt x="301" y="436"/>
                      </a:lnTo>
                      <a:lnTo>
                        <a:pt x="301" y="435"/>
                      </a:lnTo>
                      <a:lnTo>
                        <a:pt x="300" y="435"/>
                      </a:lnTo>
                      <a:lnTo>
                        <a:pt x="300" y="435"/>
                      </a:lnTo>
                      <a:lnTo>
                        <a:pt x="300" y="435"/>
                      </a:lnTo>
                      <a:lnTo>
                        <a:pt x="300" y="434"/>
                      </a:lnTo>
                      <a:lnTo>
                        <a:pt x="299" y="434"/>
                      </a:lnTo>
                      <a:lnTo>
                        <a:pt x="299" y="433"/>
                      </a:lnTo>
                      <a:lnTo>
                        <a:pt x="299" y="433"/>
                      </a:lnTo>
                      <a:lnTo>
                        <a:pt x="299" y="433"/>
                      </a:lnTo>
                      <a:lnTo>
                        <a:pt x="299" y="432"/>
                      </a:lnTo>
                      <a:lnTo>
                        <a:pt x="299" y="431"/>
                      </a:lnTo>
                      <a:lnTo>
                        <a:pt x="299" y="430"/>
                      </a:lnTo>
                      <a:lnTo>
                        <a:pt x="298" y="430"/>
                      </a:lnTo>
                      <a:lnTo>
                        <a:pt x="298" y="429"/>
                      </a:lnTo>
                      <a:lnTo>
                        <a:pt x="297" y="429"/>
                      </a:lnTo>
                      <a:lnTo>
                        <a:pt x="297" y="429"/>
                      </a:lnTo>
                      <a:lnTo>
                        <a:pt x="296" y="429"/>
                      </a:lnTo>
                      <a:lnTo>
                        <a:pt x="296" y="429"/>
                      </a:lnTo>
                      <a:lnTo>
                        <a:pt x="295" y="429"/>
                      </a:lnTo>
                      <a:lnTo>
                        <a:pt x="295" y="429"/>
                      </a:lnTo>
                      <a:lnTo>
                        <a:pt x="295" y="429"/>
                      </a:lnTo>
                      <a:lnTo>
                        <a:pt x="294" y="429"/>
                      </a:lnTo>
                      <a:lnTo>
                        <a:pt x="293" y="429"/>
                      </a:lnTo>
                      <a:lnTo>
                        <a:pt x="293" y="429"/>
                      </a:lnTo>
                      <a:lnTo>
                        <a:pt x="293" y="429"/>
                      </a:lnTo>
                      <a:lnTo>
                        <a:pt x="292" y="429"/>
                      </a:lnTo>
                      <a:lnTo>
                        <a:pt x="292" y="429"/>
                      </a:lnTo>
                      <a:lnTo>
                        <a:pt x="291" y="429"/>
                      </a:lnTo>
                      <a:lnTo>
                        <a:pt x="290" y="429"/>
                      </a:lnTo>
                      <a:lnTo>
                        <a:pt x="290" y="429"/>
                      </a:lnTo>
                      <a:lnTo>
                        <a:pt x="289" y="429"/>
                      </a:lnTo>
                      <a:lnTo>
                        <a:pt x="289" y="429"/>
                      </a:lnTo>
                      <a:lnTo>
                        <a:pt x="289" y="429"/>
                      </a:lnTo>
                      <a:lnTo>
                        <a:pt x="289" y="429"/>
                      </a:lnTo>
                      <a:lnTo>
                        <a:pt x="289" y="429"/>
                      </a:lnTo>
                      <a:lnTo>
                        <a:pt x="289" y="429"/>
                      </a:lnTo>
                      <a:lnTo>
                        <a:pt x="288" y="429"/>
                      </a:lnTo>
                      <a:lnTo>
                        <a:pt x="288" y="429"/>
                      </a:lnTo>
                      <a:lnTo>
                        <a:pt x="288" y="428"/>
                      </a:lnTo>
                      <a:lnTo>
                        <a:pt x="288" y="428"/>
                      </a:lnTo>
                      <a:lnTo>
                        <a:pt x="288" y="428"/>
                      </a:lnTo>
                      <a:lnTo>
                        <a:pt x="288" y="427"/>
                      </a:lnTo>
                      <a:lnTo>
                        <a:pt x="288" y="427"/>
                      </a:lnTo>
                      <a:lnTo>
                        <a:pt x="288" y="426"/>
                      </a:lnTo>
                      <a:lnTo>
                        <a:pt x="287" y="426"/>
                      </a:lnTo>
                      <a:lnTo>
                        <a:pt x="287" y="427"/>
                      </a:lnTo>
                      <a:lnTo>
                        <a:pt x="287" y="426"/>
                      </a:lnTo>
                      <a:lnTo>
                        <a:pt x="286" y="426"/>
                      </a:lnTo>
                      <a:lnTo>
                        <a:pt x="286" y="426"/>
                      </a:lnTo>
                      <a:lnTo>
                        <a:pt x="286" y="427"/>
                      </a:lnTo>
                      <a:lnTo>
                        <a:pt x="286" y="428"/>
                      </a:lnTo>
                      <a:lnTo>
                        <a:pt x="285" y="428"/>
                      </a:lnTo>
                      <a:lnTo>
                        <a:pt x="285" y="428"/>
                      </a:lnTo>
                      <a:lnTo>
                        <a:pt x="285" y="427"/>
                      </a:lnTo>
                      <a:lnTo>
                        <a:pt x="285" y="426"/>
                      </a:lnTo>
                      <a:lnTo>
                        <a:pt x="284" y="426"/>
                      </a:lnTo>
                      <a:lnTo>
                        <a:pt x="284" y="427"/>
                      </a:lnTo>
                      <a:lnTo>
                        <a:pt x="284" y="426"/>
                      </a:lnTo>
                      <a:lnTo>
                        <a:pt x="283" y="426"/>
                      </a:lnTo>
                      <a:lnTo>
                        <a:pt x="283" y="426"/>
                      </a:lnTo>
                      <a:lnTo>
                        <a:pt x="282" y="426"/>
                      </a:lnTo>
                      <a:lnTo>
                        <a:pt x="282" y="426"/>
                      </a:lnTo>
                      <a:lnTo>
                        <a:pt x="282" y="426"/>
                      </a:lnTo>
                      <a:lnTo>
                        <a:pt x="282" y="426"/>
                      </a:lnTo>
                      <a:lnTo>
                        <a:pt x="282" y="427"/>
                      </a:lnTo>
                      <a:lnTo>
                        <a:pt x="282" y="427"/>
                      </a:lnTo>
                      <a:lnTo>
                        <a:pt x="282" y="428"/>
                      </a:lnTo>
                      <a:lnTo>
                        <a:pt x="281" y="428"/>
                      </a:lnTo>
                      <a:lnTo>
                        <a:pt x="281" y="428"/>
                      </a:lnTo>
                      <a:lnTo>
                        <a:pt x="280" y="428"/>
                      </a:lnTo>
                      <a:lnTo>
                        <a:pt x="279" y="428"/>
                      </a:lnTo>
                      <a:lnTo>
                        <a:pt x="278" y="428"/>
                      </a:lnTo>
                      <a:lnTo>
                        <a:pt x="278" y="428"/>
                      </a:lnTo>
                      <a:lnTo>
                        <a:pt x="277" y="428"/>
                      </a:lnTo>
                      <a:lnTo>
                        <a:pt x="277" y="429"/>
                      </a:lnTo>
                      <a:lnTo>
                        <a:pt x="277" y="429"/>
                      </a:lnTo>
                      <a:lnTo>
                        <a:pt x="276" y="429"/>
                      </a:lnTo>
                      <a:lnTo>
                        <a:pt x="275" y="429"/>
                      </a:lnTo>
                      <a:lnTo>
                        <a:pt x="275" y="430"/>
                      </a:lnTo>
                      <a:lnTo>
                        <a:pt x="275" y="431"/>
                      </a:lnTo>
                      <a:lnTo>
                        <a:pt x="275" y="431"/>
                      </a:lnTo>
                      <a:lnTo>
                        <a:pt x="274" y="431"/>
                      </a:lnTo>
                      <a:lnTo>
                        <a:pt x="274" y="431"/>
                      </a:lnTo>
                      <a:lnTo>
                        <a:pt x="273" y="431"/>
                      </a:lnTo>
                      <a:lnTo>
                        <a:pt x="273" y="431"/>
                      </a:lnTo>
                      <a:lnTo>
                        <a:pt x="272" y="431"/>
                      </a:lnTo>
                      <a:lnTo>
                        <a:pt x="271" y="431"/>
                      </a:lnTo>
                      <a:lnTo>
                        <a:pt x="271" y="431"/>
                      </a:lnTo>
                      <a:lnTo>
                        <a:pt x="271" y="432"/>
                      </a:lnTo>
                      <a:lnTo>
                        <a:pt x="271" y="432"/>
                      </a:lnTo>
                      <a:lnTo>
                        <a:pt x="271" y="432"/>
                      </a:lnTo>
                      <a:lnTo>
                        <a:pt x="271" y="432"/>
                      </a:lnTo>
                      <a:lnTo>
                        <a:pt x="270" y="432"/>
                      </a:lnTo>
                      <a:lnTo>
                        <a:pt x="270" y="432"/>
                      </a:lnTo>
                      <a:lnTo>
                        <a:pt x="270" y="432"/>
                      </a:lnTo>
                      <a:lnTo>
                        <a:pt x="270" y="432"/>
                      </a:lnTo>
                      <a:lnTo>
                        <a:pt x="269" y="432"/>
                      </a:lnTo>
                      <a:lnTo>
                        <a:pt x="269" y="433"/>
                      </a:lnTo>
                      <a:lnTo>
                        <a:pt x="270" y="433"/>
                      </a:lnTo>
                      <a:lnTo>
                        <a:pt x="270" y="433"/>
                      </a:lnTo>
                      <a:lnTo>
                        <a:pt x="269" y="433"/>
                      </a:lnTo>
                      <a:lnTo>
                        <a:pt x="269" y="433"/>
                      </a:lnTo>
                      <a:lnTo>
                        <a:pt x="268" y="433"/>
                      </a:lnTo>
                      <a:lnTo>
                        <a:pt x="267" y="433"/>
                      </a:lnTo>
                      <a:lnTo>
                        <a:pt x="267" y="434"/>
                      </a:lnTo>
                      <a:lnTo>
                        <a:pt x="267" y="434"/>
                      </a:lnTo>
                      <a:lnTo>
                        <a:pt x="266" y="434"/>
                      </a:lnTo>
                      <a:lnTo>
                        <a:pt x="266" y="435"/>
                      </a:lnTo>
                      <a:lnTo>
                        <a:pt x="266" y="435"/>
                      </a:lnTo>
                      <a:lnTo>
                        <a:pt x="265" y="435"/>
                      </a:lnTo>
                      <a:lnTo>
                        <a:pt x="264" y="435"/>
                      </a:lnTo>
                      <a:lnTo>
                        <a:pt x="264" y="435"/>
                      </a:lnTo>
                      <a:lnTo>
                        <a:pt x="264" y="436"/>
                      </a:lnTo>
                      <a:lnTo>
                        <a:pt x="263" y="436"/>
                      </a:lnTo>
                      <a:lnTo>
                        <a:pt x="264" y="436"/>
                      </a:lnTo>
                      <a:lnTo>
                        <a:pt x="264" y="436"/>
                      </a:lnTo>
                      <a:lnTo>
                        <a:pt x="263" y="436"/>
                      </a:lnTo>
                      <a:lnTo>
                        <a:pt x="263" y="436"/>
                      </a:lnTo>
                      <a:lnTo>
                        <a:pt x="263" y="437"/>
                      </a:lnTo>
                      <a:lnTo>
                        <a:pt x="262" y="437"/>
                      </a:lnTo>
                      <a:lnTo>
                        <a:pt x="262" y="437"/>
                      </a:lnTo>
                      <a:lnTo>
                        <a:pt x="261" y="437"/>
                      </a:lnTo>
                      <a:lnTo>
                        <a:pt x="260" y="437"/>
                      </a:lnTo>
                      <a:lnTo>
                        <a:pt x="260" y="437"/>
                      </a:lnTo>
                      <a:lnTo>
                        <a:pt x="260" y="438"/>
                      </a:lnTo>
                      <a:lnTo>
                        <a:pt x="261" y="438"/>
                      </a:lnTo>
                      <a:lnTo>
                        <a:pt x="260" y="438"/>
                      </a:lnTo>
                      <a:lnTo>
                        <a:pt x="261" y="438"/>
                      </a:lnTo>
                      <a:lnTo>
                        <a:pt x="260" y="438"/>
                      </a:lnTo>
                      <a:lnTo>
                        <a:pt x="260" y="439"/>
                      </a:lnTo>
                      <a:lnTo>
                        <a:pt x="261" y="439"/>
                      </a:lnTo>
                      <a:lnTo>
                        <a:pt x="262" y="439"/>
                      </a:lnTo>
                      <a:lnTo>
                        <a:pt x="261" y="439"/>
                      </a:lnTo>
                      <a:lnTo>
                        <a:pt x="262" y="439"/>
                      </a:lnTo>
                      <a:lnTo>
                        <a:pt x="261" y="439"/>
                      </a:lnTo>
                      <a:lnTo>
                        <a:pt x="262" y="439"/>
                      </a:lnTo>
                      <a:lnTo>
                        <a:pt x="261" y="439"/>
                      </a:lnTo>
                      <a:lnTo>
                        <a:pt x="261" y="440"/>
                      </a:lnTo>
                      <a:lnTo>
                        <a:pt x="260" y="440"/>
                      </a:lnTo>
                      <a:lnTo>
                        <a:pt x="260" y="440"/>
                      </a:lnTo>
                      <a:lnTo>
                        <a:pt x="260" y="440"/>
                      </a:lnTo>
                      <a:lnTo>
                        <a:pt x="259" y="440"/>
                      </a:lnTo>
                      <a:lnTo>
                        <a:pt x="259" y="440"/>
                      </a:lnTo>
                      <a:lnTo>
                        <a:pt x="259" y="441"/>
                      </a:lnTo>
                      <a:lnTo>
                        <a:pt x="258" y="441"/>
                      </a:lnTo>
                      <a:lnTo>
                        <a:pt x="258" y="440"/>
                      </a:lnTo>
                      <a:lnTo>
                        <a:pt x="257" y="440"/>
                      </a:lnTo>
                      <a:lnTo>
                        <a:pt x="257" y="441"/>
                      </a:lnTo>
                      <a:lnTo>
                        <a:pt x="258" y="442"/>
                      </a:lnTo>
                      <a:lnTo>
                        <a:pt x="257" y="442"/>
                      </a:lnTo>
                      <a:lnTo>
                        <a:pt x="257" y="442"/>
                      </a:lnTo>
                      <a:lnTo>
                        <a:pt x="256" y="442"/>
                      </a:lnTo>
                      <a:lnTo>
                        <a:pt x="256" y="442"/>
                      </a:lnTo>
                      <a:lnTo>
                        <a:pt x="256" y="443"/>
                      </a:lnTo>
                      <a:lnTo>
                        <a:pt x="256" y="442"/>
                      </a:lnTo>
                      <a:lnTo>
                        <a:pt x="255" y="443"/>
                      </a:lnTo>
                      <a:lnTo>
                        <a:pt x="255" y="442"/>
                      </a:lnTo>
                      <a:lnTo>
                        <a:pt x="255" y="442"/>
                      </a:lnTo>
                      <a:lnTo>
                        <a:pt x="255" y="442"/>
                      </a:lnTo>
                      <a:lnTo>
                        <a:pt x="255" y="442"/>
                      </a:lnTo>
                      <a:lnTo>
                        <a:pt x="254" y="443"/>
                      </a:lnTo>
                      <a:lnTo>
                        <a:pt x="255" y="443"/>
                      </a:lnTo>
                      <a:lnTo>
                        <a:pt x="254" y="443"/>
                      </a:lnTo>
                      <a:lnTo>
                        <a:pt x="253" y="443"/>
                      </a:lnTo>
                      <a:lnTo>
                        <a:pt x="253" y="443"/>
                      </a:lnTo>
                      <a:lnTo>
                        <a:pt x="253" y="442"/>
                      </a:lnTo>
                      <a:lnTo>
                        <a:pt x="252" y="442"/>
                      </a:lnTo>
                      <a:lnTo>
                        <a:pt x="252" y="442"/>
                      </a:lnTo>
                      <a:lnTo>
                        <a:pt x="251" y="442"/>
                      </a:lnTo>
                      <a:lnTo>
                        <a:pt x="251" y="442"/>
                      </a:lnTo>
                      <a:lnTo>
                        <a:pt x="250" y="442"/>
                      </a:lnTo>
                      <a:lnTo>
                        <a:pt x="249" y="442"/>
                      </a:lnTo>
                      <a:lnTo>
                        <a:pt x="249" y="443"/>
                      </a:lnTo>
                      <a:lnTo>
                        <a:pt x="249" y="443"/>
                      </a:lnTo>
                      <a:lnTo>
                        <a:pt x="248" y="443"/>
                      </a:lnTo>
                      <a:lnTo>
                        <a:pt x="249" y="444"/>
                      </a:lnTo>
                      <a:lnTo>
                        <a:pt x="249" y="444"/>
                      </a:lnTo>
                      <a:lnTo>
                        <a:pt x="248" y="444"/>
                      </a:lnTo>
                      <a:lnTo>
                        <a:pt x="248" y="445"/>
                      </a:lnTo>
                      <a:lnTo>
                        <a:pt x="248" y="445"/>
                      </a:lnTo>
                      <a:lnTo>
                        <a:pt x="248" y="446"/>
                      </a:lnTo>
                      <a:lnTo>
                        <a:pt x="247" y="446"/>
                      </a:lnTo>
                      <a:lnTo>
                        <a:pt x="247" y="446"/>
                      </a:lnTo>
                      <a:lnTo>
                        <a:pt x="247" y="446"/>
                      </a:lnTo>
                      <a:lnTo>
                        <a:pt x="247" y="446"/>
                      </a:lnTo>
                      <a:lnTo>
                        <a:pt x="247" y="446"/>
                      </a:lnTo>
                      <a:lnTo>
                        <a:pt x="246" y="446"/>
                      </a:lnTo>
                      <a:lnTo>
                        <a:pt x="246" y="446"/>
                      </a:lnTo>
                      <a:lnTo>
                        <a:pt x="246" y="446"/>
                      </a:lnTo>
                      <a:lnTo>
                        <a:pt x="245" y="446"/>
                      </a:lnTo>
                      <a:lnTo>
                        <a:pt x="245" y="446"/>
                      </a:lnTo>
                      <a:lnTo>
                        <a:pt x="245" y="446"/>
                      </a:lnTo>
                      <a:lnTo>
                        <a:pt x="245" y="446"/>
                      </a:lnTo>
                      <a:lnTo>
                        <a:pt x="244" y="446"/>
                      </a:lnTo>
                      <a:lnTo>
                        <a:pt x="244" y="446"/>
                      </a:lnTo>
                      <a:lnTo>
                        <a:pt x="244" y="447"/>
                      </a:lnTo>
                      <a:lnTo>
                        <a:pt x="243" y="447"/>
                      </a:lnTo>
                      <a:lnTo>
                        <a:pt x="243" y="447"/>
                      </a:lnTo>
                      <a:lnTo>
                        <a:pt x="243" y="447"/>
                      </a:lnTo>
                      <a:lnTo>
                        <a:pt x="243" y="447"/>
                      </a:lnTo>
                      <a:lnTo>
                        <a:pt x="242" y="447"/>
                      </a:lnTo>
                      <a:lnTo>
                        <a:pt x="242" y="446"/>
                      </a:lnTo>
                      <a:lnTo>
                        <a:pt x="242" y="446"/>
                      </a:lnTo>
                      <a:lnTo>
                        <a:pt x="242" y="445"/>
                      </a:lnTo>
                      <a:lnTo>
                        <a:pt x="241" y="445"/>
                      </a:lnTo>
                      <a:lnTo>
                        <a:pt x="241" y="445"/>
                      </a:lnTo>
                      <a:lnTo>
                        <a:pt x="240" y="445"/>
                      </a:lnTo>
                      <a:lnTo>
                        <a:pt x="240" y="445"/>
                      </a:lnTo>
                      <a:lnTo>
                        <a:pt x="240" y="444"/>
                      </a:lnTo>
                      <a:lnTo>
                        <a:pt x="239" y="444"/>
                      </a:lnTo>
                      <a:lnTo>
                        <a:pt x="239" y="444"/>
                      </a:lnTo>
                      <a:lnTo>
                        <a:pt x="239" y="443"/>
                      </a:lnTo>
                      <a:lnTo>
                        <a:pt x="239" y="443"/>
                      </a:lnTo>
                      <a:lnTo>
                        <a:pt x="238" y="443"/>
                      </a:lnTo>
                      <a:lnTo>
                        <a:pt x="238" y="443"/>
                      </a:lnTo>
                      <a:lnTo>
                        <a:pt x="238" y="443"/>
                      </a:lnTo>
                      <a:lnTo>
                        <a:pt x="238" y="443"/>
                      </a:lnTo>
                      <a:lnTo>
                        <a:pt x="238" y="442"/>
                      </a:lnTo>
                      <a:lnTo>
                        <a:pt x="238" y="442"/>
                      </a:lnTo>
                      <a:lnTo>
                        <a:pt x="238" y="442"/>
                      </a:lnTo>
                      <a:lnTo>
                        <a:pt x="237" y="442"/>
                      </a:lnTo>
                      <a:lnTo>
                        <a:pt x="237" y="441"/>
                      </a:lnTo>
                      <a:lnTo>
                        <a:pt x="237" y="441"/>
                      </a:lnTo>
                      <a:lnTo>
                        <a:pt x="237" y="442"/>
                      </a:lnTo>
                      <a:lnTo>
                        <a:pt x="237" y="441"/>
                      </a:lnTo>
                      <a:lnTo>
                        <a:pt x="236" y="441"/>
                      </a:lnTo>
                      <a:lnTo>
                        <a:pt x="236" y="440"/>
                      </a:lnTo>
                      <a:lnTo>
                        <a:pt x="237" y="440"/>
                      </a:lnTo>
                      <a:lnTo>
                        <a:pt x="237" y="440"/>
                      </a:lnTo>
                      <a:lnTo>
                        <a:pt x="237" y="440"/>
                      </a:lnTo>
                      <a:lnTo>
                        <a:pt x="238" y="440"/>
                      </a:lnTo>
                      <a:lnTo>
                        <a:pt x="238" y="439"/>
                      </a:lnTo>
                      <a:lnTo>
                        <a:pt x="237" y="439"/>
                      </a:lnTo>
                      <a:lnTo>
                        <a:pt x="238" y="439"/>
                      </a:lnTo>
                      <a:lnTo>
                        <a:pt x="238" y="439"/>
                      </a:lnTo>
                      <a:lnTo>
                        <a:pt x="237" y="439"/>
                      </a:lnTo>
                      <a:lnTo>
                        <a:pt x="237" y="439"/>
                      </a:lnTo>
                      <a:lnTo>
                        <a:pt x="236" y="439"/>
                      </a:lnTo>
                      <a:lnTo>
                        <a:pt x="236" y="439"/>
                      </a:lnTo>
                      <a:lnTo>
                        <a:pt x="236" y="440"/>
                      </a:lnTo>
                      <a:lnTo>
                        <a:pt x="236" y="440"/>
                      </a:lnTo>
                      <a:lnTo>
                        <a:pt x="236" y="440"/>
                      </a:lnTo>
                      <a:lnTo>
                        <a:pt x="235" y="440"/>
                      </a:lnTo>
                      <a:lnTo>
                        <a:pt x="235" y="441"/>
                      </a:lnTo>
                      <a:lnTo>
                        <a:pt x="234" y="441"/>
                      </a:lnTo>
                      <a:lnTo>
                        <a:pt x="234" y="441"/>
                      </a:lnTo>
                      <a:lnTo>
                        <a:pt x="234" y="442"/>
                      </a:lnTo>
                      <a:lnTo>
                        <a:pt x="233" y="442"/>
                      </a:lnTo>
                      <a:lnTo>
                        <a:pt x="233" y="442"/>
                      </a:lnTo>
                      <a:lnTo>
                        <a:pt x="233" y="443"/>
                      </a:lnTo>
                      <a:lnTo>
                        <a:pt x="233" y="442"/>
                      </a:lnTo>
                      <a:lnTo>
                        <a:pt x="233" y="442"/>
                      </a:lnTo>
                      <a:lnTo>
                        <a:pt x="232" y="442"/>
                      </a:lnTo>
                      <a:lnTo>
                        <a:pt x="232" y="442"/>
                      </a:lnTo>
                      <a:lnTo>
                        <a:pt x="232" y="442"/>
                      </a:lnTo>
                      <a:lnTo>
                        <a:pt x="231" y="442"/>
                      </a:lnTo>
                      <a:lnTo>
                        <a:pt x="231" y="442"/>
                      </a:lnTo>
                      <a:lnTo>
                        <a:pt x="230" y="442"/>
                      </a:lnTo>
                      <a:lnTo>
                        <a:pt x="230" y="442"/>
                      </a:lnTo>
                      <a:lnTo>
                        <a:pt x="230" y="441"/>
                      </a:lnTo>
                      <a:lnTo>
                        <a:pt x="229" y="441"/>
                      </a:lnTo>
                      <a:lnTo>
                        <a:pt x="229" y="442"/>
                      </a:lnTo>
                      <a:lnTo>
                        <a:pt x="229" y="442"/>
                      </a:lnTo>
                      <a:lnTo>
                        <a:pt x="229" y="441"/>
                      </a:lnTo>
                      <a:lnTo>
                        <a:pt x="228" y="441"/>
                      </a:lnTo>
                      <a:lnTo>
                        <a:pt x="227" y="441"/>
                      </a:lnTo>
                      <a:lnTo>
                        <a:pt x="226" y="440"/>
                      </a:lnTo>
                      <a:lnTo>
                        <a:pt x="226" y="441"/>
                      </a:lnTo>
                      <a:lnTo>
                        <a:pt x="226" y="441"/>
                      </a:lnTo>
                      <a:lnTo>
                        <a:pt x="226" y="440"/>
                      </a:lnTo>
                      <a:lnTo>
                        <a:pt x="225" y="440"/>
                      </a:lnTo>
                      <a:lnTo>
                        <a:pt x="225" y="440"/>
                      </a:lnTo>
                      <a:lnTo>
                        <a:pt x="225" y="439"/>
                      </a:lnTo>
                      <a:lnTo>
                        <a:pt x="225" y="439"/>
                      </a:lnTo>
                      <a:lnTo>
                        <a:pt x="225" y="439"/>
                      </a:lnTo>
                      <a:lnTo>
                        <a:pt x="224" y="438"/>
                      </a:lnTo>
                      <a:lnTo>
                        <a:pt x="224" y="437"/>
                      </a:lnTo>
                      <a:lnTo>
                        <a:pt x="223" y="437"/>
                      </a:lnTo>
                      <a:lnTo>
                        <a:pt x="223" y="437"/>
                      </a:lnTo>
                      <a:lnTo>
                        <a:pt x="223" y="436"/>
                      </a:lnTo>
                      <a:lnTo>
                        <a:pt x="224" y="436"/>
                      </a:lnTo>
                      <a:lnTo>
                        <a:pt x="223" y="436"/>
                      </a:lnTo>
                      <a:lnTo>
                        <a:pt x="223" y="435"/>
                      </a:lnTo>
                      <a:lnTo>
                        <a:pt x="223" y="435"/>
                      </a:lnTo>
                      <a:lnTo>
                        <a:pt x="222" y="435"/>
                      </a:lnTo>
                      <a:lnTo>
                        <a:pt x="222" y="435"/>
                      </a:lnTo>
                      <a:lnTo>
                        <a:pt x="222" y="435"/>
                      </a:lnTo>
                      <a:lnTo>
                        <a:pt x="222" y="435"/>
                      </a:lnTo>
                      <a:lnTo>
                        <a:pt x="222" y="435"/>
                      </a:lnTo>
                      <a:lnTo>
                        <a:pt x="221" y="435"/>
                      </a:lnTo>
                      <a:lnTo>
                        <a:pt x="221" y="434"/>
                      </a:lnTo>
                      <a:lnTo>
                        <a:pt x="221" y="434"/>
                      </a:lnTo>
                      <a:lnTo>
                        <a:pt x="221" y="433"/>
                      </a:lnTo>
                      <a:lnTo>
                        <a:pt x="220" y="433"/>
                      </a:lnTo>
                      <a:lnTo>
                        <a:pt x="220" y="434"/>
                      </a:lnTo>
                      <a:lnTo>
                        <a:pt x="220" y="433"/>
                      </a:lnTo>
                      <a:lnTo>
                        <a:pt x="219" y="433"/>
                      </a:lnTo>
                      <a:lnTo>
                        <a:pt x="219" y="433"/>
                      </a:lnTo>
                      <a:lnTo>
                        <a:pt x="218" y="433"/>
                      </a:lnTo>
                      <a:lnTo>
                        <a:pt x="218" y="433"/>
                      </a:lnTo>
                      <a:lnTo>
                        <a:pt x="218" y="433"/>
                      </a:lnTo>
                      <a:lnTo>
                        <a:pt x="218" y="432"/>
                      </a:lnTo>
                      <a:lnTo>
                        <a:pt x="218" y="432"/>
                      </a:lnTo>
                      <a:lnTo>
                        <a:pt x="217" y="432"/>
                      </a:lnTo>
                      <a:lnTo>
                        <a:pt x="217" y="431"/>
                      </a:lnTo>
                      <a:lnTo>
                        <a:pt x="217" y="431"/>
                      </a:lnTo>
                      <a:lnTo>
                        <a:pt x="217" y="430"/>
                      </a:lnTo>
                      <a:lnTo>
                        <a:pt x="217" y="429"/>
                      </a:lnTo>
                      <a:lnTo>
                        <a:pt x="217" y="429"/>
                      </a:lnTo>
                      <a:lnTo>
                        <a:pt x="217" y="429"/>
                      </a:lnTo>
                      <a:lnTo>
                        <a:pt x="216" y="429"/>
                      </a:lnTo>
                      <a:lnTo>
                        <a:pt x="216" y="428"/>
                      </a:lnTo>
                      <a:lnTo>
                        <a:pt x="215" y="428"/>
                      </a:lnTo>
                      <a:lnTo>
                        <a:pt x="215" y="427"/>
                      </a:lnTo>
                      <a:lnTo>
                        <a:pt x="215" y="427"/>
                      </a:lnTo>
                      <a:lnTo>
                        <a:pt x="215" y="426"/>
                      </a:lnTo>
                      <a:lnTo>
                        <a:pt x="215" y="426"/>
                      </a:lnTo>
                      <a:lnTo>
                        <a:pt x="214" y="426"/>
                      </a:lnTo>
                      <a:lnTo>
                        <a:pt x="214" y="426"/>
                      </a:lnTo>
                      <a:lnTo>
                        <a:pt x="214" y="426"/>
                      </a:lnTo>
                      <a:lnTo>
                        <a:pt x="214" y="425"/>
                      </a:lnTo>
                      <a:lnTo>
                        <a:pt x="213" y="425"/>
                      </a:lnTo>
                      <a:lnTo>
                        <a:pt x="212" y="425"/>
                      </a:lnTo>
                      <a:lnTo>
                        <a:pt x="212" y="425"/>
                      </a:lnTo>
                      <a:lnTo>
                        <a:pt x="211" y="425"/>
                      </a:lnTo>
                      <a:lnTo>
                        <a:pt x="211" y="425"/>
                      </a:lnTo>
                      <a:lnTo>
                        <a:pt x="211" y="424"/>
                      </a:lnTo>
                      <a:lnTo>
                        <a:pt x="210" y="424"/>
                      </a:lnTo>
                      <a:lnTo>
                        <a:pt x="210" y="424"/>
                      </a:lnTo>
                      <a:lnTo>
                        <a:pt x="209" y="424"/>
                      </a:lnTo>
                      <a:lnTo>
                        <a:pt x="208" y="424"/>
                      </a:lnTo>
                      <a:lnTo>
                        <a:pt x="208" y="425"/>
                      </a:lnTo>
                      <a:lnTo>
                        <a:pt x="208" y="425"/>
                      </a:lnTo>
                      <a:lnTo>
                        <a:pt x="208" y="425"/>
                      </a:lnTo>
                      <a:lnTo>
                        <a:pt x="207" y="425"/>
                      </a:lnTo>
                      <a:lnTo>
                        <a:pt x="207" y="425"/>
                      </a:lnTo>
                      <a:lnTo>
                        <a:pt x="206" y="425"/>
                      </a:lnTo>
                      <a:lnTo>
                        <a:pt x="206" y="425"/>
                      </a:lnTo>
                      <a:lnTo>
                        <a:pt x="205" y="425"/>
                      </a:lnTo>
                      <a:lnTo>
                        <a:pt x="205" y="426"/>
                      </a:lnTo>
                      <a:lnTo>
                        <a:pt x="205" y="426"/>
                      </a:lnTo>
                      <a:lnTo>
                        <a:pt x="204" y="426"/>
                      </a:lnTo>
                      <a:lnTo>
                        <a:pt x="204" y="427"/>
                      </a:lnTo>
                      <a:lnTo>
                        <a:pt x="203" y="427"/>
                      </a:lnTo>
                      <a:lnTo>
                        <a:pt x="203" y="427"/>
                      </a:lnTo>
                      <a:lnTo>
                        <a:pt x="202" y="427"/>
                      </a:lnTo>
                      <a:lnTo>
                        <a:pt x="202" y="427"/>
                      </a:lnTo>
                      <a:lnTo>
                        <a:pt x="201" y="428"/>
                      </a:lnTo>
                      <a:lnTo>
                        <a:pt x="201" y="427"/>
                      </a:lnTo>
                      <a:lnTo>
                        <a:pt x="200" y="428"/>
                      </a:lnTo>
                      <a:lnTo>
                        <a:pt x="200" y="427"/>
                      </a:lnTo>
                      <a:lnTo>
                        <a:pt x="200" y="427"/>
                      </a:lnTo>
                      <a:lnTo>
                        <a:pt x="199" y="427"/>
                      </a:lnTo>
                      <a:lnTo>
                        <a:pt x="199" y="426"/>
                      </a:lnTo>
                      <a:lnTo>
                        <a:pt x="198" y="427"/>
                      </a:lnTo>
                      <a:lnTo>
                        <a:pt x="197" y="427"/>
                      </a:lnTo>
                      <a:lnTo>
                        <a:pt x="197" y="426"/>
                      </a:lnTo>
                      <a:lnTo>
                        <a:pt x="197" y="427"/>
                      </a:lnTo>
                      <a:lnTo>
                        <a:pt x="196" y="427"/>
                      </a:lnTo>
                      <a:lnTo>
                        <a:pt x="195" y="427"/>
                      </a:lnTo>
                      <a:lnTo>
                        <a:pt x="195" y="426"/>
                      </a:lnTo>
                      <a:lnTo>
                        <a:pt x="195" y="426"/>
                      </a:lnTo>
                      <a:lnTo>
                        <a:pt x="195" y="426"/>
                      </a:lnTo>
                      <a:lnTo>
                        <a:pt x="195" y="425"/>
                      </a:lnTo>
                      <a:lnTo>
                        <a:pt x="195" y="425"/>
                      </a:lnTo>
                      <a:lnTo>
                        <a:pt x="195" y="425"/>
                      </a:lnTo>
                      <a:lnTo>
                        <a:pt x="195" y="425"/>
                      </a:lnTo>
                      <a:lnTo>
                        <a:pt x="194" y="425"/>
                      </a:lnTo>
                      <a:lnTo>
                        <a:pt x="193" y="425"/>
                      </a:lnTo>
                      <a:lnTo>
                        <a:pt x="193" y="425"/>
                      </a:lnTo>
                      <a:lnTo>
                        <a:pt x="192" y="425"/>
                      </a:lnTo>
                      <a:lnTo>
                        <a:pt x="192" y="424"/>
                      </a:lnTo>
                      <a:lnTo>
                        <a:pt x="192" y="424"/>
                      </a:lnTo>
                      <a:lnTo>
                        <a:pt x="192" y="423"/>
                      </a:lnTo>
                      <a:lnTo>
                        <a:pt x="193" y="422"/>
                      </a:lnTo>
                      <a:lnTo>
                        <a:pt x="193" y="422"/>
                      </a:lnTo>
                      <a:lnTo>
                        <a:pt x="192" y="422"/>
                      </a:lnTo>
                      <a:lnTo>
                        <a:pt x="192" y="422"/>
                      </a:lnTo>
                      <a:lnTo>
                        <a:pt x="191" y="422"/>
                      </a:lnTo>
                      <a:lnTo>
                        <a:pt x="191" y="421"/>
                      </a:lnTo>
                      <a:lnTo>
                        <a:pt x="191" y="421"/>
                      </a:lnTo>
                      <a:lnTo>
                        <a:pt x="190" y="421"/>
                      </a:lnTo>
                      <a:lnTo>
                        <a:pt x="189" y="421"/>
                      </a:lnTo>
                      <a:lnTo>
                        <a:pt x="189" y="421"/>
                      </a:lnTo>
                      <a:lnTo>
                        <a:pt x="188" y="421"/>
                      </a:lnTo>
                      <a:lnTo>
                        <a:pt x="188" y="422"/>
                      </a:lnTo>
                      <a:lnTo>
                        <a:pt x="188" y="422"/>
                      </a:lnTo>
                      <a:lnTo>
                        <a:pt x="187" y="422"/>
                      </a:lnTo>
                      <a:lnTo>
                        <a:pt x="187" y="422"/>
                      </a:lnTo>
                      <a:lnTo>
                        <a:pt x="186" y="422"/>
                      </a:lnTo>
                      <a:lnTo>
                        <a:pt x="186" y="423"/>
                      </a:lnTo>
                      <a:lnTo>
                        <a:pt x="187" y="423"/>
                      </a:lnTo>
                      <a:lnTo>
                        <a:pt x="187" y="425"/>
                      </a:lnTo>
                      <a:lnTo>
                        <a:pt x="186" y="425"/>
                      </a:lnTo>
                      <a:lnTo>
                        <a:pt x="186" y="425"/>
                      </a:lnTo>
                      <a:lnTo>
                        <a:pt x="186" y="425"/>
                      </a:lnTo>
                      <a:lnTo>
                        <a:pt x="185" y="425"/>
                      </a:lnTo>
                      <a:lnTo>
                        <a:pt x="185" y="425"/>
                      </a:lnTo>
                      <a:lnTo>
                        <a:pt x="185" y="426"/>
                      </a:lnTo>
                      <a:lnTo>
                        <a:pt x="185" y="426"/>
                      </a:lnTo>
                      <a:lnTo>
                        <a:pt x="184" y="426"/>
                      </a:lnTo>
                      <a:lnTo>
                        <a:pt x="184" y="426"/>
                      </a:lnTo>
                      <a:lnTo>
                        <a:pt x="184" y="426"/>
                      </a:lnTo>
                      <a:lnTo>
                        <a:pt x="184" y="427"/>
                      </a:lnTo>
                      <a:lnTo>
                        <a:pt x="184" y="428"/>
                      </a:lnTo>
                      <a:lnTo>
                        <a:pt x="182" y="423"/>
                      </a:lnTo>
                      <a:lnTo>
                        <a:pt x="180" y="418"/>
                      </a:lnTo>
                      <a:lnTo>
                        <a:pt x="178" y="416"/>
                      </a:lnTo>
                      <a:lnTo>
                        <a:pt x="178" y="415"/>
                      </a:lnTo>
                      <a:lnTo>
                        <a:pt x="177" y="414"/>
                      </a:lnTo>
                      <a:lnTo>
                        <a:pt x="177" y="414"/>
                      </a:lnTo>
                      <a:lnTo>
                        <a:pt x="176" y="413"/>
                      </a:lnTo>
                      <a:lnTo>
                        <a:pt x="174" y="409"/>
                      </a:lnTo>
                      <a:lnTo>
                        <a:pt x="173" y="407"/>
                      </a:lnTo>
                      <a:lnTo>
                        <a:pt x="171" y="404"/>
                      </a:lnTo>
                      <a:lnTo>
                        <a:pt x="170" y="402"/>
                      </a:lnTo>
                      <a:lnTo>
                        <a:pt x="169" y="400"/>
                      </a:lnTo>
                      <a:lnTo>
                        <a:pt x="168" y="399"/>
                      </a:lnTo>
                      <a:lnTo>
                        <a:pt x="167" y="398"/>
                      </a:lnTo>
                      <a:lnTo>
                        <a:pt x="167" y="397"/>
                      </a:lnTo>
                      <a:lnTo>
                        <a:pt x="166" y="397"/>
                      </a:lnTo>
                      <a:lnTo>
                        <a:pt x="164" y="395"/>
                      </a:lnTo>
                      <a:lnTo>
                        <a:pt x="162" y="393"/>
                      </a:lnTo>
                      <a:lnTo>
                        <a:pt x="160" y="392"/>
                      </a:lnTo>
                      <a:lnTo>
                        <a:pt x="158" y="391"/>
                      </a:lnTo>
                      <a:lnTo>
                        <a:pt x="157" y="389"/>
                      </a:lnTo>
                      <a:lnTo>
                        <a:pt x="155" y="388"/>
                      </a:lnTo>
                      <a:lnTo>
                        <a:pt x="155" y="388"/>
                      </a:lnTo>
                      <a:lnTo>
                        <a:pt x="155" y="387"/>
                      </a:lnTo>
                      <a:lnTo>
                        <a:pt x="155" y="387"/>
                      </a:lnTo>
                      <a:lnTo>
                        <a:pt x="155" y="386"/>
                      </a:lnTo>
                      <a:lnTo>
                        <a:pt x="156" y="386"/>
                      </a:lnTo>
                      <a:lnTo>
                        <a:pt x="156" y="387"/>
                      </a:lnTo>
                      <a:lnTo>
                        <a:pt x="157" y="386"/>
                      </a:lnTo>
                      <a:lnTo>
                        <a:pt x="158" y="385"/>
                      </a:lnTo>
                      <a:lnTo>
                        <a:pt x="158" y="385"/>
                      </a:lnTo>
                      <a:lnTo>
                        <a:pt x="158" y="385"/>
                      </a:lnTo>
                      <a:lnTo>
                        <a:pt x="158" y="384"/>
                      </a:lnTo>
                      <a:lnTo>
                        <a:pt x="158" y="384"/>
                      </a:lnTo>
                      <a:lnTo>
                        <a:pt x="158" y="384"/>
                      </a:lnTo>
                      <a:lnTo>
                        <a:pt x="158" y="383"/>
                      </a:lnTo>
                      <a:lnTo>
                        <a:pt x="159" y="383"/>
                      </a:lnTo>
                      <a:lnTo>
                        <a:pt x="159" y="383"/>
                      </a:lnTo>
                      <a:lnTo>
                        <a:pt x="158" y="383"/>
                      </a:lnTo>
                      <a:lnTo>
                        <a:pt x="158" y="383"/>
                      </a:lnTo>
                      <a:lnTo>
                        <a:pt x="157" y="383"/>
                      </a:lnTo>
                      <a:lnTo>
                        <a:pt x="156" y="384"/>
                      </a:lnTo>
                      <a:lnTo>
                        <a:pt x="156" y="384"/>
                      </a:lnTo>
                      <a:lnTo>
                        <a:pt x="155" y="384"/>
                      </a:lnTo>
                      <a:lnTo>
                        <a:pt x="155" y="384"/>
                      </a:lnTo>
                      <a:lnTo>
                        <a:pt x="154" y="384"/>
                      </a:lnTo>
                      <a:lnTo>
                        <a:pt x="154" y="384"/>
                      </a:lnTo>
                      <a:lnTo>
                        <a:pt x="153" y="384"/>
                      </a:lnTo>
                      <a:lnTo>
                        <a:pt x="153" y="384"/>
                      </a:lnTo>
                      <a:lnTo>
                        <a:pt x="152" y="384"/>
                      </a:lnTo>
                      <a:lnTo>
                        <a:pt x="153" y="385"/>
                      </a:lnTo>
                      <a:lnTo>
                        <a:pt x="149" y="387"/>
                      </a:lnTo>
                      <a:lnTo>
                        <a:pt x="148" y="387"/>
                      </a:lnTo>
                      <a:lnTo>
                        <a:pt x="148" y="387"/>
                      </a:lnTo>
                      <a:lnTo>
                        <a:pt x="147" y="387"/>
                      </a:lnTo>
                      <a:lnTo>
                        <a:pt x="146" y="387"/>
                      </a:lnTo>
                      <a:lnTo>
                        <a:pt x="147" y="388"/>
                      </a:lnTo>
                      <a:lnTo>
                        <a:pt x="147" y="388"/>
                      </a:lnTo>
                      <a:lnTo>
                        <a:pt x="146" y="388"/>
                      </a:lnTo>
                      <a:lnTo>
                        <a:pt x="146" y="389"/>
                      </a:lnTo>
                      <a:lnTo>
                        <a:pt x="145" y="389"/>
                      </a:lnTo>
                      <a:lnTo>
                        <a:pt x="145" y="389"/>
                      </a:lnTo>
                      <a:lnTo>
                        <a:pt x="145" y="389"/>
                      </a:lnTo>
                      <a:lnTo>
                        <a:pt x="144" y="390"/>
                      </a:lnTo>
                      <a:lnTo>
                        <a:pt x="144" y="391"/>
                      </a:lnTo>
                      <a:lnTo>
                        <a:pt x="143" y="391"/>
                      </a:lnTo>
                      <a:lnTo>
                        <a:pt x="143" y="390"/>
                      </a:lnTo>
                      <a:lnTo>
                        <a:pt x="143" y="390"/>
                      </a:lnTo>
                      <a:lnTo>
                        <a:pt x="142" y="390"/>
                      </a:lnTo>
                      <a:lnTo>
                        <a:pt x="141" y="390"/>
                      </a:lnTo>
                      <a:lnTo>
                        <a:pt x="141" y="391"/>
                      </a:lnTo>
                      <a:lnTo>
                        <a:pt x="140" y="391"/>
                      </a:lnTo>
                      <a:lnTo>
                        <a:pt x="140" y="392"/>
                      </a:lnTo>
                      <a:lnTo>
                        <a:pt x="139" y="392"/>
                      </a:lnTo>
                      <a:lnTo>
                        <a:pt x="139" y="392"/>
                      </a:lnTo>
                      <a:lnTo>
                        <a:pt x="139" y="393"/>
                      </a:lnTo>
                      <a:lnTo>
                        <a:pt x="139" y="394"/>
                      </a:lnTo>
                      <a:lnTo>
                        <a:pt x="139" y="394"/>
                      </a:lnTo>
                      <a:lnTo>
                        <a:pt x="138" y="395"/>
                      </a:lnTo>
                      <a:lnTo>
                        <a:pt x="137" y="394"/>
                      </a:lnTo>
                      <a:lnTo>
                        <a:pt x="137" y="394"/>
                      </a:lnTo>
                      <a:lnTo>
                        <a:pt x="137" y="394"/>
                      </a:lnTo>
                      <a:lnTo>
                        <a:pt x="137" y="393"/>
                      </a:lnTo>
                      <a:lnTo>
                        <a:pt x="136" y="393"/>
                      </a:lnTo>
                      <a:lnTo>
                        <a:pt x="136" y="394"/>
                      </a:lnTo>
                      <a:lnTo>
                        <a:pt x="136" y="394"/>
                      </a:lnTo>
                      <a:lnTo>
                        <a:pt x="136" y="392"/>
                      </a:lnTo>
                      <a:lnTo>
                        <a:pt x="134" y="392"/>
                      </a:lnTo>
                      <a:lnTo>
                        <a:pt x="134" y="393"/>
                      </a:lnTo>
                      <a:lnTo>
                        <a:pt x="133" y="393"/>
                      </a:lnTo>
                      <a:lnTo>
                        <a:pt x="132" y="393"/>
                      </a:lnTo>
                      <a:lnTo>
                        <a:pt x="132" y="394"/>
                      </a:lnTo>
                      <a:lnTo>
                        <a:pt x="132" y="394"/>
                      </a:lnTo>
                      <a:lnTo>
                        <a:pt x="132" y="394"/>
                      </a:lnTo>
                      <a:lnTo>
                        <a:pt x="130" y="395"/>
                      </a:lnTo>
                      <a:lnTo>
                        <a:pt x="130" y="395"/>
                      </a:lnTo>
                      <a:lnTo>
                        <a:pt x="130" y="394"/>
                      </a:lnTo>
                      <a:lnTo>
                        <a:pt x="130" y="394"/>
                      </a:lnTo>
                      <a:lnTo>
                        <a:pt x="129" y="394"/>
                      </a:lnTo>
                      <a:lnTo>
                        <a:pt x="129" y="393"/>
                      </a:lnTo>
                      <a:lnTo>
                        <a:pt x="129" y="392"/>
                      </a:lnTo>
                      <a:lnTo>
                        <a:pt x="129" y="392"/>
                      </a:lnTo>
                      <a:lnTo>
                        <a:pt x="130" y="392"/>
                      </a:lnTo>
                      <a:lnTo>
                        <a:pt x="130" y="391"/>
                      </a:lnTo>
                      <a:lnTo>
                        <a:pt x="130" y="391"/>
                      </a:lnTo>
                      <a:lnTo>
                        <a:pt x="130" y="391"/>
                      </a:lnTo>
                      <a:lnTo>
                        <a:pt x="130" y="390"/>
                      </a:lnTo>
                      <a:lnTo>
                        <a:pt x="130" y="389"/>
                      </a:lnTo>
                      <a:lnTo>
                        <a:pt x="132" y="389"/>
                      </a:lnTo>
                      <a:lnTo>
                        <a:pt x="132" y="390"/>
                      </a:lnTo>
                      <a:lnTo>
                        <a:pt x="133" y="390"/>
                      </a:lnTo>
                      <a:lnTo>
                        <a:pt x="133" y="387"/>
                      </a:lnTo>
                      <a:lnTo>
                        <a:pt x="133" y="388"/>
                      </a:lnTo>
                      <a:lnTo>
                        <a:pt x="133" y="387"/>
                      </a:lnTo>
                      <a:lnTo>
                        <a:pt x="132" y="387"/>
                      </a:lnTo>
                      <a:lnTo>
                        <a:pt x="132" y="388"/>
                      </a:lnTo>
                      <a:lnTo>
                        <a:pt x="132" y="388"/>
                      </a:lnTo>
                      <a:lnTo>
                        <a:pt x="131" y="388"/>
                      </a:lnTo>
                      <a:lnTo>
                        <a:pt x="132" y="389"/>
                      </a:lnTo>
                      <a:lnTo>
                        <a:pt x="131" y="389"/>
                      </a:lnTo>
                      <a:lnTo>
                        <a:pt x="131" y="388"/>
                      </a:lnTo>
                      <a:lnTo>
                        <a:pt x="130" y="388"/>
                      </a:lnTo>
                      <a:lnTo>
                        <a:pt x="130" y="389"/>
                      </a:lnTo>
                      <a:lnTo>
                        <a:pt x="129" y="389"/>
                      </a:lnTo>
                      <a:lnTo>
                        <a:pt x="129" y="388"/>
                      </a:lnTo>
                      <a:lnTo>
                        <a:pt x="129" y="388"/>
                      </a:lnTo>
                      <a:lnTo>
                        <a:pt x="128" y="388"/>
                      </a:lnTo>
                      <a:lnTo>
                        <a:pt x="128" y="388"/>
                      </a:lnTo>
                      <a:lnTo>
                        <a:pt x="127" y="388"/>
                      </a:lnTo>
                      <a:lnTo>
                        <a:pt x="127" y="387"/>
                      </a:lnTo>
                      <a:lnTo>
                        <a:pt x="126" y="387"/>
                      </a:lnTo>
                      <a:lnTo>
                        <a:pt x="126" y="387"/>
                      </a:lnTo>
                      <a:lnTo>
                        <a:pt x="125" y="387"/>
                      </a:lnTo>
                      <a:lnTo>
                        <a:pt x="124" y="387"/>
                      </a:lnTo>
                      <a:lnTo>
                        <a:pt x="124" y="387"/>
                      </a:lnTo>
                      <a:lnTo>
                        <a:pt x="124" y="388"/>
                      </a:lnTo>
                      <a:lnTo>
                        <a:pt x="124" y="388"/>
                      </a:lnTo>
                      <a:lnTo>
                        <a:pt x="125" y="388"/>
                      </a:lnTo>
                      <a:lnTo>
                        <a:pt x="125" y="388"/>
                      </a:lnTo>
                      <a:lnTo>
                        <a:pt x="125" y="389"/>
                      </a:lnTo>
                      <a:lnTo>
                        <a:pt x="124" y="388"/>
                      </a:lnTo>
                      <a:lnTo>
                        <a:pt x="123" y="389"/>
                      </a:lnTo>
                      <a:lnTo>
                        <a:pt x="122" y="389"/>
                      </a:lnTo>
                      <a:lnTo>
                        <a:pt x="122" y="389"/>
                      </a:lnTo>
                      <a:lnTo>
                        <a:pt x="122" y="388"/>
                      </a:lnTo>
                      <a:lnTo>
                        <a:pt x="122" y="388"/>
                      </a:lnTo>
                      <a:lnTo>
                        <a:pt x="122" y="387"/>
                      </a:lnTo>
                      <a:lnTo>
                        <a:pt x="122" y="387"/>
                      </a:lnTo>
                      <a:lnTo>
                        <a:pt x="122" y="387"/>
                      </a:lnTo>
                      <a:lnTo>
                        <a:pt x="123" y="387"/>
                      </a:lnTo>
                      <a:lnTo>
                        <a:pt x="122" y="386"/>
                      </a:lnTo>
                      <a:lnTo>
                        <a:pt x="122" y="386"/>
                      </a:lnTo>
                      <a:lnTo>
                        <a:pt x="121" y="386"/>
                      </a:lnTo>
                      <a:lnTo>
                        <a:pt x="122" y="385"/>
                      </a:lnTo>
                      <a:lnTo>
                        <a:pt x="121" y="385"/>
                      </a:lnTo>
                      <a:lnTo>
                        <a:pt x="121" y="384"/>
                      </a:lnTo>
                      <a:lnTo>
                        <a:pt x="121" y="384"/>
                      </a:lnTo>
                      <a:lnTo>
                        <a:pt x="119" y="384"/>
                      </a:lnTo>
                      <a:lnTo>
                        <a:pt x="119" y="384"/>
                      </a:lnTo>
                      <a:lnTo>
                        <a:pt x="120" y="384"/>
                      </a:lnTo>
                      <a:lnTo>
                        <a:pt x="120" y="385"/>
                      </a:lnTo>
                      <a:lnTo>
                        <a:pt x="119" y="385"/>
                      </a:lnTo>
                      <a:lnTo>
                        <a:pt x="120" y="385"/>
                      </a:lnTo>
                      <a:lnTo>
                        <a:pt x="121" y="386"/>
                      </a:lnTo>
                      <a:lnTo>
                        <a:pt x="121" y="387"/>
                      </a:lnTo>
                      <a:lnTo>
                        <a:pt x="120" y="386"/>
                      </a:lnTo>
                      <a:lnTo>
                        <a:pt x="119" y="386"/>
                      </a:lnTo>
                      <a:lnTo>
                        <a:pt x="119" y="385"/>
                      </a:lnTo>
                      <a:lnTo>
                        <a:pt x="119" y="385"/>
                      </a:lnTo>
                      <a:lnTo>
                        <a:pt x="118" y="385"/>
                      </a:lnTo>
                      <a:lnTo>
                        <a:pt x="117" y="385"/>
                      </a:lnTo>
                      <a:lnTo>
                        <a:pt x="117" y="386"/>
                      </a:lnTo>
                      <a:lnTo>
                        <a:pt x="117" y="386"/>
                      </a:lnTo>
                      <a:lnTo>
                        <a:pt x="117" y="387"/>
                      </a:lnTo>
                      <a:lnTo>
                        <a:pt x="117" y="387"/>
                      </a:lnTo>
                      <a:lnTo>
                        <a:pt x="116" y="387"/>
                      </a:lnTo>
                      <a:lnTo>
                        <a:pt x="115" y="387"/>
                      </a:lnTo>
                      <a:lnTo>
                        <a:pt x="115" y="386"/>
                      </a:lnTo>
                      <a:lnTo>
                        <a:pt x="114" y="386"/>
                      </a:lnTo>
                      <a:lnTo>
                        <a:pt x="113" y="386"/>
                      </a:lnTo>
                      <a:lnTo>
                        <a:pt x="113" y="387"/>
                      </a:lnTo>
                      <a:lnTo>
                        <a:pt x="113" y="387"/>
                      </a:lnTo>
                      <a:lnTo>
                        <a:pt x="112" y="387"/>
                      </a:lnTo>
                      <a:lnTo>
                        <a:pt x="112" y="386"/>
                      </a:lnTo>
                      <a:lnTo>
                        <a:pt x="111" y="386"/>
                      </a:lnTo>
                      <a:lnTo>
                        <a:pt x="111" y="385"/>
                      </a:lnTo>
                      <a:lnTo>
                        <a:pt x="111" y="385"/>
                      </a:lnTo>
                      <a:lnTo>
                        <a:pt x="111" y="385"/>
                      </a:lnTo>
                      <a:lnTo>
                        <a:pt x="111" y="384"/>
                      </a:lnTo>
                      <a:lnTo>
                        <a:pt x="112" y="384"/>
                      </a:lnTo>
                      <a:lnTo>
                        <a:pt x="113" y="384"/>
                      </a:lnTo>
                      <a:lnTo>
                        <a:pt x="113" y="384"/>
                      </a:lnTo>
                      <a:lnTo>
                        <a:pt x="113" y="384"/>
                      </a:lnTo>
                      <a:lnTo>
                        <a:pt x="113" y="383"/>
                      </a:lnTo>
                      <a:lnTo>
                        <a:pt x="113" y="383"/>
                      </a:lnTo>
                      <a:lnTo>
                        <a:pt x="113" y="383"/>
                      </a:lnTo>
                      <a:lnTo>
                        <a:pt x="113" y="381"/>
                      </a:lnTo>
                      <a:lnTo>
                        <a:pt x="113" y="381"/>
                      </a:lnTo>
                      <a:lnTo>
                        <a:pt x="113" y="381"/>
                      </a:lnTo>
                      <a:lnTo>
                        <a:pt x="113" y="380"/>
                      </a:lnTo>
                      <a:lnTo>
                        <a:pt x="113" y="380"/>
                      </a:lnTo>
                      <a:lnTo>
                        <a:pt x="112" y="380"/>
                      </a:lnTo>
                      <a:lnTo>
                        <a:pt x="112" y="379"/>
                      </a:lnTo>
                      <a:lnTo>
                        <a:pt x="111" y="379"/>
                      </a:lnTo>
                      <a:lnTo>
                        <a:pt x="111" y="378"/>
                      </a:lnTo>
                      <a:lnTo>
                        <a:pt x="111" y="378"/>
                      </a:lnTo>
                      <a:lnTo>
                        <a:pt x="111" y="377"/>
                      </a:lnTo>
                      <a:lnTo>
                        <a:pt x="111" y="377"/>
                      </a:lnTo>
                      <a:lnTo>
                        <a:pt x="111" y="376"/>
                      </a:lnTo>
                      <a:lnTo>
                        <a:pt x="111" y="376"/>
                      </a:lnTo>
                      <a:lnTo>
                        <a:pt x="111" y="375"/>
                      </a:lnTo>
                      <a:lnTo>
                        <a:pt x="111" y="375"/>
                      </a:lnTo>
                      <a:lnTo>
                        <a:pt x="111" y="374"/>
                      </a:lnTo>
                      <a:lnTo>
                        <a:pt x="110" y="374"/>
                      </a:lnTo>
                      <a:lnTo>
                        <a:pt x="110" y="374"/>
                      </a:lnTo>
                      <a:lnTo>
                        <a:pt x="110" y="373"/>
                      </a:lnTo>
                      <a:lnTo>
                        <a:pt x="110" y="372"/>
                      </a:lnTo>
                      <a:lnTo>
                        <a:pt x="109" y="372"/>
                      </a:lnTo>
                      <a:lnTo>
                        <a:pt x="109" y="372"/>
                      </a:lnTo>
                      <a:lnTo>
                        <a:pt x="108" y="373"/>
                      </a:lnTo>
                      <a:lnTo>
                        <a:pt x="107" y="373"/>
                      </a:lnTo>
                      <a:lnTo>
                        <a:pt x="107" y="373"/>
                      </a:lnTo>
                      <a:lnTo>
                        <a:pt x="107" y="372"/>
                      </a:lnTo>
                      <a:lnTo>
                        <a:pt x="106" y="373"/>
                      </a:lnTo>
                      <a:lnTo>
                        <a:pt x="106" y="373"/>
                      </a:lnTo>
                      <a:lnTo>
                        <a:pt x="106" y="373"/>
                      </a:lnTo>
                      <a:lnTo>
                        <a:pt x="105" y="374"/>
                      </a:lnTo>
                      <a:lnTo>
                        <a:pt x="104" y="374"/>
                      </a:lnTo>
                      <a:lnTo>
                        <a:pt x="104" y="374"/>
                      </a:lnTo>
                      <a:lnTo>
                        <a:pt x="104" y="373"/>
                      </a:lnTo>
                      <a:lnTo>
                        <a:pt x="103" y="373"/>
                      </a:lnTo>
                      <a:lnTo>
                        <a:pt x="103" y="373"/>
                      </a:lnTo>
                      <a:lnTo>
                        <a:pt x="102" y="373"/>
                      </a:lnTo>
                      <a:lnTo>
                        <a:pt x="102" y="372"/>
                      </a:lnTo>
                      <a:lnTo>
                        <a:pt x="102" y="372"/>
                      </a:lnTo>
                      <a:lnTo>
                        <a:pt x="101" y="372"/>
                      </a:lnTo>
                      <a:lnTo>
                        <a:pt x="100" y="372"/>
                      </a:lnTo>
                      <a:lnTo>
                        <a:pt x="100" y="372"/>
                      </a:lnTo>
                      <a:lnTo>
                        <a:pt x="99" y="372"/>
                      </a:lnTo>
                      <a:lnTo>
                        <a:pt x="99" y="372"/>
                      </a:lnTo>
                      <a:lnTo>
                        <a:pt x="98" y="372"/>
                      </a:lnTo>
                      <a:lnTo>
                        <a:pt x="99" y="372"/>
                      </a:lnTo>
                      <a:lnTo>
                        <a:pt x="99" y="371"/>
                      </a:lnTo>
                      <a:lnTo>
                        <a:pt x="98" y="371"/>
                      </a:lnTo>
                      <a:lnTo>
                        <a:pt x="98" y="371"/>
                      </a:lnTo>
                      <a:lnTo>
                        <a:pt x="98" y="372"/>
                      </a:lnTo>
                      <a:lnTo>
                        <a:pt x="97" y="372"/>
                      </a:lnTo>
                      <a:lnTo>
                        <a:pt x="96" y="372"/>
                      </a:lnTo>
                      <a:lnTo>
                        <a:pt x="96" y="371"/>
                      </a:lnTo>
                      <a:lnTo>
                        <a:pt x="96" y="371"/>
                      </a:lnTo>
                      <a:lnTo>
                        <a:pt x="96" y="370"/>
                      </a:lnTo>
                      <a:lnTo>
                        <a:pt x="95" y="370"/>
                      </a:lnTo>
                      <a:lnTo>
                        <a:pt x="95" y="370"/>
                      </a:lnTo>
                      <a:lnTo>
                        <a:pt x="94" y="371"/>
                      </a:lnTo>
                      <a:lnTo>
                        <a:pt x="94" y="372"/>
                      </a:lnTo>
                      <a:lnTo>
                        <a:pt x="95" y="372"/>
                      </a:lnTo>
                      <a:lnTo>
                        <a:pt x="95" y="372"/>
                      </a:lnTo>
                      <a:lnTo>
                        <a:pt x="95" y="372"/>
                      </a:lnTo>
                      <a:lnTo>
                        <a:pt x="95" y="372"/>
                      </a:lnTo>
                      <a:lnTo>
                        <a:pt x="95" y="372"/>
                      </a:lnTo>
                      <a:lnTo>
                        <a:pt x="95" y="372"/>
                      </a:lnTo>
                      <a:lnTo>
                        <a:pt x="94" y="372"/>
                      </a:lnTo>
                      <a:lnTo>
                        <a:pt x="93" y="372"/>
                      </a:lnTo>
                      <a:lnTo>
                        <a:pt x="93" y="371"/>
                      </a:lnTo>
                      <a:lnTo>
                        <a:pt x="93" y="371"/>
                      </a:lnTo>
                      <a:lnTo>
                        <a:pt x="93" y="372"/>
                      </a:lnTo>
                      <a:lnTo>
                        <a:pt x="92" y="372"/>
                      </a:lnTo>
                      <a:lnTo>
                        <a:pt x="92" y="372"/>
                      </a:lnTo>
                      <a:lnTo>
                        <a:pt x="92" y="373"/>
                      </a:lnTo>
                      <a:lnTo>
                        <a:pt x="92" y="373"/>
                      </a:lnTo>
                      <a:lnTo>
                        <a:pt x="92" y="373"/>
                      </a:lnTo>
                      <a:lnTo>
                        <a:pt x="92" y="373"/>
                      </a:lnTo>
                      <a:lnTo>
                        <a:pt x="92" y="373"/>
                      </a:lnTo>
                      <a:lnTo>
                        <a:pt x="91" y="373"/>
                      </a:lnTo>
                      <a:lnTo>
                        <a:pt x="91" y="373"/>
                      </a:lnTo>
                      <a:lnTo>
                        <a:pt x="90" y="373"/>
                      </a:lnTo>
                      <a:lnTo>
                        <a:pt x="90" y="374"/>
                      </a:lnTo>
                      <a:lnTo>
                        <a:pt x="89" y="374"/>
                      </a:lnTo>
                      <a:lnTo>
                        <a:pt x="89" y="373"/>
                      </a:lnTo>
                      <a:lnTo>
                        <a:pt x="89" y="373"/>
                      </a:lnTo>
                      <a:lnTo>
                        <a:pt x="88" y="373"/>
                      </a:lnTo>
                      <a:lnTo>
                        <a:pt x="88" y="374"/>
                      </a:lnTo>
                      <a:lnTo>
                        <a:pt x="89" y="374"/>
                      </a:lnTo>
                      <a:lnTo>
                        <a:pt x="88" y="374"/>
                      </a:lnTo>
                      <a:lnTo>
                        <a:pt x="89" y="374"/>
                      </a:lnTo>
                      <a:lnTo>
                        <a:pt x="89" y="375"/>
                      </a:lnTo>
                      <a:lnTo>
                        <a:pt x="89" y="375"/>
                      </a:lnTo>
                      <a:lnTo>
                        <a:pt x="89" y="376"/>
                      </a:lnTo>
                      <a:lnTo>
                        <a:pt x="88" y="376"/>
                      </a:lnTo>
                      <a:lnTo>
                        <a:pt x="89" y="376"/>
                      </a:lnTo>
                      <a:lnTo>
                        <a:pt x="87" y="376"/>
                      </a:lnTo>
                      <a:lnTo>
                        <a:pt x="86" y="376"/>
                      </a:lnTo>
                      <a:lnTo>
                        <a:pt x="85" y="376"/>
                      </a:lnTo>
                      <a:lnTo>
                        <a:pt x="85" y="377"/>
                      </a:lnTo>
                      <a:lnTo>
                        <a:pt x="85" y="377"/>
                      </a:lnTo>
                      <a:lnTo>
                        <a:pt x="85" y="377"/>
                      </a:lnTo>
                      <a:lnTo>
                        <a:pt x="84" y="377"/>
                      </a:lnTo>
                      <a:lnTo>
                        <a:pt x="84" y="378"/>
                      </a:lnTo>
                      <a:lnTo>
                        <a:pt x="83" y="378"/>
                      </a:lnTo>
                      <a:lnTo>
                        <a:pt x="83" y="377"/>
                      </a:lnTo>
                      <a:lnTo>
                        <a:pt x="83" y="377"/>
                      </a:lnTo>
                      <a:lnTo>
                        <a:pt x="82" y="377"/>
                      </a:lnTo>
                      <a:lnTo>
                        <a:pt x="81" y="377"/>
                      </a:lnTo>
                      <a:lnTo>
                        <a:pt x="81" y="378"/>
                      </a:lnTo>
                      <a:lnTo>
                        <a:pt x="81" y="378"/>
                      </a:lnTo>
                      <a:lnTo>
                        <a:pt x="80" y="378"/>
                      </a:lnTo>
                      <a:lnTo>
                        <a:pt x="80" y="378"/>
                      </a:lnTo>
                      <a:lnTo>
                        <a:pt x="80" y="378"/>
                      </a:lnTo>
                      <a:lnTo>
                        <a:pt x="79" y="378"/>
                      </a:lnTo>
                      <a:lnTo>
                        <a:pt x="78" y="378"/>
                      </a:lnTo>
                      <a:lnTo>
                        <a:pt x="77" y="378"/>
                      </a:lnTo>
                      <a:lnTo>
                        <a:pt x="77" y="379"/>
                      </a:lnTo>
                      <a:lnTo>
                        <a:pt x="76" y="379"/>
                      </a:lnTo>
                      <a:lnTo>
                        <a:pt x="74" y="380"/>
                      </a:lnTo>
                      <a:lnTo>
                        <a:pt x="72" y="380"/>
                      </a:lnTo>
                      <a:lnTo>
                        <a:pt x="71" y="380"/>
                      </a:lnTo>
                      <a:lnTo>
                        <a:pt x="70" y="380"/>
                      </a:lnTo>
                      <a:lnTo>
                        <a:pt x="70" y="380"/>
                      </a:lnTo>
                      <a:lnTo>
                        <a:pt x="71" y="380"/>
                      </a:lnTo>
                      <a:lnTo>
                        <a:pt x="71" y="379"/>
                      </a:lnTo>
                      <a:lnTo>
                        <a:pt x="70" y="380"/>
                      </a:lnTo>
                      <a:lnTo>
                        <a:pt x="70" y="380"/>
                      </a:lnTo>
                      <a:lnTo>
                        <a:pt x="69" y="380"/>
                      </a:lnTo>
                      <a:lnTo>
                        <a:pt x="69" y="381"/>
                      </a:lnTo>
                      <a:lnTo>
                        <a:pt x="69" y="381"/>
                      </a:lnTo>
                      <a:lnTo>
                        <a:pt x="68" y="380"/>
                      </a:lnTo>
                      <a:lnTo>
                        <a:pt x="67" y="380"/>
                      </a:lnTo>
                      <a:lnTo>
                        <a:pt x="67" y="380"/>
                      </a:lnTo>
                      <a:lnTo>
                        <a:pt x="66" y="380"/>
                      </a:lnTo>
                      <a:lnTo>
                        <a:pt x="67" y="381"/>
                      </a:lnTo>
                      <a:lnTo>
                        <a:pt x="67" y="381"/>
                      </a:lnTo>
                      <a:lnTo>
                        <a:pt x="66" y="381"/>
                      </a:lnTo>
                      <a:lnTo>
                        <a:pt x="66" y="381"/>
                      </a:lnTo>
                      <a:lnTo>
                        <a:pt x="66" y="381"/>
                      </a:lnTo>
                      <a:lnTo>
                        <a:pt x="65" y="381"/>
                      </a:lnTo>
                      <a:lnTo>
                        <a:pt x="65" y="381"/>
                      </a:lnTo>
                      <a:lnTo>
                        <a:pt x="65" y="382"/>
                      </a:lnTo>
                      <a:lnTo>
                        <a:pt x="65" y="383"/>
                      </a:lnTo>
                      <a:lnTo>
                        <a:pt x="65" y="383"/>
                      </a:lnTo>
                      <a:lnTo>
                        <a:pt x="65" y="384"/>
                      </a:lnTo>
                      <a:lnTo>
                        <a:pt x="65" y="384"/>
                      </a:lnTo>
                      <a:lnTo>
                        <a:pt x="65" y="384"/>
                      </a:lnTo>
                      <a:lnTo>
                        <a:pt x="64" y="384"/>
                      </a:lnTo>
                      <a:lnTo>
                        <a:pt x="64" y="384"/>
                      </a:lnTo>
                      <a:lnTo>
                        <a:pt x="63" y="384"/>
                      </a:lnTo>
                      <a:lnTo>
                        <a:pt x="63" y="384"/>
                      </a:lnTo>
                      <a:lnTo>
                        <a:pt x="63" y="383"/>
                      </a:lnTo>
                      <a:lnTo>
                        <a:pt x="62" y="383"/>
                      </a:lnTo>
                      <a:lnTo>
                        <a:pt x="62" y="383"/>
                      </a:lnTo>
                      <a:lnTo>
                        <a:pt x="61" y="384"/>
                      </a:lnTo>
                      <a:lnTo>
                        <a:pt x="61" y="384"/>
                      </a:lnTo>
                      <a:lnTo>
                        <a:pt x="60" y="384"/>
                      </a:lnTo>
                      <a:lnTo>
                        <a:pt x="60" y="383"/>
                      </a:lnTo>
                      <a:lnTo>
                        <a:pt x="59" y="383"/>
                      </a:lnTo>
                      <a:lnTo>
                        <a:pt x="60" y="383"/>
                      </a:lnTo>
                      <a:lnTo>
                        <a:pt x="59" y="383"/>
                      </a:lnTo>
                      <a:lnTo>
                        <a:pt x="59" y="384"/>
                      </a:lnTo>
                      <a:lnTo>
                        <a:pt x="59" y="384"/>
                      </a:lnTo>
                      <a:lnTo>
                        <a:pt x="59" y="384"/>
                      </a:lnTo>
                      <a:lnTo>
                        <a:pt x="59" y="384"/>
                      </a:lnTo>
                      <a:lnTo>
                        <a:pt x="58" y="384"/>
                      </a:lnTo>
                      <a:lnTo>
                        <a:pt x="59" y="384"/>
                      </a:lnTo>
                      <a:lnTo>
                        <a:pt x="58" y="384"/>
                      </a:lnTo>
                      <a:lnTo>
                        <a:pt x="59" y="384"/>
                      </a:lnTo>
                      <a:lnTo>
                        <a:pt x="58" y="384"/>
                      </a:lnTo>
                      <a:lnTo>
                        <a:pt x="58" y="384"/>
                      </a:lnTo>
                      <a:lnTo>
                        <a:pt x="58" y="384"/>
                      </a:lnTo>
                      <a:lnTo>
                        <a:pt x="58" y="384"/>
                      </a:lnTo>
                      <a:lnTo>
                        <a:pt x="58" y="384"/>
                      </a:lnTo>
                      <a:lnTo>
                        <a:pt x="57" y="384"/>
                      </a:lnTo>
                      <a:lnTo>
                        <a:pt x="57" y="384"/>
                      </a:lnTo>
                      <a:lnTo>
                        <a:pt x="56" y="384"/>
                      </a:lnTo>
                      <a:lnTo>
                        <a:pt x="55" y="384"/>
                      </a:lnTo>
                      <a:lnTo>
                        <a:pt x="55" y="385"/>
                      </a:lnTo>
                      <a:lnTo>
                        <a:pt x="55" y="385"/>
                      </a:lnTo>
                      <a:lnTo>
                        <a:pt x="55" y="384"/>
                      </a:lnTo>
                      <a:lnTo>
                        <a:pt x="55" y="385"/>
                      </a:lnTo>
                      <a:lnTo>
                        <a:pt x="55" y="385"/>
                      </a:lnTo>
                      <a:lnTo>
                        <a:pt x="54" y="385"/>
                      </a:lnTo>
                      <a:lnTo>
                        <a:pt x="55" y="385"/>
                      </a:lnTo>
                      <a:lnTo>
                        <a:pt x="54" y="385"/>
                      </a:lnTo>
                      <a:lnTo>
                        <a:pt x="54" y="385"/>
                      </a:lnTo>
                      <a:lnTo>
                        <a:pt x="54" y="385"/>
                      </a:lnTo>
                      <a:lnTo>
                        <a:pt x="53" y="385"/>
                      </a:lnTo>
                      <a:lnTo>
                        <a:pt x="52" y="385"/>
                      </a:lnTo>
                      <a:lnTo>
                        <a:pt x="52" y="385"/>
                      </a:lnTo>
                      <a:lnTo>
                        <a:pt x="52" y="385"/>
                      </a:lnTo>
                      <a:lnTo>
                        <a:pt x="51" y="385"/>
                      </a:lnTo>
                      <a:lnTo>
                        <a:pt x="51" y="385"/>
                      </a:lnTo>
                      <a:lnTo>
                        <a:pt x="50" y="385"/>
                      </a:lnTo>
                      <a:lnTo>
                        <a:pt x="50" y="386"/>
                      </a:lnTo>
                      <a:lnTo>
                        <a:pt x="50" y="386"/>
                      </a:lnTo>
                      <a:lnTo>
                        <a:pt x="50" y="385"/>
                      </a:lnTo>
                      <a:lnTo>
                        <a:pt x="50" y="386"/>
                      </a:lnTo>
                      <a:lnTo>
                        <a:pt x="50" y="385"/>
                      </a:lnTo>
                      <a:lnTo>
                        <a:pt x="50" y="386"/>
                      </a:lnTo>
                      <a:lnTo>
                        <a:pt x="50" y="385"/>
                      </a:lnTo>
                      <a:lnTo>
                        <a:pt x="49" y="385"/>
                      </a:lnTo>
                      <a:lnTo>
                        <a:pt x="49" y="386"/>
                      </a:lnTo>
                      <a:lnTo>
                        <a:pt x="49" y="385"/>
                      </a:lnTo>
                      <a:lnTo>
                        <a:pt x="49" y="386"/>
                      </a:lnTo>
                      <a:lnTo>
                        <a:pt x="49" y="385"/>
                      </a:lnTo>
                      <a:lnTo>
                        <a:pt x="49" y="386"/>
                      </a:lnTo>
                      <a:lnTo>
                        <a:pt x="49" y="385"/>
                      </a:lnTo>
                      <a:lnTo>
                        <a:pt x="48" y="385"/>
                      </a:lnTo>
                      <a:lnTo>
                        <a:pt x="48" y="386"/>
                      </a:lnTo>
                      <a:lnTo>
                        <a:pt x="48" y="386"/>
                      </a:lnTo>
                      <a:lnTo>
                        <a:pt x="48" y="386"/>
                      </a:lnTo>
                      <a:lnTo>
                        <a:pt x="48" y="386"/>
                      </a:lnTo>
                      <a:lnTo>
                        <a:pt x="48" y="387"/>
                      </a:lnTo>
                      <a:lnTo>
                        <a:pt x="47" y="387"/>
                      </a:lnTo>
                      <a:lnTo>
                        <a:pt x="47" y="387"/>
                      </a:lnTo>
                      <a:lnTo>
                        <a:pt x="46" y="387"/>
                      </a:lnTo>
                      <a:lnTo>
                        <a:pt x="46" y="387"/>
                      </a:lnTo>
                      <a:lnTo>
                        <a:pt x="45" y="387"/>
                      </a:lnTo>
                      <a:lnTo>
                        <a:pt x="45" y="387"/>
                      </a:lnTo>
                      <a:lnTo>
                        <a:pt x="44" y="387"/>
                      </a:lnTo>
                      <a:lnTo>
                        <a:pt x="44" y="387"/>
                      </a:lnTo>
                      <a:lnTo>
                        <a:pt x="43" y="387"/>
                      </a:lnTo>
                      <a:lnTo>
                        <a:pt x="43" y="388"/>
                      </a:lnTo>
                      <a:lnTo>
                        <a:pt x="44" y="388"/>
                      </a:lnTo>
                      <a:lnTo>
                        <a:pt x="43" y="388"/>
                      </a:lnTo>
                      <a:lnTo>
                        <a:pt x="43" y="389"/>
                      </a:lnTo>
                      <a:lnTo>
                        <a:pt x="43" y="389"/>
                      </a:lnTo>
                      <a:lnTo>
                        <a:pt x="43" y="389"/>
                      </a:lnTo>
                      <a:lnTo>
                        <a:pt x="42" y="389"/>
                      </a:lnTo>
                      <a:lnTo>
                        <a:pt x="42" y="388"/>
                      </a:lnTo>
                      <a:lnTo>
                        <a:pt x="43" y="388"/>
                      </a:lnTo>
                      <a:lnTo>
                        <a:pt x="42" y="388"/>
                      </a:lnTo>
                      <a:lnTo>
                        <a:pt x="41" y="388"/>
                      </a:lnTo>
                      <a:lnTo>
                        <a:pt x="41" y="388"/>
                      </a:lnTo>
                      <a:lnTo>
                        <a:pt x="40" y="388"/>
                      </a:lnTo>
                      <a:lnTo>
                        <a:pt x="40" y="388"/>
                      </a:lnTo>
                      <a:lnTo>
                        <a:pt x="39" y="388"/>
                      </a:lnTo>
                      <a:lnTo>
                        <a:pt x="40" y="388"/>
                      </a:lnTo>
                      <a:lnTo>
                        <a:pt x="39" y="388"/>
                      </a:lnTo>
                      <a:lnTo>
                        <a:pt x="39" y="388"/>
                      </a:lnTo>
                      <a:lnTo>
                        <a:pt x="39" y="389"/>
                      </a:lnTo>
                      <a:lnTo>
                        <a:pt x="38" y="389"/>
                      </a:lnTo>
                      <a:lnTo>
                        <a:pt x="37" y="388"/>
                      </a:lnTo>
                      <a:lnTo>
                        <a:pt x="38" y="388"/>
                      </a:lnTo>
                      <a:lnTo>
                        <a:pt x="37" y="388"/>
                      </a:lnTo>
                      <a:lnTo>
                        <a:pt x="37" y="388"/>
                      </a:lnTo>
                      <a:lnTo>
                        <a:pt x="37" y="388"/>
                      </a:lnTo>
                      <a:lnTo>
                        <a:pt x="36" y="388"/>
                      </a:lnTo>
                      <a:lnTo>
                        <a:pt x="36" y="388"/>
                      </a:lnTo>
                      <a:lnTo>
                        <a:pt x="36" y="388"/>
                      </a:lnTo>
                      <a:lnTo>
                        <a:pt x="35" y="388"/>
                      </a:lnTo>
                      <a:lnTo>
                        <a:pt x="35" y="388"/>
                      </a:lnTo>
                      <a:lnTo>
                        <a:pt x="35" y="388"/>
                      </a:lnTo>
                      <a:lnTo>
                        <a:pt x="35" y="387"/>
                      </a:lnTo>
                      <a:lnTo>
                        <a:pt x="34" y="387"/>
                      </a:lnTo>
                      <a:lnTo>
                        <a:pt x="33" y="387"/>
                      </a:lnTo>
                      <a:lnTo>
                        <a:pt x="33" y="387"/>
                      </a:lnTo>
                      <a:lnTo>
                        <a:pt x="33" y="388"/>
                      </a:lnTo>
                      <a:lnTo>
                        <a:pt x="33" y="388"/>
                      </a:lnTo>
                      <a:lnTo>
                        <a:pt x="33" y="389"/>
                      </a:lnTo>
                      <a:lnTo>
                        <a:pt x="32" y="389"/>
                      </a:lnTo>
                      <a:lnTo>
                        <a:pt x="32" y="388"/>
                      </a:lnTo>
                      <a:lnTo>
                        <a:pt x="32" y="388"/>
                      </a:lnTo>
                      <a:lnTo>
                        <a:pt x="31" y="388"/>
                      </a:lnTo>
                      <a:lnTo>
                        <a:pt x="31" y="389"/>
                      </a:lnTo>
                      <a:lnTo>
                        <a:pt x="31" y="389"/>
                      </a:lnTo>
                      <a:lnTo>
                        <a:pt x="31" y="389"/>
                      </a:lnTo>
                      <a:lnTo>
                        <a:pt x="31" y="389"/>
                      </a:lnTo>
                      <a:lnTo>
                        <a:pt x="32" y="389"/>
                      </a:lnTo>
                      <a:lnTo>
                        <a:pt x="32" y="390"/>
                      </a:lnTo>
                      <a:lnTo>
                        <a:pt x="33" y="390"/>
                      </a:lnTo>
                      <a:lnTo>
                        <a:pt x="33" y="391"/>
                      </a:lnTo>
                      <a:lnTo>
                        <a:pt x="32" y="391"/>
                      </a:lnTo>
                      <a:lnTo>
                        <a:pt x="32" y="391"/>
                      </a:lnTo>
                      <a:lnTo>
                        <a:pt x="31" y="391"/>
                      </a:lnTo>
                      <a:lnTo>
                        <a:pt x="31" y="392"/>
                      </a:lnTo>
                      <a:lnTo>
                        <a:pt x="31" y="392"/>
                      </a:lnTo>
                      <a:lnTo>
                        <a:pt x="31" y="392"/>
                      </a:lnTo>
                      <a:lnTo>
                        <a:pt x="30" y="392"/>
                      </a:lnTo>
                      <a:lnTo>
                        <a:pt x="30" y="393"/>
                      </a:lnTo>
                      <a:lnTo>
                        <a:pt x="31" y="393"/>
                      </a:lnTo>
                      <a:lnTo>
                        <a:pt x="32" y="393"/>
                      </a:lnTo>
                      <a:lnTo>
                        <a:pt x="32" y="393"/>
                      </a:lnTo>
                      <a:lnTo>
                        <a:pt x="32" y="394"/>
                      </a:lnTo>
                      <a:lnTo>
                        <a:pt x="33" y="394"/>
                      </a:lnTo>
                      <a:lnTo>
                        <a:pt x="33" y="394"/>
                      </a:lnTo>
                      <a:lnTo>
                        <a:pt x="34" y="393"/>
                      </a:lnTo>
                      <a:lnTo>
                        <a:pt x="35" y="393"/>
                      </a:lnTo>
                      <a:lnTo>
                        <a:pt x="35" y="393"/>
                      </a:lnTo>
                      <a:lnTo>
                        <a:pt x="35" y="394"/>
                      </a:lnTo>
                      <a:lnTo>
                        <a:pt x="36" y="394"/>
                      </a:lnTo>
                      <a:lnTo>
                        <a:pt x="35" y="394"/>
                      </a:lnTo>
                      <a:lnTo>
                        <a:pt x="35" y="395"/>
                      </a:lnTo>
                      <a:lnTo>
                        <a:pt x="34" y="395"/>
                      </a:lnTo>
                      <a:lnTo>
                        <a:pt x="33" y="395"/>
                      </a:lnTo>
                      <a:lnTo>
                        <a:pt x="33" y="394"/>
                      </a:lnTo>
                      <a:lnTo>
                        <a:pt x="33" y="394"/>
                      </a:lnTo>
                      <a:lnTo>
                        <a:pt x="32" y="394"/>
                      </a:lnTo>
                      <a:lnTo>
                        <a:pt x="32" y="395"/>
                      </a:lnTo>
                      <a:lnTo>
                        <a:pt x="32" y="395"/>
                      </a:lnTo>
                      <a:lnTo>
                        <a:pt x="32" y="396"/>
                      </a:lnTo>
                      <a:lnTo>
                        <a:pt x="32" y="397"/>
                      </a:lnTo>
                      <a:lnTo>
                        <a:pt x="33" y="397"/>
                      </a:lnTo>
                      <a:lnTo>
                        <a:pt x="33" y="397"/>
                      </a:lnTo>
                      <a:lnTo>
                        <a:pt x="34" y="397"/>
                      </a:lnTo>
                      <a:lnTo>
                        <a:pt x="35" y="398"/>
                      </a:lnTo>
                      <a:lnTo>
                        <a:pt x="35" y="398"/>
                      </a:lnTo>
                      <a:lnTo>
                        <a:pt x="36" y="398"/>
                      </a:lnTo>
                      <a:lnTo>
                        <a:pt x="36" y="397"/>
                      </a:lnTo>
                      <a:lnTo>
                        <a:pt x="36" y="397"/>
                      </a:lnTo>
                      <a:lnTo>
                        <a:pt x="37" y="398"/>
                      </a:lnTo>
                      <a:lnTo>
                        <a:pt x="37" y="398"/>
                      </a:lnTo>
                      <a:lnTo>
                        <a:pt x="37" y="398"/>
                      </a:lnTo>
                      <a:lnTo>
                        <a:pt x="38" y="399"/>
                      </a:lnTo>
                      <a:lnTo>
                        <a:pt x="39" y="399"/>
                      </a:lnTo>
                      <a:lnTo>
                        <a:pt x="40" y="399"/>
                      </a:lnTo>
                      <a:lnTo>
                        <a:pt x="40" y="399"/>
                      </a:lnTo>
                      <a:lnTo>
                        <a:pt x="40" y="400"/>
                      </a:lnTo>
                      <a:lnTo>
                        <a:pt x="39" y="401"/>
                      </a:lnTo>
                      <a:lnTo>
                        <a:pt x="39" y="401"/>
                      </a:lnTo>
                      <a:lnTo>
                        <a:pt x="37" y="400"/>
                      </a:lnTo>
                      <a:lnTo>
                        <a:pt x="37" y="400"/>
                      </a:lnTo>
                      <a:lnTo>
                        <a:pt x="36" y="400"/>
                      </a:lnTo>
                      <a:lnTo>
                        <a:pt x="36" y="400"/>
                      </a:lnTo>
                      <a:lnTo>
                        <a:pt x="36" y="401"/>
                      </a:lnTo>
                      <a:lnTo>
                        <a:pt x="35" y="400"/>
                      </a:lnTo>
                      <a:lnTo>
                        <a:pt x="35" y="400"/>
                      </a:lnTo>
                      <a:lnTo>
                        <a:pt x="35" y="400"/>
                      </a:lnTo>
                      <a:lnTo>
                        <a:pt x="34" y="400"/>
                      </a:lnTo>
                      <a:lnTo>
                        <a:pt x="33" y="400"/>
                      </a:lnTo>
                      <a:lnTo>
                        <a:pt x="33" y="400"/>
                      </a:lnTo>
                      <a:lnTo>
                        <a:pt x="32" y="400"/>
                      </a:lnTo>
                      <a:lnTo>
                        <a:pt x="32" y="400"/>
                      </a:lnTo>
                      <a:lnTo>
                        <a:pt x="32" y="400"/>
                      </a:lnTo>
                      <a:lnTo>
                        <a:pt x="31" y="400"/>
                      </a:lnTo>
                      <a:lnTo>
                        <a:pt x="31" y="401"/>
                      </a:lnTo>
                      <a:lnTo>
                        <a:pt x="31" y="402"/>
                      </a:lnTo>
                      <a:lnTo>
                        <a:pt x="31" y="402"/>
                      </a:lnTo>
                      <a:lnTo>
                        <a:pt x="31" y="402"/>
                      </a:lnTo>
                      <a:lnTo>
                        <a:pt x="30" y="402"/>
                      </a:lnTo>
                      <a:lnTo>
                        <a:pt x="29" y="403"/>
                      </a:lnTo>
                      <a:lnTo>
                        <a:pt x="29" y="403"/>
                      </a:lnTo>
                      <a:lnTo>
                        <a:pt x="28" y="403"/>
                      </a:lnTo>
                      <a:lnTo>
                        <a:pt x="28" y="404"/>
                      </a:lnTo>
                      <a:lnTo>
                        <a:pt x="28" y="404"/>
                      </a:lnTo>
                      <a:lnTo>
                        <a:pt x="29" y="404"/>
                      </a:lnTo>
                      <a:lnTo>
                        <a:pt x="29" y="404"/>
                      </a:lnTo>
                      <a:lnTo>
                        <a:pt x="29" y="406"/>
                      </a:lnTo>
                      <a:lnTo>
                        <a:pt x="31" y="406"/>
                      </a:lnTo>
                      <a:lnTo>
                        <a:pt x="31" y="407"/>
                      </a:lnTo>
                      <a:lnTo>
                        <a:pt x="31" y="408"/>
                      </a:lnTo>
                      <a:lnTo>
                        <a:pt x="31" y="409"/>
                      </a:lnTo>
                      <a:lnTo>
                        <a:pt x="31" y="409"/>
                      </a:lnTo>
                      <a:lnTo>
                        <a:pt x="31" y="409"/>
                      </a:lnTo>
                      <a:lnTo>
                        <a:pt x="30" y="409"/>
                      </a:lnTo>
                      <a:lnTo>
                        <a:pt x="29" y="409"/>
                      </a:lnTo>
                      <a:lnTo>
                        <a:pt x="29" y="410"/>
                      </a:lnTo>
                      <a:lnTo>
                        <a:pt x="29" y="410"/>
                      </a:lnTo>
                      <a:lnTo>
                        <a:pt x="29" y="410"/>
                      </a:lnTo>
                      <a:lnTo>
                        <a:pt x="28" y="410"/>
                      </a:lnTo>
                      <a:lnTo>
                        <a:pt x="27" y="410"/>
                      </a:lnTo>
                      <a:lnTo>
                        <a:pt x="26" y="411"/>
                      </a:lnTo>
                      <a:lnTo>
                        <a:pt x="25" y="411"/>
                      </a:lnTo>
                      <a:lnTo>
                        <a:pt x="25" y="412"/>
                      </a:lnTo>
                      <a:lnTo>
                        <a:pt x="24" y="413"/>
                      </a:lnTo>
                      <a:lnTo>
                        <a:pt x="23" y="413"/>
                      </a:lnTo>
                      <a:lnTo>
                        <a:pt x="22" y="412"/>
                      </a:lnTo>
                      <a:lnTo>
                        <a:pt x="22" y="412"/>
                      </a:lnTo>
                      <a:lnTo>
                        <a:pt x="22" y="411"/>
                      </a:lnTo>
                      <a:lnTo>
                        <a:pt x="22" y="411"/>
                      </a:lnTo>
                      <a:lnTo>
                        <a:pt x="22" y="411"/>
                      </a:lnTo>
                      <a:lnTo>
                        <a:pt x="22" y="410"/>
                      </a:lnTo>
                      <a:lnTo>
                        <a:pt x="23" y="410"/>
                      </a:lnTo>
                      <a:lnTo>
                        <a:pt x="23" y="410"/>
                      </a:lnTo>
                      <a:lnTo>
                        <a:pt x="24" y="410"/>
                      </a:lnTo>
                      <a:lnTo>
                        <a:pt x="24" y="409"/>
                      </a:lnTo>
                      <a:lnTo>
                        <a:pt x="24" y="409"/>
                      </a:lnTo>
                      <a:lnTo>
                        <a:pt x="24" y="409"/>
                      </a:lnTo>
                      <a:lnTo>
                        <a:pt x="24" y="408"/>
                      </a:lnTo>
                      <a:lnTo>
                        <a:pt x="24" y="407"/>
                      </a:lnTo>
                      <a:lnTo>
                        <a:pt x="24" y="407"/>
                      </a:lnTo>
                      <a:lnTo>
                        <a:pt x="23" y="407"/>
                      </a:lnTo>
                      <a:lnTo>
                        <a:pt x="22" y="407"/>
                      </a:lnTo>
                      <a:lnTo>
                        <a:pt x="22" y="407"/>
                      </a:lnTo>
                      <a:lnTo>
                        <a:pt x="22" y="407"/>
                      </a:lnTo>
                      <a:lnTo>
                        <a:pt x="21" y="407"/>
                      </a:lnTo>
                      <a:lnTo>
                        <a:pt x="21" y="406"/>
                      </a:lnTo>
                      <a:lnTo>
                        <a:pt x="21" y="407"/>
                      </a:lnTo>
                      <a:lnTo>
                        <a:pt x="21" y="407"/>
                      </a:lnTo>
                      <a:lnTo>
                        <a:pt x="20" y="407"/>
                      </a:lnTo>
                      <a:lnTo>
                        <a:pt x="20" y="407"/>
                      </a:lnTo>
                      <a:lnTo>
                        <a:pt x="20" y="407"/>
                      </a:lnTo>
                      <a:lnTo>
                        <a:pt x="19" y="407"/>
                      </a:lnTo>
                      <a:lnTo>
                        <a:pt x="19" y="407"/>
                      </a:lnTo>
                      <a:lnTo>
                        <a:pt x="18" y="407"/>
                      </a:lnTo>
                      <a:lnTo>
                        <a:pt x="18" y="407"/>
                      </a:lnTo>
                      <a:lnTo>
                        <a:pt x="18" y="406"/>
                      </a:lnTo>
                      <a:lnTo>
                        <a:pt x="18" y="407"/>
                      </a:lnTo>
                      <a:lnTo>
                        <a:pt x="17" y="407"/>
                      </a:lnTo>
                      <a:lnTo>
                        <a:pt x="17" y="406"/>
                      </a:lnTo>
                      <a:lnTo>
                        <a:pt x="17" y="407"/>
                      </a:lnTo>
                      <a:lnTo>
                        <a:pt x="17" y="406"/>
                      </a:lnTo>
                      <a:lnTo>
                        <a:pt x="17" y="407"/>
                      </a:lnTo>
                      <a:lnTo>
                        <a:pt x="17" y="406"/>
                      </a:lnTo>
                      <a:lnTo>
                        <a:pt x="17" y="407"/>
                      </a:lnTo>
                      <a:lnTo>
                        <a:pt x="17" y="407"/>
                      </a:lnTo>
                      <a:lnTo>
                        <a:pt x="16" y="407"/>
                      </a:lnTo>
                      <a:lnTo>
                        <a:pt x="17" y="408"/>
                      </a:lnTo>
                      <a:lnTo>
                        <a:pt x="17" y="409"/>
                      </a:lnTo>
                      <a:lnTo>
                        <a:pt x="16" y="409"/>
                      </a:lnTo>
                      <a:lnTo>
                        <a:pt x="16" y="409"/>
                      </a:lnTo>
                      <a:lnTo>
                        <a:pt x="16" y="409"/>
                      </a:lnTo>
                      <a:lnTo>
                        <a:pt x="15" y="408"/>
                      </a:lnTo>
                      <a:lnTo>
                        <a:pt x="15" y="407"/>
                      </a:lnTo>
                      <a:lnTo>
                        <a:pt x="14" y="407"/>
                      </a:lnTo>
                      <a:lnTo>
                        <a:pt x="15" y="407"/>
                      </a:lnTo>
                      <a:lnTo>
                        <a:pt x="14" y="407"/>
                      </a:lnTo>
                      <a:lnTo>
                        <a:pt x="14" y="407"/>
                      </a:lnTo>
                      <a:lnTo>
                        <a:pt x="14" y="407"/>
                      </a:lnTo>
                      <a:lnTo>
                        <a:pt x="14" y="407"/>
                      </a:lnTo>
                      <a:lnTo>
                        <a:pt x="13" y="407"/>
                      </a:lnTo>
                      <a:lnTo>
                        <a:pt x="13" y="407"/>
                      </a:lnTo>
                      <a:lnTo>
                        <a:pt x="13" y="407"/>
                      </a:lnTo>
                      <a:lnTo>
                        <a:pt x="13" y="406"/>
                      </a:lnTo>
                      <a:lnTo>
                        <a:pt x="13" y="406"/>
                      </a:lnTo>
                      <a:lnTo>
                        <a:pt x="13" y="406"/>
                      </a:lnTo>
                      <a:lnTo>
                        <a:pt x="13" y="405"/>
                      </a:lnTo>
                      <a:lnTo>
                        <a:pt x="13" y="405"/>
                      </a:lnTo>
                      <a:lnTo>
                        <a:pt x="13" y="404"/>
                      </a:lnTo>
                      <a:lnTo>
                        <a:pt x="13" y="404"/>
                      </a:lnTo>
                      <a:lnTo>
                        <a:pt x="13" y="404"/>
                      </a:lnTo>
                      <a:lnTo>
                        <a:pt x="13" y="404"/>
                      </a:lnTo>
                      <a:lnTo>
                        <a:pt x="13" y="404"/>
                      </a:lnTo>
                      <a:lnTo>
                        <a:pt x="13" y="404"/>
                      </a:lnTo>
                      <a:lnTo>
                        <a:pt x="13" y="404"/>
                      </a:lnTo>
                      <a:lnTo>
                        <a:pt x="13" y="403"/>
                      </a:lnTo>
                      <a:lnTo>
                        <a:pt x="13" y="403"/>
                      </a:lnTo>
                      <a:lnTo>
                        <a:pt x="13" y="402"/>
                      </a:lnTo>
                      <a:lnTo>
                        <a:pt x="13" y="402"/>
                      </a:lnTo>
                      <a:lnTo>
                        <a:pt x="13" y="402"/>
                      </a:lnTo>
                      <a:lnTo>
                        <a:pt x="13" y="401"/>
                      </a:lnTo>
                      <a:lnTo>
                        <a:pt x="14" y="401"/>
                      </a:lnTo>
                      <a:lnTo>
                        <a:pt x="13" y="400"/>
                      </a:lnTo>
                      <a:lnTo>
                        <a:pt x="14" y="400"/>
                      </a:lnTo>
                      <a:lnTo>
                        <a:pt x="14" y="400"/>
                      </a:lnTo>
                      <a:lnTo>
                        <a:pt x="14" y="399"/>
                      </a:lnTo>
                      <a:lnTo>
                        <a:pt x="14" y="398"/>
                      </a:lnTo>
                      <a:lnTo>
                        <a:pt x="14" y="397"/>
                      </a:lnTo>
                      <a:lnTo>
                        <a:pt x="14" y="396"/>
                      </a:lnTo>
                      <a:lnTo>
                        <a:pt x="14" y="396"/>
                      </a:lnTo>
                      <a:lnTo>
                        <a:pt x="14" y="394"/>
                      </a:lnTo>
                      <a:lnTo>
                        <a:pt x="14" y="394"/>
                      </a:lnTo>
                      <a:lnTo>
                        <a:pt x="13" y="394"/>
                      </a:lnTo>
                      <a:lnTo>
                        <a:pt x="13" y="393"/>
                      </a:lnTo>
                      <a:lnTo>
                        <a:pt x="14" y="392"/>
                      </a:lnTo>
                      <a:lnTo>
                        <a:pt x="14" y="392"/>
                      </a:lnTo>
                      <a:lnTo>
                        <a:pt x="14" y="391"/>
                      </a:lnTo>
                      <a:lnTo>
                        <a:pt x="14" y="391"/>
                      </a:lnTo>
                      <a:lnTo>
                        <a:pt x="14" y="391"/>
                      </a:lnTo>
                      <a:lnTo>
                        <a:pt x="14" y="390"/>
                      </a:lnTo>
                      <a:lnTo>
                        <a:pt x="14" y="389"/>
                      </a:lnTo>
                      <a:lnTo>
                        <a:pt x="14" y="389"/>
                      </a:lnTo>
                      <a:lnTo>
                        <a:pt x="14" y="389"/>
                      </a:lnTo>
                      <a:lnTo>
                        <a:pt x="14" y="389"/>
                      </a:lnTo>
                      <a:lnTo>
                        <a:pt x="14" y="388"/>
                      </a:lnTo>
                      <a:lnTo>
                        <a:pt x="15" y="389"/>
                      </a:lnTo>
                      <a:lnTo>
                        <a:pt x="15" y="388"/>
                      </a:lnTo>
                      <a:lnTo>
                        <a:pt x="16" y="388"/>
                      </a:lnTo>
                      <a:lnTo>
                        <a:pt x="16" y="389"/>
                      </a:lnTo>
                      <a:lnTo>
                        <a:pt x="16" y="388"/>
                      </a:lnTo>
                      <a:lnTo>
                        <a:pt x="16" y="388"/>
                      </a:lnTo>
                      <a:lnTo>
                        <a:pt x="16" y="388"/>
                      </a:lnTo>
                      <a:lnTo>
                        <a:pt x="17" y="387"/>
                      </a:lnTo>
                      <a:lnTo>
                        <a:pt x="17" y="387"/>
                      </a:lnTo>
                      <a:lnTo>
                        <a:pt x="17" y="386"/>
                      </a:lnTo>
                      <a:lnTo>
                        <a:pt x="18" y="386"/>
                      </a:lnTo>
                      <a:lnTo>
                        <a:pt x="18" y="386"/>
                      </a:lnTo>
                      <a:lnTo>
                        <a:pt x="19" y="386"/>
                      </a:lnTo>
                      <a:lnTo>
                        <a:pt x="20" y="386"/>
                      </a:lnTo>
                      <a:lnTo>
                        <a:pt x="20" y="386"/>
                      </a:lnTo>
                      <a:lnTo>
                        <a:pt x="20" y="387"/>
                      </a:lnTo>
                      <a:lnTo>
                        <a:pt x="20" y="386"/>
                      </a:lnTo>
                      <a:lnTo>
                        <a:pt x="21" y="385"/>
                      </a:lnTo>
                      <a:lnTo>
                        <a:pt x="21" y="385"/>
                      </a:lnTo>
                      <a:lnTo>
                        <a:pt x="21" y="385"/>
                      </a:lnTo>
                      <a:lnTo>
                        <a:pt x="21" y="384"/>
                      </a:lnTo>
                      <a:lnTo>
                        <a:pt x="20" y="384"/>
                      </a:lnTo>
                      <a:lnTo>
                        <a:pt x="21" y="384"/>
                      </a:lnTo>
                      <a:lnTo>
                        <a:pt x="21" y="383"/>
                      </a:lnTo>
                      <a:lnTo>
                        <a:pt x="21" y="383"/>
                      </a:lnTo>
                      <a:lnTo>
                        <a:pt x="20" y="383"/>
                      </a:lnTo>
                      <a:lnTo>
                        <a:pt x="20" y="382"/>
                      </a:lnTo>
                      <a:lnTo>
                        <a:pt x="20" y="381"/>
                      </a:lnTo>
                      <a:lnTo>
                        <a:pt x="21" y="381"/>
                      </a:lnTo>
                      <a:lnTo>
                        <a:pt x="21" y="381"/>
                      </a:lnTo>
                      <a:lnTo>
                        <a:pt x="22" y="380"/>
                      </a:lnTo>
                      <a:lnTo>
                        <a:pt x="22" y="380"/>
                      </a:lnTo>
                      <a:lnTo>
                        <a:pt x="22" y="379"/>
                      </a:lnTo>
                      <a:lnTo>
                        <a:pt x="22" y="379"/>
                      </a:lnTo>
                      <a:lnTo>
                        <a:pt x="22" y="378"/>
                      </a:lnTo>
                      <a:lnTo>
                        <a:pt x="22" y="378"/>
                      </a:lnTo>
                      <a:lnTo>
                        <a:pt x="22" y="378"/>
                      </a:lnTo>
                      <a:lnTo>
                        <a:pt x="22" y="377"/>
                      </a:lnTo>
                      <a:lnTo>
                        <a:pt x="22" y="377"/>
                      </a:lnTo>
                      <a:lnTo>
                        <a:pt x="22" y="378"/>
                      </a:lnTo>
                      <a:lnTo>
                        <a:pt x="21" y="378"/>
                      </a:lnTo>
                      <a:lnTo>
                        <a:pt x="21" y="377"/>
                      </a:lnTo>
                      <a:lnTo>
                        <a:pt x="21" y="377"/>
                      </a:lnTo>
                      <a:lnTo>
                        <a:pt x="20" y="377"/>
                      </a:lnTo>
                      <a:lnTo>
                        <a:pt x="20" y="377"/>
                      </a:lnTo>
                      <a:lnTo>
                        <a:pt x="20" y="377"/>
                      </a:lnTo>
                      <a:lnTo>
                        <a:pt x="20" y="377"/>
                      </a:lnTo>
                      <a:lnTo>
                        <a:pt x="19" y="377"/>
                      </a:lnTo>
                      <a:lnTo>
                        <a:pt x="19" y="378"/>
                      </a:lnTo>
                      <a:lnTo>
                        <a:pt x="19" y="378"/>
                      </a:lnTo>
                      <a:lnTo>
                        <a:pt x="18" y="378"/>
                      </a:lnTo>
                      <a:lnTo>
                        <a:pt x="18" y="379"/>
                      </a:lnTo>
                      <a:lnTo>
                        <a:pt x="18" y="379"/>
                      </a:lnTo>
                      <a:lnTo>
                        <a:pt x="17" y="380"/>
                      </a:lnTo>
                      <a:lnTo>
                        <a:pt x="17" y="380"/>
                      </a:lnTo>
                      <a:lnTo>
                        <a:pt x="17" y="381"/>
                      </a:lnTo>
                      <a:lnTo>
                        <a:pt x="17" y="380"/>
                      </a:lnTo>
                      <a:lnTo>
                        <a:pt x="16" y="380"/>
                      </a:lnTo>
                      <a:lnTo>
                        <a:pt x="16" y="380"/>
                      </a:lnTo>
                      <a:lnTo>
                        <a:pt x="15" y="380"/>
                      </a:lnTo>
                      <a:lnTo>
                        <a:pt x="14" y="381"/>
                      </a:lnTo>
                      <a:lnTo>
                        <a:pt x="14" y="381"/>
                      </a:lnTo>
                      <a:lnTo>
                        <a:pt x="14" y="381"/>
                      </a:lnTo>
                      <a:lnTo>
                        <a:pt x="13" y="381"/>
                      </a:lnTo>
                      <a:lnTo>
                        <a:pt x="13" y="381"/>
                      </a:lnTo>
                      <a:lnTo>
                        <a:pt x="13" y="382"/>
                      </a:lnTo>
                      <a:lnTo>
                        <a:pt x="11" y="383"/>
                      </a:lnTo>
                      <a:lnTo>
                        <a:pt x="11" y="383"/>
                      </a:lnTo>
                      <a:lnTo>
                        <a:pt x="11" y="382"/>
                      </a:lnTo>
                      <a:lnTo>
                        <a:pt x="10" y="381"/>
                      </a:lnTo>
                      <a:lnTo>
                        <a:pt x="10" y="381"/>
                      </a:lnTo>
                      <a:lnTo>
                        <a:pt x="9" y="381"/>
                      </a:lnTo>
                      <a:lnTo>
                        <a:pt x="9" y="382"/>
                      </a:lnTo>
                      <a:lnTo>
                        <a:pt x="8" y="382"/>
                      </a:lnTo>
                      <a:lnTo>
                        <a:pt x="7" y="383"/>
                      </a:lnTo>
                      <a:lnTo>
                        <a:pt x="7" y="383"/>
                      </a:lnTo>
                      <a:lnTo>
                        <a:pt x="6" y="383"/>
                      </a:lnTo>
                      <a:lnTo>
                        <a:pt x="6" y="383"/>
                      </a:lnTo>
                      <a:lnTo>
                        <a:pt x="6" y="383"/>
                      </a:lnTo>
                      <a:lnTo>
                        <a:pt x="5" y="382"/>
                      </a:lnTo>
                      <a:lnTo>
                        <a:pt x="5" y="382"/>
                      </a:lnTo>
                      <a:lnTo>
                        <a:pt x="5" y="381"/>
                      </a:lnTo>
                      <a:lnTo>
                        <a:pt x="5" y="381"/>
                      </a:lnTo>
                      <a:lnTo>
                        <a:pt x="4" y="381"/>
                      </a:lnTo>
                      <a:lnTo>
                        <a:pt x="3" y="380"/>
                      </a:lnTo>
                      <a:lnTo>
                        <a:pt x="3" y="380"/>
                      </a:lnTo>
                      <a:lnTo>
                        <a:pt x="3" y="380"/>
                      </a:lnTo>
                      <a:lnTo>
                        <a:pt x="2" y="380"/>
                      </a:lnTo>
                      <a:lnTo>
                        <a:pt x="3" y="380"/>
                      </a:lnTo>
                      <a:lnTo>
                        <a:pt x="2" y="380"/>
                      </a:lnTo>
                      <a:lnTo>
                        <a:pt x="2" y="379"/>
                      </a:lnTo>
                      <a:lnTo>
                        <a:pt x="2" y="379"/>
                      </a:lnTo>
                      <a:lnTo>
                        <a:pt x="1" y="379"/>
                      </a:lnTo>
                      <a:lnTo>
                        <a:pt x="0" y="378"/>
                      </a:lnTo>
                      <a:lnTo>
                        <a:pt x="0" y="378"/>
                      </a:lnTo>
                      <a:lnTo>
                        <a:pt x="0" y="377"/>
                      </a:lnTo>
                      <a:lnTo>
                        <a:pt x="0" y="377"/>
                      </a:lnTo>
                      <a:lnTo>
                        <a:pt x="0" y="376"/>
                      </a:lnTo>
                      <a:lnTo>
                        <a:pt x="0" y="376"/>
                      </a:lnTo>
                      <a:lnTo>
                        <a:pt x="0" y="376"/>
                      </a:lnTo>
                      <a:lnTo>
                        <a:pt x="0" y="376"/>
                      </a:lnTo>
                      <a:lnTo>
                        <a:pt x="0" y="376"/>
                      </a:lnTo>
                      <a:lnTo>
                        <a:pt x="0" y="375"/>
                      </a:lnTo>
                      <a:lnTo>
                        <a:pt x="0" y="374"/>
                      </a:lnTo>
                      <a:lnTo>
                        <a:pt x="0" y="374"/>
                      </a:lnTo>
                      <a:lnTo>
                        <a:pt x="0" y="373"/>
                      </a:lnTo>
                      <a:lnTo>
                        <a:pt x="0" y="373"/>
                      </a:lnTo>
                      <a:lnTo>
                        <a:pt x="0" y="373"/>
                      </a:lnTo>
                      <a:lnTo>
                        <a:pt x="0" y="373"/>
                      </a:lnTo>
                      <a:lnTo>
                        <a:pt x="1" y="373"/>
                      </a:lnTo>
                      <a:lnTo>
                        <a:pt x="1" y="372"/>
                      </a:lnTo>
                      <a:lnTo>
                        <a:pt x="2" y="372"/>
                      </a:lnTo>
                      <a:lnTo>
                        <a:pt x="2" y="372"/>
                      </a:lnTo>
                      <a:lnTo>
                        <a:pt x="2" y="372"/>
                      </a:lnTo>
                      <a:lnTo>
                        <a:pt x="3" y="372"/>
                      </a:lnTo>
                      <a:lnTo>
                        <a:pt x="3" y="372"/>
                      </a:lnTo>
                      <a:lnTo>
                        <a:pt x="4" y="372"/>
                      </a:lnTo>
                      <a:lnTo>
                        <a:pt x="5" y="372"/>
                      </a:lnTo>
                      <a:lnTo>
                        <a:pt x="6" y="372"/>
                      </a:lnTo>
                      <a:lnTo>
                        <a:pt x="6" y="372"/>
                      </a:lnTo>
                      <a:lnTo>
                        <a:pt x="7" y="372"/>
                      </a:lnTo>
                      <a:lnTo>
                        <a:pt x="7" y="373"/>
                      </a:lnTo>
                      <a:lnTo>
                        <a:pt x="7" y="373"/>
                      </a:lnTo>
                      <a:lnTo>
                        <a:pt x="8" y="373"/>
                      </a:lnTo>
                      <a:lnTo>
                        <a:pt x="7" y="373"/>
                      </a:lnTo>
                      <a:lnTo>
                        <a:pt x="7" y="374"/>
                      </a:lnTo>
                      <a:lnTo>
                        <a:pt x="7" y="374"/>
                      </a:lnTo>
                      <a:lnTo>
                        <a:pt x="6" y="374"/>
                      </a:lnTo>
                      <a:lnTo>
                        <a:pt x="7" y="374"/>
                      </a:lnTo>
                      <a:lnTo>
                        <a:pt x="7" y="374"/>
                      </a:lnTo>
                      <a:lnTo>
                        <a:pt x="6" y="374"/>
                      </a:lnTo>
                      <a:lnTo>
                        <a:pt x="7" y="374"/>
                      </a:lnTo>
                      <a:lnTo>
                        <a:pt x="7" y="375"/>
                      </a:lnTo>
                      <a:lnTo>
                        <a:pt x="7" y="376"/>
                      </a:lnTo>
                      <a:lnTo>
                        <a:pt x="7" y="376"/>
                      </a:lnTo>
                      <a:lnTo>
                        <a:pt x="6" y="376"/>
                      </a:lnTo>
                      <a:lnTo>
                        <a:pt x="6" y="377"/>
                      </a:lnTo>
                      <a:lnTo>
                        <a:pt x="7" y="377"/>
                      </a:lnTo>
                      <a:lnTo>
                        <a:pt x="7" y="377"/>
                      </a:lnTo>
                      <a:lnTo>
                        <a:pt x="7" y="376"/>
                      </a:lnTo>
                      <a:lnTo>
                        <a:pt x="8" y="376"/>
                      </a:lnTo>
                      <a:lnTo>
                        <a:pt x="7" y="376"/>
                      </a:lnTo>
                      <a:lnTo>
                        <a:pt x="7" y="376"/>
                      </a:lnTo>
                      <a:lnTo>
                        <a:pt x="8" y="376"/>
                      </a:lnTo>
                      <a:lnTo>
                        <a:pt x="8" y="375"/>
                      </a:lnTo>
                      <a:lnTo>
                        <a:pt x="8" y="374"/>
                      </a:lnTo>
                      <a:lnTo>
                        <a:pt x="8" y="375"/>
                      </a:lnTo>
                      <a:lnTo>
                        <a:pt x="8" y="374"/>
                      </a:lnTo>
                      <a:lnTo>
                        <a:pt x="7" y="374"/>
                      </a:lnTo>
                      <a:lnTo>
                        <a:pt x="8" y="374"/>
                      </a:lnTo>
                      <a:lnTo>
                        <a:pt x="8" y="374"/>
                      </a:lnTo>
                      <a:lnTo>
                        <a:pt x="9" y="374"/>
                      </a:lnTo>
                      <a:lnTo>
                        <a:pt x="9" y="374"/>
                      </a:lnTo>
                      <a:lnTo>
                        <a:pt x="10" y="374"/>
                      </a:lnTo>
                      <a:lnTo>
                        <a:pt x="10" y="374"/>
                      </a:lnTo>
                      <a:lnTo>
                        <a:pt x="10" y="375"/>
                      </a:lnTo>
                      <a:lnTo>
                        <a:pt x="10" y="376"/>
                      </a:lnTo>
                      <a:lnTo>
                        <a:pt x="11" y="376"/>
                      </a:lnTo>
                      <a:lnTo>
                        <a:pt x="11" y="376"/>
                      </a:lnTo>
                      <a:lnTo>
                        <a:pt x="11" y="376"/>
                      </a:lnTo>
                      <a:lnTo>
                        <a:pt x="12" y="376"/>
                      </a:lnTo>
                      <a:lnTo>
                        <a:pt x="13" y="376"/>
                      </a:lnTo>
                      <a:lnTo>
                        <a:pt x="13" y="376"/>
                      </a:lnTo>
                      <a:lnTo>
                        <a:pt x="13" y="376"/>
                      </a:lnTo>
                      <a:lnTo>
                        <a:pt x="13" y="375"/>
                      </a:lnTo>
                      <a:lnTo>
                        <a:pt x="13" y="375"/>
                      </a:lnTo>
                      <a:lnTo>
                        <a:pt x="13" y="375"/>
                      </a:lnTo>
                      <a:lnTo>
                        <a:pt x="13" y="374"/>
                      </a:lnTo>
                      <a:lnTo>
                        <a:pt x="12" y="374"/>
                      </a:lnTo>
                      <a:lnTo>
                        <a:pt x="12" y="374"/>
                      </a:lnTo>
                      <a:lnTo>
                        <a:pt x="11" y="374"/>
                      </a:lnTo>
                      <a:lnTo>
                        <a:pt x="11" y="373"/>
                      </a:lnTo>
                      <a:lnTo>
                        <a:pt x="12" y="373"/>
                      </a:lnTo>
                      <a:lnTo>
                        <a:pt x="12" y="374"/>
                      </a:lnTo>
                      <a:lnTo>
                        <a:pt x="13" y="374"/>
                      </a:lnTo>
                      <a:lnTo>
                        <a:pt x="13" y="373"/>
                      </a:lnTo>
                      <a:lnTo>
                        <a:pt x="12" y="373"/>
                      </a:lnTo>
                      <a:lnTo>
                        <a:pt x="13" y="372"/>
                      </a:lnTo>
                      <a:lnTo>
                        <a:pt x="13" y="372"/>
                      </a:lnTo>
                      <a:lnTo>
                        <a:pt x="14" y="372"/>
                      </a:lnTo>
                      <a:lnTo>
                        <a:pt x="14" y="373"/>
                      </a:lnTo>
                      <a:lnTo>
                        <a:pt x="14" y="373"/>
                      </a:lnTo>
                      <a:lnTo>
                        <a:pt x="14" y="372"/>
                      </a:lnTo>
                      <a:lnTo>
                        <a:pt x="14" y="372"/>
                      </a:lnTo>
                      <a:lnTo>
                        <a:pt x="13" y="372"/>
                      </a:lnTo>
                      <a:lnTo>
                        <a:pt x="13" y="372"/>
                      </a:lnTo>
                      <a:lnTo>
                        <a:pt x="14" y="372"/>
                      </a:lnTo>
                      <a:lnTo>
                        <a:pt x="14" y="372"/>
                      </a:lnTo>
                      <a:lnTo>
                        <a:pt x="14" y="372"/>
                      </a:lnTo>
                      <a:lnTo>
                        <a:pt x="14" y="373"/>
                      </a:lnTo>
                      <a:lnTo>
                        <a:pt x="15" y="373"/>
                      </a:lnTo>
                      <a:lnTo>
                        <a:pt x="15" y="372"/>
                      </a:lnTo>
                      <a:lnTo>
                        <a:pt x="16" y="372"/>
                      </a:lnTo>
                      <a:lnTo>
                        <a:pt x="16" y="372"/>
                      </a:lnTo>
                      <a:lnTo>
                        <a:pt x="16" y="372"/>
                      </a:lnTo>
                      <a:lnTo>
                        <a:pt x="16" y="372"/>
                      </a:lnTo>
                      <a:lnTo>
                        <a:pt x="16" y="372"/>
                      </a:lnTo>
                      <a:lnTo>
                        <a:pt x="16" y="371"/>
                      </a:lnTo>
                      <a:lnTo>
                        <a:pt x="16" y="370"/>
                      </a:lnTo>
                      <a:lnTo>
                        <a:pt x="16" y="370"/>
                      </a:lnTo>
                      <a:lnTo>
                        <a:pt x="17" y="370"/>
                      </a:lnTo>
                      <a:lnTo>
                        <a:pt x="17" y="370"/>
                      </a:lnTo>
                      <a:lnTo>
                        <a:pt x="18" y="370"/>
                      </a:lnTo>
                      <a:lnTo>
                        <a:pt x="18" y="370"/>
                      </a:lnTo>
                      <a:lnTo>
                        <a:pt x="19" y="370"/>
                      </a:lnTo>
                      <a:lnTo>
                        <a:pt x="19" y="369"/>
                      </a:lnTo>
                      <a:lnTo>
                        <a:pt x="20" y="369"/>
                      </a:lnTo>
                      <a:lnTo>
                        <a:pt x="20" y="369"/>
                      </a:lnTo>
                      <a:lnTo>
                        <a:pt x="20" y="369"/>
                      </a:lnTo>
                      <a:lnTo>
                        <a:pt x="20" y="369"/>
                      </a:lnTo>
                      <a:lnTo>
                        <a:pt x="20" y="368"/>
                      </a:lnTo>
                      <a:lnTo>
                        <a:pt x="20" y="369"/>
                      </a:lnTo>
                      <a:lnTo>
                        <a:pt x="19" y="369"/>
                      </a:lnTo>
                      <a:lnTo>
                        <a:pt x="18" y="369"/>
                      </a:lnTo>
                      <a:lnTo>
                        <a:pt x="18" y="368"/>
                      </a:lnTo>
                      <a:lnTo>
                        <a:pt x="18" y="368"/>
                      </a:lnTo>
                      <a:lnTo>
                        <a:pt x="17" y="368"/>
                      </a:lnTo>
                      <a:lnTo>
                        <a:pt x="17" y="369"/>
                      </a:lnTo>
                      <a:lnTo>
                        <a:pt x="17" y="368"/>
                      </a:lnTo>
                      <a:lnTo>
                        <a:pt x="17" y="368"/>
                      </a:lnTo>
                      <a:lnTo>
                        <a:pt x="17" y="367"/>
                      </a:lnTo>
                      <a:lnTo>
                        <a:pt x="17" y="367"/>
                      </a:lnTo>
                      <a:lnTo>
                        <a:pt x="17" y="367"/>
                      </a:lnTo>
                      <a:lnTo>
                        <a:pt x="17" y="367"/>
                      </a:lnTo>
                      <a:lnTo>
                        <a:pt x="17" y="366"/>
                      </a:lnTo>
                      <a:lnTo>
                        <a:pt x="17" y="366"/>
                      </a:lnTo>
                      <a:lnTo>
                        <a:pt x="16" y="366"/>
                      </a:lnTo>
                      <a:lnTo>
                        <a:pt x="16" y="366"/>
                      </a:lnTo>
                      <a:lnTo>
                        <a:pt x="16" y="366"/>
                      </a:lnTo>
                      <a:lnTo>
                        <a:pt x="17" y="365"/>
                      </a:lnTo>
                      <a:lnTo>
                        <a:pt x="16" y="365"/>
                      </a:lnTo>
                      <a:lnTo>
                        <a:pt x="16" y="365"/>
                      </a:lnTo>
                      <a:lnTo>
                        <a:pt x="17" y="365"/>
                      </a:lnTo>
                      <a:lnTo>
                        <a:pt x="17" y="364"/>
                      </a:lnTo>
                      <a:lnTo>
                        <a:pt x="16" y="364"/>
                      </a:lnTo>
                      <a:lnTo>
                        <a:pt x="16" y="363"/>
                      </a:lnTo>
                      <a:lnTo>
                        <a:pt x="16" y="363"/>
                      </a:lnTo>
                      <a:lnTo>
                        <a:pt x="17" y="363"/>
                      </a:lnTo>
                      <a:lnTo>
                        <a:pt x="17" y="363"/>
                      </a:lnTo>
                      <a:lnTo>
                        <a:pt x="17" y="362"/>
                      </a:lnTo>
                      <a:lnTo>
                        <a:pt x="17" y="362"/>
                      </a:lnTo>
                      <a:lnTo>
                        <a:pt x="17" y="361"/>
                      </a:lnTo>
                      <a:lnTo>
                        <a:pt x="17" y="362"/>
                      </a:lnTo>
                      <a:lnTo>
                        <a:pt x="17" y="361"/>
                      </a:lnTo>
                      <a:lnTo>
                        <a:pt x="17" y="362"/>
                      </a:lnTo>
                      <a:lnTo>
                        <a:pt x="16" y="362"/>
                      </a:lnTo>
                      <a:lnTo>
                        <a:pt x="16" y="362"/>
                      </a:lnTo>
                      <a:lnTo>
                        <a:pt x="15" y="362"/>
                      </a:lnTo>
                      <a:lnTo>
                        <a:pt x="15" y="361"/>
                      </a:lnTo>
                      <a:lnTo>
                        <a:pt x="15" y="362"/>
                      </a:lnTo>
                      <a:lnTo>
                        <a:pt x="14" y="362"/>
                      </a:lnTo>
                      <a:lnTo>
                        <a:pt x="14" y="363"/>
                      </a:lnTo>
                      <a:lnTo>
                        <a:pt x="14" y="363"/>
                      </a:lnTo>
                      <a:lnTo>
                        <a:pt x="14" y="362"/>
                      </a:lnTo>
                      <a:lnTo>
                        <a:pt x="13" y="362"/>
                      </a:lnTo>
                      <a:lnTo>
                        <a:pt x="13" y="362"/>
                      </a:lnTo>
                      <a:lnTo>
                        <a:pt x="13" y="362"/>
                      </a:lnTo>
                      <a:lnTo>
                        <a:pt x="12" y="362"/>
                      </a:lnTo>
                      <a:lnTo>
                        <a:pt x="11" y="362"/>
                      </a:lnTo>
                      <a:lnTo>
                        <a:pt x="11" y="361"/>
                      </a:lnTo>
                      <a:lnTo>
                        <a:pt x="11" y="361"/>
                      </a:lnTo>
                      <a:lnTo>
                        <a:pt x="11" y="362"/>
                      </a:lnTo>
                      <a:lnTo>
                        <a:pt x="10" y="362"/>
                      </a:lnTo>
                      <a:lnTo>
                        <a:pt x="10" y="362"/>
                      </a:lnTo>
                      <a:lnTo>
                        <a:pt x="9" y="362"/>
                      </a:lnTo>
                      <a:lnTo>
                        <a:pt x="10" y="362"/>
                      </a:lnTo>
                      <a:lnTo>
                        <a:pt x="10" y="362"/>
                      </a:lnTo>
                      <a:lnTo>
                        <a:pt x="9" y="362"/>
                      </a:lnTo>
                      <a:lnTo>
                        <a:pt x="9" y="362"/>
                      </a:lnTo>
                      <a:lnTo>
                        <a:pt x="9" y="362"/>
                      </a:lnTo>
                      <a:lnTo>
                        <a:pt x="9" y="362"/>
                      </a:lnTo>
                      <a:lnTo>
                        <a:pt x="8" y="362"/>
                      </a:lnTo>
                      <a:lnTo>
                        <a:pt x="7" y="362"/>
                      </a:lnTo>
                      <a:lnTo>
                        <a:pt x="7" y="362"/>
                      </a:lnTo>
                      <a:lnTo>
                        <a:pt x="7" y="362"/>
                      </a:lnTo>
                      <a:lnTo>
                        <a:pt x="6" y="362"/>
                      </a:lnTo>
                      <a:lnTo>
                        <a:pt x="6" y="362"/>
                      </a:lnTo>
                      <a:lnTo>
                        <a:pt x="5" y="362"/>
                      </a:lnTo>
                      <a:lnTo>
                        <a:pt x="5" y="362"/>
                      </a:lnTo>
                      <a:lnTo>
                        <a:pt x="4" y="362"/>
                      </a:lnTo>
                      <a:lnTo>
                        <a:pt x="4" y="362"/>
                      </a:lnTo>
                      <a:lnTo>
                        <a:pt x="3" y="362"/>
                      </a:lnTo>
                      <a:lnTo>
                        <a:pt x="3" y="362"/>
                      </a:lnTo>
                      <a:lnTo>
                        <a:pt x="3" y="362"/>
                      </a:lnTo>
                      <a:lnTo>
                        <a:pt x="2" y="362"/>
                      </a:lnTo>
                      <a:lnTo>
                        <a:pt x="3" y="361"/>
                      </a:lnTo>
                      <a:lnTo>
                        <a:pt x="3" y="361"/>
                      </a:lnTo>
                      <a:lnTo>
                        <a:pt x="2" y="361"/>
                      </a:lnTo>
                      <a:lnTo>
                        <a:pt x="2" y="360"/>
                      </a:lnTo>
                      <a:lnTo>
                        <a:pt x="2" y="360"/>
                      </a:lnTo>
                      <a:lnTo>
                        <a:pt x="2" y="360"/>
                      </a:lnTo>
                      <a:lnTo>
                        <a:pt x="2" y="359"/>
                      </a:lnTo>
                      <a:lnTo>
                        <a:pt x="2" y="359"/>
                      </a:lnTo>
                      <a:lnTo>
                        <a:pt x="2" y="359"/>
                      </a:lnTo>
                      <a:lnTo>
                        <a:pt x="1" y="359"/>
                      </a:lnTo>
                      <a:lnTo>
                        <a:pt x="1" y="358"/>
                      </a:lnTo>
                      <a:lnTo>
                        <a:pt x="2" y="358"/>
                      </a:lnTo>
                      <a:lnTo>
                        <a:pt x="2" y="357"/>
                      </a:lnTo>
                      <a:lnTo>
                        <a:pt x="2" y="356"/>
                      </a:lnTo>
                      <a:lnTo>
                        <a:pt x="2" y="356"/>
                      </a:lnTo>
                      <a:lnTo>
                        <a:pt x="2" y="356"/>
                      </a:lnTo>
                      <a:lnTo>
                        <a:pt x="2" y="356"/>
                      </a:lnTo>
                      <a:lnTo>
                        <a:pt x="2" y="355"/>
                      </a:lnTo>
                      <a:lnTo>
                        <a:pt x="2" y="355"/>
                      </a:lnTo>
                      <a:lnTo>
                        <a:pt x="2" y="355"/>
                      </a:lnTo>
                      <a:lnTo>
                        <a:pt x="1" y="355"/>
                      </a:lnTo>
                      <a:lnTo>
                        <a:pt x="1" y="354"/>
                      </a:lnTo>
                      <a:lnTo>
                        <a:pt x="1" y="354"/>
                      </a:lnTo>
                      <a:lnTo>
                        <a:pt x="0" y="353"/>
                      </a:lnTo>
                      <a:lnTo>
                        <a:pt x="0" y="352"/>
                      </a:lnTo>
                      <a:lnTo>
                        <a:pt x="1" y="352"/>
                      </a:lnTo>
                      <a:lnTo>
                        <a:pt x="2" y="352"/>
                      </a:lnTo>
                      <a:lnTo>
                        <a:pt x="2" y="352"/>
                      </a:lnTo>
                      <a:lnTo>
                        <a:pt x="2" y="352"/>
                      </a:lnTo>
                      <a:lnTo>
                        <a:pt x="3" y="352"/>
                      </a:lnTo>
                      <a:lnTo>
                        <a:pt x="3" y="352"/>
                      </a:lnTo>
                      <a:lnTo>
                        <a:pt x="4" y="352"/>
                      </a:lnTo>
                      <a:lnTo>
                        <a:pt x="5" y="352"/>
                      </a:lnTo>
                      <a:lnTo>
                        <a:pt x="5" y="351"/>
                      </a:lnTo>
                      <a:lnTo>
                        <a:pt x="5" y="351"/>
                      </a:lnTo>
                      <a:lnTo>
                        <a:pt x="6" y="350"/>
                      </a:lnTo>
                      <a:lnTo>
                        <a:pt x="6" y="350"/>
                      </a:lnTo>
                      <a:lnTo>
                        <a:pt x="6" y="350"/>
                      </a:lnTo>
                      <a:lnTo>
                        <a:pt x="7" y="350"/>
                      </a:lnTo>
                      <a:lnTo>
                        <a:pt x="7" y="350"/>
                      </a:lnTo>
                      <a:lnTo>
                        <a:pt x="6" y="350"/>
                      </a:lnTo>
                      <a:lnTo>
                        <a:pt x="7" y="350"/>
                      </a:lnTo>
                      <a:lnTo>
                        <a:pt x="7" y="350"/>
                      </a:lnTo>
                      <a:lnTo>
                        <a:pt x="7" y="350"/>
                      </a:lnTo>
                      <a:lnTo>
                        <a:pt x="7" y="350"/>
                      </a:lnTo>
                      <a:lnTo>
                        <a:pt x="7" y="350"/>
                      </a:lnTo>
                      <a:lnTo>
                        <a:pt x="7" y="349"/>
                      </a:lnTo>
                      <a:lnTo>
                        <a:pt x="7" y="349"/>
                      </a:lnTo>
                      <a:lnTo>
                        <a:pt x="7" y="348"/>
                      </a:lnTo>
                      <a:lnTo>
                        <a:pt x="6" y="348"/>
                      </a:lnTo>
                      <a:lnTo>
                        <a:pt x="7" y="348"/>
                      </a:lnTo>
                      <a:lnTo>
                        <a:pt x="7" y="348"/>
                      </a:lnTo>
                      <a:lnTo>
                        <a:pt x="7" y="347"/>
                      </a:lnTo>
                      <a:lnTo>
                        <a:pt x="6" y="347"/>
                      </a:lnTo>
                      <a:lnTo>
                        <a:pt x="6" y="347"/>
                      </a:lnTo>
                      <a:lnTo>
                        <a:pt x="7" y="345"/>
                      </a:lnTo>
                      <a:lnTo>
                        <a:pt x="6" y="345"/>
                      </a:lnTo>
                      <a:lnTo>
                        <a:pt x="6" y="344"/>
                      </a:lnTo>
                      <a:lnTo>
                        <a:pt x="7" y="344"/>
                      </a:lnTo>
                      <a:lnTo>
                        <a:pt x="7" y="343"/>
                      </a:lnTo>
                      <a:lnTo>
                        <a:pt x="7" y="343"/>
                      </a:lnTo>
                      <a:lnTo>
                        <a:pt x="7" y="343"/>
                      </a:lnTo>
                      <a:lnTo>
                        <a:pt x="8" y="342"/>
                      </a:lnTo>
                      <a:lnTo>
                        <a:pt x="10" y="343"/>
                      </a:lnTo>
                      <a:lnTo>
                        <a:pt x="10" y="344"/>
                      </a:lnTo>
                      <a:lnTo>
                        <a:pt x="11" y="344"/>
                      </a:lnTo>
                      <a:lnTo>
                        <a:pt x="13" y="342"/>
                      </a:lnTo>
                      <a:lnTo>
                        <a:pt x="14" y="341"/>
                      </a:lnTo>
                      <a:lnTo>
                        <a:pt x="14" y="341"/>
                      </a:lnTo>
                      <a:lnTo>
                        <a:pt x="14" y="340"/>
                      </a:lnTo>
                      <a:lnTo>
                        <a:pt x="13" y="340"/>
                      </a:lnTo>
                      <a:lnTo>
                        <a:pt x="13" y="340"/>
                      </a:lnTo>
                      <a:lnTo>
                        <a:pt x="12" y="340"/>
                      </a:lnTo>
                      <a:lnTo>
                        <a:pt x="12" y="339"/>
                      </a:lnTo>
                      <a:lnTo>
                        <a:pt x="11" y="339"/>
                      </a:lnTo>
                      <a:lnTo>
                        <a:pt x="11" y="338"/>
                      </a:lnTo>
                      <a:lnTo>
                        <a:pt x="12" y="338"/>
                      </a:lnTo>
                      <a:lnTo>
                        <a:pt x="12" y="337"/>
                      </a:lnTo>
                      <a:lnTo>
                        <a:pt x="12" y="337"/>
                      </a:lnTo>
                      <a:lnTo>
                        <a:pt x="13" y="336"/>
                      </a:lnTo>
                      <a:lnTo>
                        <a:pt x="13" y="336"/>
                      </a:lnTo>
                      <a:lnTo>
                        <a:pt x="13" y="336"/>
                      </a:lnTo>
                      <a:lnTo>
                        <a:pt x="14" y="336"/>
                      </a:lnTo>
                      <a:lnTo>
                        <a:pt x="14" y="336"/>
                      </a:lnTo>
                      <a:lnTo>
                        <a:pt x="15" y="336"/>
                      </a:lnTo>
                      <a:lnTo>
                        <a:pt x="16" y="335"/>
                      </a:lnTo>
                      <a:lnTo>
                        <a:pt x="16" y="334"/>
                      </a:lnTo>
                      <a:lnTo>
                        <a:pt x="17" y="333"/>
                      </a:lnTo>
                      <a:lnTo>
                        <a:pt x="17" y="333"/>
                      </a:lnTo>
                      <a:lnTo>
                        <a:pt x="18" y="333"/>
                      </a:lnTo>
                      <a:lnTo>
                        <a:pt x="18" y="332"/>
                      </a:lnTo>
                      <a:lnTo>
                        <a:pt x="18" y="330"/>
                      </a:lnTo>
                      <a:lnTo>
                        <a:pt x="18" y="330"/>
                      </a:lnTo>
                      <a:lnTo>
                        <a:pt x="18" y="329"/>
                      </a:lnTo>
                      <a:lnTo>
                        <a:pt x="17" y="329"/>
                      </a:lnTo>
                      <a:lnTo>
                        <a:pt x="17" y="329"/>
                      </a:lnTo>
                      <a:lnTo>
                        <a:pt x="16" y="329"/>
                      </a:lnTo>
                      <a:lnTo>
                        <a:pt x="16" y="329"/>
                      </a:lnTo>
                      <a:lnTo>
                        <a:pt x="16" y="329"/>
                      </a:lnTo>
                      <a:lnTo>
                        <a:pt x="16" y="328"/>
                      </a:lnTo>
                      <a:lnTo>
                        <a:pt x="15" y="328"/>
                      </a:lnTo>
                      <a:lnTo>
                        <a:pt x="15" y="327"/>
                      </a:lnTo>
                      <a:lnTo>
                        <a:pt x="16" y="327"/>
                      </a:lnTo>
                      <a:lnTo>
                        <a:pt x="16" y="327"/>
                      </a:lnTo>
                      <a:lnTo>
                        <a:pt x="16" y="326"/>
                      </a:lnTo>
                      <a:lnTo>
                        <a:pt x="16" y="326"/>
                      </a:lnTo>
                      <a:lnTo>
                        <a:pt x="16" y="325"/>
                      </a:lnTo>
                      <a:lnTo>
                        <a:pt x="16" y="325"/>
                      </a:lnTo>
                      <a:lnTo>
                        <a:pt x="16" y="324"/>
                      </a:lnTo>
                      <a:lnTo>
                        <a:pt x="16" y="324"/>
                      </a:lnTo>
                      <a:lnTo>
                        <a:pt x="15" y="323"/>
                      </a:lnTo>
                      <a:lnTo>
                        <a:pt x="15" y="322"/>
                      </a:lnTo>
                      <a:lnTo>
                        <a:pt x="14" y="322"/>
                      </a:lnTo>
                      <a:lnTo>
                        <a:pt x="13" y="322"/>
                      </a:lnTo>
                      <a:lnTo>
                        <a:pt x="13" y="322"/>
                      </a:lnTo>
                      <a:lnTo>
                        <a:pt x="12" y="322"/>
                      </a:lnTo>
                      <a:lnTo>
                        <a:pt x="11" y="321"/>
                      </a:lnTo>
                      <a:lnTo>
                        <a:pt x="11" y="321"/>
                      </a:lnTo>
                      <a:lnTo>
                        <a:pt x="11" y="320"/>
                      </a:lnTo>
                      <a:lnTo>
                        <a:pt x="10" y="319"/>
                      </a:lnTo>
                      <a:lnTo>
                        <a:pt x="10" y="319"/>
                      </a:lnTo>
                      <a:lnTo>
                        <a:pt x="9" y="319"/>
                      </a:lnTo>
                      <a:lnTo>
                        <a:pt x="10" y="319"/>
                      </a:lnTo>
                      <a:lnTo>
                        <a:pt x="10" y="318"/>
                      </a:lnTo>
                      <a:lnTo>
                        <a:pt x="10" y="317"/>
                      </a:lnTo>
                      <a:lnTo>
                        <a:pt x="11" y="317"/>
                      </a:lnTo>
                      <a:lnTo>
                        <a:pt x="11" y="317"/>
                      </a:lnTo>
                      <a:lnTo>
                        <a:pt x="12" y="315"/>
                      </a:lnTo>
                      <a:lnTo>
                        <a:pt x="13" y="315"/>
                      </a:lnTo>
                      <a:lnTo>
                        <a:pt x="13" y="314"/>
                      </a:lnTo>
                      <a:lnTo>
                        <a:pt x="14" y="313"/>
                      </a:lnTo>
                      <a:lnTo>
                        <a:pt x="14" y="314"/>
                      </a:lnTo>
                      <a:lnTo>
                        <a:pt x="15" y="313"/>
                      </a:lnTo>
                      <a:lnTo>
                        <a:pt x="14" y="313"/>
                      </a:lnTo>
                      <a:lnTo>
                        <a:pt x="14" y="313"/>
                      </a:lnTo>
                      <a:lnTo>
                        <a:pt x="15" y="312"/>
                      </a:lnTo>
                      <a:lnTo>
                        <a:pt x="15" y="311"/>
                      </a:lnTo>
                      <a:lnTo>
                        <a:pt x="16" y="311"/>
                      </a:lnTo>
                      <a:lnTo>
                        <a:pt x="16" y="310"/>
                      </a:lnTo>
                      <a:lnTo>
                        <a:pt x="16" y="310"/>
                      </a:lnTo>
                      <a:lnTo>
                        <a:pt x="16" y="309"/>
                      </a:lnTo>
                      <a:lnTo>
                        <a:pt x="16" y="308"/>
                      </a:lnTo>
                      <a:lnTo>
                        <a:pt x="16" y="308"/>
                      </a:lnTo>
                      <a:lnTo>
                        <a:pt x="16" y="307"/>
                      </a:lnTo>
                      <a:lnTo>
                        <a:pt x="17" y="307"/>
                      </a:lnTo>
                      <a:lnTo>
                        <a:pt x="17" y="306"/>
                      </a:lnTo>
                      <a:lnTo>
                        <a:pt x="17" y="306"/>
                      </a:lnTo>
                      <a:lnTo>
                        <a:pt x="18" y="306"/>
                      </a:lnTo>
                      <a:lnTo>
                        <a:pt x="18" y="305"/>
                      </a:lnTo>
                      <a:lnTo>
                        <a:pt x="18" y="304"/>
                      </a:lnTo>
                      <a:lnTo>
                        <a:pt x="18" y="303"/>
                      </a:lnTo>
                      <a:lnTo>
                        <a:pt x="18" y="303"/>
                      </a:lnTo>
                      <a:lnTo>
                        <a:pt x="18" y="302"/>
                      </a:lnTo>
                      <a:lnTo>
                        <a:pt x="18" y="302"/>
                      </a:lnTo>
                      <a:lnTo>
                        <a:pt x="18" y="301"/>
                      </a:lnTo>
                      <a:lnTo>
                        <a:pt x="18" y="300"/>
                      </a:lnTo>
                      <a:lnTo>
                        <a:pt x="18" y="300"/>
                      </a:lnTo>
                      <a:lnTo>
                        <a:pt x="18" y="300"/>
                      </a:lnTo>
                      <a:lnTo>
                        <a:pt x="17" y="300"/>
                      </a:lnTo>
                      <a:lnTo>
                        <a:pt x="17" y="299"/>
                      </a:lnTo>
                      <a:lnTo>
                        <a:pt x="17" y="299"/>
                      </a:lnTo>
                      <a:lnTo>
                        <a:pt x="17" y="298"/>
                      </a:lnTo>
                      <a:lnTo>
                        <a:pt x="17" y="297"/>
                      </a:lnTo>
                      <a:lnTo>
                        <a:pt x="17" y="297"/>
                      </a:lnTo>
                      <a:lnTo>
                        <a:pt x="17" y="297"/>
                      </a:lnTo>
                      <a:lnTo>
                        <a:pt x="17" y="296"/>
                      </a:lnTo>
                      <a:lnTo>
                        <a:pt x="17" y="296"/>
                      </a:lnTo>
                      <a:lnTo>
                        <a:pt x="17" y="295"/>
                      </a:lnTo>
                      <a:lnTo>
                        <a:pt x="17" y="295"/>
                      </a:lnTo>
                      <a:lnTo>
                        <a:pt x="18" y="295"/>
                      </a:lnTo>
                      <a:lnTo>
                        <a:pt x="18" y="294"/>
                      </a:lnTo>
                      <a:lnTo>
                        <a:pt x="18" y="293"/>
                      </a:lnTo>
                      <a:lnTo>
                        <a:pt x="18" y="293"/>
                      </a:lnTo>
                      <a:lnTo>
                        <a:pt x="18" y="293"/>
                      </a:lnTo>
                      <a:lnTo>
                        <a:pt x="18" y="292"/>
                      </a:lnTo>
                      <a:lnTo>
                        <a:pt x="18" y="292"/>
                      </a:lnTo>
                      <a:lnTo>
                        <a:pt x="17" y="291"/>
                      </a:lnTo>
                      <a:lnTo>
                        <a:pt x="17" y="291"/>
                      </a:lnTo>
                      <a:lnTo>
                        <a:pt x="18" y="290"/>
                      </a:lnTo>
                      <a:lnTo>
                        <a:pt x="18" y="289"/>
                      </a:lnTo>
                      <a:lnTo>
                        <a:pt x="17" y="289"/>
                      </a:lnTo>
                      <a:lnTo>
                        <a:pt x="17" y="288"/>
                      </a:lnTo>
                      <a:lnTo>
                        <a:pt x="18" y="288"/>
                      </a:lnTo>
                      <a:lnTo>
                        <a:pt x="18" y="288"/>
                      </a:lnTo>
                      <a:lnTo>
                        <a:pt x="18" y="288"/>
                      </a:lnTo>
                      <a:lnTo>
                        <a:pt x="18" y="287"/>
                      </a:lnTo>
                      <a:lnTo>
                        <a:pt x="18" y="286"/>
                      </a:lnTo>
                      <a:lnTo>
                        <a:pt x="18" y="286"/>
                      </a:lnTo>
                      <a:lnTo>
                        <a:pt x="18" y="285"/>
                      </a:lnTo>
                      <a:lnTo>
                        <a:pt x="18" y="285"/>
                      </a:lnTo>
                      <a:lnTo>
                        <a:pt x="18" y="284"/>
                      </a:lnTo>
                      <a:lnTo>
                        <a:pt x="18" y="284"/>
                      </a:lnTo>
                      <a:lnTo>
                        <a:pt x="19" y="283"/>
                      </a:lnTo>
                      <a:lnTo>
                        <a:pt x="19" y="282"/>
                      </a:lnTo>
                      <a:lnTo>
                        <a:pt x="20" y="282"/>
                      </a:lnTo>
                      <a:lnTo>
                        <a:pt x="20" y="281"/>
                      </a:lnTo>
                      <a:lnTo>
                        <a:pt x="20" y="281"/>
                      </a:lnTo>
                      <a:lnTo>
                        <a:pt x="20" y="280"/>
                      </a:lnTo>
                      <a:lnTo>
                        <a:pt x="20" y="280"/>
                      </a:lnTo>
                      <a:lnTo>
                        <a:pt x="19" y="279"/>
                      </a:lnTo>
                      <a:lnTo>
                        <a:pt x="18" y="279"/>
                      </a:lnTo>
                      <a:lnTo>
                        <a:pt x="18" y="278"/>
                      </a:lnTo>
                      <a:lnTo>
                        <a:pt x="18" y="277"/>
                      </a:lnTo>
                      <a:lnTo>
                        <a:pt x="18" y="277"/>
                      </a:lnTo>
                      <a:lnTo>
                        <a:pt x="18" y="276"/>
                      </a:lnTo>
                      <a:lnTo>
                        <a:pt x="18" y="275"/>
                      </a:lnTo>
                      <a:lnTo>
                        <a:pt x="18" y="274"/>
                      </a:lnTo>
                      <a:lnTo>
                        <a:pt x="18" y="274"/>
                      </a:lnTo>
                      <a:lnTo>
                        <a:pt x="17" y="274"/>
                      </a:lnTo>
                      <a:lnTo>
                        <a:pt x="17" y="273"/>
                      </a:lnTo>
                      <a:lnTo>
                        <a:pt x="17" y="273"/>
                      </a:lnTo>
                      <a:lnTo>
                        <a:pt x="16" y="273"/>
                      </a:lnTo>
                      <a:lnTo>
                        <a:pt x="17" y="272"/>
                      </a:lnTo>
                      <a:lnTo>
                        <a:pt x="17" y="272"/>
                      </a:lnTo>
                      <a:lnTo>
                        <a:pt x="17" y="271"/>
                      </a:lnTo>
                      <a:lnTo>
                        <a:pt x="17" y="271"/>
                      </a:lnTo>
                      <a:lnTo>
                        <a:pt x="17" y="270"/>
                      </a:lnTo>
                      <a:lnTo>
                        <a:pt x="18" y="270"/>
                      </a:lnTo>
                      <a:lnTo>
                        <a:pt x="17" y="270"/>
                      </a:lnTo>
                      <a:lnTo>
                        <a:pt x="17" y="269"/>
                      </a:lnTo>
                      <a:lnTo>
                        <a:pt x="17" y="269"/>
                      </a:lnTo>
                      <a:lnTo>
                        <a:pt x="18" y="269"/>
                      </a:lnTo>
                      <a:lnTo>
                        <a:pt x="17" y="268"/>
                      </a:lnTo>
                      <a:lnTo>
                        <a:pt x="18" y="267"/>
                      </a:lnTo>
                      <a:lnTo>
                        <a:pt x="18" y="266"/>
                      </a:lnTo>
                      <a:lnTo>
                        <a:pt x="19" y="264"/>
                      </a:lnTo>
                      <a:lnTo>
                        <a:pt x="19" y="263"/>
                      </a:lnTo>
                      <a:lnTo>
                        <a:pt x="19" y="263"/>
                      </a:lnTo>
                      <a:lnTo>
                        <a:pt x="19" y="262"/>
                      </a:lnTo>
                      <a:lnTo>
                        <a:pt x="20" y="262"/>
                      </a:lnTo>
                      <a:lnTo>
                        <a:pt x="19" y="261"/>
                      </a:lnTo>
                      <a:lnTo>
                        <a:pt x="20" y="260"/>
                      </a:lnTo>
                      <a:lnTo>
                        <a:pt x="21" y="260"/>
                      </a:lnTo>
                      <a:lnTo>
                        <a:pt x="21" y="259"/>
                      </a:lnTo>
                      <a:lnTo>
                        <a:pt x="21" y="258"/>
                      </a:lnTo>
                      <a:lnTo>
                        <a:pt x="21" y="258"/>
                      </a:lnTo>
                      <a:lnTo>
                        <a:pt x="20" y="258"/>
                      </a:lnTo>
                      <a:lnTo>
                        <a:pt x="20" y="257"/>
                      </a:lnTo>
                      <a:lnTo>
                        <a:pt x="20" y="256"/>
                      </a:lnTo>
                      <a:lnTo>
                        <a:pt x="20" y="256"/>
                      </a:lnTo>
                      <a:lnTo>
                        <a:pt x="20" y="255"/>
                      </a:lnTo>
                      <a:lnTo>
                        <a:pt x="20" y="255"/>
                      </a:lnTo>
                      <a:lnTo>
                        <a:pt x="20" y="254"/>
                      </a:lnTo>
                      <a:lnTo>
                        <a:pt x="19" y="254"/>
                      </a:lnTo>
                      <a:lnTo>
                        <a:pt x="18" y="253"/>
                      </a:lnTo>
                      <a:lnTo>
                        <a:pt x="19" y="252"/>
                      </a:lnTo>
                      <a:lnTo>
                        <a:pt x="20" y="252"/>
                      </a:lnTo>
                      <a:lnTo>
                        <a:pt x="20" y="251"/>
                      </a:lnTo>
                      <a:lnTo>
                        <a:pt x="20" y="251"/>
                      </a:lnTo>
                      <a:lnTo>
                        <a:pt x="21" y="251"/>
                      </a:lnTo>
                      <a:lnTo>
                        <a:pt x="21" y="251"/>
                      </a:lnTo>
                      <a:lnTo>
                        <a:pt x="20" y="250"/>
                      </a:lnTo>
                      <a:lnTo>
                        <a:pt x="20" y="250"/>
                      </a:lnTo>
                      <a:lnTo>
                        <a:pt x="20" y="249"/>
                      </a:lnTo>
                      <a:lnTo>
                        <a:pt x="20" y="249"/>
                      </a:lnTo>
                      <a:lnTo>
                        <a:pt x="20" y="249"/>
                      </a:lnTo>
                      <a:lnTo>
                        <a:pt x="21" y="248"/>
                      </a:lnTo>
                      <a:lnTo>
                        <a:pt x="21" y="248"/>
                      </a:lnTo>
                      <a:lnTo>
                        <a:pt x="22" y="248"/>
                      </a:lnTo>
                      <a:lnTo>
                        <a:pt x="22" y="247"/>
                      </a:lnTo>
                      <a:lnTo>
                        <a:pt x="22" y="247"/>
                      </a:lnTo>
                      <a:lnTo>
                        <a:pt x="23" y="247"/>
                      </a:lnTo>
                      <a:lnTo>
                        <a:pt x="23" y="246"/>
                      </a:lnTo>
                      <a:lnTo>
                        <a:pt x="24" y="245"/>
                      </a:lnTo>
                      <a:lnTo>
                        <a:pt x="24" y="245"/>
                      </a:lnTo>
                      <a:lnTo>
                        <a:pt x="25" y="245"/>
                      </a:lnTo>
                      <a:lnTo>
                        <a:pt x="26" y="245"/>
                      </a:lnTo>
                      <a:lnTo>
                        <a:pt x="26" y="245"/>
                      </a:lnTo>
                      <a:lnTo>
                        <a:pt x="26" y="246"/>
                      </a:lnTo>
                      <a:lnTo>
                        <a:pt x="27" y="247"/>
                      </a:lnTo>
                      <a:lnTo>
                        <a:pt x="28" y="248"/>
                      </a:lnTo>
                      <a:lnTo>
                        <a:pt x="28" y="247"/>
                      </a:lnTo>
                      <a:lnTo>
                        <a:pt x="29" y="247"/>
                      </a:lnTo>
                      <a:lnTo>
                        <a:pt x="29" y="247"/>
                      </a:lnTo>
                      <a:lnTo>
                        <a:pt x="29" y="246"/>
                      </a:lnTo>
                      <a:lnTo>
                        <a:pt x="29" y="246"/>
                      </a:lnTo>
                      <a:lnTo>
                        <a:pt x="30" y="246"/>
                      </a:lnTo>
                      <a:lnTo>
                        <a:pt x="31" y="246"/>
                      </a:lnTo>
                      <a:lnTo>
                        <a:pt x="31" y="245"/>
                      </a:lnTo>
                      <a:lnTo>
                        <a:pt x="31" y="245"/>
                      </a:lnTo>
                      <a:lnTo>
                        <a:pt x="32" y="245"/>
                      </a:lnTo>
                      <a:lnTo>
                        <a:pt x="32" y="244"/>
                      </a:lnTo>
                      <a:lnTo>
                        <a:pt x="32" y="244"/>
                      </a:lnTo>
                      <a:lnTo>
                        <a:pt x="33" y="244"/>
                      </a:lnTo>
                      <a:lnTo>
                        <a:pt x="33" y="243"/>
                      </a:lnTo>
                      <a:lnTo>
                        <a:pt x="33" y="243"/>
                      </a:lnTo>
                      <a:lnTo>
                        <a:pt x="33" y="242"/>
                      </a:lnTo>
                      <a:lnTo>
                        <a:pt x="33" y="241"/>
                      </a:lnTo>
                      <a:lnTo>
                        <a:pt x="34" y="241"/>
                      </a:lnTo>
                      <a:lnTo>
                        <a:pt x="35" y="241"/>
                      </a:lnTo>
                      <a:lnTo>
                        <a:pt x="35" y="240"/>
                      </a:lnTo>
                      <a:lnTo>
                        <a:pt x="35" y="240"/>
                      </a:lnTo>
                      <a:lnTo>
                        <a:pt x="35" y="239"/>
                      </a:lnTo>
                      <a:lnTo>
                        <a:pt x="36" y="238"/>
                      </a:lnTo>
                      <a:lnTo>
                        <a:pt x="36" y="238"/>
                      </a:lnTo>
                      <a:lnTo>
                        <a:pt x="36" y="238"/>
                      </a:lnTo>
                      <a:lnTo>
                        <a:pt x="37" y="238"/>
                      </a:lnTo>
                      <a:lnTo>
                        <a:pt x="37" y="237"/>
                      </a:lnTo>
                      <a:lnTo>
                        <a:pt x="37" y="237"/>
                      </a:lnTo>
                      <a:lnTo>
                        <a:pt x="37" y="237"/>
                      </a:lnTo>
                      <a:lnTo>
                        <a:pt x="38" y="237"/>
                      </a:lnTo>
                      <a:lnTo>
                        <a:pt x="39" y="237"/>
                      </a:lnTo>
                      <a:lnTo>
                        <a:pt x="39" y="236"/>
                      </a:lnTo>
                      <a:lnTo>
                        <a:pt x="39" y="236"/>
                      </a:lnTo>
                      <a:lnTo>
                        <a:pt x="40" y="236"/>
                      </a:lnTo>
                      <a:lnTo>
                        <a:pt x="40" y="236"/>
                      </a:lnTo>
                      <a:lnTo>
                        <a:pt x="40" y="236"/>
                      </a:lnTo>
                      <a:lnTo>
                        <a:pt x="41" y="236"/>
                      </a:lnTo>
                      <a:lnTo>
                        <a:pt x="41" y="236"/>
                      </a:lnTo>
                      <a:lnTo>
                        <a:pt x="41" y="235"/>
                      </a:lnTo>
                      <a:lnTo>
                        <a:pt x="42" y="235"/>
                      </a:lnTo>
                      <a:lnTo>
                        <a:pt x="43" y="235"/>
                      </a:lnTo>
                      <a:lnTo>
                        <a:pt x="43" y="234"/>
                      </a:lnTo>
                      <a:lnTo>
                        <a:pt x="43" y="234"/>
                      </a:lnTo>
                      <a:lnTo>
                        <a:pt x="44" y="234"/>
                      </a:lnTo>
                      <a:lnTo>
                        <a:pt x="44" y="234"/>
                      </a:lnTo>
                      <a:lnTo>
                        <a:pt x="45" y="234"/>
                      </a:lnTo>
                      <a:lnTo>
                        <a:pt x="46" y="234"/>
                      </a:lnTo>
                      <a:lnTo>
                        <a:pt x="46" y="234"/>
                      </a:lnTo>
                      <a:lnTo>
                        <a:pt x="45" y="234"/>
                      </a:lnTo>
                      <a:lnTo>
                        <a:pt x="45" y="233"/>
                      </a:lnTo>
                      <a:lnTo>
                        <a:pt x="46" y="233"/>
                      </a:lnTo>
                      <a:lnTo>
                        <a:pt x="46" y="233"/>
                      </a:lnTo>
                      <a:lnTo>
                        <a:pt x="46" y="233"/>
                      </a:lnTo>
                      <a:lnTo>
                        <a:pt x="46" y="233"/>
                      </a:lnTo>
                      <a:lnTo>
                        <a:pt x="45" y="233"/>
                      </a:lnTo>
                      <a:lnTo>
                        <a:pt x="45" y="232"/>
                      </a:lnTo>
                      <a:lnTo>
                        <a:pt x="46" y="232"/>
                      </a:lnTo>
                      <a:lnTo>
                        <a:pt x="46" y="232"/>
                      </a:lnTo>
                      <a:lnTo>
                        <a:pt x="46" y="232"/>
                      </a:lnTo>
                      <a:lnTo>
                        <a:pt x="46" y="231"/>
                      </a:lnTo>
                      <a:lnTo>
                        <a:pt x="47" y="231"/>
                      </a:lnTo>
                      <a:lnTo>
                        <a:pt x="47" y="230"/>
                      </a:lnTo>
                      <a:lnTo>
                        <a:pt x="47" y="230"/>
                      </a:lnTo>
                      <a:lnTo>
                        <a:pt x="47" y="230"/>
                      </a:lnTo>
                      <a:lnTo>
                        <a:pt x="48" y="229"/>
                      </a:lnTo>
                      <a:lnTo>
                        <a:pt x="48" y="229"/>
                      </a:lnTo>
                      <a:lnTo>
                        <a:pt x="48" y="229"/>
                      </a:lnTo>
                      <a:lnTo>
                        <a:pt x="48" y="229"/>
                      </a:lnTo>
                      <a:lnTo>
                        <a:pt x="49" y="229"/>
                      </a:lnTo>
                      <a:lnTo>
                        <a:pt x="49" y="229"/>
                      </a:lnTo>
                      <a:lnTo>
                        <a:pt x="48" y="229"/>
                      </a:lnTo>
                      <a:lnTo>
                        <a:pt x="48" y="228"/>
                      </a:lnTo>
                      <a:lnTo>
                        <a:pt x="49" y="227"/>
                      </a:lnTo>
                      <a:lnTo>
                        <a:pt x="49" y="227"/>
                      </a:lnTo>
                      <a:lnTo>
                        <a:pt x="50" y="227"/>
                      </a:lnTo>
                      <a:lnTo>
                        <a:pt x="50" y="226"/>
                      </a:lnTo>
                      <a:lnTo>
                        <a:pt x="50" y="226"/>
                      </a:lnTo>
                      <a:lnTo>
                        <a:pt x="50" y="226"/>
                      </a:lnTo>
                      <a:lnTo>
                        <a:pt x="51" y="226"/>
                      </a:lnTo>
                      <a:lnTo>
                        <a:pt x="51" y="226"/>
                      </a:lnTo>
                      <a:lnTo>
                        <a:pt x="51" y="226"/>
                      </a:lnTo>
                      <a:lnTo>
                        <a:pt x="51" y="226"/>
                      </a:lnTo>
                      <a:lnTo>
                        <a:pt x="52" y="225"/>
                      </a:lnTo>
                      <a:lnTo>
                        <a:pt x="52" y="225"/>
                      </a:lnTo>
                      <a:lnTo>
                        <a:pt x="53" y="225"/>
                      </a:lnTo>
                      <a:lnTo>
                        <a:pt x="54" y="225"/>
                      </a:lnTo>
                      <a:lnTo>
                        <a:pt x="54" y="225"/>
                      </a:lnTo>
                      <a:lnTo>
                        <a:pt x="54" y="224"/>
                      </a:lnTo>
                      <a:lnTo>
                        <a:pt x="55" y="223"/>
                      </a:lnTo>
                      <a:lnTo>
                        <a:pt x="55" y="223"/>
                      </a:lnTo>
                      <a:lnTo>
                        <a:pt x="56" y="223"/>
                      </a:lnTo>
                      <a:lnTo>
                        <a:pt x="57" y="223"/>
                      </a:lnTo>
                      <a:lnTo>
                        <a:pt x="57" y="223"/>
                      </a:lnTo>
                      <a:lnTo>
                        <a:pt x="57" y="223"/>
                      </a:lnTo>
                      <a:lnTo>
                        <a:pt x="58" y="223"/>
                      </a:lnTo>
                      <a:lnTo>
                        <a:pt x="58" y="222"/>
                      </a:lnTo>
                      <a:lnTo>
                        <a:pt x="59" y="222"/>
                      </a:lnTo>
                      <a:lnTo>
                        <a:pt x="59" y="223"/>
                      </a:lnTo>
                      <a:lnTo>
                        <a:pt x="59" y="222"/>
                      </a:lnTo>
                      <a:lnTo>
                        <a:pt x="59" y="222"/>
                      </a:lnTo>
                      <a:lnTo>
                        <a:pt x="59" y="222"/>
                      </a:lnTo>
                      <a:lnTo>
                        <a:pt x="59" y="221"/>
                      </a:lnTo>
                      <a:lnTo>
                        <a:pt x="60" y="221"/>
                      </a:lnTo>
                      <a:lnTo>
                        <a:pt x="61" y="221"/>
                      </a:lnTo>
                      <a:lnTo>
                        <a:pt x="61" y="221"/>
                      </a:lnTo>
                      <a:lnTo>
                        <a:pt x="62" y="221"/>
                      </a:lnTo>
                      <a:lnTo>
                        <a:pt x="62" y="221"/>
                      </a:lnTo>
                      <a:lnTo>
                        <a:pt x="62" y="221"/>
                      </a:lnTo>
                      <a:lnTo>
                        <a:pt x="63" y="221"/>
                      </a:lnTo>
                      <a:lnTo>
                        <a:pt x="63" y="221"/>
                      </a:lnTo>
                      <a:lnTo>
                        <a:pt x="63" y="220"/>
                      </a:lnTo>
                      <a:lnTo>
                        <a:pt x="64" y="220"/>
                      </a:lnTo>
                      <a:lnTo>
                        <a:pt x="64" y="219"/>
                      </a:lnTo>
                      <a:lnTo>
                        <a:pt x="63" y="219"/>
                      </a:lnTo>
                      <a:lnTo>
                        <a:pt x="63" y="218"/>
                      </a:lnTo>
                      <a:lnTo>
                        <a:pt x="64" y="218"/>
                      </a:lnTo>
                      <a:lnTo>
                        <a:pt x="65" y="218"/>
                      </a:lnTo>
                      <a:lnTo>
                        <a:pt x="65" y="217"/>
                      </a:lnTo>
                      <a:lnTo>
                        <a:pt x="65" y="216"/>
                      </a:lnTo>
                      <a:lnTo>
                        <a:pt x="64" y="216"/>
                      </a:lnTo>
                      <a:lnTo>
                        <a:pt x="65" y="216"/>
                      </a:lnTo>
                      <a:lnTo>
                        <a:pt x="65" y="216"/>
                      </a:lnTo>
                      <a:lnTo>
                        <a:pt x="65" y="216"/>
                      </a:lnTo>
                      <a:lnTo>
                        <a:pt x="66" y="215"/>
                      </a:lnTo>
                      <a:lnTo>
                        <a:pt x="66" y="215"/>
                      </a:lnTo>
                      <a:lnTo>
                        <a:pt x="66" y="216"/>
                      </a:lnTo>
                      <a:lnTo>
                        <a:pt x="67" y="215"/>
                      </a:lnTo>
                      <a:lnTo>
                        <a:pt x="67" y="215"/>
                      </a:lnTo>
                      <a:lnTo>
                        <a:pt x="67" y="215"/>
                      </a:lnTo>
                      <a:lnTo>
                        <a:pt x="67" y="214"/>
                      </a:lnTo>
                      <a:lnTo>
                        <a:pt x="68" y="214"/>
                      </a:lnTo>
                      <a:lnTo>
                        <a:pt x="69" y="214"/>
                      </a:lnTo>
                      <a:lnTo>
                        <a:pt x="69" y="214"/>
                      </a:lnTo>
                      <a:lnTo>
                        <a:pt x="69" y="213"/>
                      </a:lnTo>
                      <a:lnTo>
                        <a:pt x="69" y="213"/>
                      </a:lnTo>
                      <a:lnTo>
                        <a:pt x="70" y="213"/>
                      </a:lnTo>
                      <a:lnTo>
                        <a:pt x="70" y="213"/>
                      </a:lnTo>
                      <a:lnTo>
                        <a:pt x="71" y="213"/>
                      </a:lnTo>
                      <a:lnTo>
                        <a:pt x="71" y="212"/>
                      </a:lnTo>
                      <a:lnTo>
                        <a:pt x="72" y="212"/>
                      </a:lnTo>
                      <a:lnTo>
                        <a:pt x="72" y="211"/>
                      </a:lnTo>
                      <a:lnTo>
                        <a:pt x="71" y="211"/>
                      </a:lnTo>
                      <a:lnTo>
                        <a:pt x="70" y="211"/>
                      </a:lnTo>
                      <a:lnTo>
                        <a:pt x="70" y="211"/>
                      </a:lnTo>
                      <a:lnTo>
                        <a:pt x="69" y="211"/>
                      </a:lnTo>
                      <a:lnTo>
                        <a:pt x="69" y="211"/>
                      </a:lnTo>
                      <a:lnTo>
                        <a:pt x="69" y="210"/>
                      </a:lnTo>
                      <a:lnTo>
                        <a:pt x="70" y="210"/>
                      </a:lnTo>
                      <a:lnTo>
                        <a:pt x="69" y="210"/>
                      </a:lnTo>
                      <a:lnTo>
                        <a:pt x="69" y="210"/>
                      </a:lnTo>
                      <a:lnTo>
                        <a:pt x="70" y="209"/>
                      </a:lnTo>
                      <a:lnTo>
                        <a:pt x="70" y="210"/>
                      </a:lnTo>
                      <a:lnTo>
                        <a:pt x="70" y="209"/>
                      </a:lnTo>
                      <a:lnTo>
                        <a:pt x="71" y="209"/>
                      </a:lnTo>
                      <a:lnTo>
                        <a:pt x="72" y="209"/>
                      </a:lnTo>
                      <a:lnTo>
                        <a:pt x="72" y="210"/>
                      </a:lnTo>
                      <a:lnTo>
                        <a:pt x="72" y="210"/>
                      </a:lnTo>
                      <a:lnTo>
                        <a:pt x="73" y="209"/>
                      </a:lnTo>
                      <a:lnTo>
                        <a:pt x="73" y="208"/>
                      </a:lnTo>
                      <a:lnTo>
                        <a:pt x="73" y="208"/>
                      </a:lnTo>
                      <a:lnTo>
                        <a:pt x="73" y="208"/>
                      </a:lnTo>
                      <a:lnTo>
                        <a:pt x="72" y="208"/>
                      </a:lnTo>
                      <a:lnTo>
                        <a:pt x="72" y="208"/>
                      </a:lnTo>
                      <a:lnTo>
                        <a:pt x="72" y="207"/>
                      </a:lnTo>
                      <a:lnTo>
                        <a:pt x="71" y="207"/>
                      </a:lnTo>
                      <a:lnTo>
                        <a:pt x="72" y="207"/>
                      </a:lnTo>
                      <a:lnTo>
                        <a:pt x="72" y="207"/>
                      </a:lnTo>
                      <a:lnTo>
                        <a:pt x="72" y="206"/>
                      </a:lnTo>
                      <a:lnTo>
                        <a:pt x="71" y="206"/>
                      </a:lnTo>
                      <a:lnTo>
                        <a:pt x="72" y="205"/>
                      </a:lnTo>
                      <a:lnTo>
                        <a:pt x="71" y="205"/>
                      </a:lnTo>
                      <a:lnTo>
                        <a:pt x="70" y="205"/>
                      </a:lnTo>
                      <a:lnTo>
                        <a:pt x="70" y="205"/>
                      </a:lnTo>
                      <a:lnTo>
                        <a:pt x="70" y="205"/>
                      </a:lnTo>
                      <a:lnTo>
                        <a:pt x="69" y="205"/>
                      </a:lnTo>
                      <a:lnTo>
                        <a:pt x="69" y="205"/>
                      </a:lnTo>
                      <a:lnTo>
                        <a:pt x="68" y="205"/>
                      </a:lnTo>
                      <a:lnTo>
                        <a:pt x="67" y="205"/>
                      </a:lnTo>
                      <a:lnTo>
                        <a:pt x="67" y="205"/>
                      </a:lnTo>
                      <a:lnTo>
                        <a:pt x="66" y="205"/>
                      </a:lnTo>
                      <a:lnTo>
                        <a:pt x="66" y="206"/>
                      </a:lnTo>
                      <a:lnTo>
                        <a:pt x="66" y="205"/>
                      </a:lnTo>
                      <a:lnTo>
                        <a:pt x="66" y="205"/>
                      </a:lnTo>
                      <a:lnTo>
                        <a:pt x="66" y="205"/>
                      </a:lnTo>
                      <a:lnTo>
                        <a:pt x="66" y="204"/>
                      </a:lnTo>
                      <a:lnTo>
                        <a:pt x="65" y="204"/>
                      </a:lnTo>
                      <a:lnTo>
                        <a:pt x="66" y="204"/>
                      </a:lnTo>
                      <a:lnTo>
                        <a:pt x="65" y="204"/>
                      </a:lnTo>
                      <a:lnTo>
                        <a:pt x="66" y="204"/>
                      </a:lnTo>
                      <a:lnTo>
                        <a:pt x="66" y="204"/>
                      </a:lnTo>
                      <a:lnTo>
                        <a:pt x="65" y="204"/>
                      </a:lnTo>
                      <a:lnTo>
                        <a:pt x="66" y="204"/>
                      </a:lnTo>
                      <a:lnTo>
                        <a:pt x="66" y="203"/>
                      </a:lnTo>
                      <a:lnTo>
                        <a:pt x="65" y="203"/>
                      </a:lnTo>
                      <a:lnTo>
                        <a:pt x="65" y="203"/>
                      </a:lnTo>
                      <a:lnTo>
                        <a:pt x="65" y="202"/>
                      </a:lnTo>
                      <a:lnTo>
                        <a:pt x="65" y="201"/>
                      </a:lnTo>
                      <a:lnTo>
                        <a:pt x="65" y="201"/>
                      </a:lnTo>
                      <a:lnTo>
                        <a:pt x="66" y="201"/>
                      </a:lnTo>
                      <a:lnTo>
                        <a:pt x="66" y="200"/>
                      </a:lnTo>
                      <a:lnTo>
                        <a:pt x="66" y="200"/>
                      </a:lnTo>
                      <a:lnTo>
                        <a:pt x="66" y="200"/>
                      </a:lnTo>
                      <a:lnTo>
                        <a:pt x="66" y="199"/>
                      </a:lnTo>
                      <a:lnTo>
                        <a:pt x="66" y="200"/>
                      </a:lnTo>
                      <a:lnTo>
                        <a:pt x="66" y="199"/>
                      </a:lnTo>
                      <a:lnTo>
                        <a:pt x="66" y="199"/>
                      </a:lnTo>
                      <a:lnTo>
                        <a:pt x="67" y="199"/>
                      </a:lnTo>
                      <a:lnTo>
                        <a:pt x="66" y="199"/>
                      </a:lnTo>
                      <a:lnTo>
                        <a:pt x="67" y="199"/>
                      </a:lnTo>
                      <a:lnTo>
                        <a:pt x="67" y="198"/>
                      </a:lnTo>
                      <a:lnTo>
                        <a:pt x="67" y="198"/>
                      </a:lnTo>
                      <a:lnTo>
                        <a:pt x="67" y="198"/>
                      </a:lnTo>
                      <a:lnTo>
                        <a:pt x="67" y="198"/>
                      </a:lnTo>
                      <a:lnTo>
                        <a:pt x="67" y="197"/>
                      </a:lnTo>
                      <a:lnTo>
                        <a:pt x="68" y="197"/>
                      </a:lnTo>
                      <a:lnTo>
                        <a:pt x="68" y="196"/>
                      </a:lnTo>
                      <a:lnTo>
                        <a:pt x="67" y="196"/>
                      </a:lnTo>
                      <a:lnTo>
                        <a:pt x="67" y="196"/>
                      </a:lnTo>
                      <a:lnTo>
                        <a:pt x="67" y="196"/>
                      </a:lnTo>
                      <a:lnTo>
                        <a:pt x="66" y="196"/>
                      </a:lnTo>
                      <a:lnTo>
                        <a:pt x="66" y="195"/>
                      </a:lnTo>
                      <a:lnTo>
                        <a:pt x="66" y="194"/>
                      </a:lnTo>
                      <a:lnTo>
                        <a:pt x="66" y="194"/>
                      </a:lnTo>
                      <a:lnTo>
                        <a:pt x="66" y="194"/>
                      </a:lnTo>
                      <a:lnTo>
                        <a:pt x="66" y="194"/>
                      </a:lnTo>
                      <a:lnTo>
                        <a:pt x="66" y="194"/>
                      </a:lnTo>
                      <a:lnTo>
                        <a:pt x="66" y="193"/>
                      </a:lnTo>
                      <a:lnTo>
                        <a:pt x="66" y="193"/>
                      </a:lnTo>
                      <a:lnTo>
                        <a:pt x="66" y="193"/>
                      </a:lnTo>
                      <a:lnTo>
                        <a:pt x="66" y="193"/>
                      </a:lnTo>
                      <a:lnTo>
                        <a:pt x="66" y="193"/>
                      </a:lnTo>
                      <a:lnTo>
                        <a:pt x="66" y="193"/>
                      </a:lnTo>
                      <a:lnTo>
                        <a:pt x="65" y="193"/>
                      </a:lnTo>
                      <a:lnTo>
                        <a:pt x="65" y="193"/>
                      </a:lnTo>
                      <a:lnTo>
                        <a:pt x="65" y="193"/>
                      </a:lnTo>
                      <a:lnTo>
                        <a:pt x="65" y="193"/>
                      </a:lnTo>
                      <a:lnTo>
                        <a:pt x="65" y="193"/>
                      </a:lnTo>
                      <a:lnTo>
                        <a:pt x="65" y="193"/>
                      </a:lnTo>
                      <a:lnTo>
                        <a:pt x="64" y="193"/>
                      </a:lnTo>
                      <a:lnTo>
                        <a:pt x="64" y="193"/>
                      </a:lnTo>
                      <a:lnTo>
                        <a:pt x="63" y="193"/>
                      </a:lnTo>
                      <a:lnTo>
                        <a:pt x="63" y="193"/>
                      </a:lnTo>
                      <a:lnTo>
                        <a:pt x="63" y="193"/>
                      </a:lnTo>
                      <a:lnTo>
                        <a:pt x="62" y="193"/>
                      </a:lnTo>
                      <a:lnTo>
                        <a:pt x="62" y="192"/>
                      </a:lnTo>
                      <a:lnTo>
                        <a:pt x="62" y="192"/>
                      </a:lnTo>
                      <a:lnTo>
                        <a:pt x="61" y="192"/>
                      </a:lnTo>
                      <a:lnTo>
                        <a:pt x="61" y="192"/>
                      </a:lnTo>
                      <a:lnTo>
                        <a:pt x="61" y="192"/>
                      </a:lnTo>
                      <a:lnTo>
                        <a:pt x="61" y="192"/>
                      </a:lnTo>
                      <a:lnTo>
                        <a:pt x="61" y="192"/>
                      </a:lnTo>
                      <a:lnTo>
                        <a:pt x="61" y="192"/>
                      </a:lnTo>
                      <a:lnTo>
                        <a:pt x="60" y="192"/>
                      </a:lnTo>
                      <a:lnTo>
                        <a:pt x="59" y="192"/>
                      </a:lnTo>
                      <a:lnTo>
                        <a:pt x="59" y="192"/>
                      </a:lnTo>
                      <a:lnTo>
                        <a:pt x="60" y="192"/>
                      </a:lnTo>
                      <a:lnTo>
                        <a:pt x="60" y="191"/>
                      </a:lnTo>
                      <a:lnTo>
                        <a:pt x="59" y="191"/>
                      </a:lnTo>
                      <a:lnTo>
                        <a:pt x="60" y="191"/>
                      </a:lnTo>
                      <a:lnTo>
                        <a:pt x="59" y="191"/>
                      </a:lnTo>
                      <a:lnTo>
                        <a:pt x="59" y="190"/>
                      </a:lnTo>
                      <a:lnTo>
                        <a:pt x="59" y="191"/>
                      </a:lnTo>
                      <a:lnTo>
                        <a:pt x="59" y="190"/>
                      </a:lnTo>
                      <a:lnTo>
                        <a:pt x="59" y="191"/>
                      </a:lnTo>
                      <a:lnTo>
                        <a:pt x="59" y="190"/>
                      </a:lnTo>
                      <a:lnTo>
                        <a:pt x="60" y="190"/>
                      </a:lnTo>
                      <a:lnTo>
                        <a:pt x="59" y="190"/>
                      </a:lnTo>
                      <a:lnTo>
                        <a:pt x="59" y="190"/>
                      </a:lnTo>
                      <a:lnTo>
                        <a:pt x="59" y="190"/>
                      </a:lnTo>
                      <a:lnTo>
                        <a:pt x="59" y="190"/>
                      </a:lnTo>
                      <a:lnTo>
                        <a:pt x="60" y="190"/>
                      </a:lnTo>
                      <a:lnTo>
                        <a:pt x="60" y="189"/>
                      </a:lnTo>
                      <a:lnTo>
                        <a:pt x="61" y="189"/>
                      </a:lnTo>
                      <a:lnTo>
                        <a:pt x="61" y="189"/>
                      </a:lnTo>
                      <a:lnTo>
                        <a:pt x="61" y="189"/>
                      </a:lnTo>
                      <a:lnTo>
                        <a:pt x="61" y="188"/>
                      </a:lnTo>
                      <a:lnTo>
                        <a:pt x="61" y="189"/>
                      </a:lnTo>
                      <a:lnTo>
                        <a:pt x="61" y="188"/>
                      </a:lnTo>
                      <a:lnTo>
                        <a:pt x="62" y="188"/>
                      </a:lnTo>
                      <a:lnTo>
                        <a:pt x="62" y="188"/>
                      </a:lnTo>
                      <a:lnTo>
                        <a:pt x="62" y="188"/>
                      </a:lnTo>
                      <a:lnTo>
                        <a:pt x="62" y="188"/>
                      </a:lnTo>
                      <a:lnTo>
                        <a:pt x="62" y="187"/>
                      </a:lnTo>
                      <a:lnTo>
                        <a:pt x="62" y="186"/>
                      </a:lnTo>
                      <a:lnTo>
                        <a:pt x="63" y="186"/>
                      </a:lnTo>
                      <a:lnTo>
                        <a:pt x="63" y="186"/>
                      </a:lnTo>
                      <a:lnTo>
                        <a:pt x="64" y="187"/>
                      </a:lnTo>
                      <a:lnTo>
                        <a:pt x="63" y="187"/>
                      </a:lnTo>
                      <a:lnTo>
                        <a:pt x="64" y="187"/>
                      </a:lnTo>
                      <a:lnTo>
                        <a:pt x="65" y="187"/>
                      </a:lnTo>
                      <a:lnTo>
                        <a:pt x="65" y="188"/>
                      </a:lnTo>
                      <a:lnTo>
                        <a:pt x="65" y="188"/>
                      </a:lnTo>
                      <a:lnTo>
                        <a:pt x="66" y="188"/>
                      </a:lnTo>
                      <a:lnTo>
                        <a:pt x="66" y="188"/>
                      </a:lnTo>
                      <a:lnTo>
                        <a:pt x="67" y="188"/>
                      </a:lnTo>
                      <a:lnTo>
                        <a:pt x="67" y="188"/>
                      </a:lnTo>
                      <a:lnTo>
                        <a:pt x="68" y="188"/>
                      </a:lnTo>
                      <a:lnTo>
                        <a:pt x="68" y="189"/>
                      </a:lnTo>
                      <a:lnTo>
                        <a:pt x="69" y="189"/>
                      </a:lnTo>
                      <a:lnTo>
                        <a:pt x="69" y="189"/>
                      </a:lnTo>
                      <a:lnTo>
                        <a:pt x="70" y="189"/>
                      </a:lnTo>
                      <a:lnTo>
                        <a:pt x="70" y="189"/>
                      </a:lnTo>
                      <a:lnTo>
                        <a:pt x="71" y="189"/>
                      </a:lnTo>
                      <a:lnTo>
                        <a:pt x="70" y="189"/>
                      </a:lnTo>
                      <a:lnTo>
                        <a:pt x="70" y="189"/>
                      </a:lnTo>
                      <a:lnTo>
                        <a:pt x="70" y="189"/>
                      </a:lnTo>
                      <a:lnTo>
                        <a:pt x="69" y="189"/>
                      </a:lnTo>
                      <a:lnTo>
                        <a:pt x="69" y="189"/>
                      </a:lnTo>
                      <a:lnTo>
                        <a:pt x="69" y="189"/>
                      </a:lnTo>
                      <a:lnTo>
                        <a:pt x="69" y="189"/>
                      </a:lnTo>
                      <a:lnTo>
                        <a:pt x="69" y="189"/>
                      </a:lnTo>
                      <a:lnTo>
                        <a:pt x="69" y="189"/>
                      </a:lnTo>
                      <a:lnTo>
                        <a:pt x="68" y="189"/>
                      </a:lnTo>
                      <a:lnTo>
                        <a:pt x="67" y="189"/>
                      </a:lnTo>
                      <a:lnTo>
                        <a:pt x="67" y="188"/>
                      </a:lnTo>
                      <a:lnTo>
                        <a:pt x="67" y="189"/>
                      </a:lnTo>
                      <a:lnTo>
                        <a:pt x="67" y="188"/>
                      </a:lnTo>
                      <a:lnTo>
                        <a:pt x="67" y="189"/>
                      </a:lnTo>
                      <a:lnTo>
                        <a:pt x="67" y="188"/>
                      </a:lnTo>
                      <a:lnTo>
                        <a:pt x="67" y="189"/>
                      </a:lnTo>
                      <a:lnTo>
                        <a:pt x="68" y="189"/>
                      </a:lnTo>
                      <a:lnTo>
                        <a:pt x="69" y="189"/>
                      </a:lnTo>
                      <a:lnTo>
                        <a:pt x="68" y="189"/>
                      </a:lnTo>
                      <a:lnTo>
                        <a:pt x="69" y="189"/>
                      </a:lnTo>
                      <a:lnTo>
                        <a:pt x="69" y="189"/>
                      </a:lnTo>
                      <a:lnTo>
                        <a:pt x="69" y="189"/>
                      </a:lnTo>
                      <a:lnTo>
                        <a:pt x="69" y="190"/>
                      </a:lnTo>
                      <a:lnTo>
                        <a:pt x="70" y="190"/>
                      </a:lnTo>
                      <a:lnTo>
                        <a:pt x="69" y="189"/>
                      </a:lnTo>
                      <a:lnTo>
                        <a:pt x="70" y="189"/>
                      </a:lnTo>
                      <a:lnTo>
                        <a:pt x="70" y="190"/>
                      </a:lnTo>
                      <a:lnTo>
                        <a:pt x="71" y="190"/>
                      </a:lnTo>
                      <a:lnTo>
                        <a:pt x="70" y="190"/>
                      </a:lnTo>
                      <a:lnTo>
                        <a:pt x="71" y="190"/>
                      </a:lnTo>
                      <a:lnTo>
                        <a:pt x="72" y="190"/>
                      </a:lnTo>
                      <a:lnTo>
                        <a:pt x="72" y="190"/>
                      </a:lnTo>
                      <a:lnTo>
                        <a:pt x="72" y="190"/>
                      </a:lnTo>
                      <a:lnTo>
                        <a:pt x="73" y="190"/>
                      </a:lnTo>
                      <a:lnTo>
                        <a:pt x="73" y="190"/>
                      </a:lnTo>
                      <a:lnTo>
                        <a:pt x="73" y="191"/>
                      </a:lnTo>
                      <a:lnTo>
                        <a:pt x="74" y="191"/>
                      </a:lnTo>
                      <a:lnTo>
                        <a:pt x="74" y="192"/>
                      </a:lnTo>
                      <a:lnTo>
                        <a:pt x="74" y="191"/>
                      </a:lnTo>
                      <a:lnTo>
                        <a:pt x="74" y="192"/>
                      </a:lnTo>
                      <a:lnTo>
                        <a:pt x="74" y="192"/>
                      </a:lnTo>
                      <a:lnTo>
                        <a:pt x="75" y="192"/>
                      </a:lnTo>
                      <a:lnTo>
                        <a:pt x="76" y="192"/>
                      </a:lnTo>
                      <a:lnTo>
                        <a:pt x="76" y="192"/>
                      </a:lnTo>
                      <a:lnTo>
                        <a:pt x="77" y="192"/>
                      </a:lnTo>
                      <a:lnTo>
                        <a:pt x="77" y="193"/>
                      </a:lnTo>
                      <a:lnTo>
                        <a:pt x="77" y="192"/>
                      </a:lnTo>
                      <a:lnTo>
                        <a:pt x="77" y="192"/>
                      </a:lnTo>
                      <a:lnTo>
                        <a:pt x="78" y="192"/>
                      </a:lnTo>
                      <a:lnTo>
                        <a:pt x="78" y="193"/>
                      </a:lnTo>
                      <a:lnTo>
                        <a:pt x="79" y="193"/>
                      </a:lnTo>
                      <a:lnTo>
                        <a:pt x="80" y="193"/>
                      </a:lnTo>
                      <a:lnTo>
                        <a:pt x="80" y="193"/>
                      </a:lnTo>
                      <a:lnTo>
                        <a:pt x="80" y="193"/>
                      </a:lnTo>
                      <a:lnTo>
                        <a:pt x="80" y="193"/>
                      </a:lnTo>
                      <a:lnTo>
                        <a:pt x="80" y="193"/>
                      </a:lnTo>
                      <a:lnTo>
                        <a:pt x="80" y="193"/>
                      </a:lnTo>
                      <a:lnTo>
                        <a:pt x="79" y="193"/>
                      </a:lnTo>
                      <a:lnTo>
                        <a:pt x="80" y="193"/>
                      </a:lnTo>
                      <a:lnTo>
                        <a:pt x="80" y="193"/>
                      </a:lnTo>
                      <a:lnTo>
                        <a:pt x="79" y="193"/>
                      </a:lnTo>
                      <a:lnTo>
                        <a:pt x="80" y="193"/>
                      </a:lnTo>
                      <a:lnTo>
                        <a:pt x="79" y="193"/>
                      </a:lnTo>
                      <a:lnTo>
                        <a:pt x="80" y="193"/>
                      </a:lnTo>
                      <a:lnTo>
                        <a:pt x="80" y="194"/>
                      </a:lnTo>
                      <a:lnTo>
                        <a:pt x="80" y="194"/>
                      </a:lnTo>
                      <a:lnTo>
                        <a:pt x="80" y="194"/>
                      </a:lnTo>
                      <a:lnTo>
                        <a:pt x="81" y="194"/>
                      </a:lnTo>
                      <a:lnTo>
                        <a:pt x="81" y="195"/>
                      </a:lnTo>
                      <a:lnTo>
                        <a:pt x="81" y="195"/>
                      </a:lnTo>
                      <a:lnTo>
                        <a:pt x="82" y="195"/>
                      </a:lnTo>
                      <a:lnTo>
                        <a:pt x="82" y="196"/>
                      </a:lnTo>
                      <a:lnTo>
                        <a:pt x="83" y="196"/>
                      </a:lnTo>
                      <a:lnTo>
                        <a:pt x="83" y="196"/>
                      </a:lnTo>
                      <a:lnTo>
                        <a:pt x="83" y="196"/>
                      </a:lnTo>
                      <a:lnTo>
                        <a:pt x="84" y="196"/>
                      </a:lnTo>
                      <a:lnTo>
                        <a:pt x="84" y="197"/>
                      </a:lnTo>
                      <a:lnTo>
                        <a:pt x="85" y="197"/>
                      </a:lnTo>
                      <a:lnTo>
                        <a:pt x="85" y="197"/>
                      </a:lnTo>
                      <a:lnTo>
                        <a:pt x="84" y="197"/>
                      </a:lnTo>
                      <a:lnTo>
                        <a:pt x="85" y="197"/>
                      </a:lnTo>
                      <a:lnTo>
                        <a:pt x="84" y="197"/>
                      </a:lnTo>
                      <a:lnTo>
                        <a:pt x="84" y="197"/>
                      </a:lnTo>
                      <a:lnTo>
                        <a:pt x="84" y="197"/>
                      </a:lnTo>
                      <a:lnTo>
                        <a:pt x="84" y="197"/>
                      </a:lnTo>
                      <a:lnTo>
                        <a:pt x="85" y="197"/>
                      </a:lnTo>
                      <a:lnTo>
                        <a:pt x="85" y="197"/>
                      </a:lnTo>
                      <a:lnTo>
                        <a:pt x="85" y="198"/>
                      </a:lnTo>
                      <a:lnTo>
                        <a:pt x="85" y="197"/>
                      </a:lnTo>
                      <a:lnTo>
                        <a:pt x="85" y="197"/>
                      </a:lnTo>
                      <a:lnTo>
                        <a:pt x="84" y="197"/>
                      </a:lnTo>
                      <a:lnTo>
                        <a:pt x="85" y="197"/>
                      </a:lnTo>
                      <a:lnTo>
                        <a:pt x="85" y="198"/>
                      </a:lnTo>
                      <a:lnTo>
                        <a:pt x="85" y="198"/>
                      </a:lnTo>
                      <a:lnTo>
                        <a:pt x="86" y="198"/>
                      </a:lnTo>
                      <a:lnTo>
                        <a:pt x="87" y="199"/>
                      </a:lnTo>
                      <a:lnTo>
                        <a:pt x="88" y="199"/>
                      </a:lnTo>
                      <a:lnTo>
                        <a:pt x="88" y="199"/>
                      </a:lnTo>
                      <a:lnTo>
                        <a:pt x="89" y="199"/>
                      </a:lnTo>
                      <a:lnTo>
                        <a:pt x="88" y="200"/>
                      </a:lnTo>
                      <a:lnTo>
                        <a:pt x="89" y="200"/>
                      </a:lnTo>
                      <a:lnTo>
                        <a:pt x="89" y="200"/>
                      </a:lnTo>
                      <a:lnTo>
                        <a:pt x="88" y="200"/>
                      </a:lnTo>
                      <a:lnTo>
                        <a:pt x="89" y="200"/>
                      </a:lnTo>
                      <a:lnTo>
                        <a:pt x="88" y="200"/>
                      </a:lnTo>
                      <a:lnTo>
                        <a:pt x="89" y="200"/>
                      </a:lnTo>
                      <a:lnTo>
                        <a:pt x="89" y="201"/>
                      </a:lnTo>
                      <a:lnTo>
                        <a:pt x="88" y="201"/>
                      </a:lnTo>
                      <a:lnTo>
                        <a:pt x="88" y="200"/>
                      </a:lnTo>
                      <a:lnTo>
                        <a:pt x="88" y="200"/>
                      </a:lnTo>
                      <a:lnTo>
                        <a:pt x="87" y="200"/>
                      </a:lnTo>
                      <a:lnTo>
                        <a:pt x="88" y="200"/>
                      </a:lnTo>
                      <a:lnTo>
                        <a:pt x="88" y="200"/>
                      </a:lnTo>
                      <a:lnTo>
                        <a:pt x="88" y="201"/>
                      </a:lnTo>
                      <a:lnTo>
                        <a:pt x="88" y="201"/>
                      </a:lnTo>
                      <a:lnTo>
                        <a:pt x="88" y="202"/>
                      </a:lnTo>
                      <a:lnTo>
                        <a:pt x="88" y="201"/>
                      </a:lnTo>
                      <a:lnTo>
                        <a:pt x="89" y="201"/>
                      </a:lnTo>
                      <a:lnTo>
                        <a:pt x="89" y="202"/>
                      </a:lnTo>
                      <a:lnTo>
                        <a:pt x="89" y="202"/>
                      </a:lnTo>
                      <a:lnTo>
                        <a:pt x="89" y="203"/>
                      </a:lnTo>
                      <a:lnTo>
                        <a:pt x="89" y="203"/>
                      </a:lnTo>
                      <a:lnTo>
                        <a:pt x="89" y="203"/>
                      </a:lnTo>
                      <a:lnTo>
                        <a:pt x="88" y="203"/>
                      </a:lnTo>
                      <a:lnTo>
                        <a:pt x="89" y="203"/>
                      </a:lnTo>
                      <a:lnTo>
                        <a:pt x="89" y="203"/>
                      </a:lnTo>
                      <a:lnTo>
                        <a:pt x="89" y="203"/>
                      </a:lnTo>
                      <a:lnTo>
                        <a:pt x="88" y="203"/>
                      </a:lnTo>
                      <a:lnTo>
                        <a:pt x="89" y="203"/>
                      </a:lnTo>
                      <a:lnTo>
                        <a:pt x="89" y="204"/>
                      </a:lnTo>
                      <a:lnTo>
                        <a:pt x="88" y="204"/>
                      </a:lnTo>
                      <a:lnTo>
                        <a:pt x="88" y="203"/>
                      </a:lnTo>
                      <a:lnTo>
                        <a:pt x="88" y="203"/>
                      </a:lnTo>
                      <a:lnTo>
                        <a:pt x="88" y="204"/>
                      </a:lnTo>
                      <a:lnTo>
                        <a:pt x="88" y="204"/>
                      </a:lnTo>
                      <a:lnTo>
                        <a:pt x="87" y="204"/>
                      </a:lnTo>
                      <a:lnTo>
                        <a:pt x="87" y="205"/>
                      </a:lnTo>
                      <a:lnTo>
                        <a:pt x="87" y="204"/>
                      </a:lnTo>
                      <a:lnTo>
                        <a:pt x="88" y="204"/>
                      </a:lnTo>
                      <a:lnTo>
                        <a:pt x="88" y="204"/>
                      </a:lnTo>
                      <a:lnTo>
                        <a:pt x="88" y="203"/>
                      </a:lnTo>
                      <a:lnTo>
                        <a:pt x="88" y="203"/>
                      </a:lnTo>
                      <a:lnTo>
                        <a:pt x="88" y="204"/>
                      </a:lnTo>
                      <a:lnTo>
                        <a:pt x="89" y="204"/>
                      </a:lnTo>
                      <a:lnTo>
                        <a:pt x="89" y="203"/>
                      </a:lnTo>
                      <a:lnTo>
                        <a:pt x="88" y="203"/>
                      </a:lnTo>
                      <a:lnTo>
                        <a:pt x="89" y="203"/>
                      </a:lnTo>
                      <a:lnTo>
                        <a:pt x="89" y="203"/>
                      </a:lnTo>
                      <a:lnTo>
                        <a:pt x="89" y="203"/>
                      </a:lnTo>
                      <a:lnTo>
                        <a:pt x="88" y="203"/>
                      </a:lnTo>
                      <a:lnTo>
                        <a:pt x="89" y="203"/>
                      </a:lnTo>
                      <a:lnTo>
                        <a:pt x="89" y="203"/>
                      </a:lnTo>
                      <a:lnTo>
                        <a:pt x="89" y="203"/>
                      </a:lnTo>
                      <a:lnTo>
                        <a:pt x="89" y="203"/>
                      </a:lnTo>
                      <a:lnTo>
                        <a:pt x="89" y="202"/>
                      </a:lnTo>
                      <a:lnTo>
                        <a:pt x="90" y="202"/>
                      </a:lnTo>
                      <a:lnTo>
                        <a:pt x="89" y="202"/>
                      </a:lnTo>
                      <a:lnTo>
                        <a:pt x="90" y="202"/>
                      </a:lnTo>
                      <a:lnTo>
                        <a:pt x="90" y="201"/>
                      </a:lnTo>
                      <a:lnTo>
                        <a:pt x="90" y="202"/>
                      </a:lnTo>
                      <a:lnTo>
                        <a:pt x="90" y="201"/>
                      </a:lnTo>
                      <a:lnTo>
                        <a:pt x="90" y="202"/>
                      </a:lnTo>
                      <a:lnTo>
                        <a:pt x="90" y="201"/>
                      </a:lnTo>
                      <a:lnTo>
                        <a:pt x="90" y="202"/>
                      </a:lnTo>
                      <a:lnTo>
                        <a:pt x="90" y="201"/>
                      </a:lnTo>
                      <a:lnTo>
                        <a:pt x="91" y="201"/>
                      </a:lnTo>
                      <a:lnTo>
                        <a:pt x="91" y="202"/>
                      </a:lnTo>
                      <a:lnTo>
                        <a:pt x="91" y="201"/>
                      </a:lnTo>
                      <a:lnTo>
                        <a:pt x="90" y="201"/>
                      </a:lnTo>
                      <a:lnTo>
                        <a:pt x="91" y="201"/>
                      </a:lnTo>
                      <a:lnTo>
                        <a:pt x="91" y="201"/>
                      </a:lnTo>
                      <a:lnTo>
                        <a:pt x="91" y="201"/>
                      </a:lnTo>
                      <a:lnTo>
                        <a:pt x="91" y="201"/>
                      </a:lnTo>
                      <a:lnTo>
                        <a:pt x="91" y="201"/>
                      </a:lnTo>
                      <a:lnTo>
                        <a:pt x="91" y="201"/>
                      </a:lnTo>
                      <a:lnTo>
                        <a:pt x="92" y="201"/>
                      </a:lnTo>
                      <a:lnTo>
                        <a:pt x="92" y="201"/>
                      </a:lnTo>
                      <a:lnTo>
                        <a:pt x="92" y="201"/>
                      </a:lnTo>
                      <a:lnTo>
                        <a:pt x="93" y="201"/>
                      </a:lnTo>
                      <a:lnTo>
                        <a:pt x="93" y="202"/>
                      </a:lnTo>
                      <a:lnTo>
                        <a:pt x="93" y="201"/>
                      </a:lnTo>
                      <a:lnTo>
                        <a:pt x="93" y="202"/>
                      </a:lnTo>
                      <a:lnTo>
                        <a:pt x="93" y="201"/>
                      </a:lnTo>
                      <a:lnTo>
                        <a:pt x="94" y="202"/>
                      </a:lnTo>
                      <a:lnTo>
                        <a:pt x="94" y="201"/>
                      </a:lnTo>
                      <a:lnTo>
                        <a:pt x="94" y="202"/>
                      </a:lnTo>
                      <a:lnTo>
                        <a:pt x="94" y="201"/>
                      </a:lnTo>
                      <a:lnTo>
                        <a:pt x="93" y="201"/>
                      </a:lnTo>
                      <a:lnTo>
                        <a:pt x="93" y="202"/>
                      </a:lnTo>
                      <a:lnTo>
                        <a:pt x="93" y="201"/>
                      </a:lnTo>
                      <a:lnTo>
                        <a:pt x="93" y="202"/>
                      </a:lnTo>
                      <a:lnTo>
                        <a:pt x="93" y="201"/>
                      </a:lnTo>
                      <a:lnTo>
                        <a:pt x="92" y="201"/>
                      </a:lnTo>
                      <a:lnTo>
                        <a:pt x="92" y="201"/>
                      </a:lnTo>
                      <a:lnTo>
                        <a:pt x="92" y="201"/>
                      </a:lnTo>
                      <a:lnTo>
                        <a:pt x="92" y="201"/>
                      </a:lnTo>
                      <a:lnTo>
                        <a:pt x="92" y="201"/>
                      </a:lnTo>
                      <a:lnTo>
                        <a:pt x="91" y="201"/>
                      </a:lnTo>
                      <a:lnTo>
                        <a:pt x="92" y="201"/>
                      </a:lnTo>
                      <a:lnTo>
                        <a:pt x="91" y="201"/>
                      </a:lnTo>
                      <a:lnTo>
                        <a:pt x="91" y="200"/>
                      </a:lnTo>
                      <a:lnTo>
                        <a:pt x="92" y="200"/>
                      </a:lnTo>
                      <a:lnTo>
                        <a:pt x="92" y="200"/>
                      </a:lnTo>
                      <a:lnTo>
                        <a:pt x="93" y="200"/>
                      </a:lnTo>
                      <a:lnTo>
                        <a:pt x="93" y="201"/>
                      </a:lnTo>
                      <a:lnTo>
                        <a:pt x="93" y="201"/>
                      </a:lnTo>
                      <a:lnTo>
                        <a:pt x="93" y="201"/>
                      </a:lnTo>
                      <a:lnTo>
                        <a:pt x="93" y="200"/>
                      </a:lnTo>
                      <a:lnTo>
                        <a:pt x="92" y="200"/>
                      </a:lnTo>
                      <a:lnTo>
                        <a:pt x="92" y="200"/>
                      </a:lnTo>
                      <a:lnTo>
                        <a:pt x="92" y="200"/>
                      </a:lnTo>
                      <a:lnTo>
                        <a:pt x="92" y="200"/>
                      </a:lnTo>
                      <a:lnTo>
                        <a:pt x="92" y="200"/>
                      </a:lnTo>
                      <a:lnTo>
                        <a:pt x="92" y="200"/>
                      </a:lnTo>
                      <a:lnTo>
                        <a:pt x="92" y="200"/>
                      </a:lnTo>
                      <a:lnTo>
                        <a:pt x="92" y="199"/>
                      </a:lnTo>
                      <a:lnTo>
                        <a:pt x="92" y="199"/>
                      </a:lnTo>
                      <a:lnTo>
                        <a:pt x="93" y="199"/>
                      </a:lnTo>
                      <a:lnTo>
                        <a:pt x="92" y="199"/>
                      </a:lnTo>
                      <a:lnTo>
                        <a:pt x="93" y="197"/>
                      </a:lnTo>
                      <a:lnTo>
                        <a:pt x="94" y="197"/>
                      </a:lnTo>
                      <a:lnTo>
                        <a:pt x="94" y="196"/>
                      </a:lnTo>
                      <a:lnTo>
                        <a:pt x="95" y="196"/>
                      </a:lnTo>
                      <a:lnTo>
                        <a:pt x="95" y="195"/>
                      </a:lnTo>
                      <a:lnTo>
                        <a:pt x="95" y="194"/>
                      </a:lnTo>
                      <a:lnTo>
                        <a:pt x="95" y="194"/>
                      </a:lnTo>
                      <a:lnTo>
                        <a:pt x="95" y="194"/>
                      </a:lnTo>
                      <a:lnTo>
                        <a:pt x="95" y="194"/>
                      </a:lnTo>
                      <a:lnTo>
                        <a:pt x="95" y="194"/>
                      </a:lnTo>
                      <a:lnTo>
                        <a:pt x="95" y="194"/>
                      </a:lnTo>
                      <a:lnTo>
                        <a:pt x="95" y="194"/>
                      </a:lnTo>
                      <a:lnTo>
                        <a:pt x="95" y="193"/>
                      </a:lnTo>
                      <a:lnTo>
                        <a:pt x="96" y="193"/>
                      </a:lnTo>
                      <a:lnTo>
                        <a:pt x="96" y="193"/>
                      </a:lnTo>
                      <a:lnTo>
                        <a:pt x="96" y="193"/>
                      </a:lnTo>
                      <a:lnTo>
                        <a:pt x="96" y="193"/>
                      </a:lnTo>
                      <a:lnTo>
                        <a:pt x="96" y="193"/>
                      </a:lnTo>
                      <a:lnTo>
                        <a:pt x="96" y="193"/>
                      </a:lnTo>
                      <a:lnTo>
                        <a:pt x="96" y="193"/>
                      </a:lnTo>
                      <a:lnTo>
                        <a:pt x="97" y="193"/>
                      </a:lnTo>
                      <a:lnTo>
                        <a:pt x="98" y="193"/>
                      </a:lnTo>
                      <a:lnTo>
                        <a:pt x="98" y="193"/>
                      </a:lnTo>
                      <a:lnTo>
                        <a:pt x="98" y="193"/>
                      </a:lnTo>
                      <a:lnTo>
                        <a:pt x="98" y="193"/>
                      </a:lnTo>
                      <a:lnTo>
                        <a:pt x="99" y="193"/>
                      </a:lnTo>
                      <a:lnTo>
                        <a:pt x="99" y="193"/>
                      </a:lnTo>
                      <a:lnTo>
                        <a:pt x="99" y="193"/>
                      </a:lnTo>
                      <a:lnTo>
                        <a:pt x="99" y="193"/>
                      </a:lnTo>
                      <a:lnTo>
                        <a:pt x="99" y="193"/>
                      </a:lnTo>
                      <a:lnTo>
                        <a:pt x="98" y="193"/>
                      </a:lnTo>
                      <a:lnTo>
                        <a:pt x="98" y="193"/>
                      </a:lnTo>
                      <a:lnTo>
                        <a:pt x="98" y="193"/>
                      </a:lnTo>
                      <a:lnTo>
                        <a:pt x="98" y="193"/>
                      </a:lnTo>
                      <a:lnTo>
                        <a:pt x="97" y="193"/>
                      </a:lnTo>
                      <a:lnTo>
                        <a:pt x="96" y="193"/>
                      </a:lnTo>
                      <a:lnTo>
                        <a:pt x="96" y="193"/>
                      </a:lnTo>
                      <a:lnTo>
                        <a:pt x="96" y="192"/>
                      </a:lnTo>
                      <a:lnTo>
                        <a:pt x="95" y="192"/>
                      </a:lnTo>
                      <a:lnTo>
                        <a:pt x="95" y="192"/>
                      </a:lnTo>
                      <a:lnTo>
                        <a:pt x="95" y="192"/>
                      </a:lnTo>
                      <a:lnTo>
                        <a:pt x="95" y="192"/>
                      </a:lnTo>
                      <a:lnTo>
                        <a:pt x="96" y="192"/>
                      </a:lnTo>
                      <a:lnTo>
                        <a:pt x="96" y="192"/>
                      </a:lnTo>
                      <a:lnTo>
                        <a:pt x="97" y="192"/>
                      </a:lnTo>
                      <a:lnTo>
                        <a:pt x="97" y="192"/>
                      </a:lnTo>
                      <a:lnTo>
                        <a:pt x="98" y="192"/>
                      </a:lnTo>
                      <a:lnTo>
                        <a:pt x="98" y="192"/>
                      </a:lnTo>
                      <a:lnTo>
                        <a:pt x="98" y="192"/>
                      </a:lnTo>
                      <a:lnTo>
                        <a:pt x="98" y="192"/>
                      </a:lnTo>
                      <a:lnTo>
                        <a:pt x="98" y="192"/>
                      </a:lnTo>
                      <a:lnTo>
                        <a:pt x="98" y="192"/>
                      </a:lnTo>
                      <a:lnTo>
                        <a:pt x="99" y="192"/>
                      </a:lnTo>
                      <a:lnTo>
                        <a:pt x="99" y="192"/>
                      </a:lnTo>
                      <a:lnTo>
                        <a:pt x="99" y="191"/>
                      </a:lnTo>
                      <a:lnTo>
                        <a:pt x="99" y="192"/>
                      </a:lnTo>
                      <a:lnTo>
                        <a:pt x="100" y="192"/>
                      </a:lnTo>
                      <a:lnTo>
                        <a:pt x="100" y="192"/>
                      </a:lnTo>
                      <a:lnTo>
                        <a:pt x="101" y="192"/>
                      </a:lnTo>
                      <a:lnTo>
                        <a:pt x="100" y="192"/>
                      </a:lnTo>
                      <a:lnTo>
                        <a:pt x="101" y="192"/>
                      </a:lnTo>
                      <a:lnTo>
                        <a:pt x="101" y="191"/>
                      </a:lnTo>
                      <a:lnTo>
                        <a:pt x="102" y="191"/>
                      </a:lnTo>
                      <a:lnTo>
                        <a:pt x="102" y="192"/>
                      </a:lnTo>
                      <a:lnTo>
                        <a:pt x="102" y="192"/>
                      </a:lnTo>
                      <a:lnTo>
                        <a:pt x="102" y="191"/>
                      </a:lnTo>
                      <a:lnTo>
                        <a:pt x="102" y="191"/>
                      </a:lnTo>
                      <a:lnTo>
                        <a:pt x="102" y="191"/>
                      </a:lnTo>
                      <a:lnTo>
                        <a:pt x="103" y="191"/>
                      </a:lnTo>
                      <a:lnTo>
                        <a:pt x="102" y="191"/>
                      </a:lnTo>
                      <a:lnTo>
                        <a:pt x="103" y="191"/>
                      </a:lnTo>
                      <a:lnTo>
                        <a:pt x="103" y="190"/>
                      </a:lnTo>
                      <a:lnTo>
                        <a:pt x="103" y="191"/>
                      </a:lnTo>
                      <a:lnTo>
                        <a:pt x="103" y="190"/>
                      </a:lnTo>
                      <a:lnTo>
                        <a:pt x="103" y="191"/>
                      </a:lnTo>
                      <a:lnTo>
                        <a:pt x="104" y="191"/>
                      </a:lnTo>
                      <a:lnTo>
                        <a:pt x="104" y="192"/>
                      </a:lnTo>
                      <a:lnTo>
                        <a:pt x="104" y="191"/>
                      </a:lnTo>
                      <a:lnTo>
                        <a:pt x="104" y="191"/>
                      </a:lnTo>
                      <a:lnTo>
                        <a:pt x="104" y="192"/>
                      </a:lnTo>
                      <a:lnTo>
                        <a:pt x="104" y="192"/>
                      </a:lnTo>
                      <a:lnTo>
                        <a:pt x="104" y="192"/>
                      </a:lnTo>
                      <a:lnTo>
                        <a:pt x="105" y="192"/>
                      </a:lnTo>
                      <a:lnTo>
                        <a:pt x="105" y="191"/>
                      </a:lnTo>
                      <a:lnTo>
                        <a:pt x="105" y="192"/>
                      </a:lnTo>
                      <a:lnTo>
                        <a:pt x="106" y="192"/>
                      </a:lnTo>
                      <a:lnTo>
                        <a:pt x="106" y="191"/>
                      </a:lnTo>
                      <a:lnTo>
                        <a:pt x="106" y="191"/>
                      </a:lnTo>
                      <a:lnTo>
                        <a:pt x="106" y="192"/>
                      </a:lnTo>
                      <a:lnTo>
                        <a:pt x="107" y="192"/>
                      </a:lnTo>
                      <a:lnTo>
                        <a:pt x="107" y="192"/>
                      </a:lnTo>
                      <a:lnTo>
                        <a:pt x="107" y="192"/>
                      </a:lnTo>
                      <a:lnTo>
                        <a:pt x="107" y="192"/>
                      </a:lnTo>
                      <a:lnTo>
                        <a:pt x="107" y="192"/>
                      </a:lnTo>
                      <a:lnTo>
                        <a:pt x="108" y="192"/>
                      </a:lnTo>
                      <a:lnTo>
                        <a:pt x="108" y="192"/>
                      </a:lnTo>
                      <a:lnTo>
                        <a:pt x="108" y="192"/>
                      </a:lnTo>
                      <a:lnTo>
                        <a:pt x="108" y="192"/>
                      </a:lnTo>
                      <a:lnTo>
                        <a:pt x="109" y="192"/>
                      </a:lnTo>
                      <a:lnTo>
                        <a:pt x="109" y="192"/>
                      </a:lnTo>
                      <a:lnTo>
                        <a:pt x="109" y="192"/>
                      </a:lnTo>
                      <a:lnTo>
                        <a:pt x="109" y="192"/>
                      </a:lnTo>
                      <a:lnTo>
                        <a:pt x="109" y="192"/>
                      </a:lnTo>
                      <a:lnTo>
                        <a:pt x="108" y="192"/>
                      </a:lnTo>
                      <a:lnTo>
                        <a:pt x="108" y="192"/>
                      </a:lnTo>
                      <a:lnTo>
                        <a:pt x="108" y="192"/>
                      </a:lnTo>
                      <a:lnTo>
                        <a:pt x="107" y="192"/>
                      </a:lnTo>
                      <a:lnTo>
                        <a:pt x="107" y="192"/>
                      </a:lnTo>
                      <a:lnTo>
                        <a:pt x="107" y="192"/>
                      </a:lnTo>
                      <a:lnTo>
                        <a:pt x="106" y="192"/>
                      </a:lnTo>
                      <a:lnTo>
                        <a:pt x="106" y="191"/>
                      </a:lnTo>
                      <a:lnTo>
                        <a:pt x="106" y="191"/>
                      </a:lnTo>
                      <a:lnTo>
                        <a:pt x="106" y="192"/>
                      </a:lnTo>
                      <a:lnTo>
                        <a:pt x="106" y="191"/>
                      </a:lnTo>
                      <a:lnTo>
                        <a:pt x="106" y="192"/>
                      </a:lnTo>
                      <a:lnTo>
                        <a:pt x="105" y="191"/>
                      </a:lnTo>
                      <a:lnTo>
                        <a:pt x="104" y="192"/>
                      </a:lnTo>
                      <a:lnTo>
                        <a:pt x="104" y="191"/>
                      </a:lnTo>
                      <a:lnTo>
                        <a:pt x="104" y="191"/>
                      </a:lnTo>
                      <a:lnTo>
                        <a:pt x="104" y="192"/>
                      </a:lnTo>
                      <a:lnTo>
                        <a:pt x="104" y="191"/>
                      </a:lnTo>
                      <a:lnTo>
                        <a:pt x="103" y="191"/>
                      </a:lnTo>
                      <a:lnTo>
                        <a:pt x="103" y="190"/>
                      </a:lnTo>
                      <a:lnTo>
                        <a:pt x="103" y="191"/>
                      </a:lnTo>
                      <a:lnTo>
                        <a:pt x="103" y="190"/>
                      </a:lnTo>
                      <a:lnTo>
                        <a:pt x="103" y="191"/>
                      </a:lnTo>
                      <a:lnTo>
                        <a:pt x="102" y="191"/>
                      </a:lnTo>
                      <a:lnTo>
                        <a:pt x="102" y="191"/>
                      </a:lnTo>
                      <a:lnTo>
                        <a:pt x="102" y="192"/>
                      </a:lnTo>
                      <a:lnTo>
                        <a:pt x="102" y="192"/>
                      </a:lnTo>
                      <a:lnTo>
                        <a:pt x="102" y="191"/>
                      </a:lnTo>
                      <a:lnTo>
                        <a:pt x="101" y="191"/>
                      </a:lnTo>
                      <a:lnTo>
                        <a:pt x="101" y="192"/>
                      </a:lnTo>
                      <a:lnTo>
                        <a:pt x="100" y="192"/>
                      </a:lnTo>
                      <a:lnTo>
                        <a:pt x="100" y="192"/>
                      </a:lnTo>
                      <a:lnTo>
                        <a:pt x="99" y="192"/>
                      </a:lnTo>
                      <a:lnTo>
                        <a:pt x="99" y="191"/>
                      </a:lnTo>
                      <a:lnTo>
                        <a:pt x="99" y="192"/>
                      </a:lnTo>
                      <a:lnTo>
                        <a:pt x="99" y="192"/>
                      </a:lnTo>
                      <a:lnTo>
                        <a:pt x="98" y="192"/>
                      </a:lnTo>
                      <a:lnTo>
                        <a:pt x="98" y="192"/>
                      </a:lnTo>
                      <a:lnTo>
                        <a:pt x="98" y="192"/>
                      </a:lnTo>
                      <a:lnTo>
                        <a:pt x="98" y="192"/>
                      </a:lnTo>
                      <a:lnTo>
                        <a:pt x="97" y="192"/>
                      </a:lnTo>
                      <a:lnTo>
                        <a:pt x="98" y="192"/>
                      </a:lnTo>
                      <a:lnTo>
                        <a:pt x="98" y="191"/>
                      </a:lnTo>
                      <a:lnTo>
                        <a:pt x="98" y="191"/>
                      </a:lnTo>
                      <a:lnTo>
                        <a:pt x="98" y="191"/>
                      </a:lnTo>
                      <a:lnTo>
                        <a:pt x="98" y="192"/>
                      </a:lnTo>
                      <a:lnTo>
                        <a:pt x="97" y="192"/>
                      </a:lnTo>
                      <a:lnTo>
                        <a:pt x="97" y="191"/>
                      </a:lnTo>
                      <a:lnTo>
                        <a:pt x="98" y="191"/>
                      </a:lnTo>
                      <a:lnTo>
                        <a:pt x="98" y="191"/>
                      </a:lnTo>
                      <a:lnTo>
                        <a:pt x="98" y="190"/>
                      </a:lnTo>
                      <a:lnTo>
                        <a:pt x="99" y="190"/>
                      </a:lnTo>
                      <a:lnTo>
                        <a:pt x="98" y="190"/>
                      </a:lnTo>
                      <a:lnTo>
                        <a:pt x="98" y="191"/>
                      </a:lnTo>
                      <a:lnTo>
                        <a:pt x="98" y="191"/>
                      </a:lnTo>
                      <a:lnTo>
                        <a:pt x="97" y="191"/>
                      </a:lnTo>
                      <a:lnTo>
                        <a:pt x="97" y="190"/>
                      </a:lnTo>
                      <a:lnTo>
                        <a:pt x="98" y="190"/>
                      </a:lnTo>
                      <a:lnTo>
                        <a:pt x="98" y="190"/>
                      </a:lnTo>
                      <a:lnTo>
                        <a:pt x="98" y="189"/>
                      </a:lnTo>
                      <a:lnTo>
                        <a:pt x="98" y="190"/>
                      </a:lnTo>
                      <a:lnTo>
                        <a:pt x="98" y="190"/>
                      </a:lnTo>
                      <a:lnTo>
                        <a:pt x="98" y="190"/>
                      </a:lnTo>
                      <a:lnTo>
                        <a:pt x="98" y="190"/>
                      </a:lnTo>
                      <a:lnTo>
                        <a:pt x="98" y="189"/>
                      </a:lnTo>
                      <a:lnTo>
                        <a:pt x="98" y="190"/>
                      </a:lnTo>
                      <a:lnTo>
                        <a:pt x="98" y="190"/>
                      </a:lnTo>
                      <a:lnTo>
                        <a:pt x="98" y="189"/>
                      </a:lnTo>
                      <a:lnTo>
                        <a:pt x="98" y="190"/>
                      </a:lnTo>
                      <a:lnTo>
                        <a:pt x="98" y="190"/>
                      </a:lnTo>
                      <a:lnTo>
                        <a:pt x="97" y="190"/>
                      </a:lnTo>
                      <a:lnTo>
                        <a:pt x="97" y="191"/>
                      </a:lnTo>
                      <a:lnTo>
                        <a:pt x="96" y="191"/>
                      </a:lnTo>
                      <a:lnTo>
                        <a:pt x="96" y="191"/>
                      </a:lnTo>
                      <a:lnTo>
                        <a:pt x="95" y="191"/>
                      </a:lnTo>
                      <a:lnTo>
                        <a:pt x="96" y="191"/>
                      </a:lnTo>
                      <a:lnTo>
                        <a:pt x="95" y="191"/>
                      </a:lnTo>
                      <a:lnTo>
                        <a:pt x="95" y="191"/>
                      </a:lnTo>
                      <a:lnTo>
                        <a:pt x="95" y="192"/>
                      </a:lnTo>
                      <a:lnTo>
                        <a:pt x="94" y="192"/>
                      </a:lnTo>
                      <a:lnTo>
                        <a:pt x="93" y="192"/>
                      </a:lnTo>
                      <a:lnTo>
                        <a:pt x="93" y="192"/>
                      </a:lnTo>
                      <a:lnTo>
                        <a:pt x="92" y="192"/>
                      </a:lnTo>
                      <a:lnTo>
                        <a:pt x="92" y="192"/>
                      </a:lnTo>
                      <a:lnTo>
                        <a:pt x="92" y="191"/>
                      </a:lnTo>
                      <a:lnTo>
                        <a:pt x="92" y="192"/>
                      </a:lnTo>
                      <a:lnTo>
                        <a:pt x="91" y="191"/>
                      </a:lnTo>
                      <a:lnTo>
                        <a:pt x="91" y="190"/>
                      </a:lnTo>
                      <a:lnTo>
                        <a:pt x="91" y="190"/>
                      </a:lnTo>
                      <a:lnTo>
                        <a:pt x="91" y="190"/>
                      </a:lnTo>
                      <a:lnTo>
                        <a:pt x="91" y="190"/>
                      </a:lnTo>
                      <a:lnTo>
                        <a:pt x="91" y="190"/>
                      </a:lnTo>
                      <a:lnTo>
                        <a:pt x="91" y="190"/>
                      </a:lnTo>
                      <a:lnTo>
                        <a:pt x="91" y="190"/>
                      </a:lnTo>
                      <a:lnTo>
                        <a:pt x="91" y="190"/>
                      </a:lnTo>
                      <a:lnTo>
                        <a:pt x="91" y="190"/>
                      </a:lnTo>
                      <a:lnTo>
                        <a:pt x="91" y="190"/>
                      </a:lnTo>
                      <a:lnTo>
                        <a:pt x="91" y="190"/>
                      </a:lnTo>
                      <a:lnTo>
                        <a:pt x="91" y="190"/>
                      </a:lnTo>
                      <a:lnTo>
                        <a:pt x="91" y="190"/>
                      </a:lnTo>
                      <a:lnTo>
                        <a:pt x="91" y="190"/>
                      </a:lnTo>
                      <a:lnTo>
                        <a:pt x="91" y="190"/>
                      </a:lnTo>
                      <a:lnTo>
                        <a:pt x="91" y="190"/>
                      </a:lnTo>
                      <a:lnTo>
                        <a:pt x="90" y="190"/>
                      </a:lnTo>
                      <a:lnTo>
                        <a:pt x="90" y="189"/>
                      </a:lnTo>
                      <a:lnTo>
                        <a:pt x="89" y="189"/>
                      </a:lnTo>
                      <a:lnTo>
                        <a:pt x="89" y="189"/>
                      </a:lnTo>
                      <a:lnTo>
                        <a:pt x="89" y="188"/>
                      </a:lnTo>
                      <a:lnTo>
                        <a:pt x="88" y="188"/>
                      </a:lnTo>
                      <a:lnTo>
                        <a:pt x="88" y="187"/>
                      </a:lnTo>
                      <a:lnTo>
                        <a:pt x="88" y="186"/>
                      </a:lnTo>
                      <a:lnTo>
                        <a:pt x="88" y="186"/>
                      </a:lnTo>
                      <a:lnTo>
                        <a:pt x="88" y="186"/>
                      </a:lnTo>
                      <a:lnTo>
                        <a:pt x="88" y="186"/>
                      </a:lnTo>
                      <a:lnTo>
                        <a:pt x="88" y="186"/>
                      </a:lnTo>
                      <a:lnTo>
                        <a:pt x="87" y="186"/>
                      </a:lnTo>
                      <a:lnTo>
                        <a:pt x="87" y="185"/>
                      </a:lnTo>
                      <a:lnTo>
                        <a:pt x="88" y="185"/>
                      </a:lnTo>
                      <a:lnTo>
                        <a:pt x="88" y="185"/>
                      </a:lnTo>
                      <a:lnTo>
                        <a:pt x="88" y="185"/>
                      </a:lnTo>
                      <a:lnTo>
                        <a:pt x="88" y="185"/>
                      </a:lnTo>
                      <a:lnTo>
                        <a:pt x="88" y="184"/>
                      </a:lnTo>
                      <a:lnTo>
                        <a:pt x="88" y="184"/>
                      </a:lnTo>
                      <a:lnTo>
                        <a:pt x="88" y="184"/>
                      </a:lnTo>
                      <a:lnTo>
                        <a:pt x="88" y="184"/>
                      </a:lnTo>
                      <a:lnTo>
                        <a:pt x="88" y="184"/>
                      </a:lnTo>
                      <a:lnTo>
                        <a:pt x="88" y="184"/>
                      </a:lnTo>
                      <a:lnTo>
                        <a:pt x="88" y="184"/>
                      </a:lnTo>
                      <a:lnTo>
                        <a:pt x="88" y="184"/>
                      </a:lnTo>
                      <a:lnTo>
                        <a:pt x="88" y="184"/>
                      </a:lnTo>
                      <a:lnTo>
                        <a:pt x="88" y="184"/>
                      </a:lnTo>
                      <a:lnTo>
                        <a:pt x="88" y="183"/>
                      </a:lnTo>
                      <a:lnTo>
                        <a:pt x="88" y="183"/>
                      </a:lnTo>
                      <a:lnTo>
                        <a:pt x="88" y="183"/>
                      </a:lnTo>
                      <a:lnTo>
                        <a:pt x="88" y="183"/>
                      </a:lnTo>
                      <a:lnTo>
                        <a:pt x="88" y="183"/>
                      </a:lnTo>
                      <a:lnTo>
                        <a:pt x="87" y="183"/>
                      </a:lnTo>
                      <a:lnTo>
                        <a:pt x="87" y="184"/>
                      </a:lnTo>
                      <a:lnTo>
                        <a:pt x="88" y="184"/>
                      </a:lnTo>
                      <a:lnTo>
                        <a:pt x="87" y="184"/>
                      </a:lnTo>
                      <a:lnTo>
                        <a:pt x="87" y="184"/>
                      </a:lnTo>
                      <a:lnTo>
                        <a:pt x="86" y="184"/>
                      </a:lnTo>
                      <a:lnTo>
                        <a:pt x="85" y="184"/>
                      </a:lnTo>
                      <a:lnTo>
                        <a:pt x="85" y="183"/>
                      </a:lnTo>
                      <a:lnTo>
                        <a:pt x="85" y="183"/>
                      </a:lnTo>
                      <a:lnTo>
                        <a:pt x="84" y="182"/>
                      </a:lnTo>
                      <a:lnTo>
                        <a:pt x="84" y="182"/>
                      </a:lnTo>
                      <a:lnTo>
                        <a:pt x="84" y="182"/>
                      </a:lnTo>
                      <a:lnTo>
                        <a:pt x="83" y="182"/>
                      </a:lnTo>
                      <a:lnTo>
                        <a:pt x="83" y="182"/>
                      </a:lnTo>
                      <a:lnTo>
                        <a:pt x="82" y="182"/>
                      </a:lnTo>
                      <a:lnTo>
                        <a:pt x="81" y="181"/>
                      </a:lnTo>
                      <a:lnTo>
                        <a:pt x="81" y="181"/>
                      </a:lnTo>
                      <a:lnTo>
                        <a:pt x="80" y="181"/>
                      </a:lnTo>
                      <a:lnTo>
                        <a:pt x="80" y="181"/>
                      </a:lnTo>
                      <a:lnTo>
                        <a:pt x="80" y="181"/>
                      </a:lnTo>
                      <a:lnTo>
                        <a:pt x="79" y="181"/>
                      </a:lnTo>
                      <a:lnTo>
                        <a:pt x="78" y="181"/>
                      </a:lnTo>
                      <a:lnTo>
                        <a:pt x="79" y="181"/>
                      </a:lnTo>
                      <a:lnTo>
                        <a:pt x="79" y="181"/>
                      </a:lnTo>
                      <a:lnTo>
                        <a:pt x="78" y="181"/>
                      </a:lnTo>
                      <a:lnTo>
                        <a:pt x="78" y="182"/>
                      </a:lnTo>
                      <a:lnTo>
                        <a:pt x="78" y="181"/>
                      </a:lnTo>
                      <a:lnTo>
                        <a:pt x="78" y="182"/>
                      </a:lnTo>
                      <a:lnTo>
                        <a:pt x="78" y="182"/>
                      </a:lnTo>
                      <a:lnTo>
                        <a:pt x="78" y="182"/>
                      </a:lnTo>
                      <a:lnTo>
                        <a:pt x="78" y="183"/>
                      </a:lnTo>
                      <a:lnTo>
                        <a:pt x="78" y="184"/>
                      </a:lnTo>
                      <a:lnTo>
                        <a:pt x="78" y="183"/>
                      </a:lnTo>
                      <a:lnTo>
                        <a:pt x="78" y="184"/>
                      </a:lnTo>
                      <a:lnTo>
                        <a:pt x="78" y="184"/>
                      </a:lnTo>
                      <a:lnTo>
                        <a:pt x="78" y="183"/>
                      </a:lnTo>
                      <a:lnTo>
                        <a:pt x="77" y="182"/>
                      </a:lnTo>
                      <a:lnTo>
                        <a:pt x="77" y="181"/>
                      </a:lnTo>
                      <a:lnTo>
                        <a:pt x="77" y="181"/>
                      </a:lnTo>
                      <a:lnTo>
                        <a:pt x="77" y="180"/>
                      </a:lnTo>
                      <a:lnTo>
                        <a:pt x="77" y="179"/>
                      </a:lnTo>
                      <a:lnTo>
                        <a:pt x="77" y="179"/>
                      </a:lnTo>
                      <a:lnTo>
                        <a:pt x="77" y="178"/>
                      </a:lnTo>
                      <a:lnTo>
                        <a:pt x="78" y="178"/>
                      </a:lnTo>
                      <a:lnTo>
                        <a:pt x="78" y="177"/>
                      </a:lnTo>
                      <a:lnTo>
                        <a:pt x="78" y="176"/>
                      </a:lnTo>
                      <a:lnTo>
                        <a:pt x="78" y="175"/>
                      </a:lnTo>
                      <a:lnTo>
                        <a:pt x="79" y="175"/>
                      </a:lnTo>
                      <a:lnTo>
                        <a:pt x="79" y="176"/>
                      </a:lnTo>
                      <a:lnTo>
                        <a:pt x="78" y="176"/>
                      </a:lnTo>
                      <a:lnTo>
                        <a:pt x="78" y="177"/>
                      </a:lnTo>
                      <a:lnTo>
                        <a:pt x="79" y="177"/>
                      </a:lnTo>
                      <a:lnTo>
                        <a:pt x="80" y="177"/>
                      </a:lnTo>
                      <a:lnTo>
                        <a:pt x="80" y="177"/>
                      </a:lnTo>
                      <a:lnTo>
                        <a:pt x="81" y="176"/>
                      </a:lnTo>
                      <a:lnTo>
                        <a:pt x="81" y="176"/>
                      </a:lnTo>
                      <a:lnTo>
                        <a:pt x="81" y="176"/>
                      </a:lnTo>
                      <a:lnTo>
                        <a:pt x="81" y="176"/>
                      </a:lnTo>
                      <a:lnTo>
                        <a:pt x="82" y="176"/>
                      </a:lnTo>
                      <a:lnTo>
                        <a:pt x="81" y="176"/>
                      </a:lnTo>
                      <a:lnTo>
                        <a:pt x="81" y="175"/>
                      </a:lnTo>
                      <a:lnTo>
                        <a:pt x="81" y="176"/>
                      </a:lnTo>
                      <a:lnTo>
                        <a:pt x="81" y="175"/>
                      </a:lnTo>
                      <a:lnTo>
                        <a:pt x="82" y="175"/>
                      </a:lnTo>
                      <a:lnTo>
                        <a:pt x="82" y="175"/>
                      </a:lnTo>
                      <a:lnTo>
                        <a:pt x="82" y="175"/>
                      </a:lnTo>
                      <a:lnTo>
                        <a:pt x="82" y="175"/>
                      </a:lnTo>
                      <a:lnTo>
                        <a:pt x="82" y="174"/>
                      </a:lnTo>
                      <a:lnTo>
                        <a:pt x="81" y="174"/>
                      </a:lnTo>
                      <a:lnTo>
                        <a:pt x="82" y="174"/>
                      </a:lnTo>
                      <a:lnTo>
                        <a:pt x="81" y="175"/>
                      </a:lnTo>
                      <a:lnTo>
                        <a:pt x="81" y="174"/>
                      </a:lnTo>
                      <a:lnTo>
                        <a:pt x="81" y="174"/>
                      </a:lnTo>
                      <a:lnTo>
                        <a:pt x="81" y="174"/>
                      </a:lnTo>
                      <a:lnTo>
                        <a:pt x="81" y="174"/>
                      </a:lnTo>
                      <a:lnTo>
                        <a:pt x="81" y="174"/>
                      </a:lnTo>
                      <a:lnTo>
                        <a:pt x="81" y="174"/>
                      </a:lnTo>
                      <a:lnTo>
                        <a:pt x="81" y="174"/>
                      </a:lnTo>
                      <a:lnTo>
                        <a:pt x="80" y="174"/>
                      </a:lnTo>
                      <a:lnTo>
                        <a:pt x="80" y="173"/>
                      </a:lnTo>
                      <a:lnTo>
                        <a:pt x="80" y="173"/>
                      </a:lnTo>
                      <a:lnTo>
                        <a:pt x="80" y="173"/>
                      </a:lnTo>
                      <a:lnTo>
                        <a:pt x="80" y="173"/>
                      </a:lnTo>
                      <a:lnTo>
                        <a:pt x="80" y="173"/>
                      </a:lnTo>
                      <a:lnTo>
                        <a:pt x="80" y="173"/>
                      </a:lnTo>
                      <a:lnTo>
                        <a:pt x="80" y="173"/>
                      </a:lnTo>
                      <a:lnTo>
                        <a:pt x="80" y="173"/>
                      </a:lnTo>
                      <a:lnTo>
                        <a:pt x="80" y="172"/>
                      </a:lnTo>
                      <a:lnTo>
                        <a:pt x="80" y="171"/>
                      </a:lnTo>
                      <a:lnTo>
                        <a:pt x="81" y="171"/>
                      </a:lnTo>
                      <a:lnTo>
                        <a:pt x="81" y="171"/>
                      </a:lnTo>
                      <a:lnTo>
                        <a:pt x="81" y="170"/>
                      </a:lnTo>
                      <a:lnTo>
                        <a:pt x="81" y="170"/>
                      </a:lnTo>
                      <a:lnTo>
                        <a:pt x="81" y="171"/>
                      </a:lnTo>
                      <a:lnTo>
                        <a:pt x="82" y="171"/>
                      </a:lnTo>
                      <a:lnTo>
                        <a:pt x="83" y="171"/>
                      </a:lnTo>
                      <a:lnTo>
                        <a:pt x="83" y="171"/>
                      </a:lnTo>
                      <a:lnTo>
                        <a:pt x="83" y="172"/>
                      </a:lnTo>
                      <a:lnTo>
                        <a:pt x="83" y="172"/>
                      </a:lnTo>
                      <a:lnTo>
                        <a:pt x="83" y="172"/>
                      </a:lnTo>
                      <a:lnTo>
                        <a:pt x="83" y="172"/>
                      </a:lnTo>
                      <a:lnTo>
                        <a:pt x="83" y="171"/>
                      </a:lnTo>
                      <a:lnTo>
                        <a:pt x="84" y="171"/>
                      </a:lnTo>
                      <a:lnTo>
                        <a:pt x="83" y="172"/>
                      </a:lnTo>
                      <a:lnTo>
                        <a:pt x="84" y="172"/>
                      </a:lnTo>
                      <a:lnTo>
                        <a:pt x="84" y="172"/>
                      </a:lnTo>
                      <a:lnTo>
                        <a:pt x="85" y="172"/>
                      </a:lnTo>
                      <a:lnTo>
                        <a:pt x="85" y="171"/>
                      </a:lnTo>
                      <a:lnTo>
                        <a:pt x="85" y="172"/>
                      </a:lnTo>
                      <a:lnTo>
                        <a:pt x="85" y="172"/>
                      </a:lnTo>
                      <a:lnTo>
                        <a:pt x="86" y="172"/>
                      </a:lnTo>
                      <a:lnTo>
                        <a:pt x="86" y="171"/>
                      </a:lnTo>
                      <a:lnTo>
                        <a:pt x="87" y="171"/>
                      </a:lnTo>
                      <a:lnTo>
                        <a:pt x="87" y="172"/>
                      </a:lnTo>
                      <a:lnTo>
                        <a:pt x="87" y="172"/>
                      </a:lnTo>
                      <a:lnTo>
                        <a:pt x="87" y="171"/>
                      </a:lnTo>
                      <a:lnTo>
                        <a:pt x="88" y="171"/>
                      </a:lnTo>
                      <a:lnTo>
                        <a:pt x="88" y="171"/>
                      </a:lnTo>
                      <a:lnTo>
                        <a:pt x="89" y="171"/>
                      </a:lnTo>
                      <a:lnTo>
                        <a:pt x="89" y="171"/>
                      </a:lnTo>
                      <a:lnTo>
                        <a:pt x="89" y="172"/>
                      </a:lnTo>
                      <a:lnTo>
                        <a:pt x="90" y="171"/>
                      </a:lnTo>
                      <a:lnTo>
                        <a:pt x="90" y="172"/>
                      </a:lnTo>
                      <a:lnTo>
                        <a:pt x="91" y="173"/>
                      </a:lnTo>
                      <a:lnTo>
                        <a:pt x="91" y="172"/>
                      </a:lnTo>
                      <a:lnTo>
                        <a:pt x="91" y="172"/>
                      </a:lnTo>
                      <a:lnTo>
                        <a:pt x="92" y="172"/>
                      </a:lnTo>
                      <a:lnTo>
                        <a:pt x="92" y="173"/>
                      </a:lnTo>
                      <a:lnTo>
                        <a:pt x="92" y="173"/>
                      </a:lnTo>
                      <a:lnTo>
                        <a:pt x="92" y="173"/>
                      </a:lnTo>
                      <a:lnTo>
                        <a:pt x="92" y="173"/>
                      </a:lnTo>
                      <a:lnTo>
                        <a:pt x="93" y="173"/>
                      </a:lnTo>
                      <a:lnTo>
                        <a:pt x="92" y="173"/>
                      </a:lnTo>
                      <a:lnTo>
                        <a:pt x="93" y="173"/>
                      </a:lnTo>
                      <a:lnTo>
                        <a:pt x="92" y="173"/>
                      </a:lnTo>
                      <a:lnTo>
                        <a:pt x="92" y="173"/>
                      </a:lnTo>
                      <a:lnTo>
                        <a:pt x="92" y="174"/>
                      </a:lnTo>
                      <a:lnTo>
                        <a:pt x="92" y="174"/>
                      </a:lnTo>
                      <a:lnTo>
                        <a:pt x="92" y="174"/>
                      </a:lnTo>
                      <a:lnTo>
                        <a:pt x="92" y="173"/>
                      </a:lnTo>
                      <a:lnTo>
                        <a:pt x="92" y="173"/>
                      </a:lnTo>
                      <a:lnTo>
                        <a:pt x="93" y="173"/>
                      </a:lnTo>
                      <a:lnTo>
                        <a:pt x="92" y="173"/>
                      </a:lnTo>
                      <a:lnTo>
                        <a:pt x="93" y="173"/>
                      </a:lnTo>
                      <a:lnTo>
                        <a:pt x="92" y="173"/>
                      </a:lnTo>
                      <a:lnTo>
                        <a:pt x="92" y="173"/>
                      </a:lnTo>
                      <a:lnTo>
                        <a:pt x="92" y="173"/>
                      </a:lnTo>
                      <a:lnTo>
                        <a:pt x="92" y="173"/>
                      </a:lnTo>
                      <a:lnTo>
                        <a:pt x="92" y="172"/>
                      </a:lnTo>
                      <a:lnTo>
                        <a:pt x="91" y="172"/>
                      </a:lnTo>
                      <a:lnTo>
                        <a:pt x="91" y="171"/>
                      </a:lnTo>
                      <a:lnTo>
                        <a:pt x="91" y="172"/>
                      </a:lnTo>
                      <a:lnTo>
                        <a:pt x="91" y="172"/>
                      </a:lnTo>
                      <a:lnTo>
                        <a:pt x="91" y="173"/>
                      </a:lnTo>
                      <a:lnTo>
                        <a:pt x="91" y="172"/>
                      </a:lnTo>
                      <a:lnTo>
                        <a:pt x="90" y="172"/>
                      </a:lnTo>
                      <a:lnTo>
                        <a:pt x="90" y="171"/>
                      </a:lnTo>
                      <a:lnTo>
                        <a:pt x="89" y="172"/>
                      </a:lnTo>
                      <a:lnTo>
                        <a:pt x="89" y="171"/>
                      </a:lnTo>
                      <a:lnTo>
                        <a:pt x="89" y="171"/>
                      </a:lnTo>
                      <a:lnTo>
                        <a:pt x="88" y="171"/>
                      </a:lnTo>
                      <a:lnTo>
                        <a:pt x="89" y="171"/>
                      </a:lnTo>
                      <a:lnTo>
                        <a:pt x="88" y="171"/>
                      </a:lnTo>
                      <a:lnTo>
                        <a:pt x="88" y="171"/>
                      </a:lnTo>
                      <a:lnTo>
                        <a:pt x="89" y="171"/>
                      </a:lnTo>
                      <a:lnTo>
                        <a:pt x="89" y="170"/>
                      </a:lnTo>
                      <a:lnTo>
                        <a:pt x="89" y="170"/>
                      </a:lnTo>
                      <a:lnTo>
                        <a:pt x="89" y="170"/>
                      </a:lnTo>
                      <a:lnTo>
                        <a:pt x="89" y="171"/>
                      </a:lnTo>
                      <a:lnTo>
                        <a:pt x="89" y="171"/>
                      </a:lnTo>
                      <a:lnTo>
                        <a:pt x="89" y="170"/>
                      </a:lnTo>
                      <a:lnTo>
                        <a:pt x="90" y="170"/>
                      </a:lnTo>
                      <a:lnTo>
                        <a:pt x="89" y="170"/>
                      </a:lnTo>
                      <a:lnTo>
                        <a:pt x="89" y="171"/>
                      </a:lnTo>
                      <a:lnTo>
                        <a:pt x="90" y="171"/>
                      </a:lnTo>
                      <a:lnTo>
                        <a:pt x="91" y="171"/>
                      </a:lnTo>
                      <a:lnTo>
                        <a:pt x="90" y="170"/>
                      </a:lnTo>
                      <a:lnTo>
                        <a:pt x="91" y="170"/>
                      </a:lnTo>
                      <a:lnTo>
                        <a:pt x="91" y="171"/>
                      </a:lnTo>
                      <a:lnTo>
                        <a:pt x="91" y="170"/>
                      </a:lnTo>
                      <a:lnTo>
                        <a:pt x="91" y="170"/>
                      </a:lnTo>
                      <a:lnTo>
                        <a:pt x="91" y="170"/>
                      </a:lnTo>
                      <a:lnTo>
                        <a:pt x="92" y="170"/>
                      </a:lnTo>
                      <a:lnTo>
                        <a:pt x="91" y="170"/>
                      </a:lnTo>
                      <a:lnTo>
                        <a:pt x="92" y="170"/>
                      </a:lnTo>
                      <a:lnTo>
                        <a:pt x="92" y="170"/>
                      </a:lnTo>
                      <a:lnTo>
                        <a:pt x="93" y="170"/>
                      </a:lnTo>
                      <a:lnTo>
                        <a:pt x="92" y="170"/>
                      </a:lnTo>
                      <a:lnTo>
                        <a:pt x="92" y="170"/>
                      </a:lnTo>
                      <a:lnTo>
                        <a:pt x="93" y="170"/>
                      </a:lnTo>
                      <a:lnTo>
                        <a:pt x="92" y="170"/>
                      </a:lnTo>
                      <a:lnTo>
                        <a:pt x="93" y="170"/>
                      </a:lnTo>
                      <a:lnTo>
                        <a:pt x="93" y="171"/>
                      </a:lnTo>
                      <a:lnTo>
                        <a:pt x="93" y="170"/>
                      </a:lnTo>
                      <a:lnTo>
                        <a:pt x="94" y="170"/>
                      </a:lnTo>
                      <a:lnTo>
                        <a:pt x="93" y="170"/>
                      </a:lnTo>
                      <a:lnTo>
                        <a:pt x="93" y="170"/>
                      </a:lnTo>
                      <a:lnTo>
                        <a:pt x="92" y="170"/>
                      </a:lnTo>
                      <a:lnTo>
                        <a:pt x="93" y="170"/>
                      </a:lnTo>
                      <a:lnTo>
                        <a:pt x="92" y="170"/>
                      </a:lnTo>
                      <a:lnTo>
                        <a:pt x="93" y="170"/>
                      </a:lnTo>
                      <a:lnTo>
                        <a:pt x="92" y="170"/>
                      </a:lnTo>
                      <a:lnTo>
                        <a:pt x="92" y="170"/>
                      </a:lnTo>
                      <a:lnTo>
                        <a:pt x="91" y="170"/>
                      </a:lnTo>
                      <a:lnTo>
                        <a:pt x="92" y="170"/>
                      </a:lnTo>
                      <a:lnTo>
                        <a:pt x="91" y="170"/>
                      </a:lnTo>
                      <a:lnTo>
                        <a:pt x="91" y="170"/>
                      </a:lnTo>
                      <a:lnTo>
                        <a:pt x="91" y="170"/>
                      </a:lnTo>
                      <a:lnTo>
                        <a:pt x="91" y="171"/>
                      </a:lnTo>
                      <a:lnTo>
                        <a:pt x="91" y="170"/>
                      </a:lnTo>
                      <a:lnTo>
                        <a:pt x="90" y="170"/>
                      </a:lnTo>
                      <a:lnTo>
                        <a:pt x="91" y="171"/>
                      </a:lnTo>
                      <a:lnTo>
                        <a:pt x="90" y="171"/>
                      </a:lnTo>
                      <a:lnTo>
                        <a:pt x="89" y="171"/>
                      </a:lnTo>
                      <a:lnTo>
                        <a:pt x="89" y="170"/>
                      </a:lnTo>
                      <a:lnTo>
                        <a:pt x="90" y="170"/>
                      </a:lnTo>
                      <a:lnTo>
                        <a:pt x="89" y="170"/>
                      </a:lnTo>
                      <a:lnTo>
                        <a:pt x="89" y="171"/>
                      </a:lnTo>
                      <a:lnTo>
                        <a:pt x="89" y="171"/>
                      </a:lnTo>
                      <a:lnTo>
                        <a:pt x="89" y="170"/>
                      </a:lnTo>
                      <a:lnTo>
                        <a:pt x="89" y="170"/>
                      </a:lnTo>
                      <a:lnTo>
                        <a:pt x="89" y="171"/>
                      </a:lnTo>
                      <a:lnTo>
                        <a:pt x="88" y="171"/>
                      </a:lnTo>
                      <a:lnTo>
                        <a:pt x="88" y="171"/>
                      </a:lnTo>
                      <a:lnTo>
                        <a:pt x="89" y="171"/>
                      </a:lnTo>
                      <a:lnTo>
                        <a:pt x="88" y="171"/>
                      </a:lnTo>
                      <a:lnTo>
                        <a:pt x="88" y="171"/>
                      </a:lnTo>
                      <a:lnTo>
                        <a:pt x="87" y="171"/>
                      </a:lnTo>
                      <a:lnTo>
                        <a:pt x="87" y="172"/>
                      </a:lnTo>
                      <a:lnTo>
                        <a:pt x="87" y="172"/>
                      </a:lnTo>
                      <a:lnTo>
                        <a:pt x="87" y="171"/>
                      </a:lnTo>
                      <a:lnTo>
                        <a:pt x="86" y="171"/>
                      </a:lnTo>
                      <a:lnTo>
                        <a:pt x="86" y="172"/>
                      </a:lnTo>
                      <a:lnTo>
                        <a:pt x="86" y="171"/>
                      </a:lnTo>
                      <a:lnTo>
                        <a:pt x="85" y="171"/>
                      </a:lnTo>
                      <a:lnTo>
                        <a:pt x="85" y="171"/>
                      </a:lnTo>
                      <a:lnTo>
                        <a:pt x="84" y="171"/>
                      </a:lnTo>
                      <a:lnTo>
                        <a:pt x="84" y="171"/>
                      </a:lnTo>
                      <a:lnTo>
                        <a:pt x="84" y="171"/>
                      </a:lnTo>
                      <a:lnTo>
                        <a:pt x="84" y="170"/>
                      </a:lnTo>
                      <a:lnTo>
                        <a:pt x="84" y="171"/>
                      </a:lnTo>
                      <a:lnTo>
                        <a:pt x="84" y="171"/>
                      </a:lnTo>
                      <a:lnTo>
                        <a:pt x="84" y="171"/>
                      </a:lnTo>
                      <a:lnTo>
                        <a:pt x="85" y="171"/>
                      </a:lnTo>
                      <a:lnTo>
                        <a:pt x="84" y="171"/>
                      </a:lnTo>
                      <a:lnTo>
                        <a:pt x="84" y="171"/>
                      </a:lnTo>
                      <a:lnTo>
                        <a:pt x="84" y="171"/>
                      </a:lnTo>
                      <a:lnTo>
                        <a:pt x="83" y="171"/>
                      </a:lnTo>
                      <a:lnTo>
                        <a:pt x="83" y="170"/>
                      </a:lnTo>
                      <a:lnTo>
                        <a:pt x="83" y="170"/>
                      </a:lnTo>
                      <a:lnTo>
                        <a:pt x="82" y="170"/>
                      </a:lnTo>
                      <a:lnTo>
                        <a:pt x="81" y="170"/>
                      </a:lnTo>
                      <a:lnTo>
                        <a:pt x="81" y="170"/>
                      </a:lnTo>
                      <a:lnTo>
                        <a:pt x="82" y="170"/>
                      </a:lnTo>
                      <a:lnTo>
                        <a:pt x="82" y="170"/>
                      </a:lnTo>
                      <a:lnTo>
                        <a:pt x="83" y="170"/>
                      </a:lnTo>
                      <a:lnTo>
                        <a:pt x="82" y="170"/>
                      </a:lnTo>
                      <a:lnTo>
                        <a:pt x="82" y="170"/>
                      </a:lnTo>
                      <a:lnTo>
                        <a:pt x="81" y="170"/>
                      </a:lnTo>
                      <a:lnTo>
                        <a:pt x="81" y="169"/>
                      </a:lnTo>
                      <a:lnTo>
                        <a:pt x="81" y="170"/>
                      </a:lnTo>
                      <a:lnTo>
                        <a:pt x="81" y="169"/>
                      </a:lnTo>
                      <a:lnTo>
                        <a:pt x="81" y="168"/>
                      </a:lnTo>
                      <a:lnTo>
                        <a:pt x="81" y="168"/>
                      </a:lnTo>
                      <a:lnTo>
                        <a:pt x="81" y="168"/>
                      </a:lnTo>
                      <a:lnTo>
                        <a:pt x="81" y="167"/>
                      </a:lnTo>
                      <a:lnTo>
                        <a:pt x="81" y="167"/>
                      </a:lnTo>
                      <a:lnTo>
                        <a:pt x="82" y="167"/>
                      </a:lnTo>
                      <a:lnTo>
                        <a:pt x="82" y="166"/>
                      </a:lnTo>
                      <a:lnTo>
                        <a:pt x="83" y="166"/>
                      </a:lnTo>
                      <a:lnTo>
                        <a:pt x="83" y="167"/>
                      </a:lnTo>
                      <a:lnTo>
                        <a:pt x="84" y="167"/>
                      </a:lnTo>
                      <a:lnTo>
                        <a:pt x="84" y="167"/>
                      </a:lnTo>
                      <a:lnTo>
                        <a:pt x="84" y="167"/>
                      </a:lnTo>
                      <a:lnTo>
                        <a:pt x="84" y="167"/>
                      </a:lnTo>
                      <a:lnTo>
                        <a:pt x="84" y="167"/>
                      </a:lnTo>
                      <a:lnTo>
                        <a:pt x="84" y="167"/>
                      </a:lnTo>
                      <a:lnTo>
                        <a:pt x="84" y="167"/>
                      </a:lnTo>
                      <a:lnTo>
                        <a:pt x="84" y="167"/>
                      </a:lnTo>
                      <a:lnTo>
                        <a:pt x="84" y="167"/>
                      </a:lnTo>
                      <a:lnTo>
                        <a:pt x="84" y="167"/>
                      </a:lnTo>
                      <a:lnTo>
                        <a:pt x="84" y="167"/>
                      </a:lnTo>
                      <a:lnTo>
                        <a:pt x="84" y="167"/>
                      </a:lnTo>
                      <a:lnTo>
                        <a:pt x="85" y="167"/>
                      </a:lnTo>
                      <a:lnTo>
                        <a:pt x="84" y="167"/>
                      </a:lnTo>
                      <a:lnTo>
                        <a:pt x="84" y="167"/>
                      </a:lnTo>
                      <a:lnTo>
                        <a:pt x="83" y="167"/>
                      </a:lnTo>
                      <a:lnTo>
                        <a:pt x="83" y="166"/>
                      </a:lnTo>
                      <a:lnTo>
                        <a:pt x="83" y="166"/>
                      </a:lnTo>
                      <a:lnTo>
                        <a:pt x="82" y="166"/>
                      </a:lnTo>
                      <a:lnTo>
                        <a:pt x="82" y="167"/>
                      </a:lnTo>
                      <a:lnTo>
                        <a:pt x="81" y="166"/>
                      </a:lnTo>
                      <a:lnTo>
                        <a:pt x="82" y="166"/>
                      </a:lnTo>
                      <a:lnTo>
                        <a:pt x="81" y="166"/>
                      </a:lnTo>
                      <a:lnTo>
                        <a:pt x="82" y="166"/>
                      </a:lnTo>
                      <a:lnTo>
                        <a:pt x="82" y="166"/>
                      </a:lnTo>
                      <a:lnTo>
                        <a:pt x="83" y="166"/>
                      </a:lnTo>
                      <a:lnTo>
                        <a:pt x="83" y="166"/>
                      </a:lnTo>
                      <a:lnTo>
                        <a:pt x="83" y="166"/>
                      </a:lnTo>
                      <a:lnTo>
                        <a:pt x="84" y="166"/>
                      </a:lnTo>
                      <a:lnTo>
                        <a:pt x="84" y="166"/>
                      </a:lnTo>
                      <a:lnTo>
                        <a:pt x="84" y="166"/>
                      </a:lnTo>
                      <a:lnTo>
                        <a:pt x="84" y="166"/>
                      </a:lnTo>
                      <a:lnTo>
                        <a:pt x="84" y="166"/>
                      </a:lnTo>
                      <a:lnTo>
                        <a:pt x="84" y="166"/>
                      </a:lnTo>
                      <a:lnTo>
                        <a:pt x="85" y="166"/>
                      </a:lnTo>
                      <a:lnTo>
                        <a:pt x="84" y="166"/>
                      </a:lnTo>
                      <a:lnTo>
                        <a:pt x="84" y="166"/>
                      </a:lnTo>
                      <a:lnTo>
                        <a:pt x="84" y="166"/>
                      </a:lnTo>
                      <a:lnTo>
                        <a:pt x="83" y="166"/>
                      </a:lnTo>
                      <a:lnTo>
                        <a:pt x="83" y="166"/>
                      </a:lnTo>
                      <a:lnTo>
                        <a:pt x="83" y="166"/>
                      </a:lnTo>
                      <a:lnTo>
                        <a:pt x="82" y="166"/>
                      </a:lnTo>
                      <a:lnTo>
                        <a:pt x="83" y="166"/>
                      </a:lnTo>
                      <a:lnTo>
                        <a:pt x="83" y="166"/>
                      </a:lnTo>
                      <a:lnTo>
                        <a:pt x="83" y="166"/>
                      </a:lnTo>
                      <a:lnTo>
                        <a:pt x="82" y="166"/>
                      </a:lnTo>
                      <a:lnTo>
                        <a:pt x="82" y="165"/>
                      </a:lnTo>
                      <a:lnTo>
                        <a:pt x="81" y="165"/>
                      </a:lnTo>
                      <a:lnTo>
                        <a:pt x="81" y="164"/>
                      </a:lnTo>
                      <a:lnTo>
                        <a:pt x="82" y="164"/>
                      </a:lnTo>
                      <a:lnTo>
                        <a:pt x="81" y="164"/>
                      </a:lnTo>
                      <a:lnTo>
                        <a:pt x="81" y="164"/>
                      </a:lnTo>
                      <a:lnTo>
                        <a:pt x="81" y="164"/>
                      </a:lnTo>
                      <a:lnTo>
                        <a:pt x="80" y="164"/>
                      </a:lnTo>
                      <a:lnTo>
                        <a:pt x="80" y="164"/>
                      </a:lnTo>
                      <a:lnTo>
                        <a:pt x="80" y="164"/>
                      </a:lnTo>
                      <a:lnTo>
                        <a:pt x="79" y="164"/>
                      </a:lnTo>
                      <a:lnTo>
                        <a:pt x="78" y="164"/>
                      </a:lnTo>
                      <a:lnTo>
                        <a:pt x="78" y="164"/>
                      </a:lnTo>
                      <a:lnTo>
                        <a:pt x="77" y="165"/>
                      </a:lnTo>
                      <a:lnTo>
                        <a:pt x="77" y="165"/>
                      </a:lnTo>
                      <a:lnTo>
                        <a:pt x="76" y="165"/>
                      </a:lnTo>
                      <a:lnTo>
                        <a:pt x="77" y="165"/>
                      </a:lnTo>
                      <a:lnTo>
                        <a:pt x="77" y="164"/>
                      </a:lnTo>
                      <a:lnTo>
                        <a:pt x="77" y="164"/>
                      </a:lnTo>
                      <a:lnTo>
                        <a:pt x="76" y="164"/>
                      </a:lnTo>
                      <a:lnTo>
                        <a:pt x="76" y="163"/>
                      </a:lnTo>
                      <a:lnTo>
                        <a:pt x="76" y="163"/>
                      </a:lnTo>
                      <a:lnTo>
                        <a:pt x="77" y="163"/>
                      </a:lnTo>
                      <a:lnTo>
                        <a:pt x="77" y="162"/>
                      </a:lnTo>
                      <a:lnTo>
                        <a:pt x="77" y="162"/>
                      </a:lnTo>
                      <a:lnTo>
                        <a:pt x="78" y="162"/>
                      </a:lnTo>
                      <a:lnTo>
                        <a:pt x="77" y="162"/>
                      </a:lnTo>
                      <a:lnTo>
                        <a:pt x="78" y="162"/>
                      </a:lnTo>
                      <a:lnTo>
                        <a:pt x="78" y="162"/>
                      </a:lnTo>
                      <a:lnTo>
                        <a:pt x="79" y="162"/>
                      </a:lnTo>
                      <a:lnTo>
                        <a:pt x="80" y="162"/>
                      </a:lnTo>
                      <a:lnTo>
                        <a:pt x="79" y="162"/>
                      </a:lnTo>
                      <a:lnTo>
                        <a:pt x="78" y="162"/>
                      </a:lnTo>
                      <a:lnTo>
                        <a:pt x="78" y="162"/>
                      </a:lnTo>
                      <a:lnTo>
                        <a:pt x="78" y="161"/>
                      </a:lnTo>
                      <a:lnTo>
                        <a:pt x="78" y="160"/>
                      </a:lnTo>
                      <a:lnTo>
                        <a:pt x="78" y="160"/>
                      </a:lnTo>
                      <a:lnTo>
                        <a:pt x="79" y="160"/>
                      </a:lnTo>
                      <a:lnTo>
                        <a:pt x="79" y="161"/>
                      </a:lnTo>
                      <a:lnTo>
                        <a:pt x="78" y="161"/>
                      </a:lnTo>
                      <a:lnTo>
                        <a:pt x="79" y="161"/>
                      </a:lnTo>
                      <a:lnTo>
                        <a:pt x="79" y="162"/>
                      </a:lnTo>
                      <a:lnTo>
                        <a:pt x="79" y="161"/>
                      </a:lnTo>
                      <a:lnTo>
                        <a:pt x="80" y="161"/>
                      </a:lnTo>
                      <a:lnTo>
                        <a:pt x="80" y="162"/>
                      </a:lnTo>
                      <a:lnTo>
                        <a:pt x="80" y="162"/>
                      </a:lnTo>
                      <a:lnTo>
                        <a:pt x="81" y="161"/>
                      </a:lnTo>
                      <a:lnTo>
                        <a:pt x="80" y="162"/>
                      </a:lnTo>
                      <a:lnTo>
                        <a:pt x="81" y="162"/>
                      </a:lnTo>
                      <a:lnTo>
                        <a:pt x="81" y="162"/>
                      </a:lnTo>
                      <a:lnTo>
                        <a:pt x="81" y="162"/>
                      </a:lnTo>
                      <a:lnTo>
                        <a:pt x="81" y="162"/>
                      </a:lnTo>
                      <a:lnTo>
                        <a:pt x="82" y="162"/>
                      </a:lnTo>
                      <a:lnTo>
                        <a:pt x="81" y="162"/>
                      </a:lnTo>
                      <a:lnTo>
                        <a:pt x="82" y="162"/>
                      </a:lnTo>
                      <a:lnTo>
                        <a:pt x="82" y="162"/>
                      </a:lnTo>
                      <a:lnTo>
                        <a:pt x="83" y="162"/>
                      </a:lnTo>
                      <a:lnTo>
                        <a:pt x="83" y="162"/>
                      </a:lnTo>
                      <a:lnTo>
                        <a:pt x="83" y="162"/>
                      </a:lnTo>
                      <a:lnTo>
                        <a:pt x="84" y="162"/>
                      </a:lnTo>
                      <a:lnTo>
                        <a:pt x="84" y="162"/>
                      </a:lnTo>
                      <a:lnTo>
                        <a:pt x="84" y="163"/>
                      </a:lnTo>
                      <a:lnTo>
                        <a:pt x="84" y="162"/>
                      </a:lnTo>
                      <a:lnTo>
                        <a:pt x="84" y="162"/>
                      </a:lnTo>
                      <a:lnTo>
                        <a:pt x="83" y="162"/>
                      </a:lnTo>
                      <a:lnTo>
                        <a:pt x="84" y="162"/>
                      </a:lnTo>
                      <a:lnTo>
                        <a:pt x="83" y="162"/>
                      </a:lnTo>
                      <a:lnTo>
                        <a:pt x="83" y="162"/>
                      </a:lnTo>
                      <a:lnTo>
                        <a:pt x="83" y="162"/>
                      </a:lnTo>
                      <a:lnTo>
                        <a:pt x="82" y="162"/>
                      </a:lnTo>
                      <a:lnTo>
                        <a:pt x="82" y="162"/>
                      </a:lnTo>
                      <a:lnTo>
                        <a:pt x="82" y="162"/>
                      </a:lnTo>
                      <a:lnTo>
                        <a:pt x="81" y="162"/>
                      </a:lnTo>
                      <a:lnTo>
                        <a:pt x="81" y="162"/>
                      </a:lnTo>
                      <a:lnTo>
                        <a:pt x="80" y="162"/>
                      </a:lnTo>
                      <a:lnTo>
                        <a:pt x="81" y="162"/>
                      </a:lnTo>
                      <a:lnTo>
                        <a:pt x="81" y="161"/>
                      </a:lnTo>
                      <a:lnTo>
                        <a:pt x="80" y="162"/>
                      </a:lnTo>
                      <a:lnTo>
                        <a:pt x="80" y="161"/>
                      </a:lnTo>
                      <a:lnTo>
                        <a:pt x="79" y="161"/>
                      </a:lnTo>
                      <a:lnTo>
                        <a:pt x="79" y="162"/>
                      </a:lnTo>
                      <a:lnTo>
                        <a:pt x="79" y="161"/>
                      </a:lnTo>
                      <a:lnTo>
                        <a:pt x="78" y="161"/>
                      </a:lnTo>
                      <a:lnTo>
                        <a:pt x="79" y="161"/>
                      </a:lnTo>
                      <a:lnTo>
                        <a:pt x="79" y="160"/>
                      </a:lnTo>
                      <a:lnTo>
                        <a:pt x="78" y="160"/>
                      </a:lnTo>
                      <a:lnTo>
                        <a:pt x="78" y="160"/>
                      </a:lnTo>
                      <a:lnTo>
                        <a:pt x="77" y="160"/>
                      </a:lnTo>
                      <a:lnTo>
                        <a:pt x="77" y="160"/>
                      </a:lnTo>
                      <a:lnTo>
                        <a:pt x="77" y="160"/>
                      </a:lnTo>
                      <a:lnTo>
                        <a:pt x="77" y="160"/>
                      </a:lnTo>
                      <a:lnTo>
                        <a:pt x="77" y="160"/>
                      </a:lnTo>
                      <a:lnTo>
                        <a:pt x="77" y="160"/>
                      </a:lnTo>
                      <a:lnTo>
                        <a:pt x="77" y="159"/>
                      </a:lnTo>
                      <a:lnTo>
                        <a:pt x="78" y="159"/>
                      </a:lnTo>
                      <a:lnTo>
                        <a:pt x="78" y="157"/>
                      </a:lnTo>
                      <a:lnTo>
                        <a:pt x="79" y="157"/>
                      </a:lnTo>
                      <a:lnTo>
                        <a:pt x="80" y="157"/>
                      </a:lnTo>
                      <a:lnTo>
                        <a:pt x="80" y="157"/>
                      </a:lnTo>
                      <a:lnTo>
                        <a:pt x="80" y="157"/>
                      </a:lnTo>
                      <a:lnTo>
                        <a:pt x="81" y="157"/>
                      </a:lnTo>
                      <a:lnTo>
                        <a:pt x="81" y="156"/>
                      </a:lnTo>
                      <a:lnTo>
                        <a:pt x="82" y="156"/>
                      </a:lnTo>
                      <a:lnTo>
                        <a:pt x="83" y="156"/>
                      </a:lnTo>
                      <a:lnTo>
                        <a:pt x="83" y="156"/>
                      </a:lnTo>
                      <a:lnTo>
                        <a:pt x="83" y="156"/>
                      </a:lnTo>
                      <a:lnTo>
                        <a:pt x="83" y="155"/>
                      </a:lnTo>
                      <a:lnTo>
                        <a:pt x="84" y="155"/>
                      </a:lnTo>
                      <a:lnTo>
                        <a:pt x="84" y="156"/>
                      </a:lnTo>
                      <a:lnTo>
                        <a:pt x="84" y="156"/>
                      </a:lnTo>
                      <a:lnTo>
                        <a:pt x="84" y="156"/>
                      </a:lnTo>
                      <a:lnTo>
                        <a:pt x="84" y="156"/>
                      </a:lnTo>
                      <a:lnTo>
                        <a:pt x="84" y="157"/>
                      </a:lnTo>
                      <a:lnTo>
                        <a:pt x="84" y="156"/>
                      </a:lnTo>
                      <a:lnTo>
                        <a:pt x="84" y="156"/>
                      </a:lnTo>
                      <a:lnTo>
                        <a:pt x="84" y="156"/>
                      </a:lnTo>
                      <a:lnTo>
                        <a:pt x="84" y="156"/>
                      </a:lnTo>
                      <a:lnTo>
                        <a:pt x="84" y="156"/>
                      </a:lnTo>
                      <a:lnTo>
                        <a:pt x="84" y="156"/>
                      </a:lnTo>
                      <a:lnTo>
                        <a:pt x="84" y="155"/>
                      </a:lnTo>
                      <a:lnTo>
                        <a:pt x="84" y="155"/>
                      </a:lnTo>
                      <a:lnTo>
                        <a:pt x="84" y="156"/>
                      </a:lnTo>
                      <a:lnTo>
                        <a:pt x="85" y="156"/>
                      </a:lnTo>
                      <a:lnTo>
                        <a:pt x="85" y="156"/>
                      </a:lnTo>
                      <a:lnTo>
                        <a:pt x="85" y="156"/>
                      </a:lnTo>
                      <a:lnTo>
                        <a:pt x="85" y="156"/>
                      </a:lnTo>
                      <a:lnTo>
                        <a:pt x="84" y="156"/>
                      </a:lnTo>
                      <a:lnTo>
                        <a:pt x="85" y="156"/>
                      </a:lnTo>
                      <a:lnTo>
                        <a:pt x="85" y="156"/>
                      </a:lnTo>
                      <a:lnTo>
                        <a:pt x="84" y="156"/>
                      </a:lnTo>
                      <a:lnTo>
                        <a:pt x="85" y="156"/>
                      </a:lnTo>
                      <a:lnTo>
                        <a:pt x="85" y="156"/>
                      </a:lnTo>
                      <a:lnTo>
                        <a:pt x="85" y="157"/>
                      </a:lnTo>
                      <a:lnTo>
                        <a:pt x="85" y="157"/>
                      </a:lnTo>
                      <a:lnTo>
                        <a:pt x="85" y="157"/>
                      </a:lnTo>
                      <a:lnTo>
                        <a:pt x="85" y="157"/>
                      </a:lnTo>
                      <a:lnTo>
                        <a:pt x="85" y="157"/>
                      </a:lnTo>
                      <a:lnTo>
                        <a:pt x="86" y="157"/>
                      </a:lnTo>
                      <a:lnTo>
                        <a:pt x="86" y="157"/>
                      </a:lnTo>
                      <a:lnTo>
                        <a:pt x="85" y="157"/>
                      </a:lnTo>
                      <a:lnTo>
                        <a:pt x="86" y="157"/>
                      </a:lnTo>
                      <a:lnTo>
                        <a:pt x="85" y="158"/>
                      </a:lnTo>
                      <a:lnTo>
                        <a:pt x="85" y="157"/>
                      </a:lnTo>
                      <a:lnTo>
                        <a:pt x="86" y="157"/>
                      </a:lnTo>
                      <a:lnTo>
                        <a:pt x="85" y="157"/>
                      </a:lnTo>
                      <a:lnTo>
                        <a:pt x="86" y="157"/>
                      </a:lnTo>
                      <a:lnTo>
                        <a:pt x="86" y="157"/>
                      </a:lnTo>
                      <a:lnTo>
                        <a:pt x="85" y="157"/>
                      </a:lnTo>
                      <a:lnTo>
                        <a:pt x="85" y="157"/>
                      </a:lnTo>
                      <a:lnTo>
                        <a:pt x="85" y="157"/>
                      </a:lnTo>
                      <a:lnTo>
                        <a:pt x="85" y="157"/>
                      </a:lnTo>
                      <a:lnTo>
                        <a:pt x="85" y="157"/>
                      </a:lnTo>
                      <a:lnTo>
                        <a:pt x="85" y="156"/>
                      </a:lnTo>
                      <a:lnTo>
                        <a:pt x="85" y="156"/>
                      </a:lnTo>
                      <a:lnTo>
                        <a:pt x="85" y="156"/>
                      </a:lnTo>
                      <a:lnTo>
                        <a:pt x="84" y="156"/>
                      </a:lnTo>
                      <a:lnTo>
                        <a:pt x="85" y="156"/>
                      </a:lnTo>
                      <a:lnTo>
                        <a:pt x="85" y="156"/>
                      </a:lnTo>
                      <a:lnTo>
                        <a:pt x="85" y="156"/>
                      </a:lnTo>
                      <a:lnTo>
                        <a:pt x="85" y="156"/>
                      </a:lnTo>
                      <a:lnTo>
                        <a:pt x="85" y="156"/>
                      </a:lnTo>
                      <a:lnTo>
                        <a:pt x="85" y="156"/>
                      </a:lnTo>
                      <a:lnTo>
                        <a:pt x="85" y="156"/>
                      </a:lnTo>
                      <a:lnTo>
                        <a:pt x="84" y="156"/>
                      </a:lnTo>
                      <a:lnTo>
                        <a:pt x="84" y="155"/>
                      </a:lnTo>
                      <a:lnTo>
                        <a:pt x="84" y="155"/>
                      </a:lnTo>
                      <a:lnTo>
                        <a:pt x="84" y="155"/>
                      </a:lnTo>
                      <a:lnTo>
                        <a:pt x="85" y="155"/>
                      </a:lnTo>
                      <a:lnTo>
                        <a:pt x="85" y="155"/>
                      </a:lnTo>
                      <a:lnTo>
                        <a:pt x="85" y="154"/>
                      </a:lnTo>
                      <a:lnTo>
                        <a:pt x="86" y="154"/>
                      </a:lnTo>
                      <a:lnTo>
                        <a:pt x="86" y="155"/>
                      </a:lnTo>
                      <a:lnTo>
                        <a:pt x="87" y="155"/>
                      </a:lnTo>
                      <a:lnTo>
                        <a:pt x="86" y="155"/>
                      </a:lnTo>
                      <a:lnTo>
                        <a:pt x="86" y="155"/>
                      </a:lnTo>
                      <a:lnTo>
                        <a:pt x="87" y="155"/>
                      </a:lnTo>
                      <a:lnTo>
                        <a:pt x="86" y="155"/>
                      </a:lnTo>
                      <a:lnTo>
                        <a:pt x="87" y="155"/>
                      </a:lnTo>
                      <a:lnTo>
                        <a:pt x="87" y="155"/>
                      </a:lnTo>
                      <a:lnTo>
                        <a:pt x="87" y="155"/>
                      </a:lnTo>
                      <a:lnTo>
                        <a:pt x="86" y="155"/>
                      </a:lnTo>
                      <a:lnTo>
                        <a:pt x="87" y="155"/>
                      </a:lnTo>
                      <a:lnTo>
                        <a:pt x="86" y="155"/>
                      </a:lnTo>
                      <a:lnTo>
                        <a:pt x="86" y="154"/>
                      </a:lnTo>
                      <a:lnTo>
                        <a:pt x="87" y="154"/>
                      </a:lnTo>
                      <a:lnTo>
                        <a:pt x="87" y="154"/>
                      </a:lnTo>
                      <a:lnTo>
                        <a:pt x="87" y="154"/>
                      </a:lnTo>
                      <a:lnTo>
                        <a:pt x="87" y="153"/>
                      </a:lnTo>
                      <a:lnTo>
                        <a:pt x="87" y="153"/>
                      </a:lnTo>
                      <a:lnTo>
                        <a:pt x="87" y="154"/>
                      </a:lnTo>
                      <a:lnTo>
                        <a:pt x="88" y="154"/>
                      </a:lnTo>
                      <a:lnTo>
                        <a:pt x="88" y="154"/>
                      </a:lnTo>
                      <a:lnTo>
                        <a:pt x="89" y="154"/>
                      </a:lnTo>
                      <a:lnTo>
                        <a:pt x="88" y="154"/>
                      </a:lnTo>
                      <a:lnTo>
                        <a:pt x="89" y="154"/>
                      </a:lnTo>
                      <a:lnTo>
                        <a:pt x="88" y="154"/>
                      </a:lnTo>
                      <a:lnTo>
                        <a:pt x="88" y="154"/>
                      </a:lnTo>
                      <a:lnTo>
                        <a:pt x="87" y="153"/>
                      </a:lnTo>
                      <a:lnTo>
                        <a:pt x="88" y="153"/>
                      </a:lnTo>
                      <a:lnTo>
                        <a:pt x="87" y="153"/>
                      </a:lnTo>
                      <a:lnTo>
                        <a:pt x="88" y="153"/>
                      </a:lnTo>
                      <a:lnTo>
                        <a:pt x="88" y="153"/>
                      </a:lnTo>
                      <a:lnTo>
                        <a:pt x="89" y="153"/>
                      </a:lnTo>
                      <a:lnTo>
                        <a:pt x="89" y="153"/>
                      </a:lnTo>
                      <a:lnTo>
                        <a:pt x="89" y="153"/>
                      </a:lnTo>
                      <a:lnTo>
                        <a:pt x="89" y="153"/>
                      </a:lnTo>
                      <a:lnTo>
                        <a:pt x="89" y="153"/>
                      </a:lnTo>
                      <a:lnTo>
                        <a:pt x="89" y="153"/>
                      </a:lnTo>
                      <a:lnTo>
                        <a:pt x="89" y="153"/>
                      </a:lnTo>
                      <a:lnTo>
                        <a:pt x="89" y="153"/>
                      </a:lnTo>
                      <a:lnTo>
                        <a:pt x="89" y="153"/>
                      </a:lnTo>
                      <a:lnTo>
                        <a:pt x="88" y="153"/>
                      </a:lnTo>
                      <a:lnTo>
                        <a:pt x="88" y="153"/>
                      </a:lnTo>
                      <a:lnTo>
                        <a:pt x="88" y="152"/>
                      </a:lnTo>
                      <a:lnTo>
                        <a:pt x="89" y="152"/>
                      </a:lnTo>
                      <a:lnTo>
                        <a:pt x="89" y="152"/>
                      </a:lnTo>
                      <a:lnTo>
                        <a:pt x="89" y="153"/>
                      </a:lnTo>
                      <a:lnTo>
                        <a:pt x="90" y="153"/>
                      </a:lnTo>
                      <a:lnTo>
                        <a:pt x="90" y="153"/>
                      </a:lnTo>
                      <a:lnTo>
                        <a:pt x="91" y="153"/>
                      </a:lnTo>
                      <a:lnTo>
                        <a:pt x="91" y="153"/>
                      </a:lnTo>
                      <a:lnTo>
                        <a:pt x="91" y="153"/>
                      </a:lnTo>
                      <a:lnTo>
                        <a:pt x="91" y="153"/>
                      </a:lnTo>
                      <a:lnTo>
                        <a:pt x="91" y="153"/>
                      </a:lnTo>
                      <a:lnTo>
                        <a:pt x="91" y="153"/>
                      </a:lnTo>
                      <a:lnTo>
                        <a:pt x="91" y="153"/>
                      </a:lnTo>
                      <a:lnTo>
                        <a:pt x="91" y="153"/>
                      </a:lnTo>
                      <a:lnTo>
                        <a:pt x="91" y="153"/>
                      </a:lnTo>
                      <a:lnTo>
                        <a:pt x="90" y="153"/>
                      </a:lnTo>
                      <a:lnTo>
                        <a:pt x="90" y="153"/>
                      </a:lnTo>
                      <a:lnTo>
                        <a:pt x="89" y="153"/>
                      </a:lnTo>
                      <a:lnTo>
                        <a:pt x="89" y="152"/>
                      </a:lnTo>
                      <a:lnTo>
                        <a:pt x="89" y="152"/>
                      </a:lnTo>
                      <a:lnTo>
                        <a:pt x="88" y="152"/>
                      </a:lnTo>
                      <a:lnTo>
                        <a:pt x="89" y="152"/>
                      </a:lnTo>
                      <a:lnTo>
                        <a:pt x="89" y="152"/>
                      </a:lnTo>
                      <a:lnTo>
                        <a:pt x="89" y="152"/>
                      </a:lnTo>
                      <a:lnTo>
                        <a:pt x="89" y="152"/>
                      </a:lnTo>
                      <a:lnTo>
                        <a:pt x="89" y="152"/>
                      </a:lnTo>
                      <a:lnTo>
                        <a:pt x="89" y="151"/>
                      </a:lnTo>
                      <a:lnTo>
                        <a:pt x="90" y="151"/>
                      </a:lnTo>
                      <a:lnTo>
                        <a:pt x="90" y="152"/>
                      </a:lnTo>
                      <a:lnTo>
                        <a:pt x="90" y="151"/>
                      </a:lnTo>
                      <a:lnTo>
                        <a:pt x="90" y="152"/>
                      </a:lnTo>
                      <a:lnTo>
                        <a:pt x="91" y="152"/>
                      </a:lnTo>
                      <a:lnTo>
                        <a:pt x="91" y="152"/>
                      </a:lnTo>
                      <a:lnTo>
                        <a:pt x="91" y="152"/>
                      </a:lnTo>
                      <a:lnTo>
                        <a:pt x="91" y="152"/>
                      </a:lnTo>
                      <a:lnTo>
                        <a:pt x="91" y="152"/>
                      </a:lnTo>
                      <a:lnTo>
                        <a:pt x="91" y="152"/>
                      </a:lnTo>
                      <a:lnTo>
                        <a:pt x="91" y="152"/>
                      </a:lnTo>
                      <a:lnTo>
                        <a:pt x="90" y="152"/>
                      </a:lnTo>
                      <a:lnTo>
                        <a:pt x="91" y="152"/>
                      </a:lnTo>
                      <a:lnTo>
                        <a:pt x="90" y="152"/>
                      </a:lnTo>
                      <a:lnTo>
                        <a:pt x="90" y="151"/>
                      </a:lnTo>
                      <a:lnTo>
                        <a:pt x="89" y="151"/>
                      </a:lnTo>
                      <a:lnTo>
                        <a:pt x="90" y="151"/>
                      </a:lnTo>
                      <a:lnTo>
                        <a:pt x="91" y="150"/>
                      </a:lnTo>
                      <a:lnTo>
                        <a:pt x="91" y="149"/>
                      </a:lnTo>
                      <a:lnTo>
                        <a:pt x="91" y="149"/>
                      </a:lnTo>
                      <a:lnTo>
                        <a:pt x="91" y="149"/>
                      </a:lnTo>
                      <a:lnTo>
                        <a:pt x="91" y="148"/>
                      </a:lnTo>
                      <a:lnTo>
                        <a:pt x="92" y="148"/>
                      </a:lnTo>
                      <a:lnTo>
                        <a:pt x="92" y="146"/>
                      </a:lnTo>
                      <a:lnTo>
                        <a:pt x="92" y="146"/>
                      </a:lnTo>
                      <a:lnTo>
                        <a:pt x="92" y="146"/>
                      </a:lnTo>
                      <a:lnTo>
                        <a:pt x="92" y="146"/>
                      </a:lnTo>
                      <a:lnTo>
                        <a:pt x="92" y="145"/>
                      </a:lnTo>
                      <a:lnTo>
                        <a:pt x="93" y="145"/>
                      </a:lnTo>
                      <a:lnTo>
                        <a:pt x="93" y="145"/>
                      </a:lnTo>
                      <a:lnTo>
                        <a:pt x="93" y="145"/>
                      </a:lnTo>
                      <a:lnTo>
                        <a:pt x="93" y="145"/>
                      </a:lnTo>
                      <a:lnTo>
                        <a:pt x="93" y="145"/>
                      </a:lnTo>
                      <a:lnTo>
                        <a:pt x="93" y="145"/>
                      </a:lnTo>
                      <a:lnTo>
                        <a:pt x="94" y="145"/>
                      </a:lnTo>
                      <a:lnTo>
                        <a:pt x="93" y="145"/>
                      </a:lnTo>
                      <a:lnTo>
                        <a:pt x="93" y="145"/>
                      </a:lnTo>
                      <a:lnTo>
                        <a:pt x="93" y="145"/>
                      </a:lnTo>
                      <a:lnTo>
                        <a:pt x="93" y="145"/>
                      </a:lnTo>
                      <a:lnTo>
                        <a:pt x="93" y="145"/>
                      </a:lnTo>
                      <a:lnTo>
                        <a:pt x="93" y="145"/>
                      </a:lnTo>
                      <a:lnTo>
                        <a:pt x="93" y="145"/>
                      </a:lnTo>
                      <a:lnTo>
                        <a:pt x="93" y="145"/>
                      </a:lnTo>
                      <a:lnTo>
                        <a:pt x="92" y="145"/>
                      </a:lnTo>
                      <a:lnTo>
                        <a:pt x="92" y="145"/>
                      </a:lnTo>
                      <a:lnTo>
                        <a:pt x="93" y="145"/>
                      </a:lnTo>
                      <a:lnTo>
                        <a:pt x="93" y="144"/>
                      </a:lnTo>
                      <a:lnTo>
                        <a:pt x="93" y="142"/>
                      </a:lnTo>
                      <a:lnTo>
                        <a:pt x="93" y="142"/>
                      </a:lnTo>
                      <a:lnTo>
                        <a:pt x="93" y="142"/>
                      </a:lnTo>
                      <a:lnTo>
                        <a:pt x="94" y="142"/>
                      </a:lnTo>
                      <a:lnTo>
                        <a:pt x="93" y="142"/>
                      </a:lnTo>
                      <a:lnTo>
                        <a:pt x="94" y="142"/>
                      </a:lnTo>
                      <a:lnTo>
                        <a:pt x="94" y="142"/>
                      </a:lnTo>
                      <a:lnTo>
                        <a:pt x="93" y="142"/>
                      </a:lnTo>
                      <a:lnTo>
                        <a:pt x="93" y="141"/>
                      </a:lnTo>
                      <a:lnTo>
                        <a:pt x="93" y="140"/>
                      </a:lnTo>
                      <a:lnTo>
                        <a:pt x="94" y="140"/>
                      </a:lnTo>
                      <a:lnTo>
                        <a:pt x="94" y="140"/>
                      </a:lnTo>
                      <a:lnTo>
                        <a:pt x="94" y="140"/>
                      </a:lnTo>
                      <a:lnTo>
                        <a:pt x="94" y="140"/>
                      </a:lnTo>
                      <a:lnTo>
                        <a:pt x="95" y="138"/>
                      </a:lnTo>
                      <a:lnTo>
                        <a:pt x="95" y="138"/>
                      </a:lnTo>
                      <a:lnTo>
                        <a:pt x="95" y="137"/>
                      </a:lnTo>
                      <a:lnTo>
                        <a:pt x="95" y="137"/>
                      </a:lnTo>
                      <a:lnTo>
                        <a:pt x="96" y="137"/>
                      </a:lnTo>
                      <a:lnTo>
                        <a:pt x="95" y="137"/>
                      </a:lnTo>
                      <a:lnTo>
                        <a:pt x="96" y="137"/>
                      </a:lnTo>
                      <a:lnTo>
                        <a:pt x="95" y="137"/>
                      </a:lnTo>
                      <a:lnTo>
                        <a:pt x="95" y="137"/>
                      </a:lnTo>
                      <a:lnTo>
                        <a:pt x="95" y="137"/>
                      </a:lnTo>
                      <a:lnTo>
                        <a:pt x="95" y="136"/>
                      </a:lnTo>
                      <a:lnTo>
                        <a:pt x="96" y="135"/>
                      </a:lnTo>
                      <a:lnTo>
                        <a:pt x="97" y="135"/>
                      </a:lnTo>
                      <a:lnTo>
                        <a:pt x="98" y="134"/>
                      </a:lnTo>
                      <a:lnTo>
                        <a:pt x="98" y="133"/>
                      </a:lnTo>
                      <a:lnTo>
                        <a:pt x="98" y="133"/>
                      </a:lnTo>
                      <a:lnTo>
                        <a:pt x="99" y="133"/>
                      </a:lnTo>
                      <a:lnTo>
                        <a:pt x="99" y="133"/>
                      </a:lnTo>
                      <a:lnTo>
                        <a:pt x="100" y="133"/>
                      </a:lnTo>
                      <a:lnTo>
                        <a:pt x="101" y="133"/>
                      </a:lnTo>
                      <a:lnTo>
                        <a:pt x="102" y="133"/>
                      </a:lnTo>
                      <a:lnTo>
                        <a:pt x="102" y="133"/>
                      </a:lnTo>
                      <a:lnTo>
                        <a:pt x="101" y="133"/>
                      </a:lnTo>
                      <a:lnTo>
                        <a:pt x="100" y="133"/>
                      </a:lnTo>
                      <a:lnTo>
                        <a:pt x="100" y="133"/>
                      </a:lnTo>
                      <a:lnTo>
                        <a:pt x="100" y="134"/>
                      </a:lnTo>
                      <a:lnTo>
                        <a:pt x="100" y="134"/>
                      </a:lnTo>
                      <a:lnTo>
                        <a:pt x="101" y="134"/>
                      </a:lnTo>
                      <a:lnTo>
                        <a:pt x="102" y="134"/>
                      </a:lnTo>
                      <a:lnTo>
                        <a:pt x="102" y="134"/>
                      </a:lnTo>
                      <a:lnTo>
                        <a:pt x="103" y="134"/>
                      </a:lnTo>
                      <a:lnTo>
                        <a:pt x="103" y="134"/>
                      </a:lnTo>
                      <a:lnTo>
                        <a:pt x="104" y="134"/>
                      </a:lnTo>
                      <a:lnTo>
                        <a:pt x="104" y="134"/>
                      </a:lnTo>
                      <a:lnTo>
                        <a:pt x="105" y="134"/>
                      </a:lnTo>
                      <a:lnTo>
                        <a:pt x="106" y="134"/>
                      </a:lnTo>
                      <a:lnTo>
                        <a:pt x="106" y="134"/>
                      </a:lnTo>
                      <a:lnTo>
                        <a:pt x="107" y="134"/>
                      </a:lnTo>
                      <a:lnTo>
                        <a:pt x="107" y="134"/>
                      </a:lnTo>
                      <a:lnTo>
                        <a:pt x="107" y="133"/>
                      </a:lnTo>
                      <a:lnTo>
                        <a:pt x="107" y="134"/>
                      </a:lnTo>
                      <a:lnTo>
                        <a:pt x="107" y="133"/>
                      </a:lnTo>
                      <a:lnTo>
                        <a:pt x="107" y="134"/>
                      </a:lnTo>
                      <a:lnTo>
                        <a:pt x="107" y="133"/>
                      </a:lnTo>
                      <a:lnTo>
                        <a:pt x="108" y="133"/>
                      </a:lnTo>
                      <a:lnTo>
                        <a:pt x="108" y="134"/>
                      </a:lnTo>
                      <a:lnTo>
                        <a:pt x="109" y="134"/>
                      </a:lnTo>
                      <a:lnTo>
                        <a:pt x="109" y="134"/>
                      </a:lnTo>
                      <a:lnTo>
                        <a:pt x="110" y="134"/>
                      </a:lnTo>
                      <a:lnTo>
                        <a:pt x="110" y="134"/>
                      </a:lnTo>
                      <a:lnTo>
                        <a:pt x="111" y="134"/>
                      </a:lnTo>
                      <a:lnTo>
                        <a:pt x="111" y="134"/>
                      </a:lnTo>
                      <a:lnTo>
                        <a:pt x="111" y="134"/>
                      </a:lnTo>
                      <a:lnTo>
                        <a:pt x="111" y="134"/>
                      </a:lnTo>
                      <a:lnTo>
                        <a:pt x="110" y="135"/>
                      </a:lnTo>
                      <a:lnTo>
                        <a:pt x="110" y="135"/>
                      </a:lnTo>
                      <a:lnTo>
                        <a:pt x="110" y="135"/>
                      </a:lnTo>
                      <a:lnTo>
                        <a:pt x="110" y="135"/>
                      </a:lnTo>
                      <a:lnTo>
                        <a:pt x="110" y="135"/>
                      </a:lnTo>
                      <a:lnTo>
                        <a:pt x="110" y="135"/>
                      </a:lnTo>
                      <a:lnTo>
                        <a:pt x="110" y="135"/>
                      </a:lnTo>
                      <a:lnTo>
                        <a:pt x="110" y="134"/>
                      </a:lnTo>
                      <a:lnTo>
                        <a:pt x="111" y="134"/>
                      </a:lnTo>
                      <a:lnTo>
                        <a:pt x="111" y="134"/>
                      </a:lnTo>
                      <a:lnTo>
                        <a:pt x="111" y="134"/>
                      </a:lnTo>
                      <a:lnTo>
                        <a:pt x="111" y="134"/>
                      </a:lnTo>
                      <a:lnTo>
                        <a:pt x="110" y="134"/>
                      </a:lnTo>
                      <a:lnTo>
                        <a:pt x="111" y="133"/>
                      </a:lnTo>
                      <a:lnTo>
                        <a:pt x="111" y="134"/>
                      </a:lnTo>
                      <a:lnTo>
                        <a:pt x="111" y="133"/>
                      </a:lnTo>
                      <a:lnTo>
                        <a:pt x="111" y="133"/>
                      </a:lnTo>
                      <a:lnTo>
                        <a:pt x="111" y="134"/>
                      </a:lnTo>
                      <a:lnTo>
                        <a:pt x="111" y="133"/>
                      </a:lnTo>
                      <a:lnTo>
                        <a:pt x="112" y="133"/>
                      </a:lnTo>
                      <a:lnTo>
                        <a:pt x="112" y="134"/>
                      </a:lnTo>
                      <a:lnTo>
                        <a:pt x="112" y="134"/>
                      </a:lnTo>
                      <a:lnTo>
                        <a:pt x="112" y="134"/>
                      </a:lnTo>
                      <a:lnTo>
                        <a:pt x="113" y="134"/>
                      </a:lnTo>
                      <a:lnTo>
                        <a:pt x="112" y="134"/>
                      </a:lnTo>
                      <a:lnTo>
                        <a:pt x="113" y="134"/>
                      </a:lnTo>
                      <a:lnTo>
                        <a:pt x="112" y="134"/>
                      </a:lnTo>
                      <a:lnTo>
                        <a:pt x="112" y="133"/>
                      </a:lnTo>
                      <a:lnTo>
                        <a:pt x="113" y="133"/>
                      </a:lnTo>
                      <a:lnTo>
                        <a:pt x="113" y="134"/>
                      </a:lnTo>
                      <a:lnTo>
                        <a:pt x="113" y="134"/>
                      </a:lnTo>
                      <a:lnTo>
                        <a:pt x="114" y="134"/>
                      </a:lnTo>
                      <a:lnTo>
                        <a:pt x="114" y="134"/>
                      </a:lnTo>
                      <a:lnTo>
                        <a:pt x="115" y="134"/>
                      </a:lnTo>
                      <a:lnTo>
                        <a:pt x="115" y="134"/>
                      </a:lnTo>
                      <a:lnTo>
                        <a:pt x="115" y="133"/>
                      </a:lnTo>
                      <a:lnTo>
                        <a:pt x="116" y="133"/>
                      </a:lnTo>
                      <a:lnTo>
                        <a:pt x="117" y="134"/>
                      </a:lnTo>
                      <a:lnTo>
                        <a:pt x="118" y="134"/>
                      </a:lnTo>
                      <a:lnTo>
                        <a:pt x="118" y="134"/>
                      </a:lnTo>
                      <a:lnTo>
                        <a:pt x="119" y="134"/>
                      </a:lnTo>
                      <a:lnTo>
                        <a:pt x="119" y="134"/>
                      </a:lnTo>
                      <a:lnTo>
                        <a:pt x="119" y="134"/>
                      </a:lnTo>
                      <a:lnTo>
                        <a:pt x="119" y="135"/>
                      </a:lnTo>
                      <a:lnTo>
                        <a:pt x="118" y="135"/>
                      </a:lnTo>
                      <a:lnTo>
                        <a:pt x="118" y="134"/>
                      </a:lnTo>
                      <a:lnTo>
                        <a:pt x="118" y="134"/>
                      </a:lnTo>
                      <a:lnTo>
                        <a:pt x="118" y="134"/>
                      </a:lnTo>
                      <a:lnTo>
                        <a:pt x="118" y="135"/>
                      </a:lnTo>
                      <a:lnTo>
                        <a:pt x="118" y="135"/>
                      </a:lnTo>
                      <a:lnTo>
                        <a:pt x="118" y="135"/>
                      </a:lnTo>
                      <a:lnTo>
                        <a:pt x="119" y="135"/>
                      </a:lnTo>
                      <a:lnTo>
                        <a:pt x="118" y="135"/>
                      </a:lnTo>
                      <a:lnTo>
                        <a:pt x="118" y="135"/>
                      </a:lnTo>
                      <a:lnTo>
                        <a:pt x="118" y="135"/>
                      </a:lnTo>
                      <a:lnTo>
                        <a:pt x="118" y="135"/>
                      </a:lnTo>
                      <a:lnTo>
                        <a:pt x="118" y="135"/>
                      </a:lnTo>
                      <a:lnTo>
                        <a:pt x="118" y="136"/>
                      </a:lnTo>
                      <a:lnTo>
                        <a:pt x="117" y="135"/>
                      </a:lnTo>
                      <a:lnTo>
                        <a:pt x="118" y="135"/>
                      </a:lnTo>
                      <a:lnTo>
                        <a:pt x="117" y="135"/>
                      </a:lnTo>
                      <a:lnTo>
                        <a:pt x="117" y="135"/>
                      </a:lnTo>
                      <a:lnTo>
                        <a:pt x="117" y="135"/>
                      </a:lnTo>
                      <a:lnTo>
                        <a:pt x="118" y="135"/>
                      </a:lnTo>
                      <a:lnTo>
                        <a:pt x="117" y="135"/>
                      </a:lnTo>
                      <a:lnTo>
                        <a:pt x="117" y="136"/>
                      </a:lnTo>
                      <a:lnTo>
                        <a:pt x="118" y="136"/>
                      </a:lnTo>
                      <a:lnTo>
                        <a:pt x="118" y="135"/>
                      </a:lnTo>
                      <a:lnTo>
                        <a:pt x="118" y="135"/>
                      </a:lnTo>
                      <a:lnTo>
                        <a:pt x="118" y="135"/>
                      </a:lnTo>
                      <a:lnTo>
                        <a:pt x="118" y="135"/>
                      </a:lnTo>
                      <a:lnTo>
                        <a:pt x="118" y="135"/>
                      </a:lnTo>
                      <a:lnTo>
                        <a:pt x="119" y="135"/>
                      </a:lnTo>
                      <a:lnTo>
                        <a:pt x="119" y="135"/>
                      </a:lnTo>
                      <a:lnTo>
                        <a:pt x="119" y="135"/>
                      </a:lnTo>
                      <a:lnTo>
                        <a:pt x="119" y="135"/>
                      </a:lnTo>
                      <a:lnTo>
                        <a:pt x="119" y="134"/>
                      </a:lnTo>
                      <a:lnTo>
                        <a:pt x="120" y="134"/>
                      </a:lnTo>
                      <a:lnTo>
                        <a:pt x="119" y="134"/>
                      </a:lnTo>
                      <a:lnTo>
                        <a:pt x="120" y="134"/>
                      </a:lnTo>
                      <a:lnTo>
                        <a:pt x="121" y="135"/>
                      </a:lnTo>
                      <a:lnTo>
                        <a:pt x="122" y="135"/>
                      </a:lnTo>
                      <a:lnTo>
                        <a:pt x="122" y="135"/>
                      </a:lnTo>
                      <a:lnTo>
                        <a:pt x="124" y="135"/>
                      </a:lnTo>
                      <a:lnTo>
                        <a:pt x="125" y="136"/>
                      </a:lnTo>
                      <a:lnTo>
                        <a:pt x="126" y="136"/>
                      </a:lnTo>
                      <a:lnTo>
                        <a:pt x="126" y="137"/>
                      </a:lnTo>
                      <a:lnTo>
                        <a:pt x="125" y="137"/>
                      </a:lnTo>
                      <a:lnTo>
                        <a:pt x="125" y="136"/>
                      </a:lnTo>
                      <a:lnTo>
                        <a:pt x="125" y="136"/>
                      </a:lnTo>
                      <a:lnTo>
                        <a:pt x="125" y="137"/>
                      </a:lnTo>
                      <a:lnTo>
                        <a:pt x="125" y="137"/>
                      </a:lnTo>
                      <a:lnTo>
                        <a:pt x="125" y="137"/>
                      </a:lnTo>
                      <a:lnTo>
                        <a:pt x="125" y="137"/>
                      </a:lnTo>
                      <a:lnTo>
                        <a:pt x="125" y="137"/>
                      </a:lnTo>
                      <a:lnTo>
                        <a:pt x="125" y="137"/>
                      </a:lnTo>
                      <a:lnTo>
                        <a:pt x="125" y="137"/>
                      </a:lnTo>
                      <a:lnTo>
                        <a:pt x="126" y="137"/>
                      </a:lnTo>
                      <a:lnTo>
                        <a:pt x="125" y="137"/>
                      </a:lnTo>
                      <a:lnTo>
                        <a:pt x="125" y="138"/>
                      </a:lnTo>
                      <a:lnTo>
                        <a:pt x="125" y="138"/>
                      </a:lnTo>
                      <a:lnTo>
                        <a:pt x="125" y="138"/>
                      </a:lnTo>
                      <a:lnTo>
                        <a:pt x="125" y="138"/>
                      </a:lnTo>
                      <a:lnTo>
                        <a:pt x="125" y="138"/>
                      </a:lnTo>
                      <a:lnTo>
                        <a:pt x="125" y="138"/>
                      </a:lnTo>
                      <a:lnTo>
                        <a:pt x="125" y="138"/>
                      </a:lnTo>
                      <a:lnTo>
                        <a:pt x="125" y="138"/>
                      </a:lnTo>
                      <a:lnTo>
                        <a:pt x="125" y="138"/>
                      </a:lnTo>
                      <a:lnTo>
                        <a:pt x="125" y="139"/>
                      </a:lnTo>
                      <a:lnTo>
                        <a:pt x="125" y="139"/>
                      </a:lnTo>
                      <a:lnTo>
                        <a:pt x="125" y="139"/>
                      </a:lnTo>
                      <a:lnTo>
                        <a:pt x="125" y="139"/>
                      </a:lnTo>
                      <a:lnTo>
                        <a:pt x="125" y="139"/>
                      </a:lnTo>
                      <a:lnTo>
                        <a:pt x="126" y="139"/>
                      </a:lnTo>
                      <a:lnTo>
                        <a:pt x="126" y="140"/>
                      </a:lnTo>
                      <a:lnTo>
                        <a:pt x="125" y="140"/>
                      </a:lnTo>
                      <a:lnTo>
                        <a:pt x="126" y="140"/>
                      </a:lnTo>
                      <a:lnTo>
                        <a:pt x="125" y="140"/>
                      </a:lnTo>
                      <a:lnTo>
                        <a:pt x="125" y="140"/>
                      </a:lnTo>
                      <a:lnTo>
                        <a:pt x="124" y="140"/>
                      </a:lnTo>
                      <a:lnTo>
                        <a:pt x="125" y="140"/>
                      </a:lnTo>
                      <a:lnTo>
                        <a:pt x="125" y="140"/>
                      </a:lnTo>
                      <a:lnTo>
                        <a:pt x="126" y="140"/>
                      </a:lnTo>
                      <a:lnTo>
                        <a:pt x="125" y="140"/>
                      </a:lnTo>
                      <a:lnTo>
                        <a:pt x="125" y="140"/>
                      </a:lnTo>
                      <a:lnTo>
                        <a:pt x="125" y="140"/>
                      </a:lnTo>
                      <a:lnTo>
                        <a:pt x="125" y="140"/>
                      </a:lnTo>
                      <a:lnTo>
                        <a:pt x="125" y="141"/>
                      </a:lnTo>
                      <a:lnTo>
                        <a:pt x="125" y="141"/>
                      </a:lnTo>
                      <a:lnTo>
                        <a:pt x="125" y="142"/>
                      </a:lnTo>
                      <a:lnTo>
                        <a:pt x="126" y="142"/>
                      </a:lnTo>
                      <a:lnTo>
                        <a:pt x="126" y="143"/>
                      </a:lnTo>
                      <a:lnTo>
                        <a:pt x="125" y="143"/>
                      </a:lnTo>
                      <a:lnTo>
                        <a:pt x="125" y="144"/>
                      </a:lnTo>
                      <a:lnTo>
                        <a:pt x="125" y="144"/>
                      </a:lnTo>
                      <a:lnTo>
                        <a:pt x="125" y="145"/>
                      </a:lnTo>
                      <a:lnTo>
                        <a:pt x="125" y="145"/>
                      </a:lnTo>
                      <a:lnTo>
                        <a:pt x="124" y="145"/>
                      </a:lnTo>
                      <a:lnTo>
                        <a:pt x="124" y="146"/>
                      </a:lnTo>
                      <a:lnTo>
                        <a:pt x="124" y="146"/>
                      </a:lnTo>
                      <a:lnTo>
                        <a:pt x="123" y="147"/>
                      </a:lnTo>
                      <a:lnTo>
                        <a:pt x="123" y="148"/>
                      </a:lnTo>
                      <a:lnTo>
                        <a:pt x="123" y="148"/>
                      </a:lnTo>
                      <a:lnTo>
                        <a:pt x="122" y="148"/>
                      </a:lnTo>
                      <a:lnTo>
                        <a:pt x="122" y="149"/>
                      </a:lnTo>
                      <a:lnTo>
                        <a:pt x="122" y="149"/>
                      </a:lnTo>
                      <a:lnTo>
                        <a:pt x="122" y="149"/>
                      </a:lnTo>
                      <a:lnTo>
                        <a:pt x="121" y="149"/>
                      </a:lnTo>
                      <a:lnTo>
                        <a:pt x="122" y="150"/>
                      </a:lnTo>
                      <a:lnTo>
                        <a:pt x="121" y="150"/>
                      </a:lnTo>
                      <a:lnTo>
                        <a:pt x="122" y="150"/>
                      </a:lnTo>
                      <a:lnTo>
                        <a:pt x="122" y="151"/>
                      </a:lnTo>
                      <a:lnTo>
                        <a:pt x="122" y="151"/>
                      </a:lnTo>
                      <a:lnTo>
                        <a:pt x="121" y="151"/>
                      </a:lnTo>
                      <a:lnTo>
                        <a:pt x="121" y="152"/>
                      </a:lnTo>
                      <a:lnTo>
                        <a:pt x="121" y="151"/>
                      </a:lnTo>
                      <a:lnTo>
                        <a:pt x="121" y="152"/>
                      </a:lnTo>
                      <a:lnTo>
                        <a:pt x="120" y="152"/>
                      </a:lnTo>
                      <a:lnTo>
                        <a:pt x="119" y="152"/>
                      </a:lnTo>
                      <a:lnTo>
                        <a:pt x="119" y="152"/>
                      </a:lnTo>
                      <a:lnTo>
                        <a:pt x="119" y="151"/>
                      </a:lnTo>
                      <a:lnTo>
                        <a:pt x="118" y="151"/>
                      </a:lnTo>
                      <a:lnTo>
                        <a:pt x="119" y="151"/>
                      </a:lnTo>
                      <a:lnTo>
                        <a:pt x="119" y="152"/>
                      </a:lnTo>
                      <a:lnTo>
                        <a:pt x="118" y="152"/>
                      </a:lnTo>
                      <a:lnTo>
                        <a:pt x="119" y="152"/>
                      </a:lnTo>
                      <a:lnTo>
                        <a:pt x="118" y="152"/>
                      </a:lnTo>
                      <a:lnTo>
                        <a:pt x="119" y="152"/>
                      </a:lnTo>
                      <a:lnTo>
                        <a:pt x="118" y="152"/>
                      </a:lnTo>
                      <a:lnTo>
                        <a:pt x="119" y="152"/>
                      </a:lnTo>
                      <a:lnTo>
                        <a:pt x="119" y="152"/>
                      </a:lnTo>
                      <a:lnTo>
                        <a:pt x="120" y="152"/>
                      </a:lnTo>
                      <a:lnTo>
                        <a:pt x="121" y="152"/>
                      </a:lnTo>
                      <a:lnTo>
                        <a:pt x="120" y="152"/>
                      </a:lnTo>
                      <a:lnTo>
                        <a:pt x="119" y="152"/>
                      </a:lnTo>
                      <a:lnTo>
                        <a:pt x="120" y="152"/>
                      </a:lnTo>
                      <a:lnTo>
                        <a:pt x="120" y="153"/>
                      </a:lnTo>
                      <a:lnTo>
                        <a:pt x="119" y="153"/>
                      </a:lnTo>
                      <a:lnTo>
                        <a:pt x="119" y="153"/>
                      </a:lnTo>
                      <a:lnTo>
                        <a:pt x="118" y="153"/>
                      </a:lnTo>
                      <a:lnTo>
                        <a:pt x="119" y="153"/>
                      </a:lnTo>
                      <a:lnTo>
                        <a:pt x="118" y="153"/>
                      </a:lnTo>
                      <a:lnTo>
                        <a:pt x="118" y="152"/>
                      </a:lnTo>
                      <a:lnTo>
                        <a:pt x="118" y="152"/>
                      </a:lnTo>
                      <a:lnTo>
                        <a:pt x="118" y="152"/>
                      </a:lnTo>
                      <a:lnTo>
                        <a:pt x="117" y="152"/>
                      </a:lnTo>
                      <a:lnTo>
                        <a:pt x="117" y="152"/>
                      </a:lnTo>
                      <a:lnTo>
                        <a:pt x="116" y="152"/>
                      </a:lnTo>
                      <a:lnTo>
                        <a:pt x="117" y="152"/>
                      </a:lnTo>
                      <a:lnTo>
                        <a:pt x="117" y="151"/>
                      </a:lnTo>
                      <a:lnTo>
                        <a:pt x="117" y="152"/>
                      </a:lnTo>
                      <a:lnTo>
                        <a:pt x="116" y="152"/>
                      </a:lnTo>
                      <a:lnTo>
                        <a:pt x="116" y="151"/>
                      </a:lnTo>
                      <a:lnTo>
                        <a:pt x="116" y="152"/>
                      </a:lnTo>
                      <a:lnTo>
                        <a:pt x="115" y="152"/>
                      </a:lnTo>
                      <a:lnTo>
                        <a:pt x="116" y="152"/>
                      </a:lnTo>
                      <a:lnTo>
                        <a:pt x="116" y="151"/>
                      </a:lnTo>
                      <a:lnTo>
                        <a:pt x="116" y="152"/>
                      </a:lnTo>
                      <a:lnTo>
                        <a:pt x="117" y="152"/>
                      </a:lnTo>
                      <a:lnTo>
                        <a:pt x="117" y="151"/>
                      </a:lnTo>
                      <a:lnTo>
                        <a:pt x="117" y="152"/>
                      </a:lnTo>
                      <a:lnTo>
                        <a:pt x="116" y="152"/>
                      </a:lnTo>
                      <a:lnTo>
                        <a:pt x="117" y="152"/>
                      </a:lnTo>
                      <a:lnTo>
                        <a:pt x="117" y="152"/>
                      </a:lnTo>
                      <a:lnTo>
                        <a:pt x="118" y="152"/>
                      </a:lnTo>
                      <a:lnTo>
                        <a:pt x="118" y="152"/>
                      </a:lnTo>
                      <a:lnTo>
                        <a:pt x="117" y="152"/>
                      </a:lnTo>
                      <a:lnTo>
                        <a:pt x="118" y="152"/>
                      </a:lnTo>
                      <a:lnTo>
                        <a:pt x="118" y="153"/>
                      </a:lnTo>
                      <a:lnTo>
                        <a:pt x="118" y="153"/>
                      </a:lnTo>
                      <a:lnTo>
                        <a:pt x="118" y="153"/>
                      </a:lnTo>
                      <a:lnTo>
                        <a:pt x="118" y="153"/>
                      </a:lnTo>
                      <a:lnTo>
                        <a:pt x="119" y="153"/>
                      </a:lnTo>
                      <a:lnTo>
                        <a:pt x="119" y="153"/>
                      </a:lnTo>
                      <a:lnTo>
                        <a:pt x="118" y="153"/>
                      </a:lnTo>
                      <a:lnTo>
                        <a:pt x="118" y="154"/>
                      </a:lnTo>
                      <a:lnTo>
                        <a:pt x="118" y="153"/>
                      </a:lnTo>
                      <a:lnTo>
                        <a:pt x="118" y="153"/>
                      </a:lnTo>
                      <a:lnTo>
                        <a:pt x="118" y="153"/>
                      </a:lnTo>
                      <a:lnTo>
                        <a:pt x="118" y="154"/>
                      </a:lnTo>
                      <a:lnTo>
                        <a:pt x="118" y="155"/>
                      </a:lnTo>
                      <a:lnTo>
                        <a:pt x="118" y="155"/>
                      </a:lnTo>
                      <a:lnTo>
                        <a:pt x="118" y="156"/>
                      </a:lnTo>
                      <a:lnTo>
                        <a:pt x="119" y="156"/>
                      </a:lnTo>
                      <a:lnTo>
                        <a:pt x="118" y="156"/>
                      </a:lnTo>
                      <a:lnTo>
                        <a:pt x="118" y="156"/>
                      </a:lnTo>
                      <a:lnTo>
                        <a:pt x="118" y="156"/>
                      </a:lnTo>
                      <a:lnTo>
                        <a:pt x="118" y="156"/>
                      </a:lnTo>
                      <a:lnTo>
                        <a:pt x="118" y="157"/>
                      </a:lnTo>
                      <a:lnTo>
                        <a:pt x="118" y="156"/>
                      </a:lnTo>
                      <a:lnTo>
                        <a:pt x="118" y="156"/>
                      </a:lnTo>
                      <a:lnTo>
                        <a:pt x="119" y="156"/>
                      </a:lnTo>
                      <a:lnTo>
                        <a:pt x="119" y="157"/>
                      </a:lnTo>
                      <a:lnTo>
                        <a:pt x="119" y="157"/>
                      </a:lnTo>
                      <a:lnTo>
                        <a:pt x="119" y="157"/>
                      </a:lnTo>
                      <a:lnTo>
                        <a:pt x="119" y="157"/>
                      </a:lnTo>
                      <a:lnTo>
                        <a:pt x="119" y="157"/>
                      </a:lnTo>
                      <a:lnTo>
                        <a:pt x="118" y="157"/>
                      </a:lnTo>
                      <a:lnTo>
                        <a:pt x="119" y="157"/>
                      </a:lnTo>
                      <a:lnTo>
                        <a:pt x="118" y="157"/>
                      </a:lnTo>
                      <a:lnTo>
                        <a:pt x="119" y="157"/>
                      </a:lnTo>
                      <a:lnTo>
                        <a:pt x="118" y="157"/>
                      </a:lnTo>
                      <a:lnTo>
                        <a:pt x="118" y="157"/>
                      </a:lnTo>
                      <a:lnTo>
                        <a:pt x="117" y="157"/>
                      </a:lnTo>
                      <a:lnTo>
                        <a:pt x="117" y="157"/>
                      </a:lnTo>
                      <a:lnTo>
                        <a:pt x="117" y="157"/>
                      </a:lnTo>
                      <a:lnTo>
                        <a:pt x="117" y="157"/>
                      </a:lnTo>
                      <a:lnTo>
                        <a:pt x="117" y="157"/>
                      </a:lnTo>
                      <a:lnTo>
                        <a:pt x="118" y="157"/>
                      </a:lnTo>
                      <a:lnTo>
                        <a:pt x="118" y="157"/>
                      </a:lnTo>
                      <a:lnTo>
                        <a:pt x="118" y="157"/>
                      </a:lnTo>
                      <a:lnTo>
                        <a:pt x="118" y="157"/>
                      </a:lnTo>
                      <a:lnTo>
                        <a:pt x="118" y="157"/>
                      </a:lnTo>
                      <a:lnTo>
                        <a:pt x="119" y="157"/>
                      </a:lnTo>
                      <a:lnTo>
                        <a:pt x="119" y="157"/>
                      </a:lnTo>
                      <a:lnTo>
                        <a:pt x="119" y="157"/>
                      </a:lnTo>
                      <a:lnTo>
                        <a:pt x="119" y="157"/>
                      </a:lnTo>
                      <a:lnTo>
                        <a:pt x="119" y="157"/>
                      </a:lnTo>
                      <a:lnTo>
                        <a:pt x="119" y="157"/>
                      </a:lnTo>
                      <a:lnTo>
                        <a:pt x="119" y="157"/>
                      </a:lnTo>
                      <a:lnTo>
                        <a:pt x="120" y="157"/>
                      </a:lnTo>
                      <a:lnTo>
                        <a:pt x="119" y="157"/>
                      </a:lnTo>
                      <a:lnTo>
                        <a:pt x="120" y="157"/>
                      </a:lnTo>
                      <a:lnTo>
                        <a:pt x="121" y="158"/>
                      </a:lnTo>
                      <a:lnTo>
                        <a:pt x="121" y="159"/>
                      </a:lnTo>
                      <a:lnTo>
                        <a:pt x="122" y="159"/>
                      </a:lnTo>
                      <a:lnTo>
                        <a:pt x="122" y="159"/>
                      </a:lnTo>
                      <a:lnTo>
                        <a:pt x="122" y="159"/>
                      </a:lnTo>
                      <a:lnTo>
                        <a:pt x="122" y="159"/>
                      </a:lnTo>
                      <a:lnTo>
                        <a:pt x="123" y="159"/>
                      </a:lnTo>
                      <a:lnTo>
                        <a:pt x="122" y="159"/>
                      </a:lnTo>
                      <a:lnTo>
                        <a:pt x="122" y="159"/>
                      </a:lnTo>
                      <a:lnTo>
                        <a:pt x="122" y="159"/>
                      </a:lnTo>
                      <a:lnTo>
                        <a:pt x="123" y="159"/>
                      </a:lnTo>
                      <a:lnTo>
                        <a:pt x="123" y="160"/>
                      </a:lnTo>
                      <a:lnTo>
                        <a:pt x="122" y="160"/>
                      </a:lnTo>
                      <a:lnTo>
                        <a:pt x="122" y="159"/>
                      </a:lnTo>
                      <a:lnTo>
                        <a:pt x="122" y="160"/>
                      </a:lnTo>
                      <a:lnTo>
                        <a:pt x="122" y="159"/>
                      </a:lnTo>
                      <a:lnTo>
                        <a:pt x="122" y="160"/>
                      </a:lnTo>
                      <a:lnTo>
                        <a:pt x="122" y="160"/>
                      </a:lnTo>
                      <a:lnTo>
                        <a:pt x="121" y="160"/>
                      </a:lnTo>
                      <a:lnTo>
                        <a:pt x="121" y="160"/>
                      </a:lnTo>
                      <a:lnTo>
                        <a:pt x="121" y="160"/>
                      </a:lnTo>
                      <a:lnTo>
                        <a:pt x="121" y="160"/>
                      </a:lnTo>
                      <a:lnTo>
                        <a:pt x="121" y="160"/>
                      </a:lnTo>
                      <a:lnTo>
                        <a:pt x="120" y="160"/>
                      </a:lnTo>
                      <a:lnTo>
                        <a:pt x="121" y="160"/>
                      </a:lnTo>
                      <a:lnTo>
                        <a:pt x="120" y="160"/>
                      </a:lnTo>
                      <a:lnTo>
                        <a:pt x="120" y="160"/>
                      </a:lnTo>
                      <a:lnTo>
                        <a:pt x="121" y="160"/>
                      </a:lnTo>
                      <a:lnTo>
                        <a:pt x="120" y="160"/>
                      </a:lnTo>
                      <a:lnTo>
                        <a:pt x="121" y="160"/>
                      </a:lnTo>
                      <a:lnTo>
                        <a:pt x="120" y="160"/>
                      </a:lnTo>
                      <a:lnTo>
                        <a:pt x="121" y="160"/>
                      </a:lnTo>
                      <a:lnTo>
                        <a:pt x="121" y="160"/>
                      </a:lnTo>
                      <a:lnTo>
                        <a:pt x="121" y="160"/>
                      </a:lnTo>
                      <a:lnTo>
                        <a:pt x="121" y="160"/>
                      </a:lnTo>
                      <a:lnTo>
                        <a:pt x="121" y="160"/>
                      </a:lnTo>
                      <a:lnTo>
                        <a:pt x="122" y="160"/>
                      </a:lnTo>
                      <a:lnTo>
                        <a:pt x="122" y="160"/>
                      </a:lnTo>
                      <a:lnTo>
                        <a:pt x="122" y="160"/>
                      </a:lnTo>
                      <a:lnTo>
                        <a:pt x="122" y="160"/>
                      </a:lnTo>
                      <a:lnTo>
                        <a:pt x="123" y="160"/>
                      </a:lnTo>
                      <a:lnTo>
                        <a:pt x="123" y="159"/>
                      </a:lnTo>
                      <a:lnTo>
                        <a:pt x="124" y="159"/>
                      </a:lnTo>
                      <a:lnTo>
                        <a:pt x="123" y="159"/>
                      </a:lnTo>
                      <a:lnTo>
                        <a:pt x="124" y="159"/>
                      </a:lnTo>
                      <a:lnTo>
                        <a:pt x="124" y="160"/>
                      </a:lnTo>
                      <a:lnTo>
                        <a:pt x="124" y="160"/>
                      </a:lnTo>
                      <a:lnTo>
                        <a:pt x="124" y="160"/>
                      </a:lnTo>
                      <a:lnTo>
                        <a:pt x="125" y="160"/>
                      </a:lnTo>
                      <a:lnTo>
                        <a:pt x="125" y="161"/>
                      </a:lnTo>
                      <a:lnTo>
                        <a:pt x="124" y="161"/>
                      </a:lnTo>
                      <a:lnTo>
                        <a:pt x="124" y="160"/>
                      </a:lnTo>
                      <a:lnTo>
                        <a:pt x="124" y="161"/>
                      </a:lnTo>
                      <a:lnTo>
                        <a:pt x="124" y="161"/>
                      </a:lnTo>
                      <a:lnTo>
                        <a:pt x="124" y="162"/>
                      </a:lnTo>
                      <a:lnTo>
                        <a:pt x="124" y="162"/>
                      </a:lnTo>
                      <a:lnTo>
                        <a:pt x="124" y="162"/>
                      </a:lnTo>
                      <a:lnTo>
                        <a:pt x="125" y="163"/>
                      </a:lnTo>
                      <a:lnTo>
                        <a:pt x="124" y="163"/>
                      </a:lnTo>
                      <a:lnTo>
                        <a:pt x="124" y="163"/>
                      </a:lnTo>
                      <a:lnTo>
                        <a:pt x="124" y="163"/>
                      </a:lnTo>
                      <a:lnTo>
                        <a:pt x="125" y="163"/>
                      </a:lnTo>
                      <a:lnTo>
                        <a:pt x="125" y="163"/>
                      </a:lnTo>
                      <a:lnTo>
                        <a:pt x="125" y="163"/>
                      </a:lnTo>
                      <a:lnTo>
                        <a:pt x="126" y="163"/>
                      </a:lnTo>
                      <a:lnTo>
                        <a:pt x="125" y="163"/>
                      </a:lnTo>
                      <a:lnTo>
                        <a:pt x="126" y="163"/>
                      </a:lnTo>
                      <a:lnTo>
                        <a:pt x="125" y="163"/>
                      </a:lnTo>
                      <a:lnTo>
                        <a:pt x="125" y="164"/>
                      </a:lnTo>
                      <a:lnTo>
                        <a:pt x="125" y="164"/>
                      </a:lnTo>
                      <a:lnTo>
                        <a:pt x="125" y="165"/>
                      </a:lnTo>
                      <a:lnTo>
                        <a:pt x="125" y="166"/>
                      </a:lnTo>
                      <a:lnTo>
                        <a:pt x="125" y="166"/>
                      </a:lnTo>
                      <a:lnTo>
                        <a:pt x="125" y="166"/>
                      </a:lnTo>
                      <a:lnTo>
                        <a:pt x="125" y="167"/>
                      </a:lnTo>
                      <a:lnTo>
                        <a:pt x="125" y="167"/>
                      </a:lnTo>
                      <a:lnTo>
                        <a:pt x="124" y="167"/>
                      </a:lnTo>
                      <a:lnTo>
                        <a:pt x="125" y="167"/>
                      </a:lnTo>
                      <a:lnTo>
                        <a:pt x="124" y="167"/>
                      </a:lnTo>
                      <a:lnTo>
                        <a:pt x="125" y="167"/>
                      </a:lnTo>
                      <a:lnTo>
                        <a:pt x="124" y="167"/>
                      </a:lnTo>
                      <a:lnTo>
                        <a:pt x="125" y="167"/>
                      </a:lnTo>
                      <a:lnTo>
                        <a:pt x="125" y="168"/>
                      </a:lnTo>
                      <a:lnTo>
                        <a:pt x="125" y="168"/>
                      </a:lnTo>
                      <a:lnTo>
                        <a:pt x="125" y="168"/>
                      </a:lnTo>
                      <a:lnTo>
                        <a:pt x="125" y="169"/>
                      </a:lnTo>
                      <a:lnTo>
                        <a:pt x="125" y="170"/>
                      </a:lnTo>
                      <a:lnTo>
                        <a:pt x="125" y="170"/>
                      </a:lnTo>
                      <a:lnTo>
                        <a:pt x="125" y="170"/>
                      </a:lnTo>
                      <a:lnTo>
                        <a:pt x="124" y="170"/>
                      </a:lnTo>
                      <a:lnTo>
                        <a:pt x="124" y="171"/>
                      </a:lnTo>
                      <a:lnTo>
                        <a:pt x="124" y="171"/>
                      </a:lnTo>
                      <a:lnTo>
                        <a:pt x="124" y="171"/>
                      </a:lnTo>
                      <a:lnTo>
                        <a:pt x="123" y="171"/>
                      </a:lnTo>
                      <a:lnTo>
                        <a:pt x="122" y="171"/>
                      </a:lnTo>
                      <a:lnTo>
                        <a:pt x="123" y="171"/>
                      </a:lnTo>
                      <a:lnTo>
                        <a:pt x="122" y="172"/>
                      </a:lnTo>
                      <a:lnTo>
                        <a:pt x="122" y="172"/>
                      </a:lnTo>
                      <a:lnTo>
                        <a:pt x="122" y="171"/>
                      </a:lnTo>
                      <a:lnTo>
                        <a:pt x="122" y="171"/>
                      </a:lnTo>
                      <a:lnTo>
                        <a:pt x="122" y="171"/>
                      </a:lnTo>
                      <a:lnTo>
                        <a:pt x="121" y="171"/>
                      </a:lnTo>
                      <a:lnTo>
                        <a:pt x="121" y="171"/>
                      </a:lnTo>
                      <a:lnTo>
                        <a:pt x="121" y="171"/>
                      </a:lnTo>
                      <a:lnTo>
                        <a:pt x="122" y="171"/>
                      </a:lnTo>
                      <a:lnTo>
                        <a:pt x="121" y="171"/>
                      </a:lnTo>
                      <a:lnTo>
                        <a:pt x="122" y="171"/>
                      </a:lnTo>
                      <a:lnTo>
                        <a:pt x="122" y="172"/>
                      </a:lnTo>
                      <a:lnTo>
                        <a:pt x="122" y="172"/>
                      </a:lnTo>
                      <a:lnTo>
                        <a:pt x="122" y="172"/>
                      </a:lnTo>
                      <a:lnTo>
                        <a:pt x="122" y="172"/>
                      </a:lnTo>
                      <a:lnTo>
                        <a:pt x="122" y="173"/>
                      </a:lnTo>
                      <a:lnTo>
                        <a:pt x="122" y="173"/>
                      </a:lnTo>
                      <a:lnTo>
                        <a:pt x="122" y="173"/>
                      </a:lnTo>
                      <a:lnTo>
                        <a:pt x="122" y="173"/>
                      </a:lnTo>
                      <a:lnTo>
                        <a:pt x="123" y="173"/>
                      </a:lnTo>
                      <a:lnTo>
                        <a:pt x="124" y="173"/>
                      </a:lnTo>
                      <a:lnTo>
                        <a:pt x="124" y="174"/>
                      </a:lnTo>
                      <a:lnTo>
                        <a:pt x="123" y="174"/>
                      </a:lnTo>
                      <a:lnTo>
                        <a:pt x="123" y="173"/>
                      </a:lnTo>
                      <a:lnTo>
                        <a:pt x="122" y="173"/>
                      </a:lnTo>
                      <a:lnTo>
                        <a:pt x="123" y="173"/>
                      </a:lnTo>
                      <a:lnTo>
                        <a:pt x="123" y="174"/>
                      </a:lnTo>
                      <a:lnTo>
                        <a:pt x="122" y="174"/>
                      </a:lnTo>
                      <a:lnTo>
                        <a:pt x="123" y="174"/>
                      </a:lnTo>
                      <a:lnTo>
                        <a:pt x="122" y="174"/>
                      </a:lnTo>
                      <a:lnTo>
                        <a:pt x="122" y="173"/>
                      </a:lnTo>
                      <a:lnTo>
                        <a:pt x="122" y="174"/>
                      </a:lnTo>
                      <a:lnTo>
                        <a:pt x="122" y="174"/>
                      </a:lnTo>
                      <a:lnTo>
                        <a:pt x="122" y="174"/>
                      </a:lnTo>
                      <a:lnTo>
                        <a:pt x="122" y="174"/>
                      </a:lnTo>
                      <a:lnTo>
                        <a:pt x="122" y="174"/>
                      </a:lnTo>
                      <a:lnTo>
                        <a:pt x="122" y="174"/>
                      </a:lnTo>
                      <a:lnTo>
                        <a:pt x="122" y="174"/>
                      </a:lnTo>
                      <a:lnTo>
                        <a:pt x="121" y="174"/>
                      </a:lnTo>
                      <a:lnTo>
                        <a:pt x="122" y="174"/>
                      </a:lnTo>
                      <a:lnTo>
                        <a:pt x="122" y="174"/>
                      </a:lnTo>
                      <a:lnTo>
                        <a:pt x="122" y="174"/>
                      </a:lnTo>
                      <a:lnTo>
                        <a:pt x="122" y="174"/>
                      </a:lnTo>
                      <a:lnTo>
                        <a:pt x="122" y="173"/>
                      </a:lnTo>
                      <a:lnTo>
                        <a:pt x="122" y="174"/>
                      </a:lnTo>
                      <a:lnTo>
                        <a:pt x="123" y="174"/>
                      </a:lnTo>
                      <a:lnTo>
                        <a:pt x="124" y="174"/>
                      </a:lnTo>
                      <a:lnTo>
                        <a:pt x="124" y="174"/>
                      </a:lnTo>
                      <a:lnTo>
                        <a:pt x="124" y="175"/>
                      </a:lnTo>
                      <a:lnTo>
                        <a:pt x="124" y="174"/>
                      </a:lnTo>
                      <a:lnTo>
                        <a:pt x="124" y="175"/>
                      </a:lnTo>
                      <a:lnTo>
                        <a:pt x="124" y="175"/>
                      </a:lnTo>
                      <a:lnTo>
                        <a:pt x="123" y="175"/>
                      </a:lnTo>
                      <a:lnTo>
                        <a:pt x="123" y="176"/>
                      </a:lnTo>
                      <a:lnTo>
                        <a:pt x="124" y="177"/>
                      </a:lnTo>
                      <a:lnTo>
                        <a:pt x="124" y="177"/>
                      </a:lnTo>
                      <a:lnTo>
                        <a:pt x="124" y="178"/>
                      </a:lnTo>
                      <a:lnTo>
                        <a:pt x="124" y="178"/>
                      </a:lnTo>
                      <a:lnTo>
                        <a:pt x="125" y="178"/>
                      </a:lnTo>
                      <a:lnTo>
                        <a:pt x="125" y="179"/>
                      </a:lnTo>
                      <a:lnTo>
                        <a:pt x="125" y="179"/>
                      </a:lnTo>
                      <a:lnTo>
                        <a:pt x="124" y="179"/>
                      </a:lnTo>
                      <a:lnTo>
                        <a:pt x="124" y="180"/>
                      </a:lnTo>
                      <a:lnTo>
                        <a:pt x="124" y="180"/>
                      </a:lnTo>
                      <a:lnTo>
                        <a:pt x="124" y="181"/>
                      </a:lnTo>
                      <a:lnTo>
                        <a:pt x="123" y="181"/>
                      </a:lnTo>
                      <a:lnTo>
                        <a:pt x="124" y="181"/>
                      </a:lnTo>
                      <a:lnTo>
                        <a:pt x="124" y="180"/>
                      </a:lnTo>
                      <a:lnTo>
                        <a:pt x="123" y="180"/>
                      </a:lnTo>
                      <a:lnTo>
                        <a:pt x="124" y="180"/>
                      </a:lnTo>
                      <a:lnTo>
                        <a:pt x="123" y="180"/>
                      </a:lnTo>
                      <a:lnTo>
                        <a:pt x="123" y="181"/>
                      </a:lnTo>
                      <a:lnTo>
                        <a:pt x="124" y="181"/>
                      </a:lnTo>
                      <a:lnTo>
                        <a:pt x="123" y="181"/>
                      </a:lnTo>
                      <a:lnTo>
                        <a:pt x="124" y="181"/>
                      </a:lnTo>
                      <a:lnTo>
                        <a:pt x="123" y="181"/>
                      </a:lnTo>
                      <a:lnTo>
                        <a:pt x="124" y="181"/>
                      </a:lnTo>
                      <a:lnTo>
                        <a:pt x="123" y="181"/>
                      </a:lnTo>
                      <a:lnTo>
                        <a:pt x="124" y="182"/>
                      </a:lnTo>
                      <a:lnTo>
                        <a:pt x="124" y="182"/>
                      </a:lnTo>
                      <a:lnTo>
                        <a:pt x="124" y="183"/>
                      </a:lnTo>
                      <a:lnTo>
                        <a:pt x="124" y="184"/>
                      </a:lnTo>
                      <a:lnTo>
                        <a:pt x="124" y="184"/>
                      </a:lnTo>
                      <a:lnTo>
                        <a:pt x="124" y="185"/>
                      </a:lnTo>
                      <a:lnTo>
                        <a:pt x="124" y="184"/>
                      </a:lnTo>
                      <a:lnTo>
                        <a:pt x="124" y="185"/>
                      </a:lnTo>
                      <a:lnTo>
                        <a:pt x="124" y="185"/>
                      </a:lnTo>
                      <a:lnTo>
                        <a:pt x="124" y="185"/>
                      </a:lnTo>
                      <a:lnTo>
                        <a:pt x="123" y="185"/>
                      </a:lnTo>
                      <a:lnTo>
                        <a:pt x="123" y="184"/>
                      </a:lnTo>
                      <a:lnTo>
                        <a:pt x="122" y="184"/>
                      </a:lnTo>
                      <a:lnTo>
                        <a:pt x="122" y="184"/>
                      </a:lnTo>
                      <a:lnTo>
                        <a:pt x="122" y="184"/>
                      </a:lnTo>
                      <a:lnTo>
                        <a:pt x="122" y="184"/>
                      </a:lnTo>
                      <a:lnTo>
                        <a:pt x="122" y="184"/>
                      </a:lnTo>
                      <a:lnTo>
                        <a:pt x="122" y="184"/>
                      </a:lnTo>
                      <a:lnTo>
                        <a:pt x="122" y="184"/>
                      </a:lnTo>
                      <a:lnTo>
                        <a:pt x="121" y="184"/>
                      </a:lnTo>
                      <a:lnTo>
                        <a:pt x="122" y="184"/>
                      </a:lnTo>
                      <a:lnTo>
                        <a:pt x="121" y="184"/>
                      </a:lnTo>
                      <a:lnTo>
                        <a:pt x="121" y="184"/>
                      </a:lnTo>
                      <a:lnTo>
                        <a:pt x="121" y="184"/>
                      </a:lnTo>
                      <a:lnTo>
                        <a:pt x="120" y="184"/>
                      </a:lnTo>
                      <a:lnTo>
                        <a:pt x="119" y="185"/>
                      </a:lnTo>
                      <a:lnTo>
                        <a:pt x="119" y="184"/>
                      </a:lnTo>
                      <a:lnTo>
                        <a:pt x="119" y="184"/>
                      </a:lnTo>
                      <a:lnTo>
                        <a:pt x="119" y="185"/>
                      </a:lnTo>
                      <a:lnTo>
                        <a:pt x="119" y="185"/>
                      </a:lnTo>
                      <a:lnTo>
                        <a:pt x="119" y="185"/>
                      </a:lnTo>
                      <a:lnTo>
                        <a:pt x="119" y="185"/>
                      </a:lnTo>
                      <a:lnTo>
                        <a:pt x="118" y="185"/>
                      </a:lnTo>
                      <a:lnTo>
                        <a:pt x="119" y="185"/>
                      </a:lnTo>
                      <a:lnTo>
                        <a:pt x="118" y="186"/>
                      </a:lnTo>
                      <a:lnTo>
                        <a:pt x="119" y="185"/>
                      </a:lnTo>
                      <a:lnTo>
                        <a:pt x="119" y="185"/>
                      </a:lnTo>
                      <a:lnTo>
                        <a:pt x="119" y="185"/>
                      </a:lnTo>
                      <a:lnTo>
                        <a:pt x="119" y="185"/>
                      </a:lnTo>
                      <a:lnTo>
                        <a:pt x="119" y="185"/>
                      </a:lnTo>
                      <a:lnTo>
                        <a:pt x="119" y="185"/>
                      </a:lnTo>
                      <a:lnTo>
                        <a:pt x="119" y="185"/>
                      </a:lnTo>
                      <a:lnTo>
                        <a:pt x="119" y="185"/>
                      </a:lnTo>
                      <a:lnTo>
                        <a:pt x="119" y="184"/>
                      </a:lnTo>
                      <a:lnTo>
                        <a:pt x="119" y="184"/>
                      </a:lnTo>
                      <a:lnTo>
                        <a:pt x="119" y="185"/>
                      </a:lnTo>
                      <a:lnTo>
                        <a:pt x="120" y="185"/>
                      </a:lnTo>
                      <a:lnTo>
                        <a:pt x="120" y="184"/>
                      </a:lnTo>
                      <a:lnTo>
                        <a:pt x="121" y="184"/>
                      </a:lnTo>
                      <a:lnTo>
                        <a:pt x="121" y="184"/>
                      </a:lnTo>
                      <a:lnTo>
                        <a:pt x="121" y="185"/>
                      </a:lnTo>
                      <a:lnTo>
                        <a:pt x="120" y="185"/>
                      </a:lnTo>
                      <a:lnTo>
                        <a:pt x="119" y="185"/>
                      </a:lnTo>
                      <a:lnTo>
                        <a:pt x="119" y="185"/>
                      </a:lnTo>
                      <a:lnTo>
                        <a:pt x="119" y="185"/>
                      </a:lnTo>
                      <a:lnTo>
                        <a:pt x="120" y="185"/>
                      </a:lnTo>
                      <a:lnTo>
                        <a:pt x="119" y="185"/>
                      </a:lnTo>
                      <a:lnTo>
                        <a:pt x="120" y="185"/>
                      </a:lnTo>
                      <a:lnTo>
                        <a:pt x="119" y="185"/>
                      </a:lnTo>
                      <a:lnTo>
                        <a:pt x="119" y="185"/>
                      </a:lnTo>
                      <a:lnTo>
                        <a:pt x="119" y="185"/>
                      </a:lnTo>
                      <a:lnTo>
                        <a:pt x="120" y="185"/>
                      </a:lnTo>
                      <a:lnTo>
                        <a:pt x="121" y="185"/>
                      </a:lnTo>
                      <a:lnTo>
                        <a:pt x="121" y="185"/>
                      </a:lnTo>
                      <a:lnTo>
                        <a:pt x="122" y="185"/>
                      </a:lnTo>
                      <a:lnTo>
                        <a:pt x="122" y="184"/>
                      </a:lnTo>
                      <a:lnTo>
                        <a:pt x="122" y="184"/>
                      </a:lnTo>
                      <a:lnTo>
                        <a:pt x="122" y="185"/>
                      </a:lnTo>
                      <a:lnTo>
                        <a:pt x="123" y="185"/>
                      </a:lnTo>
                      <a:lnTo>
                        <a:pt x="122" y="185"/>
                      </a:lnTo>
                      <a:lnTo>
                        <a:pt x="122" y="185"/>
                      </a:lnTo>
                      <a:lnTo>
                        <a:pt x="121" y="185"/>
                      </a:lnTo>
                      <a:lnTo>
                        <a:pt x="121" y="185"/>
                      </a:lnTo>
                      <a:lnTo>
                        <a:pt x="120" y="185"/>
                      </a:lnTo>
                      <a:lnTo>
                        <a:pt x="120" y="185"/>
                      </a:lnTo>
                      <a:lnTo>
                        <a:pt x="121" y="185"/>
                      </a:lnTo>
                      <a:lnTo>
                        <a:pt x="120" y="185"/>
                      </a:lnTo>
                      <a:lnTo>
                        <a:pt x="121" y="185"/>
                      </a:lnTo>
                      <a:lnTo>
                        <a:pt x="120" y="185"/>
                      </a:lnTo>
                      <a:lnTo>
                        <a:pt x="121" y="185"/>
                      </a:lnTo>
                      <a:lnTo>
                        <a:pt x="121" y="185"/>
                      </a:lnTo>
                      <a:lnTo>
                        <a:pt x="120" y="185"/>
                      </a:lnTo>
                      <a:lnTo>
                        <a:pt x="120" y="185"/>
                      </a:lnTo>
                      <a:lnTo>
                        <a:pt x="121" y="185"/>
                      </a:lnTo>
                      <a:lnTo>
                        <a:pt x="121" y="185"/>
                      </a:lnTo>
                      <a:lnTo>
                        <a:pt x="122" y="185"/>
                      </a:lnTo>
                      <a:lnTo>
                        <a:pt x="122" y="185"/>
                      </a:lnTo>
                      <a:lnTo>
                        <a:pt x="123" y="185"/>
                      </a:lnTo>
                      <a:lnTo>
                        <a:pt x="124" y="185"/>
                      </a:lnTo>
                      <a:lnTo>
                        <a:pt x="124" y="185"/>
                      </a:lnTo>
                      <a:lnTo>
                        <a:pt x="124" y="186"/>
                      </a:lnTo>
                      <a:lnTo>
                        <a:pt x="124" y="186"/>
                      </a:lnTo>
                      <a:lnTo>
                        <a:pt x="124" y="186"/>
                      </a:lnTo>
                      <a:lnTo>
                        <a:pt x="124" y="187"/>
                      </a:lnTo>
                      <a:lnTo>
                        <a:pt x="123" y="187"/>
                      </a:lnTo>
                      <a:lnTo>
                        <a:pt x="123" y="188"/>
                      </a:lnTo>
                      <a:lnTo>
                        <a:pt x="123" y="187"/>
                      </a:lnTo>
                      <a:lnTo>
                        <a:pt x="123" y="188"/>
                      </a:lnTo>
                      <a:lnTo>
                        <a:pt x="123" y="188"/>
                      </a:lnTo>
                      <a:lnTo>
                        <a:pt x="123" y="189"/>
                      </a:lnTo>
                      <a:lnTo>
                        <a:pt x="123" y="189"/>
                      </a:lnTo>
                      <a:lnTo>
                        <a:pt x="123" y="190"/>
                      </a:lnTo>
                      <a:lnTo>
                        <a:pt x="123" y="190"/>
                      </a:lnTo>
                      <a:lnTo>
                        <a:pt x="123" y="190"/>
                      </a:lnTo>
                      <a:lnTo>
                        <a:pt x="124" y="190"/>
                      </a:lnTo>
                      <a:lnTo>
                        <a:pt x="124" y="191"/>
                      </a:lnTo>
                      <a:lnTo>
                        <a:pt x="124" y="192"/>
                      </a:lnTo>
                      <a:lnTo>
                        <a:pt x="124" y="192"/>
                      </a:lnTo>
                      <a:lnTo>
                        <a:pt x="124" y="192"/>
                      </a:lnTo>
                      <a:lnTo>
                        <a:pt x="125" y="192"/>
                      </a:lnTo>
                      <a:lnTo>
                        <a:pt x="125" y="193"/>
                      </a:lnTo>
                      <a:lnTo>
                        <a:pt x="125" y="193"/>
                      </a:lnTo>
                      <a:lnTo>
                        <a:pt x="125" y="193"/>
                      </a:lnTo>
                      <a:lnTo>
                        <a:pt x="126" y="193"/>
                      </a:lnTo>
                      <a:lnTo>
                        <a:pt x="126" y="194"/>
                      </a:lnTo>
                      <a:lnTo>
                        <a:pt x="127" y="194"/>
                      </a:lnTo>
                      <a:lnTo>
                        <a:pt x="128" y="194"/>
                      </a:lnTo>
                      <a:lnTo>
                        <a:pt x="128" y="194"/>
                      </a:lnTo>
                      <a:lnTo>
                        <a:pt x="128" y="194"/>
                      </a:lnTo>
                      <a:lnTo>
                        <a:pt x="128" y="194"/>
                      </a:lnTo>
                      <a:lnTo>
                        <a:pt x="127" y="194"/>
                      </a:lnTo>
                      <a:lnTo>
                        <a:pt x="128" y="194"/>
                      </a:lnTo>
                      <a:lnTo>
                        <a:pt x="127" y="195"/>
                      </a:lnTo>
                      <a:lnTo>
                        <a:pt x="128" y="194"/>
                      </a:lnTo>
                      <a:lnTo>
                        <a:pt x="128" y="194"/>
                      </a:lnTo>
                      <a:lnTo>
                        <a:pt x="128" y="194"/>
                      </a:lnTo>
                      <a:lnTo>
                        <a:pt x="128" y="194"/>
                      </a:lnTo>
                      <a:lnTo>
                        <a:pt x="129" y="195"/>
                      </a:lnTo>
                      <a:lnTo>
                        <a:pt x="129" y="196"/>
                      </a:lnTo>
                      <a:lnTo>
                        <a:pt x="130" y="196"/>
                      </a:lnTo>
                      <a:lnTo>
                        <a:pt x="130" y="196"/>
                      </a:lnTo>
                      <a:lnTo>
                        <a:pt x="131" y="196"/>
                      </a:lnTo>
                      <a:lnTo>
                        <a:pt x="132" y="197"/>
                      </a:lnTo>
                      <a:lnTo>
                        <a:pt x="132" y="197"/>
                      </a:lnTo>
                      <a:lnTo>
                        <a:pt x="132" y="198"/>
                      </a:lnTo>
                      <a:lnTo>
                        <a:pt x="132" y="199"/>
                      </a:lnTo>
                      <a:lnTo>
                        <a:pt x="132" y="198"/>
                      </a:lnTo>
                      <a:lnTo>
                        <a:pt x="131" y="198"/>
                      </a:lnTo>
                      <a:lnTo>
                        <a:pt x="131" y="199"/>
                      </a:lnTo>
                      <a:lnTo>
                        <a:pt x="130" y="199"/>
                      </a:lnTo>
                      <a:lnTo>
                        <a:pt x="130" y="199"/>
                      </a:lnTo>
                      <a:lnTo>
                        <a:pt x="130" y="200"/>
                      </a:lnTo>
                      <a:lnTo>
                        <a:pt x="129" y="200"/>
                      </a:lnTo>
                      <a:lnTo>
                        <a:pt x="129" y="200"/>
                      </a:lnTo>
                      <a:lnTo>
                        <a:pt x="129" y="200"/>
                      </a:lnTo>
                      <a:lnTo>
                        <a:pt x="129" y="201"/>
                      </a:lnTo>
                      <a:lnTo>
                        <a:pt x="128" y="201"/>
                      </a:lnTo>
                      <a:lnTo>
                        <a:pt x="128" y="201"/>
                      </a:lnTo>
                      <a:lnTo>
                        <a:pt x="128" y="201"/>
                      </a:lnTo>
                      <a:lnTo>
                        <a:pt x="128" y="202"/>
                      </a:lnTo>
                      <a:lnTo>
                        <a:pt x="128" y="202"/>
                      </a:lnTo>
                      <a:lnTo>
                        <a:pt x="128" y="202"/>
                      </a:lnTo>
                      <a:lnTo>
                        <a:pt x="128" y="203"/>
                      </a:lnTo>
                      <a:lnTo>
                        <a:pt x="128" y="203"/>
                      </a:lnTo>
                      <a:lnTo>
                        <a:pt x="128" y="202"/>
                      </a:lnTo>
                      <a:lnTo>
                        <a:pt x="128" y="203"/>
                      </a:lnTo>
                      <a:lnTo>
                        <a:pt x="128" y="203"/>
                      </a:lnTo>
                      <a:lnTo>
                        <a:pt x="128" y="203"/>
                      </a:lnTo>
                      <a:lnTo>
                        <a:pt x="128" y="203"/>
                      </a:lnTo>
                      <a:lnTo>
                        <a:pt x="128" y="203"/>
                      </a:lnTo>
                      <a:lnTo>
                        <a:pt x="128" y="203"/>
                      </a:lnTo>
                      <a:lnTo>
                        <a:pt x="128" y="204"/>
                      </a:lnTo>
                      <a:lnTo>
                        <a:pt x="128" y="204"/>
                      </a:lnTo>
                      <a:lnTo>
                        <a:pt x="128" y="204"/>
                      </a:lnTo>
                      <a:lnTo>
                        <a:pt x="128" y="205"/>
                      </a:lnTo>
                      <a:lnTo>
                        <a:pt x="129" y="205"/>
                      </a:lnTo>
                      <a:lnTo>
                        <a:pt x="128" y="205"/>
                      </a:lnTo>
                      <a:lnTo>
                        <a:pt x="129" y="205"/>
                      </a:lnTo>
                      <a:lnTo>
                        <a:pt x="128" y="205"/>
                      </a:lnTo>
                      <a:lnTo>
                        <a:pt x="129" y="205"/>
                      </a:lnTo>
                      <a:lnTo>
                        <a:pt x="129" y="207"/>
                      </a:lnTo>
                      <a:lnTo>
                        <a:pt x="128" y="207"/>
                      </a:lnTo>
                      <a:lnTo>
                        <a:pt x="128" y="207"/>
                      </a:lnTo>
                      <a:lnTo>
                        <a:pt x="128" y="207"/>
                      </a:lnTo>
                      <a:lnTo>
                        <a:pt x="128" y="208"/>
                      </a:lnTo>
                      <a:lnTo>
                        <a:pt x="128" y="208"/>
                      </a:lnTo>
                      <a:lnTo>
                        <a:pt x="128" y="208"/>
                      </a:lnTo>
                      <a:lnTo>
                        <a:pt x="128" y="209"/>
                      </a:lnTo>
                      <a:lnTo>
                        <a:pt x="128" y="209"/>
                      </a:lnTo>
                      <a:lnTo>
                        <a:pt x="128" y="209"/>
                      </a:lnTo>
                      <a:lnTo>
                        <a:pt x="128" y="208"/>
                      </a:lnTo>
                      <a:lnTo>
                        <a:pt x="128" y="208"/>
                      </a:lnTo>
                      <a:lnTo>
                        <a:pt x="127" y="208"/>
                      </a:lnTo>
                      <a:lnTo>
                        <a:pt x="127" y="209"/>
                      </a:lnTo>
                      <a:lnTo>
                        <a:pt x="126" y="209"/>
                      </a:lnTo>
                      <a:lnTo>
                        <a:pt x="127" y="209"/>
                      </a:lnTo>
                      <a:lnTo>
                        <a:pt x="126" y="209"/>
                      </a:lnTo>
                      <a:lnTo>
                        <a:pt x="126" y="209"/>
                      </a:lnTo>
                      <a:lnTo>
                        <a:pt x="126" y="210"/>
                      </a:lnTo>
                      <a:lnTo>
                        <a:pt x="126" y="210"/>
                      </a:lnTo>
                      <a:lnTo>
                        <a:pt x="125" y="210"/>
                      </a:lnTo>
                      <a:lnTo>
                        <a:pt x="125" y="210"/>
                      </a:lnTo>
                      <a:lnTo>
                        <a:pt x="124" y="210"/>
                      </a:lnTo>
                      <a:lnTo>
                        <a:pt x="124" y="210"/>
                      </a:lnTo>
                      <a:lnTo>
                        <a:pt x="123" y="211"/>
                      </a:lnTo>
                      <a:lnTo>
                        <a:pt x="124" y="211"/>
                      </a:lnTo>
                      <a:lnTo>
                        <a:pt x="124" y="211"/>
                      </a:lnTo>
                      <a:lnTo>
                        <a:pt x="124" y="212"/>
                      </a:lnTo>
                      <a:lnTo>
                        <a:pt x="123" y="212"/>
                      </a:lnTo>
                      <a:lnTo>
                        <a:pt x="122" y="212"/>
                      </a:lnTo>
                      <a:lnTo>
                        <a:pt x="122" y="212"/>
                      </a:lnTo>
                      <a:lnTo>
                        <a:pt x="122" y="213"/>
                      </a:lnTo>
                      <a:lnTo>
                        <a:pt x="123" y="213"/>
                      </a:lnTo>
                      <a:lnTo>
                        <a:pt x="122" y="214"/>
                      </a:lnTo>
                      <a:lnTo>
                        <a:pt x="122" y="213"/>
                      </a:lnTo>
                      <a:lnTo>
                        <a:pt x="122" y="214"/>
                      </a:lnTo>
                      <a:lnTo>
                        <a:pt x="122" y="213"/>
                      </a:lnTo>
                      <a:lnTo>
                        <a:pt x="122" y="214"/>
                      </a:lnTo>
                      <a:lnTo>
                        <a:pt x="122" y="213"/>
                      </a:lnTo>
                      <a:lnTo>
                        <a:pt x="122" y="214"/>
                      </a:lnTo>
                      <a:lnTo>
                        <a:pt x="122" y="214"/>
                      </a:lnTo>
                      <a:lnTo>
                        <a:pt x="122" y="214"/>
                      </a:lnTo>
                      <a:lnTo>
                        <a:pt x="121" y="214"/>
                      </a:lnTo>
                      <a:lnTo>
                        <a:pt x="121" y="214"/>
                      </a:lnTo>
                      <a:lnTo>
                        <a:pt x="120" y="214"/>
                      </a:lnTo>
                      <a:lnTo>
                        <a:pt x="119" y="214"/>
                      </a:lnTo>
                      <a:lnTo>
                        <a:pt x="119" y="215"/>
                      </a:lnTo>
                      <a:lnTo>
                        <a:pt x="119" y="215"/>
                      </a:lnTo>
                      <a:lnTo>
                        <a:pt x="119" y="215"/>
                      </a:lnTo>
                      <a:lnTo>
                        <a:pt x="119" y="215"/>
                      </a:lnTo>
                      <a:lnTo>
                        <a:pt x="119" y="215"/>
                      </a:lnTo>
                      <a:lnTo>
                        <a:pt x="119" y="215"/>
                      </a:lnTo>
                      <a:lnTo>
                        <a:pt x="120" y="215"/>
                      </a:lnTo>
                      <a:lnTo>
                        <a:pt x="121" y="215"/>
                      </a:lnTo>
                      <a:lnTo>
                        <a:pt x="120" y="215"/>
                      </a:lnTo>
                      <a:lnTo>
                        <a:pt x="120" y="215"/>
                      </a:lnTo>
                      <a:lnTo>
                        <a:pt x="121" y="215"/>
                      </a:lnTo>
                      <a:lnTo>
                        <a:pt x="121" y="215"/>
                      </a:lnTo>
                      <a:lnTo>
                        <a:pt x="121" y="215"/>
                      </a:lnTo>
                      <a:lnTo>
                        <a:pt x="121" y="215"/>
                      </a:lnTo>
                      <a:lnTo>
                        <a:pt x="121" y="216"/>
                      </a:lnTo>
                      <a:lnTo>
                        <a:pt x="121" y="216"/>
                      </a:lnTo>
                      <a:lnTo>
                        <a:pt x="121" y="216"/>
                      </a:lnTo>
                      <a:lnTo>
                        <a:pt x="121" y="216"/>
                      </a:lnTo>
                      <a:lnTo>
                        <a:pt x="120" y="216"/>
                      </a:lnTo>
                      <a:lnTo>
                        <a:pt x="120" y="216"/>
                      </a:lnTo>
                      <a:lnTo>
                        <a:pt x="121" y="216"/>
                      </a:lnTo>
                      <a:lnTo>
                        <a:pt x="120" y="216"/>
                      </a:lnTo>
                      <a:lnTo>
                        <a:pt x="119" y="216"/>
                      </a:lnTo>
                      <a:lnTo>
                        <a:pt x="119" y="217"/>
                      </a:lnTo>
                      <a:lnTo>
                        <a:pt x="118" y="217"/>
                      </a:lnTo>
                      <a:lnTo>
                        <a:pt x="119" y="217"/>
                      </a:lnTo>
                      <a:lnTo>
                        <a:pt x="119" y="217"/>
                      </a:lnTo>
                      <a:lnTo>
                        <a:pt x="119" y="217"/>
                      </a:lnTo>
                      <a:lnTo>
                        <a:pt x="118" y="217"/>
                      </a:lnTo>
                      <a:lnTo>
                        <a:pt x="118" y="218"/>
                      </a:lnTo>
                      <a:lnTo>
                        <a:pt x="118" y="217"/>
                      </a:lnTo>
                      <a:lnTo>
                        <a:pt x="118" y="218"/>
                      </a:lnTo>
                      <a:lnTo>
                        <a:pt x="119" y="218"/>
                      </a:lnTo>
                      <a:lnTo>
                        <a:pt x="118" y="218"/>
                      </a:lnTo>
                      <a:lnTo>
                        <a:pt x="119" y="218"/>
                      </a:lnTo>
                      <a:lnTo>
                        <a:pt x="119" y="218"/>
                      </a:lnTo>
                      <a:lnTo>
                        <a:pt x="119" y="218"/>
                      </a:lnTo>
                      <a:lnTo>
                        <a:pt x="118" y="218"/>
                      </a:lnTo>
                      <a:lnTo>
                        <a:pt x="118" y="219"/>
                      </a:lnTo>
                      <a:lnTo>
                        <a:pt x="118" y="219"/>
                      </a:lnTo>
                      <a:lnTo>
                        <a:pt x="118" y="219"/>
                      </a:lnTo>
                      <a:lnTo>
                        <a:pt x="118" y="219"/>
                      </a:lnTo>
                      <a:lnTo>
                        <a:pt x="118" y="219"/>
                      </a:lnTo>
                      <a:lnTo>
                        <a:pt x="117" y="219"/>
                      </a:lnTo>
                      <a:lnTo>
                        <a:pt x="117" y="220"/>
                      </a:lnTo>
                      <a:lnTo>
                        <a:pt x="117" y="220"/>
                      </a:lnTo>
                      <a:lnTo>
                        <a:pt x="117" y="219"/>
                      </a:lnTo>
                      <a:lnTo>
                        <a:pt x="116" y="219"/>
                      </a:lnTo>
                      <a:lnTo>
                        <a:pt x="117" y="219"/>
                      </a:lnTo>
                      <a:lnTo>
                        <a:pt x="116" y="219"/>
                      </a:lnTo>
                      <a:lnTo>
                        <a:pt x="115" y="219"/>
                      </a:lnTo>
                      <a:lnTo>
                        <a:pt x="115" y="220"/>
                      </a:lnTo>
                      <a:lnTo>
                        <a:pt x="115" y="220"/>
                      </a:lnTo>
                      <a:lnTo>
                        <a:pt x="115" y="219"/>
                      </a:lnTo>
                      <a:lnTo>
                        <a:pt x="114" y="219"/>
                      </a:lnTo>
                      <a:lnTo>
                        <a:pt x="114" y="219"/>
                      </a:lnTo>
                      <a:lnTo>
                        <a:pt x="114" y="219"/>
                      </a:lnTo>
                      <a:lnTo>
                        <a:pt x="114" y="219"/>
                      </a:lnTo>
                      <a:lnTo>
                        <a:pt x="114" y="220"/>
                      </a:lnTo>
                      <a:lnTo>
                        <a:pt x="114" y="220"/>
                      </a:lnTo>
                      <a:lnTo>
                        <a:pt x="113" y="220"/>
                      </a:lnTo>
                      <a:lnTo>
                        <a:pt x="113" y="220"/>
                      </a:lnTo>
                      <a:lnTo>
                        <a:pt x="112" y="220"/>
                      </a:lnTo>
                      <a:lnTo>
                        <a:pt x="111" y="220"/>
                      </a:lnTo>
                      <a:lnTo>
                        <a:pt x="112" y="220"/>
                      </a:lnTo>
                      <a:lnTo>
                        <a:pt x="113" y="220"/>
                      </a:lnTo>
                      <a:lnTo>
                        <a:pt x="113" y="220"/>
                      </a:lnTo>
                      <a:lnTo>
                        <a:pt x="113" y="221"/>
                      </a:lnTo>
                      <a:lnTo>
                        <a:pt x="113" y="221"/>
                      </a:lnTo>
                      <a:lnTo>
                        <a:pt x="112" y="221"/>
                      </a:lnTo>
                      <a:lnTo>
                        <a:pt x="112" y="221"/>
                      </a:lnTo>
                      <a:lnTo>
                        <a:pt x="111" y="221"/>
                      </a:lnTo>
                      <a:lnTo>
                        <a:pt x="111" y="221"/>
                      </a:lnTo>
                      <a:lnTo>
                        <a:pt x="110" y="221"/>
                      </a:lnTo>
                      <a:lnTo>
                        <a:pt x="110" y="221"/>
                      </a:lnTo>
                      <a:lnTo>
                        <a:pt x="110" y="221"/>
                      </a:lnTo>
                      <a:lnTo>
                        <a:pt x="110" y="221"/>
                      </a:lnTo>
                      <a:lnTo>
                        <a:pt x="110" y="221"/>
                      </a:lnTo>
                      <a:lnTo>
                        <a:pt x="110" y="221"/>
                      </a:lnTo>
                      <a:lnTo>
                        <a:pt x="110" y="222"/>
                      </a:lnTo>
                      <a:lnTo>
                        <a:pt x="109" y="222"/>
                      </a:lnTo>
                      <a:lnTo>
                        <a:pt x="109" y="222"/>
                      </a:lnTo>
                      <a:lnTo>
                        <a:pt x="109" y="222"/>
                      </a:lnTo>
                      <a:lnTo>
                        <a:pt x="108" y="222"/>
                      </a:lnTo>
                      <a:lnTo>
                        <a:pt x="107" y="222"/>
                      </a:lnTo>
                      <a:lnTo>
                        <a:pt x="108" y="222"/>
                      </a:lnTo>
                      <a:lnTo>
                        <a:pt x="109" y="222"/>
                      </a:lnTo>
                      <a:lnTo>
                        <a:pt x="108" y="222"/>
                      </a:lnTo>
                      <a:lnTo>
                        <a:pt x="107" y="222"/>
                      </a:lnTo>
                      <a:lnTo>
                        <a:pt x="107" y="222"/>
                      </a:lnTo>
                      <a:lnTo>
                        <a:pt x="107" y="222"/>
                      </a:lnTo>
                      <a:lnTo>
                        <a:pt x="107" y="222"/>
                      </a:lnTo>
                      <a:lnTo>
                        <a:pt x="106" y="222"/>
                      </a:lnTo>
                      <a:lnTo>
                        <a:pt x="106" y="222"/>
                      </a:lnTo>
                      <a:lnTo>
                        <a:pt x="106" y="222"/>
                      </a:lnTo>
                      <a:lnTo>
                        <a:pt x="105" y="222"/>
                      </a:lnTo>
                      <a:lnTo>
                        <a:pt x="106" y="222"/>
                      </a:lnTo>
                      <a:lnTo>
                        <a:pt x="106" y="222"/>
                      </a:lnTo>
                      <a:lnTo>
                        <a:pt x="105" y="222"/>
                      </a:lnTo>
                      <a:lnTo>
                        <a:pt x="104" y="222"/>
                      </a:lnTo>
                      <a:lnTo>
                        <a:pt x="104" y="222"/>
                      </a:lnTo>
                      <a:lnTo>
                        <a:pt x="103" y="222"/>
                      </a:lnTo>
                      <a:lnTo>
                        <a:pt x="103" y="222"/>
                      </a:lnTo>
                      <a:lnTo>
                        <a:pt x="103" y="222"/>
                      </a:lnTo>
                      <a:lnTo>
                        <a:pt x="103" y="221"/>
                      </a:lnTo>
                      <a:lnTo>
                        <a:pt x="103" y="221"/>
                      </a:lnTo>
                      <a:lnTo>
                        <a:pt x="102" y="221"/>
                      </a:lnTo>
                      <a:lnTo>
                        <a:pt x="102" y="221"/>
                      </a:lnTo>
                      <a:lnTo>
                        <a:pt x="102" y="221"/>
                      </a:lnTo>
                      <a:lnTo>
                        <a:pt x="101" y="221"/>
                      </a:lnTo>
                      <a:lnTo>
                        <a:pt x="100" y="221"/>
                      </a:lnTo>
                      <a:lnTo>
                        <a:pt x="100" y="221"/>
                      </a:lnTo>
                      <a:lnTo>
                        <a:pt x="99" y="221"/>
                      </a:lnTo>
                      <a:lnTo>
                        <a:pt x="99" y="221"/>
                      </a:lnTo>
                      <a:lnTo>
                        <a:pt x="99" y="221"/>
                      </a:lnTo>
                      <a:lnTo>
                        <a:pt x="98" y="221"/>
                      </a:lnTo>
                      <a:lnTo>
                        <a:pt x="98" y="221"/>
                      </a:lnTo>
                      <a:lnTo>
                        <a:pt x="97" y="221"/>
                      </a:lnTo>
                      <a:lnTo>
                        <a:pt x="96" y="221"/>
                      </a:lnTo>
                      <a:lnTo>
                        <a:pt x="96" y="220"/>
                      </a:lnTo>
                      <a:lnTo>
                        <a:pt x="96" y="220"/>
                      </a:lnTo>
                      <a:lnTo>
                        <a:pt x="96" y="220"/>
                      </a:lnTo>
                      <a:lnTo>
                        <a:pt x="96" y="219"/>
                      </a:lnTo>
                      <a:lnTo>
                        <a:pt x="96" y="220"/>
                      </a:lnTo>
                      <a:lnTo>
                        <a:pt x="96" y="220"/>
                      </a:lnTo>
                      <a:lnTo>
                        <a:pt x="96" y="220"/>
                      </a:lnTo>
                      <a:lnTo>
                        <a:pt x="96" y="220"/>
                      </a:lnTo>
                      <a:lnTo>
                        <a:pt x="96" y="221"/>
                      </a:lnTo>
                      <a:lnTo>
                        <a:pt x="95" y="221"/>
                      </a:lnTo>
                      <a:lnTo>
                        <a:pt x="95" y="220"/>
                      </a:lnTo>
                      <a:lnTo>
                        <a:pt x="95" y="221"/>
                      </a:lnTo>
                      <a:lnTo>
                        <a:pt x="95" y="221"/>
                      </a:lnTo>
                      <a:lnTo>
                        <a:pt x="94" y="221"/>
                      </a:lnTo>
                      <a:lnTo>
                        <a:pt x="95" y="221"/>
                      </a:lnTo>
                      <a:lnTo>
                        <a:pt x="94" y="221"/>
                      </a:lnTo>
                      <a:lnTo>
                        <a:pt x="95" y="221"/>
                      </a:lnTo>
                      <a:lnTo>
                        <a:pt x="95" y="221"/>
                      </a:lnTo>
                      <a:lnTo>
                        <a:pt x="94" y="221"/>
                      </a:lnTo>
                      <a:lnTo>
                        <a:pt x="93" y="221"/>
                      </a:lnTo>
                      <a:lnTo>
                        <a:pt x="93" y="222"/>
                      </a:lnTo>
                      <a:lnTo>
                        <a:pt x="93" y="221"/>
                      </a:lnTo>
                      <a:lnTo>
                        <a:pt x="93" y="222"/>
                      </a:lnTo>
                      <a:lnTo>
                        <a:pt x="93" y="222"/>
                      </a:lnTo>
                      <a:lnTo>
                        <a:pt x="92" y="222"/>
                      </a:lnTo>
                      <a:lnTo>
                        <a:pt x="92" y="222"/>
                      </a:lnTo>
                      <a:lnTo>
                        <a:pt x="92" y="222"/>
                      </a:lnTo>
                      <a:lnTo>
                        <a:pt x="92" y="222"/>
                      </a:lnTo>
                      <a:lnTo>
                        <a:pt x="91" y="222"/>
                      </a:lnTo>
                      <a:lnTo>
                        <a:pt x="91" y="222"/>
                      </a:lnTo>
                      <a:lnTo>
                        <a:pt x="90" y="222"/>
                      </a:lnTo>
                      <a:lnTo>
                        <a:pt x="90" y="221"/>
                      </a:lnTo>
                      <a:lnTo>
                        <a:pt x="89" y="221"/>
                      </a:lnTo>
                      <a:lnTo>
                        <a:pt x="89" y="221"/>
                      </a:lnTo>
                      <a:lnTo>
                        <a:pt x="89" y="221"/>
                      </a:lnTo>
                      <a:lnTo>
                        <a:pt x="89" y="221"/>
                      </a:lnTo>
                      <a:lnTo>
                        <a:pt x="88" y="221"/>
                      </a:lnTo>
                      <a:lnTo>
                        <a:pt x="89" y="221"/>
                      </a:lnTo>
                      <a:lnTo>
                        <a:pt x="89" y="221"/>
                      </a:lnTo>
                      <a:lnTo>
                        <a:pt x="89" y="221"/>
                      </a:lnTo>
                      <a:lnTo>
                        <a:pt x="90" y="221"/>
                      </a:lnTo>
                      <a:lnTo>
                        <a:pt x="90" y="222"/>
                      </a:lnTo>
                      <a:lnTo>
                        <a:pt x="89" y="222"/>
                      </a:lnTo>
                      <a:lnTo>
                        <a:pt x="89" y="221"/>
                      </a:lnTo>
                      <a:lnTo>
                        <a:pt x="89" y="222"/>
                      </a:lnTo>
                      <a:lnTo>
                        <a:pt x="90" y="222"/>
                      </a:lnTo>
                      <a:lnTo>
                        <a:pt x="89" y="222"/>
                      </a:lnTo>
                      <a:lnTo>
                        <a:pt x="89" y="221"/>
                      </a:lnTo>
                      <a:lnTo>
                        <a:pt x="88" y="221"/>
                      </a:lnTo>
                      <a:lnTo>
                        <a:pt x="88" y="221"/>
                      </a:lnTo>
                      <a:lnTo>
                        <a:pt x="88" y="222"/>
                      </a:lnTo>
                      <a:lnTo>
                        <a:pt x="87" y="222"/>
                      </a:lnTo>
                      <a:lnTo>
                        <a:pt x="87" y="222"/>
                      </a:lnTo>
                      <a:lnTo>
                        <a:pt x="86" y="222"/>
                      </a:lnTo>
                      <a:lnTo>
                        <a:pt x="85" y="222"/>
                      </a:lnTo>
                      <a:lnTo>
                        <a:pt x="85" y="222"/>
                      </a:lnTo>
                      <a:lnTo>
                        <a:pt x="84" y="222"/>
                      </a:lnTo>
                      <a:lnTo>
                        <a:pt x="84" y="222"/>
                      </a:lnTo>
                      <a:lnTo>
                        <a:pt x="83" y="222"/>
                      </a:lnTo>
                      <a:lnTo>
                        <a:pt x="84" y="222"/>
                      </a:lnTo>
                      <a:lnTo>
                        <a:pt x="84" y="221"/>
                      </a:lnTo>
                      <a:lnTo>
                        <a:pt x="84" y="221"/>
                      </a:lnTo>
                      <a:lnTo>
                        <a:pt x="84" y="221"/>
                      </a:lnTo>
                      <a:lnTo>
                        <a:pt x="83" y="222"/>
                      </a:lnTo>
                      <a:lnTo>
                        <a:pt x="83" y="221"/>
                      </a:lnTo>
                      <a:lnTo>
                        <a:pt x="84" y="221"/>
                      </a:lnTo>
                      <a:lnTo>
                        <a:pt x="83" y="221"/>
                      </a:lnTo>
                      <a:lnTo>
                        <a:pt x="84" y="221"/>
                      </a:lnTo>
                      <a:lnTo>
                        <a:pt x="83" y="221"/>
                      </a:lnTo>
                      <a:lnTo>
                        <a:pt x="83" y="222"/>
                      </a:lnTo>
                      <a:lnTo>
                        <a:pt x="83" y="222"/>
                      </a:lnTo>
                      <a:lnTo>
                        <a:pt x="82" y="222"/>
                      </a:lnTo>
                      <a:lnTo>
                        <a:pt x="83" y="222"/>
                      </a:lnTo>
                      <a:lnTo>
                        <a:pt x="82" y="222"/>
                      </a:lnTo>
                      <a:lnTo>
                        <a:pt x="83" y="222"/>
                      </a:lnTo>
                      <a:lnTo>
                        <a:pt x="83" y="222"/>
                      </a:lnTo>
                      <a:lnTo>
                        <a:pt x="83" y="222"/>
                      </a:lnTo>
                      <a:lnTo>
                        <a:pt x="83" y="222"/>
                      </a:lnTo>
                      <a:lnTo>
                        <a:pt x="83" y="222"/>
                      </a:lnTo>
                      <a:lnTo>
                        <a:pt x="83" y="222"/>
                      </a:lnTo>
                      <a:lnTo>
                        <a:pt x="83" y="222"/>
                      </a:lnTo>
                      <a:lnTo>
                        <a:pt x="83" y="222"/>
                      </a:lnTo>
                      <a:lnTo>
                        <a:pt x="83" y="222"/>
                      </a:lnTo>
                      <a:lnTo>
                        <a:pt x="83" y="222"/>
                      </a:lnTo>
                      <a:lnTo>
                        <a:pt x="84" y="222"/>
                      </a:lnTo>
                      <a:lnTo>
                        <a:pt x="83" y="222"/>
                      </a:lnTo>
                      <a:lnTo>
                        <a:pt x="83" y="223"/>
                      </a:lnTo>
                      <a:lnTo>
                        <a:pt x="82" y="223"/>
                      </a:lnTo>
                      <a:lnTo>
                        <a:pt x="81" y="223"/>
                      </a:lnTo>
                      <a:lnTo>
                        <a:pt x="82" y="223"/>
                      </a:lnTo>
                      <a:lnTo>
                        <a:pt x="83" y="223"/>
                      </a:lnTo>
                      <a:lnTo>
                        <a:pt x="83" y="222"/>
                      </a:lnTo>
                      <a:lnTo>
                        <a:pt x="83" y="222"/>
                      </a:lnTo>
                      <a:lnTo>
                        <a:pt x="83" y="223"/>
                      </a:lnTo>
                      <a:lnTo>
                        <a:pt x="83" y="223"/>
                      </a:lnTo>
                      <a:lnTo>
                        <a:pt x="82" y="223"/>
                      </a:lnTo>
                      <a:lnTo>
                        <a:pt x="81" y="223"/>
                      </a:lnTo>
                      <a:lnTo>
                        <a:pt x="82" y="223"/>
                      </a:lnTo>
                      <a:lnTo>
                        <a:pt x="81" y="223"/>
                      </a:lnTo>
                      <a:lnTo>
                        <a:pt x="81" y="223"/>
                      </a:lnTo>
                      <a:lnTo>
                        <a:pt x="80" y="223"/>
                      </a:lnTo>
                      <a:lnTo>
                        <a:pt x="80" y="223"/>
                      </a:lnTo>
                      <a:lnTo>
                        <a:pt x="80" y="223"/>
                      </a:lnTo>
                      <a:lnTo>
                        <a:pt x="79" y="223"/>
                      </a:lnTo>
                      <a:lnTo>
                        <a:pt x="79" y="223"/>
                      </a:lnTo>
                      <a:lnTo>
                        <a:pt x="78" y="223"/>
                      </a:lnTo>
                      <a:lnTo>
                        <a:pt x="78" y="223"/>
                      </a:lnTo>
                      <a:lnTo>
                        <a:pt x="77" y="223"/>
                      </a:lnTo>
                      <a:lnTo>
                        <a:pt x="77" y="223"/>
                      </a:lnTo>
                      <a:lnTo>
                        <a:pt x="76" y="223"/>
                      </a:lnTo>
                      <a:lnTo>
                        <a:pt x="77" y="223"/>
                      </a:lnTo>
                      <a:lnTo>
                        <a:pt x="76" y="223"/>
                      </a:lnTo>
                      <a:lnTo>
                        <a:pt x="76" y="223"/>
                      </a:lnTo>
                      <a:lnTo>
                        <a:pt x="75" y="223"/>
                      </a:lnTo>
                      <a:lnTo>
                        <a:pt x="74" y="223"/>
                      </a:lnTo>
                      <a:lnTo>
                        <a:pt x="75" y="223"/>
                      </a:lnTo>
                      <a:lnTo>
                        <a:pt x="76" y="223"/>
                      </a:lnTo>
                      <a:lnTo>
                        <a:pt x="75" y="223"/>
                      </a:lnTo>
                      <a:lnTo>
                        <a:pt x="75" y="224"/>
                      </a:lnTo>
                      <a:lnTo>
                        <a:pt x="75" y="223"/>
                      </a:lnTo>
                      <a:lnTo>
                        <a:pt x="75" y="224"/>
                      </a:lnTo>
                      <a:lnTo>
                        <a:pt x="74" y="224"/>
                      </a:lnTo>
                      <a:lnTo>
                        <a:pt x="74" y="225"/>
                      </a:lnTo>
                      <a:lnTo>
                        <a:pt x="74" y="225"/>
                      </a:lnTo>
                      <a:lnTo>
                        <a:pt x="74" y="225"/>
                      </a:lnTo>
                      <a:lnTo>
                        <a:pt x="74" y="225"/>
                      </a:lnTo>
                      <a:lnTo>
                        <a:pt x="74" y="225"/>
                      </a:lnTo>
                      <a:lnTo>
                        <a:pt x="74" y="226"/>
                      </a:lnTo>
                      <a:lnTo>
                        <a:pt x="74" y="225"/>
                      </a:lnTo>
                      <a:lnTo>
                        <a:pt x="74" y="226"/>
                      </a:lnTo>
                      <a:lnTo>
                        <a:pt x="74" y="225"/>
                      </a:lnTo>
                      <a:lnTo>
                        <a:pt x="74" y="226"/>
                      </a:lnTo>
                      <a:lnTo>
                        <a:pt x="74" y="225"/>
                      </a:lnTo>
                      <a:lnTo>
                        <a:pt x="74" y="226"/>
                      </a:lnTo>
                      <a:lnTo>
                        <a:pt x="74" y="226"/>
                      </a:lnTo>
                      <a:lnTo>
                        <a:pt x="74" y="226"/>
                      </a:lnTo>
                      <a:lnTo>
                        <a:pt x="73" y="226"/>
                      </a:lnTo>
                      <a:lnTo>
                        <a:pt x="73" y="226"/>
                      </a:lnTo>
                      <a:lnTo>
                        <a:pt x="73" y="227"/>
                      </a:lnTo>
                      <a:lnTo>
                        <a:pt x="73" y="227"/>
                      </a:lnTo>
                      <a:lnTo>
                        <a:pt x="73" y="226"/>
                      </a:lnTo>
                      <a:lnTo>
                        <a:pt x="73" y="227"/>
                      </a:lnTo>
                      <a:lnTo>
                        <a:pt x="73" y="227"/>
                      </a:lnTo>
                      <a:lnTo>
                        <a:pt x="73" y="227"/>
                      </a:lnTo>
                      <a:lnTo>
                        <a:pt x="72" y="228"/>
                      </a:lnTo>
                      <a:lnTo>
                        <a:pt x="72" y="228"/>
                      </a:lnTo>
                      <a:lnTo>
                        <a:pt x="71" y="228"/>
                      </a:lnTo>
                      <a:lnTo>
                        <a:pt x="72" y="228"/>
                      </a:lnTo>
                      <a:lnTo>
                        <a:pt x="71" y="228"/>
                      </a:lnTo>
                      <a:lnTo>
                        <a:pt x="71" y="227"/>
                      </a:lnTo>
                      <a:lnTo>
                        <a:pt x="70" y="227"/>
                      </a:lnTo>
                      <a:lnTo>
                        <a:pt x="70" y="227"/>
                      </a:lnTo>
                      <a:lnTo>
                        <a:pt x="70" y="227"/>
                      </a:lnTo>
                      <a:lnTo>
                        <a:pt x="70" y="227"/>
                      </a:lnTo>
                      <a:lnTo>
                        <a:pt x="69" y="227"/>
                      </a:lnTo>
                      <a:lnTo>
                        <a:pt x="69" y="227"/>
                      </a:lnTo>
                      <a:lnTo>
                        <a:pt x="69" y="227"/>
                      </a:lnTo>
                      <a:lnTo>
                        <a:pt x="69" y="227"/>
                      </a:lnTo>
                      <a:lnTo>
                        <a:pt x="69" y="227"/>
                      </a:lnTo>
                      <a:lnTo>
                        <a:pt x="70" y="227"/>
                      </a:lnTo>
                      <a:lnTo>
                        <a:pt x="70" y="227"/>
                      </a:lnTo>
                      <a:lnTo>
                        <a:pt x="70" y="227"/>
                      </a:lnTo>
                      <a:lnTo>
                        <a:pt x="70" y="227"/>
                      </a:lnTo>
                      <a:lnTo>
                        <a:pt x="71" y="227"/>
                      </a:lnTo>
                      <a:lnTo>
                        <a:pt x="71" y="228"/>
                      </a:lnTo>
                      <a:lnTo>
                        <a:pt x="72" y="228"/>
                      </a:lnTo>
                      <a:lnTo>
                        <a:pt x="71" y="228"/>
                      </a:lnTo>
                      <a:lnTo>
                        <a:pt x="71" y="229"/>
                      </a:lnTo>
                      <a:lnTo>
                        <a:pt x="71" y="228"/>
                      </a:lnTo>
                      <a:lnTo>
                        <a:pt x="72" y="228"/>
                      </a:lnTo>
                      <a:lnTo>
                        <a:pt x="72" y="228"/>
                      </a:lnTo>
                      <a:lnTo>
                        <a:pt x="72" y="229"/>
                      </a:lnTo>
                      <a:lnTo>
                        <a:pt x="72" y="229"/>
                      </a:lnTo>
                      <a:lnTo>
                        <a:pt x="71" y="229"/>
                      </a:lnTo>
                      <a:lnTo>
                        <a:pt x="71" y="229"/>
                      </a:lnTo>
                      <a:lnTo>
                        <a:pt x="70" y="229"/>
                      </a:lnTo>
                      <a:lnTo>
                        <a:pt x="70" y="229"/>
                      </a:lnTo>
                      <a:lnTo>
                        <a:pt x="70" y="230"/>
                      </a:lnTo>
                      <a:lnTo>
                        <a:pt x="69" y="230"/>
                      </a:lnTo>
                      <a:lnTo>
                        <a:pt x="69" y="230"/>
                      </a:lnTo>
                      <a:lnTo>
                        <a:pt x="69" y="230"/>
                      </a:lnTo>
                      <a:lnTo>
                        <a:pt x="69" y="230"/>
                      </a:lnTo>
                      <a:lnTo>
                        <a:pt x="69" y="229"/>
                      </a:lnTo>
                      <a:lnTo>
                        <a:pt x="69" y="230"/>
                      </a:lnTo>
                      <a:lnTo>
                        <a:pt x="69" y="229"/>
                      </a:lnTo>
                      <a:lnTo>
                        <a:pt x="69" y="230"/>
                      </a:lnTo>
                      <a:lnTo>
                        <a:pt x="68" y="230"/>
                      </a:lnTo>
                      <a:lnTo>
                        <a:pt x="69" y="230"/>
                      </a:lnTo>
                      <a:lnTo>
                        <a:pt x="69" y="230"/>
                      </a:lnTo>
                      <a:lnTo>
                        <a:pt x="68" y="230"/>
                      </a:lnTo>
                      <a:lnTo>
                        <a:pt x="67" y="230"/>
                      </a:lnTo>
                      <a:lnTo>
                        <a:pt x="67" y="231"/>
                      </a:lnTo>
                      <a:lnTo>
                        <a:pt x="67" y="230"/>
                      </a:lnTo>
                      <a:lnTo>
                        <a:pt x="67" y="231"/>
                      </a:lnTo>
                      <a:lnTo>
                        <a:pt x="67" y="231"/>
                      </a:lnTo>
                      <a:lnTo>
                        <a:pt x="67" y="230"/>
                      </a:lnTo>
                      <a:lnTo>
                        <a:pt x="66" y="230"/>
                      </a:lnTo>
                      <a:lnTo>
                        <a:pt x="67" y="230"/>
                      </a:lnTo>
                      <a:lnTo>
                        <a:pt x="66" y="230"/>
                      </a:lnTo>
                      <a:lnTo>
                        <a:pt x="66" y="231"/>
                      </a:lnTo>
                      <a:lnTo>
                        <a:pt x="67" y="231"/>
                      </a:lnTo>
                      <a:lnTo>
                        <a:pt x="67" y="231"/>
                      </a:lnTo>
                      <a:lnTo>
                        <a:pt x="68" y="231"/>
                      </a:lnTo>
                      <a:lnTo>
                        <a:pt x="68" y="230"/>
                      </a:lnTo>
                      <a:lnTo>
                        <a:pt x="68" y="231"/>
                      </a:lnTo>
                      <a:lnTo>
                        <a:pt x="68" y="230"/>
                      </a:lnTo>
                      <a:lnTo>
                        <a:pt x="68" y="231"/>
                      </a:lnTo>
                      <a:lnTo>
                        <a:pt x="67" y="231"/>
                      </a:lnTo>
                      <a:lnTo>
                        <a:pt x="67" y="232"/>
                      </a:lnTo>
                      <a:lnTo>
                        <a:pt x="68" y="231"/>
                      </a:lnTo>
                      <a:lnTo>
                        <a:pt x="68" y="232"/>
                      </a:lnTo>
                      <a:lnTo>
                        <a:pt x="67" y="232"/>
                      </a:lnTo>
                      <a:lnTo>
                        <a:pt x="67" y="232"/>
                      </a:lnTo>
                      <a:lnTo>
                        <a:pt x="67" y="232"/>
                      </a:lnTo>
                      <a:lnTo>
                        <a:pt x="67" y="232"/>
                      </a:lnTo>
                      <a:lnTo>
                        <a:pt x="67" y="232"/>
                      </a:lnTo>
                      <a:lnTo>
                        <a:pt x="67" y="233"/>
                      </a:lnTo>
                      <a:lnTo>
                        <a:pt x="66" y="233"/>
                      </a:lnTo>
                      <a:lnTo>
                        <a:pt x="67" y="233"/>
                      </a:lnTo>
                      <a:lnTo>
                        <a:pt x="66" y="233"/>
                      </a:lnTo>
                      <a:lnTo>
                        <a:pt x="67" y="233"/>
                      </a:lnTo>
                      <a:lnTo>
                        <a:pt x="66" y="233"/>
                      </a:lnTo>
                      <a:lnTo>
                        <a:pt x="66" y="234"/>
                      </a:lnTo>
                      <a:lnTo>
                        <a:pt x="66" y="234"/>
                      </a:lnTo>
                      <a:lnTo>
                        <a:pt x="66" y="234"/>
                      </a:lnTo>
                      <a:lnTo>
                        <a:pt x="66" y="233"/>
                      </a:lnTo>
                      <a:lnTo>
                        <a:pt x="66" y="234"/>
                      </a:lnTo>
                      <a:lnTo>
                        <a:pt x="67" y="233"/>
                      </a:lnTo>
                      <a:lnTo>
                        <a:pt x="67" y="234"/>
                      </a:lnTo>
                      <a:lnTo>
                        <a:pt x="66" y="234"/>
                      </a:lnTo>
                      <a:lnTo>
                        <a:pt x="67" y="234"/>
                      </a:lnTo>
                      <a:lnTo>
                        <a:pt x="66" y="234"/>
                      </a:lnTo>
                      <a:lnTo>
                        <a:pt x="66" y="234"/>
                      </a:lnTo>
                      <a:lnTo>
                        <a:pt x="66" y="234"/>
                      </a:lnTo>
                      <a:lnTo>
                        <a:pt x="66" y="234"/>
                      </a:lnTo>
                      <a:lnTo>
                        <a:pt x="66" y="233"/>
                      </a:lnTo>
                      <a:lnTo>
                        <a:pt x="65" y="233"/>
                      </a:lnTo>
                      <a:lnTo>
                        <a:pt x="65" y="233"/>
                      </a:lnTo>
                      <a:lnTo>
                        <a:pt x="65" y="233"/>
                      </a:lnTo>
                      <a:lnTo>
                        <a:pt x="65" y="232"/>
                      </a:lnTo>
                      <a:lnTo>
                        <a:pt x="65" y="232"/>
                      </a:lnTo>
                      <a:lnTo>
                        <a:pt x="65" y="231"/>
                      </a:lnTo>
                      <a:lnTo>
                        <a:pt x="64" y="231"/>
                      </a:lnTo>
                      <a:lnTo>
                        <a:pt x="64" y="232"/>
                      </a:lnTo>
                      <a:lnTo>
                        <a:pt x="63" y="232"/>
                      </a:lnTo>
                      <a:lnTo>
                        <a:pt x="63" y="232"/>
                      </a:lnTo>
                      <a:lnTo>
                        <a:pt x="63" y="232"/>
                      </a:lnTo>
                      <a:lnTo>
                        <a:pt x="63" y="233"/>
                      </a:lnTo>
                      <a:lnTo>
                        <a:pt x="63" y="233"/>
                      </a:lnTo>
                      <a:lnTo>
                        <a:pt x="63" y="234"/>
                      </a:lnTo>
                      <a:lnTo>
                        <a:pt x="63" y="234"/>
                      </a:lnTo>
                      <a:lnTo>
                        <a:pt x="64" y="234"/>
                      </a:lnTo>
                      <a:lnTo>
                        <a:pt x="65" y="234"/>
                      </a:lnTo>
                      <a:lnTo>
                        <a:pt x="65" y="234"/>
                      </a:lnTo>
                      <a:lnTo>
                        <a:pt x="65" y="234"/>
                      </a:lnTo>
                      <a:lnTo>
                        <a:pt x="65" y="234"/>
                      </a:lnTo>
                      <a:lnTo>
                        <a:pt x="65" y="234"/>
                      </a:lnTo>
                      <a:lnTo>
                        <a:pt x="65" y="234"/>
                      </a:lnTo>
                      <a:lnTo>
                        <a:pt x="65" y="234"/>
                      </a:lnTo>
                      <a:lnTo>
                        <a:pt x="65" y="234"/>
                      </a:lnTo>
                      <a:lnTo>
                        <a:pt x="64" y="234"/>
                      </a:lnTo>
                      <a:lnTo>
                        <a:pt x="63" y="234"/>
                      </a:lnTo>
                      <a:lnTo>
                        <a:pt x="63" y="234"/>
                      </a:lnTo>
                      <a:lnTo>
                        <a:pt x="62" y="234"/>
                      </a:lnTo>
                      <a:lnTo>
                        <a:pt x="62" y="235"/>
                      </a:lnTo>
                      <a:lnTo>
                        <a:pt x="63" y="234"/>
                      </a:lnTo>
                      <a:lnTo>
                        <a:pt x="63" y="234"/>
                      </a:lnTo>
                      <a:lnTo>
                        <a:pt x="64" y="234"/>
                      </a:lnTo>
                      <a:lnTo>
                        <a:pt x="63" y="234"/>
                      </a:lnTo>
                      <a:lnTo>
                        <a:pt x="63" y="235"/>
                      </a:lnTo>
                      <a:lnTo>
                        <a:pt x="63" y="234"/>
                      </a:lnTo>
                      <a:lnTo>
                        <a:pt x="63" y="235"/>
                      </a:lnTo>
                      <a:lnTo>
                        <a:pt x="64" y="235"/>
                      </a:lnTo>
                      <a:lnTo>
                        <a:pt x="64" y="234"/>
                      </a:lnTo>
                      <a:lnTo>
                        <a:pt x="63" y="235"/>
                      </a:lnTo>
                      <a:lnTo>
                        <a:pt x="63" y="235"/>
                      </a:lnTo>
                      <a:lnTo>
                        <a:pt x="63" y="235"/>
                      </a:lnTo>
                      <a:lnTo>
                        <a:pt x="63" y="236"/>
                      </a:lnTo>
                      <a:lnTo>
                        <a:pt x="63" y="235"/>
                      </a:lnTo>
                      <a:lnTo>
                        <a:pt x="63" y="235"/>
                      </a:lnTo>
                      <a:lnTo>
                        <a:pt x="63" y="236"/>
                      </a:lnTo>
                      <a:lnTo>
                        <a:pt x="63" y="236"/>
                      </a:lnTo>
                      <a:lnTo>
                        <a:pt x="63" y="236"/>
                      </a:lnTo>
                      <a:lnTo>
                        <a:pt x="63" y="236"/>
                      </a:lnTo>
                      <a:lnTo>
                        <a:pt x="63" y="236"/>
                      </a:lnTo>
                      <a:lnTo>
                        <a:pt x="63" y="236"/>
                      </a:lnTo>
                      <a:lnTo>
                        <a:pt x="63" y="236"/>
                      </a:lnTo>
                      <a:lnTo>
                        <a:pt x="63" y="236"/>
                      </a:lnTo>
                      <a:lnTo>
                        <a:pt x="63" y="236"/>
                      </a:lnTo>
                      <a:lnTo>
                        <a:pt x="63" y="236"/>
                      </a:lnTo>
                      <a:lnTo>
                        <a:pt x="63" y="237"/>
                      </a:lnTo>
                      <a:lnTo>
                        <a:pt x="62" y="237"/>
                      </a:lnTo>
                      <a:lnTo>
                        <a:pt x="62" y="236"/>
                      </a:lnTo>
                      <a:lnTo>
                        <a:pt x="62" y="236"/>
                      </a:lnTo>
                      <a:lnTo>
                        <a:pt x="62" y="236"/>
                      </a:lnTo>
                      <a:lnTo>
                        <a:pt x="62" y="237"/>
                      </a:lnTo>
                      <a:lnTo>
                        <a:pt x="62" y="237"/>
                      </a:lnTo>
                      <a:lnTo>
                        <a:pt x="62" y="237"/>
                      </a:lnTo>
                      <a:lnTo>
                        <a:pt x="62" y="237"/>
                      </a:lnTo>
                      <a:lnTo>
                        <a:pt x="62" y="237"/>
                      </a:lnTo>
                      <a:lnTo>
                        <a:pt x="62" y="238"/>
                      </a:lnTo>
                      <a:lnTo>
                        <a:pt x="62" y="237"/>
                      </a:lnTo>
                      <a:lnTo>
                        <a:pt x="62" y="238"/>
                      </a:lnTo>
                      <a:lnTo>
                        <a:pt x="62" y="238"/>
                      </a:lnTo>
                      <a:lnTo>
                        <a:pt x="62" y="238"/>
                      </a:lnTo>
                      <a:lnTo>
                        <a:pt x="62" y="238"/>
                      </a:lnTo>
                      <a:lnTo>
                        <a:pt x="62" y="238"/>
                      </a:lnTo>
                      <a:lnTo>
                        <a:pt x="62" y="238"/>
                      </a:lnTo>
                      <a:lnTo>
                        <a:pt x="62" y="238"/>
                      </a:lnTo>
                      <a:lnTo>
                        <a:pt x="62" y="238"/>
                      </a:lnTo>
                      <a:lnTo>
                        <a:pt x="62" y="238"/>
                      </a:lnTo>
                      <a:lnTo>
                        <a:pt x="62" y="238"/>
                      </a:lnTo>
                      <a:lnTo>
                        <a:pt x="62" y="238"/>
                      </a:lnTo>
                      <a:lnTo>
                        <a:pt x="62" y="237"/>
                      </a:lnTo>
                      <a:lnTo>
                        <a:pt x="62" y="237"/>
                      </a:lnTo>
                      <a:lnTo>
                        <a:pt x="62" y="237"/>
                      </a:lnTo>
                      <a:lnTo>
                        <a:pt x="63" y="237"/>
                      </a:lnTo>
                      <a:lnTo>
                        <a:pt x="63" y="236"/>
                      </a:lnTo>
                      <a:lnTo>
                        <a:pt x="63" y="237"/>
                      </a:lnTo>
                      <a:lnTo>
                        <a:pt x="63" y="237"/>
                      </a:lnTo>
                      <a:lnTo>
                        <a:pt x="63" y="237"/>
                      </a:lnTo>
                      <a:lnTo>
                        <a:pt x="63" y="237"/>
                      </a:lnTo>
                      <a:lnTo>
                        <a:pt x="63" y="237"/>
                      </a:lnTo>
                      <a:lnTo>
                        <a:pt x="62" y="237"/>
                      </a:lnTo>
                      <a:lnTo>
                        <a:pt x="63" y="237"/>
                      </a:lnTo>
                      <a:lnTo>
                        <a:pt x="63" y="237"/>
                      </a:lnTo>
                      <a:lnTo>
                        <a:pt x="63" y="237"/>
                      </a:lnTo>
                      <a:lnTo>
                        <a:pt x="63" y="237"/>
                      </a:lnTo>
                      <a:lnTo>
                        <a:pt x="63" y="237"/>
                      </a:lnTo>
                      <a:lnTo>
                        <a:pt x="63" y="237"/>
                      </a:lnTo>
                      <a:lnTo>
                        <a:pt x="63" y="237"/>
                      </a:lnTo>
                      <a:lnTo>
                        <a:pt x="63" y="237"/>
                      </a:lnTo>
                      <a:lnTo>
                        <a:pt x="63" y="237"/>
                      </a:lnTo>
                      <a:lnTo>
                        <a:pt x="63" y="238"/>
                      </a:lnTo>
                      <a:lnTo>
                        <a:pt x="63" y="237"/>
                      </a:lnTo>
                      <a:lnTo>
                        <a:pt x="64" y="237"/>
                      </a:lnTo>
                      <a:lnTo>
                        <a:pt x="63" y="237"/>
                      </a:lnTo>
                      <a:lnTo>
                        <a:pt x="64" y="237"/>
                      </a:lnTo>
                      <a:lnTo>
                        <a:pt x="63" y="237"/>
                      </a:lnTo>
                      <a:lnTo>
                        <a:pt x="63" y="238"/>
                      </a:lnTo>
                      <a:lnTo>
                        <a:pt x="63" y="237"/>
                      </a:lnTo>
                      <a:lnTo>
                        <a:pt x="64" y="237"/>
                      </a:lnTo>
                      <a:lnTo>
                        <a:pt x="63" y="237"/>
                      </a:lnTo>
                      <a:lnTo>
                        <a:pt x="64" y="237"/>
                      </a:lnTo>
                      <a:lnTo>
                        <a:pt x="64" y="237"/>
                      </a:lnTo>
                      <a:lnTo>
                        <a:pt x="64" y="237"/>
                      </a:lnTo>
                      <a:lnTo>
                        <a:pt x="63" y="237"/>
                      </a:lnTo>
                      <a:lnTo>
                        <a:pt x="63" y="237"/>
                      </a:lnTo>
                      <a:lnTo>
                        <a:pt x="63" y="237"/>
                      </a:lnTo>
                      <a:lnTo>
                        <a:pt x="64" y="237"/>
                      </a:lnTo>
                      <a:lnTo>
                        <a:pt x="63" y="237"/>
                      </a:lnTo>
                      <a:lnTo>
                        <a:pt x="63" y="236"/>
                      </a:lnTo>
                      <a:lnTo>
                        <a:pt x="63" y="237"/>
                      </a:lnTo>
                      <a:lnTo>
                        <a:pt x="63" y="236"/>
                      </a:lnTo>
                      <a:lnTo>
                        <a:pt x="64" y="237"/>
                      </a:lnTo>
                      <a:lnTo>
                        <a:pt x="64" y="236"/>
                      </a:lnTo>
                      <a:lnTo>
                        <a:pt x="64" y="237"/>
                      </a:lnTo>
                      <a:lnTo>
                        <a:pt x="65" y="237"/>
                      </a:lnTo>
                      <a:lnTo>
                        <a:pt x="64" y="237"/>
                      </a:lnTo>
                      <a:lnTo>
                        <a:pt x="65" y="237"/>
                      </a:lnTo>
                      <a:lnTo>
                        <a:pt x="65" y="236"/>
                      </a:lnTo>
                      <a:lnTo>
                        <a:pt x="64" y="236"/>
                      </a:lnTo>
                      <a:lnTo>
                        <a:pt x="65" y="236"/>
                      </a:lnTo>
                      <a:lnTo>
                        <a:pt x="65" y="237"/>
                      </a:lnTo>
                      <a:lnTo>
                        <a:pt x="64" y="236"/>
                      </a:lnTo>
                      <a:lnTo>
                        <a:pt x="63" y="236"/>
                      </a:lnTo>
                      <a:lnTo>
                        <a:pt x="63" y="237"/>
                      </a:lnTo>
                      <a:lnTo>
                        <a:pt x="63" y="237"/>
                      </a:lnTo>
                      <a:lnTo>
                        <a:pt x="63" y="237"/>
                      </a:lnTo>
                      <a:lnTo>
                        <a:pt x="63" y="237"/>
                      </a:lnTo>
                      <a:lnTo>
                        <a:pt x="63" y="236"/>
                      </a:lnTo>
                      <a:lnTo>
                        <a:pt x="63" y="236"/>
                      </a:lnTo>
                      <a:lnTo>
                        <a:pt x="63" y="236"/>
                      </a:lnTo>
                      <a:lnTo>
                        <a:pt x="63" y="235"/>
                      </a:lnTo>
                      <a:lnTo>
                        <a:pt x="63" y="236"/>
                      </a:lnTo>
                      <a:lnTo>
                        <a:pt x="63" y="235"/>
                      </a:lnTo>
                      <a:lnTo>
                        <a:pt x="64" y="235"/>
                      </a:lnTo>
                      <a:lnTo>
                        <a:pt x="64" y="234"/>
                      </a:lnTo>
                      <a:lnTo>
                        <a:pt x="65" y="234"/>
                      </a:lnTo>
                      <a:lnTo>
                        <a:pt x="65" y="234"/>
                      </a:lnTo>
                      <a:lnTo>
                        <a:pt x="66" y="234"/>
                      </a:lnTo>
                      <a:lnTo>
                        <a:pt x="66" y="234"/>
                      </a:lnTo>
                      <a:lnTo>
                        <a:pt x="66" y="234"/>
                      </a:lnTo>
                      <a:lnTo>
                        <a:pt x="66" y="234"/>
                      </a:lnTo>
                      <a:lnTo>
                        <a:pt x="66" y="234"/>
                      </a:lnTo>
                      <a:lnTo>
                        <a:pt x="66" y="234"/>
                      </a:lnTo>
                      <a:lnTo>
                        <a:pt x="66" y="234"/>
                      </a:lnTo>
                      <a:lnTo>
                        <a:pt x="66" y="234"/>
                      </a:lnTo>
                      <a:lnTo>
                        <a:pt x="65" y="234"/>
                      </a:lnTo>
                      <a:lnTo>
                        <a:pt x="65" y="234"/>
                      </a:lnTo>
                      <a:lnTo>
                        <a:pt x="65" y="235"/>
                      </a:lnTo>
                      <a:lnTo>
                        <a:pt x="65" y="235"/>
                      </a:lnTo>
                      <a:lnTo>
                        <a:pt x="65" y="234"/>
                      </a:lnTo>
                      <a:lnTo>
                        <a:pt x="65" y="235"/>
                      </a:lnTo>
                      <a:lnTo>
                        <a:pt x="65" y="234"/>
                      </a:lnTo>
                      <a:lnTo>
                        <a:pt x="65" y="235"/>
                      </a:lnTo>
                      <a:lnTo>
                        <a:pt x="65" y="234"/>
                      </a:lnTo>
                      <a:lnTo>
                        <a:pt x="66" y="234"/>
                      </a:lnTo>
                      <a:lnTo>
                        <a:pt x="65" y="234"/>
                      </a:lnTo>
                      <a:lnTo>
                        <a:pt x="65" y="235"/>
                      </a:lnTo>
                      <a:lnTo>
                        <a:pt x="65" y="235"/>
                      </a:lnTo>
                      <a:lnTo>
                        <a:pt x="65" y="236"/>
                      </a:lnTo>
                      <a:lnTo>
                        <a:pt x="65" y="235"/>
                      </a:lnTo>
                      <a:lnTo>
                        <a:pt x="65" y="235"/>
                      </a:lnTo>
                      <a:lnTo>
                        <a:pt x="65" y="236"/>
                      </a:lnTo>
                      <a:lnTo>
                        <a:pt x="65" y="236"/>
                      </a:lnTo>
                      <a:lnTo>
                        <a:pt x="65" y="236"/>
                      </a:lnTo>
                      <a:lnTo>
                        <a:pt x="65" y="236"/>
                      </a:lnTo>
                      <a:lnTo>
                        <a:pt x="65" y="236"/>
                      </a:lnTo>
                      <a:lnTo>
                        <a:pt x="66" y="236"/>
                      </a:lnTo>
                      <a:lnTo>
                        <a:pt x="65" y="236"/>
                      </a:lnTo>
                      <a:lnTo>
                        <a:pt x="65" y="236"/>
                      </a:lnTo>
                      <a:lnTo>
                        <a:pt x="66" y="236"/>
                      </a:lnTo>
                      <a:lnTo>
                        <a:pt x="65" y="236"/>
                      </a:lnTo>
                      <a:lnTo>
                        <a:pt x="65" y="236"/>
                      </a:lnTo>
                      <a:lnTo>
                        <a:pt x="65" y="236"/>
                      </a:lnTo>
                      <a:lnTo>
                        <a:pt x="65" y="236"/>
                      </a:lnTo>
                      <a:lnTo>
                        <a:pt x="65" y="236"/>
                      </a:lnTo>
                      <a:lnTo>
                        <a:pt x="65" y="236"/>
                      </a:lnTo>
                      <a:lnTo>
                        <a:pt x="65" y="236"/>
                      </a:lnTo>
                      <a:lnTo>
                        <a:pt x="65" y="236"/>
                      </a:lnTo>
                      <a:lnTo>
                        <a:pt x="65" y="236"/>
                      </a:lnTo>
                      <a:lnTo>
                        <a:pt x="65" y="236"/>
                      </a:lnTo>
                      <a:lnTo>
                        <a:pt x="65" y="237"/>
                      </a:lnTo>
                      <a:lnTo>
                        <a:pt x="65" y="236"/>
                      </a:lnTo>
                      <a:lnTo>
                        <a:pt x="65" y="237"/>
                      </a:lnTo>
                      <a:lnTo>
                        <a:pt x="65" y="236"/>
                      </a:lnTo>
                      <a:lnTo>
                        <a:pt x="65" y="237"/>
                      </a:lnTo>
                      <a:lnTo>
                        <a:pt x="65" y="237"/>
                      </a:lnTo>
                      <a:lnTo>
                        <a:pt x="65" y="237"/>
                      </a:lnTo>
                      <a:lnTo>
                        <a:pt x="65" y="236"/>
                      </a:lnTo>
                      <a:lnTo>
                        <a:pt x="65" y="237"/>
                      </a:lnTo>
                      <a:lnTo>
                        <a:pt x="65" y="236"/>
                      </a:lnTo>
                      <a:lnTo>
                        <a:pt x="66" y="236"/>
                      </a:lnTo>
                      <a:lnTo>
                        <a:pt x="65" y="236"/>
                      </a:lnTo>
                      <a:lnTo>
                        <a:pt x="65" y="237"/>
                      </a:lnTo>
                      <a:lnTo>
                        <a:pt x="65" y="237"/>
                      </a:lnTo>
                      <a:lnTo>
                        <a:pt x="64" y="237"/>
                      </a:lnTo>
                      <a:lnTo>
                        <a:pt x="64" y="237"/>
                      </a:lnTo>
                      <a:lnTo>
                        <a:pt x="65" y="237"/>
                      </a:lnTo>
                      <a:lnTo>
                        <a:pt x="64" y="237"/>
                      </a:lnTo>
                      <a:lnTo>
                        <a:pt x="65" y="237"/>
                      </a:lnTo>
                      <a:lnTo>
                        <a:pt x="65" y="237"/>
                      </a:lnTo>
                      <a:lnTo>
                        <a:pt x="64" y="237"/>
                      </a:lnTo>
                      <a:lnTo>
                        <a:pt x="65" y="237"/>
                      </a:lnTo>
                      <a:lnTo>
                        <a:pt x="65" y="237"/>
                      </a:lnTo>
                      <a:lnTo>
                        <a:pt x="65" y="238"/>
                      </a:lnTo>
                      <a:lnTo>
                        <a:pt x="64" y="238"/>
                      </a:lnTo>
                      <a:lnTo>
                        <a:pt x="65" y="238"/>
                      </a:lnTo>
                      <a:lnTo>
                        <a:pt x="64" y="238"/>
                      </a:lnTo>
                      <a:lnTo>
                        <a:pt x="65" y="238"/>
                      </a:lnTo>
                      <a:lnTo>
                        <a:pt x="64" y="238"/>
                      </a:lnTo>
                      <a:lnTo>
                        <a:pt x="65" y="238"/>
                      </a:lnTo>
                      <a:lnTo>
                        <a:pt x="64" y="238"/>
                      </a:lnTo>
                      <a:lnTo>
                        <a:pt x="65" y="238"/>
                      </a:lnTo>
                      <a:lnTo>
                        <a:pt x="64" y="238"/>
                      </a:lnTo>
                      <a:lnTo>
                        <a:pt x="64" y="238"/>
                      </a:lnTo>
                      <a:lnTo>
                        <a:pt x="65" y="238"/>
                      </a:lnTo>
                      <a:lnTo>
                        <a:pt x="64" y="238"/>
                      </a:lnTo>
                      <a:lnTo>
                        <a:pt x="65" y="238"/>
                      </a:lnTo>
                      <a:lnTo>
                        <a:pt x="65" y="238"/>
                      </a:lnTo>
                      <a:lnTo>
                        <a:pt x="65" y="238"/>
                      </a:lnTo>
                      <a:lnTo>
                        <a:pt x="65" y="238"/>
                      </a:lnTo>
                      <a:lnTo>
                        <a:pt x="65" y="237"/>
                      </a:lnTo>
                      <a:lnTo>
                        <a:pt x="65" y="238"/>
                      </a:lnTo>
                      <a:lnTo>
                        <a:pt x="65" y="237"/>
                      </a:lnTo>
                      <a:lnTo>
                        <a:pt x="65" y="238"/>
                      </a:lnTo>
                      <a:lnTo>
                        <a:pt x="65" y="238"/>
                      </a:lnTo>
                      <a:lnTo>
                        <a:pt x="64" y="238"/>
                      </a:lnTo>
                      <a:lnTo>
                        <a:pt x="65" y="238"/>
                      </a:lnTo>
                      <a:lnTo>
                        <a:pt x="65" y="238"/>
                      </a:lnTo>
                      <a:lnTo>
                        <a:pt x="65" y="238"/>
                      </a:lnTo>
                      <a:lnTo>
                        <a:pt x="65" y="239"/>
                      </a:lnTo>
                      <a:lnTo>
                        <a:pt x="65" y="238"/>
                      </a:lnTo>
                      <a:lnTo>
                        <a:pt x="64" y="238"/>
                      </a:lnTo>
                      <a:lnTo>
                        <a:pt x="64" y="239"/>
                      </a:lnTo>
                      <a:lnTo>
                        <a:pt x="63" y="239"/>
                      </a:lnTo>
                      <a:lnTo>
                        <a:pt x="63" y="240"/>
                      </a:lnTo>
                      <a:lnTo>
                        <a:pt x="63" y="240"/>
                      </a:lnTo>
                      <a:lnTo>
                        <a:pt x="63" y="240"/>
                      </a:lnTo>
                      <a:lnTo>
                        <a:pt x="62" y="240"/>
                      </a:lnTo>
                      <a:lnTo>
                        <a:pt x="63" y="240"/>
                      </a:lnTo>
                      <a:lnTo>
                        <a:pt x="62" y="240"/>
                      </a:lnTo>
                      <a:lnTo>
                        <a:pt x="62" y="241"/>
                      </a:lnTo>
                      <a:lnTo>
                        <a:pt x="62" y="241"/>
                      </a:lnTo>
                      <a:lnTo>
                        <a:pt x="61" y="241"/>
                      </a:lnTo>
                      <a:lnTo>
                        <a:pt x="62" y="241"/>
                      </a:lnTo>
                      <a:lnTo>
                        <a:pt x="61" y="241"/>
                      </a:lnTo>
                      <a:lnTo>
                        <a:pt x="61" y="240"/>
                      </a:lnTo>
                      <a:lnTo>
                        <a:pt x="61" y="240"/>
                      </a:lnTo>
                      <a:lnTo>
                        <a:pt x="61" y="239"/>
                      </a:lnTo>
                      <a:lnTo>
                        <a:pt x="62" y="239"/>
                      </a:lnTo>
                      <a:lnTo>
                        <a:pt x="61" y="239"/>
                      </a:lnTo>
                      <a:lnTo>
                        <a:pt x="61" y="240"/>
                      </a:lnTo>
                      <a:lnTo>
                        <a:pt x="61" y="239"/>
                      </a:lnTo>
                      <a:lnTo>
                        <a:pt x="61" y="240"/>
                      </a:lnTo>
                      <a:lnTo>
                        <a:pt x="61" y="239"/>
                      </a:lnTo>
                      <a:lnTo>
                        <a:pt x="61" y="239"/>
                      </a:lnTo>
                      <a:lnTo>
                        <a:pt x="61" y="238"/>
                      </a:lnTo>
                      <a:lnTo>
                        <a:pt x="61" y="239"/>
                      </a:lnTo>
                      <a:lnTo>
                        <a:pt x="61" y="238"/>
                      </a:lnTo>
                      <a:lnTo>
                        <a:pt x="61" y="239"/>
                      </a:lnTo>
                      <a:lnTo>
                        <a:pt x="61" y="239"/>
                      </a:lnTo>
                      <a:lnTo>
                        <a:pt x="60" y="239"/>
                      </a:lnTo>
                      <a:lnTo>
                        <a:pt x="60" y="240"/>
                      </a:lnTo>
                      <a:lnTo>
                        <a:pt x="60" y="240"/>
                      </a:lnTo>
                      <a:lnTo>
                        <a:pt x="61" y="240"/>
                      </a:lnTo>
                      <a:lnTo>
                        <a:pt x="61" y="241"/>
                      </a:lnTo>
                      <a:lnTo>
                        <a:pt x="61" y="240"/>
                      </a:lnTo>
                      <a:lnTo>
                        <a:pt x="61" y="241"/>
                      </a:lnTo>
                      <a:lnTo>
                        <a:pt x="61" y="240"/>
                      </a:lnTo>
                      <a:lnTo>
                        <a:pt x="61" y="241"/>
                      </a:lnTo>
                      <a:lnTo>
                        <a:pt x="61" y="241"/>
                      </a:lnTo>
                      <a:lnTo>
                        <a:pt x="61" y="242"/>
                      </a:lnTo>
                      <a:lnTo>
                        <a:pt x="61" y="241"/>
                      </a:lnTo>
                      <a:lnTo>
                        <a:pt x="61" y="242"/>
                      </a:lnTo>
                      <a:lnTo>
                        <a:pt x="61" y="243"/>
                      </a:lnTo>
                      <a:lnTo>
                        <a:pt x="61" y="242"/>
                      </a:lnTo>
                      <a:lnTo>
                        <a:pt x="61" y="243"/>
                      </a:lnTo>
                      <a:lnTo>
                        <a:pt x="61" y="243"/>
                      </a:lnTo>
                      <a:lnTo>
                        <a:pt x="61" y="243"/>
                      </a:lnTo>
                      <a:lnTo>
                        <a:pt x="61" y="243"/>
                      </a:lnTo>
                      <a:lnTo>
                        <a:pt x="61" y="243"/>
                      </a:lnTo>
                      <a:lnTo>
                        <a:pt x="61" y="243"/>
                      </a:lnTo>
                      <a:lnTo>
                        <a:pt x="61" y="243"/>
                      </a:lnTo>
                      <a:lnTo>
                        <a:pt x="61" y="243"/>
                      </a:lnTo>
                      <a:lnTo>
                        <a:pt x="61" y="243"/>
                      </a:lnTo>
                      <a:lnTo>
                        <a:pt x="61" y="243"/>
                      </a:lnTo>
                      <a:lnTo>
                        <a:pt x="61" y="243"/>
                      </a:lnTo>
                      <a:lnTo>
                        <a:pt x="61" y="244"/>
                      </a:lnTo>
                      <a:lnTo>
                        <a:pt x="61" y="243"/>
                      </a:lnTo>
                      <a:lnTo>
                        <a:pt x="60" y="243"/>
                      </a:lnTo>
                      <a:lnTo>
                        <a:pt x="60" y="243"/>
                      </a:lnTo>
                      <a:lnTo>
                        <a:pt x="61" y="243"/>
                      </a:lnTo>
                      <a:lnTo>
                        <a:pt x="60" y="243"/>
                      </a:lnTo>
                      <a:lnTo>
                        <a:pt x="60" y="243"/>
                      </a:lnTo>
                      <a:lnTo>
                        <a:pt x="61" y="243"/>
                      </a:lnTo>
                      <a:lnTo>
                        <a:pt x="60" y="243"/>
                      </a:lnTo>
                      <a:lnTo>
                        <a:pt x="61" y="243"/>
                      </a:lnTo>
                      <a:lnTo>
                        <a:pt x="61" y="244"/>
                      </a:lnTo>
                      <a:lnTo>
                        <a:pt x="61" y="244"/>
                      </a:lnTo>
                      <a:lnTo>
                        <a:pt x="60" y="244"/>
                      </a:lnTo>
                      <a:lnTo>
                        <a:pt x="60" y="245"/>
                      </a:lnTo>
                      <a:lnTo>
                        <a:pt x="60" y="244"/>
                      </a:lnTo>
                      <a:lnTo>
                        <a:pt x="61" y="244"/>
                      </a:lnTo>
                      <a:lnTo>
                        <a:pt x="61" y="245"/>
                      </a:lnTo>
                      <a:lnTo>
                        <a:pt x="60" y="245"/>
                      </a:lnTo>
                      <a:lnTo>
                        <a:pt x="61" y="245"/>
                      </a:lnTo>
                      <a:lnTo>
                        <a:pt x="60" y="245"/>
                      </a:lnTo>
                      <a:lnTo>
                        <a:pt x="59" y="245"/>
                      </a:lnTo>
                      <a:lnTo>
                        <a:pt x="60" y="245"/>
                      </a:lnTo>
                      <a:lnTo>
                        <a:pt x="60" y="245"/>
                      </a:lnTo>
                      <a:lnTo>
                        <a:pt x="61" y="245"/>
                      </a:lnTo>
                      <a:lnTo>
                        <a:pt x="61" y="245"/>
                      </a:lnTo>
                      <a:lnTo>
                        <a:pt x="61" y="245"/>
                      </a:lnTo>
                      <a:lnTo>
                        <a:pt x="61" y="245"/>
                      </a:lnTo>
                      <a:lnTo>
                        <a:pt x="61" y="245"/>
                      </a:lnTo>
                      <a:lnTo>
                        <a:pt x="61" y="246"/>
                      </a:lnTo>
                      <a:lnTo>
                        <a:pt x="61" y="246"/>
                      </a:lnTo>
                      <a:lnTo>
                        <a:pt x="61" y="246"/>
                      </a:lnTo>
                      <a:lnTo>
                        <a:pt x="60" y="246"/>
                      </a:lnTo>
                      <a:lnTo>
                        <a:pt x="60" y="247"/>
                      </a:lnTo>
                      <a:lnTo>
                        <a:pt x="60" y="246"/>
                      </a:lnTo>
                      <a:lnTo>
                        <a:pt x="60" y="247"/>
                      </a:lnTo>
                      <a:lnTo>
                        <a:pt x="60" y="246"/>
                      </a:lnTo>
                      <a:lnTo>
                        <a:pt x="60" y="247"/>
                      </a:lnTo>
                      <a:lnTo>
                        <a:pt x="59" y="247"/>
                      </a:lnTo>
                      <a:lnTo>
                        <a:pt x="60" y="247"/>
                      </a:lnTo>
                      <a:lnTo>
                        <a:pt x="60" y="247"/>
                      </a:lnTo>
                      <a:lnTo>
                        <a:pt x="59" y="247"/>
                      </a:lnTo>
                      <a:lnTo>
                        <a:pt x="59" y="247"/>
                      </a:lnTo>
                      <a:lnTo>
                        <a:pt x="59" y="247"/>
                      </a:lnTo>
                      <a:lnTo>
                        <a:pt x="59" y="247"/>
                      </a:lnTo>
                      <a:lnTo>
                        <a:pt x="59" y="247"/>
                      </a:lnTo>
                      <a:lnTo>
                        <a:pt x="59" y="247"/>
                      </a:lnTo>
                      <a:lnTo>
                        <a:pt x="59" y="247"/>
                      </a:lnTo>
                      <a:lnTo>
                        <a:pt x="58" y="247"/>
                      </a:lnTo>
                      <a:lnTo>
                        <a:pt x="58" y="247"/>
                      </a:lnTo>
                      <a:lnTo>
                        <a:pt x="58" y="247"/>
                      </a:lnTo>
                      <a:lnTo>
                        <a:pt x="58" y="247"/>
                      </a:lnTo>
                      <a:lnTo>
                        <a:pt x="58" y="247"/>
                      </a:lnTo>
                      <a:lnTo>
                        <a:pt x="57" y="247"/>
                      </a:lnTo>
                      <a:lnTo>
                        <a:pt x="58" y="247"/>
                      </a:lnTo>
                      <a:lnTo>
                        <a:pt x="57" y="247"/>
                      </a:lnTo>
                      <a:lnTo>
                        <a:pt x="57" y="247"/>
                      </a:lnTo>
                      <a:lnTo>
                        <a:pt x="57" y="247"/>
                      </a:lnTo>
                      <a:lnTo>
                        <a:pt x="57" y="247"/>
                      </a:lnTo>
                      <a:lnTo>
                        <a:pt x="57" y="248"/>
                      </a:lnTo>
                      <a:lnTo>
                        <a:pt x="56" y="248"/>
                      </a:lnTo>
                      <a:lnTo>
                        <a:pt x="55" y="248"/>
                      </a:lnTo>
                      <a:lnTo>
                        <a:pt x="55" y="248"/>
                      </a:lnTo>
                      <a:lnTo>
                        <a:pt x="55" y="248"/>
                      </a:lnTo>
                      <a:lnTo>
                        <a:pt x="54" y="248"/>
                      </a:lnTo>
                      <a:lnTo>
                        <a:pt x="55" y="248"/>
                      </a:lnTo>
                      <a:lnTo>
                        <a:pt x="54" y="248"/>
                      </a:lnTo>
                      <a:lnTo>
                        <a:pt x="54" y="248"/>
                      </a:lnTo>
                      <a:lnTo>
                        <a:pt x="54" y="248"/>
                      </a:lnTo>
                      <a:lnTo>
                        <a:pt x="54" y="247"/>
                      </a:lnTo>
                      <a:lnTo>
                        <a:pt x="54" y="247"/>
                      </a:lnTo>
                      <a:lnTo>
                        <a:pt x="53" y="247"/>
                      </a:lnTo>
                      <a:lnTo>
                        <a:pt x="52" y="246"/>
                      </a:lnTo>
                      <a:lnTo>
                        <a:pt x="52" y="247"/>
                      </a:lnTo>
                      <a:lnTo>
                        <a:pt x="52" y="246"/>
                      </a:lnTo>
                      <a:lnTo>
                        <a:pt x="52" y="246"/>
                      </a:lnTo>
                      <a:lnTo>
                        <a:pt x="52" y="246"/>
                      </a:lnTo>
                      <a:lnTo>
                        <a:pt x="52" y="247"/>
                      </a:lnTo>
                      <a:lnTo>
                        <a:pt x="53" y="247"/>
                      </a:lnTo>
                      <a:lnTo>
                        <a:pt x="54" y="247"/>
                      </a:lnTo>
                      <a:lnTo>
                        <a:pt x="54" y="247"/>
                      </a:lnTo>
                      <a:lnTo>
                        <a:pt x="54" y="248"/>
                      </a:lnTo>
                      <a:lnTo>
                        <a:pt x="54" y="248"/>
                      </a:lnTo>
                      <a:lnTo>
                        <a:pt x="54" y="248"/>
                      </a:lnTo>
                      <a:lnTo>
                        <a:pt x="54" y="249"/>
                      </a:lnTo>
                      <a:lnTo>
                        <a:pt x="55" y="249"/>
                      </a:lnTo>
                      <a:lnTo>
                        <a:pt x="55" y="248"/>
                      </a:lnTo>
                      <a:lnTo>
                        <a:pt x="55" y="249"/>
                      </a:lnTo>
                      <a:lnTo>
                        <a:pt x="55" y="248"/>
                      </a:lnTo>
                      <a:lnTo>
                        <a:pt x="54" y="248"/>
                      </a:lnTo>
                      <a:lnTo>
                        <a:pt x="55" y="248"/>
                      </a:lnTo>
                      <a:lnTo>
                        <a:pt x="55" y="248"/>
                      </a:lnTo>
                      <a:lnTo>
                        <a:pt x="55" y="248"/>
                      </a:lnTo>
                      <a:lnTo>
                        <a:pt x="56" y="248"/>
                      </a:lnTo>
                      <a:lnTo>
                        <a:pt x="55" y="248"/>
                      </a:lnTo>
                      <a:lnTo>
                        <a:pt x="56" y="248"/>
                      </a:lnTo>
                      <a:lnTo>
                        <a:pt x="57" y="248"/>
                      </a:lnTo>
                      <a:lnTo>
                        <a:pt x="57" y="247"/>
                      </a:lnTo>
                      <a:lnTo>
                        <a:pt x="57" y="247"/>
                      </a:lnTo>
                      <a:lnTo>
                        <a:pt x="58" y="247"/>
                      </a:lnTo>
                      <a:lnTo>
                        <a:pt x="58" y="248"/>
                      </a:lnTo>
                      <a:lnTo>
                        <a:pt x="58" y="248"/>
                      </a:lnTo>
                      <a:lnTo>
                        <a:pt x="58" y="248"/>
                      </a:lnTo>
                      <a:lnTo>
                        <a:pt x="58" y="248"/>
                      </a:lnTo>
                      <a:lnTo>
                        <a:pt x="58" y="248"/>
                      </a:lnTo>
                      <a:lnTo>
                        <a:pt x="58" y="248"/>
                      </a:lnTo>
                      <a:lnTo>
                        <a:pt x="58" y="247"/>
                      </a:lnTo>
                      <a:lnTo>
                        <a:pt x="59" y="247"/>
                      </a:lnTo>
                      <a:lnTo>
                        <a:pt x="58" y="247"/>
                      </a:lnTo>
                      <a:lnTo>
                        <a:pt x="58" y="247"/>
                      </a:lnTo>
                      <a:lnTo>
                        <a:pt x="59" y="247"/>
                      </a:lnTo>
                      <a:lnTo>
                        <a:pt x="59" y="247"/>
                      </a:lnTo>
                      <a:lnTo>
                        <a:pt x="59" y="247"/>
                      </a:lnTo>
                      <a:lnTo>
                        <a:pt x="59" y="247"/>
                      </a:lnTo>
                      <a:lnTo>
                        <a:pt x="59" y="247"/>
                      </a:lnTo>
                      <a:lnTo>
                        <a:pt x="59" y="247"/>
                      </a:lnTo>
                      <a:lnTo>
                        <a:pt x="59" y="247"/>
                      </a:lnTo>
                      <a:lnTo>
                        <a:pt x="59" y="248"/>
                      </a:lnTo>
                      <a:lnTo>
                        <a:pt x="60" y="248"/>
                      </a:lnTo>
                      <a:lnTo>
                        <a:pt x="59" y="248"/>
                      </a:lnTo>
                      <a:lnTo>
                        <a:pt x="59" y="247"/>
                      </a:lnTo>
                      <a:lnTo>
                        <a:pt x="60" y="247"/>
                      </a:lnTo>
                      <a:lnTo>
                        <a:pt x="59" y="247"/>
                      </a:lnTo>
                      <a:lnTo>
                        <a:pt x="60" y="247"/>
                      </a:lnTo>
                      <a:lnTo>
                        <a:pt x="61" y="247"/>
                      </a:lnTo>
                      <a:lnTo>
                        <a:pt x="60" y="247"/>
                      </a:lnTo>
                      <a:lnTo>
                        <a:pt x="61" y="247"/>
                      </a:lnTo>
                      <a:lnTo>
                        <a:pt x="61" y="247"/>
                      </a:lnTo>
                      <a:lnTo>
                        <a:pt x="61" y="247"/>
                      </a:lnTo>
                      <a:lnTo>
                        <a:pt x="61" y="247"/>
                      </a:lnTo>
                      <a:lnTo>
                        <a:pt x="62" y="247"/>
                      </a:lnTo>
                      <a:lnTo>
                        <a:pt x="62" y="248"/>
                      </a:lnTo>
                      <a:lnTo>
                        <a:pt x="62" y="247"/>
                      </a:lnTo>
                      <a:lnTo>
                        <a:pt x="61" y="247"/>
                      </a:lnTo>
                      <a:lnTo>
                        <a:pt x="62" y="247"/>
                      </a:lnTo>
                      <a:lnTo>
                        <a:pt x="62" y="247"/>
                      </a:lnTo>
                      <a:lnTo>
                        <a:pt x="61" y="247"/>
                      </a:lnTo>
                      <a:lnTo>
                        <a:pt x="61" y="247"/>
                      </a:lnTo>
                      <a:lnTo>
                        <a:pt x="61" y="247"/>
                      </a:lnTo>
                      <a:lnTo>
                        <a:pt x="61" y="247"/>
                      </a:lnTo>
                      <a:lnTo>
                        <a:pt x="61" y="247"/>
                      </a:lnTo>
                      <a:lnTo>
                        <a:pt x="61" y="247"/>
                      </a:lnTo>
                      <a:lnTo>
                        <a:pt x="61" y="247"/>
                      </a:lnTo>
                      <a:lnTo>
                        <a:pt x="61" y="247"/>
                      </a:lnTo>
                      <a:lnTo>
                        <a:pt x="61" y="247"/>
                      </a:lnTo>
                      <a:lnTo>
                        <a:pt x="61" y="247"/>
                      </a:lnTo>
                      <a:lnTo>
                        <a:pt x="61" y="247"/>
                      </a:lnTo>
                      <a:lnTo>
                        <a:pt x="61" y="247"/>
                      </a:lnTo>
                      <a:lnTo>
                        <a:pt x="61" y="247"/>
                      </a:lnTo>
                      <a:lnTo>
                        <a:pt x="61" y="247"/>
                      </a:lnTo>
                      <a:lnTo>
                        <a:pt x="61" y="247"/>
                      </a:lnTo>
                      <a:lnTo>
                        <a:pt x="61" y="247"/>
                      </a:lnTo>
                      <a:lnTo>
                        <a:pt x="61" y="247"/>
                      </a:lnTo>
                      <a:lnTo>
                        <a:pt x="62" y="247"/>
                      </a:lnTo>
                      <a:lnTo>
                        <a:pt x="61" y="247"/>
                      </a:lnTo>
                      <a:lnTo>
                        <a:pt x="62" y="247"/>
                      </a:lnTo>
                      <a:lnTo>
                        <a:pt x="62" y="246"/>
                      </a:lnTo>
                      <a:lnTo>
                        <a:pt x="61" y="246"/>
                      </a:lnTo>
                      <a:lnTo>
                        <a:pt x="62" y="245"/>
                      </a:lnTo>
                      <a:lnTo>
                        <a:pt x="62" y="246"/>
                      </a:lnTo>
                      <a:lnTo>
                        <a:pt x="62" y="246"/>
                      </a:lnTo>
                      <a:lnTo>
                        <a:pt x="62" y="246"/>
                      </a:lnTo>
                      <a:lnTo>
                        <a:pt x="62" y="247"/>
                      </a:lnTo>
                      <a:lnTo>
                        <a:pt x="62" y="247"/>
                      </a:lnTo>
                      <a:lnTo>
                        <a:pt x="63" y="247"/>
                      </a:lnTo>
                      <a:lnTo>
                        <a:pt x="63" y="247"/>
                      </a:lnTo>
                      <a:lnTo>
                        <a:pt x="62" y="247"/>
                      </a:lnTo>
                      <a:lnTo>
                        <a:pt x="63" y="247"/>
                      </a:lnTo>
                      <a:lnTo>
                        <a:pt x="62" y="247"/>
                      </a:lnTo>
                      <a:lnTo>
                        <a:pt x="62" y="247"/>
                      </a:lnTo>
                      <a:lnTo>
                        <a:pt x="62" y="247"/>
                      </a:lnTo>
                      <a:lnTo>
                        <a:pt x="63" y="248"/>
                      </a:lnTo>
                      <a:lnTo>
                        <a:pt x="62" y="248"/>
                      </a:lnTo>
                      <a:lnTo>
                        <a:pt x="63" y="248"/>
                      </a:lnTo>
                      <a:lnTo>
                        <a:pt x="63" y="248"/>
                      </a:lnTo>
                      <a:lnTo>
                        <a:pt x="63" y="248"/>
                      </a:lnTo>
                      <a:lnTo>
                        <a:pt x="63" y="248"/>
                      </a:lnTo>
                      <a:lnTo>
                        <a:pt x="62" y="248"/>
                      </a:lnTo>
                      <a:lnTo>
                        <a:pt x="62" y="248"/>
                      </a:lnTo>
                      <a:lnTo>
                        <a:pt x="61" y="248"/>
                      </a:lnTo>
                      <a:lnTo>
                        <a:pt x="62" y="248"/>
                      </a:lnTo>
                      <a:lnTo>
                        <a:pt x="62" y="248"/>
                      </a:lnTo>
                      <a:lnTo>
                        <a:pt x="62" y="249"/>
                      </a:lnTo>
                      <a:lnTo>
                        <a:pt x="62" y="248"/>
                      </a:lnTo>
                      <a:lnTo>
                        <a:pt x="62" y="248"/>
                      </a:lnTo>
                      <a:lnTo>
                        <a:pt x="62" y="248"/>
                      </a:lnTo>
                      <a:lnTo>
                        <a:pt x="63" y="248"/>
                      </a:lnTo>
                      <a:lnTo>
                        <a:pt x="63" y="249"/>
                      </a:lnTo>
                      <a:lnTo>
                        <a:pt x="63" y="249"/>
                      </a:lnTo>
                      <a:lnTo>
                        <a:pt x="63" y="248"/>
                      </a:lnTo>
                      <a:lnTo>
                        <a:pt x="63" y="248"/>
                      </a:lnTo>
                      <a:lnTo>
                        <a:pt x="63" y="248"/>
                      </a:lnTo>
                      <a:lnTo>
                        <a:pt x="63" y="248"/>
                      </a:lnTo>
                      <a:lnTo>
                        <a:pt x="63" y="248"/>
                      </a:lnTo>
                      <a:lnTo>
                        <a:pt x="63" y="248"/>
                      </a:lnTo>
                      <a:lnTo>
                        <a:pt x="63" y="248"/>
                      </a:lnTo>
                      <a:lnTo>
                        <a:pt x="63" y="248"/>
                      </a:lnTo>
                      <a:lnTo>
                        <a:pt x="63" y="248"/>
                      </a:lnTo>
                      <a:lnTo>
                        <a:pt x="63" y="248"/>
                      </a:lnTo>
                      <a:lnTo>
                        <a:pt x="63" y="248"/>
                      </a:lnTo>
                      <a:lnTo>
                        <a:pt x="63" y="248"/>
                      </a:lnTo>
                      <a:lnTo>
                        <a:pt x="64" y="248"/>
                      </a:lnTo>
                      <a:lnTo>
                        <a:pt x="63" y="248"/>
                      </a:lnTo>
                      <a:lnTo>
                        <a:pt x="64" y="248"/>
                      </a:lnTo>
                      <a:lnTo>
                        <a:pt x="63" y="248"/>
                      </a:lnTo>
                      <a:lnTo>
                        <a:pt x="63" y="249"/>
                      </a:lnTo>
                      <a:lnTo>
                        <a:pt x="63" y="248"/>
                      </a:lnTo>
                      <a:lnTo>
                        <a:pt x="63" y="249"/>
                      </a:lnTo>
                      <a:lnTo>
                        <a:pt x="64" y="249"/>
                      </a:lnTo>
                      <a:lnTo>
                        <a:pt x="64" y="249"/>
                      </a:lnTo>
                      <a:lnTo>
                        <a:pt x="63" y="249"/>
                      </a:lnTo>
                      <a:lnTo>
                        <a:pt x="63" y="250"/>
                      </a:lnTo>
                      <a:lnTo>
                        <a:pt x="63" y="250"/>
                      </a:lnTo>
                      <a:lnTo>
                        <a:pt x="63" y="250"/>
                      </a:lnTo>
                      <a:lnTo>
                        <a:pt x="63" y="251"/>
                      </a:lnTo>
                      <a:lnTo>
                        <a:pt x="63" y="251"/>
                      </a:lnTo>
                      <a:lnTo>
                        <a:pt x="63" y="251"/>
                      </a:lnTo>
                      <a:lnTo>
                        <a:pt x="64" y="251"/>
                      </a:lnTo>
                      <a:lnTo>
                        <a:pt x="64" y="251"/>
                      </a:lnTo>
                      <a:lnTo>
                        <a:pt x="65" y="251"/>
                      </a:lnTo>
                      <a:lnTo>
                        <a:pt x="65" y="251"/>
                      </a:lnTo>
                      <a:lnTo>
                        <a:pt x="65" y="251"/>
                      </a:lnTo>
                      <a:lnTo>
                        <a:pt x="64" y="251"/>
                      </a:lnTo>
                      <a:lnTo>
                        <a:pt x="65" y="251"/>
                      </a:lnTo>
                      <a:lnTo>
                        <a:pt x="64" y="251"/>
                      </a:lnTo>
                      <a:lnTo>
                        <a:pt x="65" y="251"/>
                      </a:lnTo>
                      <a:lnTo>
                        <a:pt x="65" y="250"/>
                      </a:lnTo>
                      <a:lnTo>
                        <a:pt x="64" y="250"/>
                      </a:lnTo>
                      <a:lnTo>
                        <a:pt x="65" y="250"/>
                      </a:lnTo>
                      <a:lnTo>
                        <a:pt x="64" y="250"/>
                      </a:lnTo>
                      <a:lnTo>
                        <a:pt x="65" y="250"/>
                      </a:lnTo>
                      <a:lnTo>
                        <a:pt x="64" y="250"/>
                      </a:lnTo>
                      <a:lnTo>
                        <a:pt x="63" y="249"/>
                      </a:lnTo>
                      <a:lnTo>
                        <a:pt x="64" y="249"/>
                      </a:lnTo>
                      <a:lnTo>
                        <a:pt x="63" y="249"/>
                      </a:lnTo>
                      <a:lnTo>
                        <a:pt x="64" y="249"/>
                      </a:lnTo>
                      <a:lnTo>
                        <a:pt x="64" y="250"/>
                      </a:lnTo>
                      <a:lnTo>
                        <a:pt x="64" y="249"/>
                      </a:lnTo>
                      <a:lnTo>
                        <a:pt x="64" y="250"/>
                      </a:lnTo>
                      <a:lnTo>
                        <a:pt x="65" y="250"/>
                      </a:lnTo>
                      <a:lnTo>
                        <a:pt x="65" y="249"/>
                      </a:lnTo>
                      <a:lnTo>
                        <a:pt x="64" y="249"/>
                      </a:lnTo>
                      <a:lnTo>
                        <a:pt x="64" y="250"/>
                      </a:lnTo>
                      <a:lnTo>
                        <a:pt x="64" y="249"/>
                      </a:lnTo>
                      <a:lnTo>
                        <a:pt x="64" y="250"/>
                      </a:lnTo>
                      <a:lnTo>
                        <a:pt x="64" y="249"/>
                      </a:lnTo>
                      <a:lnTo>
                        <a:pt x="65" y="249"/>
                      </a:lnTo>
                      <a:lnTo>
                        <a:pt x="64" y="249"/>
                      </a:lnTo>
                      <a:lnTo>
                        <a:pt x="64" y="249"/>
                      </a:lnTo>
                      <a:lnTo>
                        <a:pt x="64" y="249"/>
                      </a:lnTo>
                      <a:lnTo>
                        <a:pt x="64" y="249"/>
                      </a:lnTo>
                      <a:lnTo>
                        <a:pt x="64" y="249"/>
                      </a:lnTo>
                      <a:lnTo>
                        <a:pt x="65" y="249"/>
                      </a:lnTo>
                      <a:lnTo>
                        <a:pt x="65" y="249"/>
                      </a:lnTo>
                      <a:lnTo>
                        <a:pt x="64" y="249"/>
                      </a:lnTo>
                      <a:lnTo>
                        <a:pt x="65" y="249"/>
                      </a:lnTo>
                      <a:lnTo>
                        <a:pt x="64" y="249"/>
                      </a:lnTo>
                      <a:lnTo>
                        <a:pt x="64" y="248"/>
                      </a:lnTo>
                      <a:lnTo>
                        <a:pt x="64" y="249"/>
                      </a:lnTo>
                      <a:lnTo>
                        <a:pt x="64" y="248"/>
                      </a:lnTo>
                      <a:lnTo>
                        <a:pt x="65" y="248"/>
                      </a:lnTo>
                      <a:lnTo>
                        <a:pt x="64" y="248"/>
                      </a:lnTo>
                      <a:lnTo>
                        <a:pt x="65" y="248"/>
                      </a:lnTo>
                      <a:lnTo>
                        <a:pt x="64" y="248"/>
                      </a:lnTo>
                      <a:lnTo>
                        <a:pt x="64" y="248"/>
                      </a:lnTo>
                      <a:lnTo>
                        <a:pt x="64" y="248"/>
                      </a:lnTo>
                      <a:lnTo>
                        <a:pt x="64" y="248"/>
                      </a:lnTo>
                      <a:lnTo>
                        <a:pt x="65" y="248"/>
                      </a:lnTo>
                      <a:lnTo>
                        <a:pt x="65" y="248"/>
                      </a:lnTo>
                      <a:lnTo>
                        <a:pt x="64" y="249"/>
                      </a:lnTo>
                      <a:lnTo>
                        <a:pt x="65" y="249"/>
                      </a:lnTo>
                      <a:lnTo>
                        <a:pt x="65" y="249"/>
                      </a:lnTo>
                      <a:lnTo>
                        <a:pt x="65" y="250"/>
                      </a:lnTo>
                      <a:lnTo>
                        <a:pt x="65" y="251"/>
                      </a:lnTo>
                      <a:lnTo>
                        <a:pt x="65" y="251"/>
                      </a:lnTo>
                      <a:lnTo>
                        <a:pt x="64" y="252"/>
                      </a:lnTo>
                      <a:lnTo>
                        <a:pt x="64" y="252"/>
                      </a:lnTo>
                      <a:lnTo>
                        <a:pt x="64" y="253"/>
                      </a:lnTo>
                      <a:lnTo>
                        <a:pt x="65" y="253"/>
                      </a:lnTo>
                      <a:lnTo>
                        <a:pt x="64" y="253"/>
                      </a:lnTo>
                      <a:lnTo>
                        <a:pt x="65" y="252"/>
                      </a:lnTo>
                      <a:lnTo>
                        <a:pt x="65" y="253"/>
                      </a:lnTo>
                      <a:lnTo>
                        <a:pt x="64" y="253"/>
                      </a:lnTo>
                      <a:lnTo>
                        <a:pt x="65" y="253"/>
                      </a:lnTo>
                      <a:lnTo>
                        <a:pt x="64" y="253"/>
                      </a:lnTo>
                      <a:lnTo>
                        <a:pt x="65" y="253"/>
                      </a:lnTo>
                      <a:lnTo>
                        <a:pt x="64" y="253"/>
                      </a:lnTo>
                      <a:lnTo>
                        <a:pt x="65" y="253"/>
                      </a:lnTo>
                      <a:lnTo>
                        <a:pt x="65" y="254"/>
                      </a:lnTo>
                      <a:lnTo>
                        <a:pt x="64" y="254"/>
                      </a:lnTo>
                      <a:lnTo>
                        <a:pt x="65" y="254"/>
                      </a:lnTo>
                      <a:lnTo>
                        <a:pt x="64" y="254"/>
                      </a:lnTo>
                      <a:lnTo>
                        <a:pt x="65" y="254"/>
                      </a:lnTo>
                      <a:lnTo>
                        <a:pt x="64" y="254"/>
                      </a:lnTo>
                      <a:lnTo>
                        <a:pt x="65" y="254"/>
                      </a:lnTo>
                      <a:lnTo>
                        <a:pt x="64" y="254"/>
                      </a:lnTo>
                      <a:lnTo>
                        <a:pt x="65" y="254"/>
                      </a:lnTo>
                      <a:lnTo>
                        <a:pt x="65" y="254"/>
                      </a:lnTo>
                      <a:lnTo>
                        <a:pt x="65" y="254"/>
                      </a:lnTo>
                      <a:lnTo>
                        <a:pt x="65" y="254"/>
                      </a:lnTo>
                      <a:lnTo>
                        <a:pt x="65" y="254"/>
                      </a:lnTo>
                      <a:lnTo>
                        <a:pt x="65" y="254"/>
                      </a:lnTo>
                      <a:lnTo>
                        <a:pt x="65" y="254"/>
                      </a:lnTo>
                      <a:lnTo>
                        <a:pt x="65" y="254"/>
                      </a:lnTo>
                      <a:lnTo>
                        <a:pt x="65" y="254"/>
                      </a:lnTo>
                      <a:lnTo>
                        <a:pt x="65" y="254"/>
                      </a:lnTo>
                      <a:lnTo>
                        <a:pt x="65" y="254"/>
                      </a:lnTo>
                      <a:lnTo>
                        <a:pt x="65" y="254"/>
                      </a:lnTo>
                      <a:lnTo>
                        <a:pt x="65" y="254"/>
                      </a:lnTo>
                      <a:lnTo>
                        <a:pt x="65" y="254"/>
                      </a:lnTo>
                      <a:lnTo>
                        <a:pt x="65" y="254"/>
                      </a:lnTo>
                      <a:lnTo>
                        <a:pt x="65" y="254"/>
                      </a:lnTo>
                      <a:lnTo>
                        <a:pt x="65" y="254"/>
                      </a:lnTo>
                      <a:lnTo>
                        <a:pt x="65" y="253"/>
                      </a:lnTo>
                      <a:lnTo>
                        <a:pt x="65" y="254"/>
                      </a:lnTo>
                      <a:lnTo>
                        <a:pt x="65" y="253"/>
                      </a:lnTo>
                      <a:lnTo>
                        <a:pt x="65" y="254"/>
                      </a:lnTo>
                      <a:lnTo>
                        <a:pt x="65" y="253"/>
                      </a:lnTo>
                      <a:lnTo>
                        <a:pt x="65" y="254"/>
                      </a:lnTo>
                      <a:lnTo>
                        <a:pt x="65" y="253"/>
                      </a:lnTo>
                      <a:lnTo>
                        <a:pt x="65" y="253"/>
                      </a:lnTo>
                      <a:lnTo>
                        <a:pt x="65" y="253"/>
                      </a:lnTo>
                      <a:lnTo>
                        <a:pt x="65" y="254"/>
                      </a:lnTo>
                      <a:lnTo>
                        <a:pt x="65" y="254"/>
                      </a:lnTo>
                      <a:lnTo>
                        <a:pt x="66" y="254"/>
                      </a:lnTo>
                      <a:lnTo>
                        <a:pt x="65" y="254"/>
                      </a:lnTo>
                      <a:lnTo>
                        <a:pt x="65" y="254"/>
                      </a:lnTo>
                      <a:lnTo>
                        <a:pt x="66" y="254"/>
                      </a:lnTo>
                      <a:lnTo>
                        <a:pt x="65" y="254"/>
                      </a:lnTo>
                      <a:lnTo>
                        <a:pt x="66" y="254"/>
                      </a:lnTo>
                      <a:lnTo>
                        <a:pt x="66" y="255"/>
                      </a:lnTo>
                      <a:lnTo>
                        <a:pt x="66" y="255"/>
                      </a:lnTo>
                      <a:lnTo>
                        <a:pt x="66" y="255"/>
                      </a:lnTo>
                      <a:lnTo>
                        <a:pt x="65" y="255"/>
                      </a:lnTo>
                      <a:lnTo>
                        <a:pt x="66" y="255"/>
                      </a:lnTo>
                      <a:lnTo>
                        <a:pt x="66" y="255"/>
                      </a:lnTo>
                      <a:lnTo>
                        <a:pt x="65" y="255"/>
                      </a:lnTo>
                      <a:lnTo>
                        <a:pt x="66" y="255"/>
                      </a:lnTo>
                      <a:lnTo>
                        <a:pt x="65" y="255"/>
                      </a:lnTo>
                      <a:lnTo>
                        <a:pt x="65" y="255"/>
                      </a:lnTo>
                      <a:lnTo>
                        <a:pt x="65" y="256"/>
                      </a:lnTo>
                      <a:lnTo>
                        <a:pt x="65" y="255"/>
                      </a:lnTo>
                      <a:lnTo>
                        <a:pt x="65" y="255"/>
                      </a:lnTo>
                      <a:lnTo>
                        <a:pt x="66" y="255"/>
                      </a:lnTo>
                      <a:lnTo>
                        <a:pt x="66" y="256"/>
                      </a:lnTo>
                      <a:lnTo>
                        <a:pt x="66" y="256"/>
                      </a:lnTo>
                      <a:lnTo>
                        <a:pt x="66" y="256"/>
                      </a:lnTo>
                      <a:lnTo>
                        <a:pt x="66" y="256"/>
                      </a:lnTo>
                      <a:lnTo>
                        <a:pt x="66" y="256"/>
                      </a:lnTo>
                      <a:lnTo>
                        <a:pt x="66" y="256"/>
                      </a:lnTo>
                      <a:lnTo>
                        <a:pt x="65" y="257"/>
                      </a:lnTo>
                      <a:lnTo>
                        <a:pt x="66" y="257"/>
                      </a:lnTo>
                      <a:lnTo>
                        <a:pt x="66" y="256"/>
                      </a:lnTo>
                      <a:lnTo>
                        <a:pt x="65" y="257"/>
                      </a:lnTo>
                      <a:lnTo>
                        <a:pt x="66" y="257"/>
                      </a:lnTo>
                      <a:lnTo>
                        <a:pt x="65" y="257"/>
                      </a:lnTo>
                      <a:lnTo>
                        <a:pt x="66" y="257"/>
                      </a:lnTo>
                      <a:lnTo>
                        <a:pt x="65" y="257"/>
                      </a:lnTo>
                      <a:lnTo>
                        <a:pt x="66" y="257"/>
                      </a:lnTo>
                      <a:lnTo>
                        <a:pt x="66" y="256"/>
                      </a:lnTo>
                      <a:lnTo>
                        <a:pt x="66" y="257"/>
                      </a:lnTo>
                      <a:lnTo>
                        <a:pt x="66" y="257"/>
                      </a:lnTo>
                      <a:lnTo>
                        <a:pt x="66" y="256"/>
                      </a:lnTo>
                      <a:lnTo>
                        <a:pt x="66" y="257"/>
                      </a:lnTo>
                      <a:lnTo>
                        <a:pt x="66" y="256"/>
                      </a:lnTo>
                      <a:lnTo>
                        <a:pt x="66" y="256"/>
                      </a:lnTo>
                      <a:lnTo>
                        <a:pt x="66" y="256"/>
                      </a:lnTo>
                      <a:lnTo>
                        <a:pt x="66" y="256"/>
                      </a:lnTo>
                      <a:lnTo>
                        <a:pt x="66" y="256"/>
                      </a:lnTo>
                      <a:lnTo>
                        <a:pt x="66" y="257"/>
                      </a:lnTo>
                      <a:lnTo>
                        <a:pt x="66" y="257"/>
                      </a:lnTo>
                      <a:lnTo>
                        <a:pt x="66" y="257"/>
                      </a:lnTo>
                      <a:lnTo>
                        <a:pt x="66" y="258"/>
                      </a:lnTo>
                      <a:lnTo>
                        <a:pt x="66" y="258"/>
                      </a:lnTo>
                      <a:lnTo>
                        <a:pt x="66" y="258"/>
                      </a:lnTo>
                      <a:lnTo>
                        <a:pt x="66" y="257"/>
                      </a:lnTo>
                      <a:lnTo>
                        <a:pt x="66" y="258"/>
                      </a:lnTo>
                      <a:lnTo>
                        <a:pt x="66" y="258"/>
                      </a:lnTo>
                      <a:lnTo>
                        <a:pt x="66" y="257"/>
                      </a:lnTo>
                      <a:lnTo>
                        <a:pt x="66" y="258"/>
                      </a:lnTo>
                      <a:lnTo>
                        <a:pt x="65" y="258"/>
                      </a:lnTo>
                      <a:lnTo>
                        <a:pt x="66" y="258"/>
                      </a:lnTo>
                      <a:lnTo>
                        <a:pt x="66" y="257"/>
                      </a:lnTo>
                      <a:lnTo>
                        <a:pt x="66" y="258"/>
                      </a:lnTo>
                      <a:lnTo>
                        <a:pt x="65" y="258"/>
                      </a:lnTo>
                      <a:lnTo>
                        <a:pt x="65" y="258"/>
                      </a:lnTo>
                      <a:lnTo>
                        <a:pt x="65" y="258"/>
                      </a:lnTo>
                      <a:lnTo>
                        <a:pt x="65" y="258"/>
                      </a:lnTo>
                      <a:lnTo>
                        <a:pt x="65" y="257"/>
                      </a:lnTo>
                      <a:lnTo>
                        <a:pt x="64" y="257"/>
                      </a:lnTo>
                      <a:lnTo>
                        <a:pt x="64" y="258"/>
                      </a:lnTo>
                      <a:lnTo>
                        <a:pt x="64" y="257"/>
                      </a:lnTo>
                      <a:lnTo>
                        <a:pt x="64" y="258"/>
                      </a:lnTo>
                      <a:lnTo>
                        <a:pt x="65" y="258"/>
                      </a:lnTo>
                      <a:lnTo>
                        <a:pt x="65" y="258"/>
                      </a:lnTo>
                      <a:lnTo>
                        <a:pt x="64" y="258"/>
                      </a:lnTo>
                      <a:lnTo>
                        <a:pt x="65" y="258"/>
                      </a:lnTo>
                      <a:lnTo>
                        <a:pt x="65" y="258"/>
                      </a:lnTo>
                      <a:lnTo>
                        <a:pt x="65" y="258"/>
                      </a:lnTo>
                      <a:lnTo>
                        <a:pt x="65" y="258"/>
                      </a:lnTo>
                      <a:lnTo>
                        <a:pt x="65" y="258"/>
                      </a:lnTo>
                      <a:lnTo>
                        <a:pt x="65" y="258"/>
                      </a:lnTo>
                      <a:lnTo>
                        <a:pt x="65" y="258"/>
                      </a:lnTo>
                      <a:lnTo>
                        <a:pt x="66" y="258"/>
                      </a:lnTo>
                      <a:lnTo>
                        <a:pt x="65" y="258"/>
                      </a:lnTo>
                      <a:lnTo>
                        <a:pt x="65" y="258"/>
                      </a:lnTo>
                      <a:lnTo>
                        <a:pt x="65" y="259"/>
                      </a:lnTo>
                      <a:lnTo>
                        <a:pt x="64" y="259"/>
                      </a:lnTo>
                      <a:lnTo>
                        <a:pt x="64" y="259"/>
                      </a:lnTo>
                      <a:lnTo>
                        <a:pt x="64" y="260"/>
                      </a:lnTo>
                      <a:lnTo>
                        <a:pt x="64" y="259"/>
                      </a:lnTo>
                      <a:lnTo>
                        <a:pt x="64" y="260"/>
                      </a:lnTo>
                      <a:lnTo>
                        <a:pt x="63" y="260"/>
                      </a:lnTo>
                      <a:lnTo>
                        <a:pt x="63" y="259"/>
                      </a:lnTo>
                      <a:lnTo>
                        <a:pt x="63" y="260"/>
                      </a:lnTo>
                      <a:lnTo>
                        <a:pt x="63" y="259"/>
                      </a:lnTo>
                      <a:lnTo>
                        <a:pt x="63" y="260"/>
                      </a:lnTo>
                      <a:lnTo>
                        <a:pt x="63" y="260"/>
                      </a:lnTo>
                      <a:lnTo>
                        <a:pt x="63" y="260"/>
                      </a:lnTo>
                      <a:lnTo>
                        <a:pt x="63" y="260"/>
                      </a:lnTo>
                      <a:lnTo>
                        <a:pt x="63" y="260"/>
                      </a:lnTo>
                      <a:lnTo>
                        <a:pt x="63" y="260"/>
                      </a:lnTo>
                      <a:lnTo>
                        <a:pt x="63" y="260"/>
                      </a:lnTo>
                      <a:lnTo>
                        <a:pt x="63" y="260"/>
                      </a:lnTo>
                      <a:lnTo>
                        <a:pt x="62" y="260"/>
                      </a:lnTo>
                      <a:lnTo>
                        <a:pt x="62" y="260"/>
                      </a:lnTo>
                      <a:lnTo>
                        <a:pt x="61" y="260"/>
                      </a:lnTo>
                      <a:lnTo>
                        <a:pt x="61" y="260"/>
                      </a:lnTo>
                      <a:lnTo>
                        <a:pt x="61" y="260"/>
                      </a:lnTo>
                      <a:lnTo>
                        <a:pt x="60" y="260"/>
                      </a:lnTo>
                      <a:lnTo>
                        <a:pt x="60" y="260"/>
                      </a:lnTo>
                      <a:lnTo>
                        <a:pt x="60" y="260"/>
                      </a:lnTo>
                      <a:lnTo>
                        <a:pt x="59" y="260"/>
                      </a:lnTo>
                      <a:lnTo>
                        <a:pt x="59" y="260"/>
                      </a:lnTo>
                      <a:lnTo>
                        <a:pt x="59" y="261"/>
                      </a:lnTo>
                      <a:lnTo>
                        <a:pt x="58" y="261"/>
                      </a:lnTo>
                      <a:lnTo>
                        <a:pt x="59" y="261"/>
                      </a:lnTo>
                      <a:lnTo>
                        <a:pt x="59" y="260"/>
                      </a:lnTo>
                      <a:lnTo>
                        <a:pt x="59" y="260"/>
                      </a:lnTo>
                      <a:lnTo>
                        <a:pt x="59" y="261"/>
                      </a:lnTo>
                      <a:lnTo>
                        <a:pt x="59" y="261"/>
                      </a:lnTo>
                      <a:lnTo>
                        <a:pt x="59" y="260"/>
                      </a:lnTo>
                      <a:lnTo>
                        <a:pt x="60" y="260"/>
                      </a:lnTo>
                      <a:lnTo>
                        <a:pt x="60" y="260"/>
                      </a:lnTo>
                      <a:lnTo>
                        <a:pt x="60" y="260"/>
                      </a:lnTo>
                      <a:lnTo>
                        <a:pt x="61" y="260"/>
                      </a:lnTo>
                      <a:lnTo>
                        <a:pt x="61" y="260"/>
                      </a:lnTo>
                      <a:lnTo>
                        <a:pt x="61" y="260"/>
                      </a:lnTo>
                      <a:lnTo>
                        <a:pt x="62" y="260"/>
                      </a:lnTo>
                      <a:lnTo>
                        <a:pt x="62" y="260"/>
                      </a:lnTo>
                      <a:lnTo>
                        <a:pt x="62" y="260"/>
                      </a:lnTo>
                      <a:lnTo>
                        <a:pt x="63" y="260"/>
                      </a:lnTo>
                      <a:lnTo>
                        <a:pt x="63" y="260"/>
                      </a:lnTo>
                      <a:lnTo>
                        <a:pt x="63" y="261"/>
                      </a:lnTo>
                      <a:lnTo>
                        <a:pt x="63" y="261"/>
                      </a:lnTo>
                      <a:lnTo>
                        <a:pt x="63" y="261"/>
                      </a:lnTo>
                      <a:lnTo>
                        <a:pt x="63" y="261"/>
                      </a:lnTo>
                      <a:lnTo>
                        <a:pt x="63" y="262"/>
                      </a:lnTo>
                      <a:lnTo>
                        <a:pt x="63" y="261"/>
                      </a:lnTo>
                      <a:lnTo>
                        <a:pt x="62" y="261"/>
                      </a:lnTo>
                      <a:lnTo>
                        <a:pt x="62" y="261"/>
                      </a:lnTo>
                      <a:lnTo>
                        <a:pt x="62" y="261"/>
                      </a:lnTo>
                      <a:lnTo>
                        <a:pt x="62" y="262"/>
                      </a:lnTo>
                      <a:lnTo>
                        <a:pt x="62" y="262"/>
                      </a:lnTo>
                      <a:lnTo>
                        <a:pt x="62" y="262"/>
                      </a:lnTo>
                      <a:lnTo>
                        <a:pt x="62" y="262"/>
                      </a:lnTo>
                      <a:lnTo>
                        <a:pt x="62" y="262"/>
                      </a:lnTo>
                      <a:lnTo>
                        <a:pt x="62" y="263"/>
                      </a:lnTo>
                      <a:lnTo>
                        <a:pt x="61" y="263"/>
                      </a:lnTo>
                      <a:lnTo>
                        <a:pt x="61" y="263"/>
                      </a:lnTo>
                      <a:lnTo>
                        <a:pt x="61" y="263"/>
                      </a:lnTo>
                      <a:lnTo>
                        <a:pt x="61" y="263"/>
                      </a:lnTo>
                      <a:lnTo>
                        <a:pt x="61" y="263"/>
                      </a:lnTo>
                      <a:lnTo>
                        <a:pt x="61" y="263"/>
                      </a:lnTo>
                      <a:lnTo>
                        <a:pt x="61" y="263"/>
                      </a:lnTo>
                      <a:lnTo>
                        <a:pt x="61" y="263"/>
                      </a:lnTo>
                      <a:lnTo>
                        <a:pt x="61" y="263"/>
                      </a:lnTo>
                      <a:lnTo>
                        <a:pt x="61" y="263"/>
                      </a:lnTo>
                      <a:lnTo>
                        <a:pt x="61" y="263"/>
                      </a:lnTo>
                      <a:lnTo>
                        <a:pt x="61" y="264"/>
                      </a:lnTo>
                      <a:lnTo>
                        <a:pt x="61" y="264"/>
                      </a:lnTo>
                      <a:lnTo>
                        <a:pt x="60" y="264"/>
                      </a:lnTo>
                      <a:lnTo>
                        <a:pt x="59" y="264"/>
                      </a:lnTo>
                      <a:lnTo>
                        <a:pt x="60" y="264"/>
                      </a:lnTo>
                      <a:lnTo>
                        <a:pt x="60" y="265"/>
                      </a:lnTo>
                      <a:lnTo>
                        <a:pt x="60" y="264"/>
                      </a:lnTo>
                      <a:lnTo>
                        <a:pt x="60" y="265"/>
                      </a:lnTo>
                      <a:lnTo>
                        <a:pt x="61" y="265"/>
                      </a:lnTo>
                      <a:lnTo>
                        <a:pt x="60" y="265"/>
                      </a:lnTo>
                      <a:lnTo>
                        <a:pt x="61" y="265"/>
                      </a:lnTo>
                      <a:lnTo>
                        <a:pt x="61" y="266"/>
                      </a:lnTo>
                      <a:lnTo>
                        <a:pt x="61" y="266"/>
                      </a:lnTo>
                      <a:lnTo>
                        <a:pt x="60" y="266"/>
                      </a:lnTo>
                      <a:lnTo>
                        <a:pt x="60" y="267"/>
                      </a:lnTo>
                      <a:lnTo>
                        <a:pt x="60" y="267"/>
                      </a:lnTo>
                      <a:lnTo>
                        <a:pt x="59" y="267"/>
                      </a:lnTo>
                      <a:lnTo>
                        <a:pt x="59" y="267"/>
                      </a:lnTo>
                      <a:lnTo>
                        <a:pt x="59" y="267"/>
                      </a:lnTo>
                      <a:lnTo>
                        <a:pt x="59" y="267"/>
                      </a:lnTo>
                      <a:lnTo>
                        <a:pt x="59" y="267"/>
                      </a:lnTo>
                      <a:lnTo>
                        <a:pt x="59" y="267"/>
                      </a:lnTo>
                      <a:lnTo>
                        <a:pt x="59" y="267"/>
                      </a:lnTo>
                      <a:lnTo>
                        <a:pt x="59" y="268"/>
                      </a:lnTo>
                      <a:lnTo>
                        <a:pt x="59" y="268"/>
                      </a:lnTo>
                      <a:lnTo>
                        <a:pt x="59" y="269"/>
                      </a:lnTo>
                      <a:lnTo>
                        <a:pt x="59" y="268"/>
                      </a:lnTo>
                      <a:lnTo>
                        <a:pt x="59" y="269"/>
                      </a:lnTo>
                      <a:lnTo>
                        <a:pt x="59" y="268"/>
                      </a:lnTo>
                      <a:lnTo>
                        <a:pt x="59" y="268"/>
                      </a:lnTo>
                      <a:lnTo>
                        <a:pt x="59" y="267"/>
                      </a:lnTo>
                      <a:lnTo>
                        <a:pt x="59" y="268"/>
                      </a:lnTo>
                      <a:lnTo>
                        <a:pt x="60" y="268"/>
                      </a:lnTo>
                      <a:lnTo>
                        <a:pt x="59" y="268"/>
                      </a:lnTo>
                      <a:lnTo>
                        <a:pt x="60" y="268"/>
                      </a:lnTo>
                      <a:lnTo>
                        <a:pt x="60" y="267"/>
                      </a:lnTo>
                      <a:lnTo>
                        <a:pt x="61" y="267"/>
                      </a:lnTo>
                      <a:lnTo>
                        <a:pt x="60" y="267"/>
                      </a:lnTo>
                      <a:lnTo>
                        <a:pt x="60" y="268"/>
                      </a:lnTo>
                      <a:lnTo>
                        <a:pt x="59" y="268"/>
                      </a:lnTo>
                      <a:lnTo>
                        <a:pt x="59" y="269"/>
                      </a:lnTo>
                      <a:lnTo>
                        <a:pt x="59" y="268"/>
                      </a:lnTo>
                      <a:lnTo>
                        <a:pt x="59" y="269"/>
                      </a:lnTo>
                      <a:lnTo>
                        <a:pt x="59" y="269"/>
                      </a:lnTo>
                      <a:lnTo>
                        <a:pt x="59" y="269"/>
                      </a:lnTo>
                      <a:lnTo>
                        <a:pt x="59" y="269"/>
                      </a:lnTo>
                      <a:lnTo>
                        <a:pt x="59" y="269"/>
                      </a:lnTo>
                      <a:lnTo>
                        <a:pt x="58" y="269"/>
                      </a:lnTo>
                      <a:lnTo>
                        <a:pt x="59" y="269"/>
                      </a:lnTo>
                      <a:lnTo>
                        <a:pt x="59" y="270"/>
                      </a:lnTo>
                      <a:lnTo>
                        <a:pt x="59" y="269"/>
                      </a:lnTo>
                      <a:lnTo>
                        <a:pt x="59" y="270"/>
                      </a:lnTo>
                      <a:lnTo>
                        <a:pt x="59" y="269"/>
                      </a:lnTo>
                      <a:lnTo>
                        <a:pt x="59" y="270"/>
                      </a:lnTo>
                      <a:lnTo>
                        <a:pt x="59" y="270"/>
                      </a:lnTo>
                      <a:lnTo>
                        <a:pt x="59" y="270"/>
                      </a:lnTo>
                      <a:lnTo>
                        <a:pt x="58" y="270"/>
                      </a:lnTo>
                      <a:lnTo>
                        <a:pt x="58" y="269"/>
                      </a:lnTo>
                      <a:lnTo>
                        <a:pt x="58" y="270"/>
                      </a:lnTo>
                      <a:lnTo>
                        <a:pt x="58" y="269"/>
                      </a:lnTo>
                      <a:lnTo>
                        <a:pt x="58" y="270"/>
                      </a:lnTo>
                      <a:lnTo>
                        <a:pt x="58" y="270"/>
                      </a:lnTo>
                      <a:lnTo>
                        <a:pt x="58" y="270"/>
                      </a:lnTo>
                      <a:lnTo>
                        <a:pt x="58" y="270"/>
                      </a:lnTo>
                      <a:lnTo>
                        <a:pt x="58" y="270"/>
                      </a:lnTo>
                      <a:lnTo>
                        <a:pt x="58" y="270"/>
                      </a:lnTo>
                      <a:lnTo>
                        <a:pt x="58" y="270"/>
                      </a:lnTo>
                      <a:lnTo>
                        <a:pt x="59" y="270"/>
                      </a:lnTo>
                      <a:lnTo>
                        <a:pt x="58" y="270"/>
                      </a:lnTo>
                      <a:lnTo>
                        <a:pt x="58" y="270"/>
                      </a:lnTo>
                      <a:lnTo>
                        <a:pt x="58" y="270"/>
                      </a:lnTo>
                      <a:lnTo>
                        <a:pt x="58" y="271"/>
                      </a:lnTo>
                      <a:lnTo>
                        <a:pt x="58" y="270"/>
                      </a:lnTo>
                      <a:lnTo>
                        <a:pt x="58" y="271"/>
                      </a:lnTo>
                      <a:lnTo>
                        <a:pt x="58" y="270"/>
                      </a:lnTo>
                      <a:lnTo>
                        <a:pt x="57" y="270"/>
                      </a:lnTo>
                      <a:lnTo>
                        <a:pt x="57" y="270"/>
                      </a:lnTo>
                      <a:lnTo>
                        <a:pt x="57" y="271"/>
                      </a:lnTo>
                      <a:lnTo>
                        <a:pt x="56" y="271"/>
                      </a:lnTo>
                      <a:lnTo>
                        <a:pt x="57" y="271"/>
                      </a:lnTo>
                      <a:lnTo>
                        <a:pt x="57" y="271"/>
                      </a:lnTo>
                      <a:lnTo>
                        <a:pt x="58" y="271"/>
                      </a:lnTo>
                      <a:lnTo>
                        <a:pt x="57" y="271"/>
                      </a:lnTo>
                      <a:lnTo>
                        <a:pt x="57" y="271"/>
                      </a:lnTo>
                      <a:lnTo>
                        <a:pt x="57" y="271"/>
                      </a:lnTo>
                      <a:lnTo>
                        <a:pt x="58" y="271"/>
                      </a:lnTo>
                      <a:lnTo>
                        <a:pt x="58" y="270"/>
                      </a:lnTo>
                      <a:lnTo>
                        <a:pt x="58" y="271"/>
                      </a:lnTo>
                      <a:lnTo>
                        <a:pt x="58" y="271"/>
                      </a:lnTo>
                      <a:lnTo>
                        <a:pt x="58" y="271"/>
                      </a:lnTo>
                      <a:lnTo>
                        <a:pt x="58" y="271"/>
                      </a:lnTo>
                      <a:lnTo>
                        <a:pt x="58" y="271"/>
                      </a:lnTo>
                      <a:lnTo>
                        <a:pt x="57" y="271"/>
                      </a:lnTo>
                      <a:lnTo>
                        <a:pt x="58" y="271"/>
                      </a:lnTo>
                      <a:lnTo>
                        <a:pt x="57" y="271"/>
                      </a:lnTo>
                      <a:lnTo>
                        <a:pt x="57" y="271"/>
                      </a:lnTo>
                      <a:lnTo>
                        <a:pt x="56" y="271"/>
                      </a:lnTo>
                      <a:lnTo>
                        <a:pt x="55" y="271"/>
                      </a:lnTo>
                      <a:lnTo>
                        <a:pt x="55" y="271"/>
                      </a:lnTo>
                      <a:lnTo>
                        <a:pt x="55" y="272"/>
                      </a:lnTo>
                      <a:lnTo>
                        <a:pt x="55" y="273"/>
                      </a:lnTo>
                      <a:lnTo>
                        <a:pt x="54" y="273"/>
                      </a:lnTo>
                      <a:lnTo>
                        <a:pt x="54" y="272"/>
                      </a:lnTo>
                      <a:lnTo>
                        <a:pt x="54" y="272"/>
                      </a:lnTo>
                      <a:lnTo>
                        <a:pt x="54" y="271"/>
                      </a:lnTo>
                      <a:lnTo>
                        <a:pt x="53" y="271"/>
                      </a:lnTo>
                      <a:lnTo>
                        <a:pt x="52" y="271"/>
                      </a:lnTo>
                      <a:lnTo>
                        <a:pt x="52" y="270"/>
                      </a:lnTo>
                      <a:lnTo>
                        <a:pt x="52" y="271"/>
                      </a:lnTo>
                      <a:lnTo>
                        <a:pt x="51" y="270"/>
                      </a:lnTo>
                      <a:lnTo>
                        <a:pt x="51" y="271"/>
                      </a:lnTo>
                      <a:lnTo>
                        <a:pt x="50" y="271"/>
                      </a:lnTo>
                      <a:lnTo>
                        <a:pt x="50" y="270"/>
                      </a:lnTo>
                      <a:lnTo>
                        <a:pt x="50" y="270"/>
                      </a:lnTo>
                      <a:lnTo>
                        <a:pt x="49" y="270"/>
                      </a:lnTo>
                      <a:lnTo>
                        <a:pt x="48" y="270"/>
                      </a:lnTo>
                      <a:lnTo>
                        <a:pt x="48" y="270"/>
                      </a:lnTo>
                      <a:lnTo>
                        <a:pt x="48" y="269"/>
                      </a:lnTo>
                      <a:lnTo>
                        <a:pt x="47" y="269"/>
                      </a:lnTo>
                      <a:lnTo>
                        <a:pt x="48" y="269"/>
                      </a:lnTo>
                      <a:lnTo>
                        <a:pt x="47" y="269"/>
                      </a:lnTo>
                      <a:lnTo>
                        <a:pt x="47" y="268"/>
                      </a:lnTo>
                      <a:lnTo>
                        <a:pt x="47" y="268"/>
                      </a:lnTo>
                      <a:lnTo>
                        <a:pt x="46" y="268"/>
                      </a:lnTo>
                      <a:lnTo>
                        <a:pt x="46" y="268"/>
                      </a:lnTo>
                      <a:lnTo>
                        <a:pt x="45" y="268"/>
                      </a:lnTo>
                      <a:lnTo>
                        <a:pt x="45" y="269"/>
                      </a:lnTo>
                      <a:lnTo>
                        <a:pt x="44" y="269"/>
                      </a:lnTo>
                      <a:lnTo>
                        <a:pt x="44" y="268"/>
                      </a:lnTo>
                      <a:lnTo>
                        <a:pt x="43" y="268"/>
                      </a:lnTo>
                      <a:lnTo>
                        <a:pt x="43" y="268"/>
                      </a:lnTo>
                      <a:lnTo>
                        <a:pt x="43" y="267"/>
                      </a:lnTo>
                      <a:lnTo>
                        <a:pt x="42" y="267"/>
                      </a:lnTo>
                      <a:lnTo>
                        <a:pt x="42" y="267"/>
                      </a:lnTo>
                      <a:lnTo>
                        <a:pt x="41" y="267"/>
                      </a:lnTo>
                      <a:lnTo>
                        <a:pt x="41" y="267"/>
                      </a:lnTo>
                      <a:lnTo>
                        <a:pt x="41" y="266"/>
                      </a:lnTo>
                      <a:lnTo>
                        <a:pt x="40" y="266"/>
                      </a:lnTo>
                      <a:lnTo>
                        <a:pt x="40" y="266"/>
                      </a:lnTo>
                      <a:lnTo>
                        <a:pt x="40" y="266"/>
                      </a:lnTo>
                      <a:lnTo>
                        <a:pt x="40" y="265"/>
                      </a:lnTo>
                      <a:lnTo>
                        <a:pt x="40" y="264"/>
                      </a:lnTo>
                      <a:lnTo>
                        <a:pt x="39" y="264"/>
                      </a:lnTo>
                      <a:lnTo>
                        <a:pt x="39" y="265"/>
                      </a:lnTo>
                      <a:lnTo>
                        <a:pt x="39" y="265"/>
                      </a:lnTo>
                      <a:lnTo>
                        <a:pt x="39" y="265"/>
                      </a:lnTo>
                      <a:lnTo>
                        <a:pt x="39" y="265"/>
                      </a:lnTo>
                      <a:lnTo>
                        <a:pt x="38" y="265"/>
                      </a:lnTo>
                      <a:lnTo>
                        <a:pt x="38" y="264"/>
                      </a:lnTo>
                      <a:lnTo>
                        <a:pt x="37" y="264"/>
                      </a:lnTo>
                      <a:lnTo>
                        <a:pt x="37" y="264"/>
                      </a:lnTo>
                      <a:lnTo>
                        <a:pt x="37" y="264"/>
                      </a:lnTo>
                      <a:lnTo>
                        <a:pt x="37" y="264"/>
                      </a:lnTo>
                      <a:lnTo>
                        <a:pt x="37" y="264"/>
                      </a:lnTo>
                      <a:lnTo>
                        <a:pt x="37" y="264"/>
                      </a:lnTo>
                      <a:lnTo>
                        <a:pt x="37" y="264"/>
                      </a:lnTo>
                      <a:lnTo>
                        <a:pt x="38" y="264"/>
                      </a:lnTo>
                      <a:lnTo>
                        <a:pt x="38" y="265"/>
                      </a:lnTo>
                      <a:lnTo>
                        <a:pt x="38" y="264"/>
                      </a:lnTo>
                      <a:lnTo>
                        <a:pt x="37" y="265"/>
                      </a:lnTo>
                      <a:lnTo>
                        <a:pt x="37" y="264"/>
                      </a:lnTo>
                      <a:lnTo>
                        <a:pt x="37" y="265"/>
                      </a:lnTo>
                      <a:lnTo>
                        <a:pt x="36" y="265"/>
                      </a:lnTo>
                      <a:lnTo>
                        <a:pt x="37" y="265"/>
                      </a:lnTo>
                      <a:lnTo>
                        <a:pt x="37" y="264"/>
                      </a:lnTo>
                      <a:lnTo>
                        <a:pt x="37" y="264"/>
                      </a:lnTo>
                      <a:lnTo>
                        <a:pt x="37" y="265"/>
                      </a:lnTo>
                      <a:lnTo>
                        <a:pt x="38" y="265"/>
                      </a:lnTo>
                      <a:lnTo>
                        <a:pt x="39" y="265"/>
                      </a:lnTo>
                      <a:lnTo>
                        <a:pt x="39" y="265"/>
                      </a:lnTo>
                      <a:lnTo>
                        <a:pt x="39" y="264"/>
                      </a:lnTo>
                      <a:lnTo>
                        <a:pt x="40" y="264"/>
                      </a:lnTo>
                      <a:lnTo>
                        <a:pt x="40" y="265"/>
                      </a:lnTo>
                      <a:lnTo>
                        <a:pt x="40" y="266"/>
                      </a:lnTo>
                      <a:lnTo>
                        <a:pt x="40" y="266"/>
                      </a:lnTo>
                      <a:lnTo>
                        <a:pt x="40" y="266"/>
                      </a:lnTo>
                      <a:lnTo>
                        <a:pt x="41" y="267"/>
                      </a:lnTo>
                      <a:lnTo>
                        <a:pt x="41" y="267"/>
                      </a:lnTo>
                      <a:lnTo>
                        <a:pt x="42" y="267"/>
                      </a:lnTo>
                      <a:lnTo>
                        <a:pt x="42" y="267"/>
                      </a:lnTo>
                      <a:lnTo>
                        <a:pt x="43" y="267"/>
                      </a:lnTo>
                      <a:lnTo>
                        <a:pt x="43" y="268"/>
                      </a:lnTo>
                      <a:lnTo>
                        <a:pt x="43" y="268"/>
                      </a:lnTo>
                      <a:lnTo>
                        <a:pt x="44" y="268"/>
                      </a:lnTo>
                      <a:lnTo>
                        <a:pt x="44" y="269"/>
                      </a:lnTo>
                      <a:lnTo>
                        <a:pt x="45" y="269"/>
                      </a:lnTo>
                      <a:lnTo>
                        <a:pt x="45" y="268"/>
                      </a:lnTo>
                      <a:lnTo>
                        <a:pt x="46" y="268"/>
                      </a:lnTo>
                      <a:lnTo>
                        <a:pt x="46" y="268"/>
                      </a:lnTo>
                      <a:lnTo>
                        <a:pt x="47" y="268"/>
                      </a:lnTo>
                      <a:lnTo>
                        <a:pt x="47" y="269"/>
                      </a:lnTo>
                      <a:lnTo>
                        <a:pt x="47" y="269"/>
                      </a:lnTo>
                      <a:lnTo>
                        <a:pt x="48" y="270"/>
                      </a:lnTo>
                      <a:lnTo>
                        <a:pt x="48" y="270"/>
                      </a:lnTo>
                      <a:lnTo>
                        <a:pt x="48" y="270"/>
                      </a:lnTo>
                      <a:lnTo>
                        <a:pt x="49" y="270"/>
                      </a:lnTo>
                      <a:lnTo>
                        <a:pt x="48" y="270"/>
                      </a:lnTo>
                      <a:lnTo>
                        <a:pt x="48" y="271"/>
                      </a:lnTo>
                      <a:lnTo>
                        <a:pt x="48" y="270"/>
                      </a:lnTo>
                      <a:lnTo>
                        <a:pt x="48" y="271"/>
                      </a:lnTo>
                      <a:lnTo>
                        <a:pt x="49" y="271"/>
                      </a:lnTo>
                      <a:lnTo>
                        <a:pt x="48" y="271"/>
                      </a:lnTo>
                      <a:lnTo>
                        <a:pt x="48" y="271"/>
                      </a:lnTo>
                      <a:lnTo>
                        <a:pt x="48" y="271"/>
                      </a:lnTo>
                      <a:lnTo>
                        <a:pt x="49" y="271"/>
                      </a:lnTo>
                      <a:lnTo>
                        <a:pt x="49" y="270"/>
                      </a:lnTo>
                      <a:lnTo>
                        <a:pt x="50" y="271"/>
                      </a:lnTo>
                      <a:lnTo>
                        <a:pt x="50" y="271"/>
                      </a:lnTo>
                      <a:lnTo>
                        <a:pt x="51" y="271"/>
                      </a:lnTo>
                      <a:lnTo>
                        <a:pt x="51" y="271"/>
                      </a:lnTo>
                      <a:lnTo>
                        <a:pt x="52" y="271"/>
                      </a:lnTo>
                      <a:lnTo>
                        <a:pt x="52" y="271"/>
                      </a:lnTo>
                      <a:lnTo>
                        <a:pt x="53" y="271"/>
                      </a:lnTo>
                      <a:lnTo>
                        <a:pt x="53" y="271"/>
                      </a:lnTo>
                      <a:lnTo>
                        <a:pt x="54" y="271"/>
                      </a:lnTo>
                      <a:lnTo>
                        <a:pt x="54" y="272"/>
                      </a:lnTo>
                      <a:lnTo>
                        <a:pt x="54" y="271"/>
                      </a:lnTo>
                      <a:lnTo>
                        <a:pt x="54" y="272"/>
                      </a:lnTo>
                      <a:lnTo>
                        <a:pt x="54" y="272"/>
                      </a:lnTo>
                      <a:lnTo>
                        <a:pt x="54" y="272"/>
                      </a:lnTo>
                      <a:lnTo>
                        <a:pt x="54" y="273"/>
                      </a:lnTo>
                      <a:lnTo>
                        <a:pt x="54" y="273"/>
                      </a:lnTo>
                      <a:lnTo>
                        <a:pt x="54" y="273"/>
                      </a:lnTo>
                      <a:lnTo>
                        <a:pt x="54" y="273"/>
                      </a:lnTo>
                      <a:lnTo>
                        <a:pt x="54" y="273"/>
                      </a:lnTo>
                      <a:lnTo>
                        <a:pt x="54" y="274"/>
                      </a:lnTo>
                      <a:lnTo>
                        <a:pt x="55" y="274"/>
                      </a:lnTo>
                      <a:lnTo>
                        <a:pt x="55" y="273"/>
                      </a:lnTo>
                      <a:lnTo>
                        <a:pt x="55" y="274"/>
                      </a:lnTo>
                      <a:lnTo>
                        <a:pt x="54" y="274"/>
                      </a:lnTo>
                      <a:lnTo>
                        <a:pt x="54" y="273"/>
                      </a:lnTo>
                      <a:lnTo>
                        <a:pt x="55" y="273"/>
                      </a:lnTo>
                      <a:lnTo>
                        <a:pt x="54" y="273"/>
                      </a:lnTo>
                      <a:lnTo>
                        <a:pt x="55" y="273"/>
                      </a:lnTo>
                      <a:lnTo>
                        <a:pt x="54" y="273"/>
                      </a:lnTo>
                      <a:lnTo>
                        <a:pt x="54" y="273"/>
                      </a:lnTo>
                      <a:lnTo>
                        <a:pt x="55" y="273"/>
                      </a:lnTo>
                      <a:lnTo>
                        <a:pt x="55" y="273"/>
                      </a:lnTo>
                      <a:lnTo>
                        <a:pt x="55" y="273"/>
                      </a:lnTo>
                      <a:lnTo>
                        <a:pt x="55" y="273"/>
                      </a:lnTo>
                      <a:lnTo>
                        <a:pt x="55" y="273"/>
                      </a:lnTo>
                      <a:lnTo>
                        <a:pt x="55" y="273"/>
                      </a:lnTo>
                      <a:lnTo>
                        <a:pt x="55" y="272"/>
                      </a:lnTo>
                      <a:lnTo>
                        <a:pt x="55" y="272"/>
                      </a:lnTo>
                      <a:lnTo>
                        <a:pt x="55" y="273"/>
                      </a:lnTo>
                      <a:lnTo>
                        <a:pt x="55" y="272"/>
                      </a:lnTo>
                      <a:lnTo>
                        <a:pt x="55" y="273"/>
                      </a:lnTo>
                      <a:lnTo>
                        <a:pt x="54" y="273"/>
                      </a:lnTo>
                      <a:lnTo>
                        <a:pt x="55" y="273"/>
                      </a:lnTo>
                      <a:lnTo>
                        <a:pt x="55" y="272"/>
                      </a:lnTo>
                      <a:lnTo>
                        <a:pt x="55" y="271"/>
                      </a:lnTo>
                      <a:lnTo>
                        <a:pt x="55" y="271"/>
                      </a:lnTo>
                      <a:lnTo>
                        <a:pt x="56" y="271"/>
                      </a:lnTo>
                      <a:lnTo>
                        <a:pt x="57" y="271"/>
                      </a:lnTo>
                      <a:lnTo>
                        <a:pt x="56" y="271"/>
                      </a:lnTo>
                      <a:lnTo>
                        <a:pt x="57" y="271"/>
                      </a:lnTo>
                      <a:lnTo>
                        <a:pt x="56" y="271"/>
                      </a:lnTo>
                      <a:lnTo>
                        <a:pt x="55" y="271"/>
                      </a:lnTo>
                      <a:lnTo>
                        <a:pt x="56" y="271"/>
                      </a:lnTo>
                      <a:lnTo>
                        <a:pt x="55" y="271"/>
                      </a:lnTo>
                      <a:lnTo>
                        <a:pt x="55" y="272"/>
                      </a:lnTo>
                      <a:lnTo>
                        <a:pt x="55" y="271"/>
                      </a:lnTo>
                      <a:lnTo>
                        <a:pt x="56" y="271"/>
                      </a:lnTo>
                      <a:lnTo>
                        <a:pt x="56" y="272"/>
                      </a:lnTo>
                      <a:lnTo>
                        <a:pt x="56" y="271"/>
                      </a:lnTo>
                      <a:lnTo>
                        <a:pt x="56" y="272"/>
                      </a:lnTo>
                      <a:lnTo>
                        <a:pt x="56" y="271"/>
                      </a:lnTo>
                      <a:lnTo>
                        <a:pt x="56" y="272"/>
                      </a:lnTo>
                      <a:lnTo>
                        <a:pt x="56" y="271"/>
                      </a:lnTo>
                      <a:lnTo>
                        <a:pt x="56" y="272"/>
                      </a:lnTo>
                      <a:lnTo>
                        <a:pt x="56" y="271"/>
                      </a:lnTo>
                      <a:lnTo>
                        <a:pt x="56" y="272"/>
                      </a:lnTo>
                      <a:lnTo>
                        <a:pt x="56" y="271"/>
                      </a:lnTo>
                      <a:lnTo>
                        <a:pt x="57" y="271"/>
                      </a:lnTo>
                      <a:lnTo>
                        <a:pt x="57" y="271"/>
                      </a:lnTo>
                      <a:lnTo>
                        <a:pt x="58" y="271"/>
                      </a:lnTo>
                      <a:lnTo>
                        <a:pt x="58" y="271"/>
                      </a:lnTo>
                      <a:lnTo>
                        <a:pt x="58" y="271"/>
                      </a:lnTo>
                      <a:lnTo>
                        <a:pt x="58" y="271"/>
                      </a:lnTo>
                      <a:lnTo>
                        <a:pt x="58" y="271"/>
                      </a:lnTo>
                      <a:lnTo>
                        <a:pt x="58" y="271"/>
                      </a:lnTo>
                      <a:lnTo>
                        <a:pt x="58" y="271"/>
                      </a:lnTo>
                      <a:lnTo>
                        <a:pt x="58" y="272"/>
                      </a:lnTo>
                      <a:lnTo>
                        <a:pt x="58" y="271"/>
                      </a:lnTo>
                      <a:lnTo>
                        <a:pt x="58" y="272"/>
                      </a:lnTo>
                      <a:lnTo>
                        <a:pt x="57" y="272"/>
                      </a:lnTo>
                      <a:lnTo>
                        <a:pt x="58" y="272"/>
                      </a:lnTo>
                      <a:lnTo>
                        <a:pt x="57" y="272"/>
                      </a:lnTo>
                      <a:lnTo>
                        <a:pt x="57" y="273"/>
                      </a:lnTo>
                      <a:lnTo>
                        <a:pt x="57" y="273"/>
                      </a:lnTo>
                      <a:lnTo>
                        <a:pt x="57" y="273"/>
                      </a:lnTo>
                      <a:lnTo>
                        <a:pt x="57" y="273"/>
                      </a:lnTo>
                      <a:lnTo>
                        <a:pt x="57" y="273"/>
                      </a:lnTo>
                      <a:lnTo>
                        <a:pt x="57" y="273"/>
                      </a:lnTo>
                      <a:lnTo>
                        <a:pt x="57" y="273"/>
                      </a:lnTo>
                      <a:lnTo>
                        <a:pt x="57" y="273"/>
                      </a:lnTo>
                      <a:lnTo>
                        <a:pt x="57" y="273"/>
                      </a:lnTo>
                      <a:lnTo>
                        <a:pt x="57" y="273"/>
                      </a:lnTo>
                      <a:lnTo>
                        <a:pt x="57" y="273"/>
                      </a:lnTo>
                      <a:lnTo>
                        <a:pt x="58" y="273"/>
                      </a:lnTo>
                      <a:lnTo>
                        <a:pt x="58" y="273"/>
                      </a:lnTo>
                      <a:lnTo>
                        <a:pt x="58" y="273"/>
                      </a:lnTo>
                      <a:lnTo>
                        <a:pt x="58" y="273"/>
                      </a:lnTo>
                      <a:lnTo>
                        <a:pt x="58" y="273"/>
                      </a:lnTo>
                      <a:lnTo>
                        <a:pt x="58" y="273"/>
                      </a:lnTo>
                      <a:lnTo>
                        <a:pt x="58" y="273"/>
                      </a:lnTo>
                      <a:lnTo>
                        <a:pt x="58" y="273"/>
                      </a:lnTo>
                      <a:lnTo>
                        <a:pt x="58" y="273"/>
                      </a:lnTo>
                      <a:lnTo>
                        <a:pt x="58" y="273"/>
                      </a:lnTo>
                      <a:lnTo>
                        <a:pt x="58" y="273"/>
                      </a:lnTo>
                      <a:lnTo>
                        <a:pt x="58" y="273"/>
                      </a:lnTo>
                      <a:lnTo>
                        <a:pt x="58" y="273"/>
                      </a:lnTo>
                      <a:lnTo>
                        <a:pt x="58" y="273"/>
                      </a:lnTo>
                      <a:lnTo>
                        <a:pt x="58" y="273"/>
                      </a:lnTo>
                      <a:lnTo>
                        <a:pt x="58" y="273"/>
                      </a:lnTo>
                      <a:lnTo>
                        <a:pt x="57" y="273"/>
                      </a:lnTo>
                      <a:lnTo>
                        <a:pt x="57" y="272"/>
                      </a:lnTo>
                      <a:lnTo>
                        <a:pt x="58" y="272"/>
                      </a:lnTo>
                      <a:lnTo>
                        <a:pt x="58" y="271"/>
                      </a:lnTo>
                      <a:lnTo>
                        <a:pt x="58" y="271"/>
                      </a:lnTo>
                      <a:lnTo>
                        <a:pt x="58" y="271"/>
                      </a:lnTo>
                      <a:lnTo>
                        <a:pt x="58" y="271"/>
                      </a:lnTo>
                      <a:lnTo>
                        <a:pt x="58" y="272"/>
                      </a:lnTo>
                      <a:lnTo>
                        <a:pt x="58" y="271"/>
                      </a:lnTo>
                      <a:lnTo>
                        <a:pt x="58" y="272"/>
                      </a:lnTo>
                      <a:lnTo>
                        <a:pt x="58" y="272"/>
                      </a:lnTo>
                      <a:lnTo>
                        <a:pt x="58" y="272"/>
                      </a:lnTo>
                      <a:lnTo>
                        <a:pt x="58" y="273"/>
                      </a:lnTo>
                      <a:lnTo>
                        <a:pt x="58" y="272"/>
                      </a:lnTo>
                      <a:lnTo>
                        <a:pt x="59" y="272"/>
                      </a:lnTo>
                      <a:lnTo>
                        <a:pt x="58" y="272"/>
                      </a:lnTo>
                      <a:lnTo>
                        <a:pt x="59" y="272"/>
                      </a:lnTo>
                      <a:lnTo>
                        <a:pt x="59" y="272"/>
                      </a:lnTo>
                      <a:lnTo>
                        <a:pt x="59" y="272"/>
                      </a:lnTo>
                      <a:lnTo>
                        <a:pt x="59" y="271"/>
                      </a:lnTo>
                      <a:lnTo>
                        <a:pt x="59" y="272"/>
                      </a:lnTo>
                      <a:lnTo>
                        <a:pt x="59" y="271"/>
                      </a:lnTo>
                      <a:lnTo>
                        <a:pt x="59" y="272"/>
                      </a:lnTo>
                      <a:lnTo>
                        <a:pt x="59" y="271"/>
                      </a:lnTo>
                      <a:lnTo>
                        <a:pt x="59" y="271"/>
                      </a:lnTo>
                      <a:lnTo>
                        <a:pt x="58" y="271"/>
                      </a:lnTo>
                      <a:lnTo>
                        <a:pt x="58" y="271"/>
                      </a:lnTo>
                      <a:lnTo>
                        <a:pt x="58" y="270"/>
                      </a:lnTo>
                      <a:lnTo>
                        <a:pt x="58" y="270"/>
                      </a:lnTo>
                      <a:lnTo>
                        <a:pt x="58" y="270"/>
                      </a:lnTo>
                      <a:lnTo>
                        <a:pt x="58" y="270"/>
                      </a:lnTo>
                      <a:lnTo>
                        <a:pt x="58" y="270"/>
                      </a:lnTo>
                      <a:lnTo>
                        <a:pt x="58" y="270"/>
                      </a:lnTo>
                      <a:lnTo>
                        <a:pt x="59" y="270"/>
                      </a:lnTo>
                      <a:lnTo>
                        <a:pt x="58" y="270"/>
                      </a:lnTo>
                      <a:lnTo>
                        <a:pt x="59" y="270"/>
                      </a:lnTo>
                      <a:lnTo>
                        <a:pt x="58" y="270"/>
                      </a:lnTo>
                      <a:lnTo>
                        <a:pt x="58" y="271"/>
                      </a:lnTo>
                      <a:lnTo>
                        <a:pt x="58" y="270"/>
                      </a:lnTo>
                      <a:lnTo>
                        <a:pt x="58" y="271"/>
                      </a:lnTo>
                      <a:lnTo>
                        <a:pt x="58" y="270"/>
                      </a:lnTo>
                      <a:lnTo>
                        <a:pt x="59" y="270"/>
                      </a:lnTo>
                      <a:lnTo>
                        <a:pt x="58" y="270"/>
                      </a:lnTo>
                      <a:lnTo>
                        <a:pt x="59" y="270"/>
                      </a:lnTo>
                      <a:lnTo>
                        <a:pt x="59" y="270"/>
                      </a:lnTo>
                      <a:lnTo>
                        <a:pt x="58" y="270"/>
                      </a:lnTo>
                      <a:lnTo>
                        <a:pt x="59" y="270"/>
                      </a:lnTo>
                      <a:lnTo>
                        <a:pt x="59" y="270"/>
                      </a:lnTo>
                      <a:lnTo>
                        <a:pt x="59" y="270"/>
                      </a:lnTo>
                      <a:lnTo>
                        <a:pt x="59" y="270"/>
                      </a:lnTo>
                      <a:lnTo>
                        <a:pt x="59" y="270"/>
                      </a:lnTo>
                      <a:lnTo>
                        <a:pt x="59" y="270"/>
                      </a:lnTo>
                      <a:lnTo>
                        <a:pt x="59" y="270"/>
                      </a:lnTo>
                      <a:lnTo>
                        <a:pt x="59" y="270"/>
                      </a:lnTo>
                      <a:lnTo>
                        <a:pt x="59" y="269"/>
                      </a:lnTo>
                      <a:lnTo>
                        <a:pt x="59" y="269"/>
                      </a:lnTo>
                      <a:lnTo>
                        <a:pt x="59" y="269"/>
                      </a:lnTo>
                      <a:lnTo>
                        <a:pt x="60" y="268"/>
                      </a:lnTo>
                      <a:lnTo>
                        <a:pt x="61" y="268"/>
                      </a:lnTo>
                      <a:lnTo>
                        <a:pt x="60" y="268"/>
                      </a:lnTo>
                      <a:lnTo>
                        <a:pt x="61" y="268"/>
                      </a:lnTo>
                      <a:lnTo>
                        <a:pt x="60" y="268"/>
                      </a:lnTo>
                      <a:lnTo>
                        <a:pt x="61" y="268"/>
                      </a:lnTo>
                      <a:lnTo>
                        <a:pt x="61" y="267"/>
                      </a:lnTo>
                      <a:lnTo>
                        <a:pt x="61" y="268"/>
                      </a:lnTo>
                      <a:lnTo>
                        <a:pt x="61" y="267"/>
                      </a:lnTo>
                      <a:lnTo>
                        <a:pt x="61" y="267"/>
                      </a:lnTo>
                      <a:lnTo>
                        <a:pt x="61" y="266"/>
                      </a:lnTo>
                      <a:lnTo>
                        <a:pt x="62" y="266"/>
                      </a:lnTo>
                      <a:lnTo>
                        <a:pt x="62" y="266"/>
                      </a:lnTo>
                      <a:lnTo>
                        <a:pt x="63" y="266"/>
                      </a:lnTo>
                      <a:lnTo>
                        <a:pt x="63" y="265"/>
                      </a:lnTo>
                      <a:lnTo>
                        <a:pt x="63" y="265"/>
                      </a:lnTo>
                      <a:lnTo>
                        <a:pt x="63" y="266"/>
                      </a:lnTo>
                      <a:lnTo>
                        <a:pt x="63" y="265"/>
                      </a:lnTo>
                      <a:lnTo>
                        <a:pt x="63" y="265"/>
                      </a:lnTo>
                      <a:lnTo>
                        <a:pt x="63" y="266"/>
                      </a:lnTo>
                      <a:lnTo>
                        <a:pt x="64" y="266"/>
                      </a:lnTo>
                      <a:lnTo>
                        <a:pt x="64" y="266"/>
                      </a:lnTo>
                      <a:lnTo>
                        <a:pt x="65" y="266"/>
                      </a:lnTo>
                      <a:lnTo>
                        <a:pt x="64" y="267"/>
                      </a:lnTo>
                      <a:lnTo>
                        <a:pt x="63" y="267"/>
                      </a:lnTo>
                      <a:lnTo>
                        <a:pt x="63" y="267"/>
                      </a:lnTo>
                      <a:lnTo>
                        <a:pt x="64" y="267"/>
                      </a:lnTo>
                      <a:lnTo>
                        <a:pt x="63" y="267"/>
                      </a:lnTo>
                      <a:lnTo>
                        <a:pt x="63" y="268"/>
                      </a:lnTo>
                      <a:lnTo>
                        <a:pt x="63" y="269"/>
                      </a:lnTo>
                      <a:lnTo>
                        <a:pt x="63" y="269"/>
                      </a:lnTo>
                      <a:lnTo>
                        <a:pt x="63" y="268"/>
                      </a:lnTo>
                      <a:lnTo>
                        <a:pt x="63" y="269"/>
                      </a:lnTo>
                      <a:lnTo>
                        <a:pt x="63" y="269"/>
                      </a:lnTo>
                      <a:lnTo>
                        <a:pt x="63" y="270"/>
                      </a:lnTo>
                      <a:lnTo>
                        <a:pt x="62" y="270"/>
                      </a:lnTo>
                      <a:lnTo>
                        <a:pt x="62" y="270"/>
                      </a:lnTo>
                      <a:lnTo>
                        <a:pt x="63" y="270"/>
                      </a:lnTo>
                      <a:lnTo>
                        <a:pt x="63" y="270"/>
                      </a:lnTo>
                      <a:lnTo>
                        <a:pt x="63" y="270"/>
                      </a:lnTo>
                      <a:lnTo>
                        <a:pt x="63" y="271"/>
                      </a:lnTo>
                      <a:lnTo>
                        <a:pt x="63" y="270"/>
                      </a:lnTo>
                      <a:lnTo>
                        <a:pt x="62" y="270"/>
                      </a:lnTo>
                      <a:lnTo>
                        <a:pt x="63" y="270"/>
                      </a:lnTo>
                      <a:lnTo>
                        <a:pt x="62" y="271"/>
                      </a:lnTo>
                      <a:lnTo>
                        <a:pt x="62" y="271"/>
                      </a:lnTo>
                      <a:lnTo>
                        <a:pt x="62" y="271"/>
                      </a:lnTo>
                      <a:lnTo>
                        <a:pt x="62" y="271"/>
                      </a:lnTo>
                      <a:lnTo>
                        <a:pt x="62" y="271"/>
                      </a:lnTo>
                      <a:lnTo>
                        <a:pt x="62" y="271"/>
                      </a:lnTo>
                      <a:lnTo>
                        <a:pt x="62" y="271"/>
                      </a:lnTo>
                      <a:lnTo>
                        <a:pt x="62" y="271"/>
                      </a:lnTo>
                      <a:lnTo>
                        <a:pt x="62" y="271"/>
                      </a:lnTo>
                      <a:lnTo>
                        <a:pt x="61" y="271"/>
                      </a:lnTo>
                      <a:lnTo>
                        <a:pt x="61" y="272"/>
                      </a:lnTo>
                      <a:lnTo>
                        <a:pt x="61" y="273"/>
                      </a:lnTo>
                      <a:lnTo>
                        <a:pt x="61" y="273"/>
                      </a:lnTo>
                      <a:lnTo>
                        <a:pt x="61" y="274"/>
                      </a:lnTo>
                      <a:lnTo>
                        <a:pt x="61" y="273"/>
                      </a:lnTo>
                      <a:lnTo>
                        <a:pt x="62" y="274"/>
                      </a:lnTo>
                      <a:lnTo>
                        <a:pt x="62" y="273"/>
                      </a:lnTo>
                      <a:lnTo>
                        <a:pt x="61" y="273"/>
                      </a:lnTo>
                      <a:lnTo>
                        <a:pt x="62" y="273"/>
                      </a:lnTo>
                      <a:lnTo>
                        <a:pt x="62" y="274"/>
                      </a:lnTo>
                      <a:lnTo>
                        <a:pt x="62" y="274"/>
                      </a:lnTo>
                      <a:lnTo>
                        <a:pt x="62" y="274"/>
                      </a:lnTo>
                      <a:lnTo>
                        <a:pt x="62" y="273"/>
                      </a:lnTo>
                      <a:lnTo>
                        <a:pt x="62" y="274"/>
                      </a:lnTo>
                      <a:lnTo>
                        <a:pt x="62" y="273"/>
                      </a:lnTo>
                      <a:lnTo>
                        <a:pt x="62" y="273"/>
                      </a:lnTo>
                      <a:lnTo>
                        <a:pt x="62" y="273"/>
                      </a:lnTo>
                      <a:lnTo>
                        <a:pt x="62" y="273"/>
                      </a:lnTo>
                      <a:lnTo>
                        <a:pt x="62" y="273"/>
                      </a:lnTo>
                      <a:lnTo>
                        <a:pt x="62" y="273"/>
                      </a:lnTo>
                      <a:lnTo>
                        <a:pt x="62" y="273"/>
                      </a:lnTo>
                      <a:lnTo>
                        <a:pt x="62" y="273"/>
                      </a:lnTo>
                      <a:lnTo>
                        <a:pt x="62" y="273"/>
                      </a:lnTo>
                      <a:lnTo>
                        <a:pt x="62" y="273"/>
                      </a:lnTo>
                      <a:lnTo>
                        <a:pt x="62" y="273"/>
                      </a:lnTo>
                      <a:lnTo>
                        <a:pt x="62" y="273"/>
                      </a:lnTo>
                      <a:lnTo>
                        <a:pt x="62" y="273"/>
                      </a:lnTo>
                      <a:lnTo>
                        <a:pt x="62" y="273"/>
                      </a:lnTo>
                      <a:lnTo>
                        <a:pt x="62" y="273"/>
                      </a:lnTo>
                      <a:lnTo>
                        <a:pt x="62" y="273"/>
                      </a:lnTo>
                      <a:lnTo>
                        <a:pt x="62" y="273"/>
                      </a:lnTo>
                      <a:lnTo>
                        <a:pt x="62" y="273"/>
                      </a:lnTo>
                      <a:lnTo>
                        <a:pt x="62" y="273"/>
                      </a:lnTo>
                      <a:lnTo>
                        <a:pt x="63" y="273"/>
                      </a:lnTo>
                      <a:lnTo>
                        <a:pt x="63" y="274"/>
                      </a:lnTo>
                      <a:lnTo>
                        <a:pt x="63" y="273"/>
                      </a:lnTo>
                      <a:lnTo>
                        <a:pt x="62" y="273"/>
                      </a:lnTo>
                      <a:lnTo>
                        <a:pt x="62" y="273"/>
                      </a:lnTo>
                      <a:lnTo>
                        <a:pt x="62" y="273"/>
                      </a:lnTo>
                      <a:lnTo>
                        <a:pt x="62" y="274"/>
                      </a:lnTo>
                      <a:lnTo>
                        <a:pt x="62" y="273"/>
                      </a:lnTo>
                      <a:lnTo>
                        <a:pt x="62" y="274"/>
                      </a:lnTo>
                      <a:lnTo>
                        <a:pt x="62" y="274"/>
                      </a:lnTo>
                      <a:lnTo>
                        <a:pt x="62" y="274"/>
                      </a:lnTo>
                      <a:lnTo>
                        <a:pt x="62" y="274"/>
                      </a:lnTo>
                      <a:lnTo>
                        <a:pt x="62" y="274"/>
                      </a:lnTo>
                      <a:lnTo>
                        <a:pt x="62" y="275"/>
                      </a:lnTo>
                      <a:lnTo>
                        <a:pt x="62" y="274"/>
                      </a:lnTo>
                      <a:lnTo>
                        <a:pt x="62" y="275"/>
                      </a:lnTo>
                      <a:lnTo>
                        <a:pt x="63" y="275"/>
                      </a:lnTo>
                      <a:lnTo>
                        <a:pt x="62" y="275"/>
                      </a:lnTo>
                      <a:lnTo>
                        <a:pt x="62" y="275"/>
                      </a:lnTo>
                      <a:lnTo>
                        <a:pt x="62" y="275"/>
                      </a:lnTo>
                      <a:lnTo>
                        <a:pt x="62" y="275"/>
                      </a:lnTo>
                      <a:lnTo>
                        <a:pt x="62" y="275"/>
                      </a:lnTo>
                      <a:lnTo>
                        <a:pt x="62" y="275"/>
                      </a:lnTo>
                      <a:lnTo>
                        <a:pt x="63" y="275"/>
                      </a:lnTo>
                      <a:lnTo>
                        <a:pt x="62" y="275"/>
                      </a:lnTo>
                      <a:lnTo>
                        <a:pt x="63" y="275"/>
                      </a:lnTo>
                      <a:lnTo>
                        <a:pt x="62" y="275"/>
                      </a:lnTo>
                      <a:lnTo>
                        <a:pt x="62" y="276"/>
                      </a:lnTo>
                      <a:lnTo>
                        <a:pt x="62" y="275"/>
                      </a:lnTo>
                      <a:lnTo>
                        <a:pt x="62" y="276"/>
                      </a:lnTo>
                      <a:lnTo>
                        <a:pt x="62" y="276"/>
                      </a:lnTo>
                      <a:lnTo>
                        <a:pt x="62" y="276"/>
                      </a:lnTo>
                      <a:lnTo>
                        <a:pt x="63" y="276"/>
                      </a:lnTo>
                      <a:lnTo>
                        <a:pt x="62" y="276"/>
                      </a:lnTo>
                      <a:lnTo>
                        <a:pt x="63" y="276"/>
                      </a:lnTo>
                      <a:lnTo>
                        <a:pt x="63" y="275"/>
                      </a:lnTo>
                      <a:lnTo>
                        <a:pt x="63" y="276"/>
                      </a:lnTo>
                      <a:lnTo>
                        <a:pt x="63" y="276"/>
                      </a:lnTo>
                      <a:lnTo>
                        <a:pt x="63" y="276"/>
                      </a:lnTo>
                      <a:lnTo>
                        <a:pt x="63" y="276"/>
                      </a:lnTo>
                      <a:lnTo>
                        <a:pt x="64" y="275"/>
                      </a:lnTo>
                      <a:lnTo>
                        <a:pt x="63" y="275"/>
                      </a:lnTo>
                      <a:lnTo>
                        <a:pt x="64" y="275"/>
                      </a:lnTo>
                      <a:lnTo>
                        <a:pt x="63" y="275"/>
                      </a:lnTo>
                      <a:lnTo>
                        <a:pt x="64" y="275"/>
                      </a:lnTo>
                      <a:lnTo>
                        <a:pt x="64" y="276"/>
                      </a:lnTo>
                      <a:lnTo>
                        <a:pt x="64" y="277"/>
                      </a:lnTo>
                      <a:lnTo>
                        <a:pt x="64" y="276"/>
                      </a:lnTo>
                      <a:lnTo>
                        <a:pt x="64" y="277"/>
                      </a:lnTo>
                      <a:lnTo>
                        <a:pt x="64" y="276"/>
                      </a:lnTo>
                      <a:lnTo>
                        <a:pt x="64" y="277"/>
                      </a:lnTo>
                      <a:lnTo>
                        <a:pt x="64" y="276"/>
                      </a:lnTo>
                      <a:lnTo>
                        <a:pt x="64" y="277"/>
                      </a:lnTo>
                      <a:lnTo>
                        <a:pt x="65" y="277"/>
                      </a:lnTo>
                      <a:lnTo>
                        <a:pt x="64" y="277"/>
                      </a:lnTo>
                      <a:lnTo>
                        <a:pt x="65" y="277"/>
                      </a:lnTo>
                      <a:lnTo>
                        <a:pt x="64" y="276"/>
                      </a:lnTo>
                      <a:lnTo>
                        <a:pt x="65" y="276"/>
                      </a:lnTo>
                      <a:lnTo>
                        <a:pt x="64" y="276"/>
                      </a:lnTo>
                      <a:lnTo>
                        <a:pt x="65" y="276"/>
                      </a:lnTo>
                      <a:lnTo>
                        <a:pt x="65" y="277"/>
                      </a:lnTo>
                      <a:lnTo>
                        <a:pt x="65" y="276"/>
                      </a:lnTo>
                      <a:lnTo>
                        <a:pt x="65" y="276"/>
                      </a:lnTo>
                      <a:lnTo>
                        <a:pt x="65" y="276"/>
                      </a:lnTo>
                      <a:lnTo>
                        <a:pt x="65" y="276"/>
                      </a:lnTo>
                      <a:lnTo>
                        <a:pt x="65" y="277"/>
                      </a:lnTo>
                      <a:lnTo>
                        <a:pt x="65" y="277"/>
                      </a:lnTo>
                      <a:lnTo>
                        <a:pt x="65" y="277"/>
                      </a:lnTo>
                      <a:lnTo>
                        <a:pt x="65" y="276"/>
                      </a:lnTo>
                      <a:lnTo>
                        <a:pt x="65" y="277"/>
                      </a:lnTo>
                      <a:lnTo>
                        <a:pt x="65" y="276"/>
                      </a:lnTo>
                      <a:lnTo>
                        <a:pt x="65" y="276"/>
                      </a:lnTo>
                      <a:lnTo>
                        <a:pt x="65" y="275"/>
                      </a:lnTo>
                      <a:lnTo>
                        <a:pt x="65" y="276"/>
                      </a:lnTo>
                      <a:lnTo>
                        <a:pt x="65" y="275"/>
                      </a:lnTo>
                      <a:lnTo>
                        <a:pt x="65" y="276"/>
                      </a:lnTo>
                      <a:lnTo>
                        <a:pt x="65" y="275"/>
                      </a:lnTo>
                      <a:lnTo>
                        <a:pt x="65" y="276"/>
                      </a:lnTo>
                      <a:lnTo>
                        <a:pt x="65" y="275"/>
                      </a:lnTo>
                      <a:lnTo>
                        <a:pt x="65" y="275"/>
                      </a:lnTo>
                      <a:lnTo>
                        <a:pt x="65" y="275"/>
                      </a:lnTo>
                      <a:lnTo>
                        <a:pt x="65" y="275"/>
                      </a:lnTo>
                      <a:lnTo>
                        <a:pt x="65" y="275"/>
                      </a:lnTo>
                      <a:lnTo>
                        <a:pt x="65" y="275"/>
                      </a:lnTo>
                      <a:lnTo>
                        <a:pt x="65" y="275"/>
                      </a:lnTo>
                      <a:lnTo>
                        <a:pt x="65" y="275"/>
                      </a:lnTo>
                      <a:lnTo>
                        <a:pt x="65" y="275"/>
                      </a:lnTo>
                      <a:lnTo>
                        <a:pt x="64" y="275"/>
                      </a:lnTo>
                      <a:lnTo>
                        <a:pt x="63" y="275"/>
                      </a:lnTo>
                      <a:lnTo>
                        <a:pt x="63" y="274"/>
                      </a:lnTo>
                      <a:lnTo>
                        <a:pt x="64" y="275"/>
                      </a:lnTo>
                      <a:lnTo>
                        <a:pt x="65" y="275"/>
                      </a:lnTo>
                      <a:lnTo>
                        <a:pt x="65" y="274"/>
                      </a:lnTo>
                      <a:lnTo>
                        <a:pt x="64" y="274"/>
                      </a:lnTo>
                      <a:lnTo>
                        <a:pt x="63" y="274"/>
                      </a:lnTo>
                      <a:lnTo>
                        <a:pt x="64" y="274"/>
                      </a:lnTo>
                      <a:lnTo>
                        <a:pt x="63" y="274"/>
                      </a:lnTo>
                      <a:lnTo>
                        <a:pt x="63" y="274"/>
                      </a:lnTo>
                      <a:lnTo>
                        <a:pt x="63" y="274"/>
                      </a:lnTo>
                      <a:lnTo>
                        <a:pt x="63" y="274"/>
                      </a:lnTo>
                      <a:lnTo>
                        <a:pt x="63" y="274"/>
                      </a:lnTo>
                      <a:lnTo>
                        <a:pt x="63" y="274"/>
                      </a:lnTo>
                      <a:lnTo>
                        <a:pt x="64" y="274"/>
                      </a:lnTo>
                      <a:lnTo>
                        <a:pt x="64" y="274"/>
                      </a:lnTo>
                      <a:lnTo>
                        <a:pt x="65" y="274"/>
                      </a:lnTo>
                      <a:lnTo>
                        <a:pt x="65" y="275"/>
                      </a:lnTo>
                      <a:lnTo>
                        <a:pt x="65" y="275"/>
                      </a:lnTo>
                      <a:lnTo>
                        <a:pt x="65" y="275"/>
                      </a:lnTo>
                      <a:lnTo>
                        <a:pt x="66" y="275"/>
                      </a:lnTo>
                      <a:lnTo>
                        <a:pt x="66" y="276"/>
                      </a:lnTo>
                      <a:lnTo>
                        <a:pt x="66" y="277"/>
                      </a:lnTo>
                      <a:lnTo>
                        <a:pt x="65" y="277"/>
                      </a:lnTo>
                      <a:lnTo>
                        <a:pt x="65" y="277"/>
                      </a:lnTo>
                      <a:lnTo>
                        <a:pt x="65" y="277"/>
                      </a:lnTo>
                      <a:lnTo>
                        <a:pt x="65" y="277"/>
                      </a:lnTo>
                      <a:lnTo>
                        <a:pt x="64" y="277"/>
                      </a:lnTo>
                      <a:lnTo>
                        <a:pt x="65" y="277"/>
                      </a:lnTo>
                      <a:lnTo>
                        <a:pt x="65" y="277"/>
                      </a:lnTo>
                      <a:lnTo>
                        <a:pt x="64" y="277"/>
                      </a:lnTo>
                      <a:lnTo>
                        <a:pt x="63" y="277"/>
                      </a:lnTo>
                      <a:lnTo>
                        <a:pt x="63" y="278"/>
                      </a:lnTo>
                      <a:lnTo>
                        <a:pt x="63" y="278"/>
                      </a:lnTo>
                      <a:lnTo>
                        <a:pt x="63" y="278"/>
                      </a:lnTo>
                      <a:lnTo>
                        <a:pt x="63" y="278"/>
                      </a:lnTo>
                      <a:lnTo>
                        <a:pt x="63" y="278"/>
                      </a:lnTo>
                      <a:lnTo>
                        <a:pt x="63" y="278"/>
                      </a:lnTo>
                      <a:lnTo>
                        <a:pt x="63" y="278"/>
                      </a:lnTo>
                      <a:lnTo>
                        <a:pt x="63" y="278"/>
                      </a:lnTo>
                      <a:lnTo>
                        <a:pt x="64" y="278"/>
                      </a:lnTo>
                      <a:lnTo>
                        <a:pt x="63" y="278"/>
                      </a:lnTo>
                      <a:lnTo>
                        <a:pt x="64" y="278"/>
                      </a:lnTo>
                      <a:lnTo>
                        <a:pt x="64" y="279"/>
                      </a:lnTo>
                      <a:lnTo>
                        <a:pt x="65" y="279"/>
                      </a:lnTo>
                      <a:lnTo>
                        <a:pt x="64" y="279"/>
                      </a:lnTo>
                      <a:lnTo>
                        <a:pt x="65" y="279"/>
                      </a:lnTo>
                      <a:lnTo>
                        <a:pt x="64" y="279"/>
                      </a:lnTo>
                      <a:lnTo>
                        <a:pt x="65" y="279"/>
                      </a:lnTo>
                      <a:lnTo>
                        <a:pt x="64" y="279"/>
                      </a:lnTo>
                      <a:lnTo>
                        <a:pt x="65" y="279"/>
                      </a:lnTo>
                      <a:lnTo>
                        <a:pt x="65" y="280"/>
                      </a:lnTo>
                      <a:lnTo>
                        <a:pt x="65" y="279"/>
                      </a:lnTo>
                      <a:lnTo>
                        <a:pt x="65" y="279"/>
                      </a:lnTo>
                      <a:lnTo>
                        <a:pt x="65" y="279"/>
                      </a:lnTo>
                      <a:lnTo>
                        <a:pt x="65" y="278"/>
                      </a:lnTo>
                      <a:lnTo>
                        <a:pt x="65" y="278"/>
                      </a:lnTo>
                      <a:lnTo>
                        <a:pt x="65" y="278"/>
                      </a:lnTo>
                      <a:lnTo>
                        <a:pt x="65" y="278"/>
                      </a:lnTo>
                      <a:lnTo>
                        <a:pt x="65" y="278"/>
                      </a:lnTo>
                      <a:lnTo>
                        <a:pt x="65" y="278"/>
                      </a:lnTo>
                      <a:lnTo>
                        <a:pt x="65" y="277"/>
                      </a:lnTo>
                      <a:lnTo>
                        <a:pt x="65" y="277"/>
                      </a:lnTo>
                      <a:lnTo>
                        <a:pt x="66" y="277"/>
                      </a:lnTo>
                      <a:lnTo>
                        <a:pt x="65" y="277"/>
                      </a:lnTo>
                      <a:lnTo>
                        <a:pt x="66" y="277"/>
                      </a:lnTo>
                      <a:lnTo>
                        <a:pt x="65" y="277"/>
                      </a:lnTo>
                      <a:lnTo>
                        <a:pt x="65" y="277"/>
                      </a:lnTo>
                      <a:lnTo>
                        <a:pt x="65" y="277"/>
                      </a:lnTo>
                      <a:lnTo>
                        <a:pt x="66" y="277"/>
                      </a:lnTo>
                      <a:lnTo>
                        <a:pt x="66" y="277"/>
                      </a:lnTo>
                      <a:lnTo>
                        <a:pt x="65" y="277"/>
                      </a:lnTo>
                      <a:lnTo>
                        <a:pt x="65" y="277"/>
                      </a:lnTo>
                      <a:lnTo>
                        <a:pt x="65" y="277"/>
                      </a:lnTo>
                      <a:lnTo>
                        <a:pt x="64" y="277"/>
                      </a:lnTo>
                      <a:lnTo>
                        <a:pt x="65" y="277"/>
                      </a:lnTo>
                      <a:lnTo>
                        <a:pt x="65" y="277"/>
                      </a:lnTo>
                      <a:lnTo>
                        <a:pt x="66" y="277"/>
                      </a:lnTo>
                      <a:lnTo>
                        <a:pt x="66" y="277"/>
                      </a:lnTo>
                      <a:lnTo>
                        <a:pt x="66" y="278"/>
                      </a:lnTo>
                      <a:lnTo>
                        <a:pt x="66" y="278"/>
                      </a:lnTo>
                      <a:lnTo>
                        <a:pt x="66" y="278"/>
                      </a:lnTo>
                      <a:lnTo>
                        <a:pt x="66" y="278"/>
                      </a:lnTo>
                      <a:lnTo>
                        <a:pt x="66" y="278"/>
                      </a:lnTo>
                      <a:lnTo>
                        <a:pt x="66" y="278"/>
                      </a:lnTo>
                      <a:lnTo>
                        <a:pt x="66" y="277"/>
                      </a:lnTo>
                      <a:lnTo>
                        <a:pt x="66" y="278"/>
                      </a:lnTo>
                      <a:lnTo>
                        <a:pt x="66" y="278"/>
                      </a:lnTo>
                      <a:lnTo>
                        <a:pt x="66" y="278"/>
                      </a:lnTo>
                      <a:lnTo>
                        <a:pt x="66" y="278"/>
                      </a:lnTo>
                      <a:lnTo>
                        <a:pt x="66" y="279"/>
                      </a:lnTo>
                      <a:lnTo>
                        <a:pt x="67" y="279"/>
                      </a:lnTo>
                      <a:lnTo>
                        <a:pt x="67" y="278"/>
                      </a:lnTo>
                      <a:lnTo>
                        <a:pt x="67" y="279"/>
                      </a:lnTo>
                      <a:lnTo>
                        <a:pt x="67" y="279"/>
                      </a:lnTo>
                      <a:lnTo>
                        <a:pt x="67" y="278"/>
                      </a:lnTo>
                      <a:lnTo>
                        <a:pt x="67" y="279"/>
                      </a:lnTo>
                      <a:lnTo>
                        <a:pt x="67" y="279"/>
                      </a:lnTo>
                      <a:lnTo>
                        <a:pt x="67" y="278"/>
                      </a:lnTo>
                      <a:lnTo>
                        <a:pt x="67" y="278"/>
                      </a:lnTo>
                      <a:lnTo>
                        <a:pt x="67" y="278"/>
                      </a:lnTo>
                      <a:lnTo>
                        <a:pt x="67" y="278"/>
                      </a:lnTo>
                      <a:lnTo>
                        <a:pt x="67" y="279"/>
                      </a:lnTo>
                      <a:lnTo>
                        <a:pt x="67" y="278"/>
                      </a:lnTo>
                      <a:lnTo>
                        <a:pt x="67" y="279"/>
                      </a:lnTo>
                      <a:lnTo>
                        <a:pt x="67" y="278"/>
                      </a:lnTo>
                      <a:lnTo>
                        <a:pt x="67" y="279"/>
                      </a:lnTo>
                      <a:lnTo>
                        <a:pt x="67" y="279"/>
                      </a:lnTo>
                      <a:lnTo>
                        <a:pt x="67" y="279"/>
                      </a:lnTo>
                      <a:lnTo>
                        <a:pt x="67" y="279"/>
                      </a:lnTo>
                      <a:lnTo>
                        <a:pt x="67" y="279"/>
                      </a:lnTo>
                      <a:lnTo>
                        <a:pt x="67" y="280"/>
                      </a:lnTo>
                      <a:lnTo>
                        <a:pt x="67" y="279"/>
                      </a:lnTo>
                      <a:lnTo>
                        <a:pt x="67" y="280"/>
                      </a:lnTo>
                      <a:lnTo>
                        <a:pt x="67" y="279"/>
                      </a:lnTo>
                      <a:lnTo>
                        <a:pt x="68" y="279"/>
                      </a:lnTo>
                      <a:lnTo>
                        <a:pt x="68" y="280"/>
                      </a:lnTo>
                      <a:lnTo>
                        <a:pt x="67" y="280"/>
                      </a:lnTo>
                      <a:lnTo>
                        <a:pt x="67" y="280"/>
                      </a:lnTo>
                      <a:lnTo>
                        <a:pt x="68" y="280"/>
                      </a:lnTo>
                      <a:lnTo>
                        <a:pt x="67" y="280"/>
                      </a:lnTo>
                      <a:lnTo>
                        <a:pt x="68" y="280"/>
                      </a:lnTo>
                      <a:lnTo>
                        <a:pt x="68" y="281"/>
                      </a:lnTo>
                      <a:lnTo>
                        <a:pt x="69" y="281"/>
                      </a:lnTo>
                      <a:lnTo>
                        <a:pt x="69" y="280"/>
                      </a:lnTo>
                      <a:lnTo>
                        <a:pt x="69" y="281"/>
                      </a:lnTo>
                      <a:lnTo>
                        <a:pt x="69" y="280"/>
                      </a:lnTo>
                      <a:lnTo>
                        <a:pt x="69" y="281"/>
                      </a:lnTo>
                      <a:lnTo>
                        <a:pt x="68" y="281"/>
                      </a:lnTo>
                      <a:lnTo>
                        <a:pt x="69" y="281"/>
                      </a:lnTo>
                      <a:lnTo>
                        <a:pt x="69" y="281"/>
                      </a:lnTo>
                      <a:lnTo>
                        <a:pt x="69" y="281"/>
                      </a:lnTo>
                      <a:lnTo>
                        <a:pt x="69" y="281"/>
                      </a:lnTo>
                      <a:lnTo>
                        <a:pt x="69" y="281"/>
                      </a:lnTo>
                      <a:lnTo>
                        <a:pt x="69" y="282"/>
                      </a:lnTo>
                      <a:lnTo>
                        <a:pt x="70" y="282"/>
                      </a:lnTo>
                      <a:lnTo>
                        <a:pt x="70" y="282"/>
                      </a:lnTo>
                      <a:lnTo>
                        <a:pt x="69" y="282"/>
                      </a:lnTo>
                      <a:lnTo>
                        <a:pt x="70" y="282"/>
                      </a:lnTo>
                      <a:lnTo>
                        <a:pt x="69" y="282"/>
                      </a:lnTo>
                      <a:lnTo>
                        <a:pt x="69" y="282"/>
                      </a:lnTo>
                      <a:lnTo>
                        <a:pt x="69" y="282"/>
                      </a:lnTo>
                      <a:lnTo>
                        <a:pt x="69" y="282"/>
                      </a:lnTo>
                      <a:lnTo>
                        <a:pt x="69" y="282"/>
                      </a:lnTo>
                      <a:lnTo>
                        <a:pt x="69" y="282"/>
                      </a:lnTo>
                      <a:lnTo>
                        <a:pt x="68" y="282"/>
                      </a:lnTo>
                      <a:lnTo>
                        <a:pt x="67" y="282"/>
                      </a:lnTo>
                      <a:lnTo>
                        <a:pt x="67" y="282"/>
                      </a:lnTo>
                      <a:lnTo>
                        <a:pt x="67" y="282"/>
                      </a:lnTo>
                      <a:lnTo>
                        <a:pt x="67" y="283"/>
                      </a:lnTo>
                      <a:lnTo>
                        <a:pt x="67" y="282"/>
                      </a:lnTo>
                      <a:lnTo>
                        <a:pt x="67" y="283"/>
                      </a:lnTo>
                      <a:lnTo>
                        <a:pt x="68" y="283"/>
                      </a:lnTo>
                      <a:lnTo>
                        <a:pt x="68" y="284"/>
                      </a:lnTo>
                      <a:lnTo>
                        <a:pt x="67" y="284"/>
                      </a:lnTo>
                      <a:lnTo>
                        <a:pt x="68" y="284"/>
                      </a:lnTo>
                      <a:lnTo>
                        <a:pt x="67" y="284"/>
                      </a:lnTo>
                      <a:lnTo>
                        <a:pt x="68" y="284"/>
                      </a:lnTo>
                      <a:lnTo>
                        <a:pt x="67" y="284"/>
                      </a:lnTo>
                      <a:lnTo>
                        <a:pt x="68" y="284"/>
                      </a:lnTo>
                      <a:lnTo>
                        <a:pt x="69" y="284"/>
                      </a:lnTo>
                      <a:lnTo>
                        <a:pt x="69" y="283"/>
                      </a:lnTo>
                      <a:lnTo>
                        <a:pt x="69" y="283"/>
                      </a:lnTo>
                      <a:lnTo>
                        <a:pt x="69" y="284"/>
                      </a:lnTo>
                      <a:lnTo>
                        <a:pt x="69" y="284"/>
                      </a:lnTo>
                      <a:lnTo>
                        <a:pt x="69" y="284"/>
                      </a:lnTo>
                      <a:lnTo>
                        <a:pt x="69" y="284"/>
                      </a:lnTo>
                      <a:lnTo>
                        <a:pt x="69" y="284"/>
                      </a:lnTo>
                      <a:lnTo>
                        <a:pt x="69" y="284"/>
                      </a:lnTo>
                      <a:lnTo>
                        <a:pt x="69" y="284"/>
                      </a:lnTo>
                      <a:lnTo>
                        <a:pt x="69" y="284"/>
                      </a:lnTo>
                      <a:lnTo>
                        <a:pt x="69" y="284"/>
                      </a:lnTo>
                      <a:lnTo>
                        <a:pt x="69" y="284"/>
                      </a:lnTo>
                      <a:lnTo>
                        <a:pt x="69" y="283"/>
                      </a:lnTo>
                      <a:lnTo>
                        <a:pt x="70" y="283"/>
                      </a:lnTo>
                      <a:lnTo>
                        <a:pt x="70" y="283"/>
                      </a:lnTo>
                      <a:lnTo>
                        <a:pt x="70" y="283"/>
                      </a:lnTo>
                      <a:lnTo>
                        <a:pt x="70" y="283"/>
                      </a:lnTo>
                      <a:lnTo>
                        <a:pt x="70" y="284"/>
                      </a:lnTo>
                      <a:lnTo>
                        <a:pt x="71" y="284"/>
                      </a:lnTo>
                      <a:lnTo>
                        <a:pt x="71" y="284"/>
                      </a:lnTo>
                      <a:lnTo>
                        <a:pt x="71" y="284"/>
                      </a:lnTo>
                      <a:lnTo>
                        <a:pt x="71" y="284"/>
                      </a:lnTo>
                      <a:lnTo>
                        <a:pt x="70" y="284"/>
                      </a:lnTo>
                      <a:lnTo>
                        <a:pt x="70" y="283"/>
                      </a:lnTo>
                      <a:lnTo>
                        <a:pt x="70" y="282"/>
                      </a:lnTo>
                      <a:lnTo>
                        <a:pt x="71" y="282"/>
                      </a:lnTo>
                      <a:lnTo>
                        <a:pt x="70" y="282"/>
                      </a:lnTo>
                      <a:lnTo>
                        <a:pt x="71" y="282"/>
                      </a:lnTo>
                      <a:lnTo>
                        <a:pt x="71" y="282"/>
                      </a:lnTo>
                      <a:lnTo>
                        <a:pt x="71" y="282"/>
                      </a:lnTo>
                      <a:lnTo>
                        <a:pt x="70" y="282"/>
                      </a:lnTo>
                      <a:lnTo>
                        <a:pt x="70" y="282"/>
                      </a:lnTo>
                      <a:lnTo>
                        <a:pt x="71" y="282"/>
                      </a:lnTo>
                      <a:lnTo>
                        <a:pt x="70" y="282"/>
                      </a:lnTo>
                      <a:lnTo>
                        <a:pt x="71" y="282"/>
                      </a:lnTo>
                      <a:lnTo>
                        <a:pt x="70" y="282"/>
                      </a:lnTo>
                      <a:lnTo>
                        <a:pt x="71" y="282"/>
                      </a:lnTo>
                      <a:lnTo>
                        <a:pt x="70" y="282"/>
                      </a:lnTo>
                      <a:lnTo>
                        <a:pt x="71" y="282"/>
                      </a:lnTo>
                      <a:lnTo>
                        <a:pt x="71" y="282"/>
                      </a:lnTo>
                      <a:lnTo>
                        <a:pt x="72" y="282"/>
                      </a:lnTo>
                      <a:lnTo>
                        <a:pt x="72" y="283"/>
                      </a:lnTo>
                      <a:lnTo>
                        <a:pt x="72" y="282"/>
                      </a:lnTo>
                      <a:lnTo>
                        <a:pt x="72" y="283"/>
                      </a:lnTo>
                      <a:lnTo>
                        <a:pt x="72" y="284"/>
                      </a:lnTo>
                      <a:lnTo>
                        <a:pt x="72" y="284"/>
                      </a:lnTo>
                      <a:lnTo>
                        <a:pt x="73" y="284"/>
                      </a:lnTo>
                      <a:lnTo>
                        <a:pt x="73" y="284"/>
                      </a:lnTo>
                      <a:lnTo>
                        <a:pt x="73" y="284"/>
                      </a:lnTo>
                      <a:lnTo>
                        <a:pt x="73" y="284"/>
                      </a:lnTo>
                      <a:lnTo>
                        <a:pt x="73" y="284"/>
                      </a:lnTo>
                      <a:lnTo>
                        <a:pt x="74" y="284"/>
                      </a:lnTo>
                      <a:lnTo>
                        <a:pt x="74" y="285"/>
                      </a:lnTo>
                      <a:lnTo>
                        <a:pt x="74" y="285"/>
                      </a:lnTo>
                      <a:lnTo>
                        <a:pt x="74" y="285"/>
                      </a:lnTo>
                      <a:lnTo>
                        <a:pt x="74" y="285"/>
                      </a:lnTo>
                      <a:lnTo>
                        <a:pt x="74" y="285"/>
                      </a:lnTo>
                      <a:lnTo>
                        <a:pt x="74" y="285"/>
                      </a:lnTo>
                      <a:lnTo>
                        <a:pt x="74" y="285"/>
                      </a:lnTo>
                      <a:lnTo>
                        <a:pt x="75" y="285"/>
                      </a:lnTo>
                      <a:lnTo>
                        <a:pt x="75" y="286"/>
                      </a:lnTo>
                      <a:lnTo>
                        <a:pt x="74" y="286"/>
                      </a:lnTo>
                      <a:lnTo>
                        <a:pt x="75" y="286"/>
                      </a:lnTo>
                      <a:lnTo>
                        <a:pt x="74" y="286"/>
                      </a:lnTo>
                      <a:lnTo>
                        <a:pt x="74" y="286"/>
                      </a:lnTo>
                      <a:lnTo>
                        <a:pt x="74" y="286"/>
                      </a:lnTo>
                      <a:lnTo>
                        <a:pt x="74" y="286"/>
                      </a:lnTo>
                      <a:lnTo>
                        <a:pt x="74" y="286"/>
                      </a:lnTo>
                      <a:lnTo>
                        <a:pt x="75" y="286"/>
                      </a:lnTo>
                      <a:lnTo>
                        <a:pt x="75" y="285"/>
                      </a:lnTo>
                      <a:lnTo>
                        <a:pt x="76" y="285"/>
                      </a:lnTo>
                      <a:lnTo>
                        <a:pt x="76" y="285"/>
                      </a:lnTo>
                      <a:lnTo>
                        <a:pt x="76" y="286"/>
                      </a:lnTo>
                      <a:lnTo>
                        <a:pt x="76" y="285"/>
                      </a:lnTo>
                      <a:lnTo>
                        <a:pt x="76" y="286"/>
                      </a:lnTo>
                      <a:lnTo>
                        <a:pt x="76" y="285"/>
                      </a:lnTo>
                      <a:lnTo>
                        <a:pt x="76" y="285"/>
                      </a:lnTo>
                      <a:lnTo>
                        <a:pt x="76" y="285"/>
                      </a:lnTo>
                      <a:lnTo>
                        <a:pt x="75" y="285"/>
                      </a:lnTo>
                      <a:lnTo>
                        <a:pt x="76" y="285"/>
                      </a:lnTo>
                      <a:lnTo>
                        <a:pt x="75" y="285"/>
                      </a:lnTo>
                      <a:lnTo>
                        <a:pt x="75" y="284"/>
                      </a:lnTo>
                      <a:lnTo>
                        <a:pt x="74" y="284"/>
                      </a:lnTo>
                      <a:lnTo>
                        <a:pt x="75" y="284"/>
                      </a:lnTo>
                      <a:lnTo>
                        <a:pt x="74" y="284"/>
                      </a:lnTo>
                      <a:lnTo>
                        <a:pt x="75" y="284"/>
                      </a:lnTo>
                      <a:lnTo>
                        <a:pt x="74" y="284"/>
                      </a:lnTo>
                      <a:lnTo>
                        <a:pt x="74" y="284"/>
                      </a:lnTo>
                      <a:lnTo>
                        <a:pt x="74" y="284"/>
                      </a:lnTo>
                      <a:lnTo>
                        <a:pt x="74" y="284"/>
                      </a:lnTo>
                      <a:lnTo>
                        <a:pt x="74" y="284"/>
                      </a:lnTo>
                      <a:lnTo>
                        <a:pt x="74" y="284"/>
                      </a:lnTo>
                      <a:lnTo>
                        <a:pt x="74" y="284"/>
                      </a:lnTo>
                      <a:lnTo>
                        <a:pt x="75" y="284"/>
                      </a:lnTo>
                      <a:lnTo>
                        <a:pt x="74" y="284"/>
                      </a:lnTo>
                      <a:lnTo>
                        <a:pt x="75" y="284"/>
                      </a:lnTo>
                      <a:lnTo>
                        <a:pt x="74" y="284"/>
                      </a:lnTo>
                      <a:lnTo>
                        <a:pt x="75" y="284"/>
                      </a:lnTo>
                      <a:lnTo>
                        <a:pt x="76" y="284"/>
                      </a:lnTo>
                      <a:lnTo>
                        <a:pt x="75" y="284"/>
                      </a:lnTo>
                      <a:lnTo>
                        <a:pt x="76" y="284"/>
                      </a:lnTo>
                      <a:lnTo>
                        <a:pt x="75" y="284"/>
                      </a:lnTo>
                      <a:lnTo>
                        <a:pt x="76" y="284"/>
                      </a:lnTo>
                      <a:lnTo>
                        <a:pt x="75" y="284"/>
                      </a:lnTo>
                      <a:lnTo>
                        <a:pt x="76" y="284"/>
                      </a:lnTo>
                      <a:lnTo>
                        <a:pt x="76" y="284"/>
                      </a:lnTo>
                      <a:lnTo>
                        <a:pt x="76" y="284"/>
                      </a:lnTo>
                      <a:lnTo>
                        <a:pt x="76" y="284"/>
                      </a:lnTo>
                      <a:lnTo>
                        <a:pt x="76" y="284"/>
                      </a:lnTo>
                      <a:lnTo>
                        <a:pt x="76" y="284"/>
                      </a:lnTo>
                      <a:lnTo>
                        <a:pt x="76" y="284"/>
                      </a:lnTo>
                      <a:lnTo>
                        <a:pt x="75" y="284"/>
                      </a:lnTo>
                      <a:lnTo>
                        <a:pt x="75" y="285"/>
                      </a:lnTo>
                      <a:lnTo>
                        <a:pt x="75" y="284"/>
                      </a:lnTo>
                      <a:lnTo>
                        <a:pt x="76" y="284"/>
                      </a:lnTo>
                      <a:lnTo>
                        <a:pt x="75" y="284"/>
                      </a:lnTo>
                      <a:lnTo>
                        <a:pt x="75" y="285"/>
                      </a:lnTo>
                      <a:lnTo>
                        <a:pt x="75" y="284"/>
                      </a:lnTo>
                      <a:lnTo>
                        <a:pt x="75" y="285"/>
                      </a:lnTo>
                      <a:lnTo>
                        <a:pt x="76" y="285"/>
                      </a:lnTo>
                      <a:lnTo>
                        <a:pt x="75" y="285"/>
                      </a:lnTo>
                      <a:lnTo>
                        <a:pt x="76" y="285"/>
                      </a:lnTo>
                      <a:lnTo>
                        <a:pt x="76" y="284"/>
                      </a:lnTo>
                      <a:lnTo>
                        <a:pt x="76" y="285"/>
                      </a:lnTo>
                      <a:lnTo>
                        <a:pt x="76" y="284"/>
                      </a:lnTo>
                      <a:lnTo>
                        <a:pt x="76" y="285"/>
                      </a:lnTo>
                      <a:lnTo>
                        <a:pt x="76" y="285"/>
                      </a:lnTo>
                      <a:lnTo>
                        <a:pt x="76" y="284"/>
                      </a:lnTo>
                      <a:lnTo>
                        <a:pt x="76" y="285"/>
                      </a:lnTo>
                      <a:lnTo>
                        <a:pt x="76" y="284"/>
                      </a:lnTo>
                      <a:lnTo>
                        <a:pt x="76" y="285"/>
                      </a:lnTo>
                      <a:lnTo>
                        <a:pt x="76" y="284"/>
                      </a:lnTo>
                      <a:lnTo>
                        <a:pt x="77" y="284"/>
                      </a:lnTo>
                      <a:lnTo>
                        <a:pt x="76" y="284"/>
                      </a:lnTo>
                      <a:lnTo>
                        <a:pt x="77" y="284"/>
                      </a:lnTo>
                      <a:lnTo>
                        <a:pt x="77" y="285"/>
                      </a:lnTo>
                      <a:lnTo>
                        <a:pt x="76" y="285"/>
                      </a:lnTo>
                      <a:lnTo>
                        <a:pt x="76" y="285"/>
                      </a:lnTo>
                      <a:lnTo>
                        <a:pt x="76" y="285"/>
                      </a:lnTo>
                      <a:lnTo>
                        <a:pt x="77" y="285"/>
                      </a:lnTo>
                      <a:lnTo>
                        <a:pt x="76" y="285"/>
                      </a:lnTo>
                      <a:lnTo>
                        <a:pt x="77" y="285"/>
                      </a:lnTo>
                      <a:lnTo>
                        <a:pt x="77" y="285"/>
                      </a:lnTo>
                      <a:lnTo>
                        <a:pt x="77" y="285"/>
                      </a:lnTo>
                      <a:lnTo>
                        <a:pt x="77" y="285"/>
                      </a:lnTo>
                      <a:lnTo>
                        <a:pt x="77" y="285"/>
                      </a:lnTo>
                      <a:lnTo>
                        <a:pt x="78" y="285"/>
                      </a:lnTo>
                      <a:lnTo>
                        <a:pt x="77" y="285"/>
                      </a:lnTo>
                      <a:lnTo>
                        <a:pt x="77" y="285"/>
                      </a:lnTo>
                      <a:lnTo>
                        <a:pt x="77" y="285"/>
                      </a:lnTo>
                      <a:lnTo>
                        <a:pt x="78" y="285"/>
                      </a:lnTo>
                      <a:lnTo>
                        <a:pt x="78" y="285"/>
                      </a:lnTo>
                      <a:lnTo>
                        <a:pt x="77" y="285"/>
                      </a:lnTo>
                      <a:lnTo>
                        <a:pt x="78" y="285"/>
                      </a:lnTo>
                      <a:lnTo>
                        <a:pt x="78" y="285"/>
                      </a:lnTo>
                      <a:lnTo>
                        <a:pt x="78" y="285"/>
                      </a:lnTo>
                      <a:lnTo>
                        <a:pt x="78" y="285"/>
                      </a:lnTo>
                      <a:lnTo>
                        <a:pt x="78" y="286"/>
                      </a:lnTo>
                      <a:lnTo>
                        <a:pt x="78" y="285"/>
                      </a:lnTo>
                      <a:lnTo>
                        <a:pt x="78" y="286"/>
                      </a:lnTo>
                      <a:lnTo>
                        <a:pt x="78" y="286"/>
                      </a:lnTo>
                      <a:lnTo>
                        <a:pt x="79" y="286"/>
                      </a:lnTo>
                      <a:lnTo>
                        <a:pt x="79" y="287"/>
                      </a:lnTo>
                      <a:lnTo>
                        <a:pt x="79" y="288"/>
                      </a:lnTo>
                      <a:lnTo>
                        <a:pt x="79" y="287"/>
                      </a:lnTo>
                      <a:lnTo>
                        <a:pt x="80" y="287"/>
                      </a:lnTo>
                      <a:lnTo>
                        <a:pt x="80" y="288"/>
                      </a:lnTo>
                      <a:lnTo>
                        <a:pt x="80" y="287"/>
                      </a:lnTo>
                      <a:lnTo>
                        <a:pt x="79" y="287"/>
                      </a:lnTo>
                      <a:lnTo>
                        <a:pt x="79" y="286"/>
                      </a:lnTo>
                      <a:lnTo>
                        <a:pt x="80" y="286"/>
                      </a:lnTo>
                      <a:lnTo>
                        <a:pt x="80" y="286"/>
                      </a:lnTo>
                      <a:lnTo>
                        <a:pt x="80" y="286"/>
                      </a:lnTo>
                      <a:lnTo>
                        <a:pt x="80" y="286"/>
                      </a:lnTo>
                      <a:lnTo>
                        <a:pt x="80" y="286"/>
                      </a:lnTo>
                      <a:lnTo>
                        <a:pt x="80" y="286"/>
                      </a:lnTo>
                      <a:lnTo>
                        <a:pt x="80" y="286"/>
                      </a:lnTo>
                      <a:lnTo>
                        <a:pt x="80" y="286"/>
                      </a:lnTo>
                      <a:lnTo>
                        <a:pt x="80" y="286"/>
                      </a:lnTo>
                      <a:lnTo>
                        <a:pt x="80" y="286"/>
                      </a:lnTo>
                      <a:lnTo>
                        <a:pt x="80" y="286"/>
                      </a:lnTo>
                      <a:lnTo>
                        <a:pt x="80" y="286"/>
                      </a:lnTo>
                      <a:lnTo>
                        <a:pt x="80" y="286"/>
                      </a:lnTo>
                      <a:lnTo>
                        <a:pt x="80" y="286"/>
                      </a:lnTo>
                      <a:lnTo>
                        <a:pt x="80" y="286"/>
                      </a:lnTo>
                      <a:lnTo>
                        <a:pt x="80" y="286"/>
                      </a:lnTo>
                      <a:lnTo>
                        <a:pt x="80" y="287"/>
                      </a:lnTo>
                      <a:lnTo>
                        <a:pt x="80" y="288"/>
                      </a:lnTo>
                      <a:lnTo>
                        <a:pt x="80" y="288"/>
                      </a:lnTo>
                      <a:lnTo>
                        <a:pt x="81" y="288"/>
                      </a:lnTo>
                      <a:lnTo>
                        <a:pt x="80" y="288"/>
                      </a:lnTo>
                      <a:lnTo>
                        <a:pt x="81" y="288"/>
                      </a:lnTo>
                      <a:lnTo>
                        <a:pt x="80" y="288"/>
                      </a:lnTo>
                      <a:lnTo>
                        <a:pt x="81" y="288"/>
                      </a:lnTo>
                      <a:lnTo>
                        <a:pt x="80" y="288"/>
                      </a:lnTo>
                      <a:lnTo>
                        <a:pt x="81" y="288"/>
                      </a:lnTo>
                      <a:lnTo>
                        <a:pt x="80" y="288"/>
                      </a:lnTo>
                      <a:lnTo>
                        <a:pt x="80" y="289"/>
                      </a:lnTo>
                      <a:lnTo>
                        <a:pt x="80" y="288"/>
                      </a:lnTo>
                      <a:lnTo>
                        <a:pt x="80" y="289"/>
                      </a:lnTo>
                      <a:lnTo>
                        <a:pt x="80" y="289"/>
                      </a:lnTo>
                      <a:lnTo>
                        <a:pt x="80" y="288"/>
                      </a:lnTo>
                      <a:lnTo>
                        <a:pt x="80" y="288"/>
                      </a:lnTo>
                      <a:lnTo>
                        <a:pt x="80" y="288"/>
                      </a:lnTo>
                      <a:lnTo>
                        <a:pt x="80" y="289"/>
                      </a:lnTo>
                      <a:lnTo>
                        <a:pt x="80" y="289"/>
                      </a:lnTo>
                      <a:lnTo>
                        <a:pt x="80" y="289"/>
                      </a:lnTo>
                      <a:lnTo>
                        <a:pt x="80" y="289"/>
                      </a:lnTo>
                      <a:lnTo>
                        <a:pt x="80" y="289"/>
                      </a:lnTo>
                      <a:lnTo>
                        <a:pt x="80" y="289"/>
                      </a:lnTo>
                      <a:lnTo>
                        <a:pt x="80" y="290"/>
                      </a:lnTo>
                      <a:lnTo>
                        <a:pt x="81" y="290"/>
                      </a:lnTo>
                      <a:lnTo>
                        <a:pt x="81" y="291"/>
                      </a:lnTo>
                      <a:lnTo>
                        <a:pt x="81" y="291"/>
                      </a:lnTo>
                      <a:lnTo>
                        <a:pt x="81" y="291"/>
                      </a:lnTo>
                      <a:lnTo>
                        <a:pt x="81" y="291"/>
                      </a:lnTo>
                      <a:lnTo>
                        <a:pt x="81" y="291"/>
                      </a:lnTo>
                      <a:lnTo>
                        <a:pt x="81" y="291"/>
                      </a:lnTo>
                      <a:lnTo>
                        <a:pt x="81" y="291"/>
                      </a:lnTo>
                      <a:lnTo>
                        <a:pt x="81" y="291"/>
                      </a:lnTo>
                      <a:lnTo>
                        <a:pt x="81" y="291"/>
                      </a:lnTo>
                      <a:lnTo>
                        <a:pt x="82" y="291"/>
                      </a:lnTo>
                      <a:lnTo>
                        <a:pt x="83" y="292"/>
                      </a:lnTo>
                      <a:lnTo>
                        <a:pt x="83" y="292"/>
                      </a:lnTo>
                      <a:lnTo>
                        <a:pt x="83" y="292"/>
                      </a:lnTo>
                      <a:lnTo>
                        <a:pt x="83" y="291"/>
                      </a:lnTo>
                      <a:lnTo>
                        <a:pt x="83" y="291"/>
                      </a:lnTo>
                      <a:lnTo>
                        <a:pt x="84" y="291"/>
                      </a:lnTo>
                      <a:lnTo>
                        <a:pt x="84" y="291"/>
                      </a:lnTo>
                      <a:lnTo>
                        <a:pt x="83" y="291"/>
                      </a:lnTo>
                      <a:lnTo>
                        <a:pt x="84" y="291"/>
                      </a:lnTo>
                      <a:lnTo>
                        <a:pt x="84" y="292"/>
                      </a:lnTo>
                      <a:lnTo>
                        <a:pt x="84" y="292"/>
                      </a:lnTo>
                      <a:lnTo>
                        <a:pt x="84" y="292"/>
                      </a:lnTo>
                      <a:lnTo>
                        <a:pt x="84" y="292"/>
                      </a:lnTo>
                      <a:lnTo>
                        <a:pt x="85" y="292"/>
                      </a:lnTo>
                      <a:lnTo>
                        <a:pt x="85" y="291"/>
                      </a:lnTo>
                      <a:lnTo>
                        <a:pt x="84" y="291"/>
                      </a:lnTo>
                      <a:lnTo>
                        <a:pt x="84" y="291"/>
                      </a:lnTo>
                      <a:lnTo>
                        <a:pt x="84" y="291"/>
                      </a:lnTo>
                      <a:lnTo>
                        <a:pt x="83" y="291"/>
                      </a:lnTo>
                      <a:lnTo>
                        <a:pt x="83" y="290"/>
                      </a:lnTo>
                      <a:lnTo>
                        <a:pt x="84" y="290"/>
                      </a:lnTo>
                      <a:lnTo>
                        <a:pt x="84" y="289"/>
                      </a:lnTo>
                      <a:lnTo>
                        <a:pt x="84" y="289"/>
                      </a:lnTo>
                      <a:lnTo>
                        <a:pt x="84" y="289"/>
                      </a:lnTo>
                      <a:lnTo>
                        <a:pt x="84" y="288"/>
                      </a:lnTo>
                      <a:lnTo>
                        <a:pt x="84" y="289"/>
                      </a:lnTo>
                      <a:lnTo>
                        <a:pt x="84" y="289"/>
                      </a:lnTo>
                      <a:lnTo>
                        <a:pt x="83" y="289"/>
                      </a:lnTo>
                      <a:lnTo>
                        <a:pt x="83" y="288"/>
                      </a:lnTo>
                      <a:lnTo>
                        <a:pt x="83" y="288"/>
                      </a:lnTo>
                      <a:lnTo>
                        <a:pt x="83" y="288"/>
                      </a:lnTo>
                      <a:lnTo>
                        <a:pt x="83" y="288"/>
                      </a:lnTo>
                      <a:lnTo>
                        <a:pt x="83" y="287"/>
                      </a:lnTo>
                      <a:lnTo>
                        <a:pt x="82" y="287"/>
                      </a:lnTo>
                      <a:lnTo>
                        <a:pt x="83" y="287"/>
                      </a:lnTo>
                      <a:lnTo>
                        <a:pt x="82" y="286"/>
                      </a:lnTo>
                      <a:lnTo>
                        <a:pt x="82" y="286"/>
                      </a:lnTo>
                      <a:lnTo>
                        <a:pt x="83" y="286"/>
                      </a:lnTo>
                      <a:lnTo>
                        <a:pt x="83" y="286"/>
                      </a:lnTo>
                      <a:lnTo>
                        <a:pt x="83" y="286"/>
                      </a:lnTo>
                      <a:lnTo>
                        <a:pt x="83" y="286"/>
                      </a:lnTo>
                      <a:lnTo>
                        <a:pt x="83" y="285"/>
                      </a:lnTo>
                      <a:lnTo>
                        <a:pt x="83" y="286"/>
                      </a:lnTo>
                      <a:lnTo>
                        <a:pt x="83" y="285"/>
                      </a:lnTo>
                      <a:lnTo>
                        <a:pt x="83" y="286"/>
                      </a:lnTo>
                      <a:lnTo>
                        <a:pt x="84" y="286"/>
                      </a:lnTo>
                      <a:lnTo>
                        <a:pt x="83" y="286"/>
                      </a:lnTo>
                      <a:lnTo>
                        <a:pt x="83" y="285"/>
                      </a:lnTo>
                      <a:lnTo>
                        <a:pt x="83" y="285"/>
                      </a:lnTo>
                      <a:lnTo>
                        <a:pt x="83" y="285"/>
                      </a:lnTo>
                      <a:lnTo>
                        <a:pt x="83" y="285"/>
                      </a:lnTo>
                      <a:lnTo>
                        <a:pt x="83" y="285"/>
                      </a:lnTo>
                      <a:lnTo>
                        <a:pt x="83" y="285"/>
                      </a:lnTo>
                      <a:lnTo>
                        <a:pt x="83" y="285"/>
                      </a:lnTo>
                      <a:lnTo>
                        <a:pt x="83" y="285"/>
                      </a:lnTo>
                      <a:lnTo>
                        <a:pt x="83" y="286"/>
                      </a:lnTo>
                      <a:lnTo>
                        <a:pt x="83" y="285"/>
                      </a:lnTo>
                      <a:lnTo>
                        <a:pt x="82" y="285"/>
                      </a:lnTo>
                      <a:lnTo>
                        <a:pt x="83" y="285"/>
                      </a:lnTo>
                      <a:lnTo>
                        <a:pt x="82" y="285"/>
                      </a:lnTo>
                      <a:lnTo>
                        <a:pt x="83" y="285"/>
                      </a:lnTo>
                      <a:lnTo>
                        <a:pt x="82" y="285"/>
                      </a:lnTo>
                      <a:lnTo>
                        <a:pt x="83" y="285"/>
                      </a:lnTo>
                      <a:lnTo>
                        <a:pt x="83" y="286"/>
                      </a:lnTo>
                      <a:lnTo>
                        <a:pt x="82" y="286"/>
                      </a:lnTo>
                      <a:lnTo>
                        <a:pt x="82" y="285"/>
                      </a:lnTo>
                      <a:lnTo>
                        <a:pt x="81" y="285"/>
                      </a:lnTo>
                      <a:lnTo>
                        <a:pt x="81" y="285"/>
                      </a:lnTo>
                      <a:lnTo>
                        <a:pt x="81" y="285"/>
                      </a:lnTo>
                      <a:lnTo>
                        <a:pt x="81" y="284"/>
                      </a:lnTo>
                      <a:lnTo>
                        <a:pt x="80" y="284"/>
                      </a:lnTo>
                      <a:lnTo>
                        <a:pt x="81" y="284"/>
                      </a:lnTo>
                      <a:lnTo>
                        <a:pt x="81" y="284"/>
                      </a:lnTo>
                      <a:lnTo>
                        <a:pt x="81" y="284"/>
                      </a:lnTo>
                      <a:lnTo>
                        <a:pt x="80" y="284"/>
                      </a:lnTo>
                      <a:lnTo>
                        <a:pt x="80" y="284"/>
                      </a:lnTo>
                      <a:lnTo>
                        <a:pt x="80" y="284"/>
                      </a:lnTo>
                      <a:lnTo>
                        <a:pt x="80" y="284"/>
                      </a:lnTo>
                      <a:lnTo>
                        <a:pt x="79" y="284"/>
                      </a:lnTo>
                      <a:lnTo>
                        <a:pt x="78" y="284"/>
                      </a:lnTo>
                      <a:lnTo>
                        <a:pt x="78" y="283"/>
                      </a:lnTo>
                      <a:lnTo>
                        <a:pt x="79" y="283"/>
                      </a:lnTo>
                      <a:lnTo>
                        <a:pt x="79" y="282"/>
                      </a:lnTo>
                      <a:lnTo>
                        <a:pt x="79" y="283"/>
                      </a:lnTo>
                      <a:lnTo>
                        <a:pt x="79" y="282"/>
                      </a:lnTo>
                      <a:lnTo>
                        <a:pt x="78" y="282"/>
                      </a:lnTo>
                      <a:lnTo>
                        <a:pt x="79" y="283"/>
                      </a:lnTo>
                      <a:lnTo>
                        <a:pt x="78" y="283"/>
                      </a:lnTo>
                      <a:lnTo>
                        <a:pt x="78" y="284"/>
                      </a:lnTo>
                      <a:lnTo>
                        <a:pt x="78" y="283"/>
                      </a:lnTo>
                      <a:lnTo>
                        <a:pt x="78" y="284"/>
                      </a:lnTo>
                      <a:lnTo>
                        <a:pt x="78" y="284"/>
                      </a:lnTo>
                      <a:lnTo>
                        <a:pt x="77" y="283"/>
                      </a:lnTo>
                      <a:lnTo>
                        <a:pt x="77" y="283"/>
                      </a:lnTo>
                      <a:lnTo>
                        <a:pt x="76" y="283"/>
                      </a:lnTo>
                      <a:lnTo>
                        <a:pt x="76" y="282"/>
                      </a:lnTo>
                      <a:lnTo>
                        <a:pt x="76" y="282"/>
                      </a:lnTo>
                      <a:lnTo>
                        <a:pt x="76" y="282"/>
                      </a:lnTo>
                      <a:lnTo>
                        <a:pt x="76" y="282"/>
                      </a:lnTo>
                      <a:lnTo>
                        <a:pt x="76" y="282"/>
                      </a:lnTo>
                      <a:lnTo>
                        <a:pt x="76" y="283"/>
                      </a:lnTo>
                      <a:lnTo>
                        <a:pt x="76" y="283"/>
                      </a:lnTo>
                      <a:lnTo>
                        <a:pt x="75" y="283"/>
                      </a:lnTo>
                      <a:lnTo>
                        <a:pt x="75" y="282"/>
                      </a:lnTo>
                      <a:lnTo>
                        <a:pt x="75" y="283"/>
                      </a:lnTo>
                      <a:lnTo>
                        <a:pt x="75" y="282"/>
                      </a:lnTo>
                      <a:lnTo>
                        <a:pt x="75" y="282"/>
                      </a:lnTo>
                      <a:lnTo>
                        <a:pt x="74" y="281"/>
                      </a:lnTo>
                      <a:lnTo>
                        <a:pt x="74" y="281"/>
                      </a:lnTo>
                      <a:lnTo>
                        <a:pt x="74" y="281"/>
                      </a:lnTo>
                      <a:lnTo>
                        <a:pt x="74" y="281"/>
                      </a:lnTo>
                      <a:lnTo>
                        <a:pt x="74" y="281"/>
                      </a:lnTo>
                      <a:lnTo>
                        <a:pt x="73" y="281"/>
                      </a:lnTo>
                      <a:lnTo>
                        <a:pt x="73" y="281"/>
                      </a:lnTo>
                      <a:lnTo>
                        <a:pt x="73" y="280"/>
                      </a:lnTo>
                      <a:lnTo>
                        <a:pt x="73" y="281"/>
                      </a:lnTo>
                      <a:lnTo>
                        <a:pt x="73" y="280"/>
                      </a:lnTo>
                      <a:lnTo>
                        <a:pt x="73" y="280"/>
                      </a:lnTo>
                      <a:lnTo>
                        <a:pt x="73" y="280"/>
                      </a:lnTo>
                      <a:lnTo>
                        <a:pt x="73" y="281"/>
                      </a:lnTo>
                      <a:lnTo>
                        <a:pt x="72" y="281"/>
                      </a:lnTo>
                      <a:lnTo>
                        <a:pt x="72" y="281"/>
                      </a:lnTo>
                      <a:lnTo>
                        <a:pt x="71" y="281"/>
                      </a:lnTo>
                      <a:lnTo>
                        <a:pt x="71" y="280"/>
                      </a:lnTo>
                      <a:lnTo>
                        <a:pt x="70" y="280"/>
                      </a:lnTo>
                      <a:lnTo>
                        <a:pt x="70" y="280"/>
                      </a:lnTo>
                      <a:lnTo>
                        <a:pt x="70" y="280"/>
                      </a:lnTo>
                      <a:lnTo>
                        <a:pt x="69" y="280"/>
                      </a:lnTo>
                      <a:lnTo>
                        <a:pt x="69" y="279"/>
                      </a:lnTo>
                      <a:lnTo>
                        <a:pt x="70" y="279"/>
                      </a:lnTo>
                      <a:lnTo>
                        <a:pt x="69" y="279"/>
                      </a:lnTo>
                      <a:lnTo>
                        <a:pt x="69" y="279"/>
                      </a:lnTo>
                      <a:lnTo>
                        <a:pt x="69" y="278"/>
                      </a:lnTo>
                      <a:lnTo>
                        <a:pt x="68" y="278"/>
                      </a:lnTo>
                      <a:lnTo>
                        <a:pt x="68" y="278"/>
                      </a:lnTo>
                      <a:lnTo>
                        <a:pt x="67" y="277"/>
                      </a:lnTo>
                      <a:lnTo>
                        <a:pt x="67" y="277"/>
                      </a:lnTo>
                      <a:lnTo>
                        <a:pt x="67" y="277"/>
                      </a:lnTo>
                      <a:lnTo>
                        <a:pt x="67" y="277"/>
                      </a:lnTo>
                      <a:lnTo>
                        <a:pt x="67" y="277"/>
                      </a:lnTo>
                      <a:lnTo>
                        <a:pt x="67" y="277"/>
                      </a:lnTo>
                      <a:lnTo>
                        <a:pt x="67" y="277"/>
                      </a:lnTo>
                      <a:lnTo>
                        <a:pt x="66" y="277"/>
                      </a:lnTo>
                      <a:lnTo>
                        <a:pt x="66" y="276"/>
                      </a:lnTo>
                      <a:lnTo>
                        <a:pt x="67" y="276"/>
                      </a:lnTo>
                      <a:lnTo>
                        <a:pt x="67" y="276"/>
                      </a:lnTo>
                      <a:lnTo>
                        <a:pt x="67" y="275"/>
                      </a:lnTo>
                      <a:lnTo>
                        <a:pt x="68" y="275"/>
                      </a:lnTo>
                      <a:lnTo>
                        <a:pt x="68" y="275"/>
                      </a:lnTo>
                      <a:lnTo>
                        <a:pt x="68" y="275"/>
                      </a:lnTo>
                      <a:lnTo>
                        <a:pt x="68" y="275"/>
                      </a:lnTo>
                      <a:lnTo>
                        <a:pt x="68" y="275"/>
                      </a:lnTo>
                      <a:lnTo>
                        <a:pt x="67" y="275"/>
                      </a:lnTo>
                      <a:lnTo>
                        <a:pt x="67" y="275"/>
                      </a:lnTo>
                      <a:lnTo>
                        <a:pt x="67" y="276"/>
                      </a:lnTo>
                      <a:lnTo>
                        <a:pt x="66" y="276"/>
                      </a:lnTo>
                      <a:lnTo>
                        <a:pt x="66" y="275"/>
                      </a:lnTo>
                      <a:lnTo>
                        <a:pt x="66" y="275"/>
                      </a:lnTo>
                      <a:lnTo>
                        <a:pt x="65" y="275"/>
                      </a:lnTo>
                      <a:lnTo>
                        <a:pt x="66" y="275"/>
                      </a:lnTo>
                      <a:lnTo>
                        <a:pt x="65" y="275"/>
                      </a:lnTo>
                      <a:lnTo>
                        <a:pt x="65" y="274"/>
                      </a:lnTo>
                      <a:lnTo>
                        <a:pt x="65" y="274"/>
                      </a:lnTo>
                      <a:lnTo>
                        <a:pt x="64" y="274"/>
                      </a:lnTo>
                      <a:lnTo>
                        <a:pt x="64" y="274"/>
                      </a:lnTo>
                      <a:lnTo>
                        <a:pt x="65" y="274"/>
                      </a:lnTo>
                      <a:lnTo>
                        <a:pt x="64" y="274"/>
                      </a:lnTo>
                      <a:lnTo>
                        <a:pt x="63" y="274"/>
                      </a:lnTo>
                      <a:lnTo>
                        <a:pt x="63" y="273"/>
                      </a:lnTo>
                      <a:lnTo>
                        <a:pt x="63" y="273"/>
                      </a:lnTo>
                      <a:lnTo>
                        <a:pt x="64" y="273"/>
                      </a:lnTo>
                      <a:lnTo>
                        <a:pt x="64" y="273"/>
                      </a:lnTo>
                      <a:lnTo>
                        <a:pt x="64" y="273"/>
                      </a:lnTo>
                      <a:lnTo>
                        <a:pt x="65" y="273"/>
                      </a:lnTo>
                      <a:lnTo>
                        <a:pt x="65" y="273"/>
                      </a:lnTo>
                      <a:lnTo>
                        <a:pt x="65" y="273"/>
                      </a:lnTo>
                      <a:lnTo>
                        <a:pt x="65" y="273"/>
                      </a:lnTo>
                      <a:lnTo>
                        <a:pt x="65" y="273"/>
                      </a:lnTo>
                      <a:lnTo>
                        <a:pt x="65" y="272"/>
                      </a:lnTo>
                      <a:lnTo>
                        <a:pt x="65" y="271"/>
                      </a:lnTo>
                      <a:lnTo>
                        <a:pt x="65" y="271"/>
                      </a:lnTo>
                      <a:lnTo>
                        <a:pt x="65" y="270"/>
                      </a:lnTo>
                      <a:lnTo>
                        <a:pt x="65" y="270"/>
                      </a:lnTo>
                      <a:lnTo>
                        <a:pt x="65" y="270"/>
                      </a:lnTo>
                      <a:lnTo>
                        <a:pt x="65" y="270"/>
                      </a:lnTo>
                      <a:lnTo>
                        <a:pt x="65" y="270"/>
                      </a:lnTo>
                      <a:lnTo>
                        <a:pt x="65" y="270"/>
                      </a:lnTo>
                      <a:lnTo>
                        <a:pt x="65" y="270"/>
                      </a:lnTo>
                      <a:lnTo>
                        <a:pt x="66" y="270"/>
                      </a:lnTo>
                      <a:lnTo>
                        <a:pt x="66" y="269"/>
                      </a:lnTo>
                      <a:lnTo>
                        <a:pt x="66" y="269"/>
                      </a:lnTo>
                      <a:lnTo>
                        <a:pt x="67" y="269"/>
                      </a:lnTo>
                      <a:lnTo>
                        <a:pt x="67" y="269"/>
                      </a:lnTo>
                      <a:lnTo>
                        <a:pt x="67" y="269"/>
                      </a:lnTo>
                      <a:lnTo>
                        <a:pt x="67" y="268"/>
                      </a:lnTo>
                      <a:lnTo>
                        <a:pt x="67" y="267"/>
                      </a:lnTo>
                      <a:lnTo>
                        <a:pt x="67" y="268"/>
                      </a:lnTo>
                      <a:lnTo>
                        <a:pt x="67" y="267"/>
                      </a:lnTo>
                      <a:lnTo>
                        <a:pt x="67" y="267"/>
                      </a:lnTo>
                      <a:lnTo>
                        <a:pt x="67" y="267"/>
                      </a:lnTo>
                      <a:lnTo>
                        <a:pt x="67" y="267"/>
                      </a:lnTo>
                      <a:lnTo>
                        <a:pt x="67" y="267"/>
                      </a:lnTo>
                      <a:lnTo>
                        <a:pt x="67" y="267"/>
                      </a:lnTo>
                      <a:lnTo>
                        <a:pt x="68" y="267"/>
                      </a:lnTo>
                      <a:lnTo>
                        <a:pt x="67" y="267"/>
                      </a:lnTo>
                      <a:lnTo>
                        <a:pt x="68" y="266"/>
                      </a:lnTo>
                      <a:lnTo>
                        <a:pt x="69" y="266"/>
                      </a:lnTo>
                      <a:lnTo>
                        <a:pt x="69" y="266"/>
                      </a:lnTo>
                      <a:lnTo>
                        <a:pt x="69" y="266"/>
                      </a:lnTo>
                      <a:lnTo>
                        <a:pt x="70" y="266"/>
                      </a:lnTo>
                      <a:lnTo>
                        <a:pt x="70" y="265"/>
                      </a:lnTo>
                      <a:lnTo>
                        <a:pt x="69" y="265"/>
                      </a:lnTo>
                      <a:lnTo>
                        <a:pt x="69" y="265"/>
                      </a:lnTo>
                      <a:lnTo>
                        <a:pt x="69" y="264"/>
                      </a:lnTo>
                      <a:lnTo>
                        <a:pt x="69" y="264"/>
                      </a:lnTo>
                      <a:lnTo>
                        <a:pt x="69" y="264"/>
                      </a:lnTo>
                      <a:lnTo>
                        <a:pt x="69" y="263"/>
                      </a:lnTo>
                      <a:lnTo>
                        <a:pt x="70" y="263"/>
                      </a:lnTo>
                      <a:lnTo>
                        <a:pt x="69" y="263"/>
                      </a:lnTo>
                      <a:lnTo>
                        <a:pt x="69" y="264"/>
                      </a:lnTo>
                      <a:lnTo>
                        <a:pt x="69" y="263"/>
                      </a:lnTo>
                      <a:lnTo>
                        <a:pt x="69" y="264"/>
                      </a:lnTo>
                      <a:lnTo>
                        <a:pt x="70" y="263"/>
                      </a:lnTo>
                      <a:lnTo>
                        <a:pt x="70" y="264"/>
                      </a:lnTo>
                      <a:lnTo>
                        <a:pt x="69" y="264"/>
                      </a:lnTo>
                      <a:lnTo>
                        <a:pt x="70" y="264"/>
                      </a:lnTo>
                      <a:lnTo>
                        <a:pt x="70" y="263"/>
                      </a:lnTo>
                      <a:lnTo>
                        <a:pt x="69" y="263"/>
                      </a:lnTo>
                      <a:lnTo>
                        <a:pt x="70" y="263"/>
                      </a:lnTo>
                      <a:lnTo>
                        <a:pt x="70" y="263"/>
                      </a:lnTo>
                      <a:lnTo>
                        <a:pt x="70" y="263"/>
                      </a:lnTo>
                      <a:lnTo>
                        <a:pt x="69" y="263"/>
                      </a:lnTo>
                      <a:lnTo>
                        <a:pt x="69" y="263"/>
                      </a:lnTo>
                      <a:lnTo>
                        <a:pt x="69" y="263"/>
                      </a:lnTo>
                      <a:lnTo>
                        <a:pt x="69" y="263"/>
                      </a:lnTo>
                      <a:lnTo>
                        <a:pt x="69" y="263"/>
                      </a:lnTo>
                      <a:lnTo>
                        <a:pt x="70" y="263"/>
                      </a:lnTo>
                      <a:lnTo>
                        <a:pt x="70" y="263"/>
                      </a:lnTo>
                      <a:lnTo>
                        <a:pt x="70" y="263"/>
                      </a:lnTo>
                      <a:lnTo>
                        <a:pt x="70" y="263"/>
                      </a:lnTo>
                      <a:lnTo>
                        <a:pt x="70" y="263"/>
                      </a:lnTo>
                      <a:lnTo>
                        <a:pt x="70" y="263"/>
                      </a:lnTo>
                      <a:lnTo>
                        <a:pt x="70" y="263"/>
                      </a:lnTo>
                      <a:lnTo>
                        <a:pt x="70" y="263"/>
                      </a:lnTo>
                      <a:lnTo>
                        <a:pt x="70" y="263"/>
                      </a:lnTo>
                      <a:lnTo>
                        <a:pt x="70" y="263"/>
                      </a:lnTo>
                      <a:lnTo>
                        <a:pt x="70" y="263"/>
                      </a:lnTo>
                      <a:lnTo>
                        <a:pt x="70" y="263"/>
                      </a:lnTo>
                      <a:lnTo>
                        <a:pt x="70" y="263"/>
                      </a:lnTo>
                      <a:lnTo>
                        <a:pt x="70" y="264"/>
                      </a:lnTo>
                      <a:lnTo>
                        <a:pt x="70" y="263"/>
                      </a:lnTo>
                      <a:lnTo>
                        <a:pt x="70" y="264"/>
                      </a:lnTo>
                      <a:lnTo>
                        <a:pt x="70" y="263"/>
                      </a:lnTo>
                      <a:lnTo>
                        <a:pt x="70" y="263"/>
                      </a:lnTo>
                      <a:lnTo>
                        <a:pt x="70" y="264"/>
                      </a:lnTo>
                      <a:lnTo>
                        <a:pt x="70" y="263"/>
                      </a:lnTo>
                      <a:lnTo>
                        <a:pt x="70" y="264"/>
                      </a:lnTo>
                      <a:lnTo>
                        <a:pt x="71" y="264"/>
                      </a:lnTo>
                      <a:lnTo>
                        <a:pt x="71" y="263"/>
                      </a:lnTo>
                      <a:lnTo>
                        <a:pt x="70" y="263"/>
                      </a:lnTo>
                      <a:lnTo>
                        <a:pt x="71" y="263"/>
                      </a:lnTo>
                      <a:lnTo>
                        <a:pt x="70" y="263"/>
                      </a:lnTo>
                      <a:lnTo>
                        <a:pt x="71" y="263"/>
                      </a:lnTo>
                      <a:lnTo>
                        <a:pt x="70" y="263"/>
                      </a:lnTo>
                      <a:lnTo>
                        <a:pt x="71" y="263"/>
                      </a:lnTo>
                      <a:lnTo>
                        <a:pt x="70" y="263"/>
                      </a:lnTo>
                      <a:lnTo>
                        <a:pt x="70" y="263"/>
                      </a:lnTo>
                      <a:lnTo>
                        <a:pt x="70" y="263"/>
                      </a:lnTo>
                      <a:lnTo>
                        <a:pt x="70" y="263"/>
                      </a:lnTo>
                      <a:lnTo>
                        <a:pt x="70" y="263"/>
                      </a:lnTo>
                      <a:lnTo>
                        <a:pt x="71" y="263"/>
                      </a:lnTo>
                      <a:lnTo>
                        <a:pt x="70" y="263"/>
                      </a:lnTo>
                      <a:lnTo>
                        <a:pt x="71" y="263"/>
                      </a:lnTo>
                      <a:lnTo>
                        <a:pt x="70" y="263"/>
                      </a:lnTo>
                      <a:lnTo>
                        <a:pt x="70" y="263"/>
                      </a:lnTo>
                      <a:lnTo>
                        <a:pt x="70" y="263"/>
                      </a:lnTo>
                      <a:lnTo>
                        <a:pt x="71" y="263"/>
                      </a:lnTo>
                      <a:lnTo>
                        <a:pt x="70" y="263"/>
                      </a:lnTo>
                      <a:lnTo>
                        <a:pt x="71" y="263"/>
                      </a:lnTo>
                      <a:lnTo>
                        <a:pt x="72" y="263"/>
                      </a:lnTo>
                      <a:lnTo>
                        <a:pt x="72" y="263"/>
                      </a:lnTo>
                      <a:lnTo>
                        <a:pt x="72" y="263"/>
                      </a:lnTo>
                      <a:lnTo>
                        <a:pt x="72" y="263"/>
                      </a:lnTo>
                      <a:lnTo>
                        <a:pt x="72" y="263"/>
                      </a:lnTo>
                      <a:lnTo>
                        <a:pt x="72" y="263"/>
                      </a:lnTo>
                      <a:lnTo>
                        <a:pt x="72" y="263"/>
                      </a:lnTo>
                      <a:lnTo>
                        <a:pt x="72" y="263"/>
                      </a:lnTo>
                      <a:lnTo>
                        <a:pt x="72" y="263"/>
                      </a:lnTo>
                      <a:lnTo>
                        <a:pt x="72" y="263"/>
                      </a:lnTo>
                      <a:lnTo>
                        <a:pt x="72" y="263"/>
                      </a:lnTo>
                      <a:lnTo>
                        <a:pt x="72" y="263"/>
                      </a:lnTo>
                      <a:lnTo>
                        <a:pt x="72" y="263"/>
                      </a:lnTo>
                      <a:lnTo>
                        <a:pt x="72" y="263"/>
                      </a:lnTo>
                      <a:lnTo>
                        <a:pt x="72" y="262"/>
                      </a:lnTo>
                      <a:lnTo>
                        <a:pt x="72" y="263"/>
                      </a:lnTo>
                      <a:lnTo>
                        <a:pt x="72" y="262"/>
                      </a:lnTo>
                      <a:lnTo>
                        <a:pt x="72" y="263"/>
                      </a:lnTo>
                      <a:lnTo>
                        <a:pt x="73" y="263"/>
                      </a:lnTo>
                      <a:lnTo>
                        <a:pt x="73" y="262"/>
                      </a:lnTo>
                      <a:lnTo>
                        <a:pt x="73" y="263"/>
                      </a:lnTo>
                      <a:lnTo>
                        <a:pt x="73" y="262"/>
                      </a:lnTo>
                      <a:lnTo>
                        <a:pt x="73" y="263"/>
                      </a:lnTo>
                      <a:lnTo>
                        <a:pt x="73" y="262"/>
                      </a:lnTo>
                      <a:lnTo>
                        <a:pt x="73" y="263"/>
                      </a:lnTo>
                      <a:lnTo>
                        <a:pt x="73" y="263"/>
                      </a:lnTo>
                      <a:lnTo>
                        <a:pt x="73" y="263"/>
                      </a:lnTo>
                      <a:lnTo>
                        <a:pt x="73" y="263"/>
                      </a:lnTo>
                      <a:lnTo>
                        <a:pt x="73" y="263"/>
                      </a:lnTo>
                      <a:lnTo>
                        <a:pt x="73" y="264"/>
                      </a:lnTo>
                      <a:lnTo>
                        <a:pt x="73" y="263"/>
                      </a:lnTo>
                      <a:lnTo>
                        <a:pt x="73" y="264"/>
                      </a:lnTo>
                      <a:lnTo>
                        <a:pt x="73" y="264"/>
                      </a:lnTo>
                      <a:lnTo>
                        <a:pt x="73" y="264"/>
                      </a:lnTo>
                      <a:lnTo>
                        <a:pt x="73" y="264"/>
                      </a:lnTo>
                      <a:lnTo>
                        <a:pt x="73" y="264"/>
                      </a:lnTo>
                      <a:lnTo>
                        <a:pt x="74" y="264"/>
                      </a:lnTo>
                      <a:lnTo>
                        <a:pt x="73" y="264"/>
                      </a:lnTo>
                      <a:lnTo>
                        <a:pt x="74" y="264"/>
                      </a:lnTo>
                      <a:lnTo>
                        <a:pt x="73" y="264"/>
                      </a:lnTo>
                      <a:lnTo>
                        <a:pt x="74" y="264"/>
                      </a:lnTo>
                      <a:lnTo>
                        <a:pt x="74" y="264"/>
                      </a:lnTo>
                      <a:lnTo>
                        <a:pt x="75" y="264"/>
                      </a:lnTo>
                      <a:lnTo>
                        <a:pt x="76" y="264"/>
                      </a:lnTo>
                      <a:lnTo>
                        <a:pt x="75" y="264"/>
                      </a:lnTo>
                      <a:lnTo>
                        <a:pt x="76" y="264"/>
                      </a:lnTo>
                      <a:lnTo>
                        <a:pt x="75" y="264"/>
                      </a:lnTo>
                      <a:lnTo>
                        <a:pt x="75" y="264"/>
                      </a:lnTo>
                      <a:lnTo>
                        <a:pt x="75" y="264"/>
                      </a:lnTo>
                      <a:lnTo>
                        <a:pt x="76" y="264"/>
                      </a:lnTo>
                      <a:lnTo>
                        <a:pt x="76" y="264"/>
                      </a:lnTo>
                      <a:lnTo>
                        <a:pt x="76" y="264"/>
                      </a:lnTo>
                      <a:lnTo>
                        <a:pt x="76" y="264"/>
                      </a:lnTo>
                      <a:lnTo>
                        <a:pt x="76" y="263"/>
                      </a:lnTo>
                      <a:lnTo>
                        <a:pt x="77" y="263"/>
                      </a:lnTo>
                      <a:lnTo>
                        <a:pt x="77" y="264"/>
                      </a:lnTo>
                      <a:lnTo>
                        <a:pt x="77" y="263"/>
                      </a:lnTo>
                      <a:lnTo>
                        <a:pt x="77" y="264"/>
                      </a:lnTo>
                      <a:lnTo>
                        <a:pt x="77" y="264"/>
                      </a:lnTo>
                      <a:lnTo>
                        <a:pt x="78" y="264"/>
                      </a:lnTo>
                      <a:lnTo>
                        <a:pt x="77" y="264"/>
                      </a:lnTo>
                      <a:lnTo>
                        <a:pt x="77" y="263"/>
                      </a:lnTo>
                      <a:lnTo>
                        <a:pt x="77" y="264"/>
                      </a:lnTo>
                      <a:lnTo>
                        <a:pt x="77" y="264"/>
                      </a:lnTo>
                      <a:lnTo>
                        <a:pt x="77" y="263"/>
                      </a:lnTo>
                      <a:lnTo>
                        <a:pt x="76" y="263"/>
                      </a:lnTo>
                      <a:lnTo>
                        <a:pt x="76" y="264"/>
                      </a:lnTo>
                      <a:lnTo>
                        <a:pt x="76" y="264"/>
                      </a:lnTo>
                      <a:lnTo>
                        <a:pt x="75" y="264"/>
                      </a:lnTo>
                      <a:lnTo>
                        <a:pt x="74" y="264"/>
                      </a:lnTo>
                      <a:lnTo>
                        <a:pt x="75" y="264"/>
                      </a:lnTo>
                      <a:lnTo>
                        <a:pt x="74" y="264"/>
                      </a:lnTo>
                      <a:lnTo>
                        <a:pt x="74" y="263"/>
                      </a:lnTo>
                      <a:lnTo>
                        <a:pt x="75" y="263"/>
                      </a:lnTo>
                      <a:lnTo>
                        <a:pt x="74" y="263"/>
                      </a:lnTo>
                      <a:lnTo>
                        <a:pt x="74" y="263"/>
                      </a:lnTo>
                      <a:lnTo>
                        <a:pt x="74" y="264"/>
                      </a:lnTo>
                      <a:lnTo>
                        <a:pt x="74" y="264"/>
                      </a:lnTo>
                      <a:lnTo>
                        <a:pt x="74" y="264"/>
                      </a:lnTo>
                      <a:lnTo>
                        <a:pt x="74" y="264"/>
                      </a:lnTo>
                      <a:lnTo>
                        <a:pt x="74" y="264"/>
                      </a:lnTo>
                      <a:lnTo>
                        <a:pt x="73" y="264"/>
                      </a:lnTo>
                      <a:lnTo>
                        <a:pt x="74" y="264"/>
                      </a:lnTo>
                      <a:lnTo>
                        <a:pt x="73" y="264"/>
                      </a:lnTo>
                      <a:lnTo>
                        <a:pt x="74" y="264"/>
                      </a:lnTo>
                      <a:lnTo>
                        <a:pt x="73" y="264"/>
                      </a:lnTo>
                      <a:lnTo>
                        <a:pt x="73" y="263"/>
                      </a:lnTo>
                      <a:lnTo>
                        <a:pt x="73" y="263"/>
                      </a:lnTo>
                      <a:lnTo>
                        <a:pt x="73" y="263"/>
                      </a:lnTo>
                      <a:lnTo>
                        <a:pt x="73" y="263"/>
                      </a:lnTo>
                      <a:lnTo>
                        <a:pt x="73" y="263"/>
                      </a:lnTo>
                      <a:lnTo>
                        <a:pt x="73" y="263"/>
                      </a:lnTo>
                      <a:lnTo>
                        <a:pt x="73" y="263"/>
                      </a:lnTo>
                      <a:lnTo>
                        <a:pt x="73" y="263"/>
                      </a:lnTo>
                      <a:lnTo>
                        <a:pt x="74" y="263"/>
                      </a:lnTo>
                      <a:lnTo>
                        <a:pt x="73" y="263"/>
                      </a:lnTo>
                      <a:lnTo>
                        <a:pt x="73" y="263"/>
                      </a:lnTo>
                      <a:lnTo>
                        <a:pt x="73" y="263"/>
                      </a:lnTo>
                      <a:lnTo>
                        <a:pt x="73" y="263"/>
                      </a:lnTo>
                      <a:lnTo>
                        <a:pt x="73" y="262"/>
                      </a:lnTo>
                      <a:lnTo>
                        <a:pt x="73" y="263"/>
                      </a:lnTo>
                      <a:lnTo>
                        <a:pt x="73" y="262"/>
                      </a:lnTo>
                      <a:lnTo>
                        <a:pt x="73" y="263"/>
                      </a:lnTo>
                      <a:lnTo>
                        <a:pt x="73" y="262"/>
                      </a:lnTo>
                      <a:lnTo>
                        <a:pt x="73" y="262"/>
                      </a:lnTo>
                      <a:lnTo>
                        <a:pt x="73" y="263"/>
                      </a:lnTo>
                      <a:lnTo>
                        <a:pt x="72" y="263"/>
                      </a:lnTo>
                      <a:lnTo>
                        <a:pt x="72" y="262"/>
                      </a:lnTo>
                      <a:lnTo>
                        <a:pt x="73" y="262"/>
                      </a:lnTo>
                      <a:lnTo>
                        <a:pt x="72" y="262"/>
                      </a:lnTo>
                      <a:lnTo>
                        <a:pt x="73" y="262"/>
                      </a:lnTo>
                      <a:lnTo>
                        <a:pt x="73" y="262"/>
                      </a:lnTo>
                      <a:lnTo>
                        <a:pt x="73" y="262"/>
                      </a:lnTo>
                      <a:lnTo>
                        <a:pt x="72" y="262"/>
                      </a:lnTo>
                      <a:lnTo>
                        <a:pt x="73" y="262"/>
                      </a:lnTo>
                      <a:lnTo>
                        <a:pt x="72" y="262"/>
                      </a:lnTo>
                      <a:lnTo>
                        <a:pt x="73" y="262"/>
                      </a:lnTo>
                      <a:lnTo>
                        <a:pt x="72" y="262"/>
                      </a:lnTo>
                      <a:lnTo>
                        <a:pt x="72" y="262"/>
                      </a:lnTo>
                      <a:lnTo>
                        <a:pt x="72" y="262"/>
                      </a:lnTo>
                      <a:lnTo>
                        <a:pt x="72" y="262"/>
                      </a:lnTo>
                      <a:lnTo>
                        <a:pt x="72" y="262"/>
                      </a:lnTo>
                      <a:lnTo>
                        <a:pt x="72" y="262"/>
                      </a:lnTo>
                      <a:lnTo>
                        <a:pt x="72" y="262"/>
                      </a:lnTo>
                      <a:lnTo>
                        <a:pt x="71" y="262"/>
                      </a:lnTo>
                      <a:lnTo>
                        <a:pt x="72" y="262"/>
                      </a:lnTo>
                      <a:lnTo>
                        <a:pt x="71" y="262"/>
                      </a:lnTo>
                      <a:lnTo>
                        <a:pt x="72" y="262"/>
                      </a:lnTo>
                      <a:lnTo>
                        <a:pt x="71" y="262"/>
                      </a:lnTo>
                      <a:lnTo>
                        <a:pt x="72" y="262"/>
                      </a:lnTo>
                      <a:lnTo>
                        <a:pt x="71" y="262"/>
                      </a:lnTo>
                      <a:lnTo>
                        <a:pt x="71" y="261"/>
                      </a:lnTo>
                      <a:lnTo>
                        <a:pt x="70" y="261"/>
                      </a:lnTo>
                      <a:lnTo>
                        <a:pt x="70" y="261"/>
                      </a:lnTo>
                      <a:lnTo>
                        <a:pt x="70" y="261"/>
                      </a:lnTo>
                      <a:lnTo>
                        <a:pt x="70" y="260"/>
                      </a:lnTo>
                      <a:lnTo>
                        <a:pt x="70" y="261"/>
                      </a:lnTo>
                      <a:lnTo>
                        <a:pt x="70" y="260"/>
                      </a:lnTo>
                      <a:lnTo>
                        <a:pt x="70" y="261"/>
                      </a:lnTo>
                      <a:lnTo>
                        <a:pt x="70" y="260"/>
                      </a:lnTo>
                      <a:lnTo>
                        <a:pt x="70" y="261"/>
                      </a:lnTo>
                      <a:lnTo>
                        <a:pt x="70" y="260"/>
                      </a:lnTo>
                      <a:lnTo>
                        <a:pt x="70" y="261"/>
                      </a:lnTo>
                      <a:lnTo>
                        <a:pt x="71" y="261"/>
                      </a:lnTo>
                      <a:lnTo>
                        <a:pt x="71" y="260"/>
                      </a:lnTo>
                      <a:lnTo>
                        <a:pt x="70" y="260"/>
                      </a:lnTo>
                      <a:lnTo>
                        <a:pt x="70" y="261"/>
                      </a:lnTo>
                      <a:lnTo>
                        <a:pt x="70" y="260"/>
                      </a:lnTo>
                      <a:lnTo>
                        <a:pt x="71" y="260"/>
                      </a:lnTo>
                      <a:lnTo>
                        <a:pt x="70" y="260"/>
                      </a:lnTo>
                      <a:lnTo>
                        <a:pt x="71" y="260"/>
                      </a:lnTo>
                      <a:lnTo>
                        <a:pt x="70" y="260"/>
                      </a:lnTo>
                      <a:lnTo>
                        <a:pt x="71" y="260"/>
                      </a:lnTo>
                      <a:lnTo>
                        <a:pt x="70" y="260"/>
                      </a:lnTo>
                      <a:lnTo>
                        <a:pt x="71" y="260"/>
                      </a:lnTo>
                      <a:lnTo>
                        <a:pt x="70" y="260"/>
                      </a:lnTo>
                      <a:lnTo>
                        <a:pt x="71" y="260"/>
                      </a:lnTo>
                      <a:lnTo>
                        <a:pt x="70" y="260"/>
                      </a:lnTo>
                      <a:lnTo>
                        <a:pt x="71" y="260"/>
                      </a:lnTo>
                      <a:lnTo>
                        <a:pt x="71" y="259"/>
                      </a:lnTo>
                      <a:lnTo>
                        <a:pt x="71" y="259"/>
                      </a:lnTo>
                      <a:lnTo>
                        <a:pt x="72" y="259"/>
                      </a:lnTo>
                      <a:lnTo>
                        <a:pt x="71" y="259"/>
                      </a:lnTo>
                      <a:lnTo>
                        <a:pt x="72" y="259"/>
                      </a:lnTo>
                      <a:lnTo>
                        <a:pt x="72" y="259"/>
                      </a:lnTo>
                      <a:lnTo>
                        <a:pt x="72" y="259"/>
                      </a:lnTo>
                      <a:lnTo>
                        <a:pt x="72" y="259"/>
                      </a:lnTo>
                      <a:lnTo>
                        <a:pt x="72" y="259"/>
                      </a:lnTo>
                      <a:lnTo>
                        <a:pt x="71" y="259"/>
                      </a:lnTo>
                      <a:lnTo>
                        <a:pt x="71" y="258"/>
                      </a:lnTo>
                      <a:lnTo>
                        <a:pt x="72" y="258"/>
                      </a:lnTo>
                      <a:lnTo>
                        <a:pt x="72" y="259"/>
                      </a:lnTo>
                      <a:lnTo>
                        <a:pt x="72" y="258"/>
                      </a:lnTo>
                      <a:lnTo>
                        <a:pt x="72" y="259"/>
                      </a:lnTo>
                      <a:lnTo>
                        <a:pt x="72" y="258"/>
                      </a:lnTo>
                      <a:lnTo>
                        <a:pt x="72" y="259"/>
                      </a:lnTo>
                      <a:lnTo>
                        <a:pt x="72" y="259"/>
                      </a:lnTo>
                      <a:lnTo>
                        <a:pt x="73" y="259"/>
                      </a:lnTo>
                      <a:lnTo>
                        <a:pt x="72" y="259"/>
                      </a:lnTo>
                      <a:lnTo>
                        <a:pt x="72" y="259"/>
                      </a:lnTo>
                      <a:lnTo>
                        <a:pt x="73" y="259"/>
                      </a:lnTo>
                      <a:lnTo>
                        <a:pt x="72" y="259"/>
                      </a:lnTo>
                      <a:lnTo>
                        <a:pt x="73" y="259"/>
                      </a:lnTo>
                      <a:lnTo>
                        <a:pt x="72" y="259"/>
                      </a:lnTo>
                      <a:lnTo>
                        <a:pt x="72" y="259"/>
                      </a:lnTo>
                      <a:lnTo>
                        <a:pt x="73" y="259"/>
                      </a:lnTo>
                      <a:lnTo>
                        <a:pt x="73" y="259"/>
                      </a:lnTo>
                      <a:lnTo>
                        <a:pt x="73" y="258"/>
                      </a:lnTo>
                      <a:lnTo>
                        <a:pt x="73" y="258"/>
                      </a:lnTo>
                      <a:lnTo>
                        <a:pt x="72" y="258"/>
                      </a:lnTo>
                      <a:lnTo>
                        <a:pt x="73" y="258"/>
                      </a:lnTo>
                      <a:lnTo>
                        <a:pt x="72" y="258"/>
                      </a:lnTo>
                      <a:lnTo>
                        <a:pt x="72" y="258"/>
                      </a:lnTo>
                      <a:lnTo>
                        <a:pt x="72" y="258"/>
                      </a:lnTo>
                      <a:lnTo>
                        <a:pt x="71" y="257"/>
                      </a:lnTo>
                      <a:lnTo>
                        <a:pt x="72" y="257"/>
                      </a:lnTo>
                      <a:lnTo>
                        <a:pt x="71" y="257"/>
                      </a:lnTo>
                      <a:lnTo>
                        <a:pt x="71" y="256"/>
                      </a:lnTo>
                      <a:lnTo>
                        <a:pt x="72" y="256"/>
                      </a:lnTo>
                      <a:lnTo>
                        <a:pt x="71" y="256"/>
                      </a:lnTo>
                      <a:lnTo>
                        <a:pt x="72" y="256"/>
                      </a:lnTo>
                      <a:lnTo>
                        <a:pt x="71" y="256"/>
                      </a:lnTo>
                      <a:lnTo>
                        <a:pt x="70" y="256"/>
                      </a:lnTo>
                      <a:lnTo>
                        <a:pt x="70" y="256"/>
                      </a:lnTo>
                      <a:lnTo>
                        <a:pt x="70" y="256"/>
                      </a:lnTo>
                      <a:lnTo>
                        <a:pt x="71" y="256"/>
                      </a:lnTo>
                      <a:lnTo>
                        <a:pt x="70" y="256"/>
                      </a:lnTo>
                      <a:lnTo>
                        <a:pt x="70" y="256"/>
                      </a:lnTo>
                      <a:lnTo>
                        <a:pt x="70" y="256"/>
                      </a:lnTo>
                      <a:lnTo>
                        <a:pt x="70" y="256"/>
                      </a:lnTo>
                      <a:lnTo>
                        <a:pt x="70" y="256"/>
                      </a:lnTo>
                      <a:lnTo>
                        <a:pt x="70" y="256"/>
                      </a:lnTo>
                      <a:lnTo>
                        <a:pt x="71" y="256"/>
                      </a:lnTo>
                      <a:lnTo>
                        <a:pt x="72" y="256"/>
                      </a:lnTo>
                      <a:lnTo>
                        <a:pt x="72" y="256"/>
                      </a:lnTo>
                      <a:lnTo>
                        <a:pt x="72" y="256"/>
                      </a:lnTo>
                      <a:lnTo>
                        <a:pt x="71" y="256"/>
                      </a:lnTo>
                      <a:lnTo>
                        <a:pt x="72" y="256"/>
                      </a:lnTo>
                      <a:lnTo>
                        <a:pt x="72" y="256"/>
                      </a:lnTo>
                      <a:lnTo>
                        <a:pt x="72" y="256"/>
                      </a:lnTo>
                      <a:lnTo>
                        <a:pt x="72" y="256"/>
                      </a:lnTo>
                      <a:lnTo>
                        <a:pt x="72" y="256"/>
                      </a:lnTo>
                      <a:lnTo>
                        <a:pt x="72" y="256"/>
                      </a:lnTo>
                      <a:lnTo>
                        <a:pt x="72" y="256"/>
                      </a:lnTo>
                      <a:lnTo>
                        <a:pt x="72" y="256"/>
                      </a:lnTo>
                      <a:lnTo>
                        <a:pt x="72" y="256"/>
                      </a:lnTo>
                      <a:lnTo>
                        <a:pt x="72" y="256"/>
                      </a:lnTo>
                      <a:lnTo>
                        <a:pt x="72" y="257"/>
                      </a:lnTo>
                      <a:lnTo>
                        <a:pt x="72" y="257"/>
                      </a:lnTo>
                      <a:lnTo>
                        <a:pt x="72" y="258"/>
                      </a:lnTo>
                      <a:lnTo>
                        <a:pt x="72" y="258"/>
                      </a:lnTo>
                      <a:lnTo>
                        <a:pt x="72" y="257"/>
                      </a:lnTo>
                      <a:lnTo>
                        <a:pt x="72" y="258"/>
                      </a:lnTo>
                      <a:lnTo>
                        <a:pt x="73" y="258"/>
                      </a:lnTo>
                      <a:lnTo>
                        <a:pt x="73" y="257"/>
                      </a:lnTo>
                      <a:lnTo>
                        <a:pt x="73" y="257"/>
                      </a:lnTo>
                      <a:lnTo>
                        <a:pt x="74" y="257"/>
                      </a:lnTo>
                      <a:lnTo>
                        <a:pt x="73" y="257"/>
                      </a:lnTo>
                      <a:lnTo>
                        <a:pt x="73" y="256"/>
                      </a:lnTo>
                      <a:lnTo>
                        <a:pt x="73" y="257"/>
                      </a:lnTo>
                      <a:lnTo>
                        <a:pt x="73" y="257"/>
                      </a:lnTo>
                      <a:lnTo>
                        <a:pt x="73" y="257"/>
                      </a:lnTo>
                      <a:lnTo>
                        <a:pt x="73" y="257"/>
                      </a:lnTo>
                      <a:lnTo>
                        <a:pt x="73" y="257"/>
                      </a:lnTo>
                      <a:lnTo>
                        <a:pt x="73" y="257"/>
                      </a:lnTo>
                      <a:lnTo>
                        <a:pt x="73" y="256"/>
                      </a:lnTo>
                      <a:lnTo>
                        <a:pt x="72" y="256"/>
                      </a:lnTo>
                      <a:lnTo>
                        <a:pt x="73" y="256"/>
                      </a:lnTo>
                      <a:lnTo>
                        <a:pt x="72" y="256"/>
                      </a:lnTo>
                      <a:lnTo>
                        <a:pt x="72" y="256"/>
                      </a:lnTo>
                      <a:lnTo>
                        <a:pt x="72" y="256"/>
                      </a:lnTo>
                      <a:lnTo>
                        <a:pt x="72" y="256"/>
                      </a:lnTo>
                      <a:lnTo>
                        <a:pt x="72" y="256"/>
                      </a:lnTo>
                      <a:lnTo>
                        <a:pt x="72" y="256"/>
                      </a:lnTo>
                      <a:lnTo>
                        <a:pt x="72" y="256"/>
                      </a:lnTo>
                      <a:lnTo>
                        <a:pt x="72" y="256"/>
                      </a:lnTo>
                      <a:lnTo>
                        <a:pt x="72" y="256"/>
                      </a:lnTo>
                      <a:lnTo>
                        <a:pt x="72" y="255"/>
                      </a:lnTo>
                      <a:lnTo>
                        <a:pt x="72" y="255"/>
                      </a:lnTo>
                      <a:lnTo>
                        <a:pt x="72" y="255"/>
                      </a:lnTo>
                      <a:lnTo>
                        <a:pt x="71" y="255"/>
                      </a:lnTo>
                      <a:lnTo>
                        <a:pt x="71" y="255"/>
                      </a:lnTo>
                      <a:lnTo>
                        <a:pt x="71" y="254"/>
                      </a:lnTo>
                      <a:lnTo>
                        <a:pt x="71" y="254"/>
                      </a:lnTo>
                      <a:lnTo>
                        <a:pt x="71" y="254"/>
                      </a:lnTo>
                      <a:lnTo>
                        <a:pt x="71" y="254"/>
                      </a:lnTo>
                      <a:lnTo>
                        <a:pt x="70" y="254"/>
                      </a:lnTo>
                      <a:lnTo>
                        <a:pt x="71" y="254"/>
                      </a:lnTo>
                      <a:lnTo>
                        <a:pt x="70" y="254"/>
                      </a:lnTo>
                      <a:lnTo>
                        <a:pt x="70" y="253"/>
                      </a:lnTo>
                      <a:lnTo>
                        <a:pt x="71" y="253"/>
                      </a:lnTo>
                      <a:lnTo>
                        <a:pt x="71" y="252"/>
                      </a:lnTo>
                      <a:lnTo>
                        <a:pt x="72" y="252"/>
                      </a:lnTo>
                      <a:lnTo>
                        <a:pt x="71" y="252"/>
                      </a:lnTo>
                      <a:lnTo>
                        <a:pt x="71" y="253"/>
                      </a:lnTo>
                      <a:lnTo>
                        <a:pt x="72" y="253"/>
                      </a:lnTo>
                      <a:lnTo>
                        <a:pt x="71" y="253"/>
                      </a:lnTo>
                      <a:lnTo>
                        <a:pt x="72" y="253"/>
                      </a:lnTo>
                      <a:lnTo>
                        <a:pt x="71" y="253"/>
                      </a:lnTo>
                      <a:lnTo>
                        <a:pt x="71" y="254"/>
                      </a:lnTo>
                      <a:lnTo>
                        <a:pt x="71" y="253"/>
                      </a:lnTo>
                      <a:lnTo>
                        <a:pt x="71" y="254"/>
                      </a:lnTo>
                      <a:lnTo>
                        <a:pt x="72" y="254"/>
                      </a:lnTo>
                      <a:lnTo>
                        <a:pt x="71" y="254"/>
                      </a:lnTo>
                      <a:lnTo>
                        <a:pt x="72" y="254"/>
                      </a:lnTo>
                      <a:lnTo>
                        <a:pt x="72" y="254"/>
                      </a:lnTo>
                      <a:lnTo>
                        <a:pt x="72" y="254"/>
                      </a:lnTo>
                      <a:lnTo>
                        <a:pt x="72" y="254"/>
                      </a:lnTo>
                      <a:lnTo>
                        <a:pt x="72" y="255"/>
                      </a:lnTo>
                      <a:lnTo>
                        <a:pt x="72" y="255"/>
                      </a:lnTo>
                      <a:lnTo>
                        <a:pt x="72" y="255"/>
                      </a:lnTo>
                      <a:lnTo>
                        <a:pt x="72" y="255"/>
                      </a:lnTo>
                      <a:lnTo>
                        <a:pt x="72" y="255"/>
                      </a:lnTo>
                      <a:lnTo>
                        <a:pt x="72" y="255"/>
                      </a:lnTo>
                      <a:lnTo>
                        <a:pt x="72" y="255"/>
                      </a:lnTo>
                      <a:lnTo>
                        <a:pt x="72" y="255"/>
                      </a:lnTo>
                      <a:lnTo>
                        <a:pt x="73" y="255"/>
                      </a:lnTo>
                      <a:lnTo>
                        <a:pt x="72" y="255"/>
                      </a:lnTo>
                      <a:lnTo>
                        <a:pt x="72" y="254"/>
                      </a:lnTo>
                      <a:lnTo>
                        <a:pt x="73" y="254"/>
                      </a:lnTo>
                      <a:lnTo>
                        <a:pt x="73" y="254"/>
                      </a:lnTo>
                      <a:lnTo>
                        <a:pt x="73" y="254"/>
                      </a:lnTo>
                      <a:lnTo>
                        <a:pt x="73" y="254"/>
                      </a:lnTo>
                      <a:lnTo>
                        <a:pt x="74" y="254"/>
                      </a:lnTo>
                      <a:lnTo>
                        <a:pt x="73" y="254"/>
                      </a:lnTo>
                      <a:lnTo>
                        <a:pt x="74" y="254"/>
                      </a:lnTo>
                      <a:lnTo>
                        <a:pt x="74" y="254"/>
                      </a:lnTo>
                      <a:lnTo>
                        <a:pt x="74" y="254"/>
                      </a:lnTo>
                      <a:lnTo>
                        <a:pt x="74" y="254"/>
                      </a:lnTo>
                      <a:lnTo>
                        <a:pt x="74" y="255"/>
                      </a:lnTo>
                      <a:lnTo>
                        <a:pt x="74" y="254"/>
                      </a:lnTo>
                      <a:lnTo>
                        <a:pt x="74" y="254"/>
                      </a:lnTo>
                      <a:lnTo>
                        <a:pt x="74" y="254"/>
                      </a:lnTo>
                      <a:lnTo>
                        <a:pt x="74" y="254"/>
                      </a:lnTo>
                      <a:lnTo>
                        <a:pt x="74" y="254"/>
                      </a:lnTo>
                      <a:lnTo>
                        <a:pt x="74" y="254"/>
                      </a:lnTo>
                      <a:lnTo>
                        <a:pt x="74" y="254"/>
                      </a:lnTo>
                      <a:lnTo>
                        <a:pt x="74" y="254"/>
                      </a:lnTo>
                      <a:lnTo>
                        <a:pt x="74" y="253"/>
                      </a:lnTo>
                      <a:lnTo>
                        <a:pt x="74" y="254"/>
                      </a:lnTo>
                      <a:lnTo>
                        <a:pt x="74" y="254"/>
                      </a:lnTo>
                      <a:lnTo>
                        <a:pt x="73" y="254"/>
                      </a:lnTo>
                      <a:lnTo>
                        <a:pt x="74" y="254"/>
                      </a:lnTo>
                      <a:lnTo>
                        <a:pt x="73" y="254"/>
                      </a:lnTo>
                      <a:lnTo>
                        <a:pt x="74" y="254"/>
                      </a:lnTo>
                      <a:lnTo>
                        <a:pt x="73" y="254"/>
                      </a:lnTo>
                      <a:lnTo>
                        <a:pt x="73" y="254"/>
                      </a:lnTo>
                      <a:lnTo>
                        <a:pt x="73" y="253"/>
                      </a:lnTo>
                      <a:lnTo>
                        <a:pt x="73" y="254"/>
                      </a:lnTo>
                      <a:lnTo>
                        <a:pt x="73" y="253"/>
                      </a:lnTo>
                      <a:lnTo>
                        <a:pt x="73" y="254"/>
                      </a:lnTo>
                      <a:lnTo>
                        <a:pt x="72" y="254"/>
                      </a:lnTo>
                      <a:lnTo>
                        <a:pt x="72" y="253"/>
                      </a:lnTo>
                      <a:lnTo>
                        <a:pt x="72" y="254"/>
                      </a:lnTo>
                      <a:lnTo>
                        <a:pt x="72" y="253"/>
                      </a:lnTo>
                      <a:lnTo>
                        <a:pt x="72" y="253"/>
                      </a:lnTo>
                      <a:lnTo>
                        <a:pt x="72" y="253"/>
                      </a:lnTo>
                      <a:lnTo>
                        <a:pt x="72" y="253"/>
                      </a:lnTo>
                      <a:lnTo>
                        <a:pt x="72" y="253"/>
                      </a:lnTo>
                      <a:lnTo>
                        <a:pt x="72" y="252"/>
                      </a:lnTo>
                      <a:lnTo>
                        <a:pt x="72" y="253"/>
                      </a:lnTo>
                      <a:lnTo>
                        <a:pt x="72" y="252"/>
                      </a:lnTo>
                      <a:lnTo>
                        <a:pt x="72" y="252"/>
                      </a:lnTo>
                      <a:lnTo>
                        <a:pt x="72" y="252"/>
                      </a:lnTo>
                      <a:lnTo>
                        <a:pt x="72" y="252"/>
                      </a:lnTo>
                      <a:lnTo>
                        <a:pt x="72" y="252"/>
                      </a:lnTo>
                      <a:lnTo>
                        <a:pt x="71" y="252"/>
                      </a:lnTo>
                      <a:lnTo>
                        <a:pt x="71" y="252"/>
                      </a:lnTo>
                      <a:lnTo>
                        <a:pt x="71" y="252"/>
                      </a:lnTo>
                      <a:lnTo>
                        <a:pt x="70" y="252"/>
                      </a:lnTo>
                      <a:lnTo>
                        <a:pt x="70" y="251"/>
                      </a:lnTo>
                      <a:lnTo>
                        <a:pt x="70" y="251"/>
                      </a:lnTo>
                      <a:lnTo>
                        <a:pt x="70" y="251"/>
                      </a:lnTo>
                      <a:lnTo>
                        <a:pt x="70" y="252"/>
                      </a:lnTo>
                      <a:lnTo>
                        <a:pt x="71" y="252"/>
                      </a:lnTo>
                      <a:lnTo>
                        <a:pt x="70" y="251"/>
                      </a:lnTo>
                      <a:lnTo>
                        <a:pt x="71" y="251"/>
                      </a:lnTo>
                      <a:lnTo>
                        <a:pt x="70" y="251"/>
                      </a:lnTo>
                      <a:lnTo>
                        <a:pt x="71" y="251"/>
                      </a:lnTo>
                      <a:lnTo>
                        <a:pt x="70" y="251"/>
                      </a:lnTo>
                      <a:lnTo>
                        <a:pt x="70" y="251"/>
                      </a:lnTo>
                      <a:lnTo>
                        <a:pt x="69" y="251"/>
                      </a:lnTo>
                      <a:lnTo>
                        <a:pt x="70" y="251"/>
                      </a:lnTo>
                      <a:lnTo>
                        <a:pt x="70" y="251"/>
                      </a:lnTo>
                      <a:lnTo>
                        <a:pt x="70" y="250"/>
                      </a:lnTo>
                      <a:lnTo>
                        <a:pt x="71" y="250"/>
                      </a:lnTo>
                      <a:lnTo>
                        <a:pt x="72" y="250"/>
                      </a:lnTo>
                      <a:lnTo>
                        <a:pt x="72" y="250"/>
                      </a:lnTo>
                      <a:lnTo>
                        <a:pt x="72" y="250"/>
                      </a:lnTo>
                      <a:lnTo>
                        <a:pt x="72" y="250"/>
                      </a:lnTo>
                      <a:lnTo>
                        <a:pt x="73" y="250"/>
                      </a:lnTo>
                      <a:lnTo>
                        <a:pt x="73" y="249"/>
                      </a:lnTo>
                      <a:lnTo>
                        <a:pt x="73" y="250"/>
                      </a:lnTo>
                      <a:lnTo>
                        <a:pt x="73" y="249"/>
                      </a:lnTo>
                      <a:lnTo>
                        <a:pt x="73" y="250"/>
                      </a:lnTo>
                      <a:lnTo>
                        <a:pt x="73" y="249"/>
                      </a:lnTo>
                      <a:lnTo>
                        <a:pt x="73" y="250"/>
                      </a:lnTo>
                      <a:lnTo>
                        <a:pt x="73" y="250"/>
                      </a:lnTo>
                      <a:lnTo>
                        <a:pt x="73" y="249"/>
                      </a:lnTo>
                      <a:lnTo>
                        <a:pt x="73" y="249"/>
                      </a:lnTo>
                      <a:lnTo>
                        <a:pt x="73" y="249"/>
                      </a:lnTo>
                      <a:lnTo>
                        <a:pt x="73" y="250"/>
                      </a:lnTo>
                      <a:lnTo>
                        <a:pt x="73" y="249"/>
                      </a:lnTo>
                      <a:lnTo>
                        <a:pt x="73" y="249"/>
                      </a:lnTo>
                      <a:lnTo>
                        <a:pt x="73" y="249"/>
                      </a:lnTo>
                      <a:lnTo>
                        <a:pt x="73" y="249"/>
                      </a:lnTo>
                      <a:lnTo>
                        <a:pt x="73" y="249"/>
                      </a:lnTo>
                      <a:lnTo>
                        <a:pt x="73" y="249"/>
                      </a:lnTo>
                      <a:lnTo>
                        <a:pt x="72" y="249"/>
                      </a:lnTo>
                      <a:lnTo>
                        <a:pt x="72" y="249"/>
                      </a:lnTo>
                      <a:lnTo>
                        <a:pt x="72" y="249"/>
                      </a:lnTo>
                      <a:lnTo>
                        <a:pt x="72" y="249"/>
                      </a:lnTo>
                      <a:lnTo>
                        <a:pt x="71" y="249"/>
                      </a:lnTo>
                      <a:lnTo>
                        <a:pt x="71" y="249"/>
                      </a:lnTo>
                      <a:lnTo>
                        <a:pt x="70" y="249"/>
                      </a:lnTo>
                      <a:lnTo>
                        <a:pt x="71" y="249"/>
                      </a:lnTo>
                      <a:lnTo>
                        <a:pt x="71" y="249"/>
                      </a:lnTo>
                      <a:lnTo>
                        <a:pt x="70" y="249"/>
                      </a:lnTo>
                      <a:lnTo>
                        <a:pt x="70" y="249"/>
                      </a:lnTo>
                      <a:lnTo>
                        <a:pt x="70" y="250"/>
                      </a:lnTo>
                      <a:lnTo>
                        <a:pt x="70" y="249"/>
                      </a:lnTo>
                      <a:lnTo>
                        <a:pt x="70" y="250"/>
                      </a:lnTo>
                      <a:lnTo>
                        <a:pt x="69" y="250"/>
                      </a:lnTo>
                      <a:lnTo>
                        <a:pt x="69" y="250"/>
                      </a:lnTo>
                      <a:lnTo>
                        <a:pt x="69" y="251"/>
                      </a:lnTo>
                      <a:lnTo>
                        <a:pt x="68" y="251"/>
                      </a:lnTo>
                      <a:lnTo>
                        <a:pt x="69" y="251"/>
                      </a:lnTo>
                      <a:lnTo>
                        <a:pt x="68" y="251"/>
                      </a:lnTo>
                      <a:lnTo>
                        <a:pt x="67" y="251"/>
                      </a:lnTo>
                      <a:lnTo>
                        <a:pt x="67" y="250"/>
                      </a:lnTo>
                      <a:lnTo>
                        <a:pt x="67" y="249"/>
                      </a:lnTo>
                      <a:lnTo>
                        <a:pt x="67" y="249"/>
                      </a:lnTo>
                      <a:lnTo>
                        <a:pt x="68" y="249"/>
                      </a:lnTo>
                      <a:lnTo>
                        <a:pt x="68" y="249"/>
                      </a:lnTo>
                      <a:lnTo>
                        <a:pt x="68" y="249"/>
                      </a:lnTo>
                      <a:lnTo>
                        <a:pt x="68" y="249"/>
                      </a:lnTo>
                      <a:lnTo>
                        <a:pt x="68" y="249"/>
                      </a:lnTo>
                      <a:lnTo>
                        <a:pt x="67" y="249"/>
                      </a:lnTo>
                      <a:lnTo>
                        <a:pt x="67" y="248"/>
                      </a:lnTo>
                      <a:lnTo>
                        <a:pt x="67" y="248"/>
                      </a:lnTo>
                      <a:lnTo>
                        <a:pt x="68" y="248"/>
                      </a:lnTo>
                      <a:lnTo>
                        <a:pt x="68" y="247"/>
                      </a:lnTo>
                      <a:lnTo>
                        <a:pt x="68" y="248"/>
                      </a:lnTo>
                      <a:lnTo>
                        <a:pt x="68" y="247"/>
                      </a:lnTo>
                      <a:lnTo>
                        <a:pt x="69" y="247"/>
                      </a:lnTo>
                      <a:lnTo>
                        <a:pt x="68" y="247"/>
                      </a:lnTo>
                      <a:lnTo>
                        <a:pt x="69" y="247"/>
                      </a:lnTo>
                      <a:lnTo>
                        <a:pt x="69" y="247"/>
                      </a:lnTo>
                      <a:lnTo>
                        <a:pt x="69" y="247"/>
                      </a:lnTo>
                      <a:lnTo>
                        <a:pt x="69" y="247"/>
                      </a:lnTo>
                      <a:lnTo>
                        <a:pt x="69" y="247"/>
                      </a:lnTo>
                      <a:lnTo>
                        <a:pt x="69" y="247"/>
                      </a:lnTo>
                      <a:lnTo>
                        <a:pt x="69" y="247"/>
                      </a:lnTo>
                      <a:lnTo>
                        <a:pt x="69" y="247"/>
                      </a:lnTo>
                      <a:lnTo>
                        <a:pt x="69" y="247"/>
                      </a:lnTo>
                      <a:lnTo>
                        <a:pt x="69" y="247"/>
                      </a:lnTo>
                      <a:lnTo>
                        <a:pt x="70" y="247"/>
                      </a:lnTo>
                      <a:lnTo>
                        <a:pt x="70" y="248"/>
                      </a:lnTo>
                      <a:lnTo>
                        <a:pt x="69" y="248"/>
                      </a:lnTo>
                      <a:lnTo>
                        <a:pt x="70" y="248"/>
                      </a:lnTo>
                      <a:lnTo>
                        <a:pt x="70" y="247"/>
                      </a:lnTo>
                      <a:lnTo>
                        <a:pt x="70" y="247"/>
                      </a:lnTo>
                      <a:lnTo>
                        <a:pt x="70" y="248"/>
                      </a:lnTo>
                      <a:lnTo>
                        <a:pt x="71" y="248"/>
                      </a:lnTo>
                      <a:lnTo>
                        <a:pt x="70" y="248"/>
                      </a:lnTo>
                      <a:lnTo>
                        <a:pt x="70" y="247"/>
                      </a:lnTo>
                      <a:lnTo>
                        <a:pt x="71" y="247"/>
                      </a:lnTo>
                      <a:lnTo>
                        <a:pt x="72" y="247"/>
                      </a:lnTo>
                      <a:lnTo>
                        <a:pt x="71" y="247"/>
                      </a:lnTo>
                      <a:lnTo>
                        <a:pt x="70" y="247"/>
                      </a:lnTo>
                      <a:lnTo>
                        <a:pt x="70" y="247"/>
                      </a:lnTo>
                      <a:lnTo>
                        <a:pt x="69" y="247"/>
                      </a:lnTo>
                      <a:lnTo>
                        <a:pt x="70" y="247"/>
                      </a:lnTo>
                      <a:lnTo>
                        <a:pt x="70" y="247"/>
                      </a:lnTo>
                      <a:lnTo>
                        <a:pt x="71" y="247"/>
                      </a:lnTo>
                      <a:lnTo>
                        <a:pt x="71" y="246"/>
                      </a:lnTo>
                      <a:lnTo>
                        <a:pt x="72" y="246"/>
                      </a:lnTo>
                      <a:lnTo>
                        <a:pt x="71" y="246"/>
                      </a:lnTo>
                      <a:lnTo>
                        <a:pt x="70" y="246"/>
                      </a:lnTo>
                      <a:lnTo>
                        <a:pt x="71" y="245"/>
                      </a:lnTo>
                      <a:lnTo>
                        <a:pt x="70" y="245"/>
                      </a:lnTo>
                      <a:lnTo>
                        <a:pt x="70" y="246"/>
                      </a:lnTo>
                      <a:lnTo>
                        <a:pt x="70" y="245"/>
                      </a:lnTo>
                      <a:lnTo>
                        <a:pt x="70" y="246"/>
                      </a:lnTo>
                      <a:lnTo>
                        <a:pt x="70" y="245"/>
                      </a:lnTo>
                      <a:lnTo>
                        <a:pt x="70" y="246"/>
                      </a:lnTo>
                      <a:lnTo>
                        <a:pt x="70" y="245"/>
                      </a:lnTo>
                      <a:lnTo>
                        <a:pt x="70" y="246"/>
                      </a:lnTo>
                      <a:lnTo>
                        <a:pt x="70" y="245"/>
                      </a:lnTo>
                      <a:lnTo>
                        <a:pt x="70" y="246"/>
                      </a:lnTo>
                      <a:lnTo>
                        <a:pt x="70" y="246"/>
                      </a:lnTo>
                      <a:lnTo>
                        <a:pt x="70" y="246"/>
                      </a:lnTo>
                      <a:lnTo>
                        <a:pt x="70" y="245"/>
                      </a:lnTo>
                      <a:lnTo>
                        <a:pt x="70" y="246"/>
                      </a:lnTo>
                      <a:lnTo>
                        <a:pt x="70" y="245"/>
                      </a:lnTo>
                      <a:lnTo>
                        <a:pt x="70" y="246"/>
                      </a:lnTo>
                      <a:lnTo>
                        <a:pt x="70" y="247"/>
                      </a:lnTo>
                      <a:lnTo>
                        <a:pt x="69" y="246"/>
                      </a:lnTo>
                      <a:lnTo>
                        <a:pt x="69" y="247"/>
                      </a:lnTo>
                      <a:lnTo>
                        <a:pt x="69" y="247"/>
                      </a:lnTo>
                      <a:lnTo>
                        <a:pt x="69" y="246"/>
                      </a:lnTo>
                      <a:lnTo>
                        <a:pt x="69" y="245"/>
                      </a:lnTo>
                      <a:lnTo>
                        <a:pt x="68" y="245"/>
                      </a:lnTo>
                      <a:lnTo>
                        <a:pt x="69" y="245"/>
                      </a:lnTo>
                      <a:lnTo>
                        <a:pt x="68" y="245"/>
                      </a:lnTo>
                      <a:lnTo>
                        <a:pt x="69" y="245"/>
                      </a:lnTo>
                      <a:lnTo>
                        <a:pt x="68" y="245"/>
                      </a:lnTo>
                      <a:lnTo>
                        <a:pt x="67" y="245"/>
                      </a:lnTo>
                      <a:lnTo>
                        <a:pt x="67" y="245"/>
                      </a:lnTo>
                      <a:lnTo>
                        <a:pt x="67" y="245"/>
                      </a:lnTo>
                      <a:lnTo>
                        <a:pt x="66" y="245"/>
                      </a:lnTo>
                      <a:lnTo>
                        <a:pt x="66" y="245"/>
                      </a:lnTo>
                      <a:lnTo>
                        <a:pt x="66" y="245"/>
                      </a:lnTo>
                      <a:lnTo>
                        <a:pt x="65" y="245"/>
                      </a:lnTo>
                      <a:lnTo>
                        <a:pt x="65" y="246"/>
                      </a:lnTo>
                      <a:lnTo>
                        <a:pt x="65" y="245"/>
                      </a:lnTo>
                      <a:lnTo>
                        <a:pt x="65" y="245"/>
                      </a:lnTo>
                      <a:lnTo>
                        <a:pt x="65" y="245"/>
                      </a:lnTo>
                      <a:lnTo>
                        <a:pt x="65" y="245"/>
                      </a:lnTo>
                      <a:lnTo>
                        <a:pt x="65" y="244"/>
                      </a:lnTo>
                      <a:lnTo>
                        <a:pt x="66" y="244"/>
                      </a:lnTo>
                      <a:lnTo>
                        <a:pt x="65" y="244"/>
                      </a:lnTo>
                      <a:lnTo>
                        <a:pt x="65" y="244"/>
                      </a:lnTo>
                      <a:lnTo>
                        <a:pt x="66" y="244"/>
                      </a:lnTo>
                      <a:lnTo>
                        <a:pt x="66" y="243"/>
                      </a:lnTo>
                      <a:lnTo>
                        <a:pt x="66" y="243"/>
                      </a:lnTo>
                      <a:lnTo>
                        <a:pt x="67" y="243"/>
                      </a:lnTo>
                      <a:lnTo>
                        <a:pt x="67" y="244"/>
                      </a:lnTo>
                      <a:lnTo>
                        <a:pt x="67" y="243"/>
                      </a:lnTo>
                      <a:lnTo>
                        <a:pt x="67" y="244"/>
                      </a:lnTo>
                      <a:lnTo>
                        <a:pt x="67" y="244"/>
                      </a:lnTo>
                      <a:lnTo>
                        <a:pt x="67" y="243"/>
                      </a:lnTo>
                      <a:lnTo>
                        <a:pt x="67" y="244"/>
                      </a:lnTo>
                      <a:lnTo>
                        <a:pt x="67" y="243"/>
                      </a:lnTo>
                      <a:lnTo>
                        <a:pt x="66" y="243"/>
                      </a:lnTo>
                      <a:lnTo>
                        <a:pt x="66" y="243"/>
                      </a:lnTo>
                      <a:lnTo>
                        <a:pt x="66" y="243"/>
                      </a:lnTo>
                      <a:lnTo>
                        <a:pt x="66" y="243"/>
                      </a:lnTo>
                      <a:lnTo>
                        <a:pt x="66" y="243"/>
                      </a:lnTo>
                      <a:lnTo>
                        <a:pt x="66" y="243"/>
                      </a:lnTo>
                      <a:lnTo>
                        <a:pt x="66" y="243"/>
                      </a:lnTo>
                      <a:lnTo>
                        <a:pt x="66" y="243"/>
                      </a:lnTo>
                      <a:lnTo>
                        <a:pt x="66" y="242"/>
                      </a:lnTo>
                      <a:lnTo>
                        <a:pt x="67" y="242"/>
                      </a:lnTo>
                      <a:lnTo>
                        <a:pt x="67" y="242"/>
                      </a:lnTo>
                      <a:lnTo>
                        <a:pt x="67" y="241"/>
                      </a:lnTo>
                      <a:lnTo>
                        <a:pt x="68" y="241"/>
                      </a:lnTo>
                      <a:lnTo>
                        <a:pt x="67" y="241"/>
                      </a:lnTo>
                      <a:lnTo>
                        <a:pt x="68" y="241"/>
                      </a:lnTo>
                      <a:lnTo>
                        <a:pt x="68" y="240"/>
                      </a:lnTo>
                      <a:lnTo>
                        <a:pt x="68" y="240"/>
                      </a:lnTo>
                      <a:lnTo>
                        <a:pt x="69" y="240"/>
                      </a:lnTo>
                      <a:lnTo>
                        <a:pt x="69" y="240"/>
                      </a:lnTo>
                      <a:lnTo>
                        <a:pt x="69" y="240"/>
                      </a:lnTo>
                      <a:lnTo>
                        <a:pt x="69" y="240"/>
                      </a:lnTo>
                      <a:lnTo>
                        <a:pt x="69" y="240"/>
                      </a:lnTo>
                      <a:lnTo>
                        <a:pt x="69" y="240"/>
                      </a:lnTo>
                      <a:lnTo>
                        <a:pt x="69" y="240"/>
                      </a:lnTo>
                      <a:lnTo>
                        <a:pt x="69" y="240"/>
                      </a:lnTo>
                      <a:lnTo>
                        <a:pt x="69" y="240"/>
                      </a:lnTo>
                      <a:lnTo>
                        <a:pt x="69" y="240"/>
                      </a:lnTo>
                      <a:lnTo>
                        <a:pt x="69" y="240"/>
                      </a:lnTo>
                      <a:lnTo>
                        <a:pt x="69" y="240"/>
                      </a:lnTo>
                      <a:lnTo>
                        <a:pt x="69" y="240"/>
                      </a:lnTo>
                      <a:lnTo>
                        <a:pt x="69" y="240"/>
                      </a:lnTo>
                      <a:lnTo>
                        <a:pt x="69" y="240"/>
                      </a:lnTo>
                      <a:lnTo>
                        <a:pt x="68" y="240"/>
                      </a:lnTo>
                      <a:lnTo>
                        <a:pt x="68" y="239"/>
                      </a:lnTo>
                      <a:lnTo>
                        <a:pt x="68" y="238"/>
                      </a:lnTo>
                      <a:lnTo>
                        <a:pt x="69" y="238"/>
                      </a:lnTo>
                      <a:lnTo>
                        <a:pt x="69" y="238"/>
                      </a:lnTo>
                      <a:lnTo>
                        <a:pt x="70" y="238"/>
                      </a:lnTo>
                      <a:lnTo>
                        <a:pt x="69" y="238"/>
                      </a:lnTo>
                      <a:lnTo>
                        <a:pt x="70" y="238"/>
                      </a:lnTo>
                      <a:lnTo>
                        <a:pt x="69" y="238"/>
                      </a:lnTo>
                      <a:lnTo>
                        <a:pt x="69" y="237"/>
                      </a:lnTo>
                      <a:lnTo>
                        <a:pt x="69" y="238"/>
                      </a:lnTo>
                      <a:lnTo>
                        <a:pt x="69" y="238"/>
                      </a:lnTo>
                      <a:lnTo>
                        <a:pt x="69" y="237"/>
                      </a:lnTo>
                      <a:lnTo>
                        <a:pt x="69" y="237"/>
                      </a:lnTo>
                      <a:lnTo>
                        <a:pt x="69" y="237"/>
                      </a:lnTo>
                      <a:lnTo>
                        <a:pt x="69" y="237"/>
                      </a:lnTo>
                      <a:lnTo>
                        <a:pt x="69" y="237"/>
                      </a:lnTo>
                      <a:lnTo>
                        <a:pt x="69" y="236"/>
                      </a:lnTo>
                      <a:lnTo>
                        <a:pt x="69" y="236"/>
                      </a:lnTo>
                      <a:lnTo>
                        <a:pt x="69" y="236"/>
                      </a:lnTo>
                      <a:lnTo>
                        <a:pt x="70" y="236"/>
                      </a:lnTo>
                      <a:lnTo>
                        <a:pt x="69" y="236"/>
                      </a:lnTo>
                      <a:lnTo>
                        <a:pt x="70" y="236"/>
                      </a:lnTo>
                      <a:lnTo>
                        <a:pt x="70" y="236"/>
                      </a:lnTo>
                      <a:lnTo>
                        <a:pt x="70" y="236"/>
                      </a:lnTo>
                      <a:lnTo>
                        <a:pt x="70" y="236"/>
                      </a:lnTo>
                      <a:lnTo>
                        <a:pt x="70" y="236"/>
                      </a:lnTo>
                      <a:lnTo>
                        <a:pt x="70" y="236"/>
                      </a:lnTo>
                      <a:lnTo>
                        <a:pt x="70" y="236"/>
                      </a:lnTo>
                      <a:lnTo>
                        <a:pt x="70" y="236"/>
                      </a:lnTo>
                      <a:lnTo>
                        <a:pt x="70" y="236"/>
                      </a:lnTo>
                      <a:lnTo>
                        <a:pt x="70" y="236"/>
                      </a:lnTo>
                      <a:lnTo>
                        <a:pt x="70" y="236"/>
                      </a:lnTo>
                      <a:lnTo>
                        <a:pt x="71" y="236"/>
                      </a:lnTo>
                      <a:lnTo>
                        <a:pt x="72" y="236"/>
                      </a:lnTo>
                      <a:lnTo>
                        <a:pt x="71" y="236"/>
                      </a:lnTo>
                      <a:lnTo>
                        <a:pt x="72" y="236"/>
                      </a:lnTo>
                      <a:lnTo>
                        <a:pt x="72" y="236"/>
                      </a:lnTo>
                      <a:lnTo>
                        <a:pt x="73" y="236"/>
                      </a:lnTo>
                      <a:lnTo>
                        <a:pt x="73" y="236"/>
                      </a:lnTo>
                      <a:lnTo>
                        <a:pt x="73" y="236"/>
                      </a:lnTo>
                      <a:lnTo>
                        <a:pt x="73" y="236"/>
                      </a:lnTo>
                      <a:lnTo>
                        <a:pt x="73" y="236"/>
                      </a:lnTo>
                      <a:lnTo>
                        <a:pt x="73" y="236"/>
                      </a:lnTo>
                      <a:lnTo>
                        <a:pt x="74" y="236"/>
                      </a:lnTo>
                      <a:lnTo>
                        <a:pt x="74" y="236"/>
                      </a:lnTo>
                      <a:lnTo>
                        <a:pt x="74" y="236"/>
                      </a:lnTo>
                      <a:lnTo>
                        <a:pt x="74" y="236"/>
                      </a:lnTo>
                      <a:lnTo>
                        <a:pt x="74" y="236"/>
                      </a:lnTo>
                      <a:lnTo>
                        <a:pt x="73" y="236"/>
                      </a:lnTo>
                      <a:lnTo>
                        <a:pt x="73" y="236"/>
                      </a:lnTo>
                      <a:lnTo>
                        <a:pt x="73" y="236"/>
                      </a:lnTo>
                      <a:lnTo>
                        <a:pt x="73" y="236"/>
                      </a:lnTo>
                      <a:lnTo>
                        <a:pt x="73" y="236"/>
                      </a:lnTo>
                      <a:lnTo>
                        <a:pt x="73" y="236"/>
                      </a:lnTo>
                      <a:lnTo>
                        <a:pt x="74" y="236"/>
                      </a:lnTo>
                      <a:lnTo>
                        <a:pt x="73" y="236"/>
                      </a:lnTo>
                      <a:lnTo>
                        <a:pt x="73" y="236"/>
                      </a:lnTo>
                      <a:lnTo>
                        <a:pt x="73" y="236"/>
                      </a:lnTo>
                      <a:lnTo>
                        <a:pt x="73" y="236"/>
                      </a:lnTo>
                      <a:lnTo>
                        <a:pt x="73" y="236"/>
                      </a:lnTo>
                      <a:lnTo>
                        <a:pt x="73" y="236"/>
                      </a:lnTo>
                      <a:lnTo>
                        <a:pt x="73" y="236"/>
                      </a:lnTo>
                      <a:lnTo>
                        <a:pt x="72" y="236"/>
                      </a:lnTo>
                      <a:lnTo>
                        <a:pt x="73" y="236"/>
                      </a:lnTo>
                      <a:lnTo>
                        <a:pt x="72" y="236"/>
                      </a:lnTo>
                      <a:lnTo>
                        <a:pt x="73" y="236"/>
                      </a:lnTo>
                      <a:lnTo>
                        <a:pt x="72" y="236"/>
                      </a:lnTo>
                      <a:lnTo>
                        <a:pt x="73" y="236"/>
                      </a:lnTo>
                      <a:lnTo>
                        <a:pt x="72" y="236"/>
                      </a:lnTo>
                      <a:lnTo>
                        <a:pt x="72" y="236"/>
                      </a:lnTo>
                      <a:lnTo>
                        <a:pt x="71" y="236"/>
                      </a:lnTo>
                      <a:lnTo>
                        <a:pt x="70" y="236"/>
                      </a:lnTo>
                      <a:lnTo>
                        <a:pt x="71" y="236"/>
                      </a:lnTo>
                      <a:lnTo>
                        <a:pt x="70" y="236"/>
                      </a:lnTo>
                      <a:lnTo>
                        <a:pt x="70" y="236"/>
                      </a:lnTo>
                      <a:lnTo>
                        <a:pt x="70" y="235"/>
                      </a:lnTo>
                      <a:lnTo>
                        <a:pt x="70" y="234"/>
                      </a:lnTo>
                      <a:lnTo>
                        <a:pt x="70" y="234"/>
                      </a:lnTo>
                      <a:lnTo>
                        <a:pt x="70" y="234"/>
                      </a:lnTo>
                      <a:lnTo>
                        <a:pt x="70" y="234"/>
                      </a:lnTo>
                      <a:lnTo>
                        <a:pt x="71" y="234"/>
                      </a:lnTo>
                      <a:lnTo>
                        <a:pt x="71" y="234"/>
                      </a:lnTo>
                      <a:lnTo>
                        <a:pt x="70" y="234"/>
                      </a:lnTo>
                      <a:lnTo>
                        <a:pt x="70" y="233"/>
                      </a:lnTo>
                      <a:lnTo>
                        <a:pt x="70" y="233"/>
                      </a:lnTo>
                      <a:lnTo>
                        <a:pt x="71" y="233"/>
                      </a:lnTo>
                      <a:lnTo>
                        <a:pt x="72" y="233"/>
                      </a:lnTo>
                      <a:lnTo>
                        <a:pt x="71" y="233"/>
                      </a:lnTo>
                      <a:lnTo>
                        <a:pt x="71" y="233"/>
                      </a:lnTo>
                      <a:lnTo>
                        <a:pt x="72" y="233"/>
                      </a:lnTo>
                      <a:lnTo>
                        <a:pt x="71" y="233"/>
                      </a:lnTo>
                      <a:lnTo>
                        <a:pt x="72" y="233"/>
                      </a:lnTo>
                      <a:lnTo>
                        <a:pt x="72" y="233"/>
                      </a:lnTo>
                      <a:lnTo>
                        <a:pt x="72" y="233"/>
                      </a:lnTo>
                      <a:lnTo>
                        <a:pt x="72" y="233"/>
                      </a:lnTo>
                      <a:lnTo>
                        <a:pt x="72" y="233"/>
                      </a:lnTo>
                      <a:lnTo>
                        <a:pt x="72" y="233"/>
                      </a:lnTo>
                      <a:lnTo>
                        <a:pt x="73" y="233"/>
                      </a:lnTo>
                      <a:lnTo>
                        <a:pt x="73" y="233"/>
                      </a:lnTo>
                      <a:lnTo>
                        <a:pt x="73" y="233"/>
                      </a:lnTo>
                      <a:lnTo>
                        <a:pt x="72" y="233"/>
                      </a:lnTo>
                      <a:lnTo>
                        <a:pt x="72" y="233"/>
                      </a:lnTo>
                      <a:lnTo>
                        <a:pt x="71" y="233"/>
                      </a:lnTo>
                      <a:lnTo>
                        <a:pt x="71" y="232"/>
                      </a:lnTo>
                      <a:lnTo>
                        <a:pt x="71" y="232"/>
                      </a:lnTo>
                      <a:lnTo>
                        <a:pt x="72" y="232"/>
                      </a:lnTo>
                      <a:lnTo>
                        <a:pt x="72" y="232"/>
                      </a:lnTo>
                      <a:lnTo>
                        <a:pt x="72" y="232"/>
                      </a:lnTo>
                      <a:lnTo>
                        <a:pt x="72" y="231"/>
                      </a:lnTo>
                      <a:lnTo>
                        <a:pt x="72" y="231"/>
                      </a:lnTo>
                      <a:lnTo>
                        <a:pt x="73" y="231"/>
                      </a:lnTo>
                      <a:lnTo>
                        <a:pt x="73" y="232"/>
                      </a:lnTo>
                      <a:lnTo>
                        <a:pt x="73" y="232"/>
                      </a:lnTo>
                      <a:lnTo>
                        <a:pt x="74" y="232"/>
                      </a:lnTo>
                      <a:lnTo>
                        <a:pt x="74" y="231"/>
                      </a:lnTo>
                      <a:lnTo>
                        <a:pt x="74" y="231"/>
                      </a:lnTo>
                      <a:lnTo>
                        <a:pt x="75" y="231"/>
                      </a:lnTo>
                      <a:lnTo>
                        <a:pt x="74" y="231"/>
                      </a:lnTo>
                      <a:lnTo>
                        <a:pt x="75" y="230"/>
                      </a:lnTo>
                      <a:lnTo>
                        <a:pt x="74" y="230"/>
                      </a:lnTo>
                      <a:lnTo>
                        <a:pt x="74" y="230"/>
                      </a:lnTo>
                      <a:lnTo>
                        <a:pt x="75" y="230"/>
                      </a:lnTo>
                      <a:lnTo>
                        <a:pt x="75" y="229"/>
                      </a:lnTo>
                      <a:lnTo>
                        <a:pt x="76" y="229"/>
                      </a:lnTo>
                      <a:lnTo>
                        <a:pt x="76" y="229"/>
                      </a:lnTo>
                      <a:lnTo>
                        <a:pt x="76" y="230"/>
                      </a:lnTo>
                      <a:lnTo>
                        <a:pt x="76" y="229"/>
                      </a:lnTo>
                      <a:lnTo>
                        <a:pt x="76" y="229"/>
                      </a:lnTo>
                      <a:lnTo>
                        <a:pt x="76" y="229"/>
                      </a:lnTo>
                      <a:lnTo>
                        <a:pt x="76" y="229"/>
                      </a:lnTo>
                      <a:lnTo>
                        <a:pt x="76" y="229"/>
                      </a:lnTo>
                      <a:lnTo>
                        <a:pt x="76" y="229"/>
                      </a:lnTo>
                      <a:lnTo>
                        <a:pt x="76" y="228"/>
                      </a:lnTo>
                      <a:lnTo>
                        <a:pt x="76" y="228"/>
                      </a:lnTo>
                      <a:lnTo>
                        <a:pt x="76" y="227"/>
                      </a:lnTo>
                      <a:lnTo>
                        <a:pt x="76" y="228"/>
                      </a:lnTo>
                      <a:lnTo>
                        <a:pt x="76" y="227"/>
                      </a:lnTo>
                      <a:lnTo>
                        <a:pt x="76" y="227"/>
                      </a:lnTo>
                      <a:lnTo>
                        <a:pt x="76" y="227"/>
                      </a:lnTo>
                      <a:lnTo>
                        <a:pt x="76" y="226"/>
                      </a:lnTo>
                      <a:lnTo>
                        <a:pt x="76" y="227"/>
                      </a:lnTo>
                      <a:lnTo>
                        <a:pt x="75" y="227"/>
                      </a:lnTo>
                      <a:lnTo>
                        <a:pt x="74" y="227"/>
                      </a:lnTo>
                      <a:lnTo>
                        <a:pt x="74" y="226"/>
                      </a:lnTo>
                      <a:lnTo>
                        <a:pt x="75" y="226"/>
                      </a:lnTo>
                      <a:lnTo>
                        <a:pt x="75" y="225"/>
                      </a:lnTo>
                      <a:lnTo>
                        <a:pt x="75" y="226"/>
                      </a:lnTo>
                      <a:lnTo>
                        <a:pt x="75" y="226"/>
                      </a:lnTo>
                      <a:lnTo>
                        <a:pt x="75" y="226"/>
                      </a:lnTo>
                      <a:lnTo>
                        <a:pt x="76" y="226"/>
                      </a:lnTo>
                      <a:lnTo>
                        <a:pt x="75" y="226"/>
                      </a:lnTo>
                      <a:lnTo>
                        <a:pt x="75" y="225"/>
                      </a:lnTo>
                      <a:lnTo>
                        <a:pt x="76" y="225"/>
                      </a:lnTo>
                      <a:lnTo>
                        <a:pt x="76" y="226"/>
                      </a:lnTo>
                      <a:lnTo>
                        <a:pt x="76" y="226"/>
                      </a:lnTo>
                      <a:lnTo>
                        <a:pt x="76" y="226"/>
                      </a:lnTo>
                      <a:lnTo>
                        <a:pt x="76" y="226"/>
                      </a:lnTo>
                      <a:lnTo>
                        <a:pt x="77" y="226"/>
                      </a:lnTo>
                      <a:lnTo>
                        <a:pt x="77" y="226"/>
                      </a:lnTo>
                      <a:lnTo>
                        <a:pt x="77" y="227"/>
                      </a:lnTo>
                      <a:lnTo>
                        <a:pt x="77" y="227"/>
                      </a:lnTo>
                      <a:lnTo>
                        <a:pt x="78" y="227"/>
                      </a:lnTo>
                      <a:lnTo>
                        <a:pt x="77" y="227"/>
                      </a:lnTo>
                      <a:lnTo>
                        <a:pt x="78" y="227"/>
                      </a:lnTo>
                      <a:lnTo>
                        <a:pt x="77" y="227"/>
                      </a:lnTo>
                      <a:lnTo>
                        <a:pt x="78" y="227"/>
                      </a:lnTo>
                      <a:lnTo>
                        <a:pt x="78" y="227"/>
                      </a:lnTo>
                      <a:lnTo>
                        <a:pt x="78" y="227"/>
                      </a:lnTo>
                      <a:lnTo>
                        <a:pt x="78" y="227"/>
                      </a:lnTo>
                      <a:lnTo>
                        <a:pt x="79" y="227"/>
                      </a:lnTo>
                      <a:lnTo>
                        <a:pt x="78" y="227"/>
                      </a:lnTo>
                      <a:lnTo>
                        <a:pt x="78" y="227"/>
                      </a:lnTo>
                      <a:lnTo>
                        <a:pt x="78" y="227"/>
                      </a:lnTo>
                      <a:lnTo>
                        <a:pt x="78" y="227"/>
                      </a:lnTo>
                      <a:lnTo>
                        <a:pt x="78" y="227"/>
                      </a:lnTo>
                      <a:lnTo>
                        <a:pt x="77" y="227"/>
                      </a:lnTo>
                      <a:lnTo>
                        <a:pt x="77" y="226"/>
                      </a:lnTo>
                      <a:lnTo>
                        <a:pt x="77" y="226"/>
                      </a:lnTo>
                      <a:lnTo>
                        <a:pt x="76" y="226"/>
                      </a:lnTo>
                      <a:lnTo>
                        <a:pt x="76" y="226"/>
                      </a:lnTo>
                      <a:lnTo>
                        <a:pt x="76" y="225"/>
                      </a:lnTo>
                      <a:lnTo>
                        <a:pt x="76" y="225"/>
                      </a:lnTo>
                      <a:lnTo>
                        <a:pt x="76" y="225"/>
                      </a:lnTo>
                      <a:lnTo>
                        <a:pt x="76" y="225"/>
                      </a:lnTo>
                      <a:lnTo>
                        <a:pt x="76" y="225"/>
                      </a:lnTo>
                      <a:lnTo>
                        <a:pt x="75" y="225"/>
                      </a:lnTo>
                      <a:lnTo>
                        <a:pt x="75" y="224"/>
                      </a:lnTo>
                      <a:lnTo>
                        <a:pt x="76" y="224"/>
                      </a:lnTo>
                      <a:lnTo>
                        <a:pt x="76" y="224"/>
                      </a:lnTo>
                      <a:lnTo>
                        <a:pt x="77" y="224"/>
                      </a:lnTo>
                      <a:lnTo>
                        <a:pt x="77" y="224"/>
                      </a:lnTo>
                      <a:lnTo>
                        <a:pt x="78" y="224"/>
                      </a:lnTo>
                      <a:lnTo>
                        <a:pt x="78" y="225"/>
                      </a:lnTo>
                      <a:lnTo>
                        <a:pt x="79" y="225"/>
                      </a:lnTo>
                      <a:lnTo>
                        <a:pt x="79" y="225"/>
                      </a:lnTo>
                      <a:lnTo>
                        <a:pt x="80" y="225"/>
                      </a:lnTo>
                      <a:lnTo>
                        <a:pt x="80" y="225"/>
                      </a:lnTo>
                      <a:lnTo>
                        <a:pt x="80" y="225"/>
                      </a:lnTo>
                      <a:lnTo>
                        <a:pt x="80" y="225"/>
                      </a:lnTo>
                      <a:lnTo>
                        <a:pt x="80" y="225"/>
                      </a:lnTo>
                      <a:lnTo>
                        <a:pt x="81" y="225"/>
                      </a:lnTo>
                      <a:lnTo>
                        <a:pt x="81" y="224"/>
                      </a:lnTo>
                      <a:lnTo>
                        <a:pt x="82" y="223"/>
                      </a:lnTo>
                      <a:lnTo>
                        <a:pt x="83" y="223"/>
                      </a:lnTo>
                      <a:lnTo>
                        <a:pt x="83" y="224"/>
                      </a:lnTo>
                      <a:lnTo>
                        <a:pt x="83" y="224"/>
                      </a:lnTo>
                      <a:lnTo>
                        <a:pt x="84" y="224"/>
                      </a:lnTo>
                      <a:lnTo>
                        <a:pt x="84" y="225"/>
                      </a:lnTo>
                      <a:lnTo>
                        <a:pt x="84" y="225"/>
                      </a:lnTo>
                      <a:lnTo>
                        <a:pt x="85" y="225"/>
                      </a:lnTo>
                      <a:lnTo>
                        <a:pt x="85" y="225"/>
                      </a:lnTo>
                      <a:lnTo>
                        <a:pt x="86" y="225"/>
                      </a:lnTo>
                      <a:lnTo>
                        <a:pt x="87" y="225"/>
                      </a:lnTo>
                      <a:lnTo>
                        <a:pt x="87" y="225"/>
                      </a:lnTo>
                      <a:lnTo>
                        <a:pt x="87" y="226"/>
                      </a:lnTo>
                      <a:lnTo>
                        <a:pt x="88" y="226"/>
                      </a:lnTo>
                      <a:lnTo>
                        <a:pt x="88" y="226"/>
                      </a:lnTo>
                      <a:lnTo>
                        <a:pt x="89" y="225"/>
                      </a:lnTo>
                      <a:lnTo>
                        <a:pt x="89" y="225"/>
                      </a:lnTo>
                      <a:lnTo>
                        <a:pt x="90" y="225"/>
                      </a:lnTo>
                      <a:lnTo>
                        <a:pt x="91" y="225"/>
                      </a:lnTo>
                      <a:lnTo>
                        <a:pt x="91" y="224"/>
                      </a:lnTo>
                      <a:lnTo>
                        <a:pt x="91" y="224"/>
                      </a:lnTo>
                      <a:lnTo>
                        <a:pt x="91" y="223"/>
                      </a:lnTo>
                      <a:lnTo>
                        <a:pt x="92" y="223"/>
                      </a:lnTo>
                      <a:lnTo>
                        <a:pt x="92" y="223"/>
                      </a:lnTo>
                      <a:lnTo>
                        <a:pt x="92" y="223"/>
                      </a:lnTo>
                      <a:lnTo>
                        <a:pt x="93" y="222"/>
                      </a:lnTo>
                      <a:lnTo>
                        <a:pt x="93" y="222"/>
                      </a:lnTo>
                      <a:lnTo>
                        <a:pt x="93" y="222"/>
                      </a:lnTo>
                      <a:lnTo>
                        <a:pt x="94" y="222"/>
                      </a:lnTo>
                      <a:lnTo>
                        <a:pt x="95" y="222"/>
                      </a:lnTo>
                      <a:lnTo>
                        <a:pt x="95" y="222"/>
                      </a:lnTo>
                      <a:lnTo>
                        <a:pt x="96" y="222"/>
                      </a:lnTo>
                      <a:lnTo>
                        <a:pt x="96" y="222"/>
                      </a:lnTo>
                      <a:lnTo>
                        <a:pt x="96" y="222"/>
                      </a:lnTo>
                      <a:lnTo>
                        <a:pt x="96" y="223"/>
                      </a:lnTo>
                      <a:lnTo>
                        <a:pt x="96" y="223"/>
                      </a:lnTo>
                      <a:lnTo>
                        <a:pt x="96" y="223"/>
                      </a:lnTo>
                      <a:lnTo>
                        <a:pt x="96" y="224"/>
                      </a:lnTo>
                      <a:lnTo>
                        <a:pt x="96" y="224"/>
                      </a:lnTo>
                      <a:lnTo>
                        <a:pt x="96" y="224"/>
                      </a:lnTo>
                      <a:lnTo>
                        <a:pt x="96" y="224"/>
                      </a:lnTo>
                      <a:lnTo>
                        <a:pt x="96" y="224"/>
                      </a:lnTo>
                      <a:lnTo>
                        <a:pt x="96" y="224"/>
                      </a:lnTo>
                      <a:lnTo>
                        <a:pt x="96" y="225"/>
                      </a:lnTo>
                      <a:lnTo>
                        <a:pt x="97" y="225"/>
                      </a:lnTo>
                      <a:lnTo>
                        <a:pt x="98" y="225"/>
                      </a:lnTo>
                      <a:lnTo>
                        <a:pt x="98" y="225"/>
                      </a:lnTo>
                      <a:lnTo>
                        <a:pt x="98" y="226"/>
                      </a:lnTo>
                      <a:lnTo>
                        <a:pt x="99" y="226"/>
                      </a:lnTo>
                      <a:lnTo>
                        <a:pt x="99" y="226"/>
                      </a:lnTo>
                      <a:lnTo>
                        <a:pt x="100" y="226"/>
                      </a:lnTo>
                      <a:lnTo>
                        <a:pt x="100" y="226"/>
                      </a:lnTo>
                      <a:lnTo>
                        <a:pt x="101" y="226"/>
                      </a:lnTo>
                      <a:lnTo>
                        <a:pt x="101" y="226"/>
                      </a:lnTo>
                      <a:lnTo>
                        <a:pt x="102" y="226"/>
                      </a:lnTo>
                      <a:lnTo>
                        <a:pt x="102" y="226"/>
                      </a:lnTo>
                      <a:lnTo>
                        <a:pt x="103" y="226"/>
                      </a:lnTo>
                      <a:lnTo>
                        <a:pt x="103" y="226"/>
                      </a:lnTo>
                      <a:lnTo>
                        <a:pt x="104" y="226"/>
                      </a:lnTo>
                      <a:lnTo>
                        <a:pt x="104" y="226"/>
                      </a:lnTo>
                      <a:lnTo>
                        <a:pt x="104" y="226"/>
                      </a:lnTo>
                      <a:lnTo>
                        <a:pt x="105" y="226"/>
                      </a:lnTo>
                      <a:lnTo>
                        <a:pt x="104" y="226"/>
                      </a:lnTo>
                      <a:lnTo>
                        <a:pt x="104" y="227"/>
                      </a:lnTo>
                      <a:lnTo>
                        <a:pt x="104" y="227"/>
                      </a:lnTo>
                      <a:lnTo>
                        <a:pt x="104" y="227"/>
                      </a:lnTo>
                      <a:lnTo>
                        <a:pt x="104" y="227"/>
                      </a:lnTo>
                      <a:lnTo>
                        <a:pt x="103" y="227"/>
                      </a:lnTo>
                      <a:lnTo>
                        <a:pt x="104" y="227"/>
                      </a:lnTo>
                      <a:lnTo>
                        <a:pt x="103" y="227"/>
                      </a:lnTo>
                      <a:lnTo>
                        <a:pt x="104" y="227"/>
                      </a:lnTo>
                      <a:lnTo>
                        <a:pt x="103" y="227"/>
                      </a:lnTo>
                      <a:lnTo>
                        <a:pt x="104" y="227"/>
                      </a:lnTo>
                      <a:lnTo>
                        <a:pt x="103" y="227"/>
                      </a:lnTo>
                      <a:lnTo>
                        <a:pt x="103" y="227"/>
                      </a:lnTo>
                      <a:lnTo>
                        <a:pt x="103" y="227"/>
                      </a:lnTo>
                      <a:lnTo>
                        <a:pt x="103" y="227"/>
                      </a:lnTo>
                      <a:lnTo>
                        <a:pt x="103" y="227"/>
                      </a:lnTo>
                      <a:lnTo>
                        <a:pt x="103" y="227"/>
                      </a:lnTo>
                      <a:lnTo>
                        <a:pt x="102" y="227"/>
                      </a:lnTo>
                      <a:lnTo>
                        <a:pt x="103" y="227"/>
                      </a:lnTo>
                      <a:lnTo>
                        <a:pt x="102" y="227"/>
                      </a:lnTo>
                      <a:lnTo>
                        <a:pt x="103" y="227"/>
                      </a:lnTo>
                      <a:lnTo>
                        <a:pt x="103" y="227"/>
                      </a:lnTo>
                      <a:lnTo>
                        <a:pt x="104" y="227"/>
                      </a:lnTo>
                      <a:lnTo>
                        <a:pt x="104" y="227"/>
                      </a:lnTo>
                      <a:lnTo>
                        <a:pt x="104" y="227"/>
                      </a:lnTo>
                      <a:lnTo>
                        <a:pt x="104" y="227"/>
                      </a:lnTo>
                      <a:lnTo>
                        <a:pt x="104" y="227"/>
                      </a:lnTo>
                      <a:lnTo>
                        <a:pt x="105" y="227"/>
                      </a:lnTo>
                      <a:lnTo>
                        <a:pt x="106" y="227"/>
                      </a:lnTo>
                      <a:lnTo>
                        <a:pt x="105" y="227"/>
                      </a:lnTo>
                      <a:lnTo>
                        <a:pt x="106" y="227"/>
                      </a:lnTo>
                      <a:lnTo>
                        <a:pt x="106" y="228"/>
                      </a:lnTo>
                      <a:lnTo>
                        <a:pt x="106" y="228"/>
                      </a:lnTo>
                      <a:lnTo>
                        <a:pt x="106" y="228"/>
                      </a:lnTo>
                      <a:lnTo>
                        <a:pt x="106" y="228"/>
                      </a:lnTo>
                      <a:lnTo>
                        <a:pt x="106" y="228"/>
                      </a:lnTo>
                      <a:lnTo>
                        <a:pt x="106" y="228"/>
                      </a:lnTo>
                      <a:lnTo>
                        <a:pt x="107" y="228"/>
                      </a:lnTo>
                      <a:lnTo>
                        <a:pt x="106" y="228"/>
                      </a:lnTo>
                      <a:lnTo>
                        <a:pt x="107" y="228"/>
                      </a:lnTo>
                      <a:lnTo>
                        <a:pt x="107" y="228"/>
                      </a:lnTo>
                      <a:lnTo>
                        <a:pt x="107" y="228"/>
                      </a:lnTo>
                      <a:lnTo>
                        <a:pt x="107" y="228"/>
                      </a:lnTo>
                      <a:lnTo>
                        <a:pt x="108" y="228"/>
                      </a:lnTo>
                      <a:lnTo>
                        <a:pt x="109" y="228"/>
                      </a:lnTo>
                      <a:lnTo>
                        <a:pt x="109" y="227"/>
                      </a:lnTo>
                      <a:lnTo>
                        <a:pt x="110" y="227"/>
                      </a:lnTo>
                      <a:lnTo>
                        <a:pt x="110" y="227"/>
                      </a:lnTo>
                      <a:lnTo>
                        <a:pt x="110" y="227"/>
                      </a:lnTo>
                      <a:lnTo>
                        <a:pt x="110" y="227"/>
                      </a:lnTo>
                      <a:lnTo>
                        <a:pt x="111" y="227"/>
                      </a:lnTo>
                      <a:lnTo>
                        <a:pt x="111" y="227"/>
                      </a:lnTo>
                      <a:lnTo>
                        <a:pt x="111" y="227"/>
                      </a:lnTo>
                      <a:lnTo>
                        <a:pt x="111" y="227"/>
                      </a:lnTo>
                      <a:lnTo>
                        <a:pt x="111" y="227"/>
                      </a:lnTo>
                      <a:lnTo>
                        <a:pt x="111" y="227"/>
                      </a:lnTo>
                      <a:lnTo>
                        <a:pt x="112" y="227"/>
                      </a:lnTo>
                      <a:lnTo>
                        <a:pt x="113" y="227"/>
                      </a:lnTo>
                      <a:lnTo>
                        <a:pt x="112" y="227"/>
                      </a:lnTo>
                      <a:lnTo>
                        <a:pt x="113" y="227"/>
                      </a:lnTo>
                      <a:lnTo>
                        <a:pt x="113" y="227"/>
                      </a:lnTo>
                      <a:lnTo>
                        <a:pt x="113" y="227"/>
                      </a:lnTo>
                      <a:lnTo>
                        <a:pt x="113" y="227"/>
                      </a:lnTo>
                      <a:lnTo>
                        <a:pt x="114" y="228"/>
                      </a:lnTo>
                      <a:lnTo>
                        <a:pt x="115" y="228"/>
                      </a:lnTo>
                      <a:lnTo>
                        <a:pt x="115" y="228"/>
                      </a:lnTo>
                      <a:lnTo>
                        <a:pt x="116" y="228"/>
                      </a:lnTo>
                      <a:lnTo>
                        <a:pt x="117" y="228"/>
                      </a:lnTo>
                      <a:lnTo>
                        <a:pt x="117" y="229"/>
                      </a:lnTo>
                      <a:lnTo>
                        <a:pt x="117" y="229"/>
                      </a:lnTo>
                      <a:lnTo>
                        <a:pt x="117" y="229"/>
                      </a:lnTo>
                      <a:lnTo>
                        <a:pt x="117" y="229"/>
                      </a:lnTo>
                      <a:lnTo>
                        <a:pt x="117" y="229"/>
                      </a:lnTo>
                      <a:lnTo>
                        <a:pt x="117" y="229"/>
                      </a:lnTo>
                      <a:lnTo>
                        <a:pt x="117" y="229"/>
                      </a:lnTo>
                      <a:lnTo>
                        <a:pt x="117" y="229"/>
                      </a:lnTo>
                      <a:lnTo>
                        <a:pt x="118" y="229"/>
                      </a:lnTo>
                      <a:lnTo>
                        <a:pt x="117" y="229"/>
                      </a:lnTo>
                      <a:lnTo>
                        <a:pt x="118" y="229"/>
                      </a:lnTo>
                      <a:lnTo>
                        <a:pt x="118" y="229"/>
                      </a:lnTo>
                      <a:lnTo>
                        <a:pt x="118" y="229"/>
                      </a:lnTo>
                      <a:lnTo>
                        <a:pt x="117" y="229"/>
                      </a:lnTo>
                      <a:lnTo>
                        <a:pt x="118" y="229"/>
                      </a:lnTo>
                      <a:lnTo>
                        <a:pt x="118" y="229"/>
                      </a:lnTo>
                      <a:lnTo>
                        <a:pt x="119" y="229"/>
                      </a:lnTo>
                      <a:lnTo>
                        <a:pt x="118" y="229"/>
                      </a:lnTo>
                      <a:lnTo>
                        <a:pt x="119" y="229"/>
                      </a:lnTo>
                      <a:lnTo>
                        <a:pt x="118" y="229"/>
                      </a:lnTo>
                      <a:lnTo>
                        <a:pt x="119" y="229"/>
                      </a:lnTo>
                      <a:lnTo>
                        <a:pt x="119" y="229"/>
                      </a:lnTo>
                      <a:lnTo>
                        <a:pt x="119" y="229"/>
                      </a:lnTo>
                      <a:lnTo>
                        <a:pt x="119" y="230"/>
                      </a:lnTo>
                      <a:lnTo>
                        <a:pt x="119" y="230"/>
                      </a:lnTo>
                      <a:lnTo>
                        <a:pt x="118" y="230"/>
                      </a:lnTo>
                      <a:lnTo>
                        <a:pt x="118" y="231"/>
                      </a:lnTo>
                      <a:lnTo>
                        <a:pt x="118" y="231"/>
                      </a:lnTo>
                      <a:lnTo>
                        <a:pt x="118" y="232"/>
                      </a:lnTo>
                      <a:lnTo>
                        <a:pt x="118" y="232"/>
                      </a:lnTo>
                      <a:lnTo>
                        <a:pt x="118" y="232"/>
                      </a:lnTo>
                      <a:lnTo>
                        <a:pt x="118" y="231"/>
                      </a:lnTo>
                      <a:lnTo>
                        <a:pt x="118" y="231"/>
                      </a:lnTo>
                      <a:lnTo>
                        <a:pt x="118" y="231"/>
                      </a:lnTo>
                      <a:lnTo>
                        <a:pt x="118" y="231"/>
                      </a:lnTo>
                      <a:lnTo>
                        <a:pt x="118" y="230"/>
                      </a:lnTo>
                      <a:lnTo>
                        <a:pt x="118" y="231"/>
                      </a:lnTo>
                      <a:lnTo>
                        <a:pt x="118" y="232"/>
                      </a:lnTo>
                      <a:lnTo>
                        <a:pt x="118" y="231"/>
                      </a:lnTo>
                      <a:lnTo>
                        <a:pt x="118" y="230"/>
                      </a:lnTo>
                      <a:lnTo>
                        <a:pt x="119" y="230"/>
                      </a:lnTo>
                      <a:lnTo>
                        <a:pt x="119" y="230"/>
                      </a:lnTo>
                      <a:lnTo>
                        <a:pt x="119" y="230"/>
                      </a:lnTo>
                      <a:lnTo>
                        <a:pt x="119" y="230"/>
                      </a:lnTo>
                      <a:lnTo>
                        <a:pt x="119" y="231"/>
                      </a:lnTo>
                      <a:lnTo>
                        <a:pt x="119" y="231"/>
                      </a:lnTo>
                      <a:lnTo>
                        <a:pt x="119" y="231"/>
                      </a:lnTo>
                      <a:lnTo>
                        <a:pt x="119" y="232"/>
                      </a:lnTo>
                      <a:lnTo>
                        <a:pt x="119" y="232"/>
                      </a:lnTo>
                      <a:lnTo>
                        <a:pt x="119" y="232"/>
                      </a:lnTo>
                      <a:lnTo>
                        <a:pt x="119" y="232"/>
                      </a:lnTo>
                      <a:lnTo>
                        <a:pt x="118" y="232"/>
                      </a:lnTo>
                      <a:lnTo>
                        <a:pt x="119" y="233"/>
                      </a:lnTo>
                      <a:lnTo>
                        <a:pt x="119" y="233"/>
                      </a:lnTo>
                      <a:lnTo>
                        <a:pt x="119" y="233"/>
                      </a:lnTo>
                      <a:lnTo>
                        <a:pt x="119" y="233"/>
                      </a:lnTo>
                      <a:lnTo>
                        <a:pt x="119" y="233"/>
                      </a:lnTo>
                      <a:lnTo>
                        <a:pt x="119" y="234"/>
                      </a:lnTo>
                      <a:lnTo>
                        <a:pt x="119" y="233"/>
                      </a:lnTo>
                      <a:lnTo>
                        <a:pt x="120" y="233"/>
                      </a:lnTo>
                      <a:lnTo>
                        <a:pt x="121" y="233"/>
                      </a:lnTo>
                      <a:lnTo>
                        <a:pt x="121" y="234"/>
                      </a:lnTo>
                      <a:lnTo>
                        <a:pt x="120" y="234"/>
                      </a:lnTo>
                      <a:lnTo>
                        <a:pt x="121" y="234"/>
                      </a:lnTo>
                      <a:lnTo>
                        <a:pt x="121" y="234"/>
                      </a:lnTo>
                      <a:lnTo>
                        <a:pt x="121" y="234"/>
                      </a:lnTo>
                      <a:lnTo>
                        <a:pt x="121" y="234"/>
                      </a:lnTo>
                      <a:lnTo>
                        <a:pt x="122" y="234"/>
                      </a:lnTo>
                      <a:lnTo>
                        <a:pt x="121" y="234"/>
                      </a:lnTo>
                      <a:lnTo>
                        <a:pt x="122" y="234"/>
                      </a:lnTo>
                      <a:lnTo>
                        <a:pt x="122" y="234"/>
                      </a:lnTo>
                      <a:lnTo>
                        <a:pt x="122" y="234"/>
                      </a:lnTo>
                      <a:lnTo>
                        <a:pt x="122" y="234"/>
                      </a:lnTo>
                      <a:lnTo>
                        <a:pt x="122" y="235"/>
                      </a:lnTo>
                      <a:lnTo>
                        <a:pt x="122" y="234"/>
                      </a:lnTo>
                      <a:lnTo>
                        <a:pt x="122" y="235"/>
                      </a:lnTo>
                      <a:lnTo>
                        <a:pt x="123" y="235"/>
                      </a:lnTo>
                      <a:lnTo>
                        <a:pt x="123" y="236"/>
                      </a:lnTo>
                      <a:lnTo>
                        <a:pt x="123" y="236"/>
                      </a:lnTo>
                      <a:lnTo>
                        <a:pt x="123" y="237"/>
                      </a:lnTo>
                      <a:lnTo>
                        <a:pt x="123" y="236"/>
                      </a:lnTo>
                      <a:lnTo>
                        <a:pt x="123" y="237"/>
                      </a:lnTo>
                      <a:lnTo>
                        <a:pt x="124" y="237"/>
                      </a:lnTo>
                      <a:lnTo>
                        <a:pt x="124" y="237"/>
                      </a:lnTo>
                      <a:lnTo>
                        <a:pt x="124" y="238"/>
                      </a:lnTo>
                      <a:lnTo>
                        <a:pt x="124" y="238"/>
                      </a:lnTo>
                      <a:lnTo>
                        <a:pt x="124" y="238"/>
                      </a:lnTo>
                      <a:lnTo>
                        <a:pt x="125" y="238"/>
                      </a:lnTo>
                      <a:lnTo>
                        <a:pt x="125" y="239"/>
                      </a:lnTo>
                      <a:lnTo>
                        <a:pt x="125" y="239"/>
                      </a:lnTo>
                      <a:lnTo>
                        <a:pt x="125" y="240"/>
                      </a:lnTo>
                      <a:lnTo>
                        <a:pt x="126" y="240"/>
                      </a:lnTo>
                      <a:lnTo>
                        <a:pt x="126" y="240"/>
                      </a:lnTo>
                      <a:lnTo>
                        <a:pt x="126" y="240"/>
                      </a:lnTo>
                      <a:lnTo>
                        <a:pt x="126" y="240"/>
                      </a:lnTo>
                      <a:lnTo>
                        <a:pt x="126" y="240"/>
                      </a:lnTo>
                      <a:lnTo>
                        <a:pt x="126" y="240"/>
                      </a:lnTo>
                      <a:lnTo>
                        <a:pt x="126" y="241"/>
                      </a:lnTo>
                      <a:lnTo>
                        <a:pt x="127" y="241"/>
                      </a:lnTo>
                      <a:lnTo>
                        <a:pt x="127" y="241"/>
                      </a:lnTo>
                      <a:lnTo>
                        <a:pt x="128" y="241"/>
                      </a:lnTo>
                      <a:lnTo>
                        <a:pt x="128" y="241"/>
                      </a:lnTo>
                      <a:lnTo>
                        <a:pt x="128" y="242"/>
                      </a:lnTo>
                      <a:lnTo>
                        <a:pt x="129" y="242"/>
                      </a:lnTo>
                      <a:lnTo>
                        <a:pt x="128" y="242"/>
                      </a:lnTo>
                      <a:lnTo>
                        <a:pt x="128" y="241"/>
                      </a:lnTo>
                      <a:lnTo>
                        <a:pt x="129" y="241"/>
                      </a:lnTo>
                      <a:lnTo>
                        <a:pt x="129" y="242"/>
                      </a:lnTo>
                      <a:lnTo>
                        <a:pt x="129" y="241"/>
                      </a:lnTo>
                      <a:lnTo>
                        <a:pt x="129" y="242"/>
                      </a:lnTo>
                      <a:lnTo>
                        <a:pt x="129" y="242"/>
                      </a:lnTo>
                      <a:lnTo>
                        <a:pt x="129" y="243"/>
                      </a:lnTo>
                      <a:lnTo>
                        <a:pt x="129" y="243"/>
                      </a:lnTo>
                      <a:lnTo>
                        <a:pt x="129" y="243"/>
                      </a:lnTo>
                      <a:lnTo>
                        <a:pt x="129" y="243"/>
                      </a:lnTo>
                      <a:lnTo>
                        <a:pt x="129" y="244"/>
                      </a:lnTo>
                      <a:lnTo>
                        <a:pt x="130" y="244"/>
                      </a:lnTo>
                      <a:lnTo>
                        <a:pt x="129" y="244"/>
                      </a:lnTo>
                      <a:lnTo>
                        <a:pt x="129" y="243"/>
                      </a:lnTo>
                      <a:lnTo>
                        <a:pt x="129" y="243"/>
                      </a:lnTo>
                      <a:lnTo>
                        <a:pt x="129" y="243"/>
                      </a:lnTo>
                      <a:lnTo>
                        <a:pt x="130" y="243"/>
                      </a:lnTo>
                      <a:lnTo>
                        <a:pt x="130" y="243"/>
                      </a:lnTo>
                      <a:lnTo>
                        <a:pt x="130" y="243"/>
                      </a:lnTo>
                      <a:lnTo>
                        <a:pt x="130" y="243"/>
                      </a:lnTo>
                      <a:lnTo>
                        <a:pt x="131" y="244"/>
                      </a:lnTo>
                      <a:lnTo>
                        <a:pt x="132" y="244"/>
                      </a:lnTo>
                      <a:lnTo>
                        <a:pt x="132" y="244"/>
                      </a:lnTo>
                      <a:lnTo>
                        <a:pt x="132" y="244"/>
                      </a:lnTo>
                      <a:lnTo>
                        <a:pt x="132" y="244"/>
                      </a:lnTo>
                      <a:lnTo>
                        <a:pt x="133" y="244"/>
                      </a:lnTo>
                      <a:lnTo>
                        <a:pt x="133" y="244"/>
                      </a:lnTo>
                      <a:lnTo>
                        <a:pt x="133" y="244"/>
                      </a:lnTo>
                      <a:lnTo>
                        <a:pt x="133" y="244"/>
                      </a:lnTo>
                      <a:lnTo>
                        <a:pt x="133" y="244"/>
                      </a:lnTo>
                      <a:lnTo>
                        <a:pt x="134" y="244"/>
                      </a:lnTo>
                      <a:lnTo>
                        <a:pt x="134" y="244"/>
                      </a:lnTo>
                      <a:lnTo>
                        <a:pt x="134" y="244"/>
                      </a:lnTo>
                      <a:lnTo>
                        <a:pt x="134" y="244"/>
                      </a:lnTo>
                      <a:lnTo>
                        <a:pt x="134" y="245"/>
                      </a:lnTo>
                      <a:lnTo>
                        <a:pt x="135" y="245"/>
                      </a:lnTo>
                      <a:lnTo>
                        <a:pt x="135" y="245"/>
                      </a:lnTo>
                      <a:lnTo>
                        <a:pt x="135" y="246"/>
                      </a:lnTo>
                      <a:lnTo>
                        <a:pt x="135" y="247"/>
                      </a:lnTo>
                      <a:lnTo>
                        <a:pt x="136" y="247"/>
                      </a:lnTo>
                      <a:lnTo>
                        <a:pt x="135" y="247"/>
                      </a:lnTo>
                      <a:lnTo>
                        <a:pt x="136" y="247"/>
                      </a:lnTo>
                      <a:lnTo>
                        <a:pt x="135" y="247"/>
                      </a:lnTo>
                      <a:lnTo>
                        <a:pt x="135" y="247"/>
                      </a:lnTo>
                      <a:lnTo>
                        <a:pt x="135" y="247"/>
                      </a:lnTo>
                      <a:lnTo>
                        <a:pt x="135" y="247"/>
                      </a:lnTo>
                      <a:lnTo>
                        <a:pt x="134" y="247"/>
                      </a:lnTo>
                      <a:lnTo>
                        <a:pt x="134" y="248"/>
                      </a:lnTo>
                      <a:lnTo>
                        <a:pt x="133" y="248"/>
                      </a:lnTo>
                      <a:lnTo>
                        <a:pt x="133" y="248"/>
                      </a:lnTo>
                      <a:lnTo>
                        <a:pt x="133" y="249"/>
                      </a:lnTo>
                      <a:lnTo>
                        <a:pt x="133" y="249"/>
                      </a:lnTo>
                      <a:lnTo>
                        <a:pt x="133" y="249"/>
                      </a:lnTo>
                      <a:lnTo>
                        <a:pt x="132" y="249"/>
                      </a:lnTo>
                      <a:lnTo>
                        <a:pt x="133" y="249"/>
                      </a:lnTo>
                      <a:lnTo>
                        <a:pt x="132" y="249"/>
                      </a:lnTo>
                      <a:lnTo>
                        <a:pt x="132" y="250"/>
                      </a:lnTo>
                      <a:lnTo>
                        <a:pt x="132" y="250"/>
                      </a:lnTo>
                      <a:lnTo>
                        <a:pt x="132" y="251"/>
                      </a:lnTo>
                      <a:lnTo>
                        <a:pt x="131" y="251"/>
                      </a:lnTo>
                      <a:lnTo>
                        <a:pt x="132" y="251"/>
                      </a:lnTo>
                      <a:lnTo>
                        <a:pt x="131" y="251"/>
                      </a:lnTo>
                      <a:lnTo>
                        <a:pt x="132" y="251"/>
                      </a:lnTo>
                      <a:lnTo>
                        <a:pt x="131" y="251"/>
                      </a:lnTo>
                      <a:lnTo>
                        <a:pt x="132" y="251"/>
                      </a:lnTo>
                      <a:lnTo>
                        <a:pt x="131" y="251"/>
                      </a:lnTo>
                      <a:lnTo>
                        <a:pt x="131" y="252"/>
                      </a:lnTo>
                      <a:lnTo>
                        <a:pt x="131" y="252"/>
                      </a:lnTo>
                      <a:lnTo>
                        <a:pt x="131" y="253"/>
                      </a:lnTo>
                      <a:lnTo>
                        <a:pt x="131" y="252"/>
                      </a:lnTo>
                      <a:lnTo>
                        <a:pt x="131" y="253"/>
                      </a:lnTo>
                      <a:lnTo>
                        <a:pt x="130" y="253"/>
                      </a:lnTo>
                      <a:lnTo>
                        <a:pt x="130" y="254"/>
                      </a:lnTo>
                      <a:lnTo>
                        <a:pt x="130" y="254"/>
                      </a:lnTo>
                      <a:lnTo>
                        <a:pt x="130" y="254"/>
                      </a:lnTo>
                      <a:lnTo>
                        <a:pt x="130" y="255"/>
                      </a:lnTo>
                      <a:lnTo>
                        <a:pt x="130" y="254"/>
                      </a:lnTo>
                      <a:lnTo>
                        <a:pt x="130" y="254"/>
                      </a:lnTo>
                      <a:lnTo>
                        <a:pt x="130" y="254"/>
                      </a:lnTo>
                      <a:lnTo>
                        <a:pt x="130" y="253"/>
                      </a:lnTo>
                      <a:lnTo>
                        <a:pt x="131" y="253"/>
                      </a:lnTo>
                      <a:lnTo>
                        <a:pt x="131" y="252"/>
                      </a:lnTo>
                      <a:lnTo>
                        <a:pt x="131" y="252"/>
                      </a:lnTo>
                      <a:lnTo>
                        <a:pt x="131" y="251"/>
                      </a:lnTo>
                      <a:lnTo>
                        <a:pt x="132" y="251"/>
                      </a:lnTo>
                      <a:lnTo>
                        <a:pt x="132" y="251"/>
                      </a:lnTo>
                      <a:lnTo>
                        <a:pt x="132" y="250"/>
                      </a:lnTo>
                      <a:lnTo>
                        <a:pt x="132" y="250"/>
                      </a:lnTo>
                      <a:lnTo>
                        <a:pt x="132" y="250"/>
                      </a:lnTo>
                      <a:lnTo>
                        <a:pt x="132" y="250"/>
                      </a:lnTo>
                      <a:lnTo>
                        <a:pt x="132" y="250"/>
                      </a:lnTo>
                      <a:lnTo>
                        <a:pt x="132" y="250"/>
                      </a:lnTo>
                      <a:lnTo>
                        <a:pt x="132" y="249"/>
                      </a:lnTo>
                      <a:lnTo>
                        <a:pt x="133" y="249"/>
                      </a:lnTo>
                      <a:lnTo>
                        <a:pt x="133" y="249"/>
                      </a:lnTo>
                      <a:lnTo>
                        <a:pt x="133" y="249"/>
                      </a:lnTo>
                      <a:lnTo>
                        <a:pt x="133" y="249"/>
                      </a:lnTo>
                      <a:lnTo>
                        <a:pt x="133" y="249"/>
                      </a:lnTo>
                      <a:lnTo>
                        <a:pt x="133" y="248"/>
                      </a:lnTo>
                      <a:lnTo>
                        <a:pt x="134" y="248"/>
                      </a:lnTo>
                      <a:lnTo>
                        <a:pt x="133" y="248"/>
                      </a:lnTo>
                      <a:lnTo>
                        <a:pt x="133" y="248"/>
                      </a:lnTo>
                      <a:lnTo>
                        <a:pt x="134" y="248"/>
                      </a:lnTo>
                      <a:lnTo>
                        <a:pt x="133" y="248"/>
                      </a:lnTo>
                      <a:lnTo>
                        <a:pt x="134" y="248"/>
                      </a:lnTo>
                      <a:lnTo>
                        <a:pt x="134" y="248"/>
                      </a:lnTo>
                      <a:lnTo>
                        <a:pt x="134" y="248"/>
                      </a:lnTo>
                      <a:lnTo>
                        <a:pt x="134" y="248"/>
                      </a:lnTo>
                      <a:lnTo>
                        <a:pt x="134" y="248"/>
                      </a:lnTo>
                      <a:lnTo>
                        <a:pt x="134" y="248"/>
                      </a:lnTo>
                      <a:lnTo>
                        <a:pt x="134" y="247"/>
                      </a:lnTo>
                      <a:lnTo>
                        <a:pt x="134" y="248"/>
                      </a:lnTo>
                      <a:lnTo>
                        <a:pt x="134" y="247"/>
                      </a:lnTo>
                      <a:lnTo>
                        <a:pt x="135" y="247"/>
                      </a:lnTo>
                      <a:lnTo>
                        <a:pt x="135" y="247"/>
                      </a:lnTo>
                      <a:lnTo>
                        <a:pt x="136" y="247"/>
                      </a:lnTo>
                      <a:lnTo>
                        <a:pt x="135" y="247"/>
                      </a:lnTo>
                      <a:lnTo>
                        <a:pt x="136" y="247"/>
                      </a:lnTo>
                      <a:lnTo>
                        <a:pt x="135" y="246"/>
                      </a:lnTo>
                      <a:lnTo>
                        <a:pt x="136" y="246"/>
                      </a:lnTo>
                      <a:lnTo>
                        <a:pt x="135" y="246"/>
                      </a:lnTo>
                      <a:lnTo>
                        <a:pt x="136" y="246"/>
                      </a:lnTo>
                      <a:lnTo>
                        <a:pt x="136" y="247"/>
                      </a:lnTo>
                      <a:lnTo>
                        <a:pt x="136" y="247"/>
                      </a:lnTo>
                      <a:lnTo>
                        <a:pt x="136" y="247"/>
                      </a:lnTo>
                      <a:lnTo>
                        <a:pt x="136" y="246"/>
                      </a:lnTo>
                      <a:lnTo>
                        <a:pt x="135" y="246"/>
                      </a:lnTo>
                      <a:lnTo>
                        <a:pt x="135" y="245"/>
                      </a:lnTo>
                      <a:lnTo>
                        <a:pt x="135" y="245"/>
                      </a:lnTo>
                      <a:lnTo>
                        <a:pt x="135" y="244"/>
                      </a:lnTo>
                      <a:lnTo>
                        <a:pt x="135" y="245"/>
                      </a:lnTo>
                      <a:lnTo>
                        <a:pt x="134" y="244"/>
                      </a:lnTo>
                      <a:lnTo>
                        <a:pt x="134" y="244"/>
                      </a:lnTo>
                      <a:lnTo>
                        <a:pt x="134" y="244"/>
                      </a:lnTo>
                      <a:lnTo>
                        <a:pt x="134" y="244"/>
                      </a:lnTo>
                      <a:lnTo>
                        <a:pt x="134" y="244"/>
                      </a:lnTo>
                      <a:lnTo>
                        <a:pt x="133" y="244"/>
                      </a:lnTo>
                      <a:lnTo>
                        <a:pt x="133" y="244"/>
                      </a:lnTo>
                      <a:lnTo>
                        <a:pt x="132" y="244"/>
                      </a:lnTo>
                      <a:lnTo>
                        <a:pt x="132" y="243"/>
                      </a:lnTo>
                      <a:lnTo>
                        <a:pt x="132" y="244"/>
                      </a:lnTo>
                      <a:lnTo>
                        <a:pt x="132" y="243"/>
                      </a:lnTo>
                      <a:lnTo>
                        <a:pt x="131" y="243"/>
                      </a:lnTo>
                      <a:lnTo>
                        <a:pt x="130" y="243"/>
                      </a:lnTo>
                      <a:lnTo>
                        <a:pt x="130" y="243"/>
                      </a:lnTo>
                      <a:lnTo>
                        <a:pt x="130" y="243"/>
                      </a:lnTo>
                      <a:lnTo>
                        <a:pt x="129" y="243"/>
                      </a:lnTo>
                      <a:lnTo>
                        <a:pt x="129" y="242"/>
                      </a:lnTo>
                      <a:lnTo>
                        <a:pt x="129" y="242"/>
                      </a:lnTo>
                      <a:lnTo>
                        <a:pt x="129" y="241"/>
                      </a:lnTo>
                      <a:lnTo>
                        <a:pt x="129" y="242"/>
                      </a:lnTo>
                      <a:lnTo>
                        <a:pt x="129" y="241"/>
                      </a:lnTo>
                      <a:lnTo>
                        <a:pt x="128" y="241"/>
                      </a:lnTo>
                      <a:lnTo>
                        <a:pt x="128" y="241"/>
                      </a:lnTo>
                      <a:lnTo>
                        <a:pt x="128" y="241"/>
                      </a:lnTo>
                      <a:lnTo>
                        <a:pt x="127" y="241"/>
                      </a:lnTo>
                      <a:lnTo>
                        <a:pt x="126" y="240"/>
                      </a:lnTo>
                      <a:lnTo>
                        <a:pt x="126" y="240"/>
                      </a:lnTo>
                      <a:lnTo>
                        <a:pt x="126" y="240"/>
                      </a:lnTo>
                      <a:lnTo>
                        <a:pt x="126" y="240"/>
                      </a:lnTo>
                      <a:lnTo>
                        <a:pt x="126" y="240"/>
                      </a:lnTo>
                      <a:lnTo>
                        <a:pt x="125" y="240"/>
                      </a:lnTo>
                      <a:lnTo>
                        <a:pt x="125" y="239"/>
                      </a:lnTo>
                      <a:lnTo>
                        <a:pt x="125" y="238"/>
                      </a:lnTo>
                      <a:lnTo>
                        <a:pt x="125" y="238"/>
                      </a:lnTo>
                      <a:lnTo>
                        <a:pt x="124" y="238"/>
                      </a:lnTo>
                      <a:lnTo>
                        <a:pt x="125" y="238"/>
                      </a:lnTo>
                      <a:lnTo>
                        <a:pt x="124" y="238"/>
                      </a:lnTo>
                      <a:lnTo>
                        <a:pt x="124" y="237"/>
                      </a:lnTo>
                      <a:lnTo>
                        <a:pt x="124" y="238"/>
                      </a:lnTo>
                      <a:lnTo>
                        <a:pt x="124" y="237"/>
                      </a:lnTo>
                      <a:lnTo>
                        <a:pt x="124" y="237"/>
                      </a:lnTo>
                      <a:lnTo>
                        <a:pt x="124" y="237"/>
                      </a:lnTo>
                      <a:lnTo>
                        <a:pt x="123" y="237"/>
                      </a:lnTo>
                      <a:lnTo>
                        <a:pt x="123" y="236"/>
                      </a:lnTo>
                      <a:lnTo>
                        <a:pt x="123" y="236"/>
                      </a:lnTo>
                      <a:lnTo>
                        <a:pt x="123" y="235"/>
                      </a:lnTo>
                      <a:lnTo>
                        <a:pt x="123" y="234"/>
                      </a:lnTo>
                      <a:lnTo>
                        <a:pt x="123" y="235"/>
                      </a:lnTo>
                      <a:lnTo>
                        <a:pt x="123" y="236"/>
                      </a:lnTo>
                      <a:lnTo>
                        <a:pt x="123" y="235"/>
                      </a:lnTo>
                      <a:lnTo>
                        <a:pt x="122" y="235"/>
                      </a:lnTo>
                      <a:lnTo>
                        <a:pt x="122" y="234"/>
                      </a:lnTo>
                      <a:lnTo>
                        <a:pt x="122" y="234"/>
                      </a:lnTo>
                      <a:lnTo>
                        <a:pt x="122" y="234"/>
                      </a:lnTo>
                      <a:lnTo>
                        <a:pt x="122" y="234"/>
                      </a:lnTo>
                      <a:lnTo>
                        <a:pt x="121" y="234"/>
                      </a:lnTo>
                      <a:lnTo>
                        <a:pt x="121" y="234"/>
                      </a:lnTo>
                      <a:lnTo>
                        <a:pt x="121" y="233"/>
                      </a:lnTo>
                      <a:lnTo>
                        <a:pt x="120" y="233"/>
                      </a:lnTo>
                      <a:lnTo>
                        <a:pt x="119" y="233"/>
                      </a:lnTo>
                      <a:lnTo>
                        <a:pt x="120" y="233"/>
                      </a:lnTo>
                      <a:lnTo>
                        <a:pt x="119" y="233"/>
                      </a:lnTo>
                      <a:lnTo>
                        <a:pt x="119" y="233"/>
                      </a:lnTo>
                      <a:lnTo>
                        <a:pt x="119" y="233"/>
                      </a:lnTo>
                      <a:lnTo>
                        <a:pt x="119" y="233"/>
                      </a:lnTo>
                      <a:lnTo>
                        <a:pt x="119" y="233"/>
                      </a:lnTo>
                      <a:lnTo>
                        <a:pt x="119" y="233"/>
                      </a:lnTo>
                      <a:lnTo>
                        <a:pt x="119" y="233"/>
                      </a:lnTo>
                      <a:lnTo>
                        <a:pt x="119" y="232"/>
                      </a:lnTo>
                      <a:lnTo>
                        <a:pt x="119" y="233"/>
                      </a:lnTo>
                      <a:lnTo>
                        <a:pt x="119" y="232"/>
                      </a:lnTo>
                      <a:lnTo>
                        <a:pt x="119" y="232"/>
                      </a:lnTo>
                      <a:lnTo>
                        <a:pt x="119" y="232"/>
                      </a:lnTo>
                      <a:lnTo>
                        <a:pt x="119" y="232"/>
                      </a:lnTo>
                      <a:lnTo>
                        <a:pt x="119" y="232"/>
                      </a:lnTo>
                      <a:lnTo>
                        <a:pt x="119" y="232"/>
                      </a:lnTo>
                      <a:lnTo>
                        <a:pt x="119" y="232"/>
                      </a:lnTo>
                      <a:lnTo>
                        <a:pt x="119" y="232"/>
                      </a:lnTo>
                      <a:lnTo>
                        <a:pt x="119" y="231"/>
                      </a:lnTo>
                      <a:lnTo>
                        <a:pt x="119" y="232"/>
                      </a:lnTo>
                      <a:lnTo>
                        <a:pt x="119" y="232"/>
                      </a:lnTo>
                      <a:lnTo>
                        <a:pt x="119" y="232"/>
                      </a:lnTo>
                      <a:lnTo>
                        <a:pt x="119" y="231"/>
                      </a:lnTo>
                      <a:lnTo>
                        <a:pt x="119" y="231"/>
                      </a:lnTo>
                      <a:lnTo>
                        <a:pt x="119" y="230"/>
                      </a:lnTo>
                      <a:lnTo>
                        <a:pt x="119" y="231"/>
                      </a:lnTo>
                      <a:lnTo>
                        <a:pt x="119" y="230"/>
                      </a:lnTo>
                      <a:lnTo>
                        <a:pt x="119" y="230"/>
                      </a:lnTo>
                      <a:lnTo>
                        <a:pt x="119" y="230"/>
                      </a:lnTo>
                      <a:lnTo>
                        <a:pt x="119" y="229"/>
                      </a:lnTo>
                      <a:lnTo>
                        <a:pt x="119" y="229"/>
                      </a:lnTo>
                      <a:lnTo>
                        <a:pt x="119" y="230"/>
                      </a:lnTo>
                      <a:lnTo>
                        <a:pt x="120" y="230"/>
                      </a:lnTo>
                      <a:lnTo>
                        <a:pt x="119" y="230"/>
                      </a:lnTo>
                      <a:lnTo>
                        <a:pt x="120" y="230"/>
                      </a:lnTo>
                      <a:lnTo>
                        <a:pt x="120" y="230"/>
                      </a:lnTo>
                      <a:lnTo>
                        <a:pt x="120" y="231"/>
                      </a:lnTo>
                      <a:lnTo>
                        <a:pt x="119" y="231"/>
                      </a:lnTo>
                      <a:lnTo>
                        <a:pt x="120" y="232"/>
                      </a:lnTo>
                      <a:lnTo>
                        <a:pt x="120" y="232"/>
                      </a:lnTo>
                      <a:lnTo>
                        <a:pt x="121" y="232"/>
                      </a:lnTo>
                      <a:lnTo>
                        <a:pt x="120" y="232"/>
                      </a:lnTo>
                      <a:lnTo>
                        <a:pt x="121" y="232"/>
                      </a:lnTo>
                      <a:lnTo>
                        <a:pt x="120" y="232"/>
                      </a:lnTo>
                      <a:lnTo>
                        <a:pt x="120" y="232"/>
                      </a:lnTo>
                      <a:lnTo>
                        <a:pt x="119" y="231"/>
                      </a:lnTo>
                      <a:lnTo>
                        <a:pt x="120" y="231"/>
                      </a:lnTo>
                      <a:lnTo>
                        <a:pt x="120" y="230"/>
                      </a:lnTo>
                      <a:lnTo>
                        <a:pt x="120" y="230"/>
                      </a:lnTo>
                      <a:lnTo>
                        <a:pt x="120" y="230"/>
                      </a:lnTo>
                      <a:lnTo>
                        <a:pt x="120" y="230"/>
                      </a:lnTo>
                      <a:lnTo>
                        <a:pt x="120" y="230"/>
                      </a:lnTo>
                      <a:lnTo>
                        <a:pt x="121" y="230"/>
                      </a:lnTo>
                      <a:lnTo>
                        <a:pt x="121" y="231"/>
                      </a:lnTo>
                      <a:lnTo>
                        <a:pt x="121" y="232"/>
                      </a:lnTo>
                      <a:lnTo>
                        <a:pt x="121" y="231"/>
                      </a:lnTo>
                      <a:lnTo>
                        <a:pt x="121" y="232"/>
                      </a:lnTo>
                      <a:lnTo>
                        <a:pt x="121" y="232"/>
                      </a:lnTo>
                      <a:lnTo>
                        <a:pt x="121" y="232"/>
                      </a:lnTo>
                      <a:lnTo>
                        <a:pt x="121" y="232"/>
                      </a:lnTo>
                      <a:lnTo>
                        <a:pt x="121" y="232"/>
                      </a:lnTo>
                      <a:lnTo>
                        <a:pt x="121" y="232"/>
                      </a:lnTo>
                      <a:lnTo>
                        <a:pt x="121" y="232"/>
                      </a:lnTo>
                      <a:lnTo>
                        <a:pt x="121" y="232"/>
                      </a:lnTo>
                      <a:lnTo>
                        <a:pt x="121" y="232"/>
                      </a:lnTo>
                      <a:lnTo>
                        <a:pt x="121" y="232"/>
                      </a:lnTo>
                      <a:lnTo>
                        <a:pt x="121" y="232"/>
                      </a:lnTo>
                      <a:lnTo>
                        <a:pt x="121" y="232"/>
                      </a:lnTo>
                      <a:lnTo>
                        <a:pt x="121" y="232"/>
                      </a:lnTo>
                      <a:lnTo>
                        <a:pt x="121" y="232"/>
                      </a:lnTo>
                      <a:lnTo>
                        <a:pt x="121" y="232"/>
                      </a:lnTo>
                      <a:lnTo>
                        <a:pt x="121" y="231"/>
                      </a:lnTo>
                      <a:lnTo>
                        <a:pt x="121" y="231"/>
                      </a:lnTo>
                      <a:lnTo>
                        <a:pt x="121" y="231"/>
                      </a:lnTo>
                      <a:lnTo>
                        <a:pt x="121" y="231"/>
                      </a:lnTo>
                      <a:lnTo>
                        <a:pt x="121" y="231"/>
                      </a:lnTo>
                      <a:lnTo>
                        <a:pt x="121" y="230"/>
                      </a:lnTo>
                      <a:lnTo>
                        <a:pt x="120" y="230"/>
                      </a:lnTo>
                      <a:lnTo>
                        <a:pt x="120" y="230"/>
                      </a:lnTo>
                      <a:lnTo>
                        <a:pt x="120" y="229"/>
                      </a:lnTo>
                      <a:lnTo>
                        <a:pt x="121" y="229"/>
                      </a:lnTo>
                      <a:lnTo>
                        <a:pt x="121" y="229"/>
                      </a:lnTo>
                      <a:lnTo>
                        <a:pt x="121" y="230"/>
                      </a:lnTo>
                      <a:lnTo>
                        <a:pt x="121" y="230"/>
                      </a:lnTo>
                      <a:lnTo>
                        <a:pt x="121" y="229"/>
                      </a:lnTo>
                      <a:lnTo>
                        <a:pt x="121" y="230"/>
                      </a:lnTo>
                      <a:lnTo>
                        <a:pt x="121" y="230"/>
                      </a:lnTo>
                      <a:lnTo>
                        <a:pt x="121" y="230"/>
                      </a:lnTo>
                      <a:lnTo>
                        <a:pt x="121" y="231"/>
                      </a:lnTo>
                      <a:lnTo>
                        <a:pt x="122" y="231"/>
                      </a:lnTo>
                      <a:lnTo>
                        <a:pt x="121" y="231"/>
                      </a:lnTo>
                      <a:lnTo>
                        <a:pt x="121" y="230"/>
                      </a:lnTo>
                      <a:lnTo>
                        <a:pt x="122" y="230"/>
                      </a:lnTo>
                      <a:lnTo>
                        <a:pt x="121" y="230"/>
                      </a:lnTo>
                      <a:lnTo>
                        <a:pt x="121" y="230"/>
                      </a:lnTo>
                      <a:lnTo>
                        <a:pt x="122" y="230"/>
                      </a:lnTo>
                      <a:lnTo>
                        <a:pt x="122" y="230"/>
                      </a:lnTo>
                      <a:lnTo>
                        <a:pt x="122" y="230"/>
                      </a:lnTo>
                      <a:lnTo>
                        <a:pt x="121" y="230"/>
                      </a:lnTo>
                      <a:lnTo>
                        <a:pt x="121" y="229"/>
                      </a:lnTo>
                      <a:lnTo>
                        <a:pt x="121" y="229"/>
                      </a:lnTo>
                      <a:lnTo>
                        <a:pt x="122" y="229"/>
                      </a:lnTo>
                      <a:lnTo>
                        <a:pt x="122" y="228"/>
                      </a:lnTo>
                      <a:lnTo>
                        <a:pt x="122" y="229"/>
                      </a:lnTo>
                      <a:lnTo>
                        <a:pt x="122" y="228"/>
                      </a:lnTo>
                      <a:lnTo>
                        <a:pt x="121" y="228"/>
                      </a:lnTo>
                      <a:lnTo>
                        <a:pt x="122" y="228"/>
                      </a:lnTo>
                      <a:lnTo>
                        <a:pt x="121" y="228"/>
                      </a:lnTo>
                      <a:lnTo>
                        <a:pt x="121" y="228"/>
                      </a:lnTo>
                      <a:lnTo>
                        <a:pt x="121" y="228"/>
                      </a:lnTo>
                      <a:lnTo>
                        <a:pt x="121" y="229"/>
                      </a:lnTo>
                      <a:lnTo>
                        <a:pt x="121" y="229"/>
                      </a:lnTo>
                      <a:lnTo>
                        <a:pt x="121" y="228"/>
                      </a:lnTo>
                      <a:lnTo>
                        <a:pt x="121" y="228"/>
                      </a:lnTo>
                      <a:lnTo>
                        <a:pt x="121" y="228"/>
                      </a:lnTo>
                      <a:lnTo>
                        <a:pt x="121" y="228"/>
                      </a:lnTo>
                      <a:lnTo>
                        <a:pt x="121" y="228"/>
                      </a:lnTo>
                      <a:lnTo>
                        <a:pt x="121" y="228"/>
                      </a:lnTo>
                      <a:lnTo>
                        <a:pt x="121" y="227"/>
                      </a:lnTo>
                      <a:lnTo>
                        <a:pt x="122" y="227"/>
                      </a:lnTo>
                      <a:lnTo>
                        <a:pt x="122" y="228"/>
                      </a:lnTo>
                      <a:lnTo>
                        <a:pt x="122" y="227"/>
                      </a:lnTo>
                      <a:lnTo>
                        <a:pt x="122" y="228"/>
                      </a:lnTo>
                      <a:lnTo>
                        <a:pt x="122" y="227"/>
                      </a:lnTo>
                      <a:lnTo>
                        <a:pt x="122" y="227"/>
                      </a:lnTo>
                      <a:lnTo>
                        <a:pt x="122" y="228"/>
                      </a:lnTo>
                      <a:lnTo>
                        <a:pt x="122" y="228"/>
                      </a:lnTo>
                      <a:lnTo>
                        <a:pt x="122" y="228"/>
                      </a:lnTo>
                      <a:lnTo>
                        <a:pt x="122" y="228"/>
                      </a:lnTo>
                      <a:lnTo>
                        <a:pt x="122" y="228"/>
                      </a:lnTo>
                      <a:lnTo>
                        <a:pt x="122" y="227"/>
                      </a:lnTo>
                      <a:lnTo>
                        <a:pt x="122" y="227"/>
                      </a:lnTo>
                      <a:lnTo>
                        <a:pt x="122" y="226"/>
                      </a:lnTo>
                      <a:lnTo>
                        <a:pt x="122" y="226"/>
                      </a:lnTo>
                      <a:lnTo>
                        <a:pt x="122" y="226"/>
                      </a:lnTo>
                      <a:lnTo>
                        <a:pt x="122" y="226"/>
                      </a:lnTo>
                      <a:lnTo>
                        <a:pt x="122" y="226"/>
                      </a:lnTo>
                      <a:lnTo>
                        <a:pt x="122" y="226"/>
                      </a:lnTo>
                      <a:lnTo>
                        <a:pt x="121" y="226"/>
                      </a:lnTo>
                      <a:lnTo>
                        <a:pt x="122" y="226"/>
                      </a:lnTo>
                      <a:lnTo>
                        <a:pt x="122" y="225"/>
                      </a:lnTo>
                      <a:lnTo>
                        <a:pt x="122" y="226"/>
                      </a:lnTo>
                      <a:lnTo>
                        <a:pt x="122" y="225"/>
                      </a:lnTo>
                      <a:lnTo>
                        <a:pt x="122" y="225"/>
                      </a:lnTo>
                      <a:lnTo>
                        <a:pt x="122" y="225"/>
                      </a:lnTo>
                      <a:lnTo>
                        <a:pt x="122" y="225"/>
                      </a:lnTo>
                      <a:lnTo>
                        <a:pt x="122" y="225"/>
                      </a:lnTo>
                      <a:lnTo>
                        <a:pt x="123" y="225"/>
                      </a:lnTo>
                      <a:lnTo>
                        <a:pt x="122" y="225"/>
                      </a:lnTo>
                      <a:lnTo>
                        <a:pt x="123" y="225"/>
                      </a:lnTo>
                      <a:lnTo>
                        <a:pt x="123" y="224"/>
                      </a:lnTo>
                      <a:lnTo>
                        <a:pt x="124" y="224"/>
                      </a:lnTo>
                      <a:lnTo>
                        <a:pt x="124" y="224"/>
                      </a:lnTo>
                      <a:lnTo>
                        <a:pt x="125" y="224"/>
                      </a:lnTo>
                      <a:lnTo>
                        <a:pt x="125" y="224"/>
                      </a:lnTo>
                      <a:lnTo>
                        <a:pt x="126" y="224"/>
                      </a:lnTo>
                      <a:lnTo>
                        <a:pt x="126" y="223"/>
                      </a:lnTo>
                      <a:lnTo>
                        <a:pt x="126" y="223"/>
                      </a:lnTo>
                      <a:lnTo>
                        <a:pt x="126" y="224"/>
                      </a:lnTo>
                      <a:lnTo>
                        <a:pt x="127" y="224"/>
                      </a:lnTo>
                      <a:lnTo>
                        <a:pt x="126" y="224"/>
                      </a:lnTo>
                      <a:lnTo>
                        <a:pt x="127" y="224"/>
                      </a:lnTo>
                      <a:lnTo>
                        <a:pt x="126" y="224"/>
                      </a:lnTo>
                      <a:lnTo>
                        <a:pt x="126" y="225"/>
                      </a:lnTo>
                      <a:lnTo>
                        <a:pt x="126" y="224"/>
                      </a:lnTo>
                      <a:lnTo>
                        <a:pt x="127" y="224"/>
                      </a:lnTo>
                      <a:lnTo>
                        <a:pt x="128" y="224"/>
                      </a:lnTo>
                      <a:lnTo>
                        <a:pt x="127" y="224"/>
                      </a:lnTo>
                      <a:lnTo>
                        <a:pt x="126" y="224"/>
                      </a:lnTo>
                      <a:lnTo>
                        <a:pt x="127" y="224"/>
                      </a:lnTo>
                      <a:lnTo>
                        <a:pt x="128" y="224"/>
                      </a:lnTo>
                      <a:lnTo>
                        <a:pt x="128" y="224"/>
                      </a:lnTo>
                      <a:lnTo>
                        <a:pt x="128" y="224"/>
                      </a:lnTo>
                      <a:lnTo>
                        <a:pt x="127" y="224"/>
                      </a:lnTo>
                      <a:lnTo>
                        <a:pt x="128" y="224"/>
                      </a:lnTo>
                      <a:lnTo>
                        <a:pt x="128" y="223"/>
                      </a:lnTo>
                      <a:lnTo>
                        <a:pt x="128" y="223"/>
                      </a:lnTo>
                      <a:lnTo>
                        <a:pt x="128" y="224"/>
                      </a:lnTo>
                      <a:lnTo>
                        <a:pt x="129" y="224"/>
                      </a:lnTo>
                      <a:lnTo>
                        <a:pt x="129" y="223"/>
                      </a:lnTo>
                      <a:lnTo>
                        <a:pt x="129" y="223"/>
                      </a:lnTo>
                      <a:lnTo>
                        <a:pt x="129" y="223"/>
                      </a:lnTo>
                      <a:lnTo>
                        <a:pt x="129" y="224"/>
                      </a:lnTo>
                      <a:lnTo>
                        <a:pt x="128" y="224"/>
                      </a:lnTo>
                      <a:lnTo>
                        <a:pt x="128" y="223"/>
                      </a:lnTo>
                      <a:lnTo>
                        <a:pt x="128" y="224"/>
                      </a:lnTo>
                      <a:lnTo>
                        <a:pt x="128" y="223"/>
                      </a:lnTo>
                      <a:lnTo>
                        <a:pt x="128" y="223"/>
                      </a:lnTo>
                      <a:lnTo>
                        <a:pt x="128" y="224"/>
                      </a:lnTo>
                      <a:lnTo>
                        <a:pt x="127" y="223"/>
                      </a:lnTo>
                      <a:lnTo>
                        <a:pt x="127" y="224"/>
                      </a:lnTo>
                      <a:lnTo>
                        <a:pt x="126" y="224"/>
                      </a:lnTo>
                      <a:lnTo>
                        <a:pt x="126" y="223"/>
                      </a:lnTo>
                      <a:lnTo>
                        <a:pt x="127" y="223"/>
                      </a:lnTo>
                      <a:lnTo>
                        <a:pt x="128" y="223"/>
                      </a:lnTo>
                      <a:lnTo>
                        <a:pt x="128" y="223"/>
                      </a:lnTo>
                      <a:lnTo>
                        <a:pt x="128" y="223"/>
                      </a:lnTo>
                      <a:lnTo>
                        <a:pt x="128" y="223"/>
                      </a:lnTo>
                      <a:lnTo>
                        <a:pt x="128" y="223"/>
                      </a:lnTo>
                      <a:lnTo>
                        <a:pt x="127" y="223"/>
                      </a:lnTo>
                      <a:lnTo>
                        <a:pt x="128" y="223"/>
                      </a:lnTo>
                      <a:lnTo>
                        <a:pt x="128" y="223"/>
                      </a:lnTo>
                      <a:lnTo>
                        <a:pt x="129" y="223"/>
                      </a:lnTo>
                      <a:lnTo>
                        <a:pt x="128" y="223"/>
                      </a:lnTo>
                      <a:lnTo>
                        <a:pt x="129" y="223"/>
                      </a:lnTo>
                      <a:lnTo>
                        <a:pt x="129" y="222"/>
                      </a:lnTo>
                      <a:lnTo>
                        <a:pt x="129" y="223"/>
                      </a:lnTo>
                      <a:lnTo>
                        <a:pt x="128" y="223"/>
                      </a:lnTo>
                      <a:lnTo>
                        <a:pt x="128" y="223"/>
                      </a:lnTo>
                      <a:lnTo>
                        <a:pt x="127" y="223"/>
                      </a:lnTo>
                      <a:lnTo>
                        <a:pt x="127" y="223"/>
                      </a:lnTo>
                      <a:lnTo>
                        <a:pt x="126" y="223"/>
                      </a:lnTo>
                      <a:lnTo>
                        <a:pt x="127" y="223"/>
                      </a:lnTo>
                      <a:lnTo>
                        <a:pt x="127" y="223"/>
                      </a:lnTo>
                      <a:lnTo>
                        <a:pt x="127" y="222"/>
                      </a:lnTo>
                      <a:lnTo>
                        <a:pt x="128" y="222"/>
                      </a:lnTo>
                      <a:lnTo>
                        <a:pt x="129" y="222"/>
                      </a:lnTo>
                      <a:lnTo>
                        <a:pt x="129" y="222"/>
                      </a:lnTo>
                      <a:lnTo>
                        <a:pt x="129" y="222"/>
                      </a:lnTo>
                      <a:lnTo>
                        <a:pt x="130" y="222"/>
                      </a:lnTo>
                      <a:lnTo>
                        <a:pt x="130" y="221"/>
                      </a:lnTo>
                      <a:lnTo>
                        <a:pt x="130" y="221"/>
                      </a:lnTo>
                      <a:lnTo>
                        <a:pt x="131" y="221"/>
                      </a:lnTo>
                      <a:lnTo>
                        <a:pt x="132" y="221"/>
                      </a:lnTo>
                      <a:lnTo>
                        <a:pt x="132" y="221"/>
                      </a:lnTo>
                      <a:lnTo>
                        <a:pt x="132" y="221"/>
                      </a:lnTo>
                      <a:lnTo>
                        <a:pt x="132" y="221"/>
                      </a:lnTo>
                      <a:lnTo>
                        <a:pt x="132" y="220"/>
                      </a:lnTo>
                      <a:lnTo>
                        <a:pt x="132" y="220"/>
                      </a:lnTo>
                      <a:lnTo>
                        <a:pt x="132" y="219"/>
                      </a:lnTo>
                      <a:lnTo>
                        <a:pt x="133" y="219"/>
                      </a:lnTo>
                      <a:lnTo>
                        <a:pt x="133" y="219"/>
                      </a:lnTo>
                      <a:lnTo>
                        <a:pt x="133" y="219"/>
                      </a:lnTo>
                      <a:lnTo>
                        <a:pt x="134" y="219"/>
                      </a:lnTo>
                      <a:lnTo>
                        <a:pt x="134" y="218"/>
                      </a:lnTo>
                      <a:lnTo>
                        <a:pt x="134" y="218"/>
                      </a:lnTo>
                      <a:lnTo>
                        <a:pt x="134" y="218"/>
                      </a:lnTo>
                      <a:lnTo>
                        <a:pt x="134" y="218"/>
                      </a:lnTo>
                      <a:lnTo>
                        <a:pt x="134" y="218"/>
                      </a:lnTo>
                      <a:lnTo>
                        <a:pt x="134" y="217"/>
                      </a:lnTo>
                      <a:lnTo>
                        <a:pt x="134" y="216"/>
                      </a:lnTo>
                      <a:lnTo>
                        <a:pt x="134" y="216"/>
                      </a:lnTo>
                      <a:lnTo>
                        <a:pt x="134" y="215"/>
                      </a:lnTo>
                      <a:lnTo>
                        <a:pt x="134" y="215"/>
                      </a:lnTo>
                      <a:lnTo>
                        <a:pt x="134" y="215"/>
                      </a:lnTo>
                      <a:lnTo>
                        <a:pt x="134" y="215"/>
                      </a:lnTo>
                      <a:lnTo>
                        <a:pt x="134" y="214"/>
                      </a:lnTo>
                      <a:lnTo>
                        <a:pt x="134" y="215"/>
                      </a:lnTo>
                      <a:lnTo>
                        <a:pt x="134" y="214"/>
                      </a:lnTo>
                      <a:lnTo>
                        <a:pt x="135" y="214"/>
                      </a:lnTo>
                      <a:lnTo>
                        <a:pt x="135" y="214"/>
                      </a:lnTo>
                      <a:lnTo>
                        <a:pt x="136" y="214"/>
                      </a:lnTo>
                      <a:lnTo>
                        <a:pt x="135" y="214"/>
                      </a:lnTo>
                      <a:lnTo>
                        <a:pt x="136" y="214"/>
                      </a:lnTo>
                      <a:lnTo>
                        <a:pt x="136" y="213"/>
                      </a:lnTo>
                      <a:lnTo>
                        <a:pt x="136" y="212"/>
                      </a:lnTo>
                      <a:lnTo>
                        <a:pt x="138" y="211"/>
                      </a:lnTo>
                      <a:lnTo>
                        <a:pt x="139" y="211"/>
                      </a:lnTo>
                      <a:lnTo>
                        <a:pt x="140" y="210"/>
                      </a:lnTo>
                      <a:lnTo>
                        <a:pt x="140" y="210"/>
                      </a:lnTo>
                      <a:lnTo>
                        <a:pt x="141" y="210"/>
                      </a:lnTo>
                      <a:lnTo>
                        <a:pt x="141" y="209"/>
                      </a:lnTo>
                      <a:lnTo>
                        <a:pt x="141" y="209"/>
                      </a:lnTo>
                      <a:lnTo>
                        <a:pt x="141" y="208"/>
                      </a:lnTo>
                      <a:lnTo>
                        <a:pt x="141" y="208"/>
                      </a:lnTo>
                      <a:lnTo>
                        <a:pt x="141" y="207"/>
                      </a:lnTo>
                      <a:lnTo>
                        <a:pt x="141" y="207"/>
                      </a:lnTo>
                      <a:lnTo>
                        <a:pt x="141" y="206"/>
                      </a:lnTo>
                      <a:lnTo>
                        <a:pt x="142" y="206"/>
                      </a:lnTo>
                      <a:lnTo>
                        <a:pt x="141" y="206"/>
                      </a:lnTo>
                      <a:lnTo>
                        <a:pt x="141" y="205"/>
                      </a:lnTo>
                      <a:lnTo>
                        <a:pt x="141" y="205"/>
                      </a:lnTo>
                      <a:lnTo>
                        <a:pt x="141" y="204"/>
                      </a:lnTo>
                      <a:lnTo>
                        <a:pt x="141" y="205"/>
                      </a:lnTo>
                      <a:lnTo>
                        <a:pt x="141" y="204"/>
                      </a:lnTo>
                      <a:lnTo>
                        <a:pt x="141" y="204"/>
                      </a:lnTo>
                      <a:lnTo>
                        <a:pt x="141" y="204"/>
                      </a:lnTo>
                      <a:lnTo>
                        <a:pt x="141" y="203"/>
                      </a:lnTo>
                      <a:lnTo>
                        <a:pt x="140" y="201"/>
                      </a:lnTo>
                      <a:lnTo>
                        <a:pt x="140" y="201"/>
                      </a:lnTo>
                      <a:lnTo>
                        <a:pt x="140" y="201"/>
                      </a:lnTo>
                      <a:lnTo>
                        <a:pt x="139" y="201"/>
                      </a:lnTo>
                      <a:lnTo>
                        <a:pt x="139" y="200"/>
                      </a:lnTo>
                      <a:lnTo>
                        <a:pt x="139" y="200"/>
                      </a:lnTo>
                      <a:lnTo>
                        <a:pt x="139" y="200"/>
                      </a:lnTo>
                      <a:lnTo>
                        <a:pt x="139" y="200"/>
                      </a:lnTo>
                      <a:lnTo>
                        <a:pt x="139" y="200"/>
                      </a:lnTo>
                      <a:lnTo>
                        <a:pt x="139" y="200"/>
                      </a:lnTo>
                      <a:lnTo>
                        <a:pt x="139" y="200"/>
                      </a:lnTo>
                      <a:lnTo>
                        <a:pt x="139" y="200"/>
                      </a:lnTo>
                      <a:lnTo>
                        <a:pt x="139" y="200"/>
                      </a:lnTo>
                      <a:lnTo>
                        <a:pt x="139" y="200"/>
                      </a:lnTo>
                      <a:lnTo>
                        <a:pt x="139" y="200"/>
                      </a:lnTo>
                      <a:lnTo>
                        <a:pt x="138" y="200"/>
                      </a:lnTo>
                      <a:lnTo>
                        <a:pt x="137" y="200"/>
                      </a:lnTo>
                      <a:lnTo>
                        <a:pt x="137" y="199"/>
                      </a:lnTo>
                      <a:lnTo>
                        <a:pt x="138" y="199"/>
                      </a:lnTo>
                      <a:lnTo>
                        <a:pt x="139" y="198"/>
                      </a:lnTo>
                      <a:lnTo>
                        <a:pt x="139" y="197"/>
                      </a:lnTo>
                      <a:lnTo>
                        <a:pt x="139" y="197"/>
                      </a:lnTo>
                      <a:lnTo>
                        <a:pt x="139" y="197"/>
                      </a:lnTo>
                      <a:lnTo>
                        <a:pt x="139" y="197"/>
                      </a:lnTo>
                      <a:lnTo>
                        <a:pt x="139" y="196"/>
                      </a:lnTo>
                      <a:lnTo>
                        <a:pt x="139" y="196"/>
                      </a:lnTo>
                      <a:lnTo>
                        <a:pt x="139" y="195"/>
                      </a:lnTo>
                      <a:lnTo>
                        <a:pt x="139" y="194"/>
                      </a:lnTo>
                      <a:lnTo>
                        <a:pt x="140" y="194"/>
                      </a:lnTo>
                      <a:lnTo>
                        <a:pt x="140" y="194"/>
                      </a:lnTo>
                      <a:lnTo>
                        <a:pt x="141" y="193"/>
                      </a:lnTo>
                      <a:lnTo>
                        <a:pt x="141" y="193"/>
                      </a:lnTo>
                      <a:lnTo>
                        <a:pt x="142" y="193"/>
                      </a:lnTo>
                      <a:lnTo>
                        <a:pt x="143" y="193"/>
                      </a:lnTo>
                      <a:lnTo>
                        <a:pt x="143" y="193"/>
                      </a:lnTo>
                      <a:lnTo>
                        <a:pt x="144" y="193"/>
                      </a:lnTo>
                      <a:lnTo>
                        <a:pt x="144" y="193"/>
                      </a:lnTo>
                      <a:lnTo>
                        <a:pt x="145" y="192"/>
                      </a:lnTo>
                      <a:lnTo>
                        <a:pt x="146" y="192"/>
                      </a:lnTo>
                      <a:lnTo>
                        <a:pt x="147" y="192"/>
                      </a:lnTo>
                      <a:lnTo>
                        <a:pt x="147" y="192"/>
                      </a:lnTo>
                      <a:lnTo>
                        <a:pt x="148" y="192"/>
                      </a:lnTo>
                      <a:lnTo>
                        <a:pt x="148" y="192"/>
                      </a:lnTo>
                      <a:lnTo>
                        <a:pt x="149" y="192"/>
                      </a:lnTo>
                      <a:lnTo>
                        <a:pt x="150" y="192"/>
                      </a:lnTo>
                      <a:lnTo>
                        <a:pt x="149" y="192"/>
                      </a:lnTo>
                      <a:lnTo>
                        <a:pt x="150" y="192"/>
                      </a:lnTo>
                      <a:lnTo>
                        <a:pt x="150" y="192"/>
                      </a:lnTo>
                      <a:lnTo>
                        <a:pt x="150" y="192"/>
                      </a:lnTo>
                      <a:lnTo>
                        <a:pt x="150" y="192"/>
                      </a:lnTo>
                      <a:lnTo>
                        <a:pt x="150" y="192"/>
                      </a:lnTo>
                      <a:lnTo>
                        <a:pt x="150" y="192"/>
                      </a:lnTo>
                      <a:lnTo>
                        <a:pt x="150" y="192"/>
                      </a:lnTo>
                      <a:lnTo>
                        <a:pt x="151" y="192"/>
                      </a:lnTo>
                      <a:lnTo>
                        <a:pt x="151" y="192"/>
                      </a:lnTo>
                      <a:lnTo>
                        <a:pt x="151" y="192"/>
                      </a:lnTo>
                      <a:lnTo>
                        <a:pt x="150" y="192"/>
                      </a:lnTo>
                      <a:lnTo>
                        <a:pt x="150" y="192"/>
                      </a:lnTo>
                      <a:lnTo>
                        <a:pt x="150" y="192"/>
                      </a:lnTo>
                      <a:lnTo>
                        <a:pt x="150" y="192"/>
                      </a:lnTo>
                      <a:lnTo>
                        <a:pt x="150" y="192"/>
                      </a:lnTo>
                      <a:lnTo>
                        <a:pt x="150" y="192"/>
                      </a:lnTo>
                      <a:lnTo>
                        <a:pt x="149" y="192"/>
                      </a:lnTo>
                      <a:lnTo>
                        <a:pt x="150" y="192"/>
                      </a:lnTo>
                      <a:lnTo>
                        <a:pt x="149" y="192"/>
                      </a:lnTo>
                      <a:lnTo>
                        <a:pt x="150" y="192"/>
                      </a:lnTo>
                      <a:lnTo>
                        <a:pt x="150" y="191"/>
                      </a:lnTo>
                      <a:lnTo>
                        <a:pt x="150" y="192"/>
                      </a:lnTo>
                      <a:lnTo>
                        <a:pt x="150" y="192"/>
                      </a:lnTo>
                      <a:lnTo>
                        <a:pt x="150" y="191"/>
                      </a:lnTo>
                      <a:lnTo>
                        <a:pt x="150" y="192"/>
                      </a:lnTo>
                      <a:lnTo>
                        <a:pt x="150" y="191"/>
                      </a:lnTo>
                      <a:lnTo>
                        <a:pt x="151" y="191"/>
                      </a:lnTo>
                      <a:lnTo>
                        <a:pt x="151" y="191"/>
                      </a:lnTo>
                      <a:lnTo>
                        <a:pt x="152" y="191"/>
                      </a:lnTo>
                      <a:lnTo>
                        <a:pt x="152" y="191"/>
                      </a:lnTo>
                      <a:lnTo>
                        <a:pt x="152" y="190"/>
                      </a:lnTo>
                      <a:lnTo>
                        <a:pt x="153" y="190"/>
                      </a:lnTo>
                      <a:lnTo>
                        <a:pt x="154" y="190"/>
                      </a:lnTo>
                      <a:lnTo>
                        <a:pt x="154" y="190"/>
                      </a:lnTo>
                      <a:lnTo>
                        <a:pt x="155" y="190"/>
                      </a:lnTo>
                      <a:lnTo>
                        <a:pt x="155" y="190"/>
                      </a:lnTo>
                      <a:lnTo>
                        <a:pt x="156" y="190"/>
                      </a:lnTo>
                      <a:lnTo>
                        <a:pt x="156" y="191"/>
                      </a:lnTo>
                      <a:lnTo>
                        <a:pt x="156" y="192"/>
                      </a:lnTo>
                      <a:lnTo>
                        <a:pt x="156" y="192"/>
                      </a:lnTo>
                      <a:lnTo>
                        <a:pt x="157" y="193"/>
                      </a:lnTo>
                      <a:lnTo>
                        <a:pt x="156" y="193"/>
                      </a:lnTo>
                      <a:lnTo>
                        <a:pt x="156" y="193"/>
                      </a:lnTo>
                      <a:lnTo>
                        <a:pt x="156" y="193"/>
                      </a:lnTo>
                      <a:lnTo>
                        <a:pt x="156" y="194"/>
                      </a:lnTo>
                      <a:lnTo>
                        <a:pt x="157" y="194"/>
                      </a:lnTo>
                      <a:lnTo>
                        <a:pt x="158" y="194"/>
                      </a:lnTo>
                      <a:lnTo>
                        <a:pt x="158" y="194"/>
                      </a:lnTo>
                      <a:lnTo>
                        <a:pt x="158" y="194"/>
                      </a:lnTo>
                      <a:lnTo>
                        <a:pt x="158" y="194"/>
                      </a:lnTo>
                      <a:lnTo>
                        <a:pt x="158" y="195"/>
                      </a:lnTo>
                      <a:lnTo>
                        <a:pt x="159" y="195"/>
                      </a:lnTo>
                      <a:lnTo>
                        <a:pt x="159" y="196"/>
                      </a:lnTo>
                      <a:lnTo>
                        <a:pt x="159" y="196"/>
                      </a:lnTo>
                      <a:lnTo>
                        <a:pt x="159" y="196"/>
                      </a:lnTo>
                      <a:lnTo>
                        <a:pt x="159" y="196"/>
                      </a:lnTo>
                      <a:lnTo>
                        <a:pt x="159" y="196"/>
                      </a:lnTo>
                      <a:lnTo>
                        <a:pt x="159" y="196"/>
                      </a:lnTo>
                      <a:lnTo>
                        <a:pt x="159" y="196"/>
                      </a:lnTo>
                      <a:lnTo>
                        <a:pt x="160" y="196"/>
                      </a:lnTo>
                      <a:lnTo>
                        <a:pt x="160" y="197"/>
                      </a:lnTo>
                      <a:lnTo>
                        <a:pt x="159" y="196"/>
                      </a:lnTo>
                      <a:lnTo>
                        <a:pt x="159" y="197"/>
                      </a:lnTo>
                      <a:lnTo>
                        <a:pt x="160" y="197"/>
                      </a:lnTo>
                      <a:lnTo>
                        <a:pt x="159" y="197"/>
                      </a:lnTo>
                      <a:lnTo>
                        <a:pt x="160" y="197"/>
                      </a:lnTo>
                      <a:lnTo>
                        <a:pt x="160" y="197"/>
                      </a:lnTo>
                      <a:lnTo>
                        <a:pt x="160" y="196"/>
                      </a:lnTo>
                      <a:lnTo>
                        <a:pt x="160" y="196"/>
                      </a:lnTo>
                      <a:lnTo>
                        <a:pt x="160" y="197"/>
                      </a:lnTo>
                      <a:lnTo>
                        <a:pt x="160" y="196"/>
                      </a:lnTo>
                      <a:lnTo>
                        <a:pt x="160" y="197"/>
                      </a:lnTo>
                      <a:lnTo>
                        <a:pt x="160" y="196"/>
                      </a:lnTo>
                      <a:lnTo>
                        <a:pt x="160" y="196"/>
                      </a:lnTo>
                      <a:lnTo>
                        <a:pt x="161" y="197"/>
                      </a:lnTo>
                      <a:lnTo>
                        <a:pt x="160" y="197"/>
                      </a:lnTo>
                      <a:lnTo>
                        <a:pt x="161" y="197"/>
                      </a:lnTo>
                      <a:lnTo>
                        <a:pt x="161" y="197"/>
                      </a:lnTo>
                      <a:lnTo>
                        <a:pt x="162" y="197"/>
                      </a:lnTo>
                      <a:lnTo>
                        <a:pt x="161" y="197"/>
                      </a:lnTo>
                      <a:lnTo>
                        <a:pt x="160" y="197"/>
                      </a:lnTo>
                      <a:lnTo>
                        <a:pt x="160" y="197"/>
                      </a:lnTo>
                      <a:lnTo>
                        <a:pt x="160" y="197"/>
                      </a:lnTo>
                      <a:lnTo>
                        <a:pt x="160" y="197"/>
                      </a:lnTo>
                      <a:lnTo>
                        <a:pt x="159" y="197"/>
                      </a:lnTo>
                      <a:lnTo>
                        <a:pt x="160" y="197"/>
                      </a:lnTo>
                      <a:lnTo>
                        <a:pt x="159" y="198"/>
                      </a:lnTo>
                      <a:lnTo>
                        <a:pt x="160" y="198"/>
                      </a:lnTo>
                      <a:lnTo>
                        <a:pt x="159" y="198"/>
                      </a:lnTo>
                      <a:lnTo>
                        <a:pt x="159" y="198"/>
                      </a:lnTo>
                      <a:lnTo>
                        <a:pt x="158" y="198"/>
                      </a:lnTo>
                      <a:lnTo>
                        <a:pt x="158" y="198"/>
                      </a:lnTo>
                      <a:lnTo>
                        <a:pt x="158" y="198"/>
                      </a:lnTo>
                      <a:lnTo>
                        <a:pt x="159" y="198"/>
                      </a:lnTo>
                      <a:lnTo>
                        <a:pt x="159" y="198"/>
                      </a:lnTo>
                      <a:lnTo>
                        <a:pt x="159" y="199"/>
                      </a:lnTo>
                      <a:lnTo>
                        <a:pt x="159" y="198"/>
                      </a:lnTo>
                      <a:lnTo>
                        <a:pt x="160" y="198"/>
                      </a:lnTo>
                      <a:lnTo>
                        <a:pt x="159" y="198"/>
                      </a:lnTo>
                      <a:lnTo>
                        <a:pt x="160" y="198"/>
                      </a:lnTo>
                      <a:lnTo>
                        <a:pt x="160" y="197"/>
                      </a:lnTo>
                      <a:lnTo>
                        <a:pt x="159" y="197"/>
                      </a:lnTo>
                      <a:lnTo>
                        <a:pt x="160" y="197"/>
                      </a:lnTo>
                      <a:lnTo>
                        <a:pt x="160" y="197"/>
                      </a:lnTo>
                      <a:lnTo>
                        <a:pt x="160" y="197"/>
                      </a:lnTo>
                      <a:lnTo>
                        <a:pt x="160" y="197"/>
                      </a:lnTo>
                      <a:lnTo>
                        <a:pt x="161" y="197"/>
                      </a:lnTo>
                      <a:lnTo>
                        <a:pt x="162" y="197"/>
                      </a:lnTo>
                      <a:lnTo>
                        <a:pt x="162" y="198"/>
                      </a:lnTo>
                      <a:lnTo>
                        <a:pt x="161" y="198"/>
                      </a:lnTo>
                      <a:lnTo>
                        <a:pt x="161" y="199"/>
                      </a:lnTo>
                      <a:lnTo>
                        <a:pt x="161" y="199"/>
                      </a:lnTo>
                      <a:lnTo>
                        <a:pt x="162" y="199"/>
                      </a:lnTo>
                      <a:lnTo>
                        <a:pt x="161" y="199"/>
                      </a:lnTo>
                      <a:lnTo>
                        <a:pt x="162" y="199"/>
                      </a:lnTo>
                      <a:lnTo>
                        <a:pt x="162" y="200"/>
                      </a:lnTo>
                      <a:lnTo>
                        <a:pt x="161" y="200"/>
                      </a:lnTo>
                      <a:lnTo>
                        <a:pt x="161" y="200"/>
                      </a:lnTo>
                      <a:lnTo>
                        <a:pt x="160" y="200"/>
                      </a:lnTo>
                      <a:lnTo>
                        <a:pt x="160" y="201"/>
                      </a:lnTo>
                      <a:lnTo>
                        <a:pt x="160" y="201"/>
                      </a:lnTo>
                      <a:lnTo>
                        <a:pt x="161" y="201"/>
                      </a:lnTo>
                      <a:lnTo>
                        <a:pt x="162" y="201"/>
                      </a:lnTo>
                      <a:lnTo>
                        <a:pt x="162" y="202"/>
                      </a:lnTo>
                      <a:lnTo>
                        <a:pt x="162" y="203"/>
                      </a:lnTo>
                      <a:lnTo>
                        <a:pt x="161" y="203"/>
                      </a:lnTo>
                      <a:lnTo>
                        <a:pt x="161" y="203"/>
                      </a:lnTo>
                      <a:lnTo>
                        <a:pt x="161" y="204"/>
                      </a:lnTo>
                      <a:lnTo>
                        <a:pt x="161" y="204"/>
                      </a:lnTo>
                      <a:lnTo>
                        <a:pt x="160" y="204"/>
                      </a:lnTo>
                      <a:lnTo>
                        <a:pt x="160" y="205"/>
                      </a:lnTo>
                      <a:lnTo>
                        <a:pt x="161" y="205"/>
                      </a:lnTo>
                      <a:lnTo>
                        <a:pt x="160" y="205"/>
                      </a:lnTo>
                      <a:lnTo>
                        <a:pt x="160" y="205"/>
                      </a:lnTo>
                      <a:lnTo>
                        <a:pt x="161" y="205"/>
                      </a:lnTo>
                      <a:lnTo>
                        <a:pt x="162" y="205"/>
                      </a:lnTo>
                      <a:lnTo>
                        <a:pt x="162" y="206"/>
                      </a:lnTo>
                      <a:lnTo>
                        <a:pt x="161" y="206"/>
                      </a:lnTo>
                      <a:lnTo>
                        <a:pt x="162" y="206"/>
                      </a:lnTo>
                      <a:lnTo>
                        <a:pt x="161" y="207"/>
                      </a:lnTo>
                      <a:lnTo>
                        <a:pt x="161" y="207"/>
                      </a:lnTo>
                      <a:lnTo>
                        <a:pt x="160" y="207"/>
                      </a:lnTo>
                      <a:lnTo>
                        <a:pt x="160" y="207"/>
                      </a:lnTo>
                      <a:lnTo>
                        <a:pt x="160" y="207"/>
                      </a:lnTo>
                      <a:lnTo>
                        <a:pt x="160" y="208"/>
                      </a:lnTo>
                      <a:lnTo>
                        <a:pt x="160" y="208"/>
                      </a:lnTo>
                      <a:lnTo>
                        <a:pt x="161" y="208"/>
                      </a:lnTo>
                      <a:lnTo>
                        <a:pt x="162" y="208"/>
                      </a:lnTo>
                      <a:lnTo>
                        <a:pt x="162" y="209"/>
                      </a:lnTo>
                      <a:lnTo>
                        <a:pt x="163" y="209"/>
                      </a:lnTo>
                      <a:lnTo>
                        <a:pt x="163" y="210"/>
                      </a:lnTo>
                      <a:lnTo>
                        <a:pt x="164" y="210"/>
                      </a:lnTo>
                      <a:lnTo>
                        <a:pt x="164" y="210"/>
                      </a:lnTo>
                      <a:lnTo>
                        <a:pt x="165" y="210"/>
                      </a:lnTo>
                      <a:lnTo>
                        <a:pt x="164" y="210"/>
                      </a:lnTo>
                      <a:lnTo>
                        <a:pt x="165" y="210"/>
                      </a:lnTo>
                      <a:lnTo>
                        <a:pt x="164" y="210"/>
                      </a:lnTo>
                      <a:lnTo>
                        <a:pt x="165" y="210"/>
                      </a:lnTo>
                      <a:lnTo>
                        <a:pt x="165" y="211"/>
                      </a:lnTo>
                      <a:lnTo>
                        <a:pt x="165" y="211"/>
                      </a:lnTo>
                      <a:lnTo>
                        <a:pt x="165" y="211"/>
                      </a:lnTo>
                      <a:lnTo>
                        <a:pt x="165" y="211"/>
                      </a:lnTo>
                      <a:lnTo>
                        <a:pt x="165" y="212"/>
                      </a:lnTo>
                      <a:lnTo>
                        <a:pt x="165" y="211"/>
                      </a:lnTo>
                      <a:lnTo>
                        <a:pt x="165" y="212"/>
                      </a:lnTo>
                      <a:lnTo>
                        <a:pt x="165" y="212"/>
                      </a:lnTo>
                      <a:lnTo>
                        <a:pt x="165" y="213"/>
                      </a:lnTo>
                      <a:lnTo>
                        <a:pt x="164" y="213"/>
                      </a:lnTo>
                      <a:lnTo>
                        <a:pt x="164" y="212"/>
                      </a:lnTo>
                      <a:lnTo>
                        <a:pt x="164" y="213"/>
                      </a:lnTo>
                      <a:lnTo>
                        <a:pt x="164" y="212"/>
                      </a:lnTo>
                      <a:lnTo>
                        <a:pt x="164" y="213"/>
                      </a:lnTo>
                      <a:lnTo>
                        <a:pt x="164" y="212"/>
                      </a:lnTo>
                      <a:lnTo>
                        <a:pt x="163" y="212"/>
                      </a:lnTo>
                      <a:lnTo>
                        <a:pt x="163" y="212"/>
                      </a:lnTo>
                      <a:lnTo>
                        <a:pt x="163" y="213"/>
                      </a:lnTo>
                      <a:lnTo>
                        <a:pt x="163" y="212"/>
                      </a:lnTo>
                      <a:lnTo>
                        <a:pt x="162" y="212"/>
                      </a:lnTo>
                      <a:lnTo>
                        <a:pt x="163" y="212"/>
                      </a:lnTo>
                      <a:lnTo>
                        <a:pt x="163" y="213"/>
                      </a:lnTo>
                      <a:lnTo>
                        <a:pt x="163" y="212"/>
                      </a:lnTo>
                      <a:lnTo>
                        <a:pt x="163" y="212"/>
                      </a:lnTo>
                      <a:lnTo>
                        <a:pt x="164" y="212"/>
                      </a:lnTo>
                      <a:lnTo>
                        <a:pt x="164" y="213"/>
                      </a:lnTo>
                      <a:lnTo>
                        <a:pt x="164" y="212"/>
                      </a:lnTo>
                      <a:lnTo>
                        <a:pt x="164" y="213"/>
                      </a:lnTo>
                      <a:lnTo>
                        <a:pt x="164" y="212"/>
                      </a:lnTo>
                      <a:lnTo>
                        <a:pt x="164" y="213"/>
                      </a:lnTo>
                      <a:lnTo>
                        <a:pt x="165" y="214"/>
                      </a:lnTo>
                      <a:lnTo>
                        <a:pt x="164" y="214"/>
                      </a:lnTo>
                      <a:lnTo>
                        <a:pt x="164" y="213"/>
                      </a:lnTo>
                      <a:lnTo>
                        <a:pt x="164" y="214"/>
                      </a:lnTo>
                      <a:lnTo>
                        <a:pt x="163" y="214"/>
                      </a:lnTo>
                      <a:lnTo>
                        <a:pt x="164" y="214"/>
                      </a:lnTo>
                      <a:lnTo>
                        <a:pt x="163" y="214"/>
                      </a:lnTo>
                      <a:lnTo>
                        <a:pt x="163" y="214"/>
                      </a:lnTo>
                      <a:lnTo>
                        <a:pt x="163" y="214"/>
                      </a:lnTo>
                      <a:lnTo>
                        <a:pt x="163" y="214"/>
                      </a:lnTo>
                      <a:lnTo>
                        <a:pt x="163" y="214"/>
                      </a:lnTo>
                      <a:lnTo>
                        <a:pt x="163" y="215"/>
                      </a:lnTo>
                      <a:lnTo>
                        <a:pt x="163" y="215"/>
                      </a:lnTo>
                      <a:lnTo>
                        <a:pt x="163" y="215"/>
                      </a:lnTo>
                      <a:lnTo>
                        <a:pt x="163" y="215"/>
                      </a:lnTo>
                      <a:lnTo>
                        <a:pt x="163" y="215"/>
                      </a:lnTo>
                      <a:lnTo>
                        <a:pt x="163" y="215"/>
                      </a:lnTo>
                      <a:lnTo>
                        <a:pt x="163" y="216"/>
                      </a:lnTo>
                      <a:lnTo>
                        <a:pt x="163" y="215"/>
                      </a:lnTo>
                      <a:lnTo>
                        <a:pt x="164" y="215"/>
                      </a:lnTo>
                      <a:lnTo>
                        <a:pt x="164" y="216"/>
                      </a:lnTo>
                      <a:lnTo>
                        <a:pt x="164" y="215"/>
                      </a:lnTo>
                      <a:lnTo>
                        <a:pt x="163" y="215"/>
                      </a:lnTo>
                      <a:lnTo>
                        <a:pt x="163" y="215"/>
                      </a:lnTo>
                      <a:lnTo>
                        <a:pt x="163" y="215"/>
                      </a:lnTo>
                      <a:lnTo>
                        <a:pt x="164" y="215"/>
                      </a:lnTo>
                      <a:lnTo>
                        <a:pt x="163" y="215"/>
                      </a:lnTo>
                      <a:lnTo>
                        <a:pt x="164" y="214"/>
                      </a:lnTo>
                      <a:lnTo>
                        <a:pt x="164" y="215"/>
                      </a:lnTo>
                      <a:lnTo>
                        <a:pt x="163" y="215"/>
                      </a:lnTo>
                      <a:lnTo>
                        <a:pt x="164" y="215"/>
                      </a:lnTo>
                      <a:lnTo>
                        <a:pt x="164" y="214"/>
                      </a:lnTo>
                      <a:lnTo>
                        <a:pt x="164" y="215"/>
                      </a:lnTo>
                      <a:lnTo>
                        <a:pt x="164" y="215"/>
                      </a:lnTo>
                      <a:lnTo>
                        <a:pt x="165" y="215"/>
                      </a:lnTo>
                      <a:lnTo>
                        <a:pt x="165" y="215"/>
                      </a:lnTo>
                      <a:lnTo>
                        <a:pt x="165" y="215"/>
                      </a:lnTo>
                      <a:lnTo>
                        <a:pt x="165" y="215"/>
                      </a:lnTo>
                      <a:lnTo>
                        <a:pt x="166" y="215"/>
                      </a:lnTo>
                      <a:lnTo>
                        <a:pt x="166" y="216"/>
                      </a:lnTo>
                      <a:lnTo>
                        <a:pt x="165" y="216"/>
                      </a:lnTo>
                      <a:lnTo>
                        <a:pt x="165" y="216"/>
                      </a:lnTo>
                      <a:lnTo>
                        <a:pt x="166" y="216"/>
                      </a:lnTo>
                      <a:lnTo>
                        <a:pt x="166" y="216"/>
                      </a:lnTo>
                      <a:lnTo>
                        <a:pt x="166" y="216"/>
                      </a:lnTo>
                      <a:lnTo>
                        <a:pt x="165" y="216"/>
                      </a:lnTo>
                      <a:lnTo>
                        <a:pt x="166" y="216"/>
                      </a:lnTo>
                      <a:lnTo>
                        <a:pt x="166" y="215"/>
                      </a:lnTo>
                      <a:lnTo>
                        <a:pt x="166" y="216"/>
                      </a:lnTo>
                      <a:lnTo>
                        <a:pt x="166" y="215"/>
                      </a:lnTo>
                      <a:lnTo>
                        <a:pt x="165" y="215"/>
                      </a:lnTo>
                      <a:lnTo>
                        <a:pt x="165" y="215"/>
                      </a:lnTo>
                      <a:lnTo>
                        <a:pt x="166" y="215"/>
                      </a:lnTo>
                      <a:lnTo>
                        <a:pt x="165" y="215"/>
                      </a:lnTo>
                      <a:lnTo>
                        <a:pt x="166" y="215"/>
                      </a:lnTo>
                      <a:lnTo>
                        <a:pt x="166" y="215"/>
                      </a:lnTo>
                      <a:lnTo>
                        <a:pt x="166" y="215"/>
                      </a:lnTo>
                      <a:lnTo>
                        <a:pt x="165" y="215"/>
                      </a:lnTo>
                      <a:lnTo>
                        <a:pt x="165" y="215"/>
                      </a:lnTo>
                      <a:lnTo>
                        <a:pt x="164" y="215"/>
                      </a:lnTo>
                      <a:lnTo>
                        <a:pt x="164" y="215"/>
                      </a:lnTo>
                      <a:lnTo>
                        <a:pt x="164" y="214"/>
                      </a:lnTo>
                      <a:lnTo>
                        <a:pt x="165" y="214"/>
                      </a:lnTo>
                      <a:lnTo>
                        <a:pt x="164" y="214"/>
                      </a:lnTo>
                      <a:lnTo>
                        <a:pt x="164" y="214"/>
                      </a:lnTo>
                      <a:lnTo>
                        <a:pt x="165" y="214"/>
                      </a:lnTo>
                      <a:lnTo>
                        <a:pt x="165" y="214"/>
                      </a:lnTo>
                      <a:lnTo>
                        <a:pt x="165" y="214"/>
                      </a:lnTo>
                      <a:lnTo>
                        <a:pt x="164" y="214"/>
                      </a:lnTo>
                      <a:lnTo>
                        <a:pt x="165" y="214"/>
                      </a:lnTo>
                      <a:lnTo>
                        <a:pt x="164" y="214"/>
                      </a:lnTo>
                      <a:lnTo>
                        <a:pt x="165" y="214"/>
                      </a:lnTo>
                      <a:lnTo>
                        <a:pt x="165" y="213"/>
                      </a:lnTo>
                      <a:lnTo>
                        <a:pt x="165" y="214"/>
                      </a:lnTo>
                      <a:lnTo>
                        <a:pt x="165" y="213"/>
                      </a:lnTo>
                      <a:lnTo>
                        <a:pt x="165" y="214"/>
                      </a:lnTo>
                      <a:lnTo>
                        <a:pt x="165" y="214"/>
                      </a:lnTo>
                      <a:lnTo>
                        <a:pt x="165" y="214"/>
                      </a:lnTo>
                      <a:lnTo>
                        <a:pt x="165" y="213"/>
                      </a:lnTo>
                      <a:lnTo>
                        <a:pt x="165" y="213"/>
                      </a:lnTo>
                      <a:lnTo>
                        <a:pt x="165" y="213"/>
                      </a:lnTo>
                      <a:lnTo>
                        <a:pt x="165" y="214"/>
                      </a:lnTo>
                      <a:lnTo>
                        <a:pt x="165" y="214"/>
                      </a:lnTo>
                      <a:lnTo>
                        <a:pt x="165" y="214"/>
                      </a:lnTo>
                      <a:lnTo>
                        <a:pt x="166" y="214"/>
                      </a:lnTo>
                      <a:lnTo>
                        <a:pt x="165" y="214"/>
                      </a:lnTo>
                      <a:lnTo>
                        <a:pt x="165" y="213"/>
                      </a:lnTo>
                      <a:lnTo>
                        <a:pt x="165" y="213"/>
                      </a:lnTo>
                      <a:lnTo>
                        <a:pt x="165" y="212"/>
                      </a:lnTo>
                      <a:lnTo>
                        <a:pt x="165" y="212"/>
                      </a:lnTo>
                      <a:lnTo>
                        <a:pt x="165" y="213"/>
                      </a:lnTo>
                      <a:lnTo>
                        <a:pt x="165" y="213"/>
                      </a:lnTo>
                      <a:lnTo>
                        <a:pt x="165" y="213"/>
                      </a:lnTo>
                      <a:lnTo>
                        <a:pt x="165" y="212"/>
                      </a:lnTo>
                      <a:lnTo>
                        <a:pt x="166" y="212"/>
                      </a:lnTo>
                      <a:lnTo>
                        <a:pt x="166" y="213"/>
                      </a:lnTo>
                      <a:lnTo>
                        <a:pt x="166" y="213"/>
                      </a:lnTo>
                      <a:lnTo>
                        <a:pt x="166" y="214"/>
                      </a:lnTo>
                      <a:lnTo>
                        <a:pt x="166" y="214"/>
                      </a:lnTo>
                      <a:lnTo>
                        <a:pt x="166" y="214"/>
                      </a:lnTo>
                      <a:lnTo>
                        <a:pt x="166" y="215"/>
                      </a:lnTo>
                      <a:lnTo>
                        <a:pt x="166" y="215"/>
                      </a:lnTo>
                      <a:lnTo>
                        <a:pt x="166" y="215"/>
                      </a:lnTo>
                      <a:lnTo>
                        <a:pt x="166" y="214"/>
                      </a:lnTo>
                      <a:lnTo>
                        <a:pt x="165" y="214"/>
                      </a:lnTo>
                      <a:lnTo>
                        <a:pt x="165" y="215"/>
                      </a:lnTo>
                      <a:lnTo>
                        <a:pt x="165" y="214"/>
                      </a:lnTo>
                      <a:lnTo>
                        <a:pt x="165" y="214"/>
                      </a:lnTo>
                      <a:lnTo>
                        <a:pt x="165" y="214"/>
                      </a:lnTo>
                      <a:lnTo>
                        <a:pt x="165" y="214"/>
                      </a:lnTo>
                      <a:lnTo>
                        <a:pt x="165" y="214"/>
                      </a:lnTo>
                      <a:lnTo>
                        <a:pt x="165" y="214"/>
                      </a:lnTo>
                      <a:lnTo>
                        <a:pt x="165" y="215"/>
                      </a:lnTo>
                      <a:lnTo>
                        <a:pt x="165" y="214"/>
                      </a:lnTo>
                      <a:lnTo>
                        <a:pt x="166" y="215"/>
                      </a:lnTo>
                      <a:lnTo>
                        <a:pt x="166" y="215"/>
                      </a:lnTo>
                      <a:lnTo>
                        <a:pt x="166" y="215"/>
                      </a:lnTo>
                      <a:lnTo>
                        <a:pt x="166" y="215"/>
                      </a:lnTo>
                      <a:lnTo>
                        <a:pt x="166" y="215"/>
                      </a:lnTo>
                      <a:lnTo>
                        <a:pt x="166" y="215"/>
                      </a:lnTo>
                      <a:lnTo>
                        <a:pt x="166" y="215"/>
                      </a:lnTo>
                      <a:lnTo>
                        <a:pt x="166" y="215"/>
                      </a:lnTo>
                      <a:lnTo>
                        <a:pt x="166" y="215"/>
                      </a:lnTo>
                      <a:lnTo>
                        <a:pt x="166" y="215"/>
                      </a:lnTo>
                      <a:lnTo>
                        <a:pt x="167" y="215"/>
                      </a:lnTo>
                      <a:lnTo>
                        <a:pt x="166" y="215"/>
                      </a:lnTo>
                      <a:lnTo>
                        <a:pt x="167" y="215"/>
                      </a:lnTo>
                      <a:lnTo>
                        <a:pt x="167" y="216"/>
                      </a:lnTo>
                      <a:lnTo>
                        <a:pt x="167" y="216"/>
                      </a:lnTo>
                      <a:lnTo>
                        <a:pt x="167" y="216"/>
                      </a:lnTo>
                      <a:lnTo>
                        <a:pt x="167" y="217"/>
                      </a:lnTo>
                      <a:lnTo>
                        <a:pt x="168" y="217"/>
                      </a:lnTo>
                      <a:lnTo>
                        <a:pt x="168" y="218"/>
                      </a:lnTo>
                      <a:lnTo>
                        <a:pt x="168" y="218"/>
                      </a:lnTo>
                      <a:lnTo>
                        <a:pt x="168" y="218"/>
                      </a:lnTo>
                      <a:lnTo>
                        <a:pt x="168" y="218"/>
                      </a:lnTo>
                      <a:lnTo>
                        <a:pt x="169" y="218"/>
                      </a:lnTo>
                      <a:lnTo>
                        <a:pt x="169" y="219"/>
                      </a:lnTo>
                      <a:lnTo>
                        <a:pt x="168" y="219"/>
                      </a:lnTo>
                      <a:lnTo>
                        <a:pt x="168" y="219"/>
                      </a:lnTo>
                      <a:lnTo>
                        <a:pt x="167" y="219"/>
                      </a:lnTo>
                      <a:lnTo>
                        <a:pt x="167" y="219"/>
                      </a:lnTo>
                      <a:lnTo>
                        <a:pt x="167" y="219"/>
                      </a:lnTo>
                      <a:lnTo>
                        <a:pt x="167" y="219"/>
                      </a:lnTo>
                      <a:lnTo>
                        <a:pt x="167" y="220"/>
                      </a:lnTo>
                      <a:lnTo>
                        <a:pt x="166" y="220"/>
                      </a:lnTo>
                      <a:lnTo>
                        <a:pt x="166" y="221"/>
                      </a:lnTo>
                      <a:lnTo>
                        <a:pt x="166" y="221"/>
                      </a:lnTo>
                      <a:lnTo>
                        <a:pt x="166" y="221"/>
                      </a:lnTo>
                      <a:lnTo>
                        <a:pt x="166" y="221"/>
                      </a:lnTo>
                      <a:lnTo>
                        <a:pt x="166" y="221"/>
                      </a:lnTo>
                      <a:lnTo>
                        <a:pt x="165" y="221"/>
                      </a:lnTo>
                      <a:lnTo>
                        <a:pt x="165" y="222"/>
                      </a:lnTo>
                      <a:lnTo>
                        <a:pt x="165" y="221"/>
                      </a:lnTo>
                      <a:lnTo>
                        <a:pt x="165" y="222"/>
                      </a:lnTo>
                      <a:lnTo>
                        <a:pt x="166" y="222"/>
                      </a:lnTo>
                      <a:lnTo>
                        <a:pt x="165" y="222"/>
                      </a:lnTo>
                      <a:lnTo>
                        <a:pt x="166" y="222"/>
                      </a:lnTo>
                      <a:lnTo>
                        <a:pt x="166" y="222"/>
                      </a:lnTo>
                      <a:lnTo>
                        <a:pt x="166" y="223"/>
                      </a:lnTo>
                      <a:lnTo>
                        <a:pt x="166" y="223"/>
                      </a:lnTo>
                      <a:lnTo>
                        <a:pt x="166" y="223"/>
                      </a:lnTo>
                      <a:lnTo>
                        <a:pt x="166" y="224"/>
                      </a:lnTo>
                      <a:lnTo>
                        <a:pt x="167" y="224"/>
                      </a:lnTo>
                      <a:lnTo>
                        <a:pt x="167" y="225"/>
                      </a:lnTo>
                      <a:lnTo>
                        <a:pt x="167" y="225"/>
                      </a:lnTo>
                      <a:lnTo>
                        <a:pt x="167" y="225"/>
                      </a:lnTo>
                      <a:lnTo>
                        <a:pt x="167" y="225"/>
                      </a:lnTo>
                      <a:lnTo>
                        <a:pt x="167" y="225"/>
                      </a:lnTo>
                      <a:lnTo>
                        <a:pt x="167" y="224"/>
                      </a:lnTo>
                      <a:lnTo>
                        <a:pt x="166" y="224"/>
                      </a:lnTo>
                      <a:lnTo>
                        <a:pt x="166" y="223"/>
                      </a:lnTo>
                      <a:lnTo>
                        <a:pt x="166" y="224"/>
                      </a:lnTo>
                      <a:lnTo>
                        <a:pt x="167" y="224"/>
                      </a:lnTo>
                      <a:lnTo>
                        <a:pt x="167" y="224"/>
                      </a:lnTo>
                      <a:lnTo>
                        <a:pt x="167" y="225"/>
                      </a:lnTo>
                      <a:lnTo>
                        <a:pt x="167" y="225"/>
                      </a:lnTo>
                      <a:lnTo>
                        <a:pt x="167" y="226"/>
                      </a:lnTo>
                      <a:lnTo>
                        <a:pt x="168" y="226"/>
                      </a:lnTo>
                      <a:lnTo>
                        <a:pt x="168" y="226"/>
                      </a:lnTo>
                      <a:lnTo>
                        <a:pt x="168" y="227"/>
                      </a:lnTo>
                      <a:lnTo>
                        <a:pt x="167" y="227"/>
                      </a:lnTo>
                      <a:lnTo>
                        <a:pt x="167" y="227"/>
                      </a:lnTo>
                      <a:lnTo>
                        <a:pt x="167" y="227"/>
                      </a:lnTo>
                      <a:lnTo>
                        <a:pt x="167" y="228"/>
                      </a:lnTo>
                      <a:lnTo>
                        <a:pt x="167" y="228"/>
                      </a:lnTo>
                      <a:lnTo>
                        <a:pt x="167" y="229"/>
                      </a:lnTo>
                      <a:lnTo>
                        <a:pt x="167" y="229"/>
                      </a:lnTo>
                      <a:lnTo>
                        <a:pt x="167" y="229"/>
                      </a:lnTo>
                      <a:lnTo>
                        <a:pt x="167" y="229"/>
                      </a:lnTo>
                      <a:lnTo>
                        <a:pt x="167" y="229"/>
                      </a:lnTo>
                      <a:lnTo>
                        <a:pt x="167" y="229"/>
                      </a:lnTo>
                      <a:lnTo>
                        <a:pt x="167" y="229"/>
                      </a:lnTo>
                      <a:lnTo>
                        <a:pt x="167" y="228"/>
                      </a:lnTo>
                      <a:lnTo>
                        <a:pt x="167" y="229"/>
                      </a:lnTo>
                      <a:lnTo>
                        <a:pt x="168" y="229"/>
                      </a:lnTo>
                      <a:lnTo>
                        <a:pt x="168" y="229"/>
                      </a:lnTo>
                      <a:lnTo>
                        <a:pt x="169" y="229"/>
                      </a:lnTo>
                      <a:lnTo>
                        <a:pt x="169" y="230"/>
                      </a:lnTo>
                      <a:lnTo>
                        <a:pt x="169" y="230"/>
                      </a:lnTo>
                      <a:lnTo>
                        <a:pt x="169" y="230"/>
                      </a:lnTo>
                      <a:lnTo>
                        <a:pt x="169" y="230"/>
                      </a:lnTo>
                      <a:lnTo>
                        <a:pt x="169" y="230"/>
                      </a:lnTo>
                      <a:lnTo>
                        <a:pt x="169" y="230"/>
                      </a:lnTo>
                      <a:lnTo>
                        <a:pt x="169" y="231"/>
                      </a:lnTo>
                      <a:lnTo>
                        <a:pt x="170" y="231"/>
                      </a:lnTo>
                      <a:lnTo>
                        <a:pt x="170" y="232"/>
                      </a:lnTo>
                      <a:lnTo>
                        <a:pt x="169" y="232"/>
                      </a:lnTo>
                      <a:lnTo>
                        <a:pt x="170" y="232"/>
                      </a:lnTo>
                      <a:lnTo>
                        <a:pt x="169" y="232"/>
                      </a:lnTo>
                      <a:lnTo>
                        <a:pt x="170" y="232"/>
                      </a:lnTo>
                      <a:lnTo>
                        <a:pt x="170" y="233"/>
                      </a:lnTo>
                      <a:lnTo>
                        <a:pt x="170" y="233"/>
                      </a:lnTo>
                      <a:lnTo>
                        <a:pt x="169" y="233"/>
                      </a:lnTo>
                      <a:lnTo>
                        <a:pt x="169" y="234"/>
                      </a:lnTo>
                      <a:lnTo>
                        <a:pt x="169" y="234"/>
                      </a:lnTo>
                      <a:lnTo>
                        <a:pt x="169" y="235"/>
                      </a:lnTo>
                      <a:lnTo>
                        <a:pt x="169" y="236"/>
                      </a:lnTo>
                      <a:lnTo>
                        <a:pt x="169" y="236"/>
                      </a:lnTo>
                      <a:lnTo>
                        <a:pt x="169" y="236"/>
                      </a:lnTo>
                      <a:lnTo>
                        <a:pt x="170" y="236"/>
                      </a:lnTo>
                      <a:lnTo>
                        <a:pt x="169" y="236"/>
                      </a:lnTo>
                      <a:lnTo>
                        <a:pt x="169" y="237"/>
                      </a:lnTo>
                      <a:lnTo>
                        <a:pt x="170" y="237"/>
                      </a:lnTo>
                      <a:lnTo>
                        <a:pt x="169" y="237"/>
                      </a:lnTo>
                      <a:lnTo>
                        <a:pt x="169" y="237"/>
                      </a:lnTo>
                      <a:lnTo>
                        <a:pt x="169" y="237"/>
                      </a:lnTo>
                      <a:lnTo>
                        <a:pt x="168" y="237"/>
                      </a:lnTo>
                      <a:lnTo>
                        <a:pt x="169" y="237"/>
                      </a:lnTo>
                      <a:lnTo>
                        <a:pt x="168" y="237"/>
                      </a:lnTo>
                      <a:lnTo>
                        <a:pt x="168" y="238"/>
                      </a:lnTo>
                      <a:lnTo>
                        <a:pt x="168" y="238"/>
                      </a:lnTo>
                      <a:lnTo>
                        <a:pt x="168" y="239"/>
                      </a:lnTo>
                      <a:lnTo>
                        <a:pt x="168" y="240"/>
                      </a:lnTo>
                      <a:lnTo>
                        <a:pt x="167" y="240"/>
                      </a:lnTo>
                      <a:lnTo>
                        <a:pt x="167" y="240"/>
                      </a:lnTo>
                      <a:lnTo>
                        <a:pt x="167" y="240"/>
                      </a:lnTo>
                      <a:lnTo>
                        <a:pt x="167" y="240"/>
                      </a:lnTo>
                      <a:lnTo>
                        <a:pt x="167" y="240"/>
                      </a:lnTo>
                      <a:lnTo>
                        <a:pt x="167" y="240"/>
                      </a:lnTo>
                      <a:lnTo>
                        <a:pt x="167" y="240"/>
                      </a:lnTo>
                      <a:lnTo>
                        <a:pt x="167" y="241"/>
                      </a:lnTo>
                      <a:lnTo>
                        <a:pt x="166" y="241"/>
                      </a:lnTo>
                      <a:lnTo>
                        <a:pt x="166" y="241"/>
                      </a:lnTo>
                      <a:lnTo>
                        <a:pt x="166" y="242"/>
                      </a:lnTo>
                      <a:lnTo>
                        <a:pt x="166" y="241"/>
                      </a:lnTo>
                      <a:lnTo>
                        <a:pt x="167" y="242"/>
                      </a:lnTo>
                      <a:lnTo>
                        <a:pt x="166" y="241"/>
                      </a:lnTo>
                      <a:lnTo>
                        <a:pt x="167" y="241"/>
                      </a:lnTo>
                      <a:lnTo>
                        <a:pt x="167" y="241"/>
                      </a:lnTo>
                      <a:lnTo>
                        <a:pt x="167" y="241"/>
                      </a:lnTo>
                      <a:lnTo>
                        <a:pt x="167" y="241"/>
                      </a:lnTo>
                      <a:lnTo>
                        <a:pt x="167" y="242"/>
                      </a:lnTo>
                      <a:lnTo>
                        <a:pt x="167" y="243"/>
                      </a:lnTo>
                      <a:lnTo>
                        <a:pt x="168" y="243"/>
                      </a:lnTo>
                      <a:lnTo>
                        <a:pt x="167" y="243"/>
                      </a:lnTo>
                      <a:lnTo>
                        <a:pt x="167" y="243"/>
                      </a:lnTo>
                      <a:lnTo>
                        <a:pt x="168" y="243"/>
                      </a:lnTo>
                      <a:lnTo>
                        <a:pt x="167" y="243"/>
                      </a:lnTo>
                      <a:lnTo>
                        <a:pt x="167" y="244"/>
                      </a:lnTo>
                      <a:lnTo>
                        <a:pt x="167" y="244"/>
                      </a:lnTo>
                      <a:lnTo>
                        <a:pt x="167" y="244"/>
                      </a:lnTo>
                      <a:lnTo>
                        <a:pt x="167" y="244"/>
                      </a:lnTo>
                      <a:lnTo>
                        <a:pt x="167" y="244"/>
                      </a:lnTo>
                      <a:lnTo>
                        <a:pt x="167" y="244"/>
                      </a:lnTo>
                      <a:lnTo>
                        <a:pt x="167" y="244"/>
                      </a:lnTo>
                      <a:lnTo>
                        <a:pt x="167" y="245"/>
                      </a:lnTo>
                      <a:lnTo>
                        <a:pt x="167" y="244"/>
                      </a:lnTo>
                      <a:lnTo>
                        <a:pt x="167" y="245"/>
                      </a:lnTo>
                      <a:lnTo>
                        <a:pt x="166" y="245"/>
                      </a:lnTo>
                      <a:lnTo>
                        <a:pt x="167" y="245"/>
                      </a:lnTo>
                      <a:lnTo>
                        <a:pt x="167" y="246"/>
                      </a:lnTo>
                      <a:lnTo>
                        <a:pt x="166" y="246"/>
                      </a:lnTo>
                      <a:lnTo>
                        <a:pt x="166" y="247"/>
                      </a:lnTo>
                      <a:lnTo>
                        <a:pt x="166" y="247"/>
                      </a:lnTo>
                      <a:lnTo>
                        <a:pt x="166" y="247"/>
                      </a:lnTo>
                      <a:lnTo>
                        <a:pt x="165" y="247"/>
                      </a:lnTo>
                      <a:lnTo>
                        <a:pt x="165" y="247"/>
                      </a:lnTo>
                      <a:lnTo>
                        <a:pt x="165" y="247"/>
                      </a:lnTo>
                      <a:lnTo>
                        <a:pt x="165" y="247"/>
                      </a:lnTo>
                      <a:lnTo>
                        <a:pt x="166" y="247"/>
                      </a:lnTo>
                      <a:lnTo>
                        <a:pt x="166" y="247"/>
                      </a:lnTo>
                      <a:lnTo>
                        <a:pt x="167" y="247"/>
                      </a:lnTo>
                      <a:lnTo>
                        <a:pt x="166" y="247"/>
                      </a:lnTo>
                      <a:lnTo>
                        <a:pt x="167" y="247"/>
                      </a:lnTo>
                      <a:lnTo>
                        <a:pt x="167" y="248"/>
                      </a:lnTo>
                      <a:lnTo>
                        <a:pt x="167" y="247"/>
                      </a:lnTo>
                      <a:lnTo>
                        <a:pt x="167" y="248"/>
                      </a:lnTo>
                      <a:lnTo>
                        <a:pt x="167" y="248"/>
                      </a:lnTo>
                      <a:lnTo>
                        <a:pt x="167" y="248"/>
                      </a:lnTo>
                      <a:lnTo>
                        <a:pt x="167" y="248"/>
                      </a:lnTo>
                      <a:lnTo>
                        <a:pt x="167" y="249"/>
                      </a:lnTo>
                      <a:lnTo>
                        <a:pt x="167" y="249"/>
                      </a:lnTo>
                      <a:lnTo>
                        <a:pt x="167" y="249"/>
                      </a:lnTo>
                      <a:lnTo>
                        <a:pt x="167" y="250"/>
                      </a:lnTo>
                      <a:lnTo>
                        <a:pt x="167" y="251"/>
                      </a:lnTo>
                      <a:lnTo>
                        <a:pt x="167" y="251"/>
                      </a:lnTo>
                      <a:lnTo>
                        <a:pt x="167" y="251"/>
                      </a:lnTo>
                      <a:lnTo>
                        <a:pt x="167" y="251"/>
                      </a:lnTo>
                      <a:lnTo>
                        <a:pt x="167" y="252"/>
                      </a:lnTo>
                      <a:lnTo>
                        <a:pt x="167" y="252"/>
                      </a:lnTo>
                      <a:lnTo>
                        <a:pt x="168" y="252"/>
                      </a:lnTo>
                      <a:lnTo>
                        <a:pt x="168" y="253"/>
                      </a:lnTo>
                      <a:lnTo>
                        <a:pt x="167" y="253"/>
                      </a:lnTo>
                      <a:lnTo>
                        <a:pt x="167" y="254"/>
                      </a:lnTo>
                      <a:lnTo>
                        <a:pt x="168" y="254"/>
                      </a:lnTo>
                      <a:lnTo>
                        <a:pt x="168" y="254"/>
                      </a:lnTo>
                      <a:lnTo>
                        <a:pt x="167" y="254"/>
                      </a:lnTo>
                      <a:lnTo>
                        <a:pt x="168" y="254"/>
                      </a:lnTo>
                      <a:lnTo>
                        <a:pt x="168" y="254"/>
                      </a:lnTo>
                      <a:lnTo>
                        <a:pt x="167" y="254"/>
                      </a:lnTo>
                      <a:lnTo>
                        <a:pt x="167" y="253"/>
                      </a:lnTo>
                      <a:lnTo>
                        <a:pt x="168" y="253"/>
                      </a:lnTo>
                      <a:lnTo>
                        <a:pt x="167" y="253"/>
                      </a:lnTo>
                      <a:lnTo>
                        <a:pt x="168" y="253"/>
                      </a:lnTo>
                      <a:lnTo>
                        <a:pt x="168" y="252"/>
                      </a:lnTo>
                      <a:lnTo>
                        <a:pt x="167" y="252"/>
                      </a:lnTo>
                      <a:lnTo>
                        <a:pt x="168" y="252"/>
                      </a:lnTo>
                      <a:lnTo>
                        <a:pt x="167" y="252"/>
                      </a:lnTo>
                      <a:lnTo>
                        <a:pt x="167" y="251"/>
                      </a:lnTo>
                      <a:lnTo>
                        <a:pt x="167" y="251"/>
                      </a:lnTo>
                      <a:lnTo>
                        <a:pt x="167" y="250"/>
                      </a:lnTo>
                      <a:lnTo>
                        <a:pt x="167" y="249"/>
                      </a:lnTo>
                      <a:lnTo>
                        <a:pt x="167" y="250"/>
                      </a:lnTo>
                      <a:lnTo>
                        <a:pt x="167" y="249"/>
                      </a:lnTo>
                      <a:lnTo>
                        <a:pt x="167" y="250"/>
                      </a:lnTo>
                      <a:lnTo>
                        <a:pt x="167" y="249"/>
                      </a:lnTo>
                      <a:lnTo>
                        <a:pt x="167" y="249"/>
                      </a:lnTo>
                      <a:lnTo>
                        <a:pt x="167" y="249"/>
                      </a:lnTo>
                      <a:lnTo>
                        <a:pt x="167" y="249"/>
                      </a:lnTo>
                      <a:lnTo>
                        <a:pt x="167" y="249"/>
                      </a:lnTo>
                      <a:lnTo>
                        <a:pt x="167" y="249"/>
                      </a:lnTo>
                      <a:lnTo>
                        <a:pt x="167" y="249"/>
                      </a:lnTo>
                      <a:lnTo>
                        <a:pt x="167" y="248"/>
                      </a:lnTo>
                      <a:lnTo>
                        <a:pt x="167" y="248"/>
                      </a:lnTo>
                      <a:lnTo>
                        <a:pt x="167" y="247"/>
                      </a:lnTo>
                      <a:lnTo>
                        <a:pt x="166" y="247"/>
                      </a:lnTo>
                      <a:lnTo>
                        <a:pt x="166" y="247"/>
                      </a:lnTo>
                      <a:lnTo>
                        <a:pt x="166" y="247"/>
                      </a:lnTo>
                      <a:lnTo>
                        <a:pt x="166" y="247"/>
                      </a:lnTo>
                      <a:lnTo>
                        <a:pt x="166" y="247"/>
                      </a:lnTo>
                      <a:lnTo>
                        <a:pt x="166" y="247"/>
                      </a:lnTo>
                      <a:lnTo>
                        <a:pt x="166" y="246"/>
                      </a:lnTo>
                      <a:lnTo>
                        <a:pt x="167" y="246"/>
                      </a:lnTo>
                      <a:lnTo>
                        <a:pt x="167" y="245"/>
                      </a:lnTo>
                      <a:lnTo>
                        <a:pt x="167" y="245"/>
                      </a:lnTo>
                      <a:lnTo>
                        <a:pt x="166" y="245"/>
                      </a:lnTo>
                      <a:lnTo>
                        <a:pt x="167" y="245"/>
                      </a:lnTo>
                      <a:lnTo>
                        <a:pt x="166" y="245"/>
                      </a:lnTo>
                      <a:lnTo>
                        <a:pt x="167" y="245"/>
                      </a:lnTo>
                      <a:lnTo>
                        <a:pt x="167" y="244"/>
                      </a:lnTo>
                      <a:lnTo>
                        <a:pt x="167" y="244"/>
                      </a:lnTo>
                      <a:lnTo>
                        <a:pt x="167" y="244"/>
                      </a:lnTo>
                      <a:lnTo>
                        <a:pt x="167" y="244"/>
                      </a:lnTo>
                      <a:lnTo>
                        <a:pt x="167" y="243"/>
                      </a:lnTo>
                      <a:lnTo>
                        <a:pt x="168" y="243"/>
                      </a:lnTo>
                      <a:lnTo>
                        <a:pt x="168" y="243"/>
                      </a:lnTo>
                      <a:lnTo>
                        <a:pt x="167" y="243"/>
                      </a:lnTo>
                      <a:lnTo>
                        <a:pt x="168" y="243"/>
                      </a:lnTo>
                      <a:lnTo>
                        <a:pt x="167" y="242"/>
                      </a:lnTo>
                      <a:lnTo>
                        <a:pt x="167" y="241"/>
                      </a:lnTo>
                      <a:lnTo>
                        <a:pt x="167" y="241"/>
                      </a:lnTo>
                      <a:lnTo>
                        <a:pt x="166" y="241"/>
                      </a:lnTo>
                      <a:lnTo>
                        <a:pt x="167" y="241"/>
                      </a:lnTo>
                      <a:lnTo>
                        <a:pt x="167" y="240"/>
                      </a:lnTo>
                      <a:lnTo>
                        <a:pt x="167" y="240"/>
                      </a:lnTo>
                      <a:lnTo>
                        <a:pt x="167" y="240"/>
                      </a:lnTo>
                      <a:lnTo>
                        <a:pt x="167" y="240"/>
                      </a:lnTo>
                      <a:lnTo>
                        <a:pt x="167" y="240"/>
                      </a:lnTo>
                      <a:lnTo>
                        <a:pt x="167" y="240"/>
                      </a:lnTo>
                      <a:lnTo>
                        <a:pt x="167" y="240"/>
                      </a:lnTo>
                      <a:lnTo>
                        <a:pt x="167" y="240"/>
                      </a:lnTo>
                      <a:lnTo>
                        <a:pt x="167" y="240"/>
                      </a:lnTo>
                      <a:lnTo>
                        <a:pt x="168" y="240"/>
                      </a:lnTo>
                      <a:lnTo>
                        <a:pt x="168" y="239"/>
                      </a:lnTo>
                      <a:lnTo>
                        <a:pt x="168" y="238"/>
                      </a:lnTo>
                      <a:lnTo>
                        <a:pt x="168" y="239"/>
                      </a:lnTo>
                      <a:lnTo>
                        <a:pt x="168" y="238"/>
                      </a:lnTo>
                      <a:lnTo>
                        <a:pt x="169" y="238"/>
                      </a:lnTo>
                      <a:lnTo>
                        <a:pt x="169" y="238"/>
                      </a:lnTo>
                      <a:lnTo>
                        <a:pt x="169" y="238"/>
                      </a:lnTo>
                      <a:lnTo>
                        <a:pt x="169" y="238"/>
                      </a:lnTo>
                      <a:lnTo>
                        <a:pt x="169" y="238"/>
                      </a:lnTo>
                      <a:lnTo>
                        <a:pt x="169" y="238"/>
                      </a:lnTo>
                      <a:lnTo>
                        <a:pt x="169" y="238"/>
                      </a:lnTo>
                      <a:lnTo>
                        <a:pt x="169" y="237"/>
                      </a:lnTo>
                      <a:lnTo>
                        <a:pt x="169" y="237"/>
                      </a:lnTo>
                      <a:lnTo>
                        <a:pt x="170" y="237"/>
                      </a:lnTo>
                      <a:lnTo>
                        <a:pt x="169" y="237"/>
                      </a:lnTo>
                      <a:lnTo>
                        <a:pt x="169" y="237"/>
                      </a:lnTo>
                      <a:lnTo>
                        <a:pt x="169" y="237"/>
                      </a:lnTo>
                      <a:lnTo>
                        <a:pt x="170" y="237"/>
                      </a:lnTo>
                      <a:lnTo>
                        <a:pt x="170" y="236"/>
                      </a:lnTo>
                      <a:lnTo>
                        <a:pt x="169" y="236"/>
                      </a:lnTo>
                      <a:lnTo>
                        <a:pt x="169" y="236"/>
                      </a:lnTo>
                      <a:lnTo>
                        <a:pt x="169" y="236"/>
                      </a:lnTo>
                      <a:lnTo>
                        <a:pt x="169" y="236"/>
                      </a:lnTo>
                      <a:lnTo>
                        <a:pt x="169" y="236"/>
                      </a:lnTo>
                      <a:lnTo>
                        <a:pt x="169" y="235"/>
                      </a:lnTo>
                      <a:lnTo>
                        <a:pt x="169" y="234"/>
                      </a:lnTo>
                      <a:lnTo>
                        <a:pt x="169" y="235"/>
                      </a:lnTo>
                      <a:lnTo>
                        <a:pt x="170" y="234"/>
                      </a:lnTo>
                      <a:lnTo>
                        <a:pt x="169" y="234"/>
                      </a:lnTo>
                      <a:lnTo>
                        <a:pt x="169" y="234"/>
                      </a:lnTo>
                      <a:lnTo>
                        <a:pt x="169" y="234"/>
                      </a:lnTo>
                      <a:lnTo>
                        <a:pt x="170" y="234"/>
                      </a:lnTo>
                      <a:lnTo>
                        <a:pt x="170" y="235"/>
                      </a:lnTo>
                      <a:lnTo>
                        <a:pt x="170" y="234"/>
                      </a:lnTo>
                      <a:lnTo>
                        <a:pt x="169" y="234"/>
                      </a:lnTo>
                      <a:lnTo>
                        <a:pt x="169" y="234"/>
                      </a:lnTo>
                      <a:lnTo>
                        <a:pt x="169" y="233"/>
                      </a:lnTo>
                      <a:lnTo>
                        <a:pt x="170" y="233"/>
                      </a:lnTo>
                      <a:lnTo>
                        <a:pt x="170" y="233"/>
                      </a:lnTo>
                      <a:lnTo>
                        <a:pt x="170" y="233"/>
                      </a:lnTo>
                      <a:lnTo>
                        <a:pt x="170" y="233"/>
                      </a:lnTo>
                      <a:lnTo>
                        <a:pt x="170" y="232"/>
                      </a:lnTo>
                      <a:lnTo>
                        <a:pt x="170" y="233"/>
                      </a:lnTo>
                      <a:lnTo>
                        <a:pt x="170" y="232"/>
                      </a:lnTo>
                      <a:lnTo>
                        <a:pt x="169" y="232"/>
                      </a:lnTo>
                      <a:lnTo>
                        <a:pt x="170" y="232"/>
                      </a:lnTo>
                      <a:lnTo>
                        <a:pt x="170" y="232"/>
                      </a:lnTo>
                      <a:lnTo>
                        <a:pt x="170" y="231"/>
                      </a:lnTo>
                      <a:lnTo>
                        <a:pt x="169" y="231"/>
                      </a:lnTo>
                      <a:lnTo>
                        <a:pt x="169" y="230"/>
                      </a:lnTo>
                      <a:lnTo>
                        <a:pt x="169" y="231"/>
                      </a:lnTo>
                      <a:lnTo>
                        <a:pt x="169" y="230"/>
                      </a:lnTo>
                      <a:lnTo>
                        <a:pt x="169" y="231"/>
                      </a:lnTo>
                      <a:lnTo>
                        <a:pt x="169" y="230"/>
                      </a:lnTo>
                      <a:lnTo>
                        <a:pt x="169" y="230"/>
                      </a:lnTo>
                      <a:lnTo>
                        <a:pt x="169" y="230"/>
                      </a:lnTo>
                      <a:lnTo>
                        <a:pt x="169" y="230"/>
                      </a:lnTo>
                      <a:lnTo>
                        <a:pt x="169" y="230"/>
                      </a:lnTo>
                      <a:lnTo>
                        <a:pt x="169" y="230"/>
                      </a:lnTo>
                      <a:lnTo>
                        <a:pt x="169" y="229"/>
                      </a:lnTo>
                      <a:lnTo>
                        <a:pt x="169" y="229"/>
                      </a:lnTo>
                      <a:lnTo>
                        <a:pt x="168" y="229"/>
                      </a:lnTo>
                      <a:lnTo>
                        <a:pt x="168" y="229"/>
                      </a:lnTo>
                      <a:lnTo>
                        <a:pt x="168" y="228"/>
                      </a:lnTo>
                      <a:lnTo>
                        <a:pt x="167" y="228"/>
                      </a:lnTo>
                      <a:lnTo>
                        <a:pt x="168" y="229"/>
                      </a:lnTo>
                      <a:lnTo>
                        <a:pt x="167" y="228"/>
                      </a:lnTo>
                      <a:lnTo>
                        <a:pt x="167" y="227"/>
                      </a:lnTo>
                      <a:lnTo>
                        <a:pt x="167" y="228"/>
                      </a:lnTo>
                      <a:lnTo>
                        <a:pt x="167" y="227"/>
                      </a:lnTo>
                      <a:lnTo>
                        <a:pt x="167" y="228"/>
                      </a:lnTo>
                      <a:lnTo>
                        <a:pt x="167" y="227"/>
                      </a:lnTo>
                      <a:lnTo>
                        <a:pt x="168" y="227"/>
                      </a:lnTo>
                      <a:lnTo>
                        <a:pt x="167" y="227"/>
                      </a:lnTo>
                      <a:lnTo>
                        <a:pt x="167" y="227"/>
                      </a:lnTo>
                      <a:lnTo>
                        <a:pt x="168" y="227"/>
                      </a:lnTo>
                      <a:lnTo>
                        <a:pt x="169" y="227"/>
                      </a:lnTo>
                      <a:lnTo>
                        <a:pt x="169" y="226"/>
                      </a:lnTo>
                      <a:lnTo>
                        <a:pt x="168" y="226"/>
                      </a:lnTo>
                      <a:lnTo>
                        <a:pt x="168" y="226"/>
                      </a:lnTo>
                      <a:lnTo>
                        <a:pt x="168" y="225"/>
                      </a:lnTo>
                      <a:lnTo>
                        <a:pt x="168" y="225"/>
                      </a:lnTo>
                      <a:lnTo>
                        <a:pt x="167" y="225"/>
                      </a:lnTo>
                      <a:lnTo>
                        <a:pt x="167" y="224"/>
                      </a:lnTo>
                      <a:lnTo>
                        <a:pt x="167" y="224"/>
                      </a:lnTo>
                      <a:lnTo>
                        <a:pt x="167" y="223"/>
                      </a:lnTo>
                      <a:lnTo>
                        <a:pt x="166" y="223"/>
                      </a:lnTo>
                      <a:lnTo>
                        <a:pt x="166" y="223"/>
                      </a:lnTo>
                      <a:lnTo>
                        <a:pt x="167" y="223"/>
                      </a:lnTo>
                      <a:lnTo>
                        <a:pt x="167" y="222"/>
                      </a:lnTo>
                      <a:lnTo>
                        <a:pt x="167" y="222"/>
                      </a:lnTo>
                      <a:lnTo>
                        <a:pt x="167" y="221"/>
                      </a:lnTo>
                      <a:lnTo>
                        <a:pt x="166" y="221"/>
                      </a:lnTo>
                      <a:lnTo>
                        <a:pt x="166" y="221"/>
                      </a:lnTo>
                      <a:lnTo>
                        <a:pt x="166" y="221"/>
                      </a:lnTo>
                      <a:lnTo>
                        <a:pt x="166" y="221"/>
                      </a:lnTo>
                      <a:lnTo>
                        <a:pt x="167" y="221"/>
                      </a:lnTo>
                      <a:lnTo>
                        <a:pt x="167" y="220"/>
                      </a:lnTo>
                      <a:lnTo>
                        <a:pt x="167" y="219"/>
                      </a:lnTo>
                      <a:lnTo>
                        <a:pt x="167" y="220"/>
                      </a:lnTo>
                      <a:lnTo>
                        <a:pt x="167" y="220"/>
                      </a:lnTo>
                      <a:lnTo>
                        <a:pt x="167" y="220"/>
                      </a:lnTo>
                      <a:lnTo>
                        <a:pt x="167" y="220"/>
                      </a:lnTo>
                      <a:lnTo>
                        <a:pt x="167" y="221"/>
                      </a:lnTo>
                      <a:lnTo>
                        <a:pt x="167" y="220"/>
                      </a:lnTo>
                      <a:lnTo>
                        <a:pt x="167" y="219"/>
                      </a:lnTo>
                      <a:lnTo>
                        <a:pt x="167" y="219"/>
                      </a:lnTo>
                      <a:lnTo>
                        <a:pt x="168" y="219"/>
                      </a:lnTo>
                      <a:lnTo>
                        <a:pt x="167" y="219"/>
                      </a:lnTo>
                      <a:lnTo>
                        <a:pt x="168" y="219"/>
                      </a:lnTo>
                      <a:lnTo>
                        <a:pt x="167" y="219"/>
                      </a:lnTo>
                      <a:lnTo>
                        <a:pt x="168" y="219"/>
                      </a:lnTo>
                      <a:lnTo>
                        <a:pt x="167" y="219"/>
                      </a:lnTo>
                      <a:lnTo>
                        <a:pt x="168" y="219"/>
                      </a:lnTo>
                      <a:lnTo>
                        <a:pt x="169" y="219"/>
                      </a:lnTo>
                      <a:lnTo>
                        <a:pt x="169" y="219"/>
                      </a:lnTo>
                      <a:lnTo>
                        <a:pt x="169" y="218"/>
                      </a:lnTo>
                      <a:lnTo>
                        <a:pt x="169" y="218"/>
                      </a:lnTo>
                      <a:lnTo>
                        <a:pt x="168" y="218"/>
                      </a:lnTo>
                      <a:lnTo>
                        <a:pt x="169" y="218"/>
                      </a:lnTo>
                      <a:lnTo>
                        <a:pt x="169" y="217"/>
                      </a:lnTo>
                      <a:lnTo>
                        <a:pt x="168" y="217"/>
                      </a:lnTo>
                      <a:lnTo>
                        <a:pt x="167" y="217"/>
                      </a:lnTo>
                      <a:lnTo>
                        <a:pt x="167" y="216"/>
                      </a:lnTo>
                      <a:lnTo>
                        <a:pt x="168" y="216"/>
                      </a:lnTo>
                      <a:lnTo>
                        <a:pt x="167" y="216"/>
                      </a:lnTo>
                      <a:lnTo>
                        <a:pt x="168" y="216"/>
                      </a:lnTo>
                      <a:lnTo>
                        <a:pt x="167" y="216"/>
                      </a:lnTo>
                      <a:lnTo>
                        <a:pt x="167" y="216"/>
                      </a:lnTo>
                      <a:lnTo>
                        <a:pt x="167" y="216"/>
                      </a:lnTo>
                      <a:lnTo>
                        <a:pt x="167" y="216"/>
                      </a:lnTo>
                      <a:lnTo>
                        <a:pt x="167" y="215"/>
                      </a:lnTo>
                      <a:lnTo>
                        <a:pt x="167" y="215"/>
                      </a:lnTo>
                      <a:lnTo>
                        <a:pt x="167" y="214"/>
                      </a:lnTo>
                      <a:lnTo>
                        <a:pt x="167" y="214"/>
                      </a:lnTo>
                      <a:lnTo>
                        <a:pt x="167" y="214"/>
                      </a:lnTo>
                      <a:lnTo>
                        <a:pt x="167" y="214"/>
                      </a:lnTo>
                      <a:lnTo>
                        <a:pt x="167" y="214"/>
                      </a:lnTo>
                      <a:lnTo>
                        <a:pt x="167" y="214"/>
                      </a:lnTo>
                      <a:lnTo>
                        <a:pt x="167" y="214"/>
                      </a:lnTo>
                      <a:lnTo>
                        <a:pt x="167" y="214"/>
                      </a:lnTo>
                      <a:lnTo>
                        <a:pt x="167" y="214"/>
                      </a:lnTo>
                      <a:lnTo>
                        <a:pt x="167" y="215"/>
                      </a:lnTo>
                      <a:lnTo>
                        <a:pt x="167" y="215"/>
                      </a:lnTo>
                      <a:lnTo>
                        <a:pt x="167" y="215"/>
                      </a:lnTo>
                      <a:lnTo>
                        <a:pt x="166" y="215"/>
                      </a:lnTo>
                      <a:lnTo>
                        <a:pt x="166" y="215"/>
                      </a:lnTo>
                      <a:lnTo>
                        <a:pt x="166" y="214"/>
                      </a:lnTo>
                      <a:lnTo>
                        <a:pt x="166" y="214"/>
                      </a:lnTo>
                      <a:lnTo>
                        <a:pt x="166" y="214"/>
                      </a:lnTo>
                      <a:lnTo>
                        <a:pt x="166" y="213"/>
                      </a:lnTo>
                      <a:lnTo>
                        <a:pt x="166" y="214"/>
                      </a:lnTo>
                      <a:lnTo>
                        <a:pt x="167" y="214"/>
                      </a:lnTo>
                      <a:lnTo>
                        <a:pt x="166" y="213"/>
                      </a:lnTo>
                      <a:lnTo>
                        <a:pt x="166" y="213"/>
                      </a:lnTo>
                      <a:lnTo>
                        <a:pt x="166" y="212"/>
                      </a:lnTo>
                      <a:lnTo>
                        <a:pt x="166" y="212"/>
                      </a:lnTo>
                      <a:lnTo>
                        <a:pt x="166" y="212"/>
                      </a:lnTo>
                      <a:lnTo>
                        <a:pt x="166" y="212"/>
                      </a:lnTo>
                      <a:lnTo>
                        <a:pt x="166" y="211"/>
                      </a:lnTo>
                      <a:lnTo>
                        <a:pt x="167" y="211"/>
                      </a:lnTo>
                      <a:lnTo>
                        <a:pt x="167" y="211"/>
                      </a:lnTo>
                      <a:lnTo>
                        <a:pt x="168" y="211"/>
                      </a:lnTo>
                      <a:lnTo>
                        <a:pt x="169" y="211"/>
                      </a:lnTo>
                      <a:lnTo>
                        <a:pt x="169" y="211"/>
                      </a:lnTo>
                      <a:lnTo>
                        <a:pt x="169" y="211"/>
                      </a:lnTo>
                      <a:lnTo>
                        <a:pt x="170" y="211"/>
                      </a:lnTo>
                      <a:lnTo>
                        <a:pt x="170" y="211"/>
                      </a:lnTo>
                      <a:lnTo>
                        <a:pt x="171" y="211"/>
                      </a:lnTo>
                      <a:lnTo>
                        <a:pt x="171" y="211"/>
                      </a:lnTo>
                      <a:lnTo>
                        <a:pt x="171" y="211"/>
                      </a:lnTo>
                      <a:lnTo>
                        <a:pt x="171" y="211"/>
                      </a:lnTo>
                      <a:lnTo>
                        <a:pt x="171" y="211"/>
                      </a:lnTo>
                      <a:lnTo>
                        <a:pt x="171" y="211"/>
                      </a:lnTo>
                      <a:lnTo>
                        <a:pt x="171" y="211"/>
                      </a:lnTo>
                      <a:lnTo>
                        <a:pt x="172" y="211"/>
                      </a:lnTo>
                      <a:lnTo>
                        <a:pt x="173" y="211"/>
                      </a:lnTo>
                      <a:lnTo>
                        <a:pt x="173" y="212"/>
                      </a:lnTo>
                      <a:lnTo>
                        <a:pt x="173" y="212"/>
                      </a:lnTo>
                      <a:lnTo>
                        <a:pt x="173" y="212"/>
                      </a:lnTo>
                      <a:lnTo>
                        <a:pt x="173" y="212"/>
                      </a:lnTo>
                      <a:lnTo>
                        <a:pt x="174" y="212"/>
                      </a:lnTo>
                      <a:lnTo>
                        <a:pt x="174" y="213"/>
                      </a:lnTo>
                      <a:lnTo>
                        <a:pt x="174" y="213"/>
                      </a:lnTo>
                      <a:lnTo>
                        <a:pt x="175" y="213"/>
                      </a:lnTo>
                      <a:lnTo>
                        <a:pt x="175" y="214"/>
                      </a:lnTo>
                      <a:lnTo>
                        <a:pt x="176" y="214"/>
                      </a:lnTo>
                      <a:lnTo>
                        <a:pt x="176" y="214"/>
                      </a:lnTo>
                      <a:lnTo>
                        <a:pt x="176" y="214"/>
                      </a:lnTo>
                      <a:lnTo>
                        <a:pt x="176" y="214"/>
                      </a:lnTo>
                      <a:lnTo>
                        <a:pt x="176" y="214"/>
                      </a:lnTo>
                      <a:lnTo>
                        <a:pt x="177" y="214"/>
                      </a:lnTo>
                      <a:lnTo>
                        <a:pt x="177" y="215"/>
                      </a:lnTo>
                      <a:lnTo>
                        <a:pt x="177" y="215"/>
                      </a:lnTo>
                      <a:lnTo>
                        <a:pt x="178" y="215"/>
                      </a:lnTo>
                      <a:lnTo>
                        <a:pt x="178" y="215"/>
                      </a:lnTo>
                      <a:lnTo>
                        <a:pt x="178" y="215"/>
                      </a:lnTo>
                      <a:lnTo>
                        <a:pt x="178" y="215"/>
                      </a:lnTo>
                      <a:lnTo>
                        <a:pt x="178" y="215"/>
                      </a:lnTo>
                      <a:lnTo>
                        <a:pt x="179" y="215"/>
                      </a:lnTo>
                      <a:lnTo>
                        <a:pt x="179" y="216"/>
                      </a:lnTo>
                      <a:lnTo>
                        <a:pt x="180" y="216"/>
                      </a:lnTo>
                      <a:lnTo>
                        <a:pt x="180" y="216"/>
                      </a:lnTo>
                      <a:lnTo>
                        <a:pt x="180" y="216"/>
                      </a:lnTo>
                      <a:lnTo>
                        <a:pt x="180" y="216"/>
                      </a:lnTo>
                      <a:lnTo>
                        <a:pt x="180" y="216"/>
                      </a:lnTo>
                      <a:lnTo>
                        <a:pt x="181" y="216"/>
                      </a:lnTo>
                      <a:lnTo>
                        <a:pt x="181" y="216"/>
                      </a:lnTo>
                      <a:lnTo>
                        <a:pt x="182" y="216"/>
                      </a:lnTo>
                      <a:lnTo>
                        <a:pt x="181" y="216"/>
                      </a:lnTo>
                      <a:lnTo>
                        <a:pt x="182" y="216"/>
                      </a:lnTo>
                      <a:lnTo>
                        <a:pt x="181" y="216"/>
                      </a:lnTo>
                      <a:lnTo>
                        <a:pt x="182" y="216"/>
                      </a:lnTo>
                      <a:lnTo>
                        <a:pt x="181" y="216"/>
                      </a:lnTo>
                      <a:lnTo>
                        <a:pt x="182" y="216"/>
                      </a:lnTo>
                      <a:lnTo>
                        <a:pt x="182" y="216"/>
                      </a:lnTo>
                      <a:lnTo>
                        <a:pt x="182" y="217"/>
                      </a:lnTo>
                      <a:lnTo>
                        <a:pt x="182" y="216"/>
                      </a:lnTo>
                      <a:lnTo>
                        <a:pt x="182" y="217"/>
                      </a:lnTo>
                      <a:lnTo>
                        <a:pt x="182" y="216"/>
                      </a:lnTo>
                      <a:lnTo>
                        <a:pt x="182" y="217"/>
                      </a:lnTo>
                      <a:lnTo>
                        <a:pt x="182" y="216"/>
                      </a:lnTo>
                      <a:lnTo>
                        <a:pt x="182" y="217"/>
                      </a:lnTo>
                      <a:lnTo>
                        <a:pt x="183" y="217"/>
                      </a:lnTo>
                      <a:lnTo>
                        <a:pt x="183" y="218"/>
                      </a:lnTo>
                      <a:lnTo>
                        <a:pt x="184" y="218"/>
                      </a:lnTo>
                      <a:lnTo>
                        <a:pt x="184" y="218"/>
                      </a:lnTo>
                      <a:lnTo>
                        <a:pt x="184" y="218"/>
                      </a:lnTo>
                      <a:lnTo>
                        <a:pt x="184" y="218"/>
                      </a:lnTo>
                      <a:lnTo>
                        <a:pt x="184" y="218"/>
                      </a:lnTo>
                      <a:lnTo>
                        <a:pt x="184" y="218"/>
                      </a:lnTo>
                      <a:lnTo>
                        <a:pt x="184" y="218"/>
                      </a:lnTo>
                      <a:lnTo>
                        <a:pt x="184" y="218"/>
                      </a:lnTo>
                      <a:lnTo>
                        <a:pt x="184" y="218"/>
                      </a:lnTo>
                      <a:lnTo>
                        <a:pt x="184" y="218"/>
                      </a:lnTo>
                      <a:lnTo>
                        <a:pt x="184" y="218"/>
                      </a:lnTo>
                      <a:lnTo>
                        <a:pt x="184" y="218"/>
                      </a:lnTo>
                      <a:lnTo>
                        <a:pt x="184" y="218"/>
                      </a:lnTo>
                      <a:lnTo>
                        <a:pt x="184" y="218"/>
                      </a:lnTo>
                      <a:lnTo>
                        <a:pt x="184" y="218"/>
                      </a:lnTo>
                      <a:lnTo>
                        <a:pt x="184" y="218"/>
                      </a:lnTo>
                      <a:lnTo>
                        <a:pt x="184" y="218"/>
                      </a:lnTo>
                      <a:lnTo>
                        <a:pt x="184" y="218"/>
                      </a:lnTo>
                      <a:lnTo>
                        <a:pt x="184" y="218"/>
                      </a:lnTo>
                      <a:lnTo>
                        <a:pt x="185" y="218"/>
                      </a:lnTo>
                      <a:lnTo>
                        <a:pt x="185" y="218"/>
                      </a:lnTo>
                      <a:lnTo>
                        <a:pt x="185" y="219"/>
                      </a:lnTo>
                      <a:lnTo>
                        <a:pt x="186" y="219"/>
                      </a:lnTo>
                      <a:lnTo>
                        <a:pt x="185" y="219"/>
                      </a:lnTo>
                      <a:lnTo>
                        <a:pt x="185" y="218"/>
                      </a:lnTo>
                      <a:lnTo>
                        <a:pt x="186" y="218"/>
                      </a:lnTo>
                      <a:lnTo>
                        <a:pt x="186" y="218"/>
                      </a:lnTo>
                      <a:lnTo>
                        <a:pt x="186" y="219"/>
                      </a:lnTo>
                      <a:lnTo>
                        <a:pt x="186" y="219"/>
                      </a:lnTo>
                      <a:lnTo>
                        <a:pt x="186" y="219"/>
                      </a:lnTo>
                      <a:lnTo>
                        <a:pt x="187" y="219"/>
                      </a:lnTo>
                      <a:lnTo>
                        <a:pt x="187" y="219"/>
                      </a:lnTo>
                      <a:lnTo>
                        <a:pt x="188" y="219"/>
                      </a:lnTo>
                      <a:lnTo>
                        <a:pt x="187" y="219"/>
                      </a:lnTo>
                      <a:lnTo>
                        <a:pt x="186" y="219"/>
                      </a:lnTo>
                      <a:lnTo>
                        <a:pt x="187" y="219"/>
                      </a:lnTo>
                      <a:lnTo>
                        <a:pt x="186" y="218"/>
                      </a:lnTo>
                      <a:lnTo>
                        <a:pt x="187" y="218"/>
                      </a:lnTo>
                      <a:lnTo>
                        <a:pt x="188" y="218"/>
                      </a:lnTo>
                      <a:lnTo>
                        <a:pt x="187" y="218"/>
                      </a:lnTo>
                      <a:lnTo>
                        <a:pt x="188" y="218"/>
                      </a:lnTo>
                      <a:lnTo>
                        <a:pt x="187" y="218"/>
                      </a:lnTo>
                      <a:lnTo>
                        <a:pt x="188" y="218"/>
                      </a:lnTo>
                      <a:lnTo>
                        <a:pt x="188" y="218"/>
                      </a:lnTo>
                      <a:lnTo>
                        <a:pt x="188" y="218"/>
                      </a:lnTo>
                      <a:lnTo>
                        <a:pt x="188" y="218"/>
                      </a:lnTo>
                      <a:lnTo>
                        <a:pt x="188" y="219"/>
                      </a:lnTo>
                      <a:lnTo>
                        <a:pt x="188" y="218"/>
                      </a:lnTo>
                      <a:lnTo>
                        <a:pt x="188" y="219"/>
                      </a:lnTo>
                      <a:lnTo>
                        <a:pt x="188" y="219"/>
                      </a:lnTo>
                      <a:lnTo>
                        <a:pt x="188" y="218"/>
                      </a:lnTo>
                      <a:lnTo>
                        <a:pt x="188" y="218"/>
                      </a:lnTo>
                      <a:lnTo>
                        <a:pt x="188" y="218"/>
                      </a:lnTo>
                      <a:lnTo>
                        <a:pt x="188" y="218"/>
                      </a:lnTo>
                      <a:lnTo>
                        <a:pt x="187" y="218"/>
                      </a:lnTo>
                      <a:lnTo>
                        <a:pt x="186" y="218"/>
                      </a:lnTo>
                      <a:lnTo>
                        <a:pt x="186" y="218"/>
                      </a:lnTo>
                      <a:lnTo>
                        <a:pt x="186" y="218"/>
                      </a:lnTo>
                      <a:lnTo>
                        <a:pt x="187" y="218"/>
                      </a:lnTo>
                      <a:lnTo>
                        <a:pt x="186" y="218"/>
                      </a:lnTo>
                      <a:lnTo>
                        <a:pt x="187" y="218"/>
                      </a:lnTo>
                      <a:lnTo>
                        <a:pt x="186" y="218"/>
                      </a:lnTo>
                      <a:lnTo>
                        <a:pt x="186" y="218"/>
                      </a:lnTo>
                      <a:lnTo>
                        <a:pt x="185" y="218"/>
                      </a:lnTo>
                      <a:lnTo>
                        <a:pt x="185" y="218"/>
                      </a:lnTo>
                      <a:lnTo>
                        <a:pt x="184" y="218"/>
                      </a:lnTo>
                      <a:lnTo>
                        <a:pt x="185" y="218"/>
                      </a:lnTo>
                      <a:lnTo>
                        <a:pt x="185" y="218"/>
                      </a:lnTo>
                      <a:lnTo>
                        <a:pt x="185" y="218"/>
                      </a:lnTo>
                      <a:lnTo>
                        <a:pt x="185" y="218"/>
                      </a:lnTo>
                      <a:lnTo>
                        <a:pt x="185" y="218"/>
                      </a:lnTo>
                      <a:lnTo>
                        <a:pt x="185" y="218"/>
                      </a:lnTo>
                      <a:lnTo>
                        <a:pt x="185" y="218"/>
                      </a:lnTo>
                      <a:lnTo>
                        <a:pt x="185" y="218"/>
                      </a:lnTo>
                      <a:lnTo>
                        <a:pt x="185" y="218"/>
                      </a:lnTo>
                      <a:lnTo>
                        <a:pt x="185" y="218"/>
                      </a:lnTo>
                      <a:lnTo>
                        <a:pt x="185" y="218"/>
                      </a:lnTo>
                      <a:lnTo>
                        <a:pt x="185" y="218"/>
                      </a:lnTo>
                      <a:lnTo>
                        <a:pt x="185" y="218"/>
                      </a:lnTo>
                      <a:lnTo>
                        <a:pt x="185" y="217"/>
                      </a:lnTo>
                      <a:lnTo>
                        <a:pt x="185" y="218"/>
                      </a:lnTo>
                      <a:lnTo>
                        <a:pt x="185" y="218"/>
                      </a:lnTo>
                      <a:lnTo>
                        <a:pt x="185" y="217"/>
                      </a:lnTo>
                      <a:lnTo>
                        <a:pt x="185" y="218"/>
                      </a:lnTo>
                      <a:lnTo>
                        <a:pt x="185" y="217"/>
                      </a:lnTo>
                      <a:lnTo>
                        <a:pt x="185" y="218"/>
                      </a:lnTo>
                      <a:lnTo>
                        <a:pt x="185" y="217"/>
                      </a:lnTo>
                      <a:lnTo>
                        <a:pt x="185" y="218"/>
                      </a:lnTo>
                      <a:lnTo>
                        <a:pt x="185" y="217"/>
                      </a:lnTo>
                      <a:lnTo>
                        <a:pt x="185" y="218"/>
                      </a:lnTo>
                      <a:lnTo>
                        <a:pt x="185" y="217"/>
                      </a:lnTo>
                      <a:lnTo>
                        <a:pt x="184" y="218"/>
                      </a:lnTo>
                      <a:lnTo>
                        <a:pt x="185" y="218"/>
                      </a:lnTo>
                      <a:lnTo>
                        <a:pt x="184" y="218"/>
                      </a:lnTo>
                      <a:lnTo>
                        <a:pt x="184" y="217"/>
                      </a:lnTo>
                      <a:lnTo>
                        <a:pt x="184" y="218"/>
                      </a:lnTo>
                      <a:lnTo>
                        <a:pt x="184" y="217"/>
                      </a:lnTo>
                      <a:lnTo>
                        <a:pt x="185" y="217"/>
                      </a:lnTo>
                      <a:lnTo>
                        <a:pt x="185" y="217"/>
                      </a:lnTo>
                      <a:lnTo>
                        <a:pt x="186" y="217"/>
                      </a:lnTo>
                      <a:lnTo>
                        <a:pt x="186" y="218"/>
                      </a:lnTo>
                      <a:lnTo>
                        <a:pt x="186" y="218"/>
                      </a:lnTo>
                      <a:lnTo>
                        <a:pt x="187" y="218"/>
                      </a:lnTo>
                      <a:lnTo>
                        <a:pt x="188" y="218"/>
                      </a:lnTo>
                      <a:lnTo>
                        <a:pt x="188" y="218"/>
                      </a:lnTo>
                      <a:lnTo>
                        <a:pt x="188" y="218"/>
                      </a:lnTo>
                      <a:lnTo>
                        <a:pt x="188" y="218"/>
                      </a:lnTo>
                      <a:lnTo>
                        <a:pt x="188" y="217"/>
                      </a:lnTo>
                      <a:lnTo>
                        <a:pt x="188" y="217"/>
                      </a:lnTo>
                      <a:lnTo>
                        <a:pt x="188" y="218"/>
                      </a:lnTo>
                      <a:lnTo>
                        <a:pt x="189" y="218"/>
                      </a:lnTo>
                      <a:lnTo>
                        <a:pt x="189" y="218"/>
                      </a:lnTo>
                      <a:lnTo>
                        <a:pt x="189" y="218"/>
                      </a:lnTo>
                      <a:lnTo>
                        <a:pt x="189" y="217"/>
                      </a:lnTo>
                      <a:lnTo>
                        <a:pt x="189" y="217"/>
                      </a:lnTo>
                      <a:lnTo>
                        <a:pt x="190" y="217"/>
                      </a:lnTo>
                      <a:lnTo>
                        <a:pt x="190" y="218"/>
                      </a:lnTo>
                      <a:lnTo>
                        <a:pt x="191" y="218"/>
                      </a:lnTo>
                      <a:lnTo>
                        <a:pt x="190" y="218"/>
                      </a:lnTo>
                      <a:lnTo>
                        <a:pt x="191" y="218"/>
                      </a:lnTo>
                      <a:lnTo>
                        <a:pt x="190" y="218"/>
                      </a:lnTo>
                      <a:lnTo>
                        <a:pt x="191" y="218"/>
                      </a:lnTo>
                      <a:lnTo>
                        <a:pt x="190" y="218"/>
                      </a:lnTo>
                      <a:lnTo>
                        <a:pt x="191" y="218"/>
                      </a:lnTo>
                      <a:lnTo>
                        <a:pt x="191" y="219"/>
                      </a:lnTo>
                      <a:lnTo>
                        <a:pt x="191" y="218"/>
                      </a:lnTo>
                      <a:lnTo>
                        <a:pt x="191" y="219"/>
                      </a:lnTo>
                      <a:lnTo>
                        <a:pt x="191" y="218"/>
                      </a:lnTo>
                      <a:lnTo>
                        <a:pt x="191" y="219"/>
                      </a:lnTo>
                      <a:lnTo>
                        <a:pt x="191" y="219"/>
                      </a:lnTo>
                      <a:lnTo>
                        <a:pt x="191" y="219"/>
                      </a:lnTo>
                      <a:lnTo>
                        <a:pt x="191" y="219"/>
                      </a:lnTo>
                      <a:lnTo>
                        <a:pt x="191" y="219"/>
                      </a:lnTo>
                      <a:lnTo>
                        <a:pt x="191" y="219"/>
                      </a:lnTo>
                      <a:lnTo>
                        <a:pt x="191" y="219"/>
                      </a:lnTo>
                      <a:lnTo>
                        <a:pt x="191" y="219"/>
                      </a:lnTo>
                      <a:lnTo>
                        <a:pt x="191" y="219"/>
                      </a:lnTo>
                      <a:lnTo>
                        <a:pt x="192" y="220"/>
                      </a:lnTo>
                      <a:lnTo>
                        <a:pt x="192" y="219"/>
                      </a:lnTo>
                      <a:lnTo>
                        <a:pt x="192" y="220"/>
                      </a:lnTo>
                      <a:lnTo>
                        <a:pt x="192" y="219"/>
                      </a:lnTo>
                      <a:lnTo>
                        <a:pt x="192" y="220"/>
                      </a:lnTo>
                      <a:lnTo>
                        <a:pt x="192" y="220"/>
                      </a:lnTo>
                      <a:lnTo>
                        <a:pt x="192" y="219"/>
                      </a:lnTo>
                      <a:lnTo>
                        <a:pt x="192" y="219"/>
                      </a:lnTo>
                      <a:lnTo>
                        <a:pt x="192" y="219"/>
                      </a:lnTo>
                      <a:lnTo>
                        <a:pt x="192" y="219"/>
                      </a:lnTo>
                      <a:lnTo>
                        <a:pt x="192" y="219"/>
                      </a:lnTo>
                      <a:lnTo>
                        <a:pt x="191" y="219"/>
                      </a:lnTo>
                      <a:lnTo>
                        <a:pt x="192" y="219"/>
                      </a:lnTo>
                      <a:lnTo>
                        <a:pt x="191" y="219"/>
                      </a:lnTo>
                      <a:lnTo>
                        <a:pt x="192" y="219"/>
                      </a:lnTo>
                      <a:lnTo>
                        <a:pt x="192" y="219"/>
                      </a:lnTo>
                      <a:lnTo>
                        <a:pt x="191" y="219"/>
                      </a:lnTo>
                      <a:lnTo>
                        <a:pt x="192" y="219"/>
                      </a:lnTo>
                      <a:lnTo>
                        <a:pt x="192" y="219"/>
                      </a:lnTo>
                      <a:lnTo>
                        <a:pt x="192" y="219"/>
                      </a:lnTo>
                      <a:lnTo>
                        <a:pt x="193" y="219"/>
                      </a:lnTo>
                      <a:lnTo>
                        <a:pt x="192" y="220"/>
                      </a:lnTo>
                      <a:lnTo>
                        <a:pt x="193" y="220"/>
                      </a:lnTo>
                      <a:lnTo>
                        <a:pt x="192" y="220"/>
                      </a:lnTo>
                      <a:lnTo>
                        <a:pt x="193" y="220"/>
                      </a:lnTo>
                      <a:lnTo>
                        <a:pt x="192" y="220"/>
                      </a:lnTo>
                      <a:lnTo>
                        <a:pt x="193" y="220"/>
                      </a:lnTo>
                      <a:lnTo>
                        <a:pt x="193" y="220"/>
                      </a:lnTo>
                      <a:lnTo>
                        <a:pt x="193" y="220"/>
                      </a:lnTo>
                      <a:lnTo>
                        <a:pt x="193" y="219"/>
                      </a:lnTo>
                      <a:lnTo>
                        <a:pt x="192" y="219"/>
                      </a:lnTo>
                      <a:lnTo>
                        <a:pt x="193" y="219"/>
                      </a:lnTo>
                      <a:lnTo>
                        <a:pt x="192" y="219"/>
                      </a:lnTo>
                      <a:lnTo>
                        <a:pt x="192" y="219"/>
                      </a:lnTo>
                      <a:lnTo>
                        <a:pt x="192" y="219"/>
                      </a:lnTo>
                      <a:lnTo>
                        <a:pt x="192" y="219"/>
                      </a:lnTo>
                      <a:lnTo>
                        <a:pt x="192" y="219"/>
                      </a:lnTo>
                      <a:lnTo>
                        <a:pt x="192" y="219"/>
                      </a:lnTo>
                      <a:lnTo>
                        <a:pt x="192" y="219"/>
                      </a:lnTo>
                      <a:lnTo>
                        <a:pt x="191" y="219"/>
                      </a:lnTo>
                      <a:lnTo>
                        <a:pt x="191" y="218"/>
                      </a:lnTo>
                      <a:lnTo>
                        <a:pt x="191" y="218"/>
                      </a:lnTo>
                      <a:lnTo>
                        <a:pt x="191" y="218"/>
                      </a:lnTo>
                      <a:lnTo>
                        <a:pt x="191" y="218"/>
                      </a:lnTo>
                      <a:lnTo>
                        <a:pt x="190" y="218"/>
                      </a:lnTo>
                      <a:lnTo>
                        <a:pt x="191" y="218"/>
                      </a:lnTo>
                      <a:lnTo>
                        <a:pt x="191" y="218"/>
                      </a:lnTo>
                      <a:lnTo>
                        <a:pt x="191" y="218"/>
                      </a:lnTo>
                      <a:lnTo>
                        <a:pt x="192" y="218"/>
                      </a:lnTo>
                      <a:lnTo>
                        <a:pt x="192" y="218"/>
                      </a:lnTo>
                      <a:lnTo>
                        <a:pt x="192" y="218"/>
                      </a:lnTo>
                      <a:lnTo>
                        <a:pt x="193" y="218"/>
                      </a:lnTo>
                      <a:lnTo>
                        <a:pt x="193" y="218"/>
                      </a:lnTo>
                      <a:lnTo>
                        <a:pt x="193" y="218"/>
                      </a:lnTo>
                      <a:lnTo>
                        <a:pt x="194" y="218"/>
                      </a:lnTo>
                      <a:lnTo>
                        <a:pt x="195" y="218"/>
                      </a:lnTo>
                      <a:lnTo>
                        <a:pt x="195" y="219"/>
                      </a:lnTo>
                      <a:lnTo>
                        <a:pt x="195" y="219"/>
                      </a:lnTo>
                      <a:lnTo>
                        <a:pt x="195" y="219"/>
                      </a:lnTo>
                      <a:lnTo>
                        <a:pt x="195" y="219"/>
                      </a:lnTo>
                      <a:lnTo>
                        <a:pt x="195" y="219"/>
                      </a:lnTo>
                      <a:lnTo>
                        <a:pt x="195" y="219"/>
                      </a:lnTo>
                      <a:lnTo>
                        <a:pt x="196" y="219"/>
                      </a:lnTo>
                      <a:lnTo>
                        <a:pt x="195" y="219"/>
                      </a:lnTo>
                      <a:lnTo>
                        <a:pt x="195" y="219"/>
                      </a:lnTo>
                      <a:lnTo>
                        <a:pt x="195" y="219"/>
                      </a:lnTo>
                      <a:lnTo>
                        <a:pt x="195" y="219"/>
                      </a:lnTo>
                      <a:lnTo>
                        <a:pt x="195" y="219"/>
                      </a:lnTo>
                      <a:lnTo>
                        <a:pt x="195" y="219"/>
                      </a:lnTo>
                      <a:lnTo>
                        <a:pt x="195" y="219"/>
                      </a:lnTo>
                      <a:lnTo>
                        <a:pt x="195" y="219"/>
                      </a:lnTo>
                      <a:lnTo>
                        <a:pt x="195" y="219"/>
                      </a:lnTo>
                      <a:lnTo>
                        <a:pt x="196" y="219"/>
                      </a:lnTo>
                      <a:lnTo>
                        <a:pt x="196" y="219"/>
                      </a:lnTo>
                      <a:lnTo>
                        <a:pt x="196" y="219"/>
                      </a:lnTo>
                      <a:lnTo>
                        <a:pt x="197" y="219"/>
                      </a:lnTo>
                      <a:lnTo>
                        <a:pt x="197" y="219"/>
                      </a:lnTo>
                      <a:lnTo>
                        <a:pt x="197" y="219"/>
                      </a:lnTo>
                      <a:lnTo>
                        <a:pt x="197" y="219"/>
                      </a:lnTo>
                      <a:lnTo>
                        <a:pt x="197" y="219"/>
                      </a:lnTo>
                      <a:lnTo>
                        <a:pt x="198" y="220"/>
                      </a:lnTo>
                      <a:lnTo>
                        <a:pt x="198" y="221"/>
                      </a:lnTo>
                      <a:lnTo>
                        <a:pt x="198" y="220"/>
                      </a:lnTo>
                      <a:lnTo>
                        <a:pt x="197" y="220"/>
                      </a:lnTo>
                      <a:lnTo>
                        <a:pt x="197" y="220"/>
                      </a:lnTo>
                      <a:lnTo>
                        <a:pt x="196" y="221"/>
                      </a:lnTo>
                      <a:lnTo>
                        <a:pt x="196" y="220"/>
                      </a:lnTo>
                      <a:lnTo>
                        <a:pt x="196" y="221"/>
                      </a:lnTo>
                      <a:lnTo>
                        <a:pt x="196" y="221"/>
                      </a:lnTo>
                      <a:lnTo>
                        <a:pt x="196" y="221"/>
                      </a:lnTo>
                      <a:lnTo>
                        <a:pt x="196" y="221"/>
                      </a:lnTo>
                      <a:lnTo>
                        <a:pt x="195" y="221"/>
                      </a:lnTo>
                      <a:lnTo>
                        <a:pt x="196" y="221"/>
                      </a:lnTo>
                      <a:lnTo>
                        <a:pt x="196" y="221"/>
                      </a:lnTo>
                      <a:lnTo>
                        <a:pt x="196" y="221"/>
                      </a:lnTo>
                      <a:lnTo>
                        <a:pt x="196" y="221"/>
                      </a:lnTo>
                      <a:lnTo>
                        <a:pt x="196" y="220"/>
                      </a:lnTo>
                      <a:lnTo>
                        <a:pt x="196" y="221"/>
                      </a:lnTo>
                      <a:lnTo>
                        <a:pt x="197" y="221"/>
                      </a:lnTo>
                      <a:lnTo>
                        <a:pt x="197" y="220"/>
                      </a:lnTo>
                      <a:lnTo>
                        <a:pt x="197" y="220"/>
                      </a:lnTo>
                      <a:lnTo>
                        <a:pt x="198" y="220"/>
                      </a:lnTo>
                      <a:lnTo>
                        <a:pt x="198" y="221"/>
                      </a:lnTo>
                      <a:lnTo>
                        <a:pt x="199" y="221"/>
                      </a:lnTo>
                      <a:lnTo>
                        <a:pt x="199" y="221"/>
                      </a:lnTo>
                      <a:lnTo>
                        <a:pt x="199" y="221"/>
                      </a:lnTo>
                      <a:lnTo>
                        <a:pt x="199" y="222"/>
                      </a:lnTo>
                      <a:lnTo>
                        <a:pt x="200" y="222"/>
                      </a:lnTo>
                      <a:lnTo>
                        <a:pt x="200" y="222"/>
                      </a:lnTo>
                      <a:lnTo>
                        <a:pt x="200" y="223"/>
                      </a:lnTo>
                      <a:lnTo>
                        <a:pt x="201" y="223"/>
                      </a:lnTo>
                      <a:lnTo>
                        <a:pt x="202" y="223"/>
                      </a:lnTo>
                      <a:lnTo>
                        <a:pt x="202" y="223"/>
                      </a:lnTo>
                      <a:lnTo>
                        <a:pt x="202" y="224"/>
                      </a:lnTo>
                      <a:lnTo>
                        <a:pt x="201" y="225"/>
                      </a:lnTo>
                      <a:lnTo>
                        <a:pt x="201" y="225"/>
                      </a:lnTo>
                      <a:lnTo>
                        <a:pt x="202" y="225"/>
                      </a:lnTo>
                      <a:lnTo>
                        <a:pt x="201" y="225"/>
                      </a:lnTo>
                      <a:lnTo>
                        <a:pt x="201" y="225"/>
                      </a:lnTo>
                      <a:lnTo>
                        <a:pt x="202" y="225"/>
                      </a:lnTo>
                      <a:lnTo>
                        <a:pt x="202" y="225"/>
                      </a:lnTo>
                      <a:lnTo>
                        <a:pt x="202" y="226"/>
                      </a:lnTo>
                      <a:lnTo>
                        <a:pt x="202" y="226"/>
                      </a:lnTo>
                      <a:lnTo>
                        <a:pt x="201" y="226"/>
                      </a:lnTo>
                      <a:lnTo>
                        <a:pt x="201" y="227"/>
                      </a:lnTo>
                      <a:lnTo>
                        <a:pt x="202" y="227"/>
                      </a:lnTo>
                      <a:lnTo>
                        <a:pt x="201" y="227"/>
                      </a:lnTo>
                      <a:lnTo>
                        <a:pt x="202" y="227"/>
                      </a:lnTo>
                      <a:lnTo>
                        <a:pt x="202" y="227"/>
                      </a:lnTo>
                      <a:lnTo>
                        <a:pt x="202" y="227"/>
                      </a:lnTo>
                      <a:lnTo>
                        <a:pt x="201" y="227"/>
                      </a:lnTo>
                      <a:lnTo>
                        <a:pt x="202" y="227"/>
                      </a:lnTo>
                      <a:lnTo>
                        <a:pt x="201" y="227"/>
                      </a:lnTo>
                      <a:lnTo>
                        <a:pt x="200" y="227"/>
                      </a:lnTo>
                      <a:lnTo>
                        <a:pt x="200" y="228"/>
                      </a:lnTo>
                      <a:lnTo>
                        <a:pt x="200" y="228"/>
                      </a:lnTo>
                      <a:lnTo>
                        <a:pt x="200" y="229"/>
                      </a:lnTo>
                      <a:lnTo>
                        <a:pt x="200" y="229"/>
                      </a:lnTo>
                      <a:lnTo>
                        <a:pt x="200" y="229"/>
                      </a:lnTo>
                      <a:lnTo>
                        <a:pt x="200" y="229"/>
                      </a:lnTo>
                      <a:lnTo>
                        <a:pt x="200" y="230"/>
                      </a:lnTo>
                      <a:lnTo>
                        <a:pt x="200" y="229"/>
                      </a:lnTo>
                      <a:lnTo>
                        <a:pt x="200" y="230"/>
                      </a:lnTo>
                      <a:lnTo>
                        <a:pt x="201" y="230"/>
                      </a:lnTo>
                      <a:lnTo>
                        <a:pt x="202" y="230"/>
                      </a:lnTo>
                      <a:lnTo>
                        <a:pt x="202" y="230"/>
                      </a:lnTo>
                      <a:lnTo>
                        <a:pt x="201" y="230"/>
                      </a:lnTo>
                      <a:lnTo>
                        <a:pt x="201" y="231"/>
                      </a:lnTo>
                      <a:lnTo>
                        <a:pt x="200" y="231"/>
                      </a:lnTo>
                      <a:lnTo>
                        <a:pt x="200" y="232"/>
                      </a:lnTo>
                      <a:lnTo>
                        <a:pt x="200" y="232"/>
                      </a:lnTo>
                      <a:lnTo>
                        <a:pt x="200" y="233"/>
                      </a:lnTo>
                      <a:lnTo>
                        <a:pt x="201" y="233"/>
                      </a:lnTo>
                      <a:lnTo>
                        <a:pt x="202" y="233"/>
                      </a:lnTo>
                      <a:lnTo>
                        <a:pt x="202" y="233"/>
                      </a:lnTo>
                      <a:lnTo>
                        <a:pt x="202" y="233"/>
                      </a:lnTo>
                      <a:lnTo>
                        <a:pt x="202" y="233"/>
                      </a:lnTo>
                      <a:lnTo>
                        <a:pt x="202" y="233"/>
                      </a:lnTo>
                      <a:lnTo>
                        <a:pt x="202" y="234"/>
                      </a:lnTo>
                      <a:lnTo>
                        <a:pt x="202" y="234"/>
                      </a:lnTo>
                      <a:lnTo>
                        <a:pt x="202" y="234"/>
                      </a:lnTo>
                      <a:lnTo>
                        <a:pt x="202" y="234"/>
                      </a:lnTo>
                      <a:lnTo>
                        <a:pt x="202" y="234"/>
                      </a:lnTo>
                      <a:lnTo>
                        <a:pt x="202" y="234"/>
                      </a:lnTo>
                      <a:lnTo>
                        <a:pt x="202" y="235"/>
                      </a:lnTo>
                      <a:lnTo>
                        <a:pt x="202" y="234"/>
                      </a:lnTo>
                      <a:lnTo>
                        <a:pt x="202" y="235"/>
                      </a:lnTo>
                      <a:lnTo>
                        <a:pt x="202" y="235"/>
                      </a:lnTo>
                      <a:lnTo>
                        <a:pt x="202" y="236"/>
                      </a:lnTo>
                      <a:lnTo>
                        <a:pt x="202" y="236"/>
                      </a:lnTo>
                      <a:lnTo>
                        <a:pt x="202" y="236"/>
                      </a:lnTo>
                      <a:lnTo>
                        <a:pt x="203" y="236"/>
                      </a:lnTo>
                      <a:lnTo>
                        <a:pt x="202" y="236"/>
                      </a:lnTo>
                      <a:lnTo>
                        <a:pt x="203" y="236"/>
                      </a:lnTo>
                      <a:lnTo>
                        <a:pt x="202" y="236"/>
                      </a:lnTo>
                      <a:lnTo>
                        <a:pt x="202" y="236"/>
                      </a:lnTo>
                      <a:lnTo>
                        <a:pt x="202" y="236"/>
                      </a:lnTo>
                      <a:lnTo>
                        <a:pt x="202" y="235"/>
                      </a:lnTo>
                      <a:lnTo>
                        <a:pt x="202" y="235"/>
                      </a:lnTo>
                      <a:lnTo>
                        <a:pt x="202" y="234"/>
                      </a:lnTo>
                      <a:lnTo>
                        <a:pt x="202" y="234"/>
                      </a:lnTo>
                      <a:lnTo>
                        <a:pt x="202" y="234"/>
                      </a:lnTo>
                      <a:lnTo>
                        <a:pt x="202" y="233"/>
                      </a:lnTo>
                      <a:lnTo>
                        <a:pt x="202" y="233"/>
                      </a:lnTo>
                      <a:lnTo>
                        <a:pt x="202" y="233"/>
                      </a:lnTo>
                      <a:lnTo>
                        <a:pt x="201" y="233"/>
                      </a:lnTo>
                      <a:lnTo>
                        <a:pt x="200" y="233"/>
                      </a:lnTo>
                      <a:lnTo>
                        <a:pt x="200" y="232"/>
                      </a:lnTo>
                      <a:lnTo>
                        <a:pt x="200" y="232"/>
                      </a:lnTo>
                      <a:lnTo>
                        <a:pt x="200" y="231"/>
                      </a:lnTo>
                      <a:lnTo>
                        <a:pt x="201" y="231"/>
                      </a:lnTo>
                      <a:lnTo>
                        <a:pt x="202" y="230"/>
                      </a:lnTo>
                      <a:lnTo>
                        <a:pt x="202" y="230"/>
                      </a:lnTo>
                      <a:lnTo>
                        <a:pt x="201" y="229"/>
                      </a:lnTo>
                      <a:lnTo>
                        <a:pt x="200" y="230"/>
                      </a:lnTo>
                      <a:lnTo>
                        <a:pt x="200" y="229"/>
                      </a:lnTo>
                      <a:lnTo>
                        <a:pt x="200" y="229"/>
                      </a:lnTo>
                      <a:lnTo>
                        <a:pt x="200" y="229"/>
                      </a:lnTo>
                      <a:lnTo>
                        <a:pt x="200" y="229"/>
                      </a:lnTo>
                      <a:lnTo>
                        <a:pt x="200" y="229"/>
                      </a:lnTo>
                      <a:lnTo>
                        <a:pt x="200" y="228"/>
                      </a:lnTo>
                      <a:lnTo>
                        <a:pt x="200" y="228"/>
                      </a:lnTo>
                      <a:lnTo>
                        <a:pt x="201" y="227"/>
                      </a:lnTo>
                      <a:lnTo>
                        <a:pt x="202" y="227"/>
                      </a:lnTo>
                      <a:lnTo>
                        <a:pt x="202" y="227"/>
                      </a:lnTo>
                      <a:lnTo>
                        <a:pt x="202" y="227"/>
                      </a:lnTo>
                      <a:lnTo>
                        <a:pt x="202" y="227"/>
                      </a:lnTo>
                      <a:lnTo>
                        <a:pt x="202" y="227"/>
                      </a:lnTo>
                      <a:lnTo>
                        <a:pt x="202" y="227"/>
                      </a:lnTo>
                      <a:lnTo>
                        <a:pt x="201" y="227"/>
                      </a:lnTo>
                      <a:lnTo>
                        <a:pt x="201" y="226"/>
                      </a:lnTo>
                      <a:lnTo>
                        <a:pt x="202" y="226"/>
                      </a:lnTo>
                      <a:lnTo>
                        <a:pt x="202" y="226"/>
                      </a:lnTo>
                      <a:lnTo>
                        <a:pt x="202" y="226"/>
                      </a:lnTo>
                      <a:lnTo>
                        <a:pt x="202" y="225"/>
                      </a:lnTo>
                      <a:lnTo>
                        <a:pt x="202" y="225"/>
                      </a:lnTo>
                      <a:lnTo>
                        <a:pt x="202" y="225"/>
                      </a:lnTo>
                      <a:lnTo>
                        <a:pt x="202" y="224"/>
                      </a:lnTo>
                      <a:lnTo>
                        <a:pt x="202" y="223"/>
                      </a:lnTo>
                      <a:lnTo>
                        <a:pt x="202" y="223"/>
                      </a:lnTo>
                      <a:lnTo>
                        <a:pt x="201" y="223"/>
                      </a:lnTo>
                      <a:lnTo>
                        <a:pt x="201" y="222"/>
                      </a:lnTo>
                      <a:lnTo>
                        <a:pt x="201" y="223"/>
                      </a:lnTo>
                      <a:lnTo>
                        <a:pt x="200" y="223"/>
                      </a:lnTo>
                      <a:lnTo>
                        <a:pt x="200" y="222"/>
                      </a:lnTo>
                      <a:lnTo>
                        <a:pt x="200" y="222"/>
                      </a:lnTo>
                      <a:lnTo>
                        <a:pt x="200" y="222"/>
                      </a:lnTo>
                      <a:lnTo>
                        <a:pt x="199" y="221"/>
                      </a:lnTo>
                      <a:lnTo>
                        <a:pt x="199" y="221"/>
                      </a:lnTo>
                      <a:lnTo>
                        <a:pt x="199" y="221"/>
                      </a:lnTo>
                      <a:lnTo>
                        <a:pt x="198" y="220"/>
                      </a:lnTo>
                      <a:lnTo>
                        <a:pt x="198" y="219"/>
                      </a:lnTo>
                      <a:lnTo>
                        <a:pt x="197" y="219"/>
                      </a:lnTo>
                      <a:lnTo>
                        <a:pt x="197" y="219"/>
                      </a:lnTo>
                      <a:lnTo>
                        <a:pt x="197" y="219"/>
                      </a:lnTo>
                      <a:lnTo>
                        <a:pt x="197" y="219"/>
                      </a:lnTo>
                      <a:lnTo>
                        <a:pt x="197" y="219"/>
                      </a:lnTo>
                      <a:lnTo>
                        <a:pt x="197" y="219"/>
                      </a:lnTo>
                      <a:lnTo>
                        <a:pt x="196" y="219"/>
                      </a:lnTo>
                      <a:lnTo>
                        <a:pt x="196" y="219"/>
                      </a:lnTo>
                      <a:lnTo>
                        <a:pt x="195" y="219"/>
                      </a:lnTo>
                      <a:lnTo>
                        <a:pt x="195" y="219"/>
                      </a:lnTo>
                      <a:lnTo>
                        <a:pt x="195" y="218"/>
                      </a:lnTo>
                      <a:lnTo>
                        <a:pt x="195" y="219"/>
                      </a:lnTo>
                      <a:lnTo>
                        <a:pt x="195" y="218"/>
                      </a:lnTo>
                      <a:lnTo>
                        <a:pt x="194" y="218"/>
                      </a:lnTo>
                      <a:lnTo>
                        <a:pt x="194" y="218"/>
                      </a:lnTo>
                      <a:lnTo>
                        <a:pt x="195" y="218"/>
                      </a:lnTo>
                      <a:lnTo>
                        <a:pt x="194" y="218"/>
                      </a:lnTo>
                      <a:lnTo>
                        <a:pt x="194" y="217"/>
                      </a:lnTo>
                      <a:lnTo>
                        <a:pt x="195" y="217"/>
                      </a:lnTo>
                      <a:lnTo>
                        <a:pt x="194" y="217"/>
                      </a:lnTo>
                      <a:lnTo>
                        <a:pt x="194" y="218"/>
                      </a:lnTo>
                      <a:lnTo>
                        <a:pt x="195" y="218"/>
                      </a:lnTo>
                      <a:lnTo>
                        <a:pt x="194" y="218"/>
                      </a:lnTo>
                      <a:lnTo>
                        <a:pt x="194" y="218"/>
                      </a:lnTo>
                      <a:lnTo>
                        <a:pt x="193" y="218"/>
                      </a:lnTo>
                      <a:lnTo>
                        <a:pt x="193" y="218"/>
                      </a:lnTo>
                      <a:lnTo>
                        <a:pt x="193" y="218"/>
                      </a:lnTo>
                      <a:lnTo>
                        <a:pt x="193" y="218"/>
                      </a:lnTo>
                      <a:lnTo>
                        <a:pt x="193" y="218"/>
                      </a:lnTo>
                      <a:lnTo>
                        <a:pt x="192" y="218"/>
                      </a:lnTo>
                      <a:lnTo>
                        <a:pt x="192" y="218"/>
                      </a:lnTo>
                      <a:lnTo>
                        <a:pt x="191" y="218"/>
                      </a:lnTo>
                      <a:lnTo>
                        <a:pt x="192" y="218"/>
                      </a:lnTo>
                      <a:lnTo>
                        <a:pt x="192" y="218"/>
                      </a:lnTo>
                      <a:lnTo>
                        <a:pt x="191" y="218"/>
                      </a:lnTo>
                      <a:lnTo>
                        <a:pt x="191" y="218"/>
                      </a:lnTo>
                      <a:lnTo>
                        <a:pt x="191" y="218"/>
                      </a:lnTo>
                      <a:lnTo>
                        <a:pt x="191" y="218"/>
                      </a:lnTo>
                      <a:lnTo>
                        <a:pt x="191" y="217"/>
                      </a:lnTo>
                      <a:lnTo>
                        <a:pt x="191" y="218"/>
                      </a:lnTo>
                      <a:lnTo>
                        <a:pt x="191" y="218"/>
                      </a:lnTo>
                      <a:lnTo>
                        <a:pt x="190" y="217"/>
                      </a:lnTo>
                      <a:lnTo>
                        <a:pt x="189" y="217"/>
                      </a:lnTo>
                      <a:lnTo>
                        <a:pt x="189" y="216"/>
                      </a:lnTo>
                      <a:lnTo>
                        <a:pt x="189" y="216"/>
                      </a:lnTo>
                      <a:lnTo>
                        <a:pt x="189" y="216"/>
                      </a:lnTo>
                      <a:lnTo>
                        <a:pt x="189" y="216"/>
                      </a:lnTo>
                      <a:lnTo>
                        <a:pt x="188" y="216"/>
                      </a:lnTo>
                      <a:lnTo>
                        <a:pt x="188" y="217"/>
                      </a:lnTo>
                      <a:lnTo>
                        <a:pt x="188" y="216"/>
                      </a:lnTo>
                      <a:lnTo>
                        <a:pt x="188" y="216"/>
                      </a:lnTo>
                      <a:lnTo>
                        <a:pt x="188" y="216"/>
                      </a:lnTo>
                      <a:lnTo>
                        <a:pt x="188" y="216"/>
                      </a:lnTo>
                      <a:lnTo>
                        <a:pt x="187" y="216"/>
                      </a:lnTo>
                      <a:lnTo>
                        <a:pt x="188" y="216"/>
                      </a:lnTo>
                      <a:lnTo>
                        <a:pt x="187" y="216"/>
                      </a:lnTo>
                      <a:lnTo>
                        <a:pt x="188" y="216"/>
                      </a:lnTo>
                      <a:lnTo>
                        <a:pt x="187" y="216"/>
                      </a:lnTo>
                      <a:lnTo>
                        <a:pt x="186" y="216"/>
                      </a:lnTo>
                      <a:lnTo>
                        <a:pt x="186" y="216"/>
                      </a:lnTo>
                      <a:lnTo>
                        <a:pt x="186" y="216"/>
                      </a:lnTo>
                      <a:lnTo>
                        <a:pt x="186" y="216"/>
                      </a:lnTo>
                      <a:lnTo>
                        <a:pt x="186" y="216"/>
                      </a:lnTo>
                      <a:lnTo>
                        <a:pt x="185" y="216"/>
                      </a:lnTo>
                      <a:lnTo>
                        <a:pt x="185" y="216"/>
                      </a:lnTo>
                      <a:lnTo>
                        <a:pt x="185" y="216"/>
                      </a:lnTo>
                      <a:lnTo>
                        <a:pt x="185" y="216"/>
                      </a:lnTo>
                      <a:lnTo>
                        <a:pt x="184" y="216"/>
                      </a:lnTo>
                      <a:lnTo>
                        <a:pt x="184" y="215"/>
                      </a:lnTo>
                      <a:lnTo>
                        <a:pt x="184" y="216"/>
                      </a:lnTo>
                      <a:lnTo>
                        <a:pt x="185" y="216"/>
                      </a:lnTo>
                      <a:lnTo>
                        <a:pt x="185" y="215"/>
                      </a:lnTo>
                      <a:lnTo>
                        <a:pt x="184" y="215"/>
                      </a:lnTo>
                      <a:lnTo>
                        <a:pt x="184" y="215"/>
                      </a:lnTo>
                      <a:lnTo>
                        <a:pt x="184" y="215"/>
                      </a:lnTo>
                      <a:lnTo>
                        <a:pt x="184" y="215"/>
                      </a:lnTo>
                      <a:lnTo>
                        <a:pt x="184" y="216"/>
                      </a:lnTo>
                      <a:lnTo>
                        <a:pt x="184" y="215"/>
                      </a:lnTo>
                      <a:lnTo>
                        <a:pt x="184" y="216"/>
                      </a:lnTo>
                      <a:lnTo>
                        <a:pt x="184" y="215"/>
                      </a:lnTo>
                      <a:lnTo>
                        <a:pt x="184" y="216"/>
                      </a:lnTo>
                      <a:lnTo>
                        <a:pt x="183" y="216"/>
                      </a:lnTo>
                      <a:lnTo>
                        <a:pt x="183" y="216"/>
                      </a:lnTo>
                      <a:lnTo>
                        <a:pt x="182" y="216"/>
                      </a:lnTo>
                      <a:lnTo>
                        <a:pt x="182" y="216"/>
                      </a:lnTo>
                      <a:lnTo>
                        <a:pt x="182" y="216"/>
                      </a:lnTo>
                      <a:lnTo>
                        <a:pt x="182" y="216"/>
                      </a:lnTo>
                      <a:lnTo>
                        <a:pt x="181" y="216"/>
                      </a:lnTo>
                      <a:lnTo>
                        <a:pt x="181" y="215"/>
                      </a:lnTo>
                      <a:lnTo>
                        <a:pt x="181" y="216"/>
                      </a:lnTo>
                      <a:lnTo>
                        <a:pt x="182" y="216"/>
                      </a:lnTo>
                      <a:lnTo>
                        <a:pt x="182" y="216"/>
                      </a:lnTo>
                      <a:lnTo>
                        <a:pt x="181" y="216"/>
                      </a:lnTo>
                      <a:lnTo>
                        <a:pt x="181" y="216"/>
                      </a:lnTo>
                      <a:lnTo>
                        <a:pt x="180" y="216"/>
                      </a:lnTo>
                      <a:lnTo>
                        <a:pt x="180" y="216"/>
                      </a:lnTo>
                      <a:lnTo>
                        <a:pt x="180" y="216"/>
                      </a:lnTo>
                      <a:lnTo>
                        <a:pt x="180" y="216"/>
                      </a:lnTo>
                      <a:lnTo>
                        <a:pt x="180" y="215"/>
                      </a:lnTo>
                      <a:lnTo>
                        <a:pt x="181" y="215"/>
                      </a:lnTo>
                      <a:lnTo>
                        <a:pt x="180" y="215"/>
                      </a:lnTo>
                      <a:lnTo>
                        <a:pt x="180" y="215"/>
                      </a:lnTo>
                      <a:lnTo>
                        <a:pt x="180" y="215"/>
                      </a:lnTo>
                      <a:lnTo>
                        <a:pt x="180" y="214"/>
                      </a:lnTo>
                      <a:lnTo>
                        <a:pt x="180" y="214"/>
                      </a:lnTo>
                      <a:lnTo>
                        <a:pt x="179" y="214"/>
                      </a:lnTo>
                      <a:lnTo>
                        <a:pt x="178" y="214"/>
                      </a:lnTo>
                      <a:lnTo>
                        <a:pt x="178" y="213"/>
                      </a:lnTo>
                      <a:lnTo>
                        <a:pt x="178" y="213"/>
                      </a:lnTo>
                      <a:lnTo>
                        <a:pt x="178" y="213"/>
                      </a:lnTo>
                      <a:lnTo>
                        <a:pt x="178" y="213"/>
                      </a:lnTo>
                      <a:lnTo>
                        <a:pt x="178" y="212"/>
                      </a:lnTo>
                      <a:lnTo>
                        <a:pt x="177" y="212"/>
                      </a:lnTo>
                      <a:lnTo>
                        <a:pt x="178" y="212"/>
                      </a:lnTo>
                      <a:lnTo>
                        <a:pt x="178" y="212"/>
                      </a:lnTo>
                      <a:lnTo>
                        <a:pt x="178" y="212"/>
                      </a:lnTo>
                      <a:lnTo>
                        <a:pt x="177" y="212"/>
                      </a:lnTo>
                      <a:lnTo>
                        <a:pt x="178" y="212"/>
                      </a:lnTo>
                      <a:lnTo>
                        <a:pt x="177" y="212"/>
                      </a:lnTo>
                      <a:lnTo>
                        <a:pt x="178" y="212"/>
                      </a:lnTo>
                      <a:lnTo>
                        <a:pt x="177" y="212"/>
                      </a:lnTo>
                      <a:lnTo>
                        <a:pt x="177" y="212"/>
                      </a:lnTo>
                      <a:lnTo>
                        <a:pt x="177" y="211"/>
                      </a:lnTo>
                      <a:lnTo>
                        <a:pt x="176" y="211"/>
                      </a:lnTo>
                      <a:lnTo>
                        <a:pt x="176" y="211"/>
                      </a:lnTo>
                      <a:lnTo>
                        <a:pt x="177" y="211"/>
                      </a:lnTo>
                      <a:lnTo>
                        <a:pt x="176" y="211"/>
                      </a:lnTo>
                      <a:lnTo>
                        <a:pt x="177" y="211"/>
                      </a:lnTo>
                      <a:lnTo>
                        <a:pt x="176" y="211"/>
                      </a:lnTo>
                      <a:lnTo>
                        <a:pt x="176" y="211"/>
                      </a:lnTo>
                      <a:lnTo>
                        <a:pt x="175" y="211"/>
                      </a:lnTo>
                      <a:lnTo>
                        <a:pt x="176" y="211"/>
                      </a:lnTo>
                      <a:lnTo>
                        <a:pt x="175" y="211"/>
                      </a:lnTo>
                      <a:lnTo>
                        <a:pt x="175" y="210"/>
                      </a:lnTo>
                      <a:lnTo>
                        <a:pt x="174" y="210"/>
                      </a:lnTo>
                      <a:lnTo>
                        <a:pt x="174" y="210"/>
                      </a:lnTo>
                      <a:lnTo>
                        <a:pt x="174" y="210"/>
                      </a:lnTo>
                      <a:lnTo>
                        <a:pt x="174" y="210"/>
                      </a:lnTo>
                      <a:lnTo>
                        <a:pt x="174" y="210"/>
                      </a:lnTo>
                      <a:lnTo>
                        <a:pt x="174" y="210"/>
                      </a:lnTo>
                      <a:lnTo>
                        <a:pt x="174" y="210"/>
                      </a:lnTo>
                      <a:lnTo>
                        <a:pt x="173" y="210"/>
                      </a:lnTo>
                      <a:lnTo>
                        <a:pt x="173" y="210"/>
                      </a:lnTo>
                      <a:lnTo>
                        <a:pt x="173" y="210"/>
                      </a:lnTo>
                      <a:lnTo>
                        <a:pt x="173" y="210"/>
                      </a:lnTo>
                      <a:lnTo>
                        <a:pt x="172" y="210"/>
                      </a:lnTo>
                      <a:lnTo>
                        <a:pt x="172" y="209"/>
                      </a:lnTo>
                      <a:lnTo>
                        <a:pt x="172" y="208"/>
                      </a:lnTo>
                      <a:lnTo>
                        <a:pt x="171" y="208"/>
                      </a:lnTo>
                      <a:lnTo>
                        <a:pt x="171" y="208"/>
                      </a:lnTo>
                      <a:lnTo>
                        <a:pt x="170" y="208"/>
                      </a:lnTo>
                      <a:lnTo>
                        <a:pt x="170" y="208"/>
                      </a:lnTo>
                      <a:lnTo>
                        <a:pt x="170" y="208"/>
                      </a:lnTo>
                      <a:lnTo>
                        <a:pt x="170" y="208"/>
                      </a:lnTo>
                      <a:lnTo>
                        <a:pt x="170" y="208"/>
                      </a:lnTo>
                      <a:lnTo>
                        <a:pt x="170" y="208"/>
                      </a:lnTo>
                      <a:lnTo>
                        <a:pt x="171" y="208"/>
                      </a:lnTo>
                      <a:lnTo>
                        <a:pt x="171" y="208"/>
                      </a:lnTo>
                      <a:lnTo>
                        <a:pt x="172" y="208"/>
                      </a:lnTo>
                      <a:lnTo>
                        <a:pt x="172" y="209"/>
                      </a:lnTo>
                      <a:lnTo>
                        <a:pt x="173" y="210"/>
                      </a:lnTo>
                      <a:lnTo>
                        <a:pt x="173" y="210"/>
                      </a:lnTo>
                      <a:lnTo>
                        <a:pt x="172" y="210"/>
                      </a:lnTo>
                      <a:lnTo>
                        <a:pt x="173" y="210"/>
                      </a:lnTo>
                      <a:lnTo>
                        <a:pt x="172" y="210"/>
                      </a:lnTo>
                      <a:lnTo>
                        <a:pt x="172" y="211"/>
                      </a:lnTo>
                      <a:lnTo>
                        <a:pt x="172" y="210"/>
                      </a:lnTo>
                      <a:lnTo>
                        <a:pt x="171" y="210"/>
                      </a:lnTo>
                      <a:lnTo>
                        <a:pt x="171" y="210"/>
                      </a:lnTo>
                      <a:lnTo>
                        <a:pt x="171" y="210"/>
                      </a:lnTo>
                      <a:lnTo>
                        <a:pt x="172" y="210"/>
                      </a:lnTo>
                      <a:lnTo>
                        <a:pt x="173" y="210"/>
                      </a:lnTo>
                      <a:lnTo>
                        <a:pt x="172" y="210"/>
                      </a:lnTo>
                      <a:lnTo>
                        <a:pt x="171" y="210"/>
                      </a:lnTo>
                      <a:lnTo>
                        <a:pt x="171" y="209"/>
                      </a:lnTo>
                      <a:lnTo>
                        <a:pt x="171" y="210"/>
                      </a:lnTo>
                      <a:lnTo>
                        <a:pt x="171" y="210"/>
                      </a:lnTo>
                      <a:lnTo>
                        <a:pt x="171" y="209"/>
                      </a:lnTo>
                      <a:lnTo>
                        <a:pt x="170" y="209"/>
                      </a:lnTo>
                      <a:lnTo>
                        <a:pt x="171" y="209"/>
                      </a:lnTo>
                      <a:lnTo>
                        <a:pt x="170" y="208"/>
                      </a:lnTo>
                      <a:lnTo>
                        <a:pt x="170" y="209"/>
                      </a:lnTo>
                      <a:lnTo>
                        <a:pt x="170" y="210"/>
                      </a:lnTo>
                      <a:lnTo>
                        <a:pt x="170" y="210"/>
                      </a:lnTo>
                      <a:lnTo>
                        <a:pt x="170" y="210"/>
                      </a:lnTo>
                      <a:lnTo>
                        <a:pt x="170" y="210"/>
                      </a:lnTo>
                      <a:lnTo>
                        <a:pt x="169" y="210"/>
                      </a:lnTo>
                      <a:lnTo>
                        <a:pt x="169" y="210"/>
                      </a:lnTo>
                      <a:lnTo>
                        <a:pt x="168" y="210"/>
                      </a:lnTo>
                      <a:lnTo>
                        <a:pt x="167" y="210"/>
                      </a:lnTo>
                      <a:lnTo>
                        <a:pt x="168" y="210"/>
                      </a:lnTo>
                      <a:lnTo>
                        <a:pt x="167" y="210"/>
                      </a:lnTo>
                      <a:lnTo>
                        <a:pt x="167" y="209"/>
                      </a:lnTo>
                      <a:lnTo>
                        <a:pt x="167" y="209"/>
                      </a:lnTo>
                      <a:lnTo>
                        <a:pt x="166" y="209"/>
                      </a:lnTo>
                      <a:lnTo>
                        <a:pt x="166" y="210"/>
                      </a:lnTo>
                      <a:lnTo>
                        <a:pt x="166" y="210"/>
                      </a:lnTo>
                      <a:lnTo>
                        <a:pt x="166" y="210"/>
                      </a:lnTo>
                      <a:lnTo>
                        <a:pt x="166" y="209"/>
                      </a:lnTo>
                      <a:lnTo>
                        <a:pt x="167" y="209"/>
                      </a:lnTo>
                      <a:lnTo>
                        <a:pt x="167" y="209"/>
                      </a:lnTo>
                      <a:lnTo>
                        <a:pt x="168" y="209"/>
                      </a:lnTo>
                      <a:lnTo>
                        <a:pt x="168" y="210"/>
                      </a:lnTo>
                      <a:lnTo>
                        <a:pt x="168" y="209"/>
                      </a:lnTo>
                      <a:lnTo>
                        <a:pt x="169" y="210"/>
                      </a:lnTo>
                      <a:lnTo>
                        <a:pt x="169" y="209"/>
                      </a:lnTo>
                      <a:lnTo>
                        <a:pt x="169" y="208"/>
                      </a:lnTo>
                      <a:lnTo>
                        <a:pt x="169" y="209"/>
                      </a:lnTo>
                      <a:lnTo>
                        <a:pt x="169" y="208"/>
                      </a:lnTo>
                      <a:lnTo>
                        <a:pt x="169" y="208"/>
                      </a:lnTo>
                      <a:lnTo>
                        <a:pt x="169" y="208"/>
                      </a:lnTo>
                      <a:lnTo>
                        <a:pt x="169" y="208"/>
                      </a:lnTo>
                      <a:lnTo>
                        <a:pt x="169" y="208"/>
                      </a:lnTo>
                      <a:lnTo>
                        <a:pt x="169" y="209"/>
                      </a:lnTo>
                      <a:lnTo>
                        <a:pt x="169" y="208"/>
                      </a:lnTo>
                      <a:lnTo>
                        <a:pt x="169" y="209"/>
                      </a:lnTo>
                      <a:lnTo>
                        <a:pt x="168" y="209"/>
                      </a:lnTo>
                      <a:lnTo>
                        <a:pt x="168" y="210"/>
                      </a:lnTo>
                      <a:lnTo>
                        <a:pt x="168" y="209"/>
                      </a:lnTo>
                      <a:lnTo>
                        <a:pt x="167" y="209"/>
                      </a:lnTo>
                      <a:lnTo>
                        <a:pt x="167" y="209"/>
                      </a:lnTo>
                      <a:lnTo>
                        <a:pt x="166" y="209"/>
                      </a:lnTo>
                      <a:lnTo>
                        <a:pt x="166" y="210"/>
                      </a:lnTo>
                      <a:lnTo>
                        <a:pt x="166" y="210"/>
                      </a:lnTo>
                      <a:lnTo>
                        <a:pt x="166" y="209"/>
                      </a:lnTo>
                      <a:lnTo>
                        <a:pt x="166" y="209"/>
                      </a:lnTo>
                      <a:lnTo>
                        <a:pt x="167" y="209"/>
                      </a:lnTo>
                      <a:lnTo>
                        <a:pt x="167" y="208"/>
                      </a:lnTo>
                      <a:lnTo>
                        <a:pt x="166" y="208"/>
                      </a:lnTo>
                      <a:lnTo>
                        <a:pt x="165" y="208"/>
                      </a:lnTo>
                      <a:lnTo>
                        <a:pt x="165" y="208"/>
                      </a:lnTo>
                      <a:lnTo>
                        <a:pt x="165" y="208"/>
                      </a:lnTo>
                      <a:lnTo>
                        <a:pt x="165" y="208"/>
                      </a:lnTo>
                      <a:lnTo>
                        <a:pt x="165" y="208"/>
                      </a:lnTo>
                      <a:lnTo>
                        <a:pt x="165" y="208"/>
                      </a:lnTo>
                      <a:lnTo>
                        <a:pt x="165" y="207"/>
                      </a:lnTo>
                      <a:lnTo>
                        <a:pt x="166" y="207"/>
                      </a:lnTo>
                      <a:lnTo>
                        <a:pt x="165" y="207"/>
                      </a:lnTo>
                      <a:lnTo>
                        <a:pt x="165" y="208"/>
                      </a:lnTo>
                      <a:lnTo>
                        <a:pt x="165" y="208"/>
                      </a:lnTo>
                      <a:lnTo>
                        <a:pt x="165" y="208"/>
                      </a:lnTo>
                      <a:lnTo>
                        <a:pt x="165" y="209"/>
                      </a:lnTo>
                      <a:lnTo>
                        <a:pt x="165" y="208"/>
                      </a:lnTo>
                      <a:lnTo>
                        <a:pt x="164" y="208"/>
                      </a:lnTo>
                      <a:lnTo>
                        <a:pt x="163" y="208"/>
                      </a:lnTo>
                      <a:lnTo>
                        <a:pt x="163" y="208"/>
                      </a:lnTo>
                      <a:lnTo>
                        <a:pt x="163" y="207"/>
                      </a:lnTo>
                      <a:lnTo>
                        <a:pt x="163" y="207"/>
                      </a:lnTo>
                      <a:lnTo>
                        <a:pt x="163" y="207"/>
                      </a:lnTo>
                      <a:lnTo>
                        <a:pt x="163" y="207"/>
                      </a:lnTo>
                      <a:lnTo>
                        <a:pt x="163" y="207"/>
                      </a:lnTo>
                      <a:lnTo>
                        <a:pt x="163" y="207"/>
                      </a:lnTo>
                      <a:lnTo>
                        <a:pt x="163" y="207"/>
                      </a:lnTo>
                      <a:lnTo>
                        <a:pt x="163" y="207"/>
                      </a:lnTo>
                      <a:lnTo>
                        <a:pt x="163" y="207"/>
                      </a:lnTo>
                      <a:lnTo>
                        <a:pt x="163" y="206"/>
                      </a:lnTo>
                      <a:lnTo>
                        <a:pt x="163" y="206"/>
                      </a:lnTo>
                      <a:lnTo>
                        <a:pt x="163" y="205"/>
                      </a:lnTo>
                      <a:lnTo>
                        <a:pt x="164" y="205"/>
                      </a:lnTo>
                      <a:lnTo>
                        <a:pt x="164" y="206"/>
                      </a:lnTo>
                      <a:lnTo>
                        <a:pt x="164" y="205"/>
                      </a:lnTo>
                      <a:lnTo>
                        <a:pt x="163" y="205"/>
                      </a:lnTo>
                      <a:lnTo>
                        <a:pt x="164" y="205"/>
                      </a:lnTo>
                      <a:lnTo>
                        <a:pt x="163" y="205"/>
                      </a:lnTo>
                      <a:lnTo>
                        <a:pt x="163" y="205"/>
                      </a:lnTo>
                      <a:lnTo>
                        <a:pt x="163" y="204"/>
                      </a:lnTo>
                      <a:lnTo>
                        <a:pt x="163" y="204"/>
                      </a:lnTo>
                      <a:lnTo>
                        <a:pt x="163" y="203"/>
                      </a:lnTo>
                      <a:lnTo>
                        <a:pt x="163" y="203"/>
                      </a:lnTo>
                      <a:lnTo>
                        <a:pt x="163" y="203"/>
                      </a:lnTo>
                      <a:lnTo>
                        <a:pt x="163" y="203"/>
                      </a:lnTo>
                      <a:lnTo>
                        <a:pt x="164" y="203"/>
                      </a:lnTo>
                      <a:lnTo>
                        <a:pt x="164" y="202"/>
                      </a:lnTo>
                      <a:lnTo>
                        <a:pt x="165" y="202"/>
                      </a:lnTo>
                      <a:lnTo>
                        <a:pt x="165" y="201"/>
                      </a:lnTo>
                      <a:lnTo>
                        <a:pt x="166" y="201"/>
                      </a:lnTo>
                      <a:lnTo>
                        <a:pt x="166" y="201"/>
                      </a:lnTo>
                      <a:lnTo>
                        <a:pt x="167" y="201"/>
                      </a:lnTo>
                      <a:lnTo>
                        <a:pt x="167" y="201"/>
                      </a:lnTo>
                      <a:lnTo>
                        <a:pt x="168" y="201"/>
                      </a:lnTo>
                      <a:lnTo>
                        <a:pt x="169" y="201"/>
                      </a:lnTo>
                      <a:lnTo>
                        <a:pt x="168" y="200"/>
                      </a:lnTo>
                      <a:lnTo>
                        <a:pt x="167" y="200"/>
                      </a:lnTo>
                      <a:lnTo>
                        <a:pt x="168" y="200"/>
                      </a:lnTo>
                      <a:lnTo>
                        <a:pt x="167" y="200"/>
                      </a:lnTo>
                      <a:lnTo>
                        <a:pt x="167" y="199"/>
                      </a:lnTo>
                      <a:lnTo>
                        <a:pt x="167" y="199"/>
                      </a:lnTo>
                      <a:lnTo>
                        <a:pt x="166" y="199"/>
                      </a:lnTo>
                      <a:lnTo>
                        <a:pt x="167" y="199"/>
                      </a:lnTo>
                      <a:lnTo>
                        <a:pt x="166" y="198"/>
                      </a:lnTo>
                      <a:lnTo>
                        <a:pt x="167" y="198"/>
                      </a:lnTo>
                      <a:lnTo>
                        <a:pt x="167" y="197"/>
                      </a:lnTo>
                      <a:lnTo>
                        <a:pt x="166" y="197"/>
                      </a:lnTo>
                      <a:lnTo>
                        <a:pt x="166" y="197"/>
                      </a:lnTo>
                      <a:lnTo>
                        <a:pt x="165" y="197"/>
                      </a:lnTo>
                      <a:lnTo>
                        <a:pt x="165" y="197"/>
                      </a:lnTo>
                      <a:lnTo>
                        <a:pt x="166" y="197"/>
                      </a:lnTo>
                      <a:lnTo>
                        <a:pt x="165" y="196"/>
                      </a:lnTo>
                      <a:lnTo>
                        <a:pt x="165" y="196"/>
                      </a:lnTo>
                      <a:lnTo>
                        <a:pt x="165" y="196"/>
                      </a:lnTo>
                      <a:lnTo>
                        <a:pt x="165" y="196"/>
                      </a:lnTo>
                      <a:lnTo>
                        <a:pt x="165" y="195"/>
                      </a:lnTo>
                      <a:lnTo>
                        <a:pt x="165" y="194"/>
                      </a:lnTo>
                      <a:lnTo>
                        <a:pt x="165" y="194"/>
                      </a:lnTo>
                      <a:lnTo>
                        <a:pt x="165" y="193"/>
                      </a:lnTo>
                      <a:lnTo>
                        <a:pt x="165" y="193"/>
                      </a:lnTo>
                      <a:lnTo>
                        <a:pt x="165" y="193"/>
                      </a:lnTo>
                      <a:lnTo>
                        <a:pt x="165" y="192"/>
                      </a:lnTo>
                      <a:lnTo>
                        <a:pt x="165" y="192"/>
                      </a:lnTo>
                      <a:lnTo>
                        <a:pt x="164" y="192"/>
                      </a:lnTo>
                      <a:lnTo>
                        <a:pt x="163" y="192"/>
                      </a:lnTo>
                      <a:lnTo>
                        <a:pt x="163" y="192"/>
                      </a:lnTo>
                      <a:lnTo>
                        <a:pt x="162" y="192"/>
                      </a:lnTo>
                      <a:lnTo>
                        <a:pt x="162" y="192"/>
                      </a:lnTo>
                      <a:lnTo>
                        <a:pt x="162" y="191"/>
                      </a:lnTo>
                      <a:lnTo>
                        <a:pt x="161" y="191"/>
                      </a:lnTo>
                      <a:lnTo>
                        <a:pt x="161" y="190"/>
                      </a:lnTo>
                      <a:lnTo>
                        <a:pt x="160" y="190"/>
                      </a:lnTo>
                      <a:lnTo>
                        <a:pt x="160" y="190"/>
                      </a:lnTo>
                      <a:lnTo>
                        <a:pt x="159" y="190"/>
                      </a:lnTo>
                      <a:lnTo>
                        <a:pt x="159" y="190"/>
                      </a:lnTo>
                      <a:lnTo>
                        <a:pt x="158" y="190"/>
                      </a:lnTo>
                      <a:lnTo>
                        <a:pt x="159" y="190"/>
                      </a:lnTo>
                      <a:lnTo>
                        <a:pt x="159" y="190"/>
                      </a:lnTo>
                      <a:lnTo>
                        <a:pt x="159" y="189"/>
                      </a:lnTo>
                      <a:lnTo>
                        <a:pt x="159" y="190"/>
                      </a:lnTo>
                      <a:lnTo>
                        <a:pt x="159" y="190"/>
                      </a:lnTo>
                      <a:lnTo>
                        <a:pt x="158" y="190"/>
                      </a:lnTo>
                      <a:lnTo>
                        <a:pt x="158" y="190"/>
                      </a:lnTo>
                      <a:lnTo>
                        <a:pt x="158" y="190"/>
                      </a:lnTo>
                      <a:lnTo>
                        <a:pt x="158" y="189"/>
                      </a:lnTo>
                      <a:lnTo>
                        <a:pt x="159" y="189"/>
                      </a:lnTo>
                      <a:lnTo>
                        <a:pt x="159" y="189"/>
                      </a:lnTo>
                      <a:lnTo>
                        <a:pt x="158" y="189"/>
                      </a:lnTo>
                      <a:lnTo>
                        <a:pt x="159" y="189"/>
                      </a:lnTo>
                      <a:lnTo>
                        <a:pt x="158" y="188"/>
                      </a:lnTo>
                      <a:lnTo>
                        <a:pt x="159" y="188"/>
                      </a:lnTo>
                      <a:lnTo>
                        <a:pt x="159" y="188"/>
                      </a:lnTo>
                      <a:lnTo>
                        <a:pt x="159" y="189"/>
                      </a:lnTo>
                      <a:lnTo>
                        <a:pt x="159" y="188"/>
                      </a:lnTo>
                      <a:lnTo>
                        <a:pt x="159" y="189"/>
                      </a:lnTo>
                      <a:lnTo>
                        <a:pt x="159" y="188"/>
                      </a:lnTo>
                      <a:lnTo>
                        <a:pt x="159" y="188"/>
                      </a:lnTo>
                      <a:lnTo>
                        <a:pt x="158" y="188"/>
                      </a:lnTo>
                      <a:lnTo>
                        <a:pt x="159" y="189"/>
                      </a:lnTo>
                      <a:lnTo>
                        <a:pt x="158" y="189"/>
                      </a:lnTo>
                      <a:lnTo>
                        <a:pt x="158" y="189"/>
                      </a:lnTo>
                      <a:lnTo>
                        <a:pt x="158" y="188"/>
                      </a:lnTo>
                      <a:lnTo>
                        <a:pt x="158" y="189"/>
                      </a:lnTo>
                      <a:lnTo>
                        <a:pt x="158" y="188"/>
                      </a:lnTo>
                      <a:lnTo>
                        <a:pt x="159" y="188"/>
                      </a:lnTo>
                      <a:lnTo>
                        <a:pt x="159" y="188"/>
                      </a:lnTo>
                      <a:lnTo>
                        <a:pt x="159" y="188"/>
                      </a:lnTo>
                      <a:lnTo>
                        <a:pt x="158" y="188"/>
                      </a:lnTo>
                      <a:lnTo>
                        <a:pt x="158" y="189"/>
                      </a:lnTo>
                      <a:lnTo>
                        <a:pt x="158" y="188"/>
                      </a:lnTo>
                      <a:lnTo>
                        <a:pt x="158" y="189"/>
                      </a:lnTo>
                      <a:lnTo>
                        <a:pt x="158" y="189"/>
                      </a:lnTo>
                      <a:lnTo>
                        <a:pt x="158" y="189"/>
                      </a:lnTo>
                      <a:lnTo>
                        <a:pt x="157" y="188"/>
                      </a:lnTo>
                      <a:lnTo>
                        <a:pt x="158" y="188"/>
                      </a:lnTo>
                      <a:lnTo>
                        <a:pt x="157" y="188"/>
                      </a:lnTo>
                      <a:lnTo>
                        <a:pt x="157" y="189"/>
                      </a:lnTo>
                      <a:lnTo>
                        <a:pt x="158" y="189"/>
                      </a:lnTo>
                      <a:lnTo>
                        <a:pt x="157" y="189"/>
                      </a:lnTo>
                      <a:lnTo>
                        <a:pt x="156" y="189"/>
                      </a:lnTo>
                      <a:lnTo>
                        <a:pt x="156" y="188"/>
                      </a:lnTo>
                      <a:lnTo>
                        <a:pt x="156" y="188"/>
                      </a:lnTo>
                      <a:lnTo>
                        <a:pt x="156" y="189"/>
                      </a:lnTo>
                      <a:lnTo>
                        <a:pt x="156" y="189"/>
                      </a:lnTo>
                      <a:lnTo>
                        <a:pt x="156" y="189"/>
                      </a:lnTo>
                      <a:lnTo>
                        <a:pt x="155" y="189"/>
                      </a:lnTo>
                      <a:lnTo>
                        <a:pt x="155" y="189"/>
                      </a:lnTo>
                      <a:lnTo>
                        <a:pt x="155" y="189"/>
                      </a:lnTo>
                      <a:lnTo>
                        <a:pt x="155" y="189"/>
                      </a:lnTo>
                      <a:lnTo>
                        <a:pt x="155" y="188"/>
                      </a:lnTo>
                      <a:lnTo>
                        <a:pt x="155" y="189"/>
                      </a:lnTo>
                      <a:lnTo>
                        <a:pt x="155" y="188"/>
                      </a:lnTo>
                      <a:lnTo>
                        <a:pt x="155" y="188"/>
                      </a:lnTo>
                      <a:lnTo>
                        <a:pt x="155" y="188"/>
                      </a:lnTo>
                      <a:lnTo>
                        <a:pt x="155" y="188"/>
                      </a:lnTo>
                      <a:lnTo>
                        <a:pt x="155" y="188"/>
                      </a:lnTo>
                      <a:lnTo>
                        <a:pt x="155" y="187"/>
                      </a:lnTo>
                      <a:lnTo>
                        <a:pt x="155" y="188"/>
                      </a:lnTo>
                      <a:lnTo>
                        <a:pt x="155" y="188"/>
                      </a:lnTo>
                      <a:lnTo>
                        <a:pt x="155" y="188"/>
                      </a:lnTo>
                      <a:lnTo>
                        <a:pt x="155" y="188"/>
                      </a:lnTo>
                      <a:lnTo>
                        <a:pt x="155" y="188"/>
                      </a:lnTo>
                      <a:lnTo>
                        <a:pt x="155" y="189"/>
                      </a:lnTo>
                      <a:lnTo>
                        <a:pt x="154" y="188"/>
                      </a:lnTo>
                      <a:lnTo>
                        <a:pt x="155" y="188"/>
                      </a:lnTo>
                      <a:lnTo>
                        <a:pt x="154" y="188"/>
                      </a:lnTo>
                      <a:lnTo>
                        <a:pt x="154" y="188"/>
                      </a:lnTo>
                      <a:lnTo>
                        <a:pt x="154" y="188"/>
                      </a:lnTo>
                      <a:lnTo>
                        <a:pt x="154" y="188"/>
                      </a:lnTo>
                      <a:lnTo>
                        <a:pt x="154" y="188"/>
                      </a:lnTo>
                      <a:lnTo>
                        <a:pt x="154" y="188"/>
                      </a:lnTo>
                      <a:lnTo>
                        <a:pt x="154" y="188"/>
                      </a:lnTo>
                      <a:lnTo>
                        <a:pt x="154" y="188"/>
                      </a:lnTo>
                      <a:lnTo>
                        <a:pt x="154" y="188"/>
                      </a:lnTo>
                      <a:lnTo>
                        <a:pt x="153" y="188"/>
                      </a:lnTo>
                      <a:lnTo>
                        <a:pt x="154" y="188"/>
                      </a:lnTo>
                      <a:lnTo>
                        <a:pt x="153" y="188"/>
                      </a:lnTo>
                      <a:lnTo>
                        <a:pt x="152" y="187"/>
                      </a:lnTo>
                      <a:lnTo>
                        <a:pt x="151" y="187"/>
                      </a:lnTo>
                      <a:lnTo>
                        <a:pt x="151" y="187"/>
                      </a:lnTo>
                      <a:lnTo>
                        <a:pt x="150" y="187"/>
                      </a:lnTo>
                      <a:lnTo>
                        <a:pt x="151" y="187"/>
                      </a:lnTo>
                      <a:lnTo>
                        <a:pt x="150" y="187"/>
                      </a:lnTo>
                      <a:lnTo>
                        <a:pt x="150" y="187"/>
                      </a:lnTo>
                      <a:lnTo>
                        <a:pt x="149" y="187"/>
                      </a:lnTo>
                      <a:lnTo>
                        <a:pt x="148" y="187"/>
                      </a:lnTo>
                      <a:lnTo>
                        <a:pt x="148" y="187"/>
                      </a:lnTo>
                      <a:lnTo>
                        <a:pt x="147" y="187"/>
                      </a:lnTo>
                      <a:lnTo>
                        <a:pt x="147" y="187"/>
                      </a:lnTo>
                      <a:lnTo>
                        <a:pt x="147" y="187"/>
                      </a:lnTo>
                      <a:lnTo>
                        <a:pt x="147" y="187"/>
                      </a:lnTo>
                      <a:lnTo>
                        <a:pt x="146" y="187"/>
                      </a:lnTo>
                      <a:lnTo>
                        <a:pt x="146" y="188"/>
                      </a:lnTo>
                      <a:lnTo>
                        <a:pt x="145" y="188"/>
                      </a:lnTo>
                      <a:lnTo>
                        <a:pt x="145" y="188"/>
                      </a:lnTo>
                      <a:lnTo>
                        <a:pt x="145" y="188"/>
                      </a:lnTo>
                      <a:lnTo>
                        <a:pt x="144" y="188"/>
                      </a:lnTo>
                      <a:lnTo>
                        <a:pt x="144" y="189"/>
                      </a:lnTo>
                      <a:lnTo>
                        <a:pt x="144" y="189"/>
                      </a:lnTo>
                      <a:lnTo>
                        <a:pt x="144" y="189"/>
                      </a:lnTo>
                      <a:lnTo>
                        <a:pt x="144" y="189"/>
                      </a:lnTo>
                      <a:lnTo>
                        <a:pt x="143" y="189"/>
                      </a:lnTo>
                      <a:lnTo>
                        <a:pt x="143" y="189"/>
                      </a:lnTo>
                      <a:lnTo>
                        <a:pt x="143" y="189"/>
                      </a:lnTo>
                      <a:lnTo>
                        <a:pt x="142" y="189"/>
                      </a:lnTo>
                      <a:lnTo>
                        <a:pt x="143" y="189"/>
                      </a:lnTo>
                      <a:lnTo>
                        <a:pt x="142" y="189"/>
                      </a:lnTo>
                      <a:lnTo>
                        <a:pt x="143" y="189"/>
                      </a:lnTo>
                      <a:lnTo>
                        <a:pt x="142" y="189"/>
                      </a:lnTo>
                      <a:lnTo>
                        <a:pt x="141" y="189"/>
                      </a:lnTo>
                      <a:lnTo>
                        <a:pt x="141" y="189"/>
                      </a:lnTo>
                      <a:lnTo>
                        <a:pt x="141" y="189"/>
                      </a:lnTo>
                      <a:lnTo>
                        <a:pt x="141" y="189"/>
                      </a:lnTo>
                      <a:lnTo>
                        <a:pt x="141" y="188"/>
                      </a:lnTo>
                      <a:lnTo>
                        <a:pt x="142" y="188"/>
                      </a:lnTo>
                      <a:lnTo>
                        <a:pt x="141" y="188"/>
                      </a:lnTo>
                      <a:lnTo>
                        <a:pt x="142" y="188"/>
                      </a:lnTo>
                      <a:lnTo>
                        <a:pt x="141" y="188"/>
                      </a:lnTo>
                      <a:lnTo>
                        <a:pt x="141" y="189"/>
                      </a:lnTo>
                      <a:lnTo>
                        <a:pt x="141" y="189"/>
                      </a:lnTo>
                      <a:lnTo>
                        <a:pt x="141" y="189"/>
                      </a:lnTo>
                      <a:lnTo>
                        <a:pt x="140" y="189"/>
                      </a:lnTo>
                      <a:lnTo>
                        <a:pt x="140" y="189"/>
                      </a:lnTo>
                      <a:lnTo>
                        <a:pt x="139" y="189"/>
                      </a:lnTo>
                      <a:lnTo>
                        <a:pt x="139" y="189"/>
                      </a:lnTo>
                      <a:lnTo>
                        <a:pt x="138" y="189"/>
                      </a:lnTo>
                      <a:lnTo>
                        <a:pt x="137" y="189"/>
                      </a:lnTo>
                      <a:lnTo>
                        <a:pt x="137" y="189"/>
                      </a:lnTo>
                      <a:lnTo>
                        <a:pt x="136" y="189"/>
                      </a:lnTo>
                      <a:lnTo>
                        <a:pt x="136" y="189"/>
                      </a:lnTo>
                      <a:lnTo>
                        <a:pt x="136" y="189"/>
                      </a:lnTo>
                      <a:lnTo>
                        <a:pt x="135" y="189"/>
                      </a:lnTo>
                      <a:lnTo>
                        <a:pt x="134" y="189"/>
                      </a:lnTo>
                      <a:lnTo>
                        <a:pt x="134" y="189"/>
                      </a:lnTo>
                      <a:lnTo>
                        <a:pt x="134" y="189"/>
                      </a:lnTo>
                      <a:lnTo>
                        <a:pt x="133" y="188"/>
                      </a:lnTo>
                      <a:lnTo>
                        <a:pt x="133" y="188"/>
                      </a:lnTo>
                      <a:lnTo>
                        <a:pt x="133" y="187"/>
                      </a:lnTo>
                      <a:lnTo>
                        <a:pt x="134" y="186"/>
                      </a:lnTo>
                      <a:lnTo>
                        <a:pt x="134" y="186"/>
                      </a:lnTo>
                      <a:lnTo>
                        <a:pt x="134" y="185"/>
                      </a:lnTo>
                      <a:lnTo>
                        <a:pt x="134" y="185"/>
                      </a:lnTo>
                      <a:lnTo>
                        <a:pt x="134" y="184"/>
                      </a:lnTo>
                      <a:lnTo>
                        <a:pt x="134" y="184"/>
                      </a:lnTo>
                      <a:lnTo>
                        <a:pt x="134" y="184"/>
                      </a:lnTo>
                      <a:lnTo>
                        <a:pt x="134" y="183"/>
                      </a:lnTo>
                      <a:lnTo>
                        <a:pt x="133" y="182"/>
                      </a:lnTo>
                      <a:lnTo>
                        <a:pt x="133" y="182"/>
                      </a:lnTo>
                      <a:lnTo>
                        <a:pt x="132" y="182"/>
                      </a:lnTo>
                      <a:lnTo>
                        <a:pt x="132" y="181"/>
                      </a:lnTo>
                      <a:lnTo>
                        <a:pt x="132" y="181"/>
                      </a:lnTo>
                      <a:lnTo>
                        <a:pt x="132" y="180"/>
                      </a:lnTo>
                      <a:lnTo>
                        <a:pt x="132" y="179"/>
                      </a:lnTo>
                      <a:lnTo>
                        <a:pt x="132" y="179"/>
                      </a:lnTo>
                      <a:lnTo>
                        <a:pt x="132" y="179"/>
                      </a:lnTo>
                      <a:lnTo>
                        <a:pt x="132" y="178"/>
                      </a:lnTo>
                      <a:lnTo>
                        <a:pt x="133" y="178"/>
                      </a:lnTo>
                      <a:lnTo>
                        <a:pt x="133" y="178"/>
                      </a:lnTo>
                      <a:lnTo>
                        <a:pt x="133" y="177"/>
                      </a:lnTo>
                      <a:lnTo>
                        <a:pt x="133" y="177"/>
                      </a:lnTo>
                      <a:lnTo>
                        <a:pt x="133" y="176"/>
                      </a:lnTo>
                      <a:lnTo>
                        <a:pt x="133" y="176"/>
                      </a:lnTo>
                      <a:lnTo>
                        <a:pt x="133" y="176"/>
                      </a:lnTo>
                      <a:lnTo>
                        <a:pt x="133" y="176"/>
                      </a:lnTo>
                      <a:lnTo>
                        <a:pt x="133" y="175"/>
                      </a:lnTo>
                      <a:lnTo>
                        <a:pt x="133" y="176"/>
                      </a:lnTo>
                      <a:lnTo>
                        <a:pt x="133" y="175"/>
                      </a:lnTo>
                      <a:lnTo>
                        <a:pt x="133" y="175"/>
                      </a:lnTo>
                      <a:lnTo>
                        <a:pt x="133" y="174"/>
                      </a:lnTo>
                      <a:lnTo>
                        <a:pt x="133" y="174"/>
                      </a:lnTo>
                      <a:lnTo>
                        <a:pt x="133" y="173"/>
                      </a:lnTo>
                      <a:lnTo>
                        <a:pt x="134" y="173"/>
                      </a:lnTo>
                      <a:lnTo>
                        <a:pt x="135" y="172"/>
                      </a:lnTo>
                      <a:lnTo>
                        <a:pt x="135" y="171"/>
                      </a:lnTo>
                      <a:lnTo>
                        <a:pt x="136" y="171"/>
                      </a:lnTo>
                      <a:lnTo>
                        <a:pt x="136" y="171"/>
                      </a:lnTo>
                      <a:lnTo>
                        <a:pt x="136" y="171"/>
                      </a:lnTo>
                      <a:lnTo>
                        <a:pt x="137" y="171"/>
                      </a:lnTo>
                      <a:lnTo>
                        <a:pt x="137" y="171"/>
                      </a:lnTo>
                      <a:lnTo>
                        <a:pt x="137" y="171"/>
                      </a:lnTo>
                      <a:lnTo>
                        <a:pt x="136" y="171"/>
                      </a:lnTo>
                      <a:lnTo>
                        <a:pt x="136" y="170"/>
                      </a:lnTo>
                      <a:lnTo>
                        <a:pt x="136" y="171"/>
                      </a:lnTo>
                      <a:lnTo>
                        <a:pt x="136" y="170"/>
                      </a:lnTo>
                      <a:lnTo>
                        <a:pt x="137" y="170"/>
                      </a:lnTo>
                      <a:lnTo>
                        <a:pt x="137" y="170"/>
                      </a:lnTo>
                      <a:lnTo>
                        <a:pt x="137" y="170"/>
                      </a:lnTo>
                      <a:lnTo>
                        <a:pt x="137" y="169"/>
                      </a:lnTo>
                      <a:lnTo>
                        <a:pt x="137" y="168"/>
                      </a:lnTo>
                      <a:lnTo>
                        <a:pt x="137" y="168"/>
                      </a:lnTo>
                      <a:lnTo>
                        <a:pt x="137" y="167"/>
                      </a:lnTo>
                      <a:lnTo>
                        <a:pt x="137" y="167"/>
                      </a:lnTo>
                      <a:lnTo>
                        <a:pt x="137" y="166"/>
                      </a:lnTo>
                      <a:lnTo>
                        <a:pt x="137" y="166"/>
                      </a:lnTo>
                      <a:lnTo>
                        <a:pt x="137" y="166"/>
                      </a:lnTo>
                      <a:lnTo>
                        <a:pt x="136" y="165"/>
                      </a:lnTo>
                      <a:lnTo>
                        <a:pt x="135" y="164"/>
                      </a:lnTo>
                      <a:lnTo>
                        <a:pt x="134" y="164"/>
                      </a:lnTo>
                      <a:lnTo>
                        <a:pt x="134" y="163"/>
                      </a:lnTo>
                      <a:lnTo>
                        <a:pt x="134" y="163"/>
                      </a:lnTo>
                      <a:lnTo>
                        <a:pt x="134" y="163"/>
                      </a:lnTo>
                      <a:lnTo>
                        <a:pt x="134" y="163"/>
                      </a:lnTo>
                      <a:lnTo>
                        <a:pt x="134" y="162"/>
                      </a:lnTo>
                      <a:lnTo>
                        <a:pt x="134" y="162"/>
                      </a:lnTo>
                      <a:lnTo>
                        <a:pt x="134" y="162"/>
                      </a:lnTo>
                      <a:lnTo>
                        <a:pt x="133" y="161"/>
                      </a:lnTo>
                      <a:lnTo>
                        <a:pt x="133" y="161"/>
                      </a:lnTo>
                      <a:lnTo>
                        <a:pt x="133" y="160"/>
                      </a:lnTo>
                      <a:lnTo>
                        <a:pt x="132" y="160"/>
                      </a:lnTo>
                      <a:lnTo>
                        <a:pt x="133" y="160"/>
                      </a:lnTo>
                      <a:lnTo>
                        <a:pt x="132" y="160"/>
                      </a:lnTo>
                      <a:lnTo>
                        <a:pt x="132" y="160"/>
                      </a:lnTo>
                      <a:lnTo>
                        <a:pt x="132" y="159"/>
                      </a:lnTo>
                      <a:lnTo>
                        <a:pt x="132" y="159"/>
                      </a:lnTo>
                      <a:lnTo>
                        <a:pt x="132" y="159"/>
                      </a:lnTo>
                      <a:lnTo>
                        <a:pt x="132" y="158"/>
                      </a:lnTo>
                      <a:lnTo>
                        <a:pt x="131" y="158"/>
                      </a:lnTo>
                      <a:lnTo>
                        <a:pt x="131" y="157"/>
                      </a:lnTo>
                      <a:lnTo>
                        <a:pt x="130" y="157"/>
                      </a:lnTo>
                      <a:lnTo>
                        <a:pt x="130" y="157"/>
                      </a:lnTo>
                      <a:lnTo>
                        <a:pt x="129" y="156"/>
                      </a:lnTo>
                      <a:lnTo>
                        <a:pt x="129" y="156"/>
                      </a:lnTo>
                      <a:lnTo>
                        <a:pt x="128" y="156"/>
                      </a:lnTo>
                      <a:lnTo>
                        <a:pt x="128" y="156"/>
                      </a:lnTo>
                      <a:lnTo>
                        <a:pt x="127" y="156"/>
                      </a:lnTo>
                      <a:lnTo>
                        <a:pt x="127" y="155"/>
                      </a:lnTo>
                      <a:lnTo>
                        <a:pt x="128" y="155"/>
                      </a:lnTo>
                      <a:lnTo>
                        <a:pt x="128" y="155"/>
                      </a:lnTo>
                      <a:lnTo>
                        <a:pt x="128" y="155"/>
                      </a:lnTo>
                      <a:lnTo>
                        <a:pt x="128" y="155"/>
                      </a:lnTo>
                      <a:lnTo>
                        <a:pt x="128" y="155"/>
                      </a:lnTo>
                      <a:lnTo>
                        <a:pt x="127" y="155"/>
                      </a:lnTo>
                      <a:lnTo>
                        <a:pt x="128" y="155"/>
                      </a:lnTo>
                      <a:lnTo>
                        <a:pt x="128" y="155"/>
                      </a:lnTo>
                      <a:lnTo>
                        <a:pt x="128" y="154"/>
                      </a:lnTo>
                      <a:lnTo>
                        <a:pt x="128" y="155"/>
                      </a:lnTo>
                      <a:lnTo>
                        <a:pt x="129" y="155"/>
                      </a:lnTo>
                      <a:lnTo>
                        <a:pt x="128" y="155"/>
                      </a:lnTo>
                      <a:lnTo>
                        <a:pt x="128" y="154"/>
                      </a:lnTo>
                      <a:lnTo>
                        <a:pt x="129" y="154"/>
                      </a:lnTo>
                      <a:lnTo>
                        <a:pt x="129" y="153"/>
                      </a:lnTo>
                      <a:lnTo>
                        <a:pt x="130" y="153"/>
                      </a:lnTo>
                      <a:lnTo>
                        <a:pt x="130" y="153"/>
                      </a:lnTo>
                      <a:lnTo>
                        <a:pt x="130" y="152"/>
                      </a:lnTo>
                      <a:lnTo>
                        <a:pt x="131" y="152"/>
                      </a:lnTo>
                      <a:lnTo>
                        <a:pt x="131" y="152"/>
                      </a:lnTo>
                      <a:lnTo>
                        <a:pt x="131" y="151"/>
                      </a:lnTo>
                      <a:lnTo>
                        <a:pt x="131" y="151"/>
                      </a:lnTo>
                      <a:lnTo>
                        <a:pt x="131" y="150"/>
                      </a:lnTo>
                      <a:lnTo>
                        <a:pt x="130" y="150"/>
                      </a:lnTo>
                      <a:lnTo>
                        <a:pt x="131" y="150"/>
                      </a:lnTo>
                      <a:lnTo>
                        <a:pt x="130" y="150"/>
                      </a:lnTo>
                      <a:lnTo>
                        <a:pt x="131" y="150"/>
                      </a:lnTo>
                      <a:lnTo>
                        <a:pt x="131" y="149"/>
                      </a:lnTo>
                      <a:lnTo>
                        <a:pt x="132" y="149"/>
                      </a:lnTo>
                      <a:lnTo>
                        <a:pt x="132" y="149"/>
                      </a:lnTo>
                      <a:lnTo>
                        <a:pt x="133" y="149"/>
                      </a:lnTo>
                      <a:lnTo>
                        <a:pt x="134" y="148"/>
                      </a:lnTo>
                      <a:lnTo>
                        <a:pt x="135" y="148"/>
                      </a:lnTo>
                      <a:lnTo>
                        <a:pt x="136" y="148"/>
                      </a:lnTo>
                      <a:lnTo>
                        <a:pt x="137" y="148"/>
                      </a:lnTo>
                      <a:lnTo>
                        <a:pt x="137" y="148"/>
                      </a:lnTo>
                      <a:lnTo>
                        <a:pt x="138" y="147"/>
                      </a:lnTo>
                      <a:lnTo>
                        <a:pt x="138" y="148"/>
                      </a:lnTo>
                      <a:lnTo>
                        <a:pt x="137" y="148"/>
                      </a:lnTo>
                      <a:lnTo>
                        <a:pt x="138" y="148"/>
                      </a:lnTo>
                      <a:lnTo>
                        <a:pt x="138" y="147"/>
                      </a:lnTo>
                      <a:lnTo>
                        <a:pt x="139" y="147"/>
                      </a:lnTo>
                      <a:lnTo>
                        <a:pt x="139" y="146"/>
                      </a:lnTo>
                      <a:lnTo>
                        <a:pt x="140" y="146"/>
                      </a:lnTo>
                      <a:lnTo>
                        <a:pt x="140" y="146"/>
                      </a:lnTo>
                      <a:lnTo>
                        <a:pt x="141" y="146"/>
                      </a:lnTo>
                      <a:lnTo>
                        <a:pt x="141" y="146"/>
                      </a:lnTo>
                      <a:lnTo>
                        <a:pt x="142" y="145"/>
                      </a:lnTo>
                      <a:lnTo>
                        <a:pt x="143" y="145"/>
                      </a:lnTo>
                      <a:lnTo>
                        <a:pt x="143" y="144"/>
                      </a:lnTo>
                      <a:lnTo>
                        <a:pt x="143" y="144"/>
                      </a:lnTo>
                      <a:lnTo>
                        <a:pt x="144" y="144"/>
                      </a:lnTo>
                      <a:lnTo>
                        <a:pt x="144" y="143"/>
                      </a:lnTo>
                      <a:lnTo>
                        <a:pt x="144" y="142"/>
                      </a:lnTo>
                      <a:lnTo>
                        <a:pt x="144" y="141"/>
                      </a:lnTo>
                      <a:lnTo>
                        <a:pt x="144" y="141"/>
                      </a:lnTo>
                      <a:lnTo>
                        <a:pt x="144" y="140"/>
                      </a:lnTo>
                      <a:lnTo>
                        <a:pt x="144" y="140"/>
                      </a:lnTo>
                      <a:lnTo>
                        <a:pt x="143" y="139"/>
                      </a:lnTo>
                      <a:lnTo>
                        <a:pt x="143" y="138"/>
                      </a:lnTo>
                      <a:lnTo>
                        <a:pt x="143" y="138"/>
                      </a:lnTo>
                      <a:lnTo>
                        <a:pt x="143" y="137"/>
                      </a:lnTo>
                      <a:lnTo>
                        <a:pt x="143" y="137"/>
                      </a:lnTo>
                      <a:lnTo>
                        <a:pt x="143" y="136"/>
                      </a:lnTo>
                      <a:lnTo>
                        <a:pt x="142" y="135"/>
                      </a:lnTo>
                      <a:lnTo>
                        <a:pt x="141" y="135"/>
                      </a:lnTo>
                      <a:lnTo>
                        <a:pt x="141" y="134"/>
                      </a:lnTo>
                      <a:lnTo>
                        <a:pt x="142" y="134"/>
                      </a:lnTo>
                      <a:lnTo>
                        <a:pt x="142" y="134"/>
                      </a:lnTo>
                      <a:lnTo>
                        <a:pt x="143" y="134"/>
                      </a:lnTo>
                      <a:lnTo>
                        <a:pt x="143" y="134"/>
                      </a:lnTo>
                      <a:lnTo>
                        <a:pt x="144" y="134"/>
                      </a:lnTo>
                      <a:lnTo>
                        <a:pt x="144" y="134"/>
                      </a:lnTo>
                      <a:lnTo>
                        <a:pt x="144" y="134"/>
                      </a:lnTo>
                      <a:lnTo>
                        <a:pt x="145" y="134"/>
                      </a:lnTo>
                      <a:lnTo>
                        <a:pt x="145" y="135"/>
                      </a:lnTo>
                      <a:lnTo>
                        <a:pt x="145" y="135"/>
                      </a:lnTo>
                      <a:lnTo>
                        <a:pt x="146" y="135"/>
                      </a:lnTo>
                      <a:lnTo>
                        <a:pt x="146" y="135"/>
                      </a:lnTo>
                      <a:lnTo>
                        <a:pt x="147" y="135"/>
                      </a:lnTo>
                      <a:lnTo>
                        <a:pt x="146" y="135"/>
                      </a:lnTo>
                      <a:lnTo>
                        <a:pt x="147" y="135"/>
                      </a:lnTo>
                      <a:lnTo>
                        <a:pt x="147" y="135"/>
                      </a:lnTo>
                      <a:lnTo>
                        <a:pt x="147" y="136"/>
                      </a:lnTo>
                      <a:lnTo>
                        <a:pt x="147" y="136"/>
                      </a:lnTo>
                      <a:lnTo>
                        <a:pt x="146" y="136"/>
                      </a:lnTo>
                      <a:lnTo>
                        <a:pt x="145" y="136"/>
                      </a:lnTo>
                      <a:lnTo>
                        <a:pt x="145" y="137"/>
                      </a:lnTo>
                      <a:lnTo>
                        <a:pt x="146" y="137"/>
                      </a:lnTo>
                      <a:lnTo>
                        <a:pt x="145" y="137"/>
                      </a:lnTo>
                      <a:lnTo>
                        <a:pt x="146" y="137"/>
                      </a:lnTo>
                      <a:lnTo>
                        <a:pt x="147" y="137"/>
                      </a:lnTo>
                      <a:lnTo>
                        <a:pt x="147" y="138"/>
                      </a:lnTo>
                      <a:lnTo>
                        <a:pt x="147" y="138"/>
                      </a:lnTo>
                      <a:lnTo>
                        <a:pt x="148" y="138"/>
                      </a:lnTo>
                      <a:lnTo>
                        <a:pt x="148" y="138"/>
                      </a:lnTo>
                      <a:lnTo>
                        <a:pt x="148" y="138"/>
                      </a:lnTo>
                      <a:lnTo>
                        <a:pt x="148" y="139"/>
                      </a:lnTo>
                      <a:lnTo>
                        <a:pt x="148" y="139"/>
                      </a:lnTo>
                      <a:lnTo>
                        <a:pt x="147" y="139"/>
                      </a:lnTo>
                      <a:lnTo>
                        <a:pt x="147" y="140"/>
                      </a:lnTo>
                      <a:lnTo>
                        <a:pt x="147" y="140"/>
                      </a:lnTo>
                      <a:lnTo>
                        <a:pt x="148" y="140"/>
                      </a:lnTo>
                      <a:lnTo>
                        <a:pt x="148" y="141"/>
                      </a:lnTo>
                      <a:lnTo>
                        <a:pt x="148" y="141"/>
                      </a:lnTo>
                      <a:lnTo>
                        <a:pt x="148" y="142"/>
                      </a:lnTo>
                      <a:lnTo>
                        <a:pt x="148" y="142"/>
                      </a:lnTo>
                      <a:lnTo>
                        <a:pt x="148" y="142"/>
                      </a:lnTo>
                      <a:lnTo>
                        <a:pt x="148" y="142"/>
                      </a:lnTo>
                      <a:lnTo>
                        <a:pt x="148" y="142"/>
                      </a:lnTo>
                      <a:lnTo>
                        <a:pt x="148" y="142"/>
                      </a:lnTo>
                      <a:lnTo>
                        <a:pt x="149" y="142"/>
                      </a:lnTo>
                      <a:lnTo>
                        <a:pt x="149" y="143"/>
                      </a:lnTo>
                      <a:lnTo>
                        <a:pt x="148" y="143"/>
                      </a:lnTo>
                      <a:lnTo>
                        <a:pt x="148" y="143"/>
                      </a:lnTo>
                      <a:lnTo>
                        <a:pt x="148" y="144"/>
                      </a:lnTo>
                      <a:lnTo>
                        <a:pt x="147" y="144"/>
                      </a:lnTo>
                      <a:lnTo>
                        <a:pt x="147" y="144"/>
                      </a:lnTo>
                      <a:lnTo>
                        <a:pt x="147" y="145"/>
                      </a:lnTo>
                      <a:lnTo>
                        <a:pt x="147" y="145"/>
                      </a:lnTo>
                      <a:lnTo>
                        <a:pt x="147" y="145"/>
                      </a:lnTo>
                      <a:lnTo>
                        <a:pt x="147" y="146"/>
                      </a:lnTo>
                      <a:lnTo>
                        <a:pt x="147" y="146"/>
                      </a:lnTo>
                      <a:lnTo>
                        <a:pt x="146" y="146"/>
                      </a:lnTo>
                      <a:lnTo>
                        <a:pt x="147" y="146"/>
                      </a:lnTo>
                      <a:lnTo>
                        <a:pt x="146" y="146"/>
                      </a:lnTo>
                      <a:lnTo>
                        <a:pt x="146" y="147"/>
                      </a:lnTo>
                      <a:lnTo>
                        <a:pt x="146" y="146"/>
                      </a:lnTo>
                      <a:lnTo>
                        <a:pt x="145" y="146"/>
                      </a:lnTo>
                      <a:lnTo>
                        <a:pt x="145" y="147"/>
                      </a:lnTo>
                      <a:lnTo>
                        <a:pt x="145" y="146"/>
                      </a:lnTo>
                      <a:lnTo>
                        <a:pt x="146" y="146"/>
                      </a:lnTo>
                      <a:lnTo>
                        <a:pt x="146" y="147"/>
                      </a:lnTo>
                      <a:lnTo>
                        <a:pt x="146" y="146"/>
                      </a:lnTo>
                      <a:lnTo>
                        <a:pt x="146" y="147"/>
                      </a:lnTo>
                      <a:lnTo>
                        <a:pt x="147" y="146"/>
                      </a:lnTo>
                      <a:lnTo>
                        <a:pt x="147" y="147"/>
                      </a:lnTo>
                      <a:lnTo>
                        <a:pt x="146" y="147"/>
                      </a:lnTo>
                      <a:lnTo>
                        <a:pt x="146" y="148"/>
                      </a:lnTo>
                      <a:lnTo>
                        <a:pt x="145" y="148"/>
                      </a:lnTo>
                      <a:lnTo>
                        <a:pt x="145" y="147"/>
                      </a:lnTo>
                      <a:lnTo>
                        <a:pt x="145" y="148"/>
                      </a:lnTo>
                      <a:lnTo>
                        <a:pt x="145" y="148"/>
                      </a:lnTo>
                      <a:lnTo>
                        <a:pt x="145" y="148"/>
                      </a:lnTo>
                      <a:lnTo>
                        <a:pt x="145" y="148"/>
                      </a:lnTo>
                      <a:lnTo>
                        <a:pt x="145" y="148"/>
                      </a:lnTo>
                      <a:lnTo>
                        <a:pt x="145" y="148"/>
                      </a:lnTo>
                      <a:lnTo>
                        <a:pt x="145" y="148"/>
                      </a:lnTo>
                      <a:lnTo>
                        <a:pt x="145" y="149"/>
                      </a:lnTo>
                      <a:lnTo>
                        <a:pt x="145" y="149"/>
                      </a:lnTo>
                      <a:lnTo>
                        <a:pt x="145" y="150"/>
                      </a:lnTo>
                      <a:lnTo>
                        <a:pt x="145" y="151"/>
                      </a:lnTo>
                      <a:lnTo>
                        <a:pt x="145" y="151"/>
                      </a:lnTo>
                      <a:lnTo>
                        <a:pt x="145" y="151"/>
                      </a:lnTo>
                      <a:lnTo>
                        <a:pt x="146" y="151"/>
                      </a:lnTo>
                      <a:lnTo>
                        <a:pt x="146" y="152"/>
                      </a:lnTo>
                      <a:lnTo>
                        <a:pt x="147" y="152"/>
                      </a:lnTo>
                      <a:lnTo>
                        <a:pt x="146" y="152"/>
                      </a:lnTo>
                      <a:lnTo>
                        <a:pt x="145" y="152"/>
                      </a:lnTo>
                      <a:lnTo>
                        <a:pt x="145" y="152"/>
                      </a:lnTo>
                      <a:lnTo>
                        <a:pt x="145" y="152"/>
                      </a:lnTo>
                      <a:lnTo>
                        <a:pt x="145" y="151"/>
                      </a:lnTo>
                      <a:lnTo>
                        <a:pt x="145" y="152"/>
                      </a:lnTo>
                      <a:lnTo>
                        <a:pt x="145" y="151"/>
                      </a:lnTo>
                      <a:lnTo>
                        <a:pt x="145" y="152"/>
                      </a:lnTo>
                      <a:lnTo>
                        <a:pt x="145" y="152"/>
                      </a:lnTo>
                      <a:lnTo>
                        <a:pt x="146" y="152"/>
                      </a:lnTo>
                      <a:lnTo>
                        <a:pt x="147" y="152"/>
                      </a:lnTo>
                      <a:lnTo>
                        <a:pt x="146" y="152"/>
                      </a:lnTo>
                      <a:lnTo>
                        <a:pt x="147" y="152"/>
                      </a:lnTo>
                      <a:lnTo>
                        <a:pt x="147" y="152"/>
                      </a:lnTo>
                      <a:lnTo>
                        <a:pt x="147" y="152"/>
                      </a:lnTo>
                      <a:lnTo>
                        <a:pt x="147" y="152"/>
                      </a:lnTo>
                      <a:lnTo>
                        <a:pt x="147" y="153"/>
                      </a:lnTo>
                      <a:lnTo>
                        <a:pt x="147" y="153"/>
                      </a:lnTo>
                      <a:lnTo>
                        <a:pt x="147" y="153"/>
                      </a:lnTo>
                      <a:lnTo>
                        <a:pt x="147" y="153"/>
                      </a:lnTo>
                      <a:lnTo>
                        <a:pt x="147" y="153"/>
                      </a:lnTo>
                      <a:lnTo>
                        <a:pt x="147" y="154"/>
                      </a:lnTo>
                      <a:lnTo>
                        <a:pt x="147" y="153"/>
                      </a:lnTo>
                      <a:lnTo>
                        <a:pt x="147" y="153"/>
                      </a:lnTo>
                      <a:lnTo>
                        <a:pt x="147" y="154"/>
                      </a:lnTo>
                      <a:lnTo>
                        <a:pt x="147" y="154"/>
                      </a:lnTo>
                      <a:lnTo>
                        <a:pt x="147" y="155"/>
                      </a:lnTo>
                      <a:lnTo>
                        <a:pt x="147" y="155"/>
                      </a:lnTo>
                      <a:lnTo>
                        <a:pt x="146" y="155"/>
                      </a:lnTo>
                      <a:lnTo>
                        <a:pt x="146" y="155"/>
                      </a:lnTo>
                      <a:lnTo>
                        <a:pt x="145" y="155"/>
                      </a:lnTo>
                      <a:lnTo>
                        <a:pt x="145" y="155"/>
                      </a:lnTo>
                      <a:lnTo>
                        <a:pt x="145" y="155"/>
                      </a:lnTo>
                      <a:lnTo>
                        <a:pt x="145" y="156"/>
                      </a:lnTo>
                      <a:lnTo>
                        <a:pt x="145" y="156"/>
                      </a:lnTo>
                      <a:lnTo>
                        <a:pt x="145" y="157"/>
                      </a:lnTo>
                      <a:lnTo>
                        <a:pt x="146" y="157"/>
                      </a:lnTo>
                      <a:lnTo>
                        <a:pt x="147" y="157"/>
                      </a:lnTo>
                      <a:lnTo>
                        <a:pt x="147" y="157"/>
                      </a:lnTo>
                      <a:lnTo>
                        <a:pt x="148" y="157"/>
                      </a:lnTo>
                      <a:lnTo>
                        <a:pt x="147" y="157"/>
                      </a:lnTo>
                      <a:lnTo>
                        <a:pt x="148" y="157"/>
                      </a:lnTo>
                      <a:lnTo>
                        <a:pt x="148" y="157"/>
                      </a:lnTo>
                      <a:lnTo>
                        <a:pt x="148" y="157"/>
                      </a:lnTo>
                      <a:lnTo>
                        <a:pt x="148" y="157"/>
                      </a:lnTo>
                      <a:lnTo>
                        <a:pt x="149" y="157"/>
                      </a:lnTo>
                      <a:lnTo>
                        <a:pt x="149" y="158"/>
                      </a:lnTo>
                      <a:lnTo>
                        <a:pt x="148" y="157"/>
                      </a:lnTo>
                      <a:lnTo>
                        <a:pt x="148" y="158"/>
                      </a:lnTo>
                      <a:lnTo>
                        <a:pt x="149" y="158"/>
                      </a:lnTo>
                      <a:lnTo>
                        <a:pt x="149" y="159"/>
                      </a:lnTo>
                      <a:lnTo>
                        <a:pt x="148" y="159"/>
                      </a:lnTo>
                      <a:lnTo>
                        <a:pt x="148" y="159"/>
                      </a:lnTo>
                      <a:lnTo>
                        <a:pt x="148" y="159"/>
                      </a:lnTo>
                      <a:lnTo>
                        <a:pt x="148" y="159"/>
                      </a:lnTo>
                      <a:lnTo>
                        <a:pt x="148" y="159"/>
                      </a:lnTo>
                      <a:lnTo>
                        <a:pt x="148" y="159"/>
                      </a:lnTo>
                      <a:lnTo>
                        <a:pt x="148" y="159"/>
                      </a:lnTo>
                      <a:lnTo>
                        <a:pt x="147" y="160"/>
                      </a:lnTo>
                      <a:lnTo>
                        <a:pt x="148" y="159"/>
                      </a:lnTo>
                      <a:lnTo>
                        <a:pt x="148" y="159"/>
                      </a:lnTo>
                      <a:lnTo>
                        <a:pt x="148" y="159"/>
                      </a:lnTo>
                      <a:lnTo>
                        <a:pt x="148" y="159"/>
                      </a:lnTo>
                      <a:lnTo>
                        <a:pt x="148" y="159"/>
                      </a:lnTo>
                      <a:lnTo>
                        <a:pt x="149" y="159"/>
                      </a:lnTo>
                      <a:lnTo>
                        <a:pt x="149" y="158"/>
                      </a:lnTo>
                      <a:lnTo>
                        <a:pt x="148" y="158"/>
                      </a:lnTo>
                      <a:lnTo>
                        <a:pt x="148" y="157"/>
                      </a:lnTo>
                      <a:lnTo>
                        <a:pt x="149" y="158"/>
                      </a:lnTo>
                      <a:lnTo>
                        <a:pt x="150" y="158"/>
                      </a:lnTo>
                      <a:lnTo>
                        <a:pt x="149" y="158"/>
                      </a:lnTo>
                      <a:lnTo>
                        <a:pt x="149" y="159"/>
                      </a:lnTo>
                      <a:lnTo>
                        <a:pt x="150" y="159"/>
                      </a:lnTo>
                      <a:lnTo>
                        <a:pt x="149" y="159"/>
                      </a:lnTo>
                      <a:lnTo>
                        <a:pt x="149" y="159"/>
                      </a:lnTo>
                      <a:lnTo>
                        <a:pt x="149" y="160"/>
                      </a:lnTo>
                      <a:lnTo>
                        <a:pt x="150" y="160"/>
                      </a:lnTo>
                      <a:lnTo>
                        <a:pt x="149" y="160"/>
                      </a:lnTo>
                      <a:lnTo>
                        <a:pt x="150" y="160"/>
                      </a:lnTo>
                      <a:lnTo>
                        <a:pt x="149" y="160"/>
                      </a:lnTo>
                      <a:lnTo>
                        <a:pt x="150" y="160"/>
                      </a:lnTo>
                      <a:lnTo>
                        <a:pt x="149" y="160"/>
                      </a:lnTo>
                      <a:lnTo>
                        <a:pt x="149" y="160"/>
                      </a:lnTo>
                      <a:lnTo>
                        <a:pt x="150" y="160"/>
                      </a:lnTo>
                      <a:lnTo>
                        <a:pt x="150" y="161"/>
                      </a:lnTo>
                      <a:lnTo>
                        <a:pt x="150" y="160"/>
                      </a:lnTo>
                      <a:lnTo>
                        <a:pt x="150" y="161"/>
                      </a:lnTo>
                      <a:lnTo>
                        <a:pt x="149" y="161"/>
                      </a:lnTo>
                      <a:lnTo>
                        <a:pt x="150" y="161"/>
                      </a:lnTo>
                      <a:lnTo>
                        <a:pt x="149" y="161"/>
                      </a:lnTo>
                      <a:lnTo>
                        <a:pt x="149" y="162"/>
                      </a:lnTo>
                      <a:lnTo>
                        <a:pt x="149" y="161"/>
                      </a:lnTo>
                      <a:lnTo>
                        <a:pt x="150" y="161"/>
                      </a:lnTo>
                      <a:lnTo>
                        <a:pt x="149" y="161"/>
                      </a:lnTo>
                      <a:lnTo>
                        <a:pt x="150" y="161"/>
                      </a:lnTo>
                      <a:lnTo>
                        <a:pt x="150" y="160"/>
                      </a:lnTo>
                      <a:lnTo>
                        <a:pt x="150" y="160"/>
                      </a:lnTo>
                      <a:lnTo>
                        <a:pt x="151" y="160"/>
                      </a:lnTo>
                      <a:lnTo>
                        <a:pt x="150" y="160"/>
                      </a:lnTo>
                      <a:lnTo>
                        <a:pt x="151" y="160"/>
                      </a:lnTo>
                      <a:lnTo>
                        <a:pt x="151" y="160"/>
                      </a:lnTo>
                      <a:lnTo>
                        <a:pt x="151" y="160"/>
                      </a:lnTo>
                      <a:lnTo>
                        <a:pt x="150" y="160"/>
                      </a:lnTo>
                      <a:lnTo>
                        <a:pt x="150" y="160"/>
                      </a:lnTo>
                      <a:lnTo>
                        <a:pt x="149" y="160"/>
                      </a:lnTo>
                      <a:lnTo>
                        <a:pt x="149" y="160"/>
                      </a:lnTo>
                      <a:lnTo>
                        <a:pt x="150" y="160"/>
                      </a:lnTo>
                      <a:lnTo>
                        <a:pt x="149" y="160"/>
                      </a:lnTo>
                      <a:lnTo>
                        <a:pt x="150" y="160"/>
                      </a:lnTo>
                      <a:lnTo>
                        <a:pt x="149" y="160"/>
                      </a:lnTo>
                      <a:lnTo>
                        <a:pt x="150" y="160"/>
                      </a:lnTo>
                      <a:lnTo>
                        <a:pt x="149" y="160"/>
                      </a:lnTo>
                      <a:lnTo>
                        <a:pt x="149" y="159"/>
                      </a:lnTo>
                      <a:lnTo>
                        <a:pt x="149" y="160"/>
                      </a:lnTo>
                      <a:lnTo>
                        <a:pt x="149" y="159"/>
                      </a:lnTo>
                      <a:lnTo>
                        <a:pt x="150" y="159"/>
                      </a:lnTo>
                      <a:lnTo>
                        <a:pt x="149" y="159"/>
                      </a:lnTo>
                      <a:lnTo>
                        <a:pt x="150" y="159"/>
                      </a:lnTo>
                      <a:lnTo>
                        <a:pt x="149" y="159"/>
                      </a:lnTo>
                      <a:lnTo>
                        <a:pt x="149" y="159"/>
                      </a:lnTo>
                      <a:lnTo>
                        <a:pt x="150" y="159"/>
                      </a:lnTo>
                      <a:lnTo>
                        <a:pt x="149" y="159"/>
                      </a:lnTo>
                      <a:lnTo>
                        <a:pt x="149" y="158"/>
                      </a:lnTo>
                      <a:lnTo>
                        <a:pt x="150" y="158"/>
                      </a:lnTo>
                      <a:lnTo>
                        <a:pt x="149" y="158"/>
                      </a:lnTo>
                      <a:lnTo>
                        <a:pt x="150" y="158"/>
                      </a:lnTo>
                      <a:lnTo>
                        <a:pt x="150" y="158"/>
                      </a:lnTo>
                      <a:lnTo>
                        <a:pt x="151" y="158"/>
                      </a:lnTo>
                      <a:lnTo>
                        <a:pt x="151" y="158"/>
                      </a:lnTo>
                      <a:lnTo>
                        <a:pt x="152" y="159"/>
                      </a:lnTo>
                      <a:lnTo>
                        <a:pt x="151" y="159"/>
                      </a:lnTo>
                      <a:lnTo>
                        <a:pt x="152" y="159"/>
                      </a:lnTo>
                      <a:lnTo>
                        <a:pt x="152" y="159"/>
                      </a:lnTo>
                      <a:lnTo>
                        <a:pt x="152" y="159"/>
                      </a:lnTo>
                      <a:lnTo>
                        <a:pt x="152" y="159"/>
                      </a:lnTo>
                      <a:lnTo>
                        <a:pt x="152" y="159"/>
                      </a:lnTo>
                      <a:lnTo>
                        <a:pt x="152" y="159"/>
                      </a:lnTo>
                      <a:lnTo>
                        <a:pt x="151" y="159"/>
                      </a:lnTo>
                      <a:lnTo>
                        <a:pt x="151" y="160"/>
                      </a:lnTo>
                      <a:lnTo>
                        <a:pt x="151" y="159"/>
                      </a:lnTo>
                      <a:lnTo>
                        <a:pt x="152" y="159"/>
                      </a:lnTo>
                      <a:lnTo>
                        <a:pt x="152" y="160"/>
                      </a:lnTo>
                      <a:lnTo>
                        <a:pt x="152" y="159"/>
                      </a:lnTo>
                      <a:lnTo>
                        <a:pt x="152" y="159"/>
                      </a:lnTo>
                      <a:lnTo>
                        <a:pt x="152" y="159"/>
                      </a:lnTo>
                      <a:lnTo>
                        <a:pt x="152" y="159"/>
                      </a:lnTo>
                      <a:lnTo>
                        <a:pt x="152" y="159"/>
                      </a:lnTo>
                      <a:lnTo>
                        <a:pt x="152" y="159"/>
                      </a:lnTo>
                      <a:lnTo>
                        <a:pt x="152" y="159"/>
                      </a:lnTo>
                      <a:lnTo>
                        <a:pt x="152" y="159"/>
                      </a:lnTo>
                      <a:lnTo>
                        <a:pt x="152" y="159"/>
                      </a:lnTo>
                      <a:lnTo>
                        <a:pt x="152" y="159"/>
                      </a:lnTo>
                      <a:lnTo>
                        <a:pt x="152" y="158"/>
                      </a:lnTo>
                      <a:lnTo>
                        <a:pt x="152" y="158"/>
                      </a:lnTo>
                      <a:lnTo>
                        <a:pt x="152" y="159"/>
                      </a:lnTo>
                      <a:lnTo>
                        <a:pt x="153" y="159"/>
                      </a:lnTo>
                      <a:lnTo>
                        <a:pt x="154" y="159"/>
                      </a:lnTo>
                      <a:lnTo>
                        <a:pt x="154" y="159"/>
                      </a:lnTo>
                      <a:lnTo>
                        <a:pt x="155" y="159"/>
                      </a:lnTo>
                      <a:lnTo>
                        <a:pt x="155" y="159"/>
                      </a:lnTo>
                      <a:lnTo>
                        <a:pt x="156" y="159"/>
                      </a:lnTo>
                      <a:lnTo>
                        <a:pt x="156" y="159"/>
                      </a:lnTo>
                      <a:lnTo>
                        <a:pt x="157" y="159"/>
                      </a:lnTo>
                      <a:lnTo>
                        <a:pt x="158" y="159"/>
                      </a:lnTo>
                      <a:lnTo>
                        <a:pt x="158" y="159"/>
                      </a:lnTo>
                      <a:lnTo>
                        <a:pt x="159" y="159"/>
                      </a:lnTo>
                      <a:lnTo>
                        <a:pt x="159" y="159"/>
                      </a:lnTo>
                      <a:lnTo>
                        <a:pt x="158" y="159"/>
                      </a:lnTo>
                      <a:lnTo>
                        <a:pt x="158" y="160"/>
                      </a:lnTo>
                      <a:lnTo>
                        <a:pt x="158" y="160"/>
                      </a:lnTo>
                      <a:lnTo>
                        <a:pt x="158" y="160"/>
                      </a:lnTo>
                      <a:lnTo>
                        <a:pt x="157" y="160"/>
                      </a:lnTo>
                      <a:lnTo>
                        <a:pt x="158" y="161"/>
                      </a:lnTo>
                      <a:lnTo>
                        <a:pt x="157" y="161"/>
                      </a:lnTo>
                      <a:lnTo>
                        <a:pt x="156" y="161"/>
                      </a:lnTo>
                      <a:lnTo>
                        <a:pt x="157" y="161"/>
                      </a:lnTo>
                      <a:lnTo>
                        <a:pt x="158" y="161"/>
                      </a:lnTo>
                      <a:lnTo>
                        <a:pt x="157" y="160"/>
                      </a:lnTo>
                      <a:lnTo>
                        <a:pt x="158" y="160"/>
                      </a:lnTo>
                      <a:lnTo>
                        <a:pt x="158" y="160"/>
                      </a:lnTo>
                      <a:lnTo>
                        <a:pt x="158" y="160"/>
                      </a:lnTo>
                      <a:lnTo>
                        <a:pt x="158" y="160"/>
                      </a:lnTo>
                      <a:lnTo>
                        <a:pt x="158" y="161"/>
                      </a:lnTo>
                      <a:lnTo>
                        <a:pt x="159" y="161"/>
                      </a:lnTo>
                      <a:lnTo>
                        <a:pt x="159" y="162"/>
                      </a:lnTo>
                      <a:lnTo>
                        <a:pt x="159" y="162"/>
                      </a:lnTo>
                      <a:lnTo>
                        <a:pt x="158" y="162"/>
                      </a:lnTo>
                      <a:lnTo>
                        <a:pt x="158" y="163"/>
                      </a:lnTo>
                      <a:lnTo>
                        <a:pt x="158" y="163"/>
                      </a:lnTo>
                      <a:lnTo>
                        <a:pt x="158" y="163"/>
                      </a:lnTo>
                      <a:lnTo>
                        <a:pt x="158" y="163"/>
                      </a:lnTo>
                      <a:lnTo>
                        <a:pt x="157" y="163"/>
                      </a:lnTo>
                      <a:lnTo>
                        <a:pt x="157" y="163"/>
                      </a:lnTo>
                      <a:lnTo>
                        <a:pt x="158" y="163"/>
                      </a:lnTo>
                      <a:lnTo>
                        <a:pt x="158" y="164"/>
                      </a:lnTo>
                      <a:lnTo>
                        <a:pt x="157" y="164"/>
                      </a:lnTo>
                      <a:lnTo>
                        <a:pt x="158" y="164"/>
                      </a:lnTo>
                      <a:lnTo>
                        <a:pt x="157" y="164"/>
                      </a:lnTo>
                      <a:lnTo>
                        <a:pt x="157" y="164"/>
                      </a:lnTo>
                      <a:lnTo>
                        <a:pt x="158" y="164"/>
                      </a:lnTo>
                      <a:lnTo>
                        <a:pt x="158" y="164"/>
                      </a:lnTo>
                      <a:lnTo>
                        <a:pt x="158" y="165"/>
                      </a:lnTo>
                      <a:lnTo>
                        <a:pt x="158" y="164"/>
                      </a:lnTo>
                      <a:lnTo>
                        <a:pt x="159" y="164"/>
                      </a:lnTo>
                      <a:lnTo>
                        <a:pt x="159" y="165"/>
                      </a:lnTo>
                      <a:lnTo>
                        <a:pt x="159" y="164"/>
                      </a:lnTo>
                      <a:lnTo>
                        <a:pt x="159" y="165"/>
                      </a:lnTo>
                      <a:lnTo>
                        <a:pt x="158" y="165"/>
                      </a:lnTo>
                      <a:lnTo>
                        <a:pt x="159" y="165"/>
                      </a:lnTo>
                      <a:lnTo>
                        <a:pt x="158" y="165"/>
                      </a:lnTo>
                      <a:lnTo>
                        <a:pt x="159" y="165"/>
                      </a:lnTo>
                      <a:lnTo>
                        <a:pt x="159" y="164"/>
                      </a:lnTo>
                      <a:lnTo>
                        <a:pt x="159" y="165"/>
                      </a:lnTo>
                      <a:lnTo>
                        <a:pt x="159" y="164"/>
                      </a:lnTo>
                      <a:lnTo>
                        <a:pt x="158" y="164"/>
                      </a:lnTo>
                      <a:lnTo>
                        <a:pt x="158" y="165"/>
                      </a:lnTo>
                      <a:lnTo>
                        <a:pt x="158" y="164"/>
                      </a:lnTo>
                      <a:lnTo>
                        <a:pt x="158" y="164"/>
                      </a:lnTo>
                      <a:lnTo>
                        <a:pt x="158" y="164"/>
                      </a:lnTo>
                      <a:lnTo>
                        <a:pt x="157" y="164"/>
                      </a:lnTo>
                      <a:lnTo>
                        <a:pt x="158" y="164"/>
                      </a:lnTo>
                      <a:lnTo>
                        <a:pt x="158" y="163"/>
                      </a:lnTo>
                      <a:lnTo>
                        <a:pt x="157" y="163"/>
                      </a:lnTo>
                      <a:lnTo>
                        <a:pt x="157" y="163"/>
                      </a:lnTo>
                      <a:lnTo>
                        <a:pt x="158" y="163"/>
                      </a:lnTo>
                      <a:lnTo>
                        <a:pt x="158" y="163"/>
                      </a:lnTo>
                      <a:lnTo>
                        <a:pt x="158" y="163"/>
                      </a:lnTo>
                      <a:lnTo>
                        <a:pt x="158" y="162"/>
                      </a:lnTo>
                      <a:lnTo>
                        <a:pt x="159" y="162"/>
                      </a:lnTo>
                      <a:lnTo>
                        <a:pt x="159" y="163"/>
                      </a:lnTo>
                      <a:lnTo>
                        <a:pt x="159" y="162"/>
                      </a:lnTo>
                      <a:lnTo>
                        <a:pt x="159" y="163"/>
                      </a:lnTo>
                      <a:lnTo>
                        <a:pt x="159" y="163"/>
                      </a:lnTo>
                      <a:lnTo>
                        <a:pt x="159" y="163"/>
                      </a:lnTo>
                      <a:lnTo>
                        <a:pt x="159" y="163"/>
                      </a:lnTo>
                      <a:lnTo>
                        <a:pt x="159" y="164"/>
                      </a:lnTo>
                      <a:lnTo>
                        <a:pt x="159" y="164"/>
                      </a:lnTo>
                      <a:lnTo>
                        <a:pt x="160" y="164"/>
                      </a:lnTo>
                      <a:lnTo>
                        <a:pt x="159" y="164"/>
                      </a:lnTo>
                      <a:lnTo>
                        <a:pt x="159" y="164"/>
                      </a:lnTo>
                      <a:lnTo>
                        <a:pt x="160" y="164"/>
                      </a:lnTo>
                      <a:lnTo>
                        <a:pt x="160" y="165"/>
                      </a:lnTo>
                      <a:lnTo>
                        <a:pt x="159" y="165"/>
                      </a:lnTo>
                      <a:lnTo>
                        <a:pt x="159" y="165"/>
                      </a:lnTo>
                      <a:lnTo>
                        <a:pt x="159" y="165"/>
                      </a:lnTo>
                      <a:lnTo>
                        <a:pt x="160" y="165"/>
                      </a:lnTo>
                      <a:lnTo>
                        <a:pt x="159" y="165"/>
                      </a:lnTo>
                      <a:lnTo>
                        <a:pt x="160" y="165"/>
                      </a:lnTo>
                      <a:lnTo>
                        <a:pt x="160" y="166"/>
                      </a:lnTo>
                      <a:lnTo>
                        <a:pt x="159" y="166"/>
                      </a:lnTo>
                      <a:lnTo>
                        <a:pt x="160" y="166"/>
                      </a:lnTo>
                      <a:lnTo>
                        <a:pt x="160" y="166"/>
                      </a:lnTo>
                      <a:lnTo>
                        <a:pt x="159" y="166"/>
                      </a:lnTo>
                      <a:lnTo>
                        <a:pt x="159" y="167"/>
                      </a:lnTo>
                      <a:lnTo>
                        <a:pt x="159" y="167"/>
                      </a:lnTo>
                      <a:lnTo>
                        <a:pt x="158" y="167"/>
                      </a:lnTo>
                      <a:lnTo>
                        <a:pt x="158" y="167"/>
                      </a:lnTo>
                      <a:lnTo>
                        <a:pt x="158" y="167"/>
                      </a:lnTo>
                      <a:lnTo>
                        <a:pt x="157" y="167"/>
                      </a:lnTo>
                      <a:lnTo>
                        <a:pt x="156" y="167"/>
                      </a:lnTo>
                      <a:lnTo>
                        <a:pt x="156" y="167"/>
                      </a:lnTo>
                      <a:lnTo>
                        <a:pt x="156" y="167"/>
                      </a:lnTo>
                      <a:lnTo>
                        <a:pt x="156" y="167"/>
                      </a:lnTo>
                      <a:lnTo>
                        <a:pt x="156" y="167"/>
                      </a:lnTo>
                      <a:lnTo>
                        <a:pt x="156" y="167"/>
                      </a:lnTo>
                      <a:lnTo>
                        <a:pt x="156" y="167"/>
                      </a:lnTo>
                      <a:lnTo>
                        <a:pt x="157" y="167"/>
                      </a:lnTo>
                      <a:lnTo>
                        <a:pt x="158" y="167"/>
                      </a:lnTo>
                      <a:lnTo>
                        <a:pt x="158" y="167"/>
                      </a:lnTo>
                      <a:lnTo>
                        <a:pt x="158" y="167"/>
                      </a:lnTo>
                      <a:lnTo>
                        <a:pt x="158" y="167"/>
                      </a:lnTo>
                      <a:lnTo>
                        <a:pt x="158" y="167"/>
                      </a:lnTo>
                      <a:lnTo>
                        <a:pt x="159" y="167"/>
                      </a:lnTo>
                      <a:lnTo>
                        <a:pt x="159" y="167"/>
                      </a:lnTo>
                      <a:lnTo>
                        <a:pt x="159" y="166"/>
                      </a:lnTo>
                      <a:lnTo>
                        <a:pt x="160" y="166"/>
                      </a:lnTo>
                      <a:lnTo>
                        <a:pt x="160" y="166"/>
                      </a:lnTo>
                      <a:lnTo>
                        <a:pt x="159" y="166"/>
                      </a:lnTo>
                      <a:lnTo>
                        <a:pt x="160" y="166"/>
                      </a:lnTo>
                      <a:lnTo>
                        <a:pt x="160" y="165"/>
                      </a:lnTo>
                      <a:lnTo>
                        <a:pt x="159" y="165"/>
                      </a:lnTo>
                      <a:lnTo>
                        <a:pt x="160" y="165"/>
                      </a:lnTo>
                      <a:lnTo>
                        <a:pt x="159" y="165"/>
                      </a:lnTo>
                      <a:lnTo>
                        <a:pt x="159" y="165"/>
                      </a:lnTo>
                      <a:lnTo>
                        <a:pt x="159" y="165"/>
                      </a:lnTo>
                      <a:lnTo>
                        <a:pt x="159" y="165"/>
                      </a:lnTo>
                      <a:lnTo>
                        <a:pt x="159" y="165"/>
                      </a:lnTo>
                      <a:lnTo>
                        <a:pt x="160" y="165"/>
                      </a:lnTo>
                      <a:lnTo>
                        <a:pt x="160" y="164"/>
                      </a:lnTo>
                      <a:lnTo>
                        <a:pt x="159" y="164"/>
                      </a:lnTo>
                      <a:lnTo>
                        <a:pt x="159" y="164"/>
                      </a:lnTo>
                      <a:lnTo>
                        <a:pt x="160" y="164"/>
                      </a:lnTo>
                      <a:lnTo>
                        <a:pt x="160" y="164"/>
                      </a:lnTo>
                      <a:lnTo>
                        <a:pt x="160" y="164"/>
                      </a:lnTo>
                      <a:lnTo>
                        <a:pt x="159" y="164"/>
                      </a:lnTo>
                      <a:lnTo>
                        <a:pt x="159" y="164"/>
                      </a:lnTo>
                      <a:lnTo>
                        <a:pt x="159" y="163"/>
                      </a:lnTo>
                      <a:lnTo>
                        <a:pt x="159" y="163"/>
                      </a:lnTo>
                      <a:lnTo>
                        <a:pt x="159" y="163"/>
                      </a:lnTo>
                      <a:lnTo>
                        <a:pt x="159" y="162"/>
                      </a:lnTo>
                      <a:lnTo>
                        <a:pt x="159" y="162"/>
                      </a:lnTo>
                      <a:lnTo>
                        <a:pt x="159" y="161"/>
                      </a:lnTo>
                      <a:lnTo>
                        <a:pt x="158" y="161"/>
                      </a:lnTo>
                      <a:lnTo>
                        <a:pt x="158" y="160"/>
                      </a:lnTo>
                      <a:lnTo>
                        <a:pt x="159" y="160"/>
                      </a:lnTo>
                      <a:lnTo>
                        <a:pt x="159" y="160"/>
                      </a:lnTo>
                      <a:lnTo>
                        <a:pt x="159" y="159"/>
                      </a:lnTo>
                      <a:lnTo>
                        <a:pt x="159" y="159"/>
                      </a:lnTo>
                      <a:lnTo>
                        <a:pt x="159" y="159"/>
                      </a:lnTo>
                      <a:lnTo>
                        <a:pt x="159" y="160"/>
                      </a:lnTo>
                      <a:lnTo>
                        <a:pt x="159" y="159"/>
                      </a:lnTo>
                      <a:lnTo>
                        <a:pt x="159" y="159"/>
                      </a:lnTo>
                      <a:lnTo>
                        <a:pt x="159" y="159"/>
                      </a:lnTo>
                      <a:lnTo>
                        <a:pt x="160" y="159"/>
                      </a:lnTo>
                      <a:lnTo>
                        <a:pt x="160" y="159"/>
                      </a:lnTo>
                      <a:lnTo>
                        <a:pt x="159" y="159"/>
                      </a:lnTo>
                      <a:lnTo>
                        <a:pt x="160" y="159"/>
                      </a:lnTo>
                      <a:lnTo>
                        <a:pt x="160" y="159"/>
                      </a:lnTo>
                      <a:lnTo>
                        <a:pt x="160" y="159"/>
                      </a:lnTo>
                      <a:lnTo>
                        <a:pt x="160" y="159"/>
                      </a:lnTo>
                      <a:lnTo>
                        <a:pt x="160" y="159"/>
                      </a:lnTo>
                      <a:lnTo>
                        <a:pt x="161" y="159"/>
                      </a:lnTo>
                      <a:lnTo>
                        <a:pt x="162" y="159"/>
                      </a:lnTo>
                      <a:lnTo>
                        <a:pt x="162" y="159"/>
                      </a:lnTo>
                      <a:lnTo>
                        <a:pt x="163" y="159"/>
                      </a:lnTo>
                      <a:lnTo>
                        <a:pt x="163" y="159"/>
                      </a:lnTo>
                      <a:lnTo>
                        <a:pt x="164" y="159"/>
                      </a:lnTo>
                      <a:lnTo>
                        <a:pt x="165" y="159"/>
                      </a:lnTo>
                      <a:lnTo>
                        <a:pt x="165" y="159"/>
                      </a:lnTo>
                      <a:lnTo>
                        <a:pt x="166" y="160"/>
                      </a:lnTo>
                      <a:lnTo>
                        <a:pt x="166" y="160"/>
                      </a:lnTo>
                      <a:lnTo>
                        <a:pt x="166" y="160"/>
                      </a:lnTo>
                      <a:lnTo>
                        <a:pt x="166" y="161"/>
                      </a:lnTo>
                      <a:lnTo>
                        <a:pt x="166" y="162"/>
                      </a:lnTo>
                      <a:lnTo>
                        <a:pt x="167" y="162"/>
                      </a:lnTo>
                      <a:lnTo>
                        <a:pt x="166" y="162"/>
                      </a:lnTo>
                      <a:lnTo>
                        <a:pt x="167" y="162"/>
                      </a:lnTo>
                      <a:lnTo>
                        <a:pt x="167" y="162"/>
                      </a:lnTo>
                      <a:lnTo>
                        <a:pt x="167" y="162"/>
                      </a:lnTo>
                      <a:lnTo>
                        <a:pt x="168" y="162"/>
                      </a:lnTo>
                      <a:lnTo>
                        <a:pt x="169" y="162"/>
                      </a:lnTo>
                      <a:lnTo>
                        <a:pt x="168" y="162"/>
                      </a:lnTo>
                      <a:lnTo>
                        <a:pt x="169" y="162"/>
                      </a:lnTo>
                      <a:lnTo>
                        <a:pt x="169" y="163"/>
                      </a:lnTo>
                      <a:lnTo>
                        <a:pt x="168" y="163"/>
                      </a:lnTo>
                      <a:lnTo>
                        <a:pt x="167" y="163"/>
                      </a:lnTo>
                      <a:lnTo>
                        <a:pt x="168" y="163"/>
                      </a:lnTo>
                      <a:lnTo>
                        <a:pt x="167" y="163"/>
                      </a:lnTo>
                      <a:lnTo>
                        <a:pt x="168" y="163"/>
                      </a:lnTo>
                      <a:lnTo>
                        <a:pt x="167" y="163"/>
                      </a:lnTo>
                      <a:lnTo>
                        <a:pt x="168" y="163"/>
                      </a:lnTo>
                      <a:lnTo>
                        <a:pt x="169" y="163"/>
                      </a:lnTo>
                      <a:lnTo>
                        <a:pt x="169" y="162"/>
                      </a:lnTo>
                      <a:lnTo>
                        <a:pt x="169" y="162"/>
                      </a:lnTo>
                      <a:lnTo>
                        <a:pt x="169" y="163"/>
                      </a:lnTo>
                      <a:lnTo>
                        <a:pt x="169" y="162"/>
                      </a:lnTo>
                      <a:lnTo>
                        <a:pt x="169" y="163"/>
                      </a:lnTo>
                      <a:lnTo>
                        <a:pt x="169" y="162"/>
                      </a:lnTo>
                      <a:lnTo>
                        <a:pt x="170" y="163"/>
                      </a:lnTo>
                      <a:lnTo>
                        <a:pt x="169" y="163"/>
                      </a:lnTo>
                      <a:lnTo>
                        <a:pt x="170" y="163"/>
                      </a:lnTo>
                      <a:lnTo>
                        <a:pt x="170" y="163"/>
                      </a:lnTo>
                      <a:lnTo>
                        <a:pt x="170" y="163"/>
                      </a:lnTo>
                      <a:lnTo>
                        <a:pt x="170" y="163"/>
                      </a:lnTo>
                      <a:lnTo>
                        <a:pt x="170" y="163"/>
                      </a:lnTo>
                      <a:lnTo>
                        <a:pt x="169" y="163"/>
                      </a:lnTo>
                      <a:lnTo>
                        <a:pt x="170" y="163"/>
                      </a:lnTo>
                      <a:lnTo>
                        <a:pt x="169" y="163"/>
                      </a:lnTo>
                      <a:lnTo>
                        <a:pt x="170" y="163"/>
                      </a:lnTo>
                      <a:lnTo>
                        <a:pt x="170" y="163"/>
                      </a:lnTo>
                      <a:lnTo>
                        <a:pt x="170" y="163"/>
                      </a:lnTo>
                      <a:lnTo>
                        <a:pt x="170" y="163"/>
                      </a:lnTo>
                      <a:lnTo>
                        <a:pt x="170" y="163"/>
                      </a:lnTo>
                      <a:lnTo>
                        <a:pt x="170" y="163"/>
                      </a:lnTo>
                      <a:lnTo>
                        <a:pt x="170" y="163"/>
                      </a:lnTo>
                      <a:lnTo>
                        <a:pt x="171" y="163"/>
                      </a:lnTo>
                      <a:lnTo>
                        <a:pt x="171" y="163"/>
                      </a:lnTo>
                      <a:lnTo>
                        <a:pt x="171" y="163"/>
                      </a:lnTo>
                      <a:lnTo>
                        <a:pt x="172" y="163"/>
                      </a:lnTo>
                      <a:lnTo>
                        <a:pt x="173" y="163"/>
                      </a:lnTo>
                      <a:lnTo>
                        <a:pt x="173" y="163"/>
                      </a:lnTo>
                      <a:lnTo>
                        <a:pt x="174" y="163"/>
                      </a:lnTo>
                      <a:lnTo>
                        <a:pt x="174" y="163"/>
                      </a:lnTo>
                      <a:lnTo>
                        <a:pt x="174" y="162"/>
                      </a:lnTo>
                      <a:lnTo>
                        <a:pt x="174" y="163"/>
                      </a:lnTo>
                      <a:lnTo>
                        <a:pt x="174" y="163"/>
                      </a:lnTo>
                      <a:lnTo>
                        <a:pt x="175" y="163"/>
                      </a:lnTo>
                      <a:lnTo>
                        <a:pt x="175" y="163"/>
                      </a:lnTo>
                      <a:lnTo>
                        <a:pt x="174" y="163"/>
                      </a:lnTo>
                      <a:lnTo>
                        <a:pt x="175" y="163"/>
                      </a:lnTo>
                      <a:lnTo>
                        <a:pt x="176" y="163"/>
                      </a:lnTo>
                      <a:lnTo>
                        <a:pt x="175" y="163"/>
                      </a:lnTo>
                      <a:lnTo>
                        <a:pt x="176" y="163"/>
                      </a:lnTo>
                      <a:lnTo>
                        <a:pt x="176" y="163"/>
                      </a:lnTo>
                      <a:lnTo>
                        <a:pt x="177" y="163"/>
                      </a:lnTo>
                      <a:lnTo>
                        <a:pt x="176" y="163"/>
                      </a:lnTo>
                      <a:lnTo>
                        <a:pt x="177" y="163"/>
                      </a:lnTo>
                      <a:lnTo>
                        <a:pt x="176" y="163"/>
                      </a:lnTo>
                      <a:lnTo>
                        <a:pt x="177" y="163"/>
                      </a:lnTo>
                      <a:lnTo>
                        <a:pt x="176" y="163"/>
                      </a:lnTo>
                      <a:lnTo>
                        <a:pt x="176" y="163"/>
                      </a:lnTo>
                      <a:lnTo>
                        <a:pt x="175" y="163"/>
                      </a:lnTo>
                      <a:lnTo>
                        <a:pt x="175" y="162"/>
                      </a:lnTo>
                      <a:lnTo>
                        <a:pt x="175" y="163"/>
                      </a:lnTo>
                      <a:lnTo>
                        <a:pt x="176" y="163"/>
                      </a:lnTo>
                      <a:lnTo>
                        <a:pt x="176" y="162"/>
                      </a:lnTo>
                      <a:lnTo>
                        <a:pt x="175" y="162"/>
                      </a:lnTo>
                      <a:lnTo>
                        <a:pt x="176" y="162"/>
                      </a:lnTo>
                      <a:lnTo>
                        <a:pt x="176" y="162"/>
                      </a:lnTo>
                      <a:lnTo>
                        <a:pt x="176" y="162"/>
                      </a:lnTo>
                      <a:lnTo>
                        <a:pt x="176" y="162"/>
                      </a:lnTo>
                      <a:lnTo>
                        <a:pt x="176" y="162"/>
                      </a:lnTo>
                      <a:lnTo>
                        <a:pt x="175" y="162"/>
                      </a:lnTo>
                      <a:lnTo>
                        <a:pt x="174" y="162"/>
                      </a:lnTo>
                      <a:lnTo>
                        <a:pt x="174" y="162"/>
                      </a:lnTo>
                      <a:lnTo>
                        <a:pt x="174" y="162"/>
                      </a:lnTo>
                      <a:lnTo>
                        <a:pt x="174" y="162"/>
                      </a:lnTo>
                      <a:lnTo>
                        <a:pt x="174" y="162"/>
                      </a:lnTo>
                      <a:lnTo>
                        <a:pt x="174" y="162"/>
                      </a:lnTo>
                      <a:lnTo>
                        <a:pt x="174" y="163"/>
                      </a:lnTo>
                      <a:lnTo>
                        <a:pt x="173" y="163"/>
                      </a:lnTo>
                      <a:lnTo>
                        <a:pt x="173" y="163"/>
                      </a:lnTo>
                      <a:lnTo>
                        <a:pt x="173" y="162"/>
                      </a:lnTo>
                      <a:lnTo>
                        <a:pt x="172" y="162"/>
                      </a:lnTo>
                      <a:lnTo>
                        <a:pt x="171" y="162"/>
                      </a:lnTo>
                      <a:lnTo>
                        <a:pt x="171" y="163"/>
                      </a:lnTo>
                      <a:lnTo>
                        <a:pt x="171" y="163"/>
                      </a:lnTo>
                      <a:lnTo>
                        <a:pt x="170" y="163"/>
                      </a:lnTo>
                      <a:lnTo>
                        <a:pt x="171" y="162"/>
                      </a:lnTo>
                      <a:lnTo>
                        <a:pt x="171" y="162"/>
                      </a:lnTo>
                      <a:lnTo>
                        <a:pt x="171" y="161"/>
                      </a:lnTo>
                      <a:lnTo>
                        <a:pt x="171" y="161"/>
                      </a:lnTo>
                      <a:lnTo>
                        <a:pt x="171" y="160"/>
                      </a:lnTo>
                      <a:lnTo>
                        <a:pt x="171" y="160"/>
                      </a:lnTo>
                      <a:lnTo>
                        <a:pt x="171" y="160"/>
                      </a:lnTo>
                      <a:lnTo>
                        <a:pt x="171" y="160"/>
                      </a:lnTo>
                      <a:lnTo>
                        <a:pt x="171" y="160"/>
                      </a:lnTo>
                      <a:lnTo>
                        <a:pt x="170" y="160"/>
                      </a:lnTo>
                      <a:lnTo>
                        <a:pt x="170" y="160"/>
                      </a:lnTo>
                      <a:lnTo>
                        <a:pt x="170" y="160"/>
                      </a:lnTo>
                      <a:lnTo>
                        <a:pt x="171" y="160"/>
                      </a:lnTo>
                      <a:lnTo>
                        <a:pt x="171" y="161"/>
                      </a:lnTo>
                      <a:lnTo>
                        <a:pt x="171" y="161"/>
                      </a:lnTo>
                      <a:lnTo>
                        <a:pt x="171" y="161"/>
                      </a:lnTo>
                      <a:lnTo>
                        <a:pt x="170" y="161"/>
                      </a:lnTo>
                      <a:lnTo>
                        <a:pt x="170" y="160"/>
                      </a:lnTo>
                      <a:lnTo>
                        <a:pt x="169" y="160"/>
                      </a:lnTo>
                      <a:lnTo>
                        <a:pt x="169" y="160"/>
                      </a:lnTo>
                      <a:lnTo>
                        <a:pt x="169" y="159"/>
                      </a:lnTo>
                      <a:lnTo>
                        <a:pt x="170" y="159"/>
                      </a:lnTo>
                      <a:lnTo>
                        <a:pt x="169" y="159"/>
                      </a:lnTo>
                      <a:lnTo>
                        <a:pt x="170" y="159"/>
                      </a:lnTo>
                      <a:lnTo>
                        <a:pt x="170" y="159"/>
                      </a:lnTo>
                      <a:lnTo>
                        <a:pt x="170" y="158"/>
                      </a:lnTo>
                      <a:lnTo>
                        <a:pt x="169" y="158"/>
                      </a:lnTo>
                      <a:lnTo>
                        <a:pt x="169" y="157"/>
                      </a:lnTo>
                      <a:lnTo>
                        <a:pt x="169" y="157"/>
                      </a:lnTo>
                      <a:lnTo>
                        <a:pt x="168" y="157"/>
                      </a:lnTo>
                      <a:lnTo>
                        <a:pt x="169" y="157"/>
                      </a:lnTo>
                      <a:lnTo>
                        <a:pt x="169" y="157"/>
                      </a:lnTo>
                      <a:lnTo>
                        <a:pt x="169" y="158"/>
                      </a:lnTo>
                      <a:lnTo>
                        <a:pt x="169" y="157"/>
                      </a:lnTo>
                      <a:lnTo>
                        <a:pt x="169" y="158"/>
                      </a:lnTo>
                      <a:lnTo>
                        <a:pt x="169" y="158"/>
                      </a:lnTo>
                      <a:lnTo>
                        <a:pt x="169" y="157"/>
                      </a:lnTo>
                      <a:lnTo>
                        <a:pt x="168" y="157"/>
                      </a:lnTo>
                      <a:lnTo>
                        <a:pt x="167" y="157"/>
                      </a:lnTo>
                      <a:lnTo>
                        <a:pt x="167" y="157"/>
                      </a:lnTo>
                      <a:lnTo>
                        <a:pt x="167" y="158"/>
                      </a:lnTo>
                      <a:lnTo>
                        <a:pt x="166" y="158"/>
                      </a:lnTo>
                      <a:lnTo>
                        <a:pt x="166" y="157"/>
                      </a:lnTo>
                      <a:lnTo>
                        <a:pt x="166" y="157"/>
                      </a:lnTo>
                      <a:lnTo>
                        <a:pt x="167" y="157"/>
                      </a:lnTo>
                      <a:lnTo>
                        <a:pt x="167" y="156"/>
                      </a:lnTo>
                      <a:lnTo>
                        <a:pt x="167" y="156"/>
                      </a:lnTo>
                      <a:lnTo>
                        <a:pt x="167" y="156"/>
                      </a:lnTo>
                      <a:lnTo>
                        <a:pt x="167" y="156"/>
                      </a:lnTo>
                      <a:lnTo>
                        <a:pt x="167" y="156"/>
                      </a:lnTo>
                      <a:lnTo>
                        <a:pt x="167" y="156"/>
                      </a:lnTo>
                      <a:lnTo>
                        <a:pt x="166" y="156"/>
                      </a:lnTo>
                      <a:lnTo>
                        <a:pt x="166" y="156"/>
                      </a:lnTo>
                      <a:lnTo>
                        <a:pt x="166" y="156"/>
                      </a:lnTo>
                      <a:lnTo>
                        <a:pt x="166" y="156"/>
                      </a:lnTo>
                      <a:lnTo>
                        <a:pt x="166" y="157"/>
                      </a:lnTo>
                      <a:lnTo>
                        <a:pt x="166" y="157"/>
                      </a:lnTo>
                      <a:lnTo>
                        <a:pt x="166" y="157"/>
                      </a:lnTo>
                      <a:lnTo>
                        <a:pt x="165" y="157"/>
                      </a:lnTo>
                      <a:lnTo>
                        <a:pt x="165" y="157"/>
                      </a:lnTo>
                      <a:lnTo>
                        <a:pt x="165" y="157"/>
                      </a:lnTo>
                      <a:lnTo>
                        <a:pt x="165" y="157"/>
                      </a:lnTo>
                      <a:lnTo>
                        <a:pt x="165" y="157"/>
                      </a:lnTo>
                      <a:lnTo>
                        <a:pt x="164" y="157"/>
                      </a:lnTo>
                      <a:lnTo>
                        <a:pt x="163" y="157"/>
                      </a:lnTo>
                      <a:lnTo>
                        <a:pt x="163" y="157"/>
                      </a:lnTo>
                      <a:lnTo>
                        <a:pt x="163" y="157"/>
                      </a:lnTo>
                      <a:lnTo>
                        <a:pt x="162" y="157"/>
                      </a:lnTo>
                      <a:lnTo>
                        <a:pt x="163" y="157"/>
                      </a:lnTo>
                      <a:lnTo>
                        <a:pt x="163" y="157"/>
                      </a:lnTo>
                      <a:lnTo>
                        <a:pt x="163" y="157"/>
                      </a:lnTo>
                      <a:lnTo>
                        <a:pt x="162" y="157"/>
                      </a:lnTo>
                      <a:lnTo>
                        <a:pt x="162" y="157"/>
                      </a:lnTo>
                      <a:lnTo>
                        <a:pt x="161" y="156"/>
                      </a:lnTo>
                      <a:lnTo>
                        <a:pt x="160" y="156"/>
                      </a:lnTo>
                      <a:lnTo>
                        <a:pt x="160" y="156"/>
                      </a:lnTo>
                      <a:lnTo>
                        <a:pt x="160" y="156"/>
                      </a:lnTo>
                      <a:lnTo>
                        <a:pt x="160" y="155"/>
                      </a:lnTo>
                      <a:lnTo>
                        <a:pt x="160" y="155"/>
                      </a:lnTo>
                      <a:lnTo>
                        <a:pt x="160" y="155"/>
                      </a:lnTo>
                      <a:lnTo>
                        <a:pt x="160" y="155"/>
                      </a:lnTo>
                      <a:lnTo>
                        <a:pt x="160" y="155"/>
                      </a:lnTo>
                      <a:lnTo>
                        <a:pt x="159" y="155"/>
                      </a:lnTo>
                      <a:lnTo>
                        <a:pt x="159" y="155"/>
                      </a:lnTo>
                      <a:lnTo>
                        <a:pt x="158" y="155"/>
                      </a:lnTo>
                      <a:lnTo>
                        <a:pt x="158" y="155"/>
                      </a:lnTo>
                      <a:lnTo>
                        <a:pt x="158" y="155"/>
                      </a:lnTo>
                      <a:lnTo>
                        <a:pt x="157" y="155"/>
                      </a:lnTo>
                      <a:lnTo>
                        <a:pt x="156" y="155"/>
                      </a:lnTo>
                      <a:lnTo>
                        <a:pt x="156" y="155"/>
                      </a:lnTo>
                      <a:lnTo>
                        <a:pt x="156" y="154"/>
                      </a:lnTo>
                      <a:lnTo>
                        <a:pt x="155" y="154"/>
                      </a:lnTo>
                      <a:lnTo>
                        <a:pt x="155" y="153"/>
                      </a:lnTo>
                      <a:lnTo>
                        <a:pt x="155" y="153"/>
                      </a:lnTo>
                      <a:lnTo>
                        <a:pt x="154" y="153"/>
                      </a:lnTo>
                      <a:lnTo>
                        <a:pt x="154" y="153"/>
                      </a:lnTo>
                      <a:lnTo>
                        <a:pt x="153" y="153"/>
                      </a:lnTo>
                      <a:lnTo>
                        <a:pt x="153" y="152"/>
                      </a:lnTo>
                      <a:lnTo>
                        <a:pt x="154" y="152"/>
                      </a:lnTo>
                      <a:lnTo>
                        <a:pt x="154" y="152"/>
                      </a:lnTo>
                      <a:lnTo>
                        <a:pt x="153" y="152"/>
                      </a:lnTo>
                      <a:lnTo>
                        <a:pt x="153" y="151"/>
                      </a:lnTo>
                      <a:lnTo>
                        <a:pt x="152" y="151"/>
                      </a:lnTo>
                      <a:lnTo>
                        <a:pt x="152" y="151"/>
                      </a:lnTo>
                      <a:lnTo>
                        <a:pt x="152" y="150"/>
                      </a:lnTo>
                      <a:lnTo>
                        <a:pt x="152" y="150"/>
                      </a:lnTo>
                      <a:lnTo>
                        <a:pt x="152" y="150"/>
                      </a:lnTo>
                      <a:lnTo>
                        <a:pt x="152" y="150"/>
                      </a:lnTo>
                      <a:lnTo>
                        <a:pt x="152" y="149"/>
                      </a:lnTo>
                      <a:lnTo>
                        <a:pt x="152" y="149"/>
                      </a:lnTo>
                      <a:lnTo>
                        <a:pt x="152" y="149"/>
                      </a:lnTo>
                      <a:lnTo>
                        <a:pt x="152" y="148"/>
                      </a:lnTo>
                      <a:lnTo>
                        <a:pt x="151" y="148"/>
                      </a:lnTo>
                      <a:lnTo>
                        <a:pt x="152" y="148"/>
                      </a:lnTo>
                      <a:lnTo>
                        <a:pt x="153" y="148"/>
                      </a:lnTo>
                      <a:lnTo>
                        <a:pt x="152" y="148"/>
                      </a:lnTo>
                      <a:lnTo>
                        <a:pt x="153" y="147"/>
                      </a:lnTo>
                      <a:lnTo>
                        <a:pt x="154" y="147"/>
                      </a:lnTo>
                      <a:lnTo>
                        <a:pt x="154" y="146"/>
                      </a:lnTo>
                      <a:lnTo>
                        <a:pt x="154" y="147"/>
                      </a:lnTo>
                      <a:lnTo>
                        <a:pt x="154" y="148"/>
                      </a:lnTo>
                      <a:lnTo>
                        <a:pt x="155" y="148"/>
                      </a:lnTo>
                      <a:lnTo>
                        <a:pt x="154" y="148"/>
                      </a:lnTo>
                      <a:lnTo>
                        <a:pt x="155" y="148"/>
                      </a:lnTo>
                      <a:lnTo>
                        <a:pt x="154" y="147"/>
                      </a:lnTo>
                      <a:lnTo>
                        <a:pt x="155" y="147"/>
                      </a:lnTo>
                      <a:lnTo>
                        <a:pt x="154" y="147"/>
                      </a:lnTo>
                      <a:lnTo>
                        <a:pt x="155" y="147"/>
                      </a:lnTo>
                      <a:lnTo>
                        <a:pt x="155" y="148"/>
                      </a:lnTo>
                      <a:lnTo>
                        <a:pt x="155" y="148"/>
                      </a:lnTo>
                      <a:lnTo>
                        <a:pt x="155" y="148"/>
                      </a:lnTo>
                      <a:lnTo>
                        <a:pt x="155" y="148"/>
                      </a:lnTo>
                      <a:lnTo>
                        <a:pt x="155" y="148"/>
                      </a:lnTo>
                      <a:lnTo>
                        <a:pt x="156" y="148"/>
                      </a:lnTo>
                      <a:lnTo>
                        <a:pt x="155" y="148"/>
                      </a:lnTo>
                      <a:lnTo>
                        <a:pt x="155" y="148"/>
                      </a:lnTo>
                      <a:lnTo>
                        <a:pt x="155" y="148"/>
                      </a:lnTo>
                      <a:lnTo>
                        <a:pt x="155" y="148"/>
                      </a:lnTo>
                      <a:lnTo>
                        <a:pt x="155" y="148"/>
                      </a:lnTo>
                      <a:lnTo>
                        <a:pt x="155" y="147"/>
                      </a:lnTo>
                      <a:lnTo>
                        <a:pt x="154" y="147"/>
                      </a:lnTo>
                      <a:lnTo>
                        <a:pt x="154" y="146"/>
                      </a:lnTo>
                      <a:lnTo>
                        <a:pt x="156" y="146"/>
                      </a:lnTo>
                      <a:lnTo>
                        <a:pt x="157" y="146"/>
                      </a:lnTo>
                      <a:lnTo>
                        <a:pt x="158" y="146"/>
                      </a:lnTo>
                      <a:lnTo>
                        <a:pt x="158" y="146"/>
                      </a:lnTo>
                      <a:lnTo>
                        <a:pt x="159" y="146"/>
                      </a:lnTo>
                      <a:lnTo>
                        <a:pt x="159" y="146"/>
                      </a:lnTo>
                      <a:lnTo>
                        <a:pt x="159" y="146"/>
                      </a:lnTo>
                      <a:lnTo>
                        <a:pt x="159" y="146"/>
                      </a:lnTo>
                      <a:lnTo>
                        <a:pt x="159" y="146"/>
                      </a:lnTo>
                      <a:lnTo>
                        <a:pt x="160" y="147"/>
                      </a:lnTo>
                      <a:lnTo>
                        <a:pt x="160" y="147"/>
                      </a:lnTo>
                      <a:lnTo>
                        <a:pt x="161" y="148"/>
                      </a:lnTo>
                      <a:lnTo>
                        <a:pt x="162" y="148"/>
                      </a:lnTo>
                      <a:lnTo>
                        <a:pt x="162" y="148"/>
                      </a:lnTo>
                      <a:lnTo>
                        <a:pt x="162" y="148"/>
                      </a:lnTo>
                      <a:lnTo>
                        <a:pt x="163" y="149"/>
                      </a:lnTo>
                      <a:lnTo>
                        <a:pt x="163" y="149"/>
                      </a:lnTo>
                      <a:lnTo>
                        <a:pt x="163" y="149"/>
                      </a:lnTo>
                      <a:lnTo>
                        <a:pt x="164" y="149"/>
                      </a:lnTo>
                      <a:lnTo>
                        <a:pt x="165" y="149"/>
                      </a:lnTo>
                      <a:lnTo>
                        <a:pt x="165" y="149"/>
                      </a:lnTo>
                      <a:lnTo>
                        <a:pt x="165" y="150"/>
                      </a:lnTo>
                      <a:lnTo>
                        <a:pt x="165" y="149"/>
                      </a:lnTo>
                      <a:lnTo>
                        <a:pt x="166" y="149"/>
                      </a:lnTo>
                      <a:lnTo>
                        <a:pt x="166" y="149"/>
                      </a:lnTo>
                      <a:lnTo>
                        <a:pt x="167" y="149"/>
                      </a:lnTo>
                      <a:lnTo>
                        <a:pt x="167" y="149"/>
                      </a:lnTo>
                      <a:lnTo>
                        <a:pt x="167" y="149"/>
                      </a:lnTo>
                      <a:lnTo>
                        <a:pt x="167" y="149"/>
                      </a:lnTo>
                      <a:lnTo>
                        <a:pt x="168" y="149"/>
                      </a:lnTo>
                      <a:lnTo>
                        <a:pt x="169" y="149"/>
                      </a:lnTo>
                      <a:lnTo>
                        <a:pt x="168" y="149"/>
                      </a:lnTo>
                      <a:lnTo>
                        <a:pt x="169" y="149"/>
                      </a:lnTo>
                      <a:lnTo>
                        <a:pt x="169" y="149"/>
                      </a:lnTo>
                      <a:lnTo>
                        <a:pt x="169" y="149"/>
                      </a:lnTo>
                      <a:lnTo>
                        <a:pt x="170" y="149"/>
                      </a:lnTo>
                      <a:lnTo>
                        <a:pt x="169" y="149"/>
                      </a:lnTo>
                      <a:lnTo>
                        <a:pt x="169" y="150"/>
                      </a:lnTo>
                      <a:lnTo>
                        <a:pt x="170" y="150"/>
                      </a:lnTo>
                      <a:lnTo>
                        <a:pt x="170" y="150"/>
                      </a:lnTo>
                      <a:lnTo>
                        <a:pt x="170" y="150"/>
                      </a:lnTo>
                      <a:lnTo>
                        <a:pt x="169" y="150"/>
                      </a:lnTo>
                      <a:lnTo>
                        <a:pt x="169" y="149"/>
                      </a:lnTo>
                      <a:lnTo>
                        <a:pt x="170" y="149"/>
                      </a:lnTo>
                      <a:lnTo>
                        <a:pt x="169" y="149"/>
                      </a:lnTo>
                      <a:lnTo>
                        <a:pt x="169" y="149"/>
                      </a:lnTo>
                      <a:lnTo>
                        <a:pt x="169" y="149"/>
                      </a:lnTo>
                      <a:lnTo>
                        <a:pt x="168" y="149"/>
                      </a:lnTo>
                      <a:lnTo>
                        <a:pt x="168" y="148"/>
                      </a:lnTo>
                      <a:lnTo>
                        <a:pt x="169" y="148"/>
                      </a:lnTo>
                      <a:lnTo>
                        <a:pt x="169" y="148"/>
                      </a:lnTo>
                      <a:lnTo>
                        <a:pt x="169" y="148"/>
                      </a:lnTo>
                      <a:lnTo>
                        <a:pt x="169" y="148"/>
                      </a:lnTo>
                      <a:lnTo>
                        <a:pt x="169" y="147"/>
                      </a:lnTo>
                      <a:lnTo>
                        <a:pt x="169" y="146"/>
                      </a:lnTo>
                      <a:lnTo>
                        <a:pt x="169" y="146"/>
                      </a:lnTo>
                      <a:lnTo>
                        <a:pt x="169" y="146"/>
                      </a:lnTo>
                      <a:lnTo>
                        <a:pt x="168" y="145"/>
                      </a:lnTo>
                      <a:lnTo>
                        <a:pt x="167" y="145"/>
                      </a:lnTo>
                      <a:lnTo>
                        <a:pt x="167" y="145"/>
                      </a:lnTo>
                      <a:lnTo>
                        <a:pt x="166" y="145"/>
                      </a:lnTo>
                      <a:lnTo>
                        <a:pt x="166" y="145"/>
                      </a:lnTo>
                      <a:lnTo>
                        <a:pt x="165" y="145"/>
                      </a:lnTo>
                      <a:lnTo>
                        <a:pt x="165" y="145"/>
                      </a:lnTo>
                      <a:lnTo>
                        <a:pt x="164" y="146"/>
                      </a:lnTo>
                      <a:lnTo>
                        <a:pt x="163" y="146"/>
                      </a:lnTo>
                      <a:lnTo>
                        <a:pt x="163" y="146"/>
                      </a:lnTo>
                      <a:lnTo>
                        <a:pt x="162" y="145"/>
                      </a:lnTo>
                      <a:lnTo>
                        <a:pt x="162" y="145"/>
                      </a:lnTo>
                      <a:lnTo>
                        <a:pt x="163" y="145"/>
                      </a:lnTo>
                      <a:lnTo>
                        <a:pt x="163" y="144"/>
                      </a:lnTo>
                      <a:lnTo>
                        <a:pt x="163" y="144"/>
                      </a:lnTo>
                      <a:lnTo>
                        <a:pt x="163" y="144"/>
                      </a:lnTo>
                      <a:lnTo>
                        <a:pt x="163" y="144"/>
                      </a:lnTo>
                      <a:lnTo>
                        <a:pt x="164" y="144"/>
                      </a:lnTo>
                      <a:lnTo>
                        <a:pt x="164" y="144"/>
                      </a:lnTo>
                      <a:lnTo>
                        <a:pt x="165" y="144"/>
                      </a:lnTo>
                      <a:lnTo>
                        <a:pt x="165" y="144"/>
                      </a:lnTo>
                      <a:lnTo>
                        <a:pt x="165" y="144"/>
                      </a:lnTo>
                      <a:lnTo>
                        <a:pt x="165" y="144"/>
                      </a:lnTo>
                      <a:lnTo>
                        <a:pt x="165" y="144"/>
                      </a:lnTo>
                      <a:lnTo>
                        <a:pt x="165" y="143"/>
                      </a:lnTo>
                      <a:lnTo>
                        <a:pt x="166" y="143"/>
                      </a:lnTo>
                      <a:lnTo>
                        <a:pt x="166" y="142"/>
                      </a:lnTo>
                      <a:lnTo>
                        <a:pt x="166" y="142"/>
                      </a:lnTo>
                      <a:lnTo>
                        <a:pt x="166" y="142"/>
                      </a:lnTo>
                      <a:lnTo>
                        <a:pt x="167" y="142"/>
                      </a:lnTo>
                      <a:lnTo>
                        <a:pt x="167" y="142"/>
                      </a:lnTo>
                      <a:lnTo>
                        <a:pt x="168" y="142"/>
                      </a:lnTo>
                      <a:lnTo>
                        <a:pt x="168" y="141"/>
                      </a:lnTo>
                      <a:lnTo>
                        <a:pt x="169" y="141"/>
                      </a:lnTo>
                      <a:lnTo>
                        <a:pt x="169" y="142"/>
                      </a:lnTo>
                      <a:lnTo>
                        <a:pt x="169" y="142"/>
                      </a:lnTo>
                      <a:lnTo>
                        <a:pt x="169" y="141"/>
                      </a:lnTo>
                      <a:lnTo>
                        <a:pt x="170" y="141"/>
                      </a:lnTo>
                      <a:lnTo>
                        <a:pt x="170" y="142"/>
                      </a:lnTo>
                      <a:lnTo>
                        <a:pt x="170" y="142"/>
                      </a:lnTo>
                      <a:lnTo>
                        <a:pt x="171" y="142"/>
                      </a:lnTo>
                      <a:lnTo>
                        <a:pt x="171" y="142"/>
                      </a:lnTo>
                      <a:lnTo>
                        <a:pt x="171" y="142"/>
                      </a:lnTo>
                      <a:lnTo>
                        <a:pt x="172" y="142"/>
                      </a:lnTo>
                      <a:lnTo>
                        <a:pt x="172" y="143"/>
                      </a:lnTo>
                      <a:lnTo>
                        <a:pt x="173" y="143"/>
                      </a:lnTo>
                      <a:lnTo>
                        <a:pt x="172" y="143"/>
                      </a:lnTo>
                      <a:lnTo>
                        <a:pt x="172" y="144"/>
                      </a:lnTo>
                      <a:lnTo>
                        <a:pt x="172" y="143"/>
                      </a:lnTo>
                      <a:lnTo>
                        <a:pt x="172" y="144"/>
                      </a:lnTo>
                      <a:lnTo>
                        <a:pt x="173" y="144"/>
                      </a:lnTo>
                      <a:lnTo>
                        <a:pt x="173" y="143"/>
                      </a:lnTo>
                      <a:lnTo>
                        <a:pt x="173" y="144"/>
                      </a:lnTo>
                      <a:lnTo>
                        <a:pt x="172" y="144"/>
                      </a:lnTo>
                      <a:lnTo>
                        <a:pt x="171" y="144"/>
                      </a:lnTo>
                      <a:lnTo>
                        <a:pt x="172" y="144"/>
                      </a:lnTo>
                      <a:lnTo>
                        <a:pt x="173" y="144"/>
                      </a:lnTo>
                      <a:lnTo>
                        <a:pt x="172" y="144"/>
                      </a:lnTo>
                      <a:lnTo>
                        <a:pt x="173" y="144"/>
                      </a:lnTo>
                      <a:lnTo>
                        <a:pt x="173" y="144"/>
                      </a:lnTo>
                      <a:lnTo>
                        <a:pt x="173" y="145"/>
                      </a:lnTo>
                      <a:lnTo>
                        <a:pt x="173" y="144"/>
                      </a:lnTo>
                      <a:lnTo>
                        <a:pt x="173" y="145"/>
                      </a:lnTo>
                      <a:lnTo>
                        <a:pt x="174" y="145"/>
                      </a:lnTo>
                      <a:lnTo>
                        <a:pt x="174" y="145"/>
                      </a:lnTo>
                      <a:lnTo>
                        <a:pt x="174" y="145"/>
                      </a:lnTo>
                      <a:lnTo>
                        <a:pt x="175" y="145"/>
                      </a:lnTo>
                      <a:lnTo>
                        <a:pt x="175" y="145"/>
                      </a:lnTo>
                      <a:lnTo>
                        <a:pt x="176" y="145"/>
                      </a:lnTo>
                      <a:lnTo>
                        <a:pt x="175" y="145"/>
                      </a:lnTo>
                      <a:lnTo>
                        <a:pt x="176" y="145"/>
                      </a:lnTo>
                      <a:lnTo>
                        <a:pt x="175" y="145"/>
                      </a:lnTo>
                      <a:lnTo>
                        <a:pt x="174" y="145"/>
                      </a:lnTo>
                      <a:lnTo>
                        <a:pt x="174" y="145"/>
                      </a:lnTo>
                      <a:lnTo>
                        <a:pt x="174" y="145"/>
                      </a:lnTo>
                      <a:lnTo>
                        <a:pt x="173" y="145"/>
                      </a:lnTo>
                      <a:lnTo>
                        <a:pt x="174" y="144"/>
                      </a:lnTo>
                      <a:lnTo>
                        <a:pt x="173" y="144"/>
                      </a:lnTo>
                      <a:lnTo>
                        <a:pt x="173" y="145"/>
                      </a:lnTo>
                      <a:lnTo>
                        <a:pt x="173" y="144"/>
                      </a:lnTo>
                      <a:lnTo>
                        <a:pt x="173" y="144"/>
                      </a:lnTo>
                      <a:lnTo>
                        <a:pt x="172" y="144"/>
                      </a:lnTo>
                      <a:lnTo>
                        <a:pt x="173" y="144"/>
                      </a:lnTo>
                      <a:lnTo>
                        <a:pt x="173" y="144"/>
                      </a:lnTo>
                      <a:lnTo>
                        <a:pt x="172" y="144"/>
                      </a:lnTo>
                      <a:lnTo>
                        <a:pt x="171" y="144"/>
                      </a:lnTo>
                      <a:lnTo>
                        <a:pt x="172" y="144"/>
                      </a:lnTo>
                      <a:lnTo>
                        <a:pt x="173" y="144"/>
                      </a:lnTo>
                      <a:lnTo>
                        <a:pt x="172" y="143"/>
                      </a:lnTo>
                      <a:lnTo>
                        <a:pt x="173" y="143"/>
                      </a:lnTo>
                      <a:lnTo>
                        <a:pt x="172" y="143"/>
                      </a:lnTo>
                      <a:lnTo>
                        <a:pt x="172" y="142"/>
                      </a:lnTo>
                      <a:lnTo>
                        <a:pt x="171" y="142"/>
                      </a:lnTo>
                      <a:lnTo>
                        <a:pt x="171" y="142"/>
                      </a:lnTo>
                      <a:lnTo>
                        <a:pt x="171" y="141"/>
                      </a:lnTo>
                      <a:lnTo>
                        <a:pt x="171" y="141"/>
                      </a:lnTo>
                      <a:lnTo>
                        <a:pt x="172" y="141"/>
                      </a:lnTo>
                      <a:lnTo>
                        <a:pt x="171" y="141"/>
                      </a:lnTo>
                      <a:lnTo>
                        <a:pt x="172" y="141"/>
                      </a:lnTo>
                      <a:lnTo>
                        <a:pt x="174" y="141"/>
                      </a:lnTo>
                      <a:lnTo>
                        <a:pt x="175" y="141"/>
                      </a:lnTo>
                      <a:lnTo>
                        <a:pt x="176" y="141"/>
                      </a:lnTo>
                      <a:lnTo>
                        <a:pt x="177" y="141"/>
                      </a:lnTo>
                      <a:lnTo>
                        <a:pt x="177" y="141"/>
                      </a:lnTo>
                      <a:lnTo>
                        <a:pt x="178" y="141"/>
                      </a:lnTo>
                      <a:lnTo>
                        <a:pt x="178" y="141"/>
                      </a:lnTo>
                      <a:lnTo>
                        <a:pt x="179" y="141"/>
                      </a:lnTo>
                      <a:lnTo>
                        <a:pt x="180" y="141"/>
                      </a:lnTo>
                      <a:lnTo>
                        <a:pt x="180" y="142"/>
                      </a:lnTo>
                      <a:lnTo>
                        <a:pt x="180" y="142"/>
                      </a:lnTo>
                      <a:lnTo>
                        <a:pt x="181" y="142"/>
                      </a:lnTo>
                      <a:lnTo>
                        <a:pt x="181" y="142"/>
                      </a:lnTo>
                      <a:lnTo>
                        <a:pt x="182" y="143"/>
                      </a:lnTo>
                      <a:lnTo>
                        <a:pt x="182" y="144"/>
                      </a:lnTo>
                      <a:lnTo>
                        <a:pt x="183" y="144"/>
                      </a:lnTo>
                      <a:lnTo>
                        <a:pt x="184" y="144"/>
                      </a:lnTo>
                      <a:lnTo>
                        <a:pt x="184" y="144"/>
                      </a:lnTo>
                      <a:lnTo>
                        <a:pt x="186" y="145"/>
                      </a:lnTo>
                      <a:lnTo>
                        <a:pt x="186" y="145"/>
                      </a:lnTo>
                      <a:lnTo>
                        <a:pt x="188" y="145"/>
                      </a:lnTo>
                      <a:lnTo>
                        <a:pt x="189" y="145"/>
                      </a:lnTo>
                      <a:lnTo>
                        <a:pt x="190" y="145"/>
                      </a:lnTo>
                      <a:lnTo>
                        <a:pt x="190" y="146"/>
                      </a:lnTo>
                      <a:lnTo>
                        <a:pt x="190" y="146"/>
                      </a:lnTo>
                      <a:lnTo>
                        <a:pt x="189" y="146"/>
                      </a:lnTo>
                      <a:lnTo>
                        <a:pt x="189" y="146"/>
                      </a:lnTo>
                      <a:lnTo>
                        <a:pt x="190" y="146"/>
                      </a:lnTo>
                      <a:lnTo>
                        <a:pt x="189" y="146"/>
                      </a:lnTo>
                      <a:lnTo>
                        <a:pt x="190" y="146"/>
                      </a:lnTo>
                      <a:lnTo>
                        <a:pt x="189" y="145"/>
                      </a:lnTo>
                      <a:lnTo>
                        <a:pt x="189" y="146"/>
                      </a:lnTo>
                      <a:lnTo>
                        <a:pt x="189" y="146"/>
                      </a:lnTo>
                      <a:lnTo>
                        <a:pt x="189" y="146"/>
                      </a:lnTo>
                      <a:lnTo>
                        <a:pt x="190" y="146"/>
                      </a:lnTo>
                      <a:lnTo>
                        <a:pt x="190" y="147"/>
                      </a:lnTo>
                      <a:lnTo>
                        <a:pt x="191" y="147"/>
                      </a:lnTo>
                      <a:lnTo>
                        <a:pt x="191" y="148"/>
                      </a:lnTo>
                      <a:lnTo>
                        <a:pt x="191" y="148"/>
                      </a:lnTo>
                      <a:lnTo>
                        <a:pt x="191" y="148"/>
                      </a:lnTo>
                      <a:lnTo>
                        <a:pt x="192" y="148"/>
                      </a:lnTo>
                      <a:lnTo>
                        <a:pt x="192" y="148"/>
                      </a:lnTo>
                      <a:lnTo>
                        <a:pt x="193" y="149"/>
                      </a:lnTo>
                      <a:lnTo>
                        <a:pt x="193" y="149"/>
                      </a:lnTo>
                      <a:lnTo>
                        <a:pt x="193" y="149"/>
                      </a:lnTo>
                      <a:lnTo>
                        <a:pt x="193" y="149"/>
                      </a:lnTo>
                      <a:lnTo>
                        <a:pt x="193" y="149"/>
                      </a:lnTo>
                      <a:lnTo>
                        <a:pt x="193" y="149"/>
                      </a:lnTo>
                      <a:lnTo>
                        <a:pt x="193" y="149"/>
                      </a:lnTo>
                      <a:lnTo>
                        <a:pt x="193" y="149"/>
                      </a:lnTo>
                      <a:lnTo>
                        <a:pt x="193" y="149"/>
                      </a:lnTo>
                      <a:lnTo>
                        <a:pt x="193" y="149"/>
                      </a:lnTo>
                      <a:lnTo>
                        <a:pt x="192" y="149"/>
                      </a:lnTo>
                      <a:lnTo>
                        <a:pt x="193" y="149"/>
                      </a:lnTo>
                      <a:lnTo>
                        <a:pt x="193" y="149"/>
                      </a:lnTo>
                      <a:lnTo>
                        <a:pt x="193" y="150"/>
                      </a:lnTo>
                      <a:lnTo>
                        <a:pt x="194" y="151"/>
                      </a:lnTo>
                      <a:lnTo>
                        <a:pt x="195" y="151"/>
                      </a:lnTo>
                      <a:lnTo>
                        <a:pt x="195" y="151"/>
                      </a:lnTo>
                      <a:lnTo>
                        <a:pt x="195" y="151"/>
                      </a:lnTo>
                      <a:lnTo>
                        <a:pt x="195" y="151"/>
                      </a:lnTo>
                      <a:lnTo>
                        <a:pt x="196" y="151"/>
                      </a:lnTo>
                      <a:lnTo>
                        <a:pt x="195" y="151"/>
                      </a:lnTo>
                      <a:lnTo>
                        <a:pt x="196" y="151"/>
                      </a:lnTo>
                      <a:lnTo>
                        <a:pt x="196" y="151"/>
                      </a:lnTo>
                      <a:lnTo>
                        <a:pt x="195" y="151"/>
                      </a:lnTo>
                      <a:lnTo>
                        <a:pt x="195" y="151"/>
                      </a:lnTo>
                      <a:lnTo>
                        <a:pt x="195" y="151"/>
                      </a:lnTo>
                      <a:lnTo>
                        <a:pt x="195" y="151"/>
                      </a:lnTo>
                      <a:lnTo>
                        <a:pt x="195" y="151"/>
                      </a:lnTo>
                      <a:lnTo>
                        <a:pt x="195" y="151"/>
                      </a:lnTo>
                      <a:lnTo>
                        <a:pt x="195" y="151"/>
                      </a:lnTo>
                      <a:lnTo>
                        <a:pt x="196" y="151"/>
                      </a:lnTo>
                      <a:lnTo>
                        <a:pt x="196" y="151"/>
                      </a:lnTo>
                      <a:lnTo>
                        <a:pt x="196" y="151"/>
                      </a:lnTo>
                      <a:lnTo>
                        <a:pt x="197" y="151"/>
                      </a:lnTo>
                      <a:lnTo>
                        <a:pt x="197" y="151"/>
                      </a:lnTo>
                      <a:lnTo>
                        <a:pt x="199" y="151"/>
                      </a:lnTo>
                      <a:lnTo>
                        <a:pt x="199" y="151"/>
                      </a:lnTo>
                      <a:lnTo>
                        <a:pt x="200" y="151"/>
                      </a:lnTo>
                      <a:lnTo>
                        <a:pt x="201" y="151"/>
                      </a:lnTo>
                      <a:lnTo>
                        <a:pt x="202" y="151"/>
                      </a:lnTo>
                      <a:lnTo>
                        <a:pt x="203" y="151"/>
                      </a:lnTo>
                      <a:lnTo>
                        <a:pt x="203" y="151"/>
                      </a:lnTo>
                      <a:lnTo>
                        <a:pt x="204" y="151"/>
                      </a:lnTo>
                      <a:lnTo>
                        <a:pt x="204" y="151"/>
                      </a:lnTo>
                      <a:lnTo>
                        <a:pt x="205" y="150"/>
                      </a:lnTo>
                      <a:lnTo>
                        <a:pt x="206" y="150"/>
                      </a:lnTo>
                      <a:lnTo>
                        <a:pt x="206" y="150"/>
                      </a:lnTo>
                      <a:lnTo>
                        <a:pt x="207" y="150"/>
                      </a:lnTo>
                      <a:lnTo>
                        <a:pt x="207" y="150"/>
                      </a:lnTo>
                      <a:lnTo>
                        <a:pt x="207" y="151"/>
                      </a:lnTo>
                      <a:lnTo>
                        <a:pt x="208" y="151"/>
                      </a:lnTo>
                      <a:lnTo>
                        <a:pt x="208" y="151"/>
                      </a:lnTo>
                      <a:lnTo>
                        <a:pt x="209" y="151"/>
                      </a:lnTo>
                      <a:lnTo>
                        <a:pt x="210" y="151"/>
                      </a:lnTo>
                      <a:lnTo>
                        <a:pt x="210" y="151"/>
                      </a:lnTo>
                      <a:lnTo>
                        <a:pt x="210" y="152"/>
                      </a:lnTo>
                      <a:lnTo>
                        <a:pt x="210" y="152"/>
                      </a:lnTo>
                      <a:lnTo>
                        <a:pt x="210" y="152"/>
                      </a:lnTo>
                      <a:lnTo>
                        <a:pt x="209" y="152"/>
                      </a:lnTo>
                      <a:lnTo>
                        <a:pt x="209" y="153"/>
                      </a:lnTo>
                      <a:lnTo>
                        <a:pt x="208" y="153"/>
                      </a:lnTo>
                      <a:lnTo>
                        <a:pt x="208" y="153"/>
                      </a:lnTo>
                      <a:lnTo>
                        <a:pt x="207" y="153"/>
                      </a:lnTo>
                      <a:lnTo>
                        <a:pt x="207" y="154"/>
                      </a:lnTo>
                      <a:lnTo>
                        <a:pt x="207" y="155"/>
                      </a:lnTo>
                      <a:lnTo>
                        <a:pt x="207" y="155"/>
                      </a:lnTo>
                      <a:lnTo>
                        <a:pt x="207" y="156"/>
                      </a:lnTo>
                      <a:lnTo>
                        <a:pt x="207" y="156"/>
                      </a:lnTo>
                      <a:lnTo>
                        <a:pt x="206" y="156"/>
                      </a:lnTo>
                      <a:lnTo>
                        <a:pt x="206" y="156"/>
                      </a:lnTo>
                      <a:lnTo>
                        <a:pt x="206" y="156"/>
                      </a:lnTo>
                      <a:lnTo>
                        <a:pt x="205" y="156"/>
                      </a:lnTo>
                      <a:lnTo>
                        <a:pt x="204" y="156"/>
                      </a:lnTo>
                      <a:lnTo>
                        <a:pt x="204" y="156"/>
                      </a:lnTo>
                      <a:lnTo>
                        <a:pt x="204" y="157"/>
                      </a:lnTo>
                      <a:lnTo>
                        <a:pt x="203" y="157"/>
                      </a:lnTo>
                      <a:lnTo>
                        <a:pt x="203" y="157"/>
                      </a:lnTo>
                      <a:lnTo>
                        <a:pt x="202" y="157"/>
                      </a:lnTo>
                      <a:lnTo>
                        <a:pt x="202" y="157"/>
                      </a:lnTo>
                      <a:lnTo>
                        <a:pt x="202" y="158"/>
                      </a:lnTo>
                      <a:lnTo>
                        <a:pt x="202" y="159"/>
                      </a:lnTo>
                      <a:lnTo>
                        <a:pt x="202" y="159"/>
                      </a:lnTo>
                      <a:lnTo>
                        <a:pt x="202" y="160"/>
                      </a:lnTo>
                      <a:lnTo>
                        <a:pt x="202" y="160"/>
                      </a:lnTo>
                      <a:lnTo>
                        <a:pt x="202" y="161"/>
                      </a:lnTo>
                      <a:lnTo>
                        <a:pt x="201" y="161"/>
                      </a:lnTo>
                      <a:lnTo>
                        <a:pt x="201" y="162"/>
                      </a:lnTo>
                      <a:lnTo>
                        <a:pt x="201" y="162"/>
                      </a:lnTo>
                      <a:lnTo>
                        <a:pt x="202" y="162"/>
                      </a:lnTo>
                      <a:lnTo>
                        <a:pt x="202" y="163"/>
                      </a:lnTo>
                      <a:lnTo>
                        <a:pt x="202" y="163"/>
                      </a:lnTo>
                      <a:lnTo>
                        <a:pt x="202" y="164"/>
                      </a:lnTo>
                      <a:lnTo>
                        <a:pt x="202" y="164"/>
                      </a:lnTo>
                      <a:lnTo>
                        <a:pt x="203" y="164"/>
                      </a:lnTo>
                      <a:lnTo>
                        <a:pt x="203" y="165"/>
                      </a:lnTo>
                      <a:lnTo>
                        <a:pt x="203" y="166"/>
                      </a:lnTo>
                      <a:lnTo>
                        <a:pt x="202" y="166"/>
                      </a:lnTo>
                      <a:lnTo>
                        <a:pt x="202" y="166"/>
                      </a:lnTo>
                      <a:lnTo>
                        <a:pt x="201" y="166"/>
                      </a:lnTo>
                      <a:lnTo>
                        <a:pt x="201" y="167"/>
                      </a:lnTo>
                      <a:lnTo>
                        <a:pt x="201" y="167"/>
                      </a:lnTo>
                      <a:lnTo>
                        <a:pt x="200" y="167"/>
                      </a:lnTo>
                      <a:lnTo>
                        <a:pt x="200" y="168"/>
                      </a:lnTo>
                      <a:lnTo>
                        <a:pt x="200" y="168"/>
                      </a:lnTo>
                      <a:lnTo>
                        <a:pt x="199" y="168"/>
                      </a:lnTo>
                      <a:lnTo>
                        <a:pt x="199" y="168"/>
                      </a:lnTo>
                      <a:lnTo>
                        <a:pt x="198" y="168"/>
                      </a:lnTo>
                      <a:lnTo>
                        <a:pt x="198" y="168"/>
                      </a:lnTo>
                      <a:lnTo>
                        <a:pt x="197" y="168"/>
                      </a:lnTo>
                      <a:lnTo>
                        <a:pt x="198" y="168"/>
                      </a:lnTo>
                      <a:lnTo>
                        <a:pt x="197" y="168"/>
                      </a:lnTo>
                      <a:lnTo>
                        <a:pt x="197" y="169"/>
                      </a:lnTo>
                      <a:lnTo>
                        <a:pt x="198" y="169"/>
                      </a:lnTo>
                      <a:lnTo>
                        <a:pt x="198" y="170"/>
                      </a:lnTo>
                      <a:lnTo>
                        <a:pt x="198" y="169"/>
                      </a:lnTo>
                      <a:lnTo>
                        <a:pt x="197" y="169"/>
                      </a:lnTo>
                      <a:lnTo>
                        <a:pt x="198" y="168"/>
                      </a:lnTo>
                      <a:lnTo>
                        <a:pt x="197" y="168"/>
                      </a:lnTo>
                      <a:lnTo>
                        <a:pt x="198" y="168"/>
                      </a:lnTo>
                      <a:lnTo>
                        <a:pt x="198" y="168"/>
                      </a:lnTo>
                      <a:lnTo>
                        <a:pt x="199" y="168"/>
                      </a:lnTo>
                      <a:lnTo>
                        <a:pt x="198" y="168"/>
                      </a:lnTo>
                      <a:lnTo>
                        <a:pt x="198" y="168"/>
                      </a:lnTo>
                      <a:lnTo>
                        <a:pt x="199" y="168"/>
                      </a:lnTo>
                      <a:lnTo>
                        <a:pt x="199" y="169"/>
                      </a:lnTo>
                      <a:lnTo>
                        <a:pt x="199" y="169"/>
                      </a:lnTo>
                      <a:lnTo>
                        <a:pt x="199" y="170"/>
                      </a:lnTo>
                      <a:lnTo>
                        <a:pt x="199" y="170"/>
                      </a:lnTo>
                      <a:lnTo>
                        <a:pt x="199" y="171"/>
                      </a:lnTo>
                      <a:lnTo>
                        <a:pt x="198" y="171"/>
                      </a:lnTo>
                      <a:lnTo>
                        <a:pt x="198" y="171"/>
                      </a:lnTo>
                      <a:lnTo>
                        <a:pt x="197" y="171"/>
                      </a:lnTo>
                      <a:lnTo>
                        <a:pt x="197" y="171"/>
                      </a:lnTo>
                      <a:lnTo>
                        <a:pt x="197" y="172"/>
                      </a:lnTo>
                      <a:lnTo>
                        <a:pt x="196" y="172"/>
                      </a:lnTo>
                      <a:lnTo>
                        <a:pt x="196" y="172"/>
                      </a:lnTo>
                      <a:lnTo>
                        <a:pt x="196" y="172"/>
                      </a:lnTo>
                      <a:lnTo>
                        <a:pt x="196" y="172"/>
                      </a:lnTo>
                      <a:lnTo>
                        <a:pt x="195" y="172"/>
                      </a:lnTo>
                      <a:lnTo>
                        <a:pt x="196" y="172"/>
                      </a:lnTo>
                      <a:lnTo>
                        <a:pt x="195" y="172"/>
                      </a:lnTo>
                      <a:lnTo>
                        <a:pt x="195" y="173"/>
                      </a:lnTo>
                      <a:lnTo>
                        <a:pt x="195" y="172"/>
                      </a:lnTo>
                      <a:lnTo>
                        <a:pt x="195" y="173"/>
                      </a:lnTo>
                      <a:lnTo>
                        <a:pt x="195" y="172"/>
                      </a:lnTo>
                      <a:lnTo>
                        <a:pt x="194" y="171"/>
                      </a:lnTo>
                      <a:lnTo>
                        <a:pt x="193" y="171"/>
                      </a:lnTo>
                      <a:lnTo>
                        <a:pt x="193" y="172"/>
                      </a:lnTo>
                      <a:lnTo>
                        <a:pt x="193" y="172"/>
                      </a:lnTo>
                      <a:lnTo>
                        <a:pt x="193" y="171"/>
                      </a:lnTo>
                      <a:lnTo>
                        <a:pt x="193" y="171"/>
                      </a:lnTo>
                      <a:lnTo>
                        <a:pt x="193" y="171"/>
                      </a:lnTo>
                      <a:lnTo>
                        <a:pt x="193" y="171"/>
                      </a:lnTo>
                      <a:lnTo>
                        <a:pt x="192" y="171"/>
                      </a:lnTo>
                      <a:lnTo>
                        <a:pt x="192" y="170"/>
                      </a:lnTo>
                      <a:lnTo>
                        <a:pt x="192" y="170"/>
                      </a:lnTo>
                      <a:lnTo>
                        <a:pt x="192" y="170"/>
                      </a:lnTo>
                      <a:lnTo>
                        <a:pt x="192" y="170"/>
                      </a:lnTo>
                      <a:lnTo>
                        <a:pt x="191" y="170"/>
                      </a:lnTo>
                      <a:lnTo>
                        <a:pt x="191" y="170"/>
                      </a:lnTo>
                      <a:lnTo>
                        <a:pt x="190" y="170"/>
                      </a:lnTo>
                      <a:lnTo>
                        <a:pt x="191" y="170"/>
                      </a:lnTo>
                      <a:lnTo>
                        <a:pt x="191" y="170"/>
                      </a:lnTo>
                      <a:lnTo>
                        <a:pt x="191" y="170"/>
                      </a:lnTo>
                      <a:lnTo>
                        <a:pt x="191" y="170"/>
                      </a:lnTo>
                      <a:lnTo>
                        <a:pt x="192" y="170"/>
                      </a:lnTo>
                      <a:lnTo>
                        <a:pt x="192" y="170"/>
                      </a:lnTo>
                      <a:lnTo>
                        <a:pt x="192" y="171"/>
                      </a:lnTo>
                      <a:lnTo>
                        <a:pt x="193" y="171"/>
                      </a:lnTo>
                      <a:lnTo>
                        <a:pt x="193" y="171"/>
                      </a:lnTo>
                      <a:lnTo>
                        <a:pt x="193" y="171"/>
                      </a:lnTo>
                      <a:lnTo>
                        <a:pt x="193" y="171"/>
                      </a:lnTo>
                      <a:lnTo>
                        <a:pt x="192" y="171"/>
                      </a:lnTo>
                      <a:lnTo>
                        <a:pt x="192" y="171"/>
                      </a:lnTo>
                      <a:lnTo>
                        <a:pt x="192" y="171"/>
                      </a:lnTo>
                      <a:lnTo>
                        <a:pt x="191" y="171"/>
                      </a:lnTo>
                      <a:lnTo>
                        <a:pt x="191" y="171"/>
                      </a:lnTo>
                      <a:lnTo>
                        <a:pt x="191" y="171"/>
                      </a:lnTo>
                      <a:lnTo>
                        <a:pt x="190" y="171"/>
                      </a:lnTo>
                      <a:lnTo>
                        <a:pt x="189" y="171"/>
                      </a:lnTo>
                      <a:lnTo>
                        <a:pt x="189" y="171"/>
                      </a:lnTo>
                      <a:lnTo>
                        <a:pt x="189" y="171"/>
                      </a:lnTo>
                      <a:lnTo>
                        <a:pt x="189" y="171"/>
                      </a:lnTo>
                      <a:lnTo>
                        <a:pt x="189" y="170"/>
                      </a:lnTo>
                      <a:lnTo>
                        <a:pt x="190" y="170"/>
                      </a:lnTo>
                      <a:lnTo>
                        <a:pt x="189" y="170"/>
                      </a:lnTo>
                      <a:lnTo>
                        <a:pt x="189" y="170"/>
                      </a:lnTo>
                      <a:lnTo>
                        <a:pt x="189" y="170"/>
                      </a:lnTo>
                      <a:lnTo>
                        <a:pt x="189" y="170"/>
                      </a:lnTo>
                      <a:lnTo>
                        <a:pt x="189" y="170"/>
                      </a:lnTo>
                      <a:lnTo>
                        <a:pt x="189" y="170"/>
                      </a:lnTo>
                      <a:lnTo>
                        <a:pt x="188" y="170"/>
                      </a:lnTo>
                      <a:lnTo>
                        <a:pt x="189" y="170"/>
                      </a:lnTo>
                      <a:lnTo>
                        <a:pt x="189" y="170"/>
                      </a:lnTo>
                      <a:lnTo>
                        <a:pt x="188" y="170"/>
                      </a:lnTo>
                      <a:lnTo>
                        <a:pt x="188" y="169"/>
                      </a:lnTo>
                      <a:lnTo>
                        <a:pt x="187" y="169"/>
                      </a:lnTo>
                      <a:lnTo>
                        <a:pt x="188" y="169"/>
                      </a:lnTo>
                      <a:lnTo>
                        <a:pt x="188" y="170"/>
                      </a:lnTo>
                      <a:lnTo>
                        <a:pt x="188" y="170"/>
                      </a:lnTo>
                      <a:lnTo>
                        <a:pt x="189" y="170"/>
                      </a:lnTo>
                      <a:lnTo>
                        <a:pt x="189" y="170"/>
                      </a:lnTo>
                      <a:lnTo>
                        <a:pt x="189" y="170"/>
                      </a:lnTo>
                      <a:lnTo>
                        <a:pt x="189" y="170"/>
                      </a:lnTo>
                      <a:lnTo>
                        <a:pt x="188" y="170"/>
                      </a:lnTo>
                      <a:lnTo>
                        <a:pt x="189" y="170"/>
                      </a:lnTo>
                      <a:lnTo>
                        <a:pt x="189" y="170"/>
                      </a:lnTo>
                      <a:lnTo>
                        <a:pt x="189" y="171"/>
                      </a:lnTo>
                      <a:lnTo>
                        <a:pt x="189" y="171"/>
                      </a:lnTo>
                      <a:lnTo>
                        <a:pt x="189" y="171"/>
                      </a:lnTo>
                      <a:lnTo>
                        <a:pt x="189" y="171"/>
                      </a:lnTo>
                      <a:lnTo>
                        <a:pt x="190" y="171"/>
                      </a:lnTo>
                      <a:lnTo>
                        <a:pt x="191" y="171"/>
                      </a:lnTo>
                      <a:lnTo>
                        <a:pt x="191" y="171"/>
                      </a:lnTo>
                      <a:lnTo>
                        <a:pt x="191" y="171"/>
                      </a:lnTo>
                      <a:lnTo>
                        <a:pt x="192" y="171"/>
                      </a:lnTo>
                      <a:lnTo>
                        <a:pt x="192" y="171"/>
                      </a:lnTo>
                      <a:lnTo>
                        <a:pt x="192" y="171"/>
                      </a:lnTo>
                      <a:lnTo>
                        <a:pt x="192" y="171"/>
                      </a:lnTo>
                      <a:lnTo>
                        <a:pt x="193" y="171"/>
                      </a:lnTo>
                      <a:lnTo>
                        <a:pt x="193" y="172"/>
                      </a:lnTo>
                      <a:lnTo>
                        <a:pt x="193" y="171"/>
                      </a:lnTo>
                      <a:lnTo>
                        <a:pt x="193" y="171"/>
                      </a:lnTo>
                      <a:lnTo>
                        <a:pt x="193" y="171"/>
                      </a:lnTo>
                      <a:lnTo>
                        <a:pt x="193" y="172"/>
                      </a:lnTo>
                      <a:lnTo>
                        <a:pt x="193" y="172"/>
                      </a:lnTo>
                      <a:lnTo>
                        <a:pt x="194" y="171"/>
                      </a:lnTo>
                      <a:lnTo>
                        <a:pt x="194" y="172"/>
                      </a:lnTo>
                      <a:lnTo>
                        <a:pt x="194" y="173"/>
                      </a:lnTo>
                      <a:lnTo>
                        <a:pt x="195" y="173"/>
                      </a:lnTo>
                      <a:lnTo>
                        <a:pt x="195" y="173"/>
                      </a:lnTo>
                      <a:lnTo>
                        <a:pt x="196" y="173"/>
                      </a:lnTo>
                      <a:lnTo>
                        <a:pt x="195" y="173"/>
                      </a:lnTo>
                      <a:lnTo>
                        <a:pt x="196" y="173"/>
                      </a:lnTo>
                      <a:lnTo>
                        <a:pt x="196" y="173"/>
                      </a:lnTo>
                      <a:lnTo>
                        <a:pt x="196" y="173"/>
                      </a:lnTo>
                      <a:lnTo>
                        <a:pt x="196" y="173"/>
                      </a:lnTo>
                      <a:lnTo>
                        <a:pt x="197" y="173"/>
                      </a:lnTo>
                      <a:lnTo>
                        <a:pt x="196" y="173"/>
                      </a:lnTo>
                      <a:lnTo>
                        <a:pt x="195" y="173"/>
                      </a:lnTo>
                      <a:lnTo>
                        <a:pt x="196" y="173"/>
                      </a:lnTo>
                      <a:lnTo>
                        <a:pt x="195" y="173"/>
                      </a:lnTo>
                      <a:lnTo>
                        <a:pt x="195" y="173"/>
                      </a:lnTo>
                      <a:lnTo>
                        <a:pt x="194" y="173"/>
                      </a:lnTo>
                      <a:lnTo>
                        <a:pt x="194" y="173"/>
                      </a:lnTo>
                      <a:lnTo>
                        <a:pt x="195" y="173"/>
                      </a:lnTo>
                      <a:lnTo>
                        <a:pt x="194" y="173"/>
                      </a:lnTo>
                      <a:lnTo>
                        <a:pt x="195" y="173"/>
                      </a:lnTo>
                      <a:lnTo>
                        <a:pt x="195" y="173"/>
                      </a:lnTo>
                      <a:lnTo>
                        <a:pt x="195" y="174"/>
                      </a:lnTo>
                      <a:lnTo>
                        <a:pt x="195" y="174"/>
                      </a:lnTo>
                      <a:lnTo>
                        <a:pt x="194" y="174"/>
                      </a:lnTo>
                      <a:lnTo>
                        <a:pt x="193" y="174"/>
                      </a:lnTo>
                      <a:lnTo>
                        <a:pt x="193" y="173"/>
                      </a:lnTo>
                      <a:lnTo>
                        <a:pt x="193" y="174"/>
                      </a:lnTo>
                      <a:lnTo>
                        <a:pt x="193" y="173"/>
                      </a:lnTo>
                      <a:lnTo>
                        <a:pt x="193" y="174"/>
                      </a:lnTo>
                      <a:lnTo>
                        <a:pt x="194" y="174"/>
                      </a:lnTo>
                      <a:lnTo>
                        <a:pt x="193" y="174"/>
                      </a:lnTo>
                      <a:lnTo>
                        <a:pt x="193" y="174"/>
                      </a:lnTo>
                      <a:lnTo>
                        <a:pt x="192" y="174"/>
                      </a:lnTo>
                      <a:lnTo>
                        <a:pt x="192" y="174"/>
                      </a:lnTo>
                      <a:lnTo>
                        <a:pt x="193" y="174"/>
                      </a:lnTo>
                      <a:lnTo>
                        <a:pt x="192" y="174"/>
                      </a:lnTo>
                      <a:lnTo>
                        <a:pt x="192" y="175"/>
                      </a:lnTo>
                      <a:lnTo>
                        <a:pt x="192" y="174"/>
                      </a:lnTo>
                      <a:lnTo>
                        <a:pt x="192" y="175"/>
                      </a:lnTo>
                      <a:lnTo>
                        <a:pt x="192" y="175"/>
                      </a:lnTo>
                      <a:lnTo>
                        <a:pt x="192" y="175"/>
                      </a:lnTo>
                      <a:lnTo>
                        <a:pt x="192" y="175"/>
                      </a:lnTo>
                      <a:lnTo>
                        <a:pt x="192" y="175"/>
                      </a:lnTo>
                      <a:lnTo>
                        <a:pt x="192" y="175"/>
                      </a:lnTo>
                      <a:lnTo>
                        <a:pt x="192" y="175"/>
                      </a:lnTo>
                      <a:lnTo>
                        <a:pt x="192" y="174"/>
                      </a:lnTo>
                      <a:lnTo>
                        <a:pt x="192" y="175"/>
                      </a:lnTo>
                      <a:lnTo>
                        <a:pt x="192" y="174"/>
                      </a:lnTo>
                      <a:lnTo>
                        <a:pt x="193" y="174"/>
                      </a:lnTo>
                      <a:lnTo>
                        <a:pt x="192" y="174"/>
                      </a:lnTo>
                      <a:lnTo>
                        <a:pt x="193" y="174"/>
                      </a:lnTo>
                      <a:lnTo>
                        <a:pt x="192" y="174"/>
                      </a:lnTo>
                      <a:lnTo>
                        <a:pt x="192" y="174"/>
                      </a:lnTo>
                      <a:lnTo>
                        <a:pt x="193" y="174"/>
                      </a:lnTo>
                      <a:lnTo>
                        <a:pt x="193" y="174"/>
                      </a:lnTo>
                      <a:lnTo>
                        <a:pt x="193" y="174"/>
                      </a:lnTo>
                      <a:lnTo>
                        <a:pt x="193" y="174"/>
                      </a:lnTo>
                      <a:lnTo>
                        <a:pt x="194" y="174"/>
                      </a:lnTo>
                      <a:lnTo>
                        <a:pt x="195" y="174"/>
                      </a:lnTo>
                      <a:lnTo>
                        <a:pt x="195" y="174"/>
                      </a:lnTo>
                      <a:lnTo>
                        <a:pt x="195" y="173"/>
                      </a:lnTo>
                      <a:lnTo>
                        <a:pt x="196" y="173"/>
                      </a:lnTo>
                      <a:lnTo>
                        <a:pt x="196" y="173"/>
                      </a:lnTo>
                      <a:lnTo>
                        <a:pt x="197" y="173"/>
                      </a:lnTo>
                      <a:lnTo>
                        <a:pt x="197" y="173"/>
                      </a:lnTo>
                      <a:lnTo>
                        <a:pt x="198" y="173"/>
                      </a:lnTo>
                      <a:lnTo>
                        <a:pt x="198" y="173"/>
                      </a:lnTo>
                      <a:lnTo>
                        <a:pt x="199" y="173"/>
                      </a:lnTo>
                      <a:lnTo>
                        <a:pt x="199" y="172"/>
                      </a:lnTo>
                      <a:lnTo>
                        <a:pt x="199" y="172"/>
                      </a:lnTo>
                      <a:lnTo>
                        <a:pt x="200" y="172"/>
                      </a:lnTo>
                      <a:lnTo>
                        <a:pt x="200" y="172"/>
                      </a:lnTo>
                      <a:lnTo>
                        <a:pt x="201" y="172"/>
                      </a:lnTo>
                      <a:lnTo>
                        <a:pt x="202" y="173"/>
                      </a:lnTo>
                      <a:lnTo>
                        <a:pt x="202" y="173"/>
                      </a:lnTo>
                      <a:lnTo>
                        <a:pt x="202" y="173"/>
                      </a:lnTo>
                      <a:lnTo>
                        <a:pt x="202" y="174"/>
                      </a:lnTo>
                      <a:lnTo>
                        <a:pt x="202" y="174"/>
                      </a:lnTo>
                      <a:lnTo>
                        <a:pt x="201" y="174"/>
                      </a:lnTo>
                      <a:lnTo>
                        <a:pt x="201" y="174"/>
                      </a:lnTo>
                      <a:lnTo>
                        <a:pt x="201" y="175"/>
                      </a:lnTo>
                      <a:lnTo>
                        <a:pt x="200" y="175"/>
                      </a:lnTo>
                      <a:lnTo>
                        <a:pt x="200" y="175"/>
                      </a:lnTo>
                      <a:lnTo>
                        <a:pt x="199" y="175"/>
                      </a:lnTo>
                      <a:lnTo>
                        <a:pt x="199" y="175"/>
                      </a:lnTo>
                      <a:lnTo>
                        <a:pt x="199" y="175"/>
                      </a:lnTo>
                      <a:lnTo>
                        <a:pt x="199" y="175"/>
                      </a:lnTo>
                      <a:lnTo>
                        <a:pt x="198" y="175"/>
                      </a:lnTo>
                      <a:lnTo>
                        <a:pt x="198" y="176"/>
                      </a:lnTo>
                      <a:lnTo>
                        <a:pt x="197" y="176"/>
                      </a:lnTo>
                      <a:lnTo>
                        <a:pt x="197" y="177"/>
                      </a:lnTo>
                      <a:lnTo>
                        <a:pt x="197" y="176"/>
                      </a:lnTo>
                      <a:lnTo>
                        <a:pt x="198" y="176"/>
                      </a:lnTo>
                      <a:lnTo>
                        <a:pt x="198" y="175"/>
                      </a:lnTo>
                      <a:lnTo>
                        <a:pt x="199" y="175"/>
                      </a:lnTo>
                      <a:lnTo>
                        <a:pt x="199" y="175"/>
                      </a:lnTo>
                      <a:lnTo>
                        <a:pt x="200" y="175"/>
                      </a:lnTo>
                      <a:lnTo>
                        <a:pt x="200" y="175"/>
                      </a:lnTo>
                      <a:lnTo>
                        <a:pt x="201" y="175"/>
                      </a:lnTo>
                      <a:lnTo>
                        <a:pt x="202" y="175"/>
                      </a:lnTo>
                      <a:lnTo>
                        <a:pt x="202" y="176"/>
                      </a:lnTo>
                      <a:lnTo>
                        <a:pt x="202" y="177"/>
                      </a:lnTo>
                      <a:lnTo>
                        <a:pt x="202" y="177"/>
                      </a:lnTo>
                      <a:lnTo>
                        <a:pt x="203" y="177"/>
                      </a:lnTo>
                      <a:lnTo>
                        <a:pt x="203" y="177"/>
                      </a:lnTo>
                      <a:lnTo>
                        <a:pt x="204" y="177"/>
                      </a:lnTo>
                      <a:lnTo>
                        <a:pt x="204" y="177"/>
                      </a:lnTo>
                      <a:lnTo>
                        <a:pt x="205" y="177"/>
                      </a:lnTo>
                      <a:lnTo>
                        <a:pt x="205" y="178"/>
                      </a:lnTo>
                      <a:lnTo>
                        <a:pt x="206" y="178"/>
                      </a:lnTo>
                      <a:lnTo>
                        <a:pt x="206" y="178"/>
                      </a:lnTo>
                      <a:lnTo>
                        <a:pt x="207" y="178"/>
                      </a:lnTo>
                      <a:lnTo>
                        <a:pt x="207" y="178"/>
                      </a:lnTo>
                      <a:lnTo>
                        <a:pt x="207" y="178"/>
                      </a:lnTo>
                      <a:lnTo>
                        <a:pt x="207" y="178"/>
                      </a:lnTo>
                      <a:lnTo>
                        <a:pt x="208" y="178"/>
                      </a:lnTo>
                      <a:lnTo>
                        <a:pt x="208" y="178"/>
                      </a:lnTo>
                      <a:lnTo>
                        <a:pt x="209" y="178"/>
                      </a:lnTo>
                      <a:lnTo>
                        <a:pt x="210" y="178"/>
                      </a:lnTo>
                      <a:lnTo>
                        <a:pt x="210" y="179"/>
                      </a:lnTo>
                      <a:lnTo>
                        <a:pt x="210" y="179"/>
                      </a:lnTo>
                      <a:lnTo>
                        <a:pt x="211" y="179"/>
                      </a:lnTo>
                      <a:lnTo>
                        <a:pt x="211" y="179"/>
                      </a:lnTo>
                      <a:lnTo>
                        <a:pt x="211" y="180"/>
                      </a:lnTo>
                      <a:lnTo>
                        <a:pt x="212" y="180"/>
                      </a:lnTo>
                      <a:lnTo>
                        <a:pt x="212" y="181"/>
                      </a:lnTo>
                      <a:lnTo>
                        <a:pt x="212" y="181"/>
                      </a:lnTo>
                      <a:lnTo>
                        <a:pt x="212" y="181"/>
                      </a:lnTo>
                      <a:lnTo>
                        <a:pt x="213" y="181"/>
                      </a:lnTo>
                      <a:lnTo>
                        <a:pt x="214" y="182"/>
                      </a:lnTo>
                      <a:lnTo>
                        <a:pt x="214" y="182"/>
                      </a:lnTo>
                      <a:lnTo>
                        <a:pt x="215" y="182"/>
                      </a:lnTo>
                      <a:lnTo>
                        <a:pt x="215" y="182"/>
                      </a:lnTo>
                      <a:lnTo>
                        <a:pt x="215" y="183"/>
                      </a:lnTo>
                      <a:lnTo>
                        <a:pt x="216" y="183"/>
                      </a:lnTo>
                      <a:lnTo>
                        <a:pt x="216" y="184"/>
                      </a:lnTo>
                      <a:lnTo>
                        <a:pt x="216" y="184"/>
                      </a:lnTo>
                      <a:lnTo>
                        <a:pt x="215" y="184"/>
                      </a:lnTo>
                      <a:lnTo>
                        <a:pt x="216" y="184"/>
                      </a:lnTo>
                      <a:lnTo>
                        <a:pt x="216" y="184"/>
                      </a:lnTo>
                      <a:lnTo>
                        <a:pt x="217" y="184"/>
                      </a:lnTo>
                      <a:lnTo>
                        <a:pt x="217" y="184"/>
                      </a:lnTo>
                      <a:lnTo>
                        <a:pt x="217" y="183"/>
                      </a:lnTo>
                      <a:lnTo>
                        <a:pt x="217" y="183"/>
                      </a:lnTo>
                      <a:lnTo>
                        <a:pt x="217" y="183"/>
                      </a:lnTo>
                      <a:lnTo>
                        <a:pt x="217" y="182"/>
                      </a:lnTo>
                      <a:lnTo>
                        <a:pt x="218" y="183"/>
                      </a:lnTo>
                      <a:lnTo>
                        <a:pt x="218" y="184"/>
                      </a:lnTo>
                      <a:lnTo>
                        <a:pt x="218" y="184"/>
                      </a:lnTo>
                      <a:lnTo>
                        <a:pt x="218" y="184"/>
                      </a:lnTo>
                      <a:lnTo>
                        <a:pt x="219" y="184"/>
                      </a:lnTo>
                      <a:lnTo>
                        <a:pt x="219" y="185"/>
                      </a:lnTo>
                      <a:lnTo>
                        <a:pt x="218" y="185"/>
                      </a:lnTo>
                      <a:lnTo>
                        <a:pt x="218" y="185"/>
                      </a:lnTo>
                      <a:lnTo>
                        <a:pt x="219" y="185"/>
                      </a:lnTo>
                      <a:lnTo>
                        <a:pt x="219" y="186"/>
                      </a:lnTo>
                      <a:lnTo>
                        <a:pt x="218" y="186"/>
                      </a:lnTo>
                      <a:lnTo>
                        <a:pt x="218" y="186"/>
                      </a:lnTo>
                      <a:lnTo>
                        <a:pt x="218" y="186"/>
                      </a:lnTo>
                      <a:lnTo>
                        <a:pt x="217" y="186"/>
                      </a:lnTo>
                      <a:lnTo>
                        <a:pt x="217" y="187"/>
                      </a:lnTo>
                      <a:lnTo>
                        <a:pt x="217" y="188"/>
                      </a:lnTo>
                      <a:lnTo>
                        <a:pt x="216" y="188"/>
                      </a:lnTo>
                      <a:lnTo>
                        <a:pt x="216" y="188"/>
                      </a:lnTo>
                      <a:lnTo>
                        <a:pt x="215" y="188"/>
                      </a:lnTo>
                      <a:lnTo>
                        <a:pt x="215" y="188"/>
                      </a:lnTo>
                      <a:lnTo>
                        <a:pt x="214" y="188"/>
                      </a:lnTo>
                      <a:lnTo>
                        <a:pt x="214" y="189"/>
                      </a:lnTo>
                      <a:lnTo>
                        <a:pt x="214" y="189"/>
                      </a:lnTo>
                      <a:lnTo>
                        <a:pt x="214" y="189"/>
                      </a:lnTo>
                      <a:lnTo>
                        <a:pt x="214" y="190"/>
                      </a:lnTo>
                      <a:lnTo>
                        <a:pt x="214" y="190"/>
                      </a:lnTo>
                      <a:lnTo>
                        <a:pt x="214" y="190"/>
                      </a:lnTo>
                      <a:lnTo>
                        <a:pt x="214" y="191"/>
                      </a:lnTo>
                      <a:lnTo>
                        <a:pt x="214" y="191"/>
                      </a:lnTo>
                      <a:lnTo>
                        <a:pt x="214" y="192"/>
                      </a:lnTo>
                      <a:lnTo>
                        <a:pt x="215" y="192"/>
                      </a:lnTo>
                      <a:lnTo>
                        <a:pt x="214" y="192"/>
                      </a:lnTo>
                      <a:lnTo>
                        <a:pt x="214" y="192"/>
                      </a:lnTo>
                      <a:lnTo>
                        <a:pt x="214" y="192"/>
                      </a:lnTo>
                      <a:lnTo>
                        <a:pt x="215" y="192"/>
                      </a:lnTo>
                      <a:lnTo>
                        <a:pt x="215" y="192"/>
                      </a:lnTo>
                      <a:lnTo>
                        <a:pt x="215" y="193"/>
                      </a:lnTo>
                      <a:lnTo>
                        <a:pt x="215" y="193"/>
                      </a:lnTo>
                      <a:lnTo>
                        <a:pt x="214" y="193"/>
                      </a:lnTo>
                      <a:lnTo>
                        <a:pt x="215" y="193"/>
                      </a:lnTo>
                      <a:lnTo>
                        <a:pt x="215" y="194"/>
                      </a:lnTo>
                      <a:lnTo>
                        <a:pt x="214" y="194"/>
                      </a:lnTo>
                      <a:lnTo>
                        <a:pt x="214" y="194"/>
                      </a:lnTo>
                      <a:lnTo>
                        <a:pt x="214" y="195"/>
                      </a:lnTo>
                      <a:lnTo>
                        <a:pt x="215" y="195"/>
                      </a:lnTo>
                      <a:lnTo>
                        <a:pt x="214" y="196"/>
                      </a:lnTo>
                      <a:lnTo>
                        <a:pt x="214" y="196"/>
                      </a:lnTo>
                      <a:lnTo>
                        <a:pt x="214" y="196"/>
                      </a:lnTo>
                      <a:lnTo>
                        <a:pt x="214" y="197"/>
                      </a:lnTo>
                      <a:lnTo>
                        <a:pt x="214" y="197"/>
                      </a:lnTo>
                      <a:lnTo>
                        <a:pt x="215" y="197"/>
                      </a:lnTo>
                      <a:lnTo>
                        <a:pt x="215" y="197"/>
                      </a:lnTo>
                      <a:lnTo>
                        <a:pt x="214" y="197"/>
                      </a:lnTo>
                      <a:lnTo>
                        <a:pt x="214" y="197"/>
                      </a:lnTo>
                      <a:lnTo>
                        <a:pt x="213" y="197"/>
                      </a:lnTo>
                      <a:lnTo>
                        <a:pt x="212" y="198"/>
                      </a:lnTo>
                      <a:lnTo>
                        <a:pt x="212" y="198"/>
                      </a:lnTo>
                      <a:lnTo>
                        <a:pt x="212" y="197"/>
                      </a:lnTo>
                      <a:lnTo>
                        <a:pt x="211" y="197"/>
                      </a:lnTo>
                      <a:lnTo>
                        <a:pt x="211" y="197"/>
                      </a:lnTo>
                      <a:lnTo>
                        <a:pt x="211" y="197"/>
                      </a:lnTo>
                      <a:lnTo>
                        <a:pt x="210" y="197"/>
                      </a:lnTo>
                      <a:lnTo>
                        <a:pt x="210" y="197"/>
                      </a:lnTo>
                      <a:lnTo>
                        <a:pt x="209" y="197"/>
                      </a:lnTo>
                      <a:lnTo>
                        <a:pt x="209" y="197"/>
                      </a:lnTo>
                      <a:lnTo>
                        <a:pt x="209" y="197"/>
                      </a:lnTo>
                      <a:lnTo>
                        <a:pt x="208" y="197"/>
                      </a:lnTo>
                      <a:lnTo>
                        <a:pt x="208" y="197"/>
                      </a:lnTo>
                      <a:lnTo>
                        <a:pt x="207" y="197"/>
                      </a:lnTo>
                      <a:lnTo>
                        <a:pt x="207" y="197"/>
                      </a:lnTo>
                      <a:lnTo>
                        <a:pt x="208" y="197"/>
                      </a:lnTo>
                      <a:lnTo>
                        <a:pt x="208" y="198"/>
                      </a:lnTo>
                      <a:lnTo>
                        <a:pt x="208" y="198"/>
                      </a:lnTo>
                      <a:lnTo>
                        <a:pt x="208" y="199"/>
                      </a:lnTo>
                      <a:lnTo>
                        <a:pt x="208" y="199"/>
                      </a:lnTo>
                      <a:lnTo>
                        <a:pt x="208" y="200"/>
                      </a:lnTo>
                      <a:lnTo>
                        <a:pt x="208" y="200"/>
                      </a:lnTo>
                      <a:lnTo>
                        <a:pt x="208" y="200"/>
                      </a:lnTo>
                      <a:lnTo>
                        <a:pt x="208" y="200"/>
                      </a:lnTo>
                      <a:lnTo>
                        <a:pt x="208" y="201"/>
                      </a:lnTo>
                      <a:lnTo>
                        <a:pt x="209" y="201"/>
                      </a:lnTo>
                      <a:lnTo>
                        <a:pt x="209" y="201"/>
                      </a:lnTo>
                      <a:lnTo>
                        <a:pt x="208" y="201"/>
                      </a:lnTo>
                      <a:lnTo>
                        <a:pt x="208" y="202"/>
                      </a:lnTo>
                      <a:lnTo>
                        <a:pt x="209" y="202"/>
                      </a:lnTo>
                      <a:lnTo>
                        <a:pt x="208" y="202"/>
                      </a:lnTo>
                      <a:lnTo>
                        <a:pt x="209" y="202"/>
                      </a:lnTo>
                      <a:lnTo>
                        <a:pt x="210" y="202"/>
                      </a:lnTo>
                      <a:lnTo>
                        <a:pt x="210" y="203"/>
                      </a:lnTo>
                      <a:lnTo>
                        <a:pt x="210" y="203"/>
                      </a:lnTo>
                      <a:lnTo>
                        <a:pt x="210" y="203"/>
                      </a:lnTo>
                      <a:lnTo>
                        <a:pt x="210" y="203"/>
                      </a:lnTo>
                      <a:lnTo>
                        <a:pt x="211" y="203"/>
                      </a:lnTo>
                      <a:lnTo>
                        <a:pt x="210" y="203"/>
                      </a:lnTo>
                      <a:lnTo>
                        <a:pt x="210" y="203"/>
                      </a:lnTo>
                      <a:lnTo>
                        <a:pt x="210" y="202"/>
                      </a:lnTo>
                      <a:lnTo>
                        <a:pt x="210" y="202"/>
                      </a:lnTo>
                      <a:lnTo>
                        <a:pt x="210" y="202"/>
                      </a:lnTo>
                      <a:lnTo>
                        <a:pt x="209" y="202"/>
                      </a:lnTo>
                      <a:lnTo>
                        <a:pt x="208" y="202"/>
                      </a:lnTo>
                      <a:lnTo>
                        <a:pt x="208" y="201"/>
                      </a:lnTo>
                      <a:lnTo>
                        <a:pt x="209" y="201"/>
                      </a:lnTo>
                      <a:lnTo>
                        <a:pt x="209" y="201"/>
                      </a:lnTo>
                      <a:lnTo>
                        <a:pt x="208" y="201"/>
                      </a:lnTo>
                      <a:lnTo>
                        <a:pt x="208" y="200"/>
                      </a:lnTo>
                      <a:lnTo>
                        <a:pt x="209" y="200"/>
                      </a:lnTo>
                      <a:lnTo>
                        <a:pt x="208" y="200"/>
                      </a:lnTo>
                      <a:lnTo>
                        <a:pt x="208" y="200"/>
                      </a:lnTo>
                      <a:lnTo>
                        <a:pt x="208" y="200"/>
                      </a:lnTo>
                      <a:lnTo>
                        <a:pt x="208" y="200"/>
                      </a:lnTo>
                      <a:lnTo>
                        <a:pt x="208" y="199"/>
                      </a:lnTo>
                      <a:lnTo>
                        <a:pt x="208" y="199"/>
                      </a:lnTo>
                      <a:lnTo>
                        <a:pt x="208" y="198"/>
                      </a:lnTo>
                      <a:lnTo>
                        <a:pt x="208" y="197"/>
                      </a:lnTo>
                      <a:lnTo>
                        <a:pt x="207" y="197"/>
                      </a:lnTo>
                      <a:lnTo>
                        <a:pt x="207" y="197"/>
                      </a:lnTo>
                      <a:lnTo>
                        <a:pt x="208" y="197"/>
                      </a:lnTo>
                      <a:lnTo>
                        <a:pt x="208" y="197"/>
                      </a:lnTo>
                      <a:lnTo>
                        <a:pt x="209" y="197"/>
                      </a:lnTo>
                      <a:lnTo>
                        <a:pt x="209" y="197"/>
                      </a:lnTo>
                      <a:lnTo>
                        <a:pt x="210" y="197"/>
                      </a:lnTo>
                      <a:lnTo>
                        <a:pt x="210" y="197"/>
                      </a:lnTo>
                      <a:lnTo>
                        <a:pt x="210" y="197"/>
                      </a:lnTo>
                      <a:lnTo>
                        <a:pt x="210" y="197"/>
                      </a:lnTo>
                      <a:lnTo>
                        <a:pt x="211" y="197"/>
                      </a:lnTo>
                      <a:lnTo>
                        <a:pt x="211" y="197"/>
                      </a:lnTo>
                      <a:lnTo>
                        <a:pt x="211" y="198"/>
                      </a:lnTo>
                      <a:lnTo>
                        <a:pt x="212" y="198"/>
                      </a:lnTo>
                      <a:lnTo>
                        <a:pt x="212" y="198"/>
                      </a:lnTo>
                      <a:lnTo>
                        <a:pt x="213" y="198"/>
                      </a:lnTo>
                      <a:lnTo>
                        <a:pt x="213" y="197"/>
                      </a:lnTo>
                      <a:lnTo>
                        <a:pt x="214" y="197"/>
                      </a:lnTo>
                      <a:lnTo>
                        <a:pt x="214" y="197"/>
                      </a:lnTo>
                      <a:lnTo>
                        <a:pt x="215" y="197"/>
                      </a:lnTo>
                      <a:lnTo>
                        <a:pt x="215" y="197"/>
                      </a:lnTo>
                      <a:lnTo>
                        <a:pt x="214" y="197"/>
                      </a:lnTo>
                      <a:lnTo>
                        <a:pt x="214" y="197"/>
                      </a:lnTo>
                      <a:lnTo>
                        <a:pt x="214" y="196"/>
                      </a:lnTo>
                      <a:lnTo>
                        <a:pt x="214" y="196"/>
                      </a:lnTo>
                      <a:lnTo>
                        <a:pt x="214" y="196"/>
                      </a:lnTo>
                      <a:lnTo>
                        <a:pt x="215" y="196"/>
                      </a:lnTo>
                      <a:lnTo>
                        <a:pt x="215" y="195"/>
                      </a:lnTo>
                      <a:lnTo>
                        <a:pt x="214" y="195"/>
                      </a:lnTo>
                      <a:lnTo>
                        <a:pt x="214" y="194"/>
                      </a:lnTo>
                      <a:lnTo>
                        <a:pt x="214" y="194"/>
                      </a:lnTo>
                      <a:lnTo>
                        <a:pt x="215" y="194"/>
                      </a:lnTo>
                      <a:lnTo>
                        <a:pt x="215" y="193"/>
                      </a:lnTo>
                      <a:lnTo>
                        <a:pt x="214" y="193"/>
                      </a:lnTo>
                      <a:lnTo>
                        <a:pt x="215" y="193"/>
                      </a:lnTo>
                      <a:lnTo>
                        <a:pt x="215" y="193"/>
                      </a:lnTo>
                      <a:lnTo>
                        <a:pt x="215" y="193"/>
                      </a:lnTo>
                      <a:lnTo>
                        <a:pt x="215" y="192"/>
                      </a:lnTo>
                      <a:lnTo>
                        <a:pt x="215" y="192"/>
                      </a:lnTo>
                      <a:lnTo>
                        <a:pt x="214" y="192"/>
                      </a:lnTo>
                      <a:lnTo>
                        <a:pt x="214" y="192"/>
                      </a:lnTo>
                      <a:lnTo>
                        <a:pt x="214" y="192"/>
                      </a:lnTo>
                      <a:lnTo>
                        <a:pt x="215" y="192"/>
                      </a:lnTo>
                      <a:lnTo>
                        <a:pt x="214" y="191"/>
                      </a:lnTo>
                      <a:lnTo>
                        <a:pt x="214" y="190"/>
                      </a:lnTo>
                      <a:lnTo>
                        <a:pt x="214" y="190"/>
                      </a:lnTo>
                      <a:lnTo>
                        <a:pt x="214" y="190"/>
                      </a:lnTo>
                      <a:lnTo>
                        <a:pt x="214" y="189"/>
                      </a:lnTo>
                      <a:lnTo>
                        <a:pt x="214" y="189"/>
                      </a:lnTo>
                      <a:lnTo>
                        <a:pt x="214" y="189"/>
                      </a:lnTo>
                      <a:lnTo>
                        <a:pt x="214" y="188"/>
                      </a:lnTo>
                      <a:lnTo>
                        <a:pt x="215" y="188"/>
                      </a:lnTo>
                      <a:lnTo>
                        <a:pt x="215" y="188"/>
                      </a:lnTo>
                      <a:lnTo>
                        <a:pt x="216" y="188"/>
                      </a:lnTo>
                      <a:lnTo>
                        <a:pt x="216" y="188"/>
                      </a:lnTo>
                      <a:lnTo>
                        <a:pt x="217" y="188"/>
                      </a:lnTo>
                      <a:lnTo>
                        <a:pt x="217" y="187"/>
                      </a:lnTo>
                      <a:lnTo>
                        <a:pt x="217" y="187"/>
                      </a:lnTo>
                      <a:lnTo>
                        <a:pt x="217" y="186"/>
                      </a:lnTo>
                      <a:lnTo>
                        <a:pt x="218" y="186"/>
                      </a:lnTo>
                      <a:lnTo>
                        <a:pt x="218" y="186"/>
                      </a:lnTo>
                      <a:lnTo>
                        <a:pt x="218" y="186"/>
                      </a:lnTo>
                      <a:lnTo>
                        <a:pt x="219" y="185"/>
                      </a:lnTo>
                      <a:lnTo>
                        <a:pt x="218" y="185"/>
                      </a:lnTo>
                      <a:lnTo>
                        <a:pt x="218" y="185"/>
                      </a:lnTo>
                      <a:lnTo>
                        <a:pt x="219" y="185"/>
                      </a:lnTo>
                      <a:lnTo>
                        <a:pt x="219" y="184"/>
                      </a:lnTo>
                      <a:lnTo>
                        <a:pt x="218" y="184"/>
                      </a:lnTo>
                      <a:lnTo>
                        <a:pt x="218" y="184"/>
                      </a:lnTo>
                      <a:lnTo>
                        <a:pt x="218" y="184"/>
                      </a:lnTo>
                      <a:lnTo>
                        <a:pt x="218" y="184"/>
                      </a:lnTo>
                      <a:lnTo>
                        <a:pt x="218" y="184"/>
                      </a:lnTo>
                      <a:lnTo>
                        <a:pt x="218" y="183"/>
                      </a:lnTo>
                      <a:lnTo>
                        <a:pt x="218" y="182"/>
                      </a:lnTo>
                      <a:lnTo>
                        <a:pt x="218" y="182"/>
                      </a:lnTo>
                      <a:lnTo>
                        <a:pt x="219" y="182"/>
                      </a:lnTo>
                      <a:lnTo>
                        <a:pt x="219" y="182"/>
                      </a:lnTo>
                      <a:lnTo>
                        <a:pt x="220" y="182"/>
                      </a:lnTo>
                      <a:lnTo>
                        <a:pt x="220" y="182"/>
                      </a:lnTo>
                      <a:lnTo>
                        <a:pt x="219" y="182"/>
                      </a:lnTo>
                      <a:lnTo>
                        <a:pt x="220" y="182"/>
                      </a:lnTo>
                      <a:lnTo>
                        <a:pt x="220" y="183"/>
                      </a:lnTo>
                      <a:lnTo>
                        <a:pt x="221" y="183"/>
                      </a:lnTo>
                      <a:lnTo>
                        <a:pt x="221" y="183"/>
                      </a:lnTo>
                      <a:lnTo>
                        <a:pt x="221" y="183"/>
                      </a:lnTo>
                      <a:lnTo>
                        <a:pt x="221" y="184"/>
                      </a:lnTo>
                      <a:lnTo>
                        <a:pt x="221" y="184"/>
                      </a:lnTo>
                      <a:lnTo>
                        <a:pt x="221" y="184"/>
                      </a:lnTo>
                      <a:lnTo>
                        <a:pt x="221" y="185"/>
                      </a:lnTo>
                      <a:lnTo>
                        <a:pt x="221" y="184"/>
                      </a:lnTo>
                      <a:lnTo>
                        <a:pt x="222" y="184"/>
                      </a:lnTo>
                      <a:lnTo>
                        <a:pt x="222" y="185"/>
                      </a:lnTo>
                      <a:lnTo>
                        <a:pt x="222" y="185"/>
                      </a:lnTo>
                      <a:lnTo>
                        <a:pt x="222" y="185"/>
                      </a:lnTo>
                      <a:lnTo>
                        <a:pt x="222" y="186"/>
                      </a:lnTo>
                      <a:lnTo>
                        <a:pt x="221" y="186"/>
                      </a:lnTo>
                      <a:lnTo>
                        <a:pt x="221" y="186"/>
                      </a:lnTo>
                      <a:lnTo>
                        <a:pt x="220" y="186"/>
                      </a:lnTo>
                      <a:lnTo>
                        <a:pt x="220" y="186"/>
                      </a:lnTo>
                      <a:lnTo>
                        <a:pt x="221" y="186"/>
                      </a:lnTo>
                      <a:lnTo>
                        <a:pt x="220" y="187"/>
                      </a:lnTo>
                      <a:lnTo>
                        <a:pt x="221" y="187"/>
                      </a:lnTo>
                      <a:lnTo>
                        <a:pt x="220" y="187"/>
                      </a:lnTo>
                      <a:lnTo>
                        <a:pt x="221" y="187"/>
                      </a:lnTo>
                      <a:lnTo>
                        <a:pt x="220" y="187"/>
                      </a:lnTo>
                      <a:lnTo>
                        <a:pt x="220" y="186"/>
                      </a:lnTo>
                      <a:lnTo>
                        <a:pt x="221" y="186"/>
                      </a:lnTo>
                      <a:lnTo>
                        <a:pt x="220" y="186"/>
                      </a:lnTo>
                      <a:lnTo>
                        <a:pt x="220" y="186"/>
                      </a:lnTo>
                      <a:lnTo>
                        <a:pt x="221" y="186"/>
                      </a:lnTo>
                      <a:lnTo>
                        <a:pt x="221" y="186"/>
                      </a:lnTo>
                      <a:lnTo>
                        <a:pt x="222" y="186"/>
                      </a:lnTo>
                      <a:lnTo>
                        <a:pt x="222" y="185"/>
                      </a:lnTo>
                      <a:lnTo>
                        <a:pt x="222" y="185"/>
                      </a:lnTo>
                      <a:lnTo>
                        <a:pt x="222" y="185"/>
                      </a:lnTo>
                      <a:lnTo>
                        <a:pt x="222" y="184"/>
                      </a:lnTo>
                      <a:lnTo>
                        <a:pt x="221" y="184"/>
                      </a:lnTo>
                      <a:lnTo>
                        <a:pt x="221" y="185"/>
                      </a:lnTo>
                      <a:lnTo>
                        <a:pt x="221" y="184"/>
                      </a:lnTo>
                      <a:lnTo>
                        <a:pt x="221" y="184"/>
                      </a:lnTo>
                      <a:lnTo>
                        <a:pt x="221" y="184"/>
                      </a:lnTo>
                      <a:lnTo>
                        <a:pt x="221" y="183"/>
                      </a:lnTo>
                      <a:lnTo>
                        <a:pt x="221" y="183"/>
                      </a:lnTo>
                      <a:lnTo>
                        <a:pt x="221" y="183"/>
                      </a:lnTo>
                      <a:lnTo>
                        <a:pt x="220" y="183"/>
                      </a:lnTo>
                      <a:lnTo>
                        <a:pt x="220" y="182"/>
                      </a:lnTo>
                      <a:lnTo>
                        <a:pt x="219" y="182"/>
                      </a:lnTo>
                      <a:lnTo>
                        <a:pt x="220" y="182"/>
                      </a:lnTo>
                      <a:lnTo>
                        <a:pt x="220" y="182"/>
                      </a:lnTo>
                      <a:lnTo>
                        <a:pt x="219" y="182"/>
                      </a:lnTo>
                      <a:lnTo>
                        <a:pt x="220" y="182"/>
                      </a:lnTo>
                      <a:lnTo>
                        <a:pt x="221" y="181"/>
                      </a:lnTo>
                      <a:lnTo>
                        <a:pt x="221" y="181"/>
                      </a:lnTo>
                      <a:lnTo>
                        <a:pt x="221" y="181"/>
                      </a:lnTo>
                      <a:lnTo>
                        <a:pt x="222" y="181"/>
                      </a:lnTo>
                      <a:lnTo>
                        <a:pt x="221" y="181"/>
                      </a:lnTo>
                      <a:lnTo>
                        <a:pt x="221" y="181"/>
                      </a:lnTo>
                      <a:lnTo>
                        <a:pt x="221" y="181"/>
                      </a:lnTo>
                      <a:lnTo>
                        <a:pt x="220" y="182"/>
                      </a:lnTo>
                      <a:lnTo>
                        <a:pt x="220" y="181"/>
                      </a:lnTo>
                      <a:lnTo>
                        <a:pt x="221" y="181"/>
                      </a:lnTo>
                      <a:lnTo>
                        <a:pt x="220" y="181"/>
                      </a:lnTo>
                      <a:lnTo>
                        <a:pt x="221" y="181"/>
                      </a:lnTo>
                      <a:lnTo>
                        <a:pt x="221" y="181"/>
                      </a:lnTo>
                      <a:lnTo>
                        <a:pt x="221" y="181"/>
                      </a:lnTo>
                      <a:lnTo>
                        <a:pt x="221" y="181"/>
                      </a:lnTo>
                      <a:lnTo>
                        <a:pt x="222" y="181"/>
                      </a:lnTo>
                      <a:lnTo>
                        <a:pt x="222" y="180"/>
                      </a:lnTo>
                      <a:lnTo>
                        <a:pt x="223" y="179"/>
                      </a:lnTo>
                      <a:lnTo>
                        <a:pt x="223" y="179"/>
                      </a:lnTo>
                      <a:lnTo>
                        <a:pt x="224" y="179"/>
                      </a:lnTo>
                      <a:lnTo>
                        <a:pt x="226" y="179"/>
                      </a:lnTo>
                      <a:lnTo>
                        <a:pt x="226" y="180"/>
                      </a:lnTo>
                      <a:lnTo>
                        <a:pt x="226" y="180"/>
                      </a:lnTo>
                      <a:lnTo>
                        <a:pt x="226" y="181"/>
                      </a:lnTo>
                      <a:lnTo>
                        <a:pt x="227" y="181"/>
                      </a:lnTo>
                      <a:lnTo>
                        <a:pt x="227" y="181"/>
                      </a:lnTo>
                      <a:lnTo>
                        <a:pt x="227" y="181"/>
                      </a:lnTo>
                      <a:lnTo>
                        <a:pt x="228" y="181"/>
                      </a:lnTo>
                      <a:lnTo>
                        <a:pt x="229" y="182"/>
                      </a:lnTo>
                      <a:lnTo>
                        <a:pt x="229" y="182"/>
                      </a:lnTo>
                      <a:lnTo>
                        <a:pt x="229" y="182"/>
                      </a:lnTo>
                      <a:lnTo>
                        <a:pt x="230" y="183"/>
                      </a:lnTo>
                      <a:lnTo>
                        <a:pt x="230" y="183"/>
                      </a:lnTo>
                      <a:lnTo>
                        <a:pt x="232" y="184"/>
                      </a:lnTo>
                      <a:lnTo>
                        <a:pt x="232" y="184"/>
                      </a:lnTo>
                      <a:lnTo>
                        <a:pt x="232" y="184"/>
                      </a:lnTo>
                      <a:lnTo>
                        <a:pt x="232" y="185"/>
                      </a:lnTo>
                      <a:lnTo>
                        <a:pt x="232" y="185"/>
                      </a:lnTo>
                      <a:lnTo>
                        <a:pt x="231" y="185"/>
                      </a:lnTo>
                      <a:lnTo>
                        <a:pt x="231" y="186"/>
                      </a:lnTo>
                      <a:lnTo>
                        <a:pt x="230" y="186"/>
                      </a:lnTo>
                      <a:lnTo>
                        <a:pt x="230" y="186"/>
                      </a:lnTo>
                      <a:lnTo>
                        <a:pt x="230" y="186"/>
                      </a:lnTo>
                      <a:lnTo>
                        <a:pt x="229" y="186"/>
                      </a:lnTo>
                      <a:lnTo>
                        <a:pt x="229" y="187"/>
                      </a:lnTo>
                      <a:lnTo>
                        <a:pt x="229" y="188"/>
                      </a:lnTo>
                      <a:lnTo>
                        <a:pt x="230" y="188"/>
                      </a:lnTo>
                      <a:lnTo>
                        <a:pt x="231" y="188"/>
                      </a:lnTo>
                      <a:lnTo>
                        <a:pt x="232" y="188"/>
                      </a:lnTo>
                      <a:lnTo>
                        <a:pt x="232" y="189"/>
                      </a:lnTo>
                      <a:lnTo>
                        <a:pt x="232" y="189"/>
                      </a:lnTo>
                      <a:lnTo>
                        <a:pt x="232" y="189"/>
                      </a:lnTo>
                      <a:lnTo>
                        <a:pt x="232" y="190"/>
                      </a:lnTo>
                      <a:lnTo>
                        <a:pt x="232" y="190"/>
                      </a:lnTo>
                      <a:lnTo>
                        <a:pt x="232" y="190"/>
                      </a:lnTo>
                      <a:lnTo>
                        <a:pt x="231" y="190"/>
                      </a:lnTo>
                      <a:lnTo>
                        <a:pt x="231" y="191"/>
                      </a:lnTo>
                      <a:lnTo>
                        <a:pt x="230" y="191"/>
                      </a:lnTo>
                      <a:lnTo>
                        <a:pt x="230" y="192"/>
                      </a:lnTo>
                      <a:lnTo>
                        <a:pt x="230" y="192"/>
                      </a:lnTo>
                      <a:lnTo>
                        <a:pt x="230" y="193"/>
                      </a:lnTo>
                      <a:lnTo>
                        <a:pt x="230" y="193"/>
                      </a:lnTo>
                      <a:lnTo>
                        <a:pt x="231" y="193"/>
                      </a:lnTo>
                      <a:lnTo>
                        <a:pt x="231" y="194"/>
                      </a:lnTo>
                      <a:lnTo>
                        <a:pt x="232" y="194"/>
                      </a:lnTo>
                      <a:lnTo>
                        <a:pt x="232" y="194"/>
                      </a:lnTo>
                      <a:lnTo>
                        <a:pt x="233" y="194"/>
                      </a:lnTo>
                      <a:lnTo>
                        <a:pt x="233" y="195"/>
                      </a:lnTo>
                      <a:lnTo>
                        <a:pt x="233" y="195"/>
                      </a:lnTo>
                      <a:lnTo>
                        <a:pt x="234" y="196"/>
                      </a:lnTo>
                      <a:lnTo>
                        <a:pt x="234" y="196"/>
                      </a:lnTo>
                      <a:lnTo>
                        <a:pt x="234" y="197"/>
                      </a:lnTo>
                      <a:lnTo>
                        <a:pt x="234" y="197"/>
                      </a:lnTo>
                      <a:lnTo>
                        <a:pt x="234" y="198"/>
                      </a:lnTo>
                      <a:lnTo>
                        <a:pt x="233" y="199"/>
                      </a:lnTo>
                      <a:lnTo>
                        <a:pt x="234" y="199"/>
                      </a:lnTo>
                      <a:lnTo>
                        <a:pt x="234" y="200"/>
                      </a:lnTo>
                      <a:lnTo>
                        <a:pt x="234" y="200"/>
                      </a:lnTo>
                      <a:lnTo>
                        <a:pt x="236" y="200"/>
                      </a:lnTo>
                      <a:lnTo>
                        <a:pt x="236" y="201"/>
                      </a:lnTo>
                      <a:lnTo>
                        <a:pt x="236" y="201"/>
                      </a:lnTo>
                      <a:lnTo>
                        <a:pt x="236" y="201"/>
                      </a:lnTo>
                      <a:lnTo>
                        <a:pt x="235" y="203"/>
                      </a:lnTo>
                      <a:lnTo>
                        <a:pt x="235" y="203"/>
                      </a:lnTo>
                      <a:lnTo>
                        <a:pt x="236" y="203"/>
                      </a:lnTo>
                      <a:lnTo>
                        <a:pt x="236" y="203"/>
                      </a:lnTo>
                      <a:lnTo>
                        <a:pt x="237" y="203"/>
                      </a:lnTo>
                      <a:lnTo>
                        <a:pt x="237" y="203"/>
                      </a:lnTo>
                      <a:lnTo>
                        <a:pt x="238" y="203"/>
                      </a:lnTo>
                      <a:lnTo>
                        <a:pt x="238" y="204"/>
                      </a:lnTo>
                      <a:lnTo>
                        <a:pt x="238" y="204"/>
                      </a:lnTo>
                      <a:lnTo>
                        <a:pt x="238" y="203"/>
                      </a:lnTo>
                      <a:lnTo>
                        <a:pt x="239" y="204"/>
                      </a:lnTo>
                      <a:lnTo>
                        <a:pt x="240" y="204"/>
                      </a:lnTo>
                      <a:lnTo>
                        <a:pt x="240" y="203"/>
                      </a:lnTo>
                      <a:lnTo>
                        <a:pt x="240" y="203"/>
                      </a:lnTo>
                      <a:lnTo>
                        <a:pt x="240" y="204"/>
                      </a:lnTo>
                      <a:lnTo>
                        <a:pt x="241" y="204"/>
                      </a:lnTo>
                      <a:lnTo>
                        <a:pt x="241" y="204"/>
                      </a:lnTo>
                      <a:lnTo>
                        <a:pt x="242" y="204"/>
                      </a:lnTo>
                      <a:lnTo>
                        <a:pt x="243" y="204"/>
                      </a:lnTo>
                      <a:lnTo>
                        <a:pt x="243" y="204"/>
                      </a:lnTo>
                      <a:lnTo>
                        <a:pt x="244" y="204"/>
                      </a:lnTo>
                      <a:lnTo>
                        <a:pt x="244" y="204"/>
                      </a:lnTo>
                      <a:lnTo>
                        <a:pt x="245" y="204"/>
                      </a:lnTo>
                      <a:lnTo>
                        <a:pt x="245" y="203"/>
                      </a:lnTo>
                      <a:lnTo>
                        <a:pt x="244" y="203"/>
                      </a:lnTo>
                      <a:lnTo>
                        <a:pt x="245" y="203"/>
                      </a:lnTo>
                      <a:lnTo>
                        <a:pt x="245" y="203"/>
                      </a:lnTo>
                      <a:lnTo>
                        <a:pt x="246" y="203"/>
                      </a:lnTo>
                      <a:lnTo>
                        <a:pt x="245" y="203"/>
                      </a:lnTo>
                      <a:lnTo>
                        <a:pt x="245" y="203"/>
                      </a:lnTo>
                      <a:lnTo>
                        <a:pt x="244" y="203"/>
                      </a:lnTo>
                      <a:lnTo>
                        <a:pt x="245" y="204"/>
                      </a:lnTo>
                      <a:lnTo>
                        <a:pt x="244" y="204"/>
                      </a:lnTo>
                      <a:lnTo>
                        <a:pt x="244" y="204"/>
                      </a:lnTo>
                      <a:lnTo>
                        <a:pt x="243" y="204"/>
                      </a:lnTo>
                      <a:lnTo>
                        <a:pt x="243" y="204"/>
                      </a:lnTo>
                      <a:lnTo>
                        <a:pt x="242" y="204"/>
                      </a:lnTo>
                      <a:lnTo>
                        <a:pt x="241" y="204"/>
                      </a:lnTo>
                      <a:lnTo>
                        <a:pt x="241" y="204"/>
                      </a:lnTo>
                      <a:lnTo>
                        <a:pt x="240" y="204"/>
                      </a:lnTo>
                      <a:lnTo>
                        <a:pt x="240" y="203"/>
                      </a:lnTo>
                      <a:lnTo>
                        <a:pt x="240" y="203"/>
                      </a:lnTo>
                      <a:lnTo>
                        <a:pt x="239" y="203"/>
                      </a:lnTo>
                      <a:lnTo>
                        <a:pt x="238" y="203"/>
                      </a:lnTo>
                      <a:lnTo>
                        <a:pt x="238" y="203"/>
                      </a:lnTo>
                      <a:lnTo>
                        <a:pt x="237" y="203"/>
                      </a:lnTo>
                      <a:lnTo>
                        <a:pt x="237" y="203"/>
                      </a:lnTo>
                      <a:lnTo>
                        <a:pt x="236" y="203"/>
                      </a:lnTo>
                      <a:lnTo>
                        <a:pt x="236" y="203"/>
                      </a:lnTo>
                      <a:lnTo>
                        <a:pt x="236" y="203"/>
                      </a:lnTo>
                      <a:lnTo>
                        <a:pt x="236" y="202"/>
                      </a:lnTo>
                      <a:lnTo>
                        <a:pt x="237" y="202"/>
                      </a:lnTo>
                      <a:lnTo>
                        <a:pt x="237" y="201"/>
                      </a:lnTo>
                      <a:lnTo>
                        <a:pt x="237" y="201"/>
                      </a:lnTo>
                      <a:lnTo>
                        <a:pt x="236" y="201"/>
                      </a:lnTo>
                      <a:lnTo>
                        <a:pt x="236" y="200"/>
                      </a:lnTo>
                      <a:lnTo>
                        <a:pt x="236" y="200"/>
                      </a:lnTo>
                      <a:lnTo>
                        <a:pt x="236" y="200"/>
                      </a:lnTo>
                      <a:lnTo>
                        <a:pt x="235" y="200"/>
                      </a:lnTo>
                      <a:lnTo>
                        <a:pt x="234" y="199"/>
                      </a:lnTo>
                      <a:lnTo>
                        <a:pt x="234" y="199"/>
                      </a:lnTo>
                      <a:lnTo>
                        <a:pt x="234" y="198"/>
                      </a:lnTo>
                      <a:lnTo>
                        <a:pt x="235" y="198"/>
                      </a:lnTo>
                      <a:lnTo>
                        <a:pt x="235" y="197"/>
                      </a:lnTo>
                      <a:lnTo>
                        <a:pt x="234" y="197"/>
                      </a:lnTo>
                      <a:lnTo>
                        <a:pt x="235" y="197"/>
                      </a:lnTo>
                      <a:lnTo>
                        <a:pt x="235" y="196"/>
                      </a:lnTo>
                      <a:lnTo>
                        <a:pt x="234" y="196"/>
                      </a:lnTo>
                      <a:lnTo>
                        <a:pt x="234" y="196"/>
                      </a:lnTo>
                      <a:lnTo>
                        <a:pt x="234" y="196"/>
                      </a:lnTo>
                      <a:lnTo>
                        <a:pt x="234" y="195"/>
                      </a:lnTo>
                      <a:lnTo>
                        <a:pt x="234" y="195"/>
                      </a:lnTo>
                      <a:lnTo>
                        <a:pt x="234" y="195"/>
                      </a:lnTo>
                      <a:lnTo>
                        <a:pt x="233" y="194"/>
                      </a:lnTo>
                      <a:lnTo>
                        <a:pt x="233" y="194"/>
                      </a:lnTo>
                      <a:lnTo>
                        <a:pt x="232" y="194"/>
                      </a:lnTo>
                      <a:lnTo>
                        <a:pt x="232" y="194"/>
                      </a:lnTo>
                      <a:lnTo>
                        <a:pt x="232" y="193"/>
                      </a:lnTo>
                      <a:lnTo>
                        <a:pt x="231" y="193"/>
                      </a:lnTo>
                      <a:lnTo>
                        <a:pt x="231" y="193"/>
                      </a:lnTo>
                      <a:lnTo>
                        <a:pt x="231" y="192"/>
                      </a:lnTo>
                      <a:lnTo>
                        <a:pt x="232" y="192"/>
                      </a:lnTo>
                      <a:lnTo>
                        <a:pt x="232" y="191"/>
                      </a:lnTo>
                      <a:lnTo>
                        <a:pt x="232" y="191"/>
                      </a:lnTo>
                      <a:lnTo>
                        <a:pt x="232" y="190"/>
                      </a:lnTo>
                      <a:lnTo>
                        <a:pt x="233" y="190"/>
                      </a:lnTo>
                      <a:lnTo>
                        <a:pt x="233" y="189"/>
                      </a:lnTo>
                      <a:lnTo>
                        <a:pt x="233" y="189"/>
                      </a:lnTo>
                      <a:lnTo>
                        <a:pt x="232" y="188"/>
                      </a:lnTo>
                      <a:lnTo>
                        <a:pt x="231" y="188"/>
                      </a:lnTo>
                      <a:lnTo>
                        <a:pt x="231" y="188"/>
                      </a:lnTo>
                      <a:lnTo>
                        <a:pt x="230" y="188"/>
                      </a:lnTo>
                      <a:lnTo>
                        <a:pt x="231" y="188"/>
                      </a:lnTo>
                      <a:lnTo>
                        <a:pt x="231" y="187"/>
                      </a:lnTo>
                      <a:lnTo>
                        <a:pt x="232" y="186"/>
                      </a:lnTo>
                      <a:lnTo>
                        <a:pt x="232" y="186"/>
                      </a:lnTo>
                      <a:lnTo>
                        <a:pt x="232" y="186"/>
                      </a:lnTo>
                      <a:lnTo>
                        <a:pt x="232" y="185"/>
                      </a:lnTo>
                      <a:lnTo>
                        <a:pt x="233" y="185"/>
                      </a:lnTo>
                      <a:lnTo>
                        <a:pt x="233" y="185"/>
                      </a:lnTo>
                      <a:lnTo>
                        <a:pt x="233" y="185"/>
                      </a:lnTo>
                      <a:lnTo>
                        <a:pt x="233" y="185"/>
                      </a:lnTo>
                      <a:lnTo>
                        <a:pt x="233" y="185"/>
                      </a:lnTo>
                      <a:lnTo>
                        <a:pt x="234" y="185"/>
                      </a:lnTo>
                      <a:lnTo>
                        <a:pt x="234" y="185"/>
                      </a:lnTo>
                      <a:lnTo>
                        <a:pt x="235" y="185"/>
                      </a:lnTo>
                      <a:lnTo>
                        <a:pt x="235" y="185"/>
                      </a:lnTo>
                      <a:lnTo>
                        <a:pt x="236" y="186"/>
                      </a:lnTo>
                      <a:lnTo>
                        <a:pt x="236" y="186"/>
                      </a:lnTo>
                      <a:lnTo>
                        <a:pt x="236" y="186"/>
                      </a:lnTo>
                      <a:lnTo>
                        <a:pt x="237" y="186"/>
                      </a:lnTo>
                      <a:lnTo>
                        <a:pt x="237" y="187"/>
                      </a:lnTo>
                      <a:lnTo>
                        <a:pt x="237" y="187"/>
                      </a:lnTo>
                      <a:lnTo>
                        <a:pt x="237" y="187"/>
                      </a:lnTo>
                      <a:lnTo>
                        <a:pt x="237" y="187"/>
                      </a:lnTo>
                      <a:lnTo>
                        <a:pt x="238" y="187"/>
                      </a:lnTo>
                      <a:lnTo>
                        <a:pt x="238" y="188"/>
                      </a:lnTo>
                      <a:lnTo>
                        <a:pt x="238" y="187"/>
                      </a:lnTo>
                      <a:lnTo>
                        <a:pt x="238" y="187"/>
                      </a:lnTo>
                      <a:lnTo>
                        <a:pt x="238" y="187"/>
                      </a:lnTo>
                      <a:lnTo>
                        <a:pt x="237" y="187"/>
                      </a:lnTo>
                      <a:lnTo>
                        <a:pt x="237" y="187"/>
                      </a:lnTo>
                      <a:lnTo>
                        <a:pt x="237" y="187"/>
                      </a:lnTo>
                      <a:lnTo>
                        <a:pt x="237" y="187"/>
                      </a:lnTo>
                      <a:lnTo>
                        <a:pt x="237" y="187"/>
                      </a:lnTo>
                      <a:lnTo>
                        <a:pt x="237" y="187"/>
                      </a:lnTo>
                      <a:lnTo>
                        <a:pt x="237" y="186"/>
                      </a:lnTo>
                      <a:lnTo>
                        <a:pt x="236" y="186"/>
                      </a:lnTo>
                      <a:lnTo>
                        <a:pt x="236" y="186"/>
                      </a:lnTo>
                      <a:lnTo>
                        <a:pt x="236" y="186"/>
                      </a:lnTo>
                      <a:lnTo>
                        <a:pt x="236" y="186"/>
                      </a:lnTo>
                      <a:lnTo>
                        <a:pt x="236" y="186"/>
                      </a:lnTo>
                      <a:lnTo>
                        <a:pt x="235" y="185"/>
                      </a:lnTo>
                      <a:lnTo>
                        <a:pt x="234" y="185"/>
                      </a:lnTo>
                      <a:lnTo>
                        <a:pt x="234" y="185"/>
                      </a:lnTo>
                      <a:lnTo>
                        <a:pt x="233" y="185"/>
                      </a:lnTo>
                      <a:lnTo>
                        <a:pt x="233" y="185"/>
                      </a:lnTo>
                      <a:lnTo>
                        <a:pt x="233" y="184"/>
                      </a:lnTo>
                      <a:lnTo>
                        <a:pt x="232" y="184"/>
                      </a:lnTo>
                      <a:lnTo>
                        <a:pt x="232" y="184"/>
                      </a:lnTo>
                      <a:lnTo>
                        <a:pt x="232" y="184"/>
                      </a:lnTo>
                      <a:lnTo>
                        <a:pt x="232" y="183"/>
                      </a:lnTo>
                      <a:lnTo>
                        <a:pt x="231" y="183"/>
                      </a:lnTo>
                      <a:lnTo>
                        <a:pt x="230" y="183"/>
                      </a:lnTo>
                      <a:lnTo>
                        <a:pt x="230" y="182"/>
                      </a:lnTo>
                      <a:lnTo>
                        <a:pt x="230" y="182"/>
                      </a:lnTo>
                      <a:lnTo>
                        <a:pt x="230" y="182"/>
                      </a:lnTo>
                      <a:lnTo>
                        <a:pt x="229" y="181"/>
                      </a:lnTo>
                      <a:lnTo>
                        <a:pt x="229" y="181"/>
                      </a:lnTo>
                      <a:lnTo>
                        <a:pt x="229" y="180"/>
                      </a:lnTo>
                      <a:lnTo>
                        <a:pt x="229" y="180"/>
                      </a:lnTo>
                      <a:lnTo>
                        <a:pt x="228" y="179"/>
                      </a:lnTo>
                      <a:lnTo>
                        <a:pt x="227" y="179"/>
                      </a:lnTo>
                      <a:lnTo>
                        <a:pt x="227" y="179"/>
                      </a:lnTo>
                      <a:lnTo>
                        <a:pt x="226" y="179"/>
                      </a:lnTo>
                      <a:lnTo>
                        <a:pt x="225" y="179"/>
                      </a:lnTo>
                      <a:lnTo>
                        <a:pt x="225" y="179"/>
                      </a:lnTo>
                      <a:lnTo>
                        <a:pt x="225" y="179"/>
                      </a:lnTo>
                      <a:lnTo>
                        <a:pt x="225" y="179"/>
                      </a:lnTo>
                      <a:lnTo>
                        <a:pt x="225" y="179"/>
                      </a:lnTo>
                      <a:lnTo>
                        <a:pt x="225" y="179"/>
                      </a:lnTo>
                      <a:lnTo>
                        <a:pt x="224" y="179"/>
                      </a:lnTo>
                      <a:lnTo>
                        <a:pt x="223" y="179"/>
                      </a:lnTo>
                      <a:lnTo>
                        <a:pt x="223" y="179"/>
                      </a:lnTo>
                      <a:lnTo>
                        <a:pt x="222" y="179"/>
                      </a:lnTo>
                      <a:lnTo>
                        <a:pt x="222" y="179"/>
                      </a:lnTo>
                      <a:lnTo>
                        <a:pt x="221" y="179"/>
                      </a:lnTo>
                      <a:lnTo>
                        <a:pt x="221" y="180"/>
                      </a:lnTo>
                      <a:lnTo>
                        <a:pt x="221" y="180"/>
                      </a:lnTo>
                      <a:lnTo>
                        <a:pt x="220" y="181"/>
                      </a:lnTo>
                      <a:lnTo>
                        <a:pt x="219" y="181"/>
                      </a:lnTo>
                      <a:lnTo>
                        <a:pt x="219" y="182"/>
                      </a:lnTo>
                      <a:lnTo>
                        <a:pt x="219" y="181"/>
                      </a:lnTo>
                      <a:lnTo>
                        <a:pt x="219" y="181"/>
                      </a:lnTo>
                      <a:lnTo>
                        <a:pt x="218" y="181"/>
                      </a:lnTo>
                      <a:lnTo>
                        <a:pt x="218" y="181"/>
                      </a:lnTo>
                      <a:lnTo>
                        <a:pt x="218" y="180"/>
                      </a:lnTo>
                      <a:lnTo>
                        <a:pt x="217" y="180"/>
                      </a:lnTo>
                      <a:lnTo>
                        <a:pt x="217" y="180"/>
                      </a:lnTo>
                      <a:lnTo>
                        <a:pt x="216" y="180"/>
                      </a:lnTo>
                      <a:lnTo>
                        <a:pt x="215" y="180"/>
                      </a:lnTo>
                      <a:lnTo>
                        <a:pt x="215" y="179"/>
                      </a:lnTo>
                      <a:lnTo>
                        <a:pt x="216" y="179"/>
                      </a:lnTo>
                      <a:lnTo>
                        <a:pt x="215" y="179"/>
                      </a:lnTo>
                      <a:lnTo>
                        <a:pt x="215" y="179"/>
                      </a:lnTo>
                      <a:lnTo>
                        <a:pt x="215" y="179"/>
                      </a:lnTo>
                      <a:lnTo>
                        <a:pt x="214" y="178"/>
                      </a:lnTo>
                      <a:lnTo>
                        <a:pt x="214" y="178"/>
                      </a:lnTo>
                      <a:lnTo>
                        <a:pt x="213" y="178"/>
                      </a:lnTo>
                      <a:lnTo>
                        <a:pt x="213" y="178"/>
                      </a:lnTo>
                      <a:lnTo>
                        <a:pt x="212" y="178"/>
                      </a:lnTo>
                      <a:lnTo>
                        <a:pt x="213" y="178"/>
                      </a:lnTo>
                      <a:lnTo>
                        <a:pt x="213" y="177"/>
                      </a:lnTo>
                      <a:lnTo>
                        <a:pt x="212" y="177"/>
                      </a:lnTo>
                      <a:lnTo>
                        <a:pt x="212" y="177"/>
                      </a:lnTo>
                      <a:lnTo>
                        <a:pt x="212" y="176"/>
                      </a:lnTo>
                      <a:lnTo>
                        <a:pt x="211" y="176"/>
                      </a:lnTo>
                      <a:lnTo>
                        <a:pt x="211" y="175"/>
                      </a:lnTo>
                      <a:lnTo>
                        <a:pt x="211" y="175"/>
                      </a:lnTo>
                      <a:lnTo>
                        <a:pt x="210" y="175"/>
                      </a:lnTo>
                      <a:lnTo>
                        <a:pt x="210" y="175"/>
                      </a:lnTo>
                      <a:lnTo>
                        <a:pt x="209" y="175"/>
                      </a:lnTo>
                      <a:lnTo>
                        <a:pt x="208" y="175"/>
                      </a:lnTo>
                      <a:lnTo>
                        <a:pt x="209" y="174"/>
                      </a:lnTo>
                      <a:lnTo>
                        <a:pt x="209" y="174"/>
                      </a:lnTo>
                      <a:lnTo>
                        <a:pt x="208" y="174"/>
                      </a:lnTo>
                      <a:lnTo>
                        <a:pt x="208" y="173"/>
                      </a:lnTo>
                      <a:lnTo>
                        <a:pt x="208" y="173"/>
                      </a:lnTo>
                      <a:lnTo>
                        <a:pt x="208" y="173"/>
                      </a:lnTo>
                      <a:lnTo>
                        <a:pt x="207" y="172"/>
                      </a:lnTo>
                      <a:lnTo>
                        <a:pt x="207" y="171"/>
                      </a:lnTo>
                      <a:lnTo>
                        <a:pt x="208" y="171"/>
                      </a:lnTo>
                      <a:lnTo>
                        <a:pt x="208" y="171"/>
                      </a:lnTo>
                      <a:lnTo>
                        <a:pt x="209" y="172"/>
                      </a:lnTo>
                      <a:lnTo>
                        <a:pt x="210" y="172"/>
                      </a:lnTo>
                      <a:lnTo>
                        <a:pt x="210" y="172"/>
                      </a:lnTo>
                      <a:lnTo>
                        <a:pt x="210" y="171"/>
                      </a:lnTo>
                      <a:lnTo>
                        <a:pt x="211" y="171"/>
                      </a:lnTo>
                      <a:lnTo>
                        <a:pt x="211" y="171"/>
                      </a:lnTo>
                      <a:lnTo>
                        <a:pt x="212" y="171"/>
                      </a:lnTo>
                      <a:lnTo>
                        <a:pt x="212" y="171"/>
                      </a:lnTo>
                      <a:lnTo>
                        <a:pt x="213" y="171"/>
                      </a:lnTo>
                      <a:lnTo>
                        <a:pt x="214" y="171"/>
                      </a:lnTo>
                      <a:lnTo>
                        <a:pt x="214" y="172"/>
                      </a:lnTo>
                      <a:lnTo>
                        <a:pt x="213" y="172"/>
                      </a:lnTo>
                      <a:lnTo>
                        <a:pt x="214" y="172"/>
                      </a:lnTo>
                      <a:lnTo>
                        <a:pt x="213" y="172"/>
                      </a:lnTo>
                      <a:lnTo>
                        <a:pt x="213" y="173"/>
                      </a:lnTo>
                      <a:lnTo>
                        <a:pt x="213" y="173"/>
                      </a:lnTo>
                      <a:lnTo>
                        <a:pt x="213" y="173"/>
                      </a:lnTo>
                      <a:lnTo>
                        <a:pt x="213" y="172"/>
                      </a:lnTo>
                      <a:lnTo>
                        <a:pt x="214" y="172"/>
                      </a:lnTo>
                      <a:lnTo>
                        <a:pt x="213" y="172"/>
                      </a:lnTo>
                      <a:lnTo>
                        <a:pt x="214" y="172"/>
                      </a:lnTo>
                      <a:lnTo>
                        <a:pt x="213" y="172"/>
                      </a:lnTo>
                      <a:lnTo>
                        <a:pt x="214" y="172"/>
                      </a:lnTo>
                      <a:lnTo>
                        <a:pt x="214" y="171"/>
                      </a:lnTo>
                      <a:lnTo>
                        <a:pt x="213" y="171"/>
                      </a:lnTo>
                      <a:lnTo>
                        <a:pt x="212" y="171"/>
                      </a:lnTo>
                      <a:lnTo>
                        <a:pt x="212" y="171"/>
                      </a:lnTo>
                      <a:lnTo>
                        <a:pt x="212" y="171"/>
                      </a:lnTo>
                      <a:lnTo>
                        <a:pt x="212" y="171"/>
                      </a:lnTo>
                      <a:lnTo>
                        <a:pt x="212" y="170"/>
                      </a:lnTo>
                      <a:lnTo>
                        <a:pt x="213" y="170"/>
                      </a:lnTo>
                      <a:lnTo>
                        <a:pt x="214" y="170"/>
                      </a:lnTo>
                      <a:lnTo>
                        <a:pt x="214" y="169"/>
                      </a:lnTo>
                      <a:lnTo>
                        <a:pt x="214" y="168"/>
                      </a:lnTo>
                      <a:lnTo>
                        <a:pt x="214" y="169"/>
                      </a:lnTo>
                      <a:lnTo>
                        <a:pt x="214" y="168"/>
                      </a:lnTo>
                      <a:lnTo>
                        <a:pt x="214" y="168"/>
                      </a:lnTo>
                      <a:lnTo>
                        <a:pt x="213" y="168"/>
                      </a:lnTo>
                      <a:lnTo>
                        <a:pt x="213" y="167"/>
                      </a:lnTo>
                      <a:lnTo>
                        <a:pt x="213" y="167"/>
                      </a:lnTo>
                      <a:lnTo>
                        <a:pt x="212" y="167"/>
                      </a:lnTo>
                      <a:lnTo>
                        <a:pt x="212" y="166"/>
                      </a:lnTo>
                      <a:lnTo>
                        <a:pt x="212" y="166"/>
                      </a:lnTo>
                      <a:lnTo>
                        <a:pt x="212" y="165"/>
                      </a:lnTo>
                      <a:lnTo>
                        <a:pt x="212" y="165"/>
                      </a:lnTo>
                      <a:lnTo>
                        <a:pt x="212" y="164"/>
                      </a:lnTo>
                      <a:lnTo>
                        <a:pt x="212" y="164"/>
                      </a:lnTo>
                      <a:lnTo>
                        <a:pt x="212" y="163"/>
                      </a:lnTo>
                      <a:lnTo>
                        <a:pt x="211" y="163"/>
                      </a:lnTo>
                      <a:lnTo>
                        <a:pt x="211" y="163"/>
                      </a:lnTo>
                      <a:lnTo>
                        <a:pt x="211" y="162"/>
                      </a:lnTo>
                      <a:lnTo>
                        <a:pt x="211" y="162"/>
                      </a:lnTo>
                      <a:lnTo>
                        <a:pt x="211" y="162"/>
                      </a:lnTo>
                      <a:lnTo>
                        <a:pt x="211" y="162"/>
                      </a:lnTo>
                      <a:lnTo>
                        <a:pt x="211" y="162"/>
                      </a:lnTo>
                      <a:lnTo>
                        <a:pt x="210" y="161"/>
                      </a:lnTo>
                      <a:lnTo>
                        <a:pt x="210" y="161"/>
                      </a:lnTo>
                      <a:lnTo>
                        <a:pt x="210" y="160"/>
                      </a:lnTo>
                      <a:lnTo>
                        <a:pt x="209" y="160"/>
                      </a:lnTo>
                      <a:lnTo>
                        <a:pt x="210" y="160"/>
                      </a:lnTo>
                      <a:lnTo>
                        <a:pt x="209" y="160"/>
                      </a:lnTo>
                      <a:lnTo>
                        <a:pt x="209" y="160"/>
                      </a:lnTo>
                      <a:lnTo>
                        <a:pt x="208" y="160"/>
                      </a:lnTo>
                      <a:lnTo>
                        <a:pt x="209" y="160"/>
                      </a:lnTo>
                      <a:lnTo>
                        <a:pt x="208" y="160"/>
                      </a:lnTo>
                      <a:lnTo>
                        <a:pt x="209" y="160"/>
                      </a:lnTo>
                      <a:lnTo>
                        <a:pt x="209" y="160"/>
                      </a:lnTo>
                      <a:lnTo>
                        <a:pt x="210" y="160"/>
                      </a:lnTo>
                      <a:lnTo>
                        <a:pt x="210" y="160"/>
                      </a:lnTo>
                      <a:lnTo>
                        <a:pt x="210" y="159"/>
                      </a:lnTo>
                      <a:lnTo>
                        <a:pt x="209" y="159"/>
                      </a:lnTo>
                      <a:lnTo>
                        <a:pt x="209" y="158"/>
                      </a:lnTo>
                      <a:lnTo>
                        <a:pt x="208" y="158"/>
                      </a:lnTo>
                      <a:lnTo>
                        <a:pt x="209" y="158"/>
                      </a:lnTo>
                      <a:lnTo>
                        <a:pt x="209" y="157"/>
                      </a:lnTo>
                      <a:lnTo>
                        <a:pt x="210" y="157"/>
                      </a:lnTo>
                      <a:lnTo>
                        <a:pt x="210" y="157"/>
                      </a:lnTo>
                      <a:lnTo>
                        <a:pt x="210" y="156"/>
                      </a:lnTo>
                      <a:lnTo>
                        <a:pt x="211" y="156"/>
                      </a:lnTo>
                      <a:lnTo>
                        <a:pt x="211" y="156"/>
                      </a:lnTo>
                      <a:lnTo>
                        <a:pt x="211" y="155"/>
                      </a:lnTo>
                      <a:lnTo>
                        <a:pt x="211" y="155"/>
                      </a:lnTo>
                      <a:lnTo>
                        <a:pt x="212" y="154"/>
                      </a:lnTo>
                      <a:lnTo>
                        <a:pt x="212" y="154"/>
                      </a:lnTo>
                      <a:lnTo>
                        <a:pt x="212" y="153"/>
                      </a:lnTo>
                      <a:lnTo>
                        <a:pt x="212" y="153"/>
                      </a:lnTo>
                      <a:lnTo>
                        <a:pt x="212" y="153"/>
                      </a:lnTo>
                      <a:lnTo>
                        <a:pt x="212" y="153"/>
                      </a:lnTo>
                      <a:lnTo>
                        <a:pt x="213" y="153"/>
                      </a:lnTo>
                      <a:lnTo>
                        <a:pt x="213" y="152"/>
                      </a:lnTo>
                      <a:lnTo>
                        <a:pt x="212" y="152"/>
                      </a:lnTo>
                      <a:lnTo>
                        <a:pt x="212" y="152"/>
                      </a:lnTo>
                      <a:lnTo>
                        <a:pt x="212" y="151"/>
                      </a:lnTo>
                      <a:lnTo>
                        <a:pt x="211" y="151"/>
                      </a:lnTo>
                      <a:lnTo>
                        <a:pt x="211" y="151"/>
                      </a:lnTo>
                      <a:lnTo>
                        <a:pt x="212" y="151"/>
                      </a:lnTo>
                      <a:lnTo>
                        <a:pt x="212" y="150"/>
                      </a:lnTo>
                      <a:lnTo>
                        <a:pt x="212" y="151"/>
                      </a:lnTo>
                      <a:lnTo>
                        <a:pt x="212" y="150"/>
                      </a:lnTo>
                      <a:lnTo>
                        <a:pt x="212" y="150"/>
                      </a:lnTo>
                      <a:lnTo>
                        <a:pt x="212" y="151"/>
                      </a:lnTo>
                      <a:lnTo>
                        <a:pt x="211" y="151"/>
                      </a:lnTo>
                      <a:lnTo>
                        <a:pt x="211" y="151"/>
                      </a:lnTo>
                      <a:lnTo>
                        <a:pt x="211" y="150"/>
                      </a:lnTo>
                      <a:lnTo>
                        <a:pt x="211" y="150"/>
                      </a:lnTo>
                      <a:lnTo>
                        <a:pt x="211" y="149"/>
                      </a:lnTo>
                      <a:lnTo>
                        <a:pt x="210" y="149"/>
                      </a:lnTo>
                      <a:lnTo>
                        <a:pt x="210" y="149"/>
                      </a:lnTo>
                      <a:lnTo>
                        <a:pt x="209" y="149"/>
                      </a:lnTo>
                      <a:lnTo>
                        <a:pt x="208" y="148"/>
                      </a:lnTo>
                      <a:lnTo>
                        <a:pt x="208" y="148"/>
                      </a:lnTo>
                      <a:lnTo>
                        <a:pt x="207" y="148"/>
                      </a:lnTo>
                      <a:lnTo>
                        <a:pt x="207" y="148"/>
                      </a:lnTo>
                      <a:lnTo>
                        <a:pt x="206" y="148"/>
                      </a:lnTo>
                      <a:lnTo>
                        <a:pt x="206" y="148"/>
                      </a:lnTo>
                      <a:lnTo>
                        <a:pt x="206" y="148"/>
                      </a:lnTo>
                      <a:lnTo>
                        <a:pt x="206" y="148"/>
                      </a:lnTo>
                      <a:lnTo>
                        <a:pt x="205" y="148"/>
                      </a:lnTo>
                      <a:lnTo>
                        <a:pt x="205" y="149"/>
                      </a:lnTo>
                      <a:lnTo>
                        <a:pt x="205" y="148"/>
                      </a:lnTo>
                      <a:lnTo>
                        <a:pt x="205" y="149"/>
                      </a:lnTo>
                      <a:lnTo>
                        <a:pt x="205" y="148"/>
                      </a:lnTo>
                      <a:lnTo>
                        <a:pt x="204" y="148"/>
                      </a:lnTo>
                      <a:lnTo>
                        <a:pt x="204" y="147"/>
                      </a:lnTo>
                      <a:lnTo>
                        <a:pt x="204" y="146"/>
                      </a:lnTo>
                      <a:lnTo>
                        <a:pt x="203" y="146"/>
                      </a:lnTo>
                      <a:lnTo>
                        <a:pt x="203" y="146"/>
                      </a:lnTo>
                      <a:lnTo>
                        <a:pt x="203" y="145"/>
                      </a:lnTo>
                      <a:lnTo>
                        <a:pt x="203" y="146"/>
                      </a:lnTo>
                      <a:lnTo>
                        <a:pt x="203" y="145"/>
                      </a:lnTo>
                      <a:lnTo>
                        <a:pt x="203" y="145"/>
                      </a:lnTo>
                      <a:lnTo>
                        <a:pt x="204" y="145"/>
                      </a:lnTo>
                      <a:lnTo>
                        <a:pt x="203" y="145"/>
                      </a:lnTo>
                      <a:lnTo>
                        <a:pt x="203" y="145"/>
                      </a:lnTo>
                      <a:lnTo>
                        <a:pt x="203" y="146"/>
                      </a:lnTo>
                      <a:lnTo>
                        <a:pt x="202" y="145"/>
                      </a:lnTo>
                      <a:lnTo>
                        <a:pt x="202" y="145"/>
                      </a:lnTo>
                      <a:lnTo>
                        <a:pt x="202" y="145"/>
                      </a:lnTo>
                      <a:lnTo>
                        <a:pt x="202" y="145"/>
                      </a:lnTo>
                      <a:lnTo>
                        <a:pt x="202" y="144"/>
                      </a:lnTo>
                      <a:lnTo>
                        <a:pt x="202" y="144"/>
                      </a:lnTo>
                      <a:lnTo>
                        <a:pt x="202" y="143"/>
                      </a:lnTo>
                      <a:lnTo>
                        <a:pt x="202" y="143"/>
                      </a:lnTo>
                      <a:lnTo>
                        <a:pt x="202" y="142"/>
                      </a:lnTo>
                      <a:lnTo>
                        <a:pt x="202" y="142"/>
                      </a:lnTo>
                      <a:lnTo>
                        <a:pt x="202" y="142"/>
                      </a:lnTo>
                      <a:lnTo>
                        <a:pt x="203" y="142"/>
                      </a:lnTo>
                      <a:lnTo>
                        <a:pt x="202" y="142"/>
                      </a:lnTo>
                      <a:lnTo>
                        <a:pt x="203" y="142"/>
                      </a:lnTo>
                      <a:lnTo>
                        <a:pt x="203" y="141"/>
                      </a:lnTo>
                      <a:lnTo>
                        <a:pt x="203" y="141"/>
                      </a:lnTo>
                      <a:lnTo>
                        <a:pt x="204" y="141"/>
                      </a:lnTo>
                      <a:lnTo>
                        <a:pt x="204" y="141"/>
                      </a:lnTo>
                      <a:lnTo>
                        <a:pt x="204" y="141"/>
                      </a:lnTo>
                      <a:lnTo>
                        <a:pt x="205" y="141"/>
                      </a:lnTo>
                      <a:lnTo>
                        <a:pt x="204" y="141"/>
                      </a:lnTo>
                      <a:lnTo>
                        <a:pt x="204" y="141"/>
                      </a:lnTo>
                      <a:lnTo>
                        <a:pt x="204" y="141"/>
                      </a:lnTo>
                      <a:lnTo>
                        <a:pt x="204" y="141"/>
                      </a:lnTo>
                      <a:lnTo>
                        <a:pt x="204" y="141"/>
                      </a:lnTo>
                      <a:lnTo>
                        <a:pt x="204" y="141"/>
                      </a:lnTo>
                      <a:lnTo>
                        <a:pt x="203" y="141"/>
                      </a:lnTo>
                      <a:lnTo>
                        <a:pt x="203" y="141"/>
                      </a:lnTo>
                      <a:lnTo>
                        <a:pt x="202" y="142"/>
                      </a:lnTo>
                      <a:lnTo>
                        <a:pt x="202" y="142"/>
                      </a:lnTo>
                      <a:lnTo>
                        <a:pt x="202" y="142"/>
                      </a:lnTo>
                      <a:lnTo>
                        <a:pt x="201" y="142"/>
                      </a:lnTo>
                      <a:lnTo>
                        <a:pt x="200" y="142"/>
                      </a:lnTo>
                      <a:lnTo>
                        <a:pt x="201" y="142"/>
                      </a:lnTo>
                      <a:lnTo>
                        <a:pt x="201" y="143"/>
                      </a:lnTo>
                      <a:lnTo>
                        <a:pt x="200" y="142"/>
                      </a:lnTo>
                      <a:lnTo>
                        <a:pt x="200" y="142"/>
                      </a:lnTo>
                      <a:lnTo>
                        <a:pt x="199" y="142"/>
                      </a:lnTo>
                      <a:lnTo>
                        <a:pt x="199" y="142"/>
                      </a:lnTo>
                      <a:lnTo>
                        <a:pt x="199" y="142"/>
                      </a:lnTo>
                      <a:lnTo>
                        <a:pt x="199" y="142"/>
                      </a:lnTo>
                      <a:lnTo>
                        <a:pt x="199" y="142"/>
                      </a:lnTo>
                      <a:lnTo>
                        <a:pt x="199" y="141"/>
                      </a:lnTo>
                      <a:lnTo>
                        <a:pt x="199" y="142"/>
                      </a:lnTo>
                      <a:lnTo>
                        <a:pt x="198" y="142"/>
                      </a:lnTo>
                      <a:lnTo>
                        <a:pt x="197" y="142"/>
                      </a:lnTo>
                      <a:lnTo>
                        <a:pt x="197" y="142"/>
                      </a:lnTo>
                      <a:lnTo>
                        <a:pt x="196" y="142"/>
                      </a:lnTo>
                      <a:lnTo>
                        <a:pt x="196" y="141"/>
                      </a:lnTo>
                      <a:lnTo>
                        <a:pt x="196" y="142"/>
                      </a:lnTo>
                      <a:lnTo>
                        <a:pt x="196" y="141"/>
                      </a:lnTo>
                      <a:lnTo>
                        <a:pt x="196" y="142"/>
                      </a:lnTo>
                      <a:lnTo>
                        <a:pt x="196" y="142"/>
                      </a:lnTo>
                      <a:lnTo>
                        <a:pt x="196" y="141"/>
                      </a:lnTo>
                      <a:lnTo>
                        <a:pt x="196" y="141"/>
                      </a:lnTo>
                      <a:lnTo>
                        <a:pt x="197" y="141"/>
                      </a:lnTo>
                      <a:lnTo>
                        <a:pt x="197" y="141"/>
                      </a:lnTo>
                      <a:lnTo>
                        <a:pt x="197" y="141"/>
                      </a:lnTo>
                      <a:lnTo>
                        <a:pt x="196" y="141"/>
                      </a:lnTo>
                      <a:lnTo>
                        <a:pt x="196" y="141"/>
                      </a:lnTo>
                      <a:lnTo>
                        <a:pt x="196" y="141"/>
                      </a:lnTo>
                      <a:lnTo>
                        <a:pt x="196" y="141"/>
                      </a:lnTo>
                      <a:lnTo>
                        <a:pt x="196" y="142"/>
                      </a:lnTo>
                      <a:lnTo>
                        <a:pt x="195" y="142"/>
                      </a:lnTo>
                      <a:lnTo>
                        <a:pt x="195" y="141"/>
                      </a:lnTo>
                      <a:lnTo>
                        <a:pt x="195" y="141"/>
                      </a:lnTo>
                      <a:lnTo>
                        <a:pt x="194" y="141"/>
                      </a:lnTo>
                      <a:lnTo>
                        <a:pt x="193" y="141"/>
                      </a:lnTo>
                      <a:lnTo>
                        <a:pt x="193" y="141"/>
                      </a:lnTo>
                      <a:lnTo>
                        <a:pt x="192" y="141"/>
                      </a:lnTo>
                      <a:lnTo>
                        <a:pt x="192" y="141"/>
                      </a:lnTo>
                      <a:lnTo>
                        <a:pt x="193" y="141"/>
                      </a:lnTo>
                      <a:lnTo>
                        <a:pt x="192" y="141"/>
                      </a:lnTo>
                      <a:lnTo>
                        <a:pt x="192" y="141"/>
                      </a:lnTo>
                      <a:lnTo>
                        <a:pt x="192" y="141"/>
                      </a:lnTo>
                      <a:lnTo>
                        <a:pt x="192" y="141"/>
                      </a:lnTo>
                      <a:lnTo>
                        <a:pt x="191" y="141"/>
                      </a:lnTo>
                      <a:lnTo>
                        <a:pt x="191" y="140"/>
                      </a:lnTo>
                      <a:lnTo>
                        <a:pt x="190" y="140"/>
                      </a:lnTo>
                      <a:lnTo>
                        <a:pt x="190" y="140"/>
                      </a:lnTo>
                      <a:lnTo>
                        <a:pt x="189" y="140"/>
                      </a:lnTo>
                      <a:lnTo>
                        <a:pt x="189" y="139"/>
                      </a:lnTo>
                      <a:lnTo>
                        <a:pt x="190" y="139"/>
                      </a:lnTo>
                      <a:lnTo>
                        <a:pt x="190" y="138"/>
                      </a:lnTo>
                      <a:lnTo>
                        <a:pt x="190" y="138"/>
                      </a:lnTo>
                      <a:lnTo>
                        <a:pt x="191" y="138"/>
                      </a:lnTo>
                      <a:lnTo>
                        <a:pt x="190" y="138"/>
                      </a:lnTo>
                      <a:lnTo>
                        <a:pt x="191" y="138"/>
                      </a:lnTo>
                      <a:lnTo>
                        <a:pt x="191" y="137"/>
                      </a:lnTo>
                      <a:lnTo>
                        <a:pt x="191" y="138"/>
                      </a:lnTo>
                      <a:lnTo>
                        <a:pt x="191" y="137"/>
                      </a:lnTo>
                      <a:lnTo>
                        <a:pt x="191" y="138"/>
                      </a:lnTo>
                      <a:lnTo>
                        <a:pt x="191" y="137"/>
                      </a:lnTo>
                      <a:lnTo>
                        <a:pt x="190" y="137"/>
                      </a:lnTo>
                      <a:lnTo>
                        <a:pt x="190" y="138"/>
                      </a:lnTo>
                      <a:lnTo>
                        <a:pt x="190" y="137"/>
                      </a:lnTo>
                      <a:lnTo>
                        <a:pt x="190" y="138"/>
                      </a:lnTo>
                      <a:lnTo>
                        <a:pt x="189" y="138"/>
                      </a:lnTo>
                      <a:lnTo>
                        <a:pt x="189" y="137"/>
                      </a:lnTo>
                      <a:lnTo>
                        <a:pt x="189" y="137"/>
                      </a:lnTo>
                      <a:lnTo>
                        <a:pt x="189" y="137"/>
                      </a:lnTo>
                      <a:lnTo>
                        <a:pt x="189" y="136"/>
                      </a:lnTo>
                      <a:lnTo>
                        <a:pt x="189" y="135"/>
                      </a:lnTo>
                      <a:lnTo>
                        <a:pt x="190" y="135"/>
                      </a:lnTo>
                      <a:lnTo>
                        <a:pt x="191" y="135"/>
                      </a:lnTo>
                      <a:lnTo>
                        <a:pt x="190" y="135"/>
                      </a:lnTo>
                      <a:lnTo>
                        <a:pt x="190" y="134"/>
                      </a:lnTo>
                      <a:lnTo>
                        <a:pt x="190" y="134"/>
                      </a:lnTo>
                      <a:lnTo>
                        <a:pt x="191" y="134"/>
                      </a:lnTo>
                      <a:lnTo>
                        <a:pt x="191" y="133"/>
                      </a:lnTo>
                      <a:lnTo>
                        <a:pt x="190" y="133"/>
                      </a:lnTo>
                      <a:lnTo>
                        <a:pt x="191" y="133"/>
                      </a:lnTo>
                      <a:lnTo>
                        <a:pt x="191" y="133"/>
                      </a:lnTo>
                      <a:lnTo>
                        <a:pt x="190" y="132"/>
                      </a:lnTo>
                      <a:lnTo>
                        <a:pt x="190" y="131"/>
                      </a:lnTo>
                      <a:lnTo>
                        <a:pt x="189" y="131"/>
                      </a:lnTo>
                      <a:lnTo>
                        <a:pt x="189" y="131"/>
                      </a:lnTo>
                      <a:lnTo>
                        <a:pt x="189" y="131"/>
                      </a:lnTo>
                      <a:lnTo>
                        <a:pt x="188" y="131"/>
                      </a:lnTo>
                      <a:lnTo>
                        <a:pt x="188" y="131"/>
                      </a:lnTo>
                      <a:lnTo>
                        <a:pt x="188" y="130"/>
                      </a:lnTo>
                      <a:lnTo>
                        <a:pt x="188" y="130"/>
                      </a:lnTo>
                      <a:lnTo>
                        <a:pt x="188" y="130"/>
                      </a:lnTo>
                      <a:lnTo>
                        <a:pt x="188" y="130"/>
                      </a:lnTo>
                      <a:lnTo>
                        <a:pt x="187" y="130"/>
                      </a:lnTo>
                      <a:lnTo>
                        <a:pt x="186" y="130"/>
                      </a:lnTo>
                      <a:lnTo>
                        <a:pt x="186" y="129"/>
                      </a:lnTo>
                      <a:lnTo>
                        <a:pt x="186" y="129"/>
                      </a:lnTo>
                      <a:lnTo>
                        <a:pt x="186" y="129"/>
                      </a:lnTo>
                      <a:lnTo>
                        <a:pt x="187" y="129"/>
                      </a:lnTo>
                      <a:lnTo>
                        <a:pt x="188" y="129"/>
                      </a:lnTo>
                      <a:lnTo>
                        <a:pt x="187" y="129"/>
                      </a:lnTo>
                      <a:lnTo>
                        <a:pt x="188" y="129"/>
                      </a:lnTo>
                      <a:lnTo>
                        <a:pt x="188" y="129"/>
                      </a:lnTo>
                      <a:lnTo>
                        <a:pt x="188" y="129"/>
                      </a:lnTo>
                      <a:lnTo>
                        <a:pt x="188" y="129"/>
                      </a:lnTo>
                      <a:lnTo>
                        <a:pt x="188" y="129"/>
                      </a:lnTo>
                      <a:lnTo>
                        <a:pt x="188" y="129"/>
                      </a:lnTo>
                      <a:lnTo>
                        <a:pt x="189" y="129"/>
                      </a:lnTo>
                      <a:lnTo>
                        <a:pt x="189" y="129"/>
                      </a:lnTo>
                      <a:lnTo>
                        <a:pt x="189" y="129"/>
                      </a:lnTo>
                      <a:lnTo>
                        <a:pt x="189" y="129"/>
                      </a:lnTo>
                      <a:lnTo>
                        <a:pt x="190" y="129"/>
                      </a:lnTo>
                      <a:lnTo>
                        <a:pt x="190" y="129"/>
                      </a:lnTo>
                      <a:lnTo>
                        <a:pt x="190" y="129"/>
                      </a:lnTo>
                      <a:lnTo>
                        <a:pt x="191" y="129"/>
                      </a:lnTo>
                      <a:lnTo>
                        <a:pt x="191" y="129"/>
                      </a:lnTo>
                      <a:lnTo>
                        <a:pt x="192" y="129"/>
                      </a:lnTo>
                      <a:lnTo>
                        <a:pt x="191" y="130"/>
                      </a:lnTo>
                      <a:lnTo>
                        <a:pt x="192" y="130"/>
                      </a:lnTo>
                      <a:lnTo>
                        <a:pt x="192" y="129"/>
                      </a:lnTo>
                      <a:lnTo>
                        <a:pt x="192" y="130"/>
                      </a:lnTo>
                      <a:lnTo>
                        <a:pt x="192" y="129"/>
                      </a:lnTo>
                      <a:lnTo>
                        <a:pt x="191" y="129"/>
                      </a:lnTo>
                      <a:lnTo>
                        <a:pt x="191" y="129"/>
                      </a:lnTo>
                      <a:lnTo>
                        <a:pt x="190" y="129"/>
                      </a:lnTo>
                      <a:lnTo>
                        <a:pt x="190" y="129"/>
                      </a:lnTo>
                      <a:lnTo>
                        <a:pt x="189" y="129"/>
                      </a:lnTo>
                      <a:lnTo>
                        <a:pt x="189" y="129"/>
                      </a:lnTo>
                      <a:lnTo>
                        <a:pt x="189" y="129"/>
                      </a:lnTo>
                      <a:lnTo>
                        <a:pt x="189" y="129"/>
                      </a:lnTo>
                      <a:lnTo>
                        <a:pt x="188" y="129"/>
                      </a:lnTo>
                      <a:lnTo>
                        <a:pt x="188" y="128"/>
                      </a:lnTo>
                      <a:lnTo>
                        <a:pt x="189" y="128"/>
                      </a:lnTo>
                      <a:lnTo>
                        <a:pt x="188" y="128"/>
                      </a:lnTo>
                      <a:lnTo>
                        <a:pt x="188" y="128"/>
                      </a:lnTo>
                      <a:lnTo>
                        <a:pt x="188" y="127"/>
                      </a:lnTo>
                      <a:lnTo>
                        <a:pt x="187" y="127"/>
                      </a:lnTo>
                      <a:lnTo>
                        <a:pt x="186" y="127"/>
                      </a:lnTo>
                      <a:lnTo>
                        <a:pt x="186" y="127"/>
                      </a:lnTo>
                      <a:lnTo>
                        <a:pt x="186" y="127"/>
                      </a:lnTo>
                      <a:lnTo>
                        <a:pt x="186" y="127"/>
                      </a:lnTo>
                      <a:lnTo>
                        <a:pt x="186" y="127"/>
                      </a:lnTo>
                      <a:lnTo>
                        <a:pt x="186" y="127"/>
                      </a:lnTo>
                      <a:lnTo>
                        <a:pt x="186" y="126"/>
                      </a:lnTo>
                      <a:lnTo>
                        <a:pt x="187" y="126"/>
                      </a:lnTo>
                      <a:lnTo>
                        <a:pt x="186" y="126"/>
                      </a:lnTo>
                      <a:lnTo>
                        <a:pt x="187" y="126"/>
                      </a:lnTo>
                      <a:lnTo>
                        <a:pt x="187" y="127"/>
                      </a:lnTo>
                      <a:lnTo>
                        <a:pt x="188" y="126"/>
                      </a:lnTo>
                      <a:lnTo>
                        <a:pt x="187" y="126"/>
                      </a:lnTo>
                      <a:lnTo>
                        <a:pt x="188" y="126"/>
                      </a:lnTo>
                      <a:lnTo>
                        <a:pt x="188" y="126"/>
                      </a:lnTo>
                      <a:lnTo>
                        <a:pt x="188" y="126"/>
                      </a:lnTo>
                      <a:lnTo>
                        <a:pt x="188" y="126"/>
                      </a:lnTo>
                      <a:lnTo>
                        <a:pt x="188" y="126"/>
                      </a:lnTo>
                      <a:lnTo>
                        <a:pt x="189" y="126"/>
                      </a:lnTo>
                      <a:lnTo>
                        <a:pt x="189" y="125"/>
                      </a:lnTo>
                      <a:lnTo>
                        <a:pt x="189" y="125"/>
                      </a:lnTo>
                      <a:lnTo>
                        <a:pt x="189" y="125"/>
                      </a:lnTo>
                      <a:lnTo>
                        <a:pt x="189" y="126"/>
                      </a:lnTo>
                      <a:lnTo>
                        <a:pt x="188" y="126"/>
                      </a:lnTo>
                      <a:lnTo>
                        <a:pt x="188" y="125"/>
                      </a:lnTo>
                      <a:lnTo>
                        <a:pt x="189" y="125"/>
                      </a:lnTo>
                      <a:lnTo>
                        <a:pt x="188" y="125"/>
                      </a:lnTo>
                      <a:lnTo>
                        <a:pt x="189" y="125"/>
                      </a:lnTo>
                      <a:lnTo>
                        <a:pt x="189" y="124"/>
                      </a:lnTo>
                      <a:lnTo>
                        <a:pt x="189" y="125"/>
                      </a:lnTo>
                      <a:lnTo>
                        <a:pt x="188" y="125"/>
                      </a:lnTo>
                      <a:lnTo>
                        <a:pt x="188" y="125"/>
                      </a:lnTo>
                      <a:lnTo>
                        <a:pt x="188" y="125"/>
                      </a:lnTo>
                      <a:lnTo>
                        <a:pt x="188" y="125"/>
                      </a:lnTo>
                      <a:lnTo>
                        <a:pt x="188" y="125"/>
                      </a:lnTo>
                      <a:lnTo>
                        <a:pt x="188" y="124"/>
                      </a:lnTo>
                      <a:lnTo>
                        <a:pt x="187" y="124"/>
                      </a:lnTo>
                      <a:lnTo>
                        <a:pt x="188" y="124"/>
                      </a:lnTo>
                      <a:lnTo>
                        <a:pt x="187" y="124"/>
                      </a:lnTo>
                      <a:lnTo>
                        <a:pt x="188" y="124"/>
                      </a:lnTo>
                      <a:lnTo>
                        <a:pt x="188" y="123"/>
                      </a:lnTo>
                      <a:lnTo>
                        <a:pt x="188" y="123"/>
                      </a:lnTo>
                      <a:lnTo>
                        <a:pt x="189" y="123"/>
                      </a:lnTo>
                      <a:lnTo>
                        <a:pt x="189" y="123"/>
                      </a:lnTo>
                      <a:lnTo>
                        <a:pt x="190" y="123"/>
                      </a:lnTo>
                      <a:lnTo>
                        <a:pt x="190" y="124"/>
                      </a:lnTo>
                      <a:lnTo>
                        <a:pt x="190" y="123"/>
                      </a:lnTo>
                      <a:lnTo>
                        <a:pt x="191" y="124"/>
                      </a:lnTo>
                      <a:lnTo>
                        <a:pt x="191" y="123"/>
                      </a:lnTo>
                      <a:lnTo>
                        <a:pt x="191" y="123"/>
                      </a:lnTo>
                      <a:lnTo>
                        <a:pt x="191" y="123"/>
                      </a:lnTo>
                      <a:lnTo>
                        <a:pt x="191" y="123"/>
                      </a:lnTo>
                      <a:lnTo>
                        <a:pt x="192" y="123"/>
                      </a:lnTo>
                      <a:lnTo>
                        <a:pt x="192" y="123"/>
                      </a:lnTo>
                      <a:lnTo>
                        <a:pt x="192" y="123"/>
                      </a:lnTo>
                      <a:lnTo>
                        <a:pt x="192" y="123"/>
                      </a:lnTo>
                      <a:lnTo>
                        <a:pt x="193" y="123"/>
                      </a:lnTo>
                      <a:lnTo>
                        <a:pt x="193" y="123"/>
                      </a:lnTo>
                      <a:lnTo>
                        <a:pt x="194" y="123"/>
                      </a:lnTo>
                      <a:lnTo>
                        <a:pt x="195" y="123"/>
                      </a:lnTo>
                      <a:lnTo>
                        <a:pt x="195" y="123"/>
                      </a:lnTo>
                      <a:lnTo>
                        <a:pt x="196" y="123"/>
                      </a:lnTo>
                      <a:lnTo>
                        <a:pt x="196" y="123"/>
                      </a:lnTo>
                      <a:lnTo>
                        <a:pt x="196" y="122"/>
                      </a:lnTo>
                      <a:lnTo>
                        <a:pt x="196" y="123"/>
                      </a:lnTo>
                      <a:lnTo>
                        <a:pt x="196" y="122"/>
                      </a:lnTo>
                      <a:lnTo>
                        <a:pt x="197" y="122"/>
                      </a:lnTo>
                      <a:lnTo>
                        <a:pt x="197" y="122"/>
                      </a:lnTo>
                      <a:lnTo>
                        <a:pt x="198" y="122"/>
                      </a:lnTo>
                      <a:lnTo>
                        <a:pt x="199" y="122"/>
                      </a:lnTo>
                      <a:lnTo>
                        <a:pt x="199" y="122"/>
                      </a:lnTo>
                      <a:lnTo>
                        <a:pt x="200" y="122"/>
                      </a:lnTo>
                      <a:lnTo>
                        <a:pt x="200" y="122"/>
                      </a:lnTo>
                      <a:lnTo>
                        <a:pt x="202" y="122"/>
                      </a:lnTo>
                      <a:lnTo>
                        <a:pt x="202" y="122"/>
                      </a:lnTo>
                      <a:lnTo>
                        <a:pt x="203" y="122"/>
                      </a:lnTo>
                      <a:lnTo>
                        <a:pt x="203" y="123"/>
                      </a:lnTo>
                      <a:lnTo>
                        <a:pt x="202" y="123"/>
                      </a:lnTo>
                      <a:lnTo>
                        <a:pt x="202" y="123"/>
                      </a:lnTo>
                      <a:lnTo>
                        <a:pt x="202" y="124"/>
                      </a:lnTo>
                      <a:lnTo>
                        <a:pt x="202" y="123"/>
                      </a:lnTo>
                      <a:lnTo>
                        <a:pt x="202" y="123"/>
                      </a:lnTo>
                      <a:lnTo>
                        <a:pt x="203" y="123"/>
                      </a:lnTo>
                      <a:lnTo>
                        <a:pt x="203" y="123"/>
                      </a:lnTo>
                      <a:lnTo>
                        <a:pt x="203" y="123"/>
                      </a:lnTo>
                      <a:lnTo>
                        <a:pt x="203" y="122"/>
                      </a:lnTo>
                      <a:lnTo>
                        <a:pt x="203" y="122"/>
                      </a:lnTo>
                      <a:lnTo>
                        <a:pt x="204" y="122"/>
                      </a:lnTo>
                      <a:lnTo>
                        <a:pt x="205" y="122"/>
                      </a:lnTo>
                      <a:lnTo>
                        <a:pt x="206" y="122"/>
                      </a:lnTo>
                      <a:lnTo>
                        <a:pt x="207" y="122"/>
                      </a:lnTo>
                      <a:lnTo>
                        <a:pt x="207" y="122"/>
                      </a:lnTo>
                      <a:lnTo>
                        <a:pt x="208" y="122"/>
                      </a:lnTo>
                      <a:lnTo>
                        <a:pt x="208" y="122"/>
                      </a:lnTo>
                      <a:lnTo>
                        <a:pt x="209" y="122"/>
                      </a:lnTo>
                      <a:lnTo>
                        <a:pt x="210" y="122"/>
                      </a:lnTo>
                      <a:lnTo>
                        <a:pt x="211" y="122"/>
                      </a:lnTo>
                      <a:lnTo>
                        <a:pt x="211" y="122"/>
                      </a:lnTo>
                      <a:lnTo>
                        <a:pt x="212" y="122"/>
                      </a:lnTo>
                      <a:lnTo>
                        <a:pt x="212" y="122"/>
                      </a:lnTo>
                      <a:lnTo>
                        <a:pt x="213" y="122"/>
                      </a:lnTo>
                      <a:lnTo>
                        <a:pt x="214" y="122"/>
                      </a:lnTo>
                      <a:lnTo>
                        <a:pt x="214" y="122"/>
                      </a:lnTo>
                      <a:lnTo>
                        <a:pt x="214" y="122"/>
                      </a:lnTo>
                      <a:lnTo>
                        <a:pt x="214" y="122"/>
                      </a:lnTo>
                      <a:lnTo>
                        <a:pt x="214" y="122"/>
                      </a:lnTo>
                      <a:lnTo>
                        <a:pt x="215" y="122"/>
                      </a:lnTo>
                      <a:lnTo>
                        <a:pt x="214" y="122"/>
                      </a:lnTo>
                      <a:lnTo>
                        <a:pt x="214" y="122"/>
                      </a:lnTo>
                      <a:lnTo>
                        <a:pt x="215" y="122"/>
                      </a:lnTo>
                      <a:lnTo>
                        <a:pt x="215" y="122"/>
                      </a:lnTo>
                      <a:lnTo>
                        <a:pt x="216" y="122"/>
                      </a:lnTo>
                      <a:lnTo>
                        <a:pt x="217" y="121"/>
                      </a:lnTo>
                      <a:lnTo>
                        <a:pt x="217" y="122"/>
                      </a:lnTo>
                      <a:lnTo>
                        <a:pt x="217" y="121"/>
                      </a:lnTo>
                      <a:lnTo>
                        <a:pt x="217" y="121"/>
                      </a:lnTo>
                      <a:lnTo>
                        <a:pt x="218" y="121"/>
                      </a:lnTo>
                      <a:lnTo>
                        <a:pt x="218" y="121"/>
                      </a:lnTo>
                      <a:lnTo>
                        <a:pt x="219" y="121"/>
                      </a:lnTo>
                      <a:lnTo>
                        <a:pt x="219" y="121"/>
                      </a:lnTo>
                      <a:lnTo>
                        <a:pt x="220" y="121"/>
                      </a:lnTo>
                      <a:lnTo>
                        <a:pt x="221" y="120"/>
                      </a:lnTo>
                      <a:lnTo>
                        <a:pt x="222" y="120"/>
                      </a:lnTo>
                      <a:lnTo>
                        <a:pt x="222" y="120"/>
                      </a:lnTo>
                      <a:lnTo>
                        <a:pt x="222" y="120"/>
                      </a:lnTo>
                      <a:lnTo>
                        <a:pt x="222" y="120"/>
                      </a:lnTo>
                      <a:lnTo>
                        <a:pt x="222" y="121"/>
                      </a:lnTo>
                      <a:lnTo>
                        <a:pt x="221" y="121"/>
                      </a:lnTo>
                      <a:lnTo>
                        <a:pt x="222" y="121"/>
                      </a:lnTo>
                      <a:lnTo>
                        <a:pt x="222" y="121"/>
                      </a:lnTo>
                      <a:lnTo>
                        <a:pt x="223" y="121"/>
                      </a:lnTo>
                      <a:lnTo>
                        <a:pt x="223" y="121"/>
                      </a:lnTo>
                      <a:lnTo>
                        <a:pt x="224" y="121"/>
                      </a:lnTo>
                      <a:lnTo>
                        <a:pt x="225" y="121"/>
                      </a:lnTo>
                      <a:lnTo>
                        <a:pt x="225" y="121"/>
                      </a:lnTo>
                      <a:lnTo>
                        <a:pt x="226" y="121"/>
                      </a:lnTo>
                      <a:lnTo>
                        <a:pt x="225" y="121"/>
                      </a:lnTo>
                      <a:lnTo>
                        <a:pt x="226" y="121"/>
                      </a:lnTo>
                      <a:lnTo>
                        <a:pt x="226" y="122"/>
                      </a:lnTo>
                      <a:lnTo>
                        <a:pt x="226" y="121"/>
                      </a:lnTo>
                      <a:lnTo>
                        <a:pt x="226" y="121"/>
                      </a:lnTo>
                      <a:lnTo>
                        <a:pt x="227" y="121"/>
                      </a:lnTo>
                      <a:lnTo>
                        <a:pt x="227" y="121"/>
                      </a:lnTo>
                      <a:lnTo>
                        <a:pt x="227" y="120"/>
                      </a:lnTo>
                      <a:lnTo>
                        <a:pt x="227" y="120"/>
                      </a:lnTo>
                      <a:lnTo>
                        <a:pt x="227" y="120"/>
                      </a:lnTo>
                      <a:lnTo>
                        <a:pt x="228" y="120"/>
                      </a:lnTo>
                      <a:lnTo>
                        <a:pt x="228" y="120"/>
                      </a:lnTo>
                      <a:lnTo>
                        <a:pt x="227" y="120"/>
                      </a:lnTo>
                      <a:lnTo>
                        <a:pt x="228" y="120"/>
                      </a:lnTo>
                      <a:lnTo>
                        <a:pt x="229" y="120"/>
                      </a:lnTo>
                      <a:lnTo>
                        <a:pt x="229" y="119"/>
                      </a:lnTo>
                      <a:lnTo>
                        <a:pt x="229" y="119"/>
                      </a:lnTo>
                      <a:lnTo>
                        <a:pt x="230" y="119"/>
                      </a:lnTo>
                      <a:lnTo>
                        <a:pt x="230" y="119"/>
                      </a:lnTo>
                      <a:lnTo>
                        <a:pt x="230" y="120"/>
                      </a:lnTo>
                      <a:lnTo>
                        <a:pt x="230" y="119"/>
                      </a:lnTo>
                      <a:lnTo>
                        <a:pt x="231" y="119"/>
                      </a:lnTo>
                      <a:lnTo>
                        <a:pt x="232" y="119"/>
                      </a:lnTo>
                      <a:lnTo>
                        <a:pt x="232" y="119"/>
                      </a:lnTo>
                      <a:lnTo>
                        <a:pt x="233" y="119"/>
                      </a:lnTo>
                      <a:lnTo>
                        <a:pt x="233" y="119"/>
                      </a:lnTo>
                      <a:lnTo>
                        <a:pt x="234" y="119"/>
                      </a:lnTo>
                      <a:lnTo>
                        <a:pt x="234" y="119"/>
                      </a:lnTo>
                      <a:lnTo>
                        <a:pt x="235" y="119"/>
                      </a:lnTo>
                      <a:lnTo>
                        <a:pt x="236" y="118"/>
                      </a:lnTo>
                      <a:lnTo>
                        <a:pt x="236" y="119"/>
                      </a:lnTo>
                      <a:lnTo>
                        <a:pt x="236" y="119"/>
                      </a:lnTo>
                      <a:lnTo>
                        <a:pt x="237" y="119"/>
                      </a:lnTo>
                      <a:lnTo>
                        <a:pt x="237" y="119"/>
                      </a:lnTo>
                      <a:lnTo>
                        <a:pt x="237" y="118"/>
                      </a:lnTo>
                      <a:lnTo>
                        <a:pt x="238" y="118"/>
                      </a:lnTo>
                      <a:lnTo>
                        <a:pt x="238" y="119"/>
                      </a:lnTo>
                      <a:lnTo>
                        <a:pt x="238" y="119"/>
                      </a:lnTo>
                      <a:lnTo>
                        <a:pt x="238" y="118"/>
                      </a:lnTo>
                      <a:lnTo>
                        <a:pt x="239" y="118"/>
                      </a:lnTo>
                      <a:lnTo>
                        <a:pt x="239" y="119"/>
                      </a:lnTo>
                      <a:lnTo>
                        <a:pt x="240" y="119"/>
                      </a:lnTo>
                      <a:lnTo>
                        <a:pt x="241" y="119"/>
                      </a:lnTo>
                      <a:lnTo>
                        <a:pt x="241" y="119"/>
                      </a:lnTo>
                      <a:lnTo>
                        <a:pt x="240" y="119"/>
                      </a:lnTo>
                      <a:lnTo>
                        <a:pt x="240" y="120"/>
                      </a:lnTo>
                      <a:lnTo>
                        <a:pt x="240" y="120"/>
                      </a:lnTo>
                      <a:lnTo>
                        <a:pt x="239" y="120"/>
                      </a:lnTo>
                      <a:lnTo>
                        <a:pt x="238" y="120"/>
                      </a:lnTo>
                      <a:lnTo>
                        <a:pt x="238" y="121"/>
                      </a:lnTo>
                      <a:lnTo>
                        <a:pt x="237" y="121"/>
                      </a:lnTo>
                      <a:lnTo>
                        <a:pt x="237" y="122"/>
                      </a:lnTo>
                      <a:lnTo>
                        <a:pt x="236" y="122"/>
                      </a:lnTo>
                      <a:lnTo>
                        <a:pt x="236" y="122"/>
                      </a:lnTo>
                      <a:lnTo>
                        <a:pt x="235" y="122"/>
                      </a:lnTo>
                      <a:lnTo>
                        <a:pt x="234" y="122"/>
                      </a:lnTo>
                      <a:lnTo>
                        <a:pt x="234" y="123"/>
                      </a:lnTo>
                      <a:lnTo>
                        <a:pt x="234" y="123"/>
                      </a:lnTo>
                      <a:lnTo>
                        <a:pt x="233" y="123"/>
                      </a:lnTo>
                      <a:lnTo>
                        <a:pt x="233" y="123"/>
                      </a:lnTo>
                      <a:lnTo>
                        <a:pt x="233" y="123"/>
                      </a:lnTo>
                      <a:lnTo>
                        <a:pt x="232" y="123"/>
                      </a:lnTo>
                      <a:lnTo>
                        <a:pt x="232" y="124"/>
                      </a:lnTo>
                      <a:lnTo>
                        <a:pt x="231" y="124"/>
                      </a:lnTo>
                      <a:lnTo>
                        <a:pt x="232" y="124"/>
                      </a:lnTo>
                      <a:lnTo>
                        <a:pt x="231" y="124"/>
                      </a:lnTo>
                      <a:lnTo>
                        <a:pt x="232" y="124"/>
                      </a:lnTo>
                      <a:lnTo>
                        <a:pt x="231" y="124"/>
                      </a:lnTo>
                      <a:lnTo>
                        <a:pt x="232" y="124"/>
                      </a:lnTo>
                      <a:lnTo>
                        <a:pt x="231" y="124"/>
                      </a:lnTo>
                      <a:lnTo>
                        <a:pt x="230" y="125"/>
                      </a:lnTo>
                      <a:lnTo>
                        <a:pt x="230" y="125"/>
                      </a:lnTo>
                      <a:lnTo>
                        <a:pt x="229" y="125"/>
                      </a:lnTo>
                      <a:lnTo>
                        <a:pt x="229" y="125"/>
                      </a:lnTo>
                      <a:lnTo>
                        <a:pt x="229" y="125"/>
                      </a:lnTo>
                      <a:lnTo>
                        <a:pt x="229" y="125"/>
                      </a:lnTo>
                      <a:lnTo>
                        <a:pt x="229" y="125"/>
                      </a:lnTo>
                      <a:lnTo>
                        <a:pt x="229" y="125"/>
                      </a:lnTo>
                      <a:lnTo>
                        <a:pt x="229" y="125"/>
                      </a:lnTo>
                      <a:lnTo>
                        <a:pt x="230" y="125"/>
                      </a:lnTo>
                      <a:lnTo>
                        <a:pt x="230" y="125"/>
                      </a:lnTo>
                      <a:lnTo>
                        <a:pt x="230" y="125"/>
                      </a:lnTo>
                      <a:lnTo>
                        <a:pt x="230" y="126"/>
                      </a:lnTo>
                      <a:lnTo>
                        <a:pt x="230" y="126"/>
                      </a:lnTo>
                      <a:lnTo>
                        <a:pt x="229" y="126"/>
                      </a:lnTo>
                      <a:lnTo>
                        <a:pt x="229" y="126"/>
                      </a:lnTo>
                      <a:lnTo>
                        <a:pt x="230" y="126"/>
                      </a:lnTo>
                      <a:lnTo>
                        <a:pt x="230" y="127"/>
                      </a:lnTo>
                      <a:lnTo>
                        <a:pt x="230" y="127"/>
                      </a:lnTo>
                      <a:lnTo>
                        <a:pt x="230" y="127"/>
                      </a:lnTo>
                      <a:lnTo>
                        <a:pt x="231" y="127"/>
                      </a:lnTo>
                      <a:lnTo>
                        <a:pt x="232" y="127"/>
                      </a:lnTo>
                      <a:lnTo>
                        <a:pt x="232" y="127"/>
                      </a:lnTo>
                      <a:lnTo>
                        <a:pt x="232" y="128"/>
                      </a:lnTo>
                      <a:lnTo>
                        <a:pt x="232" y="127"/>
                      </a:lnTo>
                      <a:lnTo>
                        <a:pt x="233" y="127"/>
                      </a:lnTo>
                      <a:lnTo>
                        <a:pt x="233" y="128"/>
                      </a:lnTo>
                      <a:lnTo>
                        <a:pt x="234" y="128"/>
                      </a:lnTo>
                      <a:lnTo>
                        <a:pt x="234" y="128"/>
                      </a:lnTo>
                      <a:lnTo>
                        <a:pt x="234" y="128"/>
                      </a:lnTo>
                      <a:lnTo>
                        <a:pt x="234" y="129"/>
                      </a:lnTo>
                      <a:lnTo>
                        <a:pt x="234" y="129"/>
                      </a:lnTo>
                      <a:lnTo>
                        <a:pt x="235" y="129"/>
                      </a:lnTo>
                      <a:lnTo>
                        <a:pt x="236" y="129"/>
                      </a:lnTo>
                      <a:lnTo>
                        <a:pt x="236" y="130"/>
                      </a:lnTo>
                      <a:lnTo>
                        <a:pt x="237" y="130"/>
                      </a:lnTo>
                      <a:lnTo>
                        <a:pt x="237" y="130"/>
                      </a:lnTo>
                      <a:lnTo>
                        <a:pt x="237" y="131"/>
                      </a:lnTo>
                      <a:lnTo>
                        <a:pt x="237" y="131"/>
                      </a:lnTo>
                      <a:lnTo>
                        <a:pt x="238" y="132"/>
                      </a:lnTo>
                      <a:lnTo>
                        <a:pt x="237" y="132"/>
                      </a:lnTo>
                      <a:lnTo>
                        <a:pt x="237" y="133"/>
                      </a:lnTo>
                      <a:lnTo>
                        <a:pt x="237" y="133"/>
                      </a:lnTo>
                      <a:lnTo>
                        <a:pt x="236" y="133"/>
                      </a:lnTo>
                      <a:lnTo>
                        <a:pt x="236" y="133"/>
                      </a:lnTo>
                      <a:lnTo>
                        <a:pt x="234" y="133"/>
                      </a:lnTo>
                      <a:lnTo>
                        <a:pt x="234" y="133"/>
                      </a:lnTo>
                      <a:lnTo>
                        <a:pt x="234" y="132"/>
                      </a:lnTo>
                      <a:lnTo>
                        <a:pt x="233" y="132"/>
                      </a:lnTo>
                      <a:lnTo>
                        <a:pt x="233" y="132"/>
                      </a:lnTo>
                      <a:lnTo>
                        <a:pt x="232" y="132"/>
                      </a:lnTo>
                      <a:lnTo>
                        <a:pt x="232" y="132"/>
                      </a:lnTo>
                      <a:lnTo>
                        <a:pt x="231" y="132"/>
                      </a:lnTo>
                      <a:lnTo>
                        <a:pt x="230" y="132"/>
                      </a:lnTo>
                      <a:lnTo>
                        <a:pt x="230" y="132"/>
                      </a:lnTo>
                      <a:lnTo>
                        <a:pt x="229" y="132"/>
                      </a:lnTo>
                      <a:lnTo>
                        <a:pt x="229" y="133"/>
                      </a:lnTo>
                      <a:lnTo>
                        <a:pt x="229" y="133"/>
                      </a:lnTo>
                      <a:lnTo>
                        <a:pt x="229" y="133"/>
                      </a:lnTo>
                      <a:lnTo>
                        <a:pt x="228" y="133"/>
                      </a:lnTo>
                      <a:lnTo>
                        <a:pt x="227" y="133"/>
                      </a:lnTo>
                      <a:lnTo>
                        <a:pt x="227" y="134"/>
                      </a:lnTo>
                      <a:lnTo>
                        <a:pt x="227" y="134"/>
                      </a:lnTo>
                      <a:lnTo>
                        <a:pt x="227" y="134"/>
                      </a:lnTo>
                      <a:lnTo>
                        <a:pt x="226" y="134"/>
                      </a:lnTo>
                      <a:lnTo>
                        <a:pt x="227" y="134"/>
                      </a:lnTo>
                      <a:lnTo>
                        <a:pt x="226" y="134"/>
                      </a:lnTo>
                      <a:lnTo>
                        <a:pt x="227" y="134"/>
                      </a:lnTo>
                      <a:lnTo>
                        <a:pt x="227" y="135"/>
                      </a:lnTo>
                      <a:lnTo>
                        <a:pt x="227" y="135"/>
                      </a:lnTo>
                      <a:lnTo>
                        <a:pt x="227" y="135"/>
                      </a:lnTo>
                      <a:lnTo>
                        <a:pt x="227" y="136"/>
                      </a:lnTo>
                      <a:lnTo>
                        <a:pt x="227" y="137"/>
                      </a:lnTo>
                      <a:lnTo>
                        <a:pt x="227" y="136"/>
                      </a:lnTo>
                      <a:lnTo>
                        <a:pt x="227" y="137"/>
                      </a:lnTo>
                      <a:lnTo>
                        <a:pt x="227" y="137"/>
                      </a:lnTo>
                      <a:lnTo>
                        <a:pt x="228" y="137"/>
                      </a:lnTo>
                      <a:lnTo>
                        <a:pt x="228" y="138"/>
                      </a:lnTo>
                      <a:lnTo>
                        <a:pt x="227" y="138"/>
                      </a:lnTo>
                      <a:lnTo>
                        <a:pt x="227" y="138"/>
                      </a:lnTo>
                      <a:lnTo>
                        <a:pt x="228" y="138"/>
                      </a:lnTo>
                      <a:lnTo>
                        <a:pt x="229" y="138"/>
                      </a:lnTo>
                      <a:lnTo>
                        <a:pt x="229" y="139"/>
                      </a:lnTo>
                      <a:lnTo>
                        <a:pt x="229" y="139"/>
                      </a:lnTo>
                      <a:lnTo>
                        <a:pt x="230" y="140"/>
                      </a:lnTo>
                      <a:lnTo>
                        <a:pt x="230" y="140"/>
                      </a:lnTo>
                      <a:lnTo>
                        <a:pt x="230" y="141"/>
                      </a:lnTo>
                      <a:lnTo>
                        <a:pt x="230" y="141"/>
                      </a:lnTo>
                      <a:lnTo>
                        <a:pt x="230" y="142"/>
                      </a:lnTo>
                      <a:lnTo>
                        <a:pt x="230" y="142"/>
                      </a:lnTo>
                      <a:lnTo>
                        <a:pt x="230" y="142"/>
                      </a:lnTo>
                      <a:lnTo>
                        <a:pt x="230" y="142"/>
                      </a:lnTo>
                      <a:lnTo>
                        <a:pt x="229" y="142"/>
                      </a:lnTo>
                      <a:lnTo>
                        <a:pt x="229" y="142"/>
                      </a:lnTo>
                      <a:lnTo>
                        <a:pt x="228" y="143"/>
                      </a:lnTo>
                      <a:lnTo>
                        <a:pt x="227" y="143"/>
                      </a:lnTo>
                      <a:lnTo>
                        <a:pt x="227" y="143"/>
                      </a:lnTo>
                      <a:lnTo>
                        <a:pt x="226" y="143"/>
                      </a:lnTo>
                      <a:lnTo>
                        <a:pt x="226" y="142"/>
                      </a:lnTo>
                      <a:lnTo>
                        <a:pt x="226" y="142"/>
                      </a:lnTo>
                      <a:lnTo>
                        <a:pt x="225" y="142"/>
                      </a:lnTo>
                      <a:lnTo>
                        <a:pt x="226" y="142"/>
                      </a:lnTo>
                      <a:lnTo>
                        <a:pt x="225" y="142"/>
                      </a:lnTo>
                      <a:lnTo>
                        <a:pt x="225" y="142"/>
                      </a:lnTo>
                      <a:lnTo>
                        <a:pt x="225" y="142"/>
                      </a:lnTo>
                      <a:lnTo>
                        <a:pt x="224" y="142"/>
                      </a:lnTo>
                      <a:lnTo>
                        <a:pt x="224" y="141"/>
                      </a:lnTo>
                      <a:lnTo>
                        <a:pt x="223" y="141"/>
                      </a:lnTo>
                      <a:lnTo>
                        <a:pt x="223" y="141"/>
                      </a:lnTo>
                      <a:lnTo>
                        <a:pt x="223" y="141"/>
                      </a:lnTo>
                      <a:lnTo>
                        <a:pt x="222" y="141"/>
                      </a:lnTo>
                      <a:lnTo>
                        <a:pt x="222" y="140"/>
                      </a:lnTo>
                      <a:lnTo>
                        <a:pt x="222" y="140"/>
                      </a:lnTo>
                      <a:lnTo>
                        <a:pt x="221" y="140"/>
                      </a:lnTo>
                      <a:lnTo>
                        <a:pt x="221" y="140"/>
                      </a:lnTo>
                      <a:lnTo>
                        <a:pt x="221" y="140"/>
                      </a:lnTo>
                      <a:lnTo>
                        <a:pt x="221" y="140"/>
                      </a:lnTo>
                      <a:lnTo>
                        <a:pt x="220" y="140"/>
                      </a:lnTo>
                      <a:lnTo>
                        <a:pt x="221" y="140"/>
                      </a:lnTo>
                      <a:lnTo>
                        <a:pt x="221" y="141"/>
                      </a:lnTo>
                      <a:lnTo>
                        <a:pt x="220" y="141"/>
                      </a:lnTo>
                      <a:lnTo>
                        <a:pt x="220" y="141"/>
                      </a:lnTo>
                      <a:lnTo>
                        <a:pt x="220" y="142"/>
                      </a:lnTo>
                      <a:lnTo>
                        <a:pt x="219" y="142"/>
                      </a:lnTo>
                      <a:lnTo>
                        <a:pt x="219" y="141"/>
                      </a:lnTo>
                      <a:lnTo>
                        <a:pt x="219" y="141"/>
                      </a:lnTo>
                      <a:lnTo>
                        <a:pt x="219" y="141"/>
                      </a:lnTo>
                      <a:lnTo>
                        <a:pt x="219" y="141"/>
                      </a:lnTo>
                      <a:lnTo>
                        <a:pt x="219" y="142"/>
                      </a:lnTo>
                      <a:lnTo>
                        <a:pt x="219" y="142"/>
                      </a:lnTo>
                      <a:lnTo>
                        <a:pt x="219" y="142"/>
                      </a:lnTo>
                      <a:lnTo>
                        <a:pt x="218" y="142"/>
                      </a:lnTo>
                      <a:lnTo>
                        <a:pt x="218" y="142"/>
                      </a:lnTo>
                      <a:lnTo>
                        <a:pt x="218" y="141"/>
                      </a:lnTo>
                      <a:lnTo>
                        <a:pt x="217" y="141"/>
                      </a:lnTo>
                      <a:lnTo>
                        <a:pt x="217" y="142"/>
                      </a:lnTo>
                      <a:lnTo>
                        <a:pt x="217" y="142"/>
                      </a:lnTo>
                      <a:lnTo>
                        <a:pt x="217" y="142"/>
                      </a:lnTo>
                      <a:lnTo>
                        <a:pt x="217" y="141"/>
                      </a:lnTo>
                      <a:lnTo>
                        <a:pt x="216" y="141"/>
                      </a:lnTo>
                      <a:lnTo>
                        <a:pt x="215" y="141"/>
                      </a:lnTo>
                      <a:lnTo>
                        <a:pt x="215" y="141"/>
                      </a:lnTo>
                      <a:lnTo>
                        <a:pt x="216" y="141"/>
                      </a:lnTo>
                      <a:lnTo>
                        <a:pt x="216" y="140"/>
                      </a:lnTo>
                      <a:lnTo>
                        <a:pt x="215" y="140"/>
                      </a:lnTo>
                      <a:lnTo>
                        <a:pt x="215" y="140"/>
                      </a:lnTo>
                      <a:lnTo>
                        <a:pt x="215" y="140"/>
                      </a:lnTo>
                      <a:lnTo>
                        <a:pt x="215" y="140"/>
                      </a:lnTo>
                      <a:lnTo>
                        <a:pt x="215" y="140"/>
                      </a:lnTo>
                      <a:lnTo>
                        <a:pt x="215" y="140"/>
                      </a:lnTo>
                      <a:lnTo>
                        <a:pt x="215" y="140"/>
                      </a:lnTo>
                      <a:lnTo>
                        <a:pt x="216" y="141"/>
                      </a:lnTo>
                      <a:lnTo>
                        <a:pt x="215" y="141"/>
                      </a:lnTo>
                      <a:lnTo>
                        <a:pt x="215" y="141"/>
                      </a:lnTo>
                      <a:lnTo>
                        <a:pt x="216" y="141"/>
                      </a:lnTo>
                      <a:lnTo>
                        <a:pt x="217" y="141"/>
                      </a:lnTo>
                      <a:lnTo>
                        <a:pt x="217" y="142"/>
                      </a:lnTo>
                      <a:lnTo>
                        <a:pt x="217" y="142"/>
                      </a:lnTo>
                      <a:lnTo>
                        <a:pt x="217" y="142"/>
                      </a:lnTo>
                      <a:lnTo>
                        <a:pt x="218" y="142"/>
                      </a:lnTo>
                      <a:lnTo>
                        <a:pt x="217" y="142"/>
                      </a:lnTo>
                      <a:lnTo>
                        <a:pt x="217" y="141"/>
                      </a:lnTo>
                      <a:lnTo>
                        <a:pt x="218" y="141"/>
                      </a:lnTo>
                      <a:lnTo>
                        <a:pt x="218" y="142"/>
                      </a:lnTo>
                      <a:lnTo>
                        <a:pt x="218" y="142"/>
                      </a:lnTo>
                      <a:lnTo>
                        <a:pt x="219" y="142"/>
                      </a:lnTo>
                      <a:lnTo>
                        <a:pt x="219" y="142"/>
                      </a:lnTo>
                      <a:lnTo>
                        <a:pt x="219" y="142"/>
                      </a:lnTo>
                      <a:lnTo>
                        <a:pt x="219" y="141"/>
                      </a:lnTo>
                      <a:lnTo>
                        <a:pt x="219" y="141"/>
                      </a:lnTo>
                      <a:lnTo>
                        <a:pt x="219" y="142"/>
                      </a:lnTo>
                      <a:lnTo>
                        <a:pt x="220" y="142"/>
                      </a:lnTo>
                      <a:lnTo>
                        <a:pt x="220" y="141"/>
                      </a:lnTo>
                      <a:lnTo>
                        <a:pt x="220" y="141"/>
                      </a:lnTo>
                      <a:lnTo>
                        <a:pt x="221" y="141"/>
                      </a:lnTo>
                      <a:lnTo>
                        <a:pt x="221" y="140"/>
                      </a:lnTo>
                      <a:lnTo>
                        <a:pt x="221" y="140"/>
                      </a:lnTo>
                      <a:lnTo>
                        <a:pt x="221" y="140"/>
                      </a:lnTo>
                      <a:lnTo>
                        <a:pt x="221" y="140"/>
                      </a:lnTo>
                      <a:lnTo>
                        <a:pt x="222" y="140"/>
                      </a:lnTo>
                      <a:lnTo>
                        <a:pt x="222" y="140"/>
                      </a:lnTo>
                      <a:lnTo>
                        <a:pt x="222" y="141"/>
                      </a:lnTo>
                      <a:lnTo>
                        <a:pt x="223" y="141"/>
                      </a:lnTo>
                      <a:lnTo>
                        <a:pt x="223" y="141"/>
                      </a:lnTo>
                      <a:lnTo>
                        <a:pt x="223" y="141"/>
                      </a:lnTo>
                      <a:lnTo>
                        <a:pt x="224" y="141"/>
                      </a:lnTo>
                      <a:lnTo>
                        <a:pt x="224" y="142"/>
                      </a:lnTo>
                      <a:lnTo>
                        <a:pt x="225" y="142"/>
                      </a:lnTo>
                      <a:lnTo>
                        <a:pt x="225" y="142"/>
                      </a:lnTo>
                      <a:lnTo>
                        <a:pt x="225" y="142"/>
                      </a:lnTo>
                      <a:lnTo>
                        <a:pt x="226" y="142"/>
                      </a:lnTo>
                      <a:lnTo>
                        <a:pt x="226" y="142"/>
                      </a:lnTo>
                      <a:lnTo>
                        <a:pt x="226" y="143"/>
                      </a:lnTo>
                      <a:lnTo>
                        <a:pt x="227" y="143"/>
                      </a:lnTo>
                      <a:lnTo>
                        <a:pt x="227" y="143"/>
                      </a:lnTo>
                      <a:lnTo>
                        <a:pt x="228" y="143"/>
                      </a:lnTo>
                      <a:lnTo>
                        <a:pt x="228" y="144"/>
                      </a:lnTo>
                      <a:lnTo>
                        <a:pt x="227" y="144"/>
                      </a:lnTo>
                      <a:lnTo>
                        <a:pt x="227" y="144"/>
                      </a:lnTo>
                      <a:lnTo>
                        <a:pt x="227" y="144"/>
                      </a:lnTo>
                      <a:lnTo>
                        <a:pt x="227" y="145"/>
                      </a:lnTo>
                      <a:lnTo>
                        <a:pt x="227" y="145"/>
                      </a:lnTo>
                      <a:lnTo>
                        <a:pt x="227" y="145"/>
                      </a:lnTo>
                      <a:lnTo>
                        <a:pt x="227" y="145"/>
                      </a:lnTo>
                      <a:lnTo>
                        <a:pt x="227" y="145"/>
                      </a:lnTo>
                      <a:lnTo>
                        <a:pt x="227" y="144"/>
                      </a:lnTo>
                      <a:lnTo>
                        <a:pt x="227" y="144"/>
                      </a:lnTo>
                      <a:lnTo>
                        <a:pt x="228" y="144"/>
                      </a:lnTo>
                      <a:lnTo>
                        <a:pt x="228" y="143"/>
                      </a:lnTo>
                      <a:lnTo>
                        <a:pt x="229" y="143"/>
                      </a:lnTo>
                      <a:lnTo>
                        <a:pt x="229" y="142"/>
                      </a:lnTo>
                      <a:lnTo>
                        <a:pt x="229" y="142"/>
                      </a:lnTo>
                      <a:lnTo>
                        <a:pt x="230" y="142"/>
                      </a:lnTo>
                      <a:lnTo>
                        <a:pt x="230" y="142"/>
                      </a:lnTo>
                      <a:lnTo>
                        <a:pt x="230" y="142"/>
                      </a:lnTo>
                      <a:lnTo>
                        <a:pt x="230" y="141"/>
                      </a:lnTo>
                      <a:lnTo>
                        <a:pt x="230" y="141"/>
                      </a:lnTo>
                      <a:lnTo>
                        <a:pt x="230" y="141"/>
                      </a:lnTo>
                      <a:lnTo>
                        <a:pt x="230" y="141"/>
                      </a:lnTo>
                      <a:lnTo>
                        <a:pt x="230" y="141"/>
                      </a:lnTo>
                      <a:lnTo>
                        <a:pt x="230" y="140"/>
                      </a:lnTo>
                      <a:lnTo>
                        <a:pt x="230" y="140"/>
                      </a:lnTo>
                      <a:lnTo>
                        <a:pt x="229" y="139"/>
                      </a:lnTo>
                      <a:lnTo>
                        <a:pt x="229" y="139"/>
                      </a:lnTo>
                      <a:lnTo>
                        <a:pt x="229" y="138"/>
                      </a:lnTo>
                      <a:lnTo>
                        <a:pt x="228" y="138"/>
                      </a:lnTo>
                      <a:lnTo>
                        <a:pt x="227" y="138"/>
                      </a:lnTo>
                      <a:lnTo>
                        <a:pt x="228" y="138"/>
                      </a:lnTo>
                      <a:lnTo>
                        <a:pt x="228" y="137"/>
                      </a:lnTo>
                      <a:lnTo>
                        <a:pt x="228" y="137"/>
                      </a:lnTo>
                      <a:lnTo>
                        <a:pt x="227" y="137"/>
                      </a:lnTo>
                      <a:lnTo>
                        <a:pt x="227" y="136"/>
                      </a:lnTo>
                      <a:lnTo>
                        <a:pt x="227" y="135"/>
                      </a:lnTo>
                      <a:lnTo>
                        <a:pt x="227" y="135"/>
                      </a:lnTo>
                      <a:lnTo>
                        <a:pt x="227" y="134"/>
                      </a:lnTo>
                      <a:lnTo>
                        <a:pt x="227" y="134"/>
                      </a:lnTo>
                      <a:lnTo>
                        <a:pt x="227" y="134"/>
                      </a:lnTo>
                      <a:lnTo>
                        <a:pt x="228" y="133"/>
                      </a:lnTo>
                      <a:lnTo>
                        <a:pt x="229" y="133"/>
                      </a:lnTo>
                      <a:lnTo>
                        <a:pt x="229" y="133"/>
                      </a:lnTo>
                      <a:lnTo>
                        <a:pt x="229" y="133"/>
                      </a:lnTo>
                      <a:lnTo>
                        <a:pt x="229" y="132"/>
                      </a:lnTo>
                      <a:lnTo>
                        <a:pt x="230" y="132"/>
                      </a:lnTo>
                      <a:lnTo>
                        <a:pt x="230" y="132"/>
                      </a:lnTo>
                      <a:lnTo>
                        <a:pt x="231" y="132"/>
                      </a:lnTo>
                      <a:lnTo>
                        <a:pt x="232" y="132"/>
                      </a:lnTo>
                      <a:lnTo>
                        <a:pt x="232" y="132"/>
                      </a:lnTo>
                      <a:lnTo>
                        <a:pt x="233" y="132"/>
                      </a:lnTo>
                      <a:lnTo>
                        <a:pt x="233" y="132"/>
                      </a:lnTo>
                      <a:lnTo>
                        <a:pt x="234" y="132"/>
                      </a:lnTo>
                      <a:lnTo>
                        <a:pt x="234" y="133"/>
                      </a:lnTo>
                      <a:lnTo>
                        <a:pt x="234" y="133"/>
                      </a:lnTo>
                      <a:lnTo>
                        <a:pt x="235" y="133"/>
                      </a:lnTo>
                      <a:lnTo>
                        <a:pt x="234" y="133"/>
                      </a:lnTo>
                      <a:lnTo>
                        <a:pt x="234" y="133"/>
                      </a:lnTo>
                      <a:lnTo>
                        <a:pt x="234" y="133"/>
                      </a:lnTo>
                      <a:lnTo>
                        <a:pt x="235" y="133"/>
                      </a:lnTo>
                      <a:lnTo>
                        <a:pt x="235" y="133"/>
                      </a:lnTo>
                      <a:lnTo>
                        <a:pt x="236" y="133"/>
                      </a:lnTo>
                      <a:lnTo>
                        <a:pt x="237" y="133"/>
                      </a:lnTo>
                      <a:lnTo>
                        <a:pt x="237" y="133"/>
                      </a:lnTo>
                      <a:lnTo>
                        <a:pt x="237" y="133"/>
                      </a:lnTo>
                      <a:lnTo>
                        <a:pt x="237" y="132"/>
                      </a:lnTo>
                      <a:lnTo>
                        <a:pt x="237" y="133"/>
                      </a:lnTo>
                      <a:lnTo>
                        <a:pt x="238" y="133"/>
                      </a:lnTo>
                      <a:lnTo>
                        <a:pt x="238" y="133"/>
                      </a:lnTo>
                      <a:lnTo>
                        <a:pt x="238" y="133"/>
                      </a:lnTo>
                      <a:lnTo>
                        <a:pt x="239" y="133"/>
                      </a:lnTo>
                      <a:lnTo>
                        <a:pt x="239" y="133"/>
                      </a:lnTo>
                      <a:lnTo>
                        <a:pt x="240" y="133"/>
                      </a:lnTo>
                      <a:lnTo>
                        <a:pt x="240" y="133"/>
                      </a:lnTo>
                      <a:lnTo>
                        <a:pt x="240" y="133"/>
                      </a:lnTo>
                      <a:lnTo>
                        <a:pt x="241" y="133"/>
                      </a:lnTo>
                      <a:lnTo>
                        <a:pt x="241" y="133"/>
                      </a:lnTo>
                      <a:lnTo>
                        <a:pt x="242" y="133"/>
                      </a:lnTo>
                      <a:lnTo>
                        <a:pt x="243" y="133"/>
                      </a:lnTo>
                      <a:lnTo>
                        <a:pt x="243" y="133"/>
                      </a:lnTo>
                      <a:lnTo>
                        <a:pt x="244" y="132"/>
                      </a:lnTo>
                      <a:lnTo>
                        <a:pt x="245" y="132"/>
                      </a:lnTo>
                      <a:lnTo>
                        <a:pt x="245" y="132"/>
                      </a:lnTo>
                      <a:lnTo>
                        <a:pt x="246" y="132"/>
                      </a:lnTo>
                      <a:lnTo>
                        <a:pt x="246" y="131"/>
                      </a:lnTo>
                      <a:lnTo>
                        <a:pt x="247" y="131"/>
                      </a:lnTo>
                      <a:lnTo>
                        <a:pt x="247" y="132"/>
                      </a:lnTo>
                      <a:lnTo>
                        <a:pt x="247" y="131"/>
                      </a:lnTo>
                      <a:lnTo>
                        <a:pt x="247" y="131"/>
                      </a:lnTo>
                      <a:lnTo>
                        <a:pt x="247" y="132"/>
                      </a:lnTo>
                      <a:lnTo>
                        <a:pt x="248" y="132"/>
                      </a:lnTo>
                      <a:lnTo>
                        <a:pt x="248" y="132"/>
                      </a:lnTo>
                      <a:lnTo>
                        <a:pt x="249" y="131"/>
                      </a:lnTo>
                      <a:lnTo>
                        <a:pt x="249" y="131"/>
                      </a:lnTo>
                      <a:lnTo>
                        <a:pt x="250" y="131"/>
                      </a:lnTo>
                      <a:lnTo>
                        <a:pt x="251" y="131"/>
                      </a:lnTo>
                      <a:lnTo>
                        <a:pt x="250" y="131"/>
                      </a:lnTo>
                      <a:lnTo>
                        <a:pt x="250" y="132"/>
                      </a:lnTo>
                      <a:lnTo>
                        <a:pt x="251" y="132"/>
                      </a:lnTo>
                      <a:lnTo>
                        <a:pt x="251" y="133"/>
                      </a:lnTo>
                      <a:lnTo>
                        <a:pt x="251" y="133"/>
                      </a:lnTo>
                      <a:lnTo>
                        <a:pt x="251" y="133"/>
                      </a:lnTo>
                      <a:lnTo>
                        <a:pt x="252" y="133"/>
                      </a:lnTo>
                      <a:lnTo>
                        <a:pt x="252" y="133"/>
                      </a:lnTo>
                      <a:lnTo>
                        <a:pt x="252" y="134"/>
                      </a:lnTo>
                      <a:lnTo>
                        <a:pt x="253" y="134"/>
                      </a:lnTo>
                      <a:lnTo>
                        <a:pt x="253" y="134"/>
                      </a:lnTo>
                      <a:lnTo>
                        <a:pt x="253" y="134"/>
                      </a:lnTo>
                      <a:lnTo>
                        <a:pt x="254" y="134"/>
                      </a:lnTo>
                      <a:lnTo>
                        <a:pt x="255" y="134"/>
                      </a:lnTo>
                      <a:lnTo>
                        <a:pt x="255" y="135"/>
                      </a:lnTo>
                      <a:lnTo>
                        <a:pt x="255" y="135"/>
                      </a:lnTo>
                      <a:lnTo>
                        <a:pt x="255" y="135"/>
                      </a:lnTo>
                      <a:lnTo>
                        <a:pt x="256" y="136"/>
                      </a:lnTo>
                      <a:lnTo>
                        <a:pt x="256" y="135"/>
                      </a:lnTo>
                      <a:lnTo>
                        <a:pt x="256" y="135"/>
                      </a:lnTo>
                      <a:lnTo>
                        <a:pt x="256" y="136"/>
                      </a:lnTo>
                      <a:lnTo>
                        <a:pt x="257" y="136"/>
                      </a:lnTo>
                      <a:lnTo>
                        <a:pt x="257" y="137"/>
                      </a:lnTo>
                      <a:lnTo>
                        <a:pt x="257" y="137"/>
                      </a:lnTo>
                      <a:lnTo>
                        <a:pt x="258" y="137"/>
                      </a:lnTo>
                      <a:lnTo>
                        <a:pt x="258" y="137"/>
                      </a:lnTo>
                      <a:lnTo>
                        <a:pt x="259" y="137"/>
                      </a:lnTo>
                      <a:lnTo>
                        <a:pt x="259" y="137"/>
                      </a:lnTo>
                      <a:lnTo>
                        <a:pt x="259" y="137"/>
                      </a:lnTo>
                      <a:lnTo>
                        <a:pt x="259" y="137"/>
                      </a:lnTo>
                      <a:lnTo>
                        <a:pt x="258" y="137"/>
                      </a:lnTo>
                      <a:lnTo>
                        <a:pt x="258" y="137"/>
                      </a:lnTo>
                      <a:lnTo>
                        <a:pt x="257" y="137"/>
                      </a:lnTo>
                      <a:lnTo>
                        <a:pt x="257" y="137"/>
                      </a:lnTo>
                      <a:lnTo>
                        <a:pt x="257" y="136"/>
                      </a:lnTo>
                      <a:lnTo>
                        <a:pt x="256" y="136"/>
                      </a:lnTo>
                      <a:lnTo>
                        <a:pt x="256" y="135"/>
                      </a:lnTo>
                      <a:lnTo>
                        <a:pt x="256" y="135"/>
                      </a:lnTo>
                      <a:lnTo>
                        <a:pt x="256" y="136"/>
                      </a:lnTo>
                      <a:lnTo>
                        <a:pt x="255" y="135"/>
                      </a:lnTo>
                      <a:lnTo>
                        <a:pt x="255" y="135"/>
                      </a:lnTo>
                      <a:lnTo>
                        <a:pt x="255" y="135"/>
                      </a:lnTo>
                      <a:lnTo>
                        <a:pt x="255" y="134"/>
                      </a:lnTo>
                      <a:lnTo>
                        <a:pt x="254" y="134"/>
                      </a:lnTo>
                      <a:lnTo>
                        <a:pt x="253" y="134"/>
                      </a:lnTo>
                      <a:lnTo>
                        <a:pt x="253" y="134"/>
                      </a:lnTo>
                      <a:lnTo>
                        <a:pt x="253" y="134"/>
                      </a:lnTo>
                      <a:lnTo>
                        <a:pt x="252" y="134"/>
                      </a:lnTo>
                      <a:lnTo>
                        <a:pt x="252" y="133"/>
                      </a:lnTo>
                      <a:lnTo>
                        <a:pt x="252" y="133"/>
                      </a:lnTo>
                      <a:lnTo>
                        <a:pt x="251" y="133"/>
                      </a:lnTo>
                      <a:lnTo>
                        <a:pt x="251" y="133"/>
                      </a:lnTo>
                      <a:lnTo>
                        <a:pt x="251" y="132"/>
                      </a:lnTo>
                      <a:lnTo>
                        <a:pt x="250" y="132"/>
                      </a:lnTo>
                      <a:lnTo>
                        <a:pt x="250" y="131"/>
                      </a:lnTo>
                      <a:lnTo>
                        <a:pt x="251" y="131"/>
                      </a:lnTo>
                      <a:lnTo>
                        <a:pt x="250" y="131"/>
                      </a:lnTo>
                      <a:lnTo>
                        <a:pt x="249" y="131"/>
                      </a:lnTo>
                      <a:lnTo>
                        <a:pt x="250" y="131"/>
                      </a:lnTo>
                      <a:lnTo>
                        <a:pt x="250" y="131"/>
                      </a:lnTo>
                      <a:lnTo>
                        <a:pt x="250" y="130"/>
                      </a:lnTo>
                      <a:lnTo>
                        <a:pt x="250" y="130"/>
                      </a:lnTo>
                      <a:lnTo>
                        <a:pt x="251" y="129"/>
                      </a:lnTo>
                      <a:lnTo>
                        <a:pt x="251" y="129"/>
                      </a:lnTo>
                      <a:lnTo>
                        <a:pt x="252" y="129"/>
                      </a:lnTo>
                      <a:lnTo>
                        <a:pt x="252" y="129"/>
                      </a:lnTo>
                      <a:lnTo>
                        <a:pt x="252" y="129"/>
                      </a:lnTo>
                      <a:lnTo>
                        <a:pt x="253" y="129"/>
                      </a:lnTo>
                      <a:lnTo>
                        <a:pt x="253" y="129"/>
                      </a:lnTo>
                      <a:lnTo>
                        <a:pt x="254" y="129"/>
                      </a:lnTo>
                      <a:lnTo>
                        <a:pt x="255" y="129"/>
                      </a:lnTo>
                      <a:lnTo>
                        <a:pt x="255" y="129"/>
                      </a:lnTo>
                      <a:lnTo>
                        <a:pt x="256" y="129"/>
                      </a:lnTo>
                      <a:lnTo>
                        <a:pt x="256" y="129"/>
                      </a:lnTo>
                      <a:lnTo>
                        <a:pt x="257" y="129"/>
                      </a:lnTo>
                      <a:lnTo>
                        <a:pt x="258" y="129"/>
                      </a:lnTo>
                      <a:lnTo>
                        <a:pt x="258" y="129"/>
                      </a:lnTo>
                      <a:lnTo>
                        <a:pt x="259" y="129"/>
                      </a:lnTo>
                      <a:lnTo>
                        <a:pt x="259" y="129"/>
                      </a:lnTo>
                      <a:lnTo>
                        <a:pt x="260" y="129"/>
                      </a:lnTo>
                      <a:lnTo>
                        <a:pt x="260" y="129"/>
                      </a:lnTo>
                      <a:lnTo>
                        <a:pt x="261" y="129"/>
                      </a:lnTo>
                      <a:lnTo>
                        <a:pt x="262" y="129"/>
                      </a:lnTo>
                      <a:lnTo>
                        <a:pt x="262" y="129"/>
                      </a:lnTo>
                      <a:lnTo>
                        <a:pt x="262" y="129"/>
                      </a:lnTo>
                      <a:lnTo>
                        <a:pt x="262" y="129"/>
                      </a:lnTo>
                      <a:lnTo>
                        <a:pt x="263" y="129"/>
                      </a:lnTo>
                      <a:lnTo>
                        <a:pt x="263" y="129"/>
                      </a:lnTo>
                      <a:lnTo>
                        <a:pt x="263" y="130"/>
                      </a:lnTo>
                      <a:lnTo>
                        <a:pt x="264" y="130"/>
                      </a:lnTo>
                      <a:lnTo>
                        <a:pt x="263" y="130"/>
                      </a:lnTo>
                      <a:lnTo>
                        <a:pt x="263" y="129"/>
                      </a:lnTo>
                      <a:lnTo>
                        <a:pt x="264" y="129"/>
                      </a:lnTo>
                      <a:lnTo>
                        <a:pt x="265" y="129"/>
                      </a:lnTo>
                      <a:lnTo>
                        <a:pt x="266" y="129"/>
                      </a:lnTo>
                      <a:lnTo>
                        <a:pt x="266" y="129"/>
                      </a:lnTo>
                      <a:lnTo>
                        <a:pt x="267" y="129"/>
                      </a:lnTo>
                      <a:lnTo>
                        <a:pt x="267" y="129"/>
                      </a:lnTo>
                      <a:lnTo>
                        <a:pt x="267" y="128"/>
                      </a:lnTo>
                      <a:lnTo>
                        <a:pt x="267" y="129"/>
                      </a:lnTo>
                      <a:lnTo>
                        <a:pt x="268" y="128"/>
                      </a:lnTo>
                      <a:lnTo>
                        <a:pt x="269" y="128"/>
                      </a:lnTo>
                      <a:lnTo>
                        <a:pt x="269" y="128"/>
                      </a:lnTo>
                      <a:lnTo>
                        <a:pt x="270" y="128"/>
                      </a:lnTo>
                      <a:lnTo>
                        <a:pt x="270" y="128"/>
                      </a:lnTo>
                      <a:lnTo>
                        <a:pt x="271" y="128"/>
                      </a:lnTo>
                      <a:lnTo>
                        <a:pt x="271" y="129"/>
                      </a:lnTo>
                      <a:lnTo>
                        <a:pt x="272" y="129"/>
                      </a:lnTo>
                      <a:lnTo>
                        <a:pt x="272" y="130"/>
                      </a:lnTo>
                      <a:lnTo>
                        <a:pt x="272" y="130"/>
                      </a:lnTo>
                      <a:lnTo>
                        <a:pt x="273" y="130"/>
                      </a:lnTo>
                      <a:lnTo>
                        <a:pt x="273" y="131"/>
                      </a:lnTo>
                      <a:lnTo>
                        <a:pt x="273" y="132"/>
                      </a:lnTo>
                      <a:lnTo>
                        <a:pt x="273" y="133"/>
                      </a:lnTo>
                      <a:lnTo>
                        <a:pt x="273" y="133"/>
                      </a:lnTo>
                      <a:lnTo>
                        <a:pt x="273" y="133"/>
                      </a:lnTo>
                      <a:lnTo>
                        <a:pt x="273" y="133"/>
                      </a:lnTo>
                      <a:lnTo>
                        <a:pt x="273" y="134"/>
                      </a:lnTo>
                      <a:lnTo>
                        <a:pt x="272" y="134"/>
                      </a:lnTo>
                      <a:lnTo>
                        <a:pt x="273" y="134"/>
                      </a:lnTo>
                      <a:lnTo>
                        <a:pt x="273" y="134"/>
                      </a:lnTo>
                      <a:lnTo>
                        <a:pt x="273" y="134"/>
                      </a:lnTo>
                      <a:lnTo>
                        <a:pt x="274" y="134"/>
                      </a:lnTo>
                      <a:lnTo>
                        <a:pt x="274" y="135"/>
                      </a:lnTo>
                      <a:lnTo>
                        <a:pt x="273" y="135"/>
                      </a:lnTo>
                      <a:lnTo>
                        <a:pt x="274" y="135"/>
                      </a:lnTo>
                      <a:lnTo>
                        <a:pt x="273" y="135"/>
                      </a:lnTo>
                      <a:lnTo>
                        <a:pt x="273" y="135"/>
                      </a:lnTo>
                      <a:lnTo>
                        <a:pt x="273" y="136"/>
                      </a:lnTo>
                      <a:lnTo>
                        <a:pt x="274" y="136"/>
                      </a:lnTo>
                      <a:lnTo>
                        <a:pt x="274" y="137"/>
                      </a:lnTo>
                      <a:lnTo>
                        <a:pt x="273" y="137"/>
                      </a:lnTo>
                      <a:lnTo>
                        <a:pt x="273" y="137"/>
                      </a:lnTo>
                      <a:lnTo>
                        <a:pt x="273" y="137"/>
                      </a:lnTo>
                      <a:lnTo>
                        <a:pt x="274" y="137"/>
                      </a:lnTo>
                      <a:lnTo>
                        <a:pt x="274" y="138"/>
                      </a:lnTo>
                      <a:lnTo>
                        <a:pt x="274" y="138"/>
                      </a:lnTo>
                      <a:lnTo>
                        <a:pt x="275" y="138"/>
                      </a:lnTo>
                      <a:lnTo>
                        <a:pt x="275" y="138"/>
                      </a:lnTo>
                      <a:lnTo>
                        <a:pt x="275" y="138"/>
                      </a:lnTo>
                      <a:lnTo>
                        <a:pt x="275" y="138"/>
                      </a:lnTo>
                      <a:lnTo>
                        <a:pt x="275" y="139"/>
                      </a:lnTo>
                      <a:lnTo>
                        <a:pt x="274" y="139"/>
                      </a:lnTo>
                      <a:lnTo>
                        <a:pt x="274" y="139"/>
                      </a:lnTo>
                      <a:lnTo>
                        <a:pt x="273" y="138"/>
                      </a:lnTo>
                      <a:lnTo>
                        <a:pt x="273" y="138"/>
                      </a:lnTo>
                      <a:lnTo>
                        <a:pt x="272" y="138"/>
                      </a:lnTo>
                      <a:lnTo>
                        <a:pt x="273" y="138"/>
                      </a:lnTo>
                      <a:lnTo>
                        <a:pt x="272" y="138"/>
                      </a:lnTo>
                      <a:lnTo>
                        <a:pt x="271" y="138"/>
                      </a:lnTo>
                      <a:lnTo>
                        <a:pt x="271" y="139"/>
                      </a:lnTo>
                      <a:lnTo>
                        <a:pt x="271" y="140"/>
                      </a:lnTo>
                      <a:lnTo>
                        <a:pt x="271" y="140"/>
                      </a:lnTo>
                      <a:lnTo>
                        <a:pt x="272" y="140"/>
                      </a:lnTo>
                      <a:lnTo>
                        <a:pt x="273" y="140"/>
                      </a:lnTo>
                      <a:lnTo>
                        <a:pt x="273" y="140"/>
                      </a:lnTo>
                      <a:lnTo>
                        <a:pt x="272" y="140"/>
                      </a:lnTo>
                      <a:lnTo>
                        <a:pt x="272" y="141"/>
                      </a:lnTo>
                      <a:lnTo>
                        <a:pt x="271" y="141"/>
                      </a:lnTo>
                      <a:lnTo>
                        <a:pt x="271" y="141"/>
                      </a:lnTo>
                      <a:lnTo>
                        <a:pt x="270" y="141"/>
                      </a:lnTo>
                      <a:lnTo>
                        <a:pt x="270" y="141"/>
                      </a:lnTo>
                      <a:lnTo>
                        <a:pt x="269" y="141"/>
                      </a:lnTo>
                      <a:lnTo>
                        <a:pt x="269" y="141"/>
                      </a:lnTo>
                      <a:lnTo>
                        <a:pt x="268" y="141"/>
                      </a:lnTo>
                      <a:lnTo>
                        <a:pt x="268" y="142"/>
                      </a:lnTo>
                      <a:lnTo>
                        <a:pt x="269" y="142"/>
                      </a:lnTo>
                      <a:lnTo>
                        <a:pt x="269" y="142"/>
                      </a:lnTo>
                      <a:lnTo>
                        <a:pt x="268" y="142"/>
                      </a:lnTo>
                      <a:lnTo>
                        <a:pt x="268" y="143"/>
                      </a:lnTo>
                      <a:lnTo>
                        <a:pt x="267" y="143"/>
                      </a:lnTo>
                      <a:lnTo>
                        <a:pt x="267" y="144"/>
                      </a:lnTo>
                      <a:lnTo>
                        <a:pt x="267" y="144"/>
                      </a:lnTo>
                      <a:lnTo>
                        <a:pt x="266" y="145"/>
                      </a:lnTo>
                      <a:lnTo>
                        <a:pt x="266" y="145"/>
                      </a:lnTo>
                      <a:lnTo>
                        <a:pt x="266" y="145"/>
                      </a:lnTo>
                      <a:lnTo>
                        <a:pt x="266" y="146"/>
                      </a:lnTo>
                      <a:lnTo>
                        <a:pt x="265" y="146"/>
                      </a:lnTo>
                      <a:lnTo>
                        <a:pt x="264" y="146"/>
                      </a:lnTo>
                      <a:lnTo>
                        <a:pt x="264" y="147"/>
                      </a:lnTo>
                      <a:lnTo>
                        <a:pt x="264" y="147"/>
                      </a:lnTo>
                      <a:lnTo>
                        <a:pt x="264" y="147"/>
                      </a:lnTo>
                      <a:lnTo>
                        <a:pt x="264" y="148"/>
                      </a:lnTo>
                      <a:lnTo>
                        <a:pt x="263" y="148"/>
                      </a:lnTo>
                      <a:lnTo>
                        <a:pt x="263" y="148"/>
                      </a:lnTo>
                      <a:lnTo>
                        <a:pt x="263" y="148"/>
                      </a:lnTo>
                      <a:lnTo>
                        <a:pt x="263" y="148"/>
                      </a:lnTo>
                      <a:lnTo>
                        <a:pt x="263" y="148"/>
                      </a:lnTo>
                      <a:lnTo>
                        <a:pt x="263" y="148"/>
                      </a:lnTo>
                      <a:lnTo>
                        <a:pt x="263" y="148"/>
                      </a:lnTo>
                      <a:lnTo>
                        <a:pt x="263" y="148"/>
                      </a:lnTo>
                      <a:lnTo>
                        <a:pt x="263" y="149"/>
                      </a:lnTo>
                      <a:lnTo>
                        <a:pt x="263" y="149"/>
                      </a:lnTo>
                      <a:lnTo>
                        <a:pt x="263" y="150"/>
                      </a:lnTo>
                      <a:lnTo>
                        <a:pt x="263" y="151"/>
                      </a:lnTo>
                      <a:lnTo>
                        <a:pt x="263" y="151"/>
                      </a:lnTo>
                      <a:lnTo>
                        <a:pt x="264" y="151"/>
                      </a:lnTo>
                      <a:lnTo>
                        <a:pt x="263" y="150"/>
                      </a:lnTo>
                      <a:lnTo>
                        <a:pt x="263" y="149"/>
                      </a:lnTo>
                      <a:lnTo>
                        <a:pt x="263" y="149"/>
                      </a:lnTo>
                      <a:lnTo>
                        <a:pt x="264" y="148"/>
                      </a:lnTo>
                      <a:lnTo>
                        <a:pt x="264" y="149"/>
                      </a:lnTo>
                      <a:lnTo>
                        <a:pt x="264" y="148"/>
                      </a:lnTo>
                      <a:lnTo>
                        <a:pt x="264" y="148"/>
                      </a:lnTo>
                      <a:lnTo>
                        <a:pt x="264" y="148"/>
                      </a:lnTo>
                      <a:lnTo>
                        <a:pt x="265" y="148"/>
                      </a:lnTo>
                      <a:lnTo>
                        <a:pt x="265" y="147"/>
                      </a:lnTo>
                      <a:lnTo>
                        <a:pt x="264" y="147"/>
                      </a:lnTo>
                      <a:lnTo>
                        <a:pt x="265" y="146"/>
                      </a:lnTo>
                      <a:lnTo>
                        <a:pt x="265" y="147"/>
                      </a:lnTo>
                      <a:lnTo>
                        <a:pt x="265" y="146"/>
                      </a:lnTo>
                      <a:lnTo>
                        <a:pt x="266" y="146"/>
                      </a:lnTo>
                      <a:lnTo>
                        <a:pt x="266" y="145"/>
                      </a:lnTo>
                      <a:lnTo>
                        <a:pt x="266" y="145"/>
                      </a:lnTo>
                      <a:lnTo>
                        <a:pt x="266" y="145"/>
                      </a:lnTo>
                      <a:lnTo>
                        <a:pt x="267" y="145"/>
                      </a:lnTo>
                      <a:lnTo>
                        <a:pt x="267" y="144"/>
                      </a:lnTo>
                      <a:lnTo>
                        <a:pt x="267" y="144"/>
                      </a:lnTo>
                      <a:lnTo>
                        <a:pt x="268" y="143"/>
                      </a:lnTo>
                      <a:lnTo>
                        <a:pt x="267" y="143"/>
                      </a:lnTo>
                      <a:lnTo>
                        <a:pt x="268" y="143"/>
                      </a:lnTo>
                      <a:lnTo>
                        <a:pt x="269" y="143"/>
                      </a:lnTo>
                      <a:lnTo>
                        <a:pt x="269" y="142"/>
                      </a:lnTo>
                      <a:lnTo>
                        <a:pt x="269" y="142"/>
                      </a:lnTo>
                      <a:lnTo>
                        <a:pt x="268" y="142"/>
                      </a:lnTo>
                      <a:lnTo>
                        <a:pt x="268" y="141"/>
                      </a:lnTo>
                      <a:lnTo>
                        <a:pt x="269" y="141"/>
                      </a:lnTo>
                      <a:lnTo>
                        <a:pt x="269" y="141"/>
                      </a:lnTo>
                      <a:lnTo>
                        <a:pt x="269" y="142"/>
                      </a:lnTo>
                      <a:lnTo>
                        <a:pt x="270" y="141"/>
                      </a:lnTo>
                      <a:lnTo>
                        <a:pt x="270" y="141"/>
                      </a:lnTo>
                      <a:lnTo>
                        <a:pt x="271" y="141"/>
                      </a:lnTo>
                      <a:lnTo>
                        <a:pt x="271" y="141"/>
                      </a:lnTo>
                      <a:lnTo>
                        <a:pt x="271" y="141"/>
                      </a:lnTo>
                      <a:lnTo>
                        <a:pt x="272" y="141"/>
                      </a:lnTo>
                      <a:lnTo>
                        <a:pt x="273" y="141"/>
                      </a:lnTo>
                      <a:lnTo>
                        <a:pt x="273" y="140"/>
                      </a:lnTo>
                      <a:lnTo>
                        <a:pt x="272" y="140"/>
                      </a:lnTo>
                      <a:lnTo>
                        <a:pt x="271" y="140"/>
                      </a:lnTo>
                      <a:lnTo>
                        <a:pt x="271" y="139"/>
                      </a:lnTo>
                      <a:lnTo>
                        <a:pt x="271" y="139"/>
                      </a:lnTo>
                      <a:lnTo>
                        <a:pt x="271" y="139"/>
                      </a:lnTo>
                      <a:lnTo>
                        <a:pt x="272" y="138"/>
                      </a:lnTo>
                      <a:lnTo>
                        <a:pt x="273" y="138"/>
                      </a:lnTo>
                      <a:lnTo>
                        <a:pt x="273" y="138"/>
                      </a:lnTo>
                      <a:lnTo>
                        <a:pt x="273" y="139"/>
                      </a:lnTo>
                      <a:lnTo>
                        <a:pt x="274" y="139"/>
                      </a:lnTo>
                      <a:lnTo>
                        <a:pt x="274" y="139"/>
                      </a:lnTo>
                      <a:lnTo>
                        <a:pt x="275" y="139"/>
                      </a:lnTo>
                      <a:lnTo>
                        <a:pt x="275" y="140"/>
                      </a:lnTo>
                      <a:lnTo>
                        <a:pt x="275" y="140"/>
                      </a:lnTo>
                      <a:lnTo>
                        <a:pt x="276" y="140"/>
                      </a:lnTo>
                      <a:lnTo>
                        <a:pt x="276" y="139"/>
                      </a:lnTo>
                      <a:lnTo>
                        <a:pt x="277" y="139"/>
                      </a:lnTo>
                      <a:lnTo>
                        <a:pt x="277" y="138"/>
                      </a:lnTo>
                      <a:lnTo>
                        <a:pt x="277" y="138"/>
                      </a:lnTo>
                      <a:lnTo>
                        <a:pt x="277" y="138"/>
                      </a:lnTo>
                      <a:lnTo>
                        <a:pt x="277" y="138"/>
                      </a:lnTo>
                      <a:lnTo>
                        <a:pt x="276" y="137"/>
                      </a:lnTo>
                      <a:lnTo>
                        <a:pt x="277" y="137"/>
                      </a:lnTo>
                      <a:lnTo>
                        <a:pt x="276" y="137"/>
                      </a:lnTo>
                      <a:lnTo>
                        <a:pt x="275" y="137"/>
                      </a:lnTo>
                      <a:lnTo>
                        <a:pt x="275" y="137"/>
                      </a:lnTo>
                      <a:lnTo>
                        <a:pt x="274" y="137"/>
                      </a:lnTo>
                      <a:lnTo>
                        <a:pt x="274" y="136"/>
                      </a:lnTo>
                      <a:lnTo>
                        <a:pt x="275" y="136"/>
                      </a:lnTo>
                      <a:lnTo>
                        <a:pt x="275" y="135"/>
                      </a:lnTo>
                      <a:lnTo>
                        <a:pt x="275" y="136"/>
                      </a:lnTo>
                      <a:lnTo>
                        <a:pt x="275" y="135"/>
                      </a:lnTo>
                      <a:lnTo>
                        <a:pt x="274" y="135"/>
                      </a:lnTo>
                      <a:lnTo>
                        <a:pt x="274" y="135"/>
                      </a:lnTo>
                      <a:lnTo>
                        <a:pt x="275" y="135"/>
                      </a:lnTo>
                      <a:lnTo>
                        <a:pt x="274" y="135"/>
                      </a:lnTo>
                      <a:lnTo>
                        <a:pt x="274" y="134"/>
                      </a:lnTo>
                      <a:lnTo>
                        <a:pt x="275" y="135"/>
                      </a:lnTo>
                      <a:lnTo>
                        <a:pt x="275" y="135"/>
                      </a:lnTo>
                      <a:lnTo>
                        <a:pt x="275" y="135"/>
                      </a:lnTo>
                      <a:lnTo>
                        <a:pt x="276" y="135"/>
                      </a:lnTo>
                      <a:lnTo>
                        <a:pt x="276" y="136"/>
                      </a:lnTo>
                      <a:lnTo>
                        <a:pt x="277" y="136"/>
                      </a:lnTo>
                      <a:lnTo>
                        <a:pt x="277" y="136"/>
                      </a:lnTo>
                      <a:lnTo>
                        <a:pt x="277" y="137"/>
                      </a:lnTo>
                      <a:lnTo>
                        <a:pt x="278" y="137"/>
                      </a:lnTo>
                      <a:lnTo>
                        <a:pt x="277" y="137"/>
                      </a:lnTo>
                      <a:lnTo>
                        <a:pt x="277" y="137"/>
                      </a:lnTo>
                      <a:lnTo>
                        <a:pt x="278" y="137"/>
                      </a:lnTo>
                      <a:lnTo>
                        <a:pt x="278" y="138"/>
                      </a:lnTo>
                      <a:lnTo>
                        <a:pt x="278" y="138"/>
                      </a:lnTo>
                      <a:lnTo>
                        <a:pt x="279" y="138"/>
                      </a:lnTo>
                      <a:lnTo>
                        <a:pt x="278" y="138"/>
                      </a:lnTo>
                      <a:lnTo>
                        <a:pt x="278" y="138"/>
                      </a:lnTo>
                      <a:lnTo>
                        <a:pt x="279" y="138"/>
                      </a:lnTo>
                      <a:lnTo>
                        <a:pt x="279" y="139"/>
                      </a:lnTo>
                      <a:lnTo>
                        <a:pt x="279" y="139"/>
                      </a:lnTo>
                      <a:lnTo>
                        <a:pt x="279" y="140"/>
                      </a:lnTo>
                      <a:lnTo>
                        <a:pt x="279" y="139"/>
                      </a:lnTo>
                      <a:lnTo>
                        <a:pt x="279" y="138"/>
                      </a:lnTo>
                      <a:lnTo>
                        <a:pt x="278" y="138"/>
                      </a:lnTo>
                      <a:lnTo>
                        <a:pt x="278" y="138"/>
                      </a:lnTo>
                      <a:lnTo>
                        <a:pt x="279" y="138"/>
                      </a:lnTo>
                      <a:lnTo>
                        <a:pt x="278" y="138"/>
                      </a:lnTo>
                      <a:lnTo>
                        <a:pt x="278" y="137"/>
                      </a:lnTo>
                      <a:lnTo>
                        <a:pt x="277" y="137"/>
                      </a:lnTo>
                      <a:lnTo>
                        <a:pt x="277" y="137"/>
                      </a:lnTo>
                      <a:lnTo>
                        <a:pt x="278" y="137"/>
                      </a:lnTo>
                      <a:lnTo>
                        <a:pt x="277" y="137"/>
                      </a:lnTo>
                      <a:lnTo>
                        <a:pt x="277" y="136"/>
                      </a:lnTo>
                      <a:lnTo>
                        <a:pt x="277" y="136"/>
                      </a:lnTo>
                      <a:lnTo>
                        <a:pt x="276" y="136"/>
                      </a:lnTo>
                      <a:lnTo>
                        <a:pt x="276" y="135"/>
                      </a:lnTo>
                      <a:lnTo>
                        <a:pt x="275" y="135"/>
                      </a:lnTo>
                      <a:lnTo>
                        <a:pt x="275" y="135"/>
                      </a:lnTo>
                      <a:lnTo>
                        <a:pt x="275" y="135"/>
                      </a:lnTo>
                      <a:lnTo>
                        <a:pt x="275" y="134"/>
                      </a:lnTo>
                      <a:lnTo>
                        <a:pt x="274" y="134"/>
                      </a:lnTo>
                      <a:lnTo>
                        <a:pt x="274" y="134"/>
                      </a:lnTo>
                      <a:lnTo>
                        <a:pt x="274" y="133"/>
                      </a:lnTo>
                      <a:lnTo>
                        <a:pt x="273" y="133"/>
                      </a:lnTo>
                      <a:lnTo>
                        <a:pt x="273" y="133"/>
                      </a:lnTo>
                      <a:lnTo>
                        <a:pt x="273" y="132"/>
                      </a:lnTo>
                      <a:lnTo>
                        <a:pt x="273" y="131"/>
                      </a:lnTo>
                      <a:lnTo>
                        <a:pt x="273" y="131"/>
                      </a:lnTo>
                      <a:lnTo>
                        <a:pt x="273" y="131"/>
                      </a:lnTo>
                      <a:lnTo>
                        <a:pt x="273" y="131"/>
                      </a:lnTo>
                      <a:lnTo>
                        <a:pt x="273" y="131"/>
                      </a:lnTo>
                      <a:lnTo>
                        <a:pt x="273" y="130"/>
                      </a:lnTo>
                      <a:lnTo>
                        <a:pt x="273" y="130"/>
                      </a:lnTo>
                      <a:lnTo>
                        <a:pt x="273" y="129"/>
                      </a:lnTo>
                      <a:lnTo>
                        <a:pt x="272" y="129"/>
                      </a:lnTo>
                      <a:lnTo>
                        <a:pt x="271" y="129"/>
                      </a:lnTo>
                      <a:lnTo>
                        <a:pt x="271" y="128"/>
                      </a:lnTo>
                      <a:lnTo>
                        <a:pt x="270" y="128"/>
                      </a:lnTo>
                      <a:lnTo>
                        <a:pt x="271" y="128"/>
                      </a:lnTo>
                      <a:lnTo>
                        <a:pt x="271" y="128"/>
                      </a:lnTo>
                      <a:lnTo>
                        <a:pt x="272" y="127"/>
                      </a:lnTo>
                      <a:lnTo>
                        <a:pt x="272" y="127"/>
                      </a:lnTo>
                      <a:lnTo>
                        <a:pt x="273" y="127"/>
                      </a:lnTo>
                      <a:lnTo>
                        <a:pt x="273" y="127"/>
                      </a:lnTo>
                      <a:lnTo>
                        <a:pt x="274" y="127"/>
                      </a:lnTo>
                      <a:lnTo>
                        <a:pt x="274" y="126"/>
                      </a:lnTo>
                      <a:lnTo>
                        <a:pt x="274" y="126"/>
                      </a:lnTo>
                      <a:lnTo>
                        <a:pt x="274" y="126"/>
                      </a:lnTo>
                      <a:lnTo>
                        <a:pt x="274" y="126"/>
                      </a:lnTo>
                      <a:lnTo>
                        <a:pt x="274" y="126"/>
                      </a:lnTo>
                      <a:lnTo>
                        <a:pt x="273" y="126"/>
                      </a:lnTo>
                      <a:lnTo>
                        <a:pt x="273" y="126"/>
                      </a:lnTo>
                      <a:lnTo>
                        <a:pt x="274" y="126"/>
                      </a:lnTo>
                      <a:lnTo>
                        <a:pt x="274" y="126"/>
                      </a:lnTo>
                      <a:lnTo>
                        <a:pt x="274" y="125"/>
                      </a:lnTo>
                      <a:lnTo>
                        <a:pt x="274" y="125"/>
                      </a:lnTo>
                      <a:lnTo>
                        <a:pt x="273" y="125"/>
                      </a:lnTo>
                      <a:lnTo>
                        <a:pt x="274" y="125"/>
                      </a:lnTo>
                      <a:lnTo>
                        <a:pt x="274" y="125"/>
                      </a:lnTo>
                      <a:lnTo>
                        <a:pt x="275" y="125"/>
                      </a:lnTo>
                      <a:lnTo>
                        <a:pt x="274" y="125"/>
                      </a:lnTo>
                      <a:lnTo>
                        <a:pt x="274" y="124"/>
                      </a:lnTo>
                      <a:lnTo>
                        <a:pt x="274" y="124"/>
                      </a:lnTo>
                      <a:lnTo>
                        <a:pt x="274" y="123"/>
                      </a:lnTo>
                      <a:lnTo>
                        <a:pt x="273" y="123"/>
                      </a:lnTo>
                      <a:lnTo>
                        <a:pt x="273" y="123"/>
                      </a:lnTo>
                      <a:lnTo>
                        <a:pt x="273" y="124"/>
                      </a:lnTo>
                      <a:lnTo>
                        <a:pt x="272" y="124"/>
                      </a:lnTo>
                      <a:lnTo>
                        <a:pt x="272" y="123"/>
                      </a:lnTo>
                      <a:lnTo>
                        <a:pt x="273" y="123"/>
                      </a:lnTo>
                      <a:lnTo>
                        <a:pt x="273" y="123"/>
                      </a:lnTo>
                      <a:lnTo>
                        <a:pt x="273" y="123"/>
                      </a:lnTo>
                      <a:lnTo>
                        <a:pt x="273" y="122"/>
                      </a:lnTo>
                      <a:lnTo>
                        <a:pt x="274" y="122"/>
                      </a:lnTo>
                      <a:lnTo>
                        <a:pt x="273" y="122"/>
                      </a:lnTo>
                      <a:lnTo>
                        <a:pt x="273" y="122"/>
                      </a:lnTo>
                      <a:lnTo>
                        <a:pt x="273" y="122"/>
                      </a:lnTo>
                      <a:lnTo>
                        <a:pt x="273" y="121"/>
                      </a:lnTo>
                      <a:lnTo>
                        <a:pt x="274" y="121"/>
                      </a:lnTo>
                      <a:lnTo>
                        <a:pt x="273" y="121"/>
                      </a:lnTo>
                      <a:lnTo>
                        <a:pt x="274" y="121"/>
                      </a:lnTo>
                      <a:lnTo>
                        <a:pt x="274" y="120"/>
                      </a:lnTo>
                      <a:lnTo>
                        <a:pt x="273" y="120"/>
                      </a:lnTo>
                      <a:lnTo>
                        <a:pt x="273" y="120"/>
                      </a:lnTo>
                      <a:lnTo>
                        <a:pt x="273" y="120"/>
                      </a:lnTo>
                      <a:lnTo>
                        <a:pt x="273" y="120"/>
                      </a:lnTo>
                      <a:lnTo>
                        <a:pt x="272" y="120"/>
                      </a:lnTo>
                      <a:lnTo>
                        <a:pt x="271" y="120"/>
                      </a:lnTo>
                      <a:lnTo>
                        <a:pt x="271" y="120"/>
                      </a:lnTo>
                      <a:lnTo>
                        <a:pt x="271" y="119"/>
                      </a:lnTo>
                      <a:lnTo>
                        <a:pt x="271" y="119"/>
                      </a:lnTo>
                      <a:lnTo>
                        <a:pt x="272" y="119"/>
                      </a:lnTo>
                      <a:lnTo>
                        <a:pt x="273" y="119"/>
                      </a:lnTo>
                      <a:lnTo>
                        <a:pt x="273" y="119"/>
                      </a:lnTo>
                      <a:lnTo>
                        <a:pt x="273" y="119"/>
                      </a:lnTo>
                      <a:lnTo>
                        <a:pt x="274" y="119"/>
                      </a:lnTo>
                      <a:lnTo>
                        <a:pt x="274" y="119"/>
                      </a:lnTo>
                      <a:lnTo>
                        <a:pt x="275" y="119"/>
                      </a:lnTo>
                      <a:lnTo>
                        <a:pt x="275" y="118"/>
                      </a:lnTo>
                      <a:lnTo>
                        <a:pt x="275" y="118"/>
                      </a:lnTo>
                      <a:lnTo>
                        <a:pt x="275" y="118"/>
                      </a:lnTo>
                      <a:lnTo>
                        <a:pt x="276" y="118"/>
                      </a:lnTo>
                      <a:lnTo>
                        <a:pt x="276" y="118"/>
                      </a:lnTo>
                      <a:lnTo>
                        <a:pt x="277" y="118"/>
                      </a:lnTo>
                      <a:lnTo>
                        <a:pt x="277" y="118"/>
                      </a:lnTo>
                      <a:lnTo>
                        <a:pt x="277" y="118"/>
                      </a:lnTo>
                      <a:lnTo>
                        <a:pt x="277" y="118"/>
                      </a:lnTo>
                      <a:lnTo>
                        <a:pt x="277" y="118"/>
                      </a:lnTo>
                      <a:lnTo>
                        <a:pt x="278" y="118"/>
                      </a:lnTo>
                      <a:lnTo>
                        <a:pt x="278" y="117"/>
                      </a:lnTo>
                      <a:lnTo>
                        <a:pt x="278" y="117"/>
                      </a:lnTo>
                      <a:lnTo>
                        <a:pt x="278" y="117"/>
                      </a:lnTo>
                      <a:lnTo>
                        <a:pt x="278" y="118"/>
                      </a:lnTo>
                      <a:lnTo>
                        <a:pt x="277" y="118"/>
                      </a:lnTo>
                      <a:lnTo>
                        <a:pt x="277" y="118"/>
                      </a:lnTo>
                      <a:lnTo>
                        <a:pt x="277" y="118"/>
                      </a:lnTo>
                      <a:lnTo>
                        <a:pt x="276" y="118"/>
                      </a:lnTo>
                      <a:lnTo>
                        <a:pt x="276" y="118"/>
                      </a:lnTo>
                      <a:lnTo>
                        <a:pt x="275" y="118"/>
                      </a:lnTo>
                      <a:lnTo>
                        <a:pt x="276" y="118"/>
                      </a:lnTo>
                      <a:lnTo>
                        <a:pt x="275" y="118"/>
                      </a:lnTo>
                      <a:lnTo>
                        <a:pt x="275" y="118"/>
                      </a:lnTo>
                      <a:lnTo>
                        <a:pt x="275" y="119"/>
                      </a:lnTo>
                      <a:lnTo>
                        <a:pt x="274" y="119"/>
                      </a:lnTo>
                      <a:lnTo>
                        <a:pt x="274" y="119"/>
                      </a:lnTo>
                      <a:lnTo>
                        <a:pt x="273" y="119"/>
                      </a:lnTo>
                      <a:lnTo>
                        <a:pt x="273" y="119"/>
                      </a:lnTo>
                      <a:lnTo>
                        <a:pt x="272" y="119"/>
                      </a:lnTo>
                      <a:lnTo>
                        <a:pt x="271" y="119"/>
                      </a:lnTo>
                      <a:lnTo>
                        <a:pt x="271" y="119"/>
                      </a:lnTo>
                      <a:lnTo>
                        <a:pt x="270" y="119"/>
                      </a:lnTo>
                      <a:lnTo>
                        <a:pt x="270" y="120"/>
                      </a:lnTo>
                      <a:lnTo>
                        <a:pt x="270" y="120"/>
                      </a:lnTo>
                      <a:lnTo>
                        <a:pt x="269" y="120"/>
                      </a:lnTo>
                      <a:lnTo>
                        <a:pt x="270" y="120"/>
                      </a:lnTo>
                      <a:lnTo>
                        <a:pt x="270" y="119"/>
                      </a:lnTo>
                      <a:lnTo>
                        <a:pt x="269" y="120"/>
                      </a:lnTo>
                      <a:lnTo>
                        <a:pt x="270" y="119"/>
                      </a:lnTo>
                      <a:lnTo>
                        <a:pt x="270" y="120"/>
                      </a:lnTo>
                      <a:lnTo>
                        <a:pt x="269" y="120"/>
                      </a:lnTo>
                      <a:lnTo>
                        <a:pt x="270" y="120"/>
                      </a:lnTo>
                      <a:lnTo>
                        <a:pt x="270" y="120"/>
                      </a:lnTo>
                      <a:lnTo>
                        <a:pt x="271" y="120"/>
                      </a:lnTo>
                      <a:lnTo>
                        <a:pt x="271" y="120"/>
                      </a:lnTo>
                      <a:lnTo>
                        <a:pt x="272" y="120"/>
                      </a:lnTo>
                      <a:lnTo>
                        <a:pt x="273" y="120"/>
                      </a:lnTo>
                      <a:lnTo>
                        <a:pt x="273" y="120"/>
                      </a:lnTo>
                      <a:lnTo>
                        <a:pt x="273" y="120"/>
                      </a:lnTo>
                      <a:lnTo>
                        <a:pt x="273" y="120"/>
                      </a:lnTo>
                      <a:lnTo>
                        <a:pt x="273" y="120"/>
                      </a:lnTo>
                      <a:lnTo>
                        <a:pt x="273" y="120"/>
                      </a:lnTo>
                      <a:lnTo>
                        <a:pt x="273" y="121"/>
                      </a:lnTo>
                      <a:lnTo>
                        <a:pt x="274" y="121"/>
                      </a:lnTo>
                      <a:lnTo>
                        <a:pt x="273" y="121"/>
                      </a:lnTo>
                      <a:lnTo>
                        <a:pt x="273" y="122"/>
                      </a:lnTo>
                      <a:lnTo>
                        <a:pt x="273" y="122"/>
                      </a:lnTo>
                      <a:lnTo>
                        <a:pt x="273" y="122"/>
                      </a:lnTo>
                      <a:lnTo>
                        <a:pt x="274" y="122"/>
                      </a:lnTo>
                      <a:lnTo>
                        <a:pt x="273" y="122"/>
                      </a:lnTo>
                      <a:lnTo>
                        <a:pt x="273" y="123"/>
                      </a:lnTo>
                      <a:lnTo>
                        <a:pt x="273" y="122"/>
                      </a:lnTo>
                      <a:lnTo>
                        <a:pt x="273" y="123"/>
                      </a:lnTo>
                      <a:lnTo>
                        <a:pt x="273" y="123"/>
                      </a:lnTo>
                      <a:lnTo>
                        <a:pt x="273" y="123"/>
                      </a:lnTo>
                      <a:lnTo>
                        <a:pt x="272" y="123"/>
                      </a:lnTo>
                      <a:lnTo>
                        <a:pt x="272" y="124"/>
                      </a:lnTo>
                      <a:lnTo>
                        <a:pt x="273" y="124"/>
                      </a:lnTo>
                      <a:lnTo>
                        <a:pt x="273" y="123"/>
                      </a:lnTo>
                      <a:lnTo>
                        <a:pt x="273" y="123"/>
                      </a:lnTo>
                      <a:lnTo>
                        <a:pt x="274" y="123"/>
                      </a:lnTo>
                      <a:lnTo>
                        <a:pt x="274" y="124"/>
                      </a:lnTo>
                      <a:lnTo>
                        <a:pt x="274" y="124"/>
                      </a:lnTo>
                      <a:lnTo>
                        <a:pt x="274" y="125"/>
                      </a:lnTo>
                      <a:lnTo>
                        <a:pt x="274" y="125"/>
                      </a:lnTo>
                      <a:lnTo>
                        <a:pt x="273" y="125"/>
                      </a:lnTo>
                      <a:lnTo>
                        <a:pt x="274" y="125"/>
                      </a:lnTo>
                      <a:lnTo>
                        <a:pt x="274" y="125"/>
                      </a:lnTo>
                      <a:lnTo>
                        <a:pt x="274" y="126"/>
                      </a:lnTo>
                      <a:lnTo>
                        <a:pt x="274" y="126"/>
                      </a:lnTo>
                      <a:lnTo>
                        <a:pt x="273" y="126"/>
                      </a:lnTo>
                      <a:lnTo>
                        <a:pt x="273" y="126"/>
                      </a:lnTo>
                      <a:lnTo>
                        <a:pt x="274" y="126"/>
                      </a:lnTo>
                      <a:lnTo>
                        <a:pt x="274" y="126"/>
                      </a:lnTo>
                      <a:lnTo>
                        <a:pt x="274" y="126"/>
                      </a:lnTo>
                      <a:lnTo>
                        <a:pt x="273" y="127"/>
                      </a:lnTo>
                      <a:lnTo>
                        <a:pt x="273" y="127"/>
                      </a:lnTo>
                      <a:lnTo>
                        <a:pt x="272" y="127"/>
                      </a:lnTo>
                      <a:lnTo>
                        <a:pt x="272" y="127"/>
                      </a:lnTo>
                      <a:lnTo>
                        <a:pt x="271" y="127"/>
                      </a:lnTo>
                      <a:lnTo>
                        <a:pt x="271" y="128"/>
                      </a:lnTo>
                      <a:lnTo>
                        <a:pt x="270" y="128"/>
                      </a:lnTo>
                      <a:lnTo>
                        <a:pt x="270" y="127"/>
                      </a:lnTo>
                      <a:lnTo>
                        <a:pt x="270" y="127"/>
                      </a:lnTo>
                      <a:lnTo>
                        <a:pt x="269" y="127"/>
                      </a:lnTo>
                      <a:lnTo>
                        <a:pt x="269" y="127"/>
                      </a:lnTo>
                      <a:lnTo>
                        <a:pt x="269" y="128"/>
                      </a:lnTo>
                      <a:lnTo>
                        <a:pt x="268" y="128"/>
                      </a:lnTo>
                      <a:lnTo>
                        <a:pt x="267" y="128"/>
                      </a:lnTo>
                      <a:lnTo>
                        <a:pt x="267" y="128"/>
                      </a:lnTo>
                      <a:lnTo>
                        <a:pt x="267" y="129"/>
                      </a:lnTo>
                      <a:lnTo>
                        <a:pt x="266" y="129"/>
                      </a:lnTo>
                      <a:lnTo>
                        <a:pt x="266" y="129"/>
                      </a:lnTo>
                      <a:lnTo>
                        <a:pt x="265" y="129"/>
                      </a:lnTo>
                      <a:lnTo>
                        <a:pt x="264" y="129"/>
                      </a:lnTo>
                      <a:lnTo>
                        <a:pt x="264" y="129"/>
                      </a:lnTo>
                      <a:lnTo>
                        <a:pt x="263" y="129"/>
                      </a:lnTo>
                      <a:lnTo>
                        <a:pt x="263" y="129"/>
                      </a:lnTo>
                      <a:lnTo>
                        <a:pt x="262" y="129"/>
                      </a:lnTo>
                      <a:lnTo>
                        <a:pt x="262" y="129"/>
                      </a:lnTo>
                      <a:lnTo>
                        <a:pt x="261" y="129"/>
                      </a:lnTo>
                      <a:lnTo>
                        <a:pt x="260" y="128"/>
                      </a:lnTo>
                      <a:lnTo>
                        <a:pt x="261" y="128"/>
                      </a:lnTo>
                      <a:lnTo>
                        <a:pt x="262" y="128"/>
                      </a:lnTo>
                      <a:lnTo>
                        <a:pt x="262" y="127"/>
                      </a:lnTo>
                      <a:lnTo>
                        <a:pt x="261" y="127"/>
                      </a:lnTo>
                      <a:lnTo>
                        <a:pt x="262" y="127"/>
                      </a:lnTo>
                      <a:lnTo>
                        <a:pt x="262" y="128"/>
                      </a:lnTo>
                      <a:lnTo>
                        <a:pt x="261" y="128"/>
                      </a:lnTo>
                      <a:lnTo>
                        <a:pt x="260" y="128"/>
                      </a:lnTo>
                      <a:lnTo>
                        <a:pt x="260" y="128"/>
                      </a:lnTo>
                      <a:lnTo>
                        <a:pt x="260" y="129"/>
                      </a:lnTo>
                      <a:lnTo>
                        <a:pt x="259" y="129"/>
                      </a:lnTo>
                      <a:lnTo>
                        <a:pt x="259" y="129"/>
                      </a:lnTo>
                      <a:lnTo>
                        <a:pt x="258" y="129"/>
                      </a:lnTo>
                      <a:lnTo>
                        <a:pt x="258" y="129"/>
                      </a:lnTo>
                      <a:lnTo>
                        <a:pt x="257" y="129"/>
                      </a:lnTo>
                      <a:lnTo>
                        <a:pt x="256" y="129"/>
                      </a:lnTo>
                      <a:lnTo>
                        <a:pt x="256" y="129"/>
                      </a:lnTo>
                      <a:lnTo>
                        <a:pt x="255" y="129"/>
                      </a:lnTo>
                      <a:lnTo>
                        <a:pt x="256" y="129"/>
                      </a:lnTo>
                      <a:lnTo>
                        <a:pt x="256" y="129"/>
                      </a:lnTo>
                      <a:lnTo>
                        <a:pt x="255" y="129"/>
                      </a:lnTo>
                      <a:lnTo>
                        <a:pt x="255" y="129"/>
                      </a:lnTo>
                      <a:lnTo>
                        <a:pt x="254" y="129"/>
                      </a:lnTo>
                      <a:lnTo>
                        <a:pt x="253" y="129"/>
                      </a:lnTo>
                      <a:lnTo>
                        <a:pt x="253" y="129"/>
                      </a:lnTo>
                      <a:lnTo>
                        <a:pt x="252" y="129"/>
                      </a:lnTo>
                      <a:lnTo>
                        <a:pt x="252" y="129"/>
                      </a:lnTo>
                      <a:lnTo>
                        <a:pt x="252" y="129"/>
                      </a:lnTo>
                      <a:lnTo>
                        <a:pt x="251" y="129"/>
                      </a:lnTo>
                      <a:lnTo>
                        <a:pt x="251" y="129"/>
                      </a:lnTo>
                      <a:lnTo>
                        <a:pt x="250" y="130"/>
                      </a:lnTo>
                      <a:lnTo>
                        <a:pt x="250" y="130"/>
                      </a:lnTo>
                      <a:lnTo>
                        <a:pt x="249" y="130"/>
                      </a:lnTo>
                      <a:lnTo>
                        <a:pt x="249" y="130"/>
                      </a:lnTo>
                      <a:lnTo>
                        <a:pt x="248" y="130"/>
                      </a:lnTo>
                      <a:lnTo>
                        <a:pt x="249" y="130"/>
                      </a:lnTo>
                      <a:lnTo>
                        <a:pt x="249" y="130"/>
                      </a:lnTo>
                      <a:lnTo>
                        <a:pt x="250" y="130"/>
                      </a:lnTo>
                      <a:lnTo>
                        <a:pt x="249" y="130"/>
                      </a:lnTo>
                      <a:lnTo>
                        <a:pt x="249" y="130"/>
                      </a:lnTo>
                      <a:lnTo>
                        <a:pt x="248" y="130"/>
                      </a:lnTo>
                      <a:lnTo>
                        <a:pt x="248" y="130"/>
                      </a:lnTo>
                      <a:lnTo>
                        <a:pt x="247" y="131"/>
                      </a:lnTo>
                      <a:lnTo>
                        <a:pt x="247" y="131"/>
                      </a:lnTo>
                      <a:lnTo>
                        <a:pt x="246" y="131"/>
                      </a:lnTo>
                      <a:lnTo>
                        <a:pt x="246" y="131"/>
                      </a:lnTo>
                      <a:lnTo>
                        <a:pt x="245" y="131"/>
                      </a:lnTo>
                      <a:lnTo>
                        <a:pt x="245" y="131"/>
                      </a:lnTo>
                      <a:lnTo>
                        <a:pt x="244" y="131"/>
                      </a:lnTo>
                      <a:lnTo>
                        <a:pt x="244" y="131"/>
                      </a:lnTo>
                      <a:lnTo>
                        <a:pt x="243" y="131"/>
                      </a:lnTo>
                      <a:lnTo>
                        <a:pt x="243" y="131"/>
                      </a:lnTo>
                      <a:lnTo>
                        <a:pt x="243" y="131"/>
                      </a:lnTo>
                      <a:lnTo>
                        <a:pt x="243" y="131"/>
                      </a:lnTo>
                      <a:lnTo>
                        <a:pt x="243" y="131"/>
                      </a:lnTo>
                      <a:lnTo>
                        <a:pt x="243" y="131"/>
                      </a:lnTo>
                      <a:lnTo>
                        <a:pt x="243" y="131"/>
                      </a:lnTo>
                      <a:lnTo>
                        <a:pt x="243" y="131"/>
                      </a:lnTo>
                      <a:lnTo>
                        <a:pt x="243" y="132"/>
                      </a:lnTo>
                      <a:lnTo>
                        <a:pt x="242" y="132"/>
                      </a:lnTo>
                      <a:lnTo>
                        <a:pt x="241" y="132"/>
                      </a:lnTo>
                      <a:lnTo>
                        <a:pt x="241" y="133"/>
                      </a:lnTo>
                      <a:lnTo>
                        <a:pt x="240" y="133"/>
                      </a:lnTo>
                      <a:lnTo>
                        <a:pt x="240" y="133"/>
                      </a:lnTo>
                      <a:lnTo>
                        <a:pt x="239" y="133"/>
                      </a:lnTo>
                      <a:lnTo>
                        <a:pt x="238" y="133"/>
                      </a:lnTo>
                      <a:lnTo>
                        <a:pt x="238" y="133"/>
                      </a:lnTo>
                      <a:lnTo>
                        <a:pt x="238" y="132"/>
                      </a:lnTo>
                      <a:lnTo>
                        <a:pt x="238" y="131"/>
                      </a:lnTo>
                      <a:lnTo>
                        <a:pt x="238" y="131"/>
                      </a:lnTo>
                      <a:lnTo>
                        <a:pt x="237" y="131"/>
                      </a:lnTo>
                      <a:lnTo>
                        <a:pt x="238" y="131"/>
                      </a:lnTo>
                      <a:lnTo>
                        <a:pt x="238" y="131"/>
                      </a:lnTo>
                      <a:lnTo>
                        <a:pt x="238" y="131"/>
                      </a:lnTo>
                      <a:lnTo>
                        <a:pt x="237" y="131"/>
                      </a:lnTo>
                      <a:lnTo>
                        <a:pt x="238" y="130"/>
                      </a:lnTo>
                      <a:lnTo>
                        <a:pt x="237" y="130"/>
                      </a:lnTo>
                      <a:lnTo>
                        <a:pt x="237" y="130"/>
                      </a:lnTo>
                      <a:lnTo>
                        <a:pt x="237" y="130"/>
                      </a:lnTo>
                      <a:lnTo>
                        <a:pt x="237" y="129"/>
                      </a:lnTo>
                      <a:lnTo>
                        <a:pt x="236" y="129"/>
                      </a:lnTo>
                      <a:lnTo>
                        <a:pt x="236" y="129"/>
                      </a:lnTo>
                      <a:lnTo>
                        <a:pt x="235" y="129"/>
                      </a:lnTo>
                      <a:lnTo>
                        <a:pt x="235" y="129"/>
                      </a:lnTo>
                      <a:lnTo>
                        <a:pt x="235" y="128"/>
                      </a:lnTo>
                      <a:lnTo>
                        <a:pt x="234" y="128"/>
                      </a:lnTo>
                      <a:lnTo>
                        <a:pt x="234" y="127"/>
                      </a:lnTo>
                      <a:lnTo>
                        <a:pt x="233" y="127"/>
                      </a:lnTo>
                      <a:lnTo>
                        <a:pt x="232" y="127"/>
                      </a:lnTo>
                      <a:lnTo>
                        <a:pt x="232" y="127"/>
                      </a:lnTo>
                      <a:lnTo>
                        <a:pt x="231" y="127"/>
                      </a:lnTo>
                      <a:lnTo>
                        <a:pt x="230" y="127"/>
                      </a:lnTo>
                      <a:lnTo>
                        <a:pt x="231" y="127"/>
                      </a:lnTo>
                      <a:lnTo>
                        <a:pt x="230" y="126"/>
                      </a:lnTo>
                      <a:lnTo>
                        <a:pt x="230" y="126"/>
                      </a:lnTo>
                      <a:lnTo>
                        <a:pt x="231" y="126"/>
                      </a:lnTo>
                      <a:lnTo>
                        <a:pt x="232" y="126"/>
                      </a:lnTo>
                      <a:lnTo>
                        <a:pt x="231" y="125"/>
                      </a:lnTo>
                      <a:lnTo>
                        <a:pt x="230" y="125"/>
                      </a:lnTo>
                      <a:lnTo>
                        <a:pt x="230" y="125"/>
                      </a:lnTo>
                      <a:lnTo>
                        <a:pt x="231" y="125"/>
                      </a:lnTo>
                      <a:lnTo>
                        <a:pt x="232" y="124"/>
                      </a:lnTo>
                      <a:lnTo>
                        <a:pt x="232" y="124"/>
                      </a:lnTo>
                      <a:lnTo>
                        <a:pt x="233" y="124"/>
                      </a:lnTo>
                      <a:lnTo>
                        <a:pt x="233" y="124"/>
                      </a:lnTo>
                      <a:lnTo>
                        <a:pt x="233" y="124"/>
                      </a:lnTo>
                      <a:lnTo>
                        <a:pt x="233" y="124"/>
                      </a:lnTo>
                      <a:lnTo>
                        <a:pt x="233" y="123"/>
                      </a:lnTo>
                      <a:lnTo>
                        <a:pt x="233" y="123"/>
                      </a:lnTo>
                      <a:lnTo>
                        <a:pt x="233" y="123"/>
                      </a:lnTo>
                      <a:lnTo>
                        <a:pt x="234" y="123"/>
                      </a:lnTo>
                      <a:lnTo>
                        <a:pt x="234" y="123"/>
                      </a:lnTo>
                      <a:lnTo>
                        <a:pt x="235" y="123"/>
                      </a:lnTo>
                      <a:lnTo>
                        <a:pt x="236" y="123"/>
                      </a:lnTo>
                      <a:lnTo>
                        <a:pt x="236" y="123"/>
                      </a:lnTo>
                      <a:lnTo>
                        <a:pt x="237" y="123"/>
                      </a:lnTo>
                      <a:lnTo>
                        <a:pt x="237" y="123"/>
                      </a:lnTo>
                      <a:lnTo>
                        <a:pt x="237" y="123"/>
                      </a:lnTo>
                      <a:lnTo>
                        <a:pt x="237" y="123"/>
                      </a:lnTo>
                      <a:lnTo>
                        <a:pt x="238" y="123"/>
                      </a:lnTo>
                      <a:lnTo>
                        <a:pt x="238" y="123"/>
                      </a:lnTo>
                      <a:lnTo>
                        <a:pt x="238" y="123"/>
                      </a:lnTo>
                      <a:lnTo>
                        <a:pt x="239" y="123"/>
                      </a:lnTo>
                      <a:lnTo>
                        <a:pt x="240" y="123"/>
                      </a:lnTo>
                      <a:lnTo>
                        <a:pt x="240" y="123"/>
                      </a:lnTo>
                      <a:lnTo>
                        <a:pt x="240" y="123"/>
                      </a:lnTo>
                      <a:lnTo>
                        <a:pt x="240" y="123"/>
                      </a:lnTo>
                      <a:lnTo>
                        <a:pt x="240" y="123"/>
                      </a:lnTo>
                      <a:lnTo>
                        <a:pt x="240" y="123"/>
                      </a:lnTo>
                      <a:lnTo>
                        <a:pt x="241" y="123"/>
                      </a:lnTo>
                      <a:lnTo>
                        <a:pt x="240" y="123"/>
                      </a:lnTo>
                      <a:lnTo>
                        <a:pt x="241" y="123"/>
                      </a:lnTo>
                      <a:lnTo>
                        <a:pt x="241" y="122"/>
                      </a:lnTo>
                      <a:lnTo>
                        <a:pt x="241" y="122"/>
                      </a:lnTo>
                      <a:lnTo>
                        <a:pt x="241" y="122"/>
                      </a:lnTo>
                      <a:lnTo>
                        <a:pt x="241" y="122"/>
                      </a:lnTo>
                      <a:lnTo>
                        <a:pt x="242" y="122"/>
                      </a:lnTo>
                      <a:lnTo>
                        <a:pt x="243" y="122"/>
                      </a:lnTo>
                      <a:lnTo>
                        <a:pt x="243" y="123"/>
                      </a:lnTo>
                      <a:lnTo>
                        <a:pt x="243" y="122"/>
                      </a:lnTo>
                      <a:lnTo>
                        <a:pt x="242" y="122"/>
                      </a:lnTo>
                      <a:lnTo>
                        <a:pt x="241" y="122"/>
                      </a:lnTo>
                      <a:lnTo>
                        <a:pt x="242" y="122"/>
                      </a:lnTo>
                      <a:lnTo>
                        <a:pt x="243" y="121"/>
                      </a:lnTo>
                      <a:lnTo>
                        <a:pt x="243" y="121"/>
                      </a:lnTo>
                      <a:lnTo>
                        <a:pt x="243" y="120"/>
                      </a:lnTo>
                      <a:lnTo>
                        <a:pt x="244" y="120"/>
                      </a:lnTo>
                      <a:lnTo>
                        <a:pt x="244" y="120"/>
                      </a:lnTo>
                      <a:lnTo>
                        <a:pt x="244" y="121"/>
                      </a:lnTo>
                      <a:lnTo>
                        <a:pt x="244" y="120"/>
                      </a:lnTo>
                      <a:lnTo>
                        <a:pt x="245" y="120"/>
                      </a:lnTo>
                      <a:lnTo>
                        <a:pt x="245" y="120"/>
                      </a:lnTo>
                      <a:lnTo>
                        <a:pt x="245" y="121"/>
                      </a:lnTo>
                      <a:lnTo>
                        <a:pt x="246" y="121"/>
                      </a:lnTo>
                      <a:lnTo>
                        <a:pt x="246" y="122"/>
                      </a:lnTo>
                      <a:lnTo>
                        <a:pt x="245" y="122"/>
                      </a:lnTo>
                      <a:lnTo>
                        <a:pt x="246" y="122"/>
                      </a:lnTo>
                      <a:lnTo>
                        <a:pt x="247" y="122"/>
                      </a:lnTo>
                      <a:lnTo>
                        <a:pt x="247" y="122"/>
                      </a:lnTo>
                      <a:lnTo>
                        <a:pt x="246" y="122"/>
                      </a:lnTo>
                      <a:lnTo>
                        <a:pt x="247" y="122"/>
                      </a:lnTo>
                      <a:lnTo>
                        <a:pt x="247" y="123"/>
                      </a:lnTo>
                      <a:lnTo>
                        <a:pt x="247" y="123"/>
                      </a:lnTo>
                      <a:lnTo>
                        <a:pt x="248" y="123"/>
                      </a:lnTo>
                      <a:lnTo>
                        <a:pt x="247" y="123"/>
                      </a:lnTo>
                      <a:lnTo>
                        <a:pt x="247" y="123"/>
                      </a:lnTo>
                      <a:lnTo>
                        <a:pt x="247" y="122"/>
                      </a:lnTo>
                      <a:lnTo>
                        <a:pt x="246" y="122"/>
                      </a:lnTo>
                      <a:lnTo>
                        <a:pt x="247" y="122"/>
                      </a:lnTo>
                      <a:lnTo>
                        <a:pt x="247" y="122"/>
                      </a:lnTo>
                      <a:lnTo>
                        <a:pt x="246" y="122"/>
                      </a:lnTo>
                      <a:lnTo>
                        <a:pt x="246" y="121"/>
                      </a:lnTo>
                      <a:lnTo>
                        <a:pt x="245" y="121"/>
                      </a:lnTo>
                      <a:lnTo>
                        <a:pt x="245" y="120"/>
                      </a:lnTo>
                      <a:lnTo>
                        <a:pt x="245" y="120"/>
                      </a:lnTo>
                      <a:lnTo>
                        <a:pt x="246" y="120"/>
                      </a:lnTo>
                      <a:lnTo>
                        <a:pt x="247" y="119"/>
                      </a:lnTo>
                      <a:lnTo>
                        <a:pt x="246" y="119"/>
                      </a:lnTo>
                      <a:lnTo>
                        <a:pt x="246" y="119"/>
                      </a:lnTo>
                      <a:lnTo>
                        <a:pt x="245" y="119"/>
                      </a:lnTo>
                      <a:lnTo>
                        <a:pt x="245" y="118"/>
                      </a:lnTo>
                      <a:lnTo>
                        <a:pt x="245" y="118"/>
                      </a:lnTo>
                      <a:lnTo>
                        <a:pt x="245" y="118"/>
                      </a:lnTo>
                      <a:lnTo>
                        <a:pt x="245" y="117"/>
                      </a:lnTo>
                      <a:lnTo>
                        <a:pt x="244" y="117"/>
                      </a:lnTo>
                      <a:lnTo>
                        <a:pt x="245" y="117"/>
                      </a:lnTo>
                      <a:lnTo>
                        <a:pt x="245" y="117"/>
                      </a:lnTo>
                      <a:lnTo>
                        <a:pt x="246" y="117"/>
                      </a:lnTo>
                      <a:lnTo>
                        <a:pt x="246" y="118"/>
                      </a:lnTo>
                      <a:lnTo>
                        <a:pt x="246" y="117"/>
                      </a:lnTo>
                      <a:lnTo>
                        <a:pt x="245" y="117"/>
                      </a:lnTo>
                      <a:lnTo>
                        <a:pt x="245" y="117"/>
                      </a:lnTo>
                      <a:lnTo>
                        <a:pt x="244" y="117"/>
                      </a:lnTo>
                      <a:lnTo>
                        <a:pt x="244" y="117"/>
                      </a:lnTo>
                      <a:lnTo>
                        <a:pt x="244" y="116"/>
                      </a:lnTo>
                      <a:lnTo>
                        <a:pt x="243" y="116"/>
                      </a:lnTo>
                      <a:lnTo>
                        <a:pt x="243" y="116"/>
                      </a:lnTo>
                      <a:lnTo>
                        <a:pt x="243" y="116"/>
                      </a:lnTo>
                      <a:lnTo>
                        <a:pt x="244" y="116"/>
                      </a:lnTo>
                      <a:lnTo>
                        <a:pt x="244" y="116"/>
                      </a:lnTo>
                      <a:lnTo>
                        <a:pt x="244" y="116"/>
                      </a:lnTo>
                      <a:lnTo>
                        <a:pt x="245" y="116"/>
                      </a:lnTo>
                      <a:lnTo>
                        <a:pt x="244" y="116"/>
                      </a:lnTo>
                      <a:lnTo>
                        <a:pt x="244" y="116"/>
                      </a:lnTo>
                      <a:lnTo>
                        <a:pt x="244" y="116"/>
                      </a:lnTo>
                      <a:lnTo>
                        <a:pt x="245" y="116"/>
                      </a:lnTo>
                      <a:lnTo>
                        <a:pt x="245" y="116"/>
                      </a:lnTo>
                      <a:lnTo>
                        <a:pt x="245" y="116"/>
                      </a:lnTo>
                      <a:lnTo>
                        <a:pt x="245" y="115"/>
                      </a:lnTo>
                      <a:lnTo>
                        <a:pt x="245" y="115"/>
                      </a:lnTo>
                      <a:lnTo>
                        <a:pt x="245" y="116"/>
                      </a:lnTo>
                      <a:lnTo>
                        <a:pt x="245" y="115"/>
                      </a:lnTo>
                      <a:lnTo>
                        <a:pt x="245" y="116"/>
                      </a:lnTo>
                      <a:lnTo>
                        <a:pt x="245" y="116"/>
                      </a:lnTo>
                      <a:lnTo>
                        <a:pt x="245" y="116"/>
                      </a:lnTo>
                      <a:lnTo>
                        <a:pt x="244" y="116"/>
                      </a:lnTo>
                      <a:lnTo>
                        <a:pt x="244" y="116"/>
                      </a:lnTo>
                      <a:lnTo>
                        <a:pt x="243" y="116"/>
                      </a:lnTo>
                      <a:lnTo>
                        <a:pt x="243" y="116"/>
                      </a:lnTo>
                      <a:lnTo>
                        <a:pt x="242" y="116"/>
                      </a:lnTo>
                      <a:lnTo>
                        <a:pt x="242" y="115"/>
                      </a:lnTo>
                      <a:lnTo>
                        <a:pt x="243" y="115"/>
                      </a:lnTo>
                      <a:lnTo>
                        <a:pt x="243" y="115"/>
                      </a:lnTo>
                      <a:lnTo>
                        <a:pt x="244" y="115"/>
                      </a:lnTo>
                      <a:lnTo>
                        <a:pt x="244" y="115"/>
                      </a:lnTo>
                      <a:lnTo>
                        <a:pt x="244" y="115"/>
                      </a:lnTo>
                      <a:lnTo>
                        <a:pt x="244" y="115"/>
                      </a:lnTo>
                      <a:lnTo>
                        <a:pt x="244" y="115"/>
                      </a:lnTo>
                      <a:lnTo>
                        <a:pt x="244" y="115"/>
                      </a:lnTo>
                      <a:lnTo>
                        <a:pt x="244" y="114"/>
                      </a:lnTo>
                      <a:lnTo>
                        <a:pt x="243" y="114"/>
                      </a:lnTo>
                      <a:lnTo>
                        <a:pt x="244" y="114"/>
                      </a:lnTo>
                      <a:lnTo>
                        <a:pt x="244" y="115"/>
                      </a:lnTo>
                      <a:lnTo>
                        <a:pt x="244" y="115"/>
                      </a:lnTo>
                      <a:lnTo>
                        <a:pt x="244" y="115"/>
                      </a:lnTo>
                      <a:lnTo>
                        <a:pt x="244" y="115"/>
                      </a:lnTo>
                      <a:lnTo>
                        <a:pt x="243" y="115"/>
                      </a:lnTo>
                      <a:lnTo>
                        <a:pt x="243" y="115"/>
                      </a:lnTo>
                      <a:lnTo>
                        <a:pt x="242" y="115"/>
                      </a:lnTo>
                      <a:lnTo>
                        <a:pt x="242" y="116"/>
                      </a:lnTo>
                      <a:lnTo>
                        <a:pt x="241" y="116"/>
                      </a:lnTo>
                      <a:lnTo>
                        <a:pt x="241" y="116"/>
                      </a:lnTo>
                      <a:lnTo>
                        <a:pt x="240" y="116"/>
                      </a:lnTo>
                      <a:lnTo>
                        <a:pt x="240" y="115"/>
                      </a:lnTo>
                      <a:lnTo>
                        <a:pt x="240" y="116"/>
                      </a:lnTo>
                      <a:lnTo>
                        <a:pt x="240" y="115"/>
                      </a:lnTo>
                      <a:lnTo>
                        <a:pt x="239" y="115"/>
                      </a:lnTo>
                      <a:lnTo>
                        <a:pt x="238" y="116"/>
                      </a:lnTo>
                      <a:lnTo>
                        <a:pt x="238" y="115"/>
                      </a:lnTo>
                      <a:lnTo>
                        <a:pt x="238" y="115"/>
                      </a:lnTo>
                      <a:lnTo>
                        <a:pt x="238" y="115"/>
                      </a:lnTo>
                      <a:lnTo>
                        <a:pt x="238" y="115"/>
                      </a:lnTo>
                      <a:lnTo>
                        <a:pt x="237" y="115"/>
                      </a:lnTo>
                      <a:lnTo>
                        <a:pt x="238" y="114"/>
                      </a:lnTo>
                      <a:lnTo>
                        <a:pt x="238" y="114"/>
                      </a:lnTo>
                      <a:lnTo>
                        <a:pt x="237" y="113"/>
                      </a:lnTo>
                      <a:lnTo>
                        <a:pt x="237" y="113"/>
                      </a:lnTo>
                      <a:lnTo>
                        <a:pt x="236" y="113"/>
                      </a:lnTo>
                      <a:lnTo>
                        <a:pt x="236" y="113"/>
                      </a:lnTo>
                      <a:lnTo>
                        <a:pt x="235" y="113"/>
                      </a:lnTo>
                      <a:lnTo>
                        <a:pt x="235" y="112"/>
                      </a:lnTo>
                      <a:lnTo>
                        <a:pt x="234" y="112"/>
                      </a:lnTo>
                      <a:lnTo>
                        <a:pt x="234" y="112"/>
                      </a:lnTo>
                      <a:lnTo>
                        <a:pt x="233" y="112"/>
                      </a:lnTo>
                      <a:lnTo>
                        <a:pt x="233" y="112"/>
                      </a:lnTo>
                      <a:lnTo>
                        <a:pt x="232" y="112"/>
                      </a:lnTo>
                      <a:lnTo>
                        <a:pt x="232" y="112"/>
                      </a:lnTo>
                      <a:lnTo>
                        <a:pt x="232" y="112"/>
                      </a:lnTo>
                      <a:lnTo>
                        <a:pt x="231" y="112"/>
                      </a:lnTo>
                      <a:lnTo>
                        <a:pt x="231" y="111"/>
                      </a:lnTo>
                      <a:lnTo>
                        <a:pt x="231" y="111"/>
                      </a:lnTo>
                      <a:lnTo>
                        <a:pt x="232" y="111"/>
                      </a:lnTo>
                      <a:lnTo>
                        <a:pt x="232" y="111"/>
                      </a:lnTo>
                      <a:lnTo>
                        <a:pt x="233" y="111"/>
                      </a:lnTo>
                      <a:lnTo>
                        <a:pt x="232" y="111"/>
                      </a:lnTo>
                      <a:lnTo>
                        <a:pt x="233" y="111"/>
                      </a:lnTo>
                      <a:lnTo>
                        <a:pt x="233" y="111"/>
                      </a:lnTo>
                      <a:lnTo>
                        <a:pt x="233" y="111"/>
                      </a:lnTo>
                      <a:lnTo>
                        <a:pt x="234" y="111"/>
                      </a:lnTo>
                      <a:lnTo>
                        <a:pt x="234" y="112"/>
                      </a:lnTo>
                      <a:lnTo>
                        <a:pt x="234" y="112"/>
                      </a:lnTo>
                      <a:lnTo>
                        <a:pt x="234" y="112"/>
                      </a:lnTo>
                      <a:lnTo>
                        <a:pt x="234" y="112"/>
                      </a:lnTo>
                      <a:lnTo>
                        <a:pt x="234" y="111"/>
                      </a:lnTo>
                      <a:lnTo>
                        <a:pt x="234" y="111"/>
                      </a:lnTo>
                      <a:lnTo>
                        <a:pt x="233" y="111"/>
                      </a:lnTo>
                      <a:lnTo>
                        <a:pt x="233" y="110"/>
                      </a:lnTo>
                      <a:lnTo>
                        <a:pt x="233" y="110"/>
                      </a:lnTo>
                      <a:lnTo>
                        <a:pt x="232" y="110"/>
                      </a:lnTo>
                      <a:lnTo>
                        <a:pt x="233" y="110"/>
                      </a:lnTo>
                      <a:lnTo>
                        <a:pt x="233" y="110"/>
                      </a:lnTo>
                      <a:lnTo>
                        <a:pt x="233" y="109"/>
                      </a:lnTo>
                      <a:lnTo>
                        <a:pt x="233" y="110"/>
                      </a:lnTo>
                      <a:lnTo>
                        <a:pt x="234" y="110"/>
                      </a:lnTo>
                      <a:lnTo>
                        <a:pt x="234" y="110"/>
                      </a:lnTo>
                      <a:lnTo>
                        <a:pt x="234" y="109"/>
                      </a:lnTo>
                      <a:lnTo>
                        <a:pt x="234" y="109"/>
                      </a:lnTo>
                      <a:lnTo>
                        <a:pt x="235" y="109"/>
                      </a:lnTo>
                      <a:lnTo>
                        <a:pt x="236" y="109"/>
                      </a:lnTo>
                      <a:lnTo>
                        <a:pt x="236" y="109"/>
                      </a:lnTo>
                      <a:lnTo>
                        <a:pt x="237" y="109"/>
                      </a:lnTo>
                      <a:lnTo>
                        <a:pt x="237" y="110"/>
                      </a:lnTo>
                      <a:lnTo>
                        <a:pt x="237" y="110"/>
                      </a:lnTo>
                      <a:lnTo>
                        <a:pt x="237" y="110"/>
                      </a:lnTo>
                      <a:lnTo>
                        <a:pt x="237" y="111"/>
                      </a:lnTo>
                      <a:lnTo>
                        <a:pt x="237" y="111"/>
                      </a:lnTo>
                      <a:lnTo>
                        <a:pt x="237" y="110"/>
                      </a:lnTo>
                      <a:lnTo>
                        <a:pt x="237" y="111"/>
                      </a:lnTo>
                      <a:lnTo>
                        <a:pt x="238" y="111"/>
                      </a:lnTo>
                      <a:lnTo>
                        <a:pt x="238" y="110"/>
                      </a:lnTo>
                      <a:lnTo>
                        <a:pt x="238" y="111"/>
                      </a:lnTo>
                      <a:lnTo>
                        <a:pt x="238" y="111"/>
                      </a:lnTo>
                      <a:lnTo>
                        <a:pt x="238" y="110"/>
                      </a:lnTo>
                      <a:lnTo>
                        <a:pt x="238" y="111"/>
                      </a:lnTo>
                      <a:lnTo>
                        <a:pt x="238" y="110"/>
                      </a:lnTo>
                      <a:lnTo>
                        <a:pt x="239" y="110"/>
                      </a:lnTo>
                      <a:lnTo>
                        <a:pt x="239" y="111"/>
                      </a:lnTo>
                      <a:lnTo>
                        <a:pt x="239" y="110"/>
                      </a:lnTo>
                      <a:lnTo>
                        <a:pt x="240" y="111"/>
                      </a:lnTo>
                      <a:lnTo>
                        <a:pt x="239" y="111"/>
                      </a:lnTo>
                      <a:lnTo>
                        <a:pt x="240" y="111"/>
                      </a:lnTo>
                      <a:lnTo>
                        <a:pt x="239" y="111"/>
                      </a:lnTo>
                      <a:lnTo>
                        <a:pt x="239" y="111"/>
                      </a:lnTo>
                      <a:lnTo>
                        <a:pt x="238" y="111"/>
                      </a:lnTo>
                      <a:lnTo>
                        <a:pt x="238" y="111"/>
                      </a:lnTo>
                      <a:lnTo>
                        <a:pt x="238" y="112"/>
                      </a:lnTo>
                      <a:lnTo>
                        <a:pt x="237" y="112"/>
                      </a:lnTo>
                      <a:lnTo>
                        <a:pt x="238" y="112"/>
                      </a:lnTo>
                      <a:lnTo>
                        <a:pt x="238" y="112"/>
                      </a:lnTo>
                      <a:lnTo>
                        <a:pt x="238" y="111"/>
                      </a:lnTo>
                      <a:lnTo>
                        <a:pt x="239" y="111"/>
                      </a:lnTo>
                      <a:lnTo>
                        <a:pt x="240" y="111"/>
                      </a:lnTo>
                      <a:lnTo>
                        <a:pt x="240" y="112"/>
                      </a:lnTo>
                      <a:lnTo>
                        <a:pt x="239" y="112"/>
                      </a:lnTo>
                      <a:lnTo>
                        <a:pt x="240" y="112"/>
                      </a:lnTo>
                      <a:lnTo>
                        <a:pt x="240" y="112"/>
                      </a:lnTo>
                      <a:lnTo>
                        <a:pt x="239" y="112"/>
                      </a:lnTo>
                      <a:lnTo>
                        <a:pt x="240" y="112"/>
                      </a:lnTo>
                      <a:lnTo>
                        <a:pt x="240" y="112"/>
                      </a:lnTo>
                      <a:lnTo>
                        <a:pt x="240" y="112"/>
                      </a:lnTo>
                      <a:lnTo>
                        <a:pt x="240" y="111"/>
                      </a:lnTo>
                      <a:lnTo>
                        <a:pt x="240" y="111"/>
                      </a:lnTo>
                      <a:lnTo>
                        <a:pt x="240" y="111"/>
                      </a:lnTo>
                      <a:lnTo>
                        <a:pt x="240" y="111"/>
                      </a:lnTo>
                      <a:lnTo>
                        <a:pt x="241" y="111"/>
                      </a:lnTo>
                      <a:lnTo>
                        <a:pt x="241" y="111"/>
                      </a:lnTo>
                      <a:lnTo>
                        <a:pt x="241" y="111"/>
                      </a:lnTo>
                      <a:lnTo>
                        <a:pt x="241" y="111"/>
                      </a:lnTo>
                      <a:lnTo>
                        <a:pt x="241" y="111"/>
                      </a:lnTo>
                      <a:lnTo>
                        <a:pt x="241" y="111"/>
                      </a:lnTo>
                      <a:lnTo>
                        <a:pt x="241" y="111"/>
                      </a:lnTo>
                      <a:lnTo>
                        <a:pt x="242" y="111"/>
                      </a:lnTo>
                      <a:lnTo>
                        <a:pt x="243" y="111"/>
                      </a:lnTo>
                      <a:lnTo>
                        <a:pt x="243" y="111"/>
                      </a:lnTo>
                      <a:lnTo>
                        <a:pt x="243" y="111"/>
                      </a:lnTo>
                      <a:lnTo>
                        <a:pt x="242" y="111"/>
                      </a:lnTo>
                      <a:lnTo>
                        <a:pt x="243" y="111"/>
                      </a:lnTo>
                      <a:lnTo>
                        <a:pt x="242" y="111"/>
                      </a:lnTo>
                      <a:lnTo>
                        <a:pt x="242" y="110"/>
                      </a:lnTo>
                      <a:lnTo>
                        <a:pt x="243" y="110"/>
                      </a:lnTo>
                      <a:lnTo>
                        <a:pt x="243" y="109"/>
                      </a:lnTo>
                      <a:lnTo>
                        <a:pt x="243" y="110"/>
                      </a:lnTo>
                      <a:lnTo>
                        <a:pt x="244" y="110"/>
                      </a:lnTo>
                      <a:lnTo>
                        <a:pt x="244" y="109"/>
                      </a:lnTo>
                      <a:lnTo>
                        <a:pt x="244" y="109"/>
                      </a:lnTo>
                      <a:lnTo>
                        <a:pt x="244" y="109"/>
                      </a:lnTo>
                      <a:lnTo>
                        <a:pt x="244" y="110"/>
                      </a:lnTo>
                      <a:lnTo>
                        <a:pt x="244" y="109"/>
                      </a:lnTo>
                      <a:lnTo>
                        <a:pt x="243" y="110"/>
                      </a:lnTo>
                      <a:lnTo>
                        <a:pt x="243" y="109"/>
                      </a:lnTo>
                      <a:lnTo>
                        <a:pt x="243" y="110"/>
                      </a:lnTo>
                      <a:lnTo>
                        <a:pt x="242" y="110"/>
                      </a:lnTo>
                      <a:lnTo>
                        <a:pt x="242" y="111"/>
                      </a:lnTo>
                      <a:lnTo>
                        <a:pt x="242" y="110"/>
                      </a:lnTo>
                      <a:lnTo>
                        <a:pt x="242" y="111"/>
                      </a:lnTo>
                      <a:lnTo>
                        <a:pt x="243" y="111"/>
                      </a:lnTo>
                      <a:lnTo>
                        <a:pt x="242" y="111"/>
                      </a:lnTo>
                      <a:lnTo>
                        <a:pt x="242" y="111"/>
                      </a:lnTo>
                      <a:lnTo>
                        <a:pt x="241" y="111"/>
                      </a:lnTo>
                      <a:lnTo>
                        <a:pt x="241" y="111"/>
                      </a:lnTo>
                      <a:lnTo>
                        <a:pt x="240" y="111"/>
                      </a:lnTo>
                      <a:lnTo>
                        <a:pt x="240" y="110"/>
                      </a:lnTo>
                      <a:lnTo>
                        <a:pt x="240" y="110"/>
                      </a:lnTo>
                      <a:lnTo>
                        <a:pt x="240" y="109"/>
                      </a:lnTo>
                      <a:lnTo>
                        <a:pt x="241" y="109"/>
                      </a:lnTo>
                      <a:lnTo>
                        <a:pt x="240" y="109"/>
                      </a:lnTo>
                      <a:lnTo>
                        <a:pt x="241" y="109"/>
                      </a:lnTo>
                      <a:lnTo>
                        <a:pt x="240" y="109"/>
                      </a:lnTo>
                      <a:lnTo>
                        <a:pt x="240" y="110"/>
                      </a:lnTo>
                      <a:lnTo>
                        <a:pt x="240" y="110"/>
                      </a:lnTo>
                      <a:lnTo>
                        <a:pt x="239" y="110"/>
                      </a:lnTo>
                      <a:lnTo>
                        <a:pt x="238" y="110"/>
                      </a:lnTo>
                      <a:lnTo>
                        <a:pt x="238" y="110"/>
                      </a:lnTo>
                      <a:lnTo>
                        <a:pt x="238" y="109"/>
                      </a:lnTo>
                      <a:lnTo>
                        <a:pt x="237" y="109"/>
                      </a:lnTo>
                      <a:lnTo>
                        <a:pt x="237" y="109"/>
                      </a:lnTo>
                      <a:lnTo>
                        <a:pt x="237" y="109"/>
                      </a:lnTo>
                      <a:lnTo>
                        <a:pt x="237" y="109"/>
                      </a:lnTo>
                      <a:lnTo>
                        <a:pt x="237" y="109"/>
                      </a:lnTo>
                      <a:lnTo>
                        <a:pt x="236" y="109"/>
                      </a:lnTo>
                      <a:lnTo>
                        <a:pt x="236" y="108"/>
                      </a:lnTo>
                      <a:lnTo>
                        <a:pt x="237" y="108"/>
                      </a:lnTo>
                      <a:lnTo>
                        <a:pt x="237" y="108"/>
                      </a:lnTo>
                      <a:lnTo>
                        <a:pt x="238" y="108"/>
                      </a:lnTo>
                      <a:lnTo>
                        <a:pt x="237" y="108"/>
                      </a:lnTo>
                      <a:lnTo>
                        <a:pt x="237" y="108"/>
                      </a:lnTo>
                      <a:lnTo>
                        <a:pt x="237" y="108"/>
                      </a:lnTo>
                      <a:lnTo>
                        <a:pt x="237" y="108"/>
                      </a:lnTo>
                      <a:lnTo>
                        <a:pt x="236" y="108"/>
                      </a:lnTo>
                      <a:lnTo>
                        <a:pt x="236" y="108"/>
                      </a:lnTo>
                      <a:lnTo>
                        <a:pt x="236" y="108"/>
                      </a:lnTo>
                      <a:lnTo>
                        <a:pt x="235" y="108"/>
                      </a:lnTo>
                      <a:lnTo>
                        <a:pt x="234" y="108"/>
                      </a:lnTo>
                      <a:lnTo>
                        <a:pt x="234" y="107"/>
                      </a:lnTo>
                      <a:lnTo>
                        <a:pt x="235" y="107"/>
                      </a:lnTo>
                      <a:lnTo>
                        <a:pt x="234" y="107"/>
                      </a:lnTo>
                      <a:lnTo>
                        <a:pt x="234" y="107"/>
                      </a:lnTo>
                      <a:lnTo>
                        <a:pt x="233" y="107"/>
                      </a:lnTo>
                      <a:lnTo>
                        <a:pt x="233" y="107"/>
                      </a:lnTo>
                      <a:lnTo>
                        <a:pt x="232" y="107"/>
                      </a:lnTo>
                      <a:lnTo>
                        <a:pt x="232" y="107"/>
                      </a:lnTo>
                      <a:lnTo>
                        <a:pt x="231" y="107"/>
                      </a:lnTo>
                      <a:lnTo>
                        <a:pt x="230" y="107"/>
                      </a:lnTo>
                      <a:lnTo>
                        <a:pt x="231" y="107"/>
                      </a:lnTo>
                      <a:lnTo>
                        <a:pt x="230" y="107"/>
                      </a:lnTo>
                      <a:lnTo>
                        <a:pt x="230" y="107"/>
                      </a:lnTo>
                      <a:lnTo>
                        <a:pt x="230" y="107"/>
                      </a:lnTo>
                      <a:lnTo>
                        <a:pt x="230" y="107"/>
                      </a:lnTo>
                      <a:lnTo>
                        <a:pt x="229" y="107"/>
                      </a:lnTo>
                      <a:lnTo>
                        <a:pt x="230" y="107"/>
                      </a:lnTo>
                      <a:lnTo>
                        <a:pt x="229" y="107"/>
                      </a:lnTo>
                      <a:lnTo>
                        <a:pt x="230" y="107"/>
                      </a:lnTo>
                      <a:lnTo>
                        <a:pt x="230" y="107"/>
                      </a:lnTo>
                      <a:lnTo>
                        <a:pt x="230" y="106"/>
                      </a:lnTo>
                      <a:lnTo>
                        <a:pt x="230" y="105"/>
                      </a:lnTo>
                      <a:lnTo>
                        <a:pt x="231" y="105"/>
                      </a:lnTo>
                      <a:lnTo>
                        <a:pt x="232" y="105"/>
                      </a:lnTo>
                      <a:lnTo>
                        <a:pt x="232" y="105"/>
                      </a:lnTo>
                      <a:lnTo>
                        <a:pt x="232" y="105"/>
                      </a:lnTo>
                      <a:lnTo>
                        <a:pt x="232" y="105"/>
                      </a:lnTo>
                      <a:lnTo>
                        <a:pt x="232" y="105"/>
                      </a:lnTo>
                      <a:lnTo>
                        <a:pt x="233" y="105"/>
                      </a:lnTo>
                      <a:lnTo>
                        <a:pt x="232" y="105"/>
                      </a:lnTo>
                      <a:lnTo>
                        <a:pt x="232" y="104"/>
                      </a:lnTo>
                      <a:lnTo>
                        <a:pt x="232" y="104"/>
                      </a:lnTo>
                      <a:lnTo>
                        <a:pt x="232" y="104"/>
                      </a:lnTo>
                      <a:lnTo>
                        <a:pt x="231" y="104"/>
                      </a:lnTo>
                      <a:lnTo>
                        <a:pt x="230" y="104"/>
                      </a:lnTo>
                      <a:lnTo>
                        <a:pt x="231" y="104"/>
                      </a:lnTo>
                      <a:lnTo>
                        <a:pt x="232" y="104"/>
                      </a:lnTo>
                      <a:lnTo>
                        <a:pt x="232" y="104"/>
                      </a:lnTo>
                      <a:lnTo>
                        <a:pt x="233" y="104"/>
                      </a:lnTo>
                      <a:lnTo>
                        <a:pt x="233" y="104"/>
                      </a:lnTo>
                      <a:lnTo>
                        <a:pt x="233" y="104"/>
                      </a:lnTo>
                      <a:lnTo>
                        <a:pt x="234" y="104"/>
                      </a:lnTo>
                      <a:lnTo>
                        <a:pt x="234" y="105"/>
                      </a:lnTo>
                      <a:lnTo>
                        <a:pt x="234" y="105"/>
                      </a:lnTo>
                      <a:lnTo>
                        <a:pt x="235" y="105"/>
                      </a:lnTo>
                      <a:lnTo>
                        <a:pt x="234" y="105"/>
                      </a:lnTo>
                      <a:lnTo>
                        <a:pt x="235" y="105"/>
                      </a:lnTo>
                      <a:lnTo>
                        <a:pt x="234" y="105"/>
                      </a:lnTo>
                      <a:lnTo>
                        <a:pt x="234" y="105"/>
                      </a:lnTo>
                      <a:lnTo>
                        <a:pt x="234" y="105"/>
                      </a:lnTo>
                      <a:lnTo>
                        <a:pt x="233" y="105"/>
                      </a:lnTo>
                      <a:lnTo>
                        <a:pt x="233" y="105"/>
                      </a:lnTo>
                      <a:lnTo>
                        <a:pt x="234" y="105"/>
                      </a:lnTo>
                      <a:lnTo>
                        <a:pt x="234" y="105"/>
                      </a:lnTo>
                      <a:lnTo>
                        <a:pt x="234" y="105"/>
                      </a:lnTo>
                      <a:lnTo>
                        <a:pt x="234" y="106"/>
                      </a:lnTo>
                      <a:lnTo>
                        <a:pt x="235" y="105"/>
                      </a:lnTo>
                      <a:lnTo>
                        <a:pt x="236" y="105"/>
                      </a:lnTo>
                      <a:lnTo>
                        <a:pt x="236" y="105"/>
                      </a:lnTo>
                      <a:lnTo>
                        <a:pt x="236" y="106"/>
                      </a:lnTo>
                      <a:lnTo>
                        <a:pt x="236" y="106"/>
                      </a:lnTo>
                      <a:lnTo>
                        <a:pt x="236" y="106"/>
                      </a:lnTo>
                      <a:lnTo>
                        <a:pt x="237" y="106"/>
                      </a:lnTo>
                      <a:lnTo>
                        <a:pt x="237" y="105"/>
                      </a:lnTo>
                      <a:lnTo>
                        <a:pt x="237" y="106"/>
                      </a:lnTo>
                      <a:lnTo>
                        <a:pt x="237" y="107"/>
                      </a:lnTo>
                      <a:lnTo>
                        <a:pt x="236" y="107"/>
                      </a:lnTo>
                      <a:lnTo>
                        <a:pt x="237" y="107"/>
                      </a:lnTo>
                      <a:lnTo>
                        <a:pt x="237" y="107"/>
                      </a:lnTo>
                      <a:lnTo>
                        <a:pt x="237" y="107"/>
                      </a:lnTo>
                      <a:lnTo>
                        <a:pt x="237" y="107"/>
                      </a:lnTo>
                      <a:lnTo>
                        <a:pt x="237" y="107"/>
                      </a:lnTo>
                      <a:lnTo>
                        <a:pt x="237" y="107"/>
                      </a:lnTo>
                      <a:lnTo>
                        <a:pt x="238" y="107"/>
                      </a:lnTo>
                      <a:lnTo>
                        <a:pt x="238" y="107"/>
                      </a:lnTo>
                      <a:lnTo>
                        <a:pt x="239" y="107"/>
                      </a:lnTo>
                      <a:lnTo>
                        <a:pt x="239" y="108"/>
                      </a:lnTo>
                      <a:lnTo>
                        <a:pt x="239" y="107"/>
                      </a:lnTo>
                      <a:lnTo>
                        <a:pt x="238" y="107"/>
                      </a:lnTo>
                      <a:lnTo>
                        <a:pt x="238" y="107"/>
                      </a:lnTo>
                      <a:lnTo>
                        <a:pt x="239" y="107"/>
                      </a:lnTo>
                      <a:lnTo>
                        <a:pt x="240" y="107"/>
                      </a:lnTo>
                      <a:lnTo>
                        <a:pt x="239" y="107"/>
                      </a:lnTo>
                      <a:lnTo>
                        <a:pt x="239" y="106"/>
                      </a:lnTo>
                      <a:lnTo>
                        <a:pt x="238" y="106"/>
                      </a:lnTo>
                      <a:lnTo>
                        <a:pt x="239" y="106"/>
                      </a:lnTo>
                      <a:lnTo>
                        <a:pt x="238" y="106"/>
                      </a:lnTo>
                      <a:lnTo>
                        <a:pt x="238" y="107"/>
                      </a:lnTo>
                      <a:lnTo>
                        <a:pt x="238" y="106"/>
                      </a:lnTo>
                      <a:lnTo>
                        <a:pt x="237" y="106"/>
                      </a:lnTo>
                      <a:lnTo>
                        <a:pt x="238" y="106"/>
                      </a:lnTo>
                      <a:lnTo>
                        <a:pt x="238" y="105"/>
                      </a:lnTo>
                      <a:lnTo>
                        <a:pt x="238" y="105"/>
                      </a:lnTo>
                      <a:lnTo>
                        <a:pt x="238" y="105"/>
                      </a:lnTo>
                      <a:lnTo>
                        <a:pt x="238" y="105"/>
                      </a:lnTo>
                      <a:lnTo>
                        <a:pt x="238" y="105"/>
                      </a:lnTo>
                      <a:lnTo>
                        <a:pt x="238" y="105"/>
                      </a:lnTo>
                      <a:lnTo>
                        <a:pt x="238" y="105"/>
                      </a:lnTo>
                      <a:lnTo>
                        <a:pt x="238" y="105"/>
                      </a:lnTo>
                      <a:lnTo>
                        <a:pt x="239" y="105"/>
                      </a:lnTo>
                      <a:lnTo>
                        <a:pt x="240" y="105"/>
                      </a:lnTo>
                      <a:lnTo>
                        <a:pt x="240" y="105"/>
                      </a:lnTo>
                      <a:lnTo>
                        <a:pt x="240" y="105"/>
                      </a:lnTo>
                      <a:lnTo>
                        <a:pt x="240" y="105"/>
                      </a:lnTo>
                      <a:lnTo>
                        <a:pt x="240" y="105"/>
                      </a:lnTo>
                      <a:lnTo>
                        <a:pt x="240" y="105"/>
                      </a:lnTo>
                      <a:lnTo>
                        <a:pt x="240" y="104"/>
                      </a:lnTo>
                      <a:lnTo>
                        <a:pt x="240" y="104"/>
                      </a:lnTo>
                      <a:lnTo>
                        <a:pt x="240" y="104"/>
                      </a:lnTo>
                      <a:lnTo>
                        <a:pt x="240" y="104"/>
                      </a:lnTo>
                      <a:lnTo>
                        <a:pt x="240" y="104"/>
                      </a:lnTo>
                      <a:lnTo>
                        <a:pt x="241" y="104"/>
                      </a:lnTo>
                      <a:lnTo>
                        <a:pt x="241" y="103"/>
                      </a:lnTo>
                      <a:lnTo>
                        <a:pt x="241" y="103"/>
                      </a:lnTo>
                      <a:lnTo>
                        <a:pt x="242" y="103"/>
                      </a:lnTo>
                      <a:lnTo>
                        <a:pt x="241" y="103"/>
                      </a:lnTo>
                      <a:lnTo>
                        <a:pt x="242" y="103"/>
                      </a:lnTo>
                      <a:lnTo>
                        <a:pt x="243" y="103"/>
                      </a:lnTo>
                      <a:lnTo>
                        <a:pt x="243" y="102"/>
                      </a:lnTo>
                      <a:lnTo>
                        <a:pt x="242" y="102"/>
                      </a:lnTo>
                      <a:lnTo>
                        <a:pt x="241" y="102"/>
                      </a:lnTo>
                      <a:lnTo>
                        <a:pt x="241" y="102"/>
                      </a:lnTo>
                      <a:lnTo>
                        <a:pt x="241" y="101"/>
                      </a:lnTo>
                      <a:lnTo>
                        <a:pt x="241" y="101"/>
                      </a:lnTo>
                      <a:lnTo>
                        <a:pt x="242" y="101"/>
                      </a:lnTo>
                      <a:lnTo>
                        <a:pt x="243" y="101"/>
                      </a:lnTo>
                      <a:lnTo>
                        <a:pt x="243" y="101"/>
                      </a:lnTo>
                      <a:lnTo>
                        <a:pt x="243" y="102"/>
                      </a:lnTo>
                      <a:lnTo>
                        <a:pt x="243" y="102"/>
                      </a:lnTo>
                      <a:lnTo>
                        <a:pt x="243" y="102"/>
                      </a:lnTo>
                      <a:lnTo>
                        <a:pt x="244" y="102"/>
                      </a:lnTo>
                      <a:lnTo>
                        <a:pt x="244" y="103"/>
                      </a:lnTo>
                      <a:lnTo>
                        <a:pt x="244" y="103"/>
                      </a:lnTo>
                      <a:lnTo>
                        <a:pt x="244" y="103"/>
                      </a:lnTo>
                      <a:lnTo>
                        <a:pt x="244" y="103"/>
                      </a:lnTo>
                      <a:lnTo>
                        <a:pt x="245" y="103"/>
                      </a:lnTo>
                      <a:lnTo>
                        <a:pt x="244" y="103"/>
                      </a:lnTo>
                      <a:lnTo>
                        <a:pt x="245" y="103"/>
                      </a:lnTo>
                      <a:lnTo>
                        <a:pt x="244" y="103"/>
                      </a:lnTo>
                      <a:lnTo>
                        <a:pt x="244" y="102"/>
                      </a:lnTo>
                      <a:lnTo>
                        <a:pt x="245" y="102"/>
                      </a:lnTo>
                      <a:lnTo>
                        <a:pt x="245" y="102"/>
                      </a:lnTo>
                      <a:lnTo>
                        <a:pt x="245" y="101"/>
                      </a:lnTo>
                      <a:lnTo>
                        <a:pt x="245" y="101"/>
                      </a:lnTo>
                      <a:lnTo>
                        <a:pt x="245" y="101"/>
                      </a:lnTo>
                      <a:lnTo>
                        <a:pt x="246" y="101"/>
                      </a:lnTo>
                      <a:lnTo>
                        <a:pt x="246" y="101"/>
                      </a:lnTo>
                      <a:lnTo>
                        <a:pt x="245" y="101"/>
                      </a:lnTo>
                      <a:lnTo>
                        <a:pt x="245" y="101"/>
                      </a:lnTo>
                      <a:lnTo>
                        <a:pt x="245" y="101"/>
                      </a:lnTo>
                      <a:lnTo>
                        <a:pt x="245" y="101"/>
                      </a:lnTo>
                      <a:lnTo>
                        <a:pt x="244" y="101"/>
                      </a:lnTo>
                      <a:lnTo>
                        <a:pt x="244" y="101"/>
                      </a:lnTo>
                      <a:lnTo>
                        <a:pt x="243" y="101"/>
                      </a:lnTo>
                      <a:lnTo>
                        <a:pt x="243" y="101"/>
                      </a:lnTo>
                      <a:lnTo>
                        <a:pt x="242" y="101"/>
                      </a:lnTo>
                      <a:lnTo>
                        <a:pt x="241" y="101"/>
                      </a:lnTo>
                      <a:lnTo>
                        <a:pt x="241" y="100"/>
                      </a:lnTo>
                      <a:lnTo>
                        <a:pt x="241" y="100"/>
                      </a:lnTo>
                      <a:lnTo>
                        <a:pt x="241" y="100"/>
                      </a:lnTo>
                      <a:lnTo>
                        <a:pt x="240" y="100"/>
                      </a:lnTo>
                      <a:lnTo>
                        <a:pt x="240" y="100"/>
                      </a:lnTo>
                      <a:lnTo>
                        <a:pt x="239" y="100"/>
                      </a:lnTo>
                      <a:lnTo>
                        <a:pt x="239" y="100"/>
                      </a:lnTo>
                      <a:lnTo>
                        <a:pt x="238" y="100"/>
                      </a:lnTo>
                      <a:lnTo>
                        <a:pt x="239" y="100"/>
                      </a:lnTo>
                      <a:lnTo>
                        <a:pt x="238" y="100"/>
                      </a:lnTo>
                      <a:lnTo>
                        <a:pt x="239" y="100"/>
                      </a:lnTo>
                      <a:lnTo>
                        <a:pt x="238" y="100"/>
                      </a:lnTo>
                      <a:lnTo>
                        <a:pt x="238" y="100"/>
                      </a:lnTo>
                      <a:lnTo>
                        <a:pt x="239" y="100"/>
                      </a:lnTo>
                      <a:lnTo>
                        <a:pt x="239" y="99"/>
                      </a:lnTo>
                      <a:lnTo>
                        <a:pt x="240" y="99"/>
                      </a:lnTo>
                      <a:lnTo>
                        <a:pt x="241" y="99"/>
                      </a:lnTo>
                      <a:lnTo>
                        <a:pt x="241" y="99"/>
                      </a:lnTo>
                      <a:lnTo>
                        <a:pt x="242" y="99"/>
                      </a:lnTo>
                      <a:lnTo>
                        <a:pt x="243" y="99"/>
                      </a:lnTo>
                      <a:lnTo>
                        <a:pt x="243" y="99"/>
                      </a:lnTo>
                      <a:lnTo>
                        <a:pt x="244" y="100"/>
                      </a:lnTo>
                      <a:lnTo>
                        <a:pt x="245" y="100"/>
                      </a:lnTo>
                      <a:lnTo>
                        <a:pt x="247" y="100"/>
                      </a:lnTo>
                      <a:lnTo>
                        <a:pt x="247" y="100"/>
                      </a:lnTo>
                      <a:lnTo>
                        <a:pt x="247" y="100"/>
                      </a:lnTo>
                      <a:lnTo>
                        <a:pt x="248" y="100"/>
                      </a:lnTo>
                      <a:lnTo>
                        <a:pt x="248" y="100"/>
                      </a:lnTo>
                      <a:lnTo>
                        <a:pt x="248" y="100"/>
                      </a:lnTo>
                      <a:lnTo>
                        <a:pt x="248" y="100"/>
                      </a:lnTo>
                      <a:lnTo>
                        <a:pt x="247" y="100"/>
                      </a:lnTo>
                      <a:lnTo>
                        <a:pt x="248" y="100"/>
                      </a:lnTo>
                      <a:lnTo>
                        <a:pt x="248" y="100"/>
                      </a:lnTo>
                      <a:lnTo>
                        <a:pt x="249" y="99"/>
                      </a:lnTo>
                      <a:lnTo>
                        <a:pt x="249" y="100"/>
                      </a:lnTo>
                      <a:lnTo>
                        <a:pt x="249" y="100"/>
                      </a:lnTo>
                      <a:lnTo>
                        <a:pt x="249" y="100"/>
                      </a:lnTo>
                      <a:lnTo>
                        <a:pt x="249" y="101"/>
                      </a:lnTo>
                      <a:lnTo>
                        <a:pt x="249" y="101"/>
                      </a:lnTo>
                      <a:lnTo>
                        <a:pt x="249" y="101"/>
                      </a:lnTo>
                      <a:lnTo>
                        <a:pt x="249" y="101"/>
                      </a:lnTo>
                      <a:lnTo>
                        <a:pt x="249" y="101"/>
                      </a:lnTo>
                      <a:lnTo>
                        <a:pt x="249" y="100"/>
                      </a:lnTo>
                      <a:lnTo>
                        <a:pt x="249" y="100"/>
                      </a:lnTo>
                      <a:lnTo>
                        <a:pt x="249" y="100"/>
                      </a:lnTo>
                      <a:lnTo>
                        <a:pt x="249" y="100"/>
                      </a:lnTo>
                      <a:lnTo>
                        <a:pt x="249" y="100"/>
                      </a:lnTo>
                      <a:lnTo>
                        <a:pt x="249" y="100"/>
                      </a:lnTo>
                      <a:lnTo>
                        <a:pt x="249" y="99"/>
                      </a:lnTo>
                      <a:lnTo>
                        <a:pt x="250" y="99"/>
                      </a:lnTo>
                      <a:lnTo>
                        <a:pt x="250" y="98"/>
                      </a:lnTo>
                      <a:lnTo>
                        <a:pt x="249" y="98"/>
                      </a:lnTo>
                      <a:lnTo>
                        <a:pt x="250" y="98"/>
                      </a:lnTo>
                      <a:lnTo>
                        <a:pt x="250" y="98"/>
                      </a:lnTo>
                      <a:lnTo>
                        <a:pt x="250" y="98"/>
                      </a:lnTo>
                      <a:lnTo>
                        <a:pt x="251" y="98"/>
                      </a:lnTo>
                      <a:lnTo>
                        <a:pt x="251" y="97"/>
                      </a:lnTo>
                      <a:lnTo>
                        <a:pt x="251" y="97"/>
                      </a:lnTo>
                      <a:lnTo>
                        <a:pt x="252" y="97"/>
                      </a:lnTo>
                      <a:lnTo>
                        <a:pt x="252" y="97"/>
                      </a:lnTo>
                      <a:lnTo>
                        <a:pt x="252" y="97"/>
                      </a:lnTo>
                      <a:lnTo>
                        <a:pt x="252" y="97"/>
                      </a:lnTo>
                      <a:lnTo>
                        <a:pt x="252" y="97"/>
                      </a:lnTo>
                      <a:lnTo>
                        <a:pt x="253" y="98"/>
                      </a:lnTo>
                      <a:lnTo>
                        <a:pt x="253" y="97"/>
                      </a:lnTo>
                      <a:lnTo>
                        <a:pt x="253" y="98"/>
                      </a:lnTo>
                      <a:lnTo>
                        <a:pt x="253" y="98"/>
                      </a:lnTo>
                      <a:lnTo>
                        <a:pt x="253" y="98"/>
                      </a:lnTo>
                      <a:lnTo>
                        <a:pt x="253" y="97"/>
                      </a:lnTo>
                      <a:lnTo>
                        <a:pt x="252" y="97"/>
                      </a:lnTo>
                      <a:lnTo>
                        <a:pt x="253" y="97"/>
                      </a:lnTo>
                      <a:lnTo>
                        <a:pt x="252" y="97"/>
                      </a:lnTo>
                      <a:lnTo>
                        <a:pt x="253" y="97"/>
                      </a:lnTo>
                      <a:lnTo>
                        <a:pt x="252" y="97"/>
                      </a:lnTo>
                      <a:lnTo>
                        <a:pt x="252" y="97"/>
                      </a:lnTo>
                      <a:lnTo>
                        <a:pt x="252" y="97"/>
                      </a:lnTo>
                      <a:lnTo>
                        <a:pt x="252" y="97"/>
                      </a:lnTo>
                      <a:lnTo>
                        <a:pt x="252" y="96"/>
                      </a:lnTo>
                      <a:lnTo>
                        <a:pt x="253" y="96"/>
                      </a:lnTo>
                      <a:lnTo>
                        <a:pt x="253" y="96"/>
                      </a:lnTo>
                      <a:lnTo>
                        <a:pt x="253" y="96"/>
                      </a:lnTo>
                      <a:lnTo>
                        <a:pt x="253" y="96"/>
                      </a:lnTo>
                      <a:lnTo>
                        <a:pt x="254" y="96"/>
                      </a:lnTo>
                      <a:lnTo>
                        <a:pt x="255" y="96"/>
                      </a:lnTo>
                      <a:lnTo>
                        <a:pt x="254" y="96"/>
                      </a:lnTo>
                      <a:lnTo>
                        <a:pt x="255" y="96"/>
                      </a:lnTo>
                      <a:lnTo>
                        <a:pt x="254" y="96"/>
                      </a:lnTo>
                      <a:lnTo>
                        <a:pt x="253" y="96"/>
                      </a:lnTo>
                      <a:lnTo>
                        <a:pt x="253" y="96"/>
                      </a:lnTo>
                      <a:lnTo>
                        <a:pt x="254" y="96"/>
                      </a:lnTo>
                      <a:lnTo>
                        <a:pt x="255" y="96"/>
                      </a:lnTo>
                      <a:lnTo>
                        <a:pt x="255" y="96"/>
                      </a:lnTo>
                      <a:lnTo>
                        <a:pt x="255" y="95"/>
                      </a:lnTo>
                      <a:lnTo>
                        <a:pt x="255" y="96"/>
                      </a:lnTo>
                      <a:lnTo>
                        <a:pt x="255" y="96"/>
                      </a:lnTo>
                      <a:lnTo>
                        <a:pt x="255" y="95"/>
                      </a:lnTo>
                      <a:lnTo>
                        <a:pt x="255" y="95"/>
                      </a:lnTo>
                      <a:lnTo>
                        <a:pt x="255" y="95"/>
                      </a:lnTo>
                      <a:lnTo>
                        <a:pt x="255" y="95"/>
                      </a:lnTo>
                      <a:lnTo>
                        <a:pt x="256" y="95"/>
                      </a:lnTo>
                      <a:lnTo>
                        <a:pt x="256" y="95"/>
                      </a:lnTo>
                      <a:lnTo>
                        <a:pt x="256" y="96"/>
                      </a:lnTo>
                      <a:lnTo>
                        <a:pt x="256" y="96"/>
                      </a:lnTo>
                      <a:lnTo>
                        <a:pt x="257" y="96"/>
                      </a:lnTo>
                      <a:lnTo>
                        <a:pt x="258" y="96"/>
                      </a:lnTo>
                      <a:lnTo>
                        <a:pt x="258" y="96"/>
                      </a:lnTo>
                      <a:lnTo>
                        <a:pt x="259" y="97"/>
                      </a:lnTo>
                      <a:lnTo>
                        <a:pt x="258" y="96"/>
                      </a:lnTo>
                      <a:lnTo>
                        <a:pt x="258" y="96"/>
                      </a:lnTo>
                      <a:lnTo>
                        <a:pt x="257" y="96"/>
                      </a:lnTo>
                      <a:lnTo>
                        <a:pt x="256" y="96"/>
                      </a:lnTo>
                      <a:lnTo>
                        <a:pt x="256" y="96"/>
                      </a:lnTo>
                      <a:lnTo>
                        <a:pt x="256" y="96"/>
                      </a:lnTo>
                      <a:lnTo>
                        <a:pt x="256" y="95"/>
                      </a:lnTo>
                      <a:lnTo>
                        <a:pt x="256" y="95"/>
                      </a:lnTo>
                      <a:lnTo>
                        <a:pt x="255" y="95"/>
                      </a:lnTo>
                      <a:lnTo>
                        <a:pt x="255" y="95"/>
                      </a:lnTo>
                      <a:lnTo>
                        <a:pt x="254" y="95"/>
                      </a:lnTo>
                      <a:lnTo>
                        <a:pt x="254" y="96"/>
                      </a:lnTo>
                      <a:lnTo>
                        <a:pt x="254" y="95"/>
                      </a:lnTo>
                      <a:lnTo>
                        <a:pt x="253" y="96"/>
                      </a:lnTo>
                      <a:lnTo>
                        <a:pt x="253" y="95"/>
                      </a:lnTo>
                      <a:lnTo>
                        <a:pt x="253" y="96"/>
                      </a:lnTo>
                      <a:lnTo>
                        <a:pt x="253" y="96"/>
                      </a:lnTo>
                      <a:lnTo>
                        <a:pt x="253" y="95"/>
                      </a:lnTo>
                      <a:lnTo>
                        <a:pt x="254" y="95"/>
                      </a:lnTo>
                      <a:lnTo>
                        <a:pt x="255" y="95"/>
                      </a:lnTo>
                      <a:lnTo>
                        <a:pt x="255" y="95"/>
                      </a:lnTo>
                      <a:lnTo>
                        <a:pt x="255" y="94"/>
                      </a:lnTo>
                      <a:lnTo>
                        <a:pt x="256" y="95"/>
                      </a:lnTo>
                      <a:lnTo>
                        <a:pt x="256" y="94"/>
                      </a:lnTo>
                      <a:lnTo>
                        <a:pt x="256" y="94"/>
                      </a:lnTo>
                      <a:lnTo>
                        <a:pt x="257" y="94"/>
                      </a:lnTo>
                      <a:lnTo>
                        <a:pt x="257" y="94"/>
                      </a:lnTo>
                      <a:lnTo>
                        <a:pt x="258" y="94"/>
                      </a:lnTo>
                      <a:lnTo>
                        <a:pt x="258" y="94"/>
                      </a:lnTo>
                      <a:lnTo>
                        <a:pt x="258" y="94"/>
                      </a:lnTo>
                      <a:lnTo>
                        <a:pt x="259" y="94"/>
                      </a:lnTo>
                      <a:lnTo>
                        <a:pt x="259" y="94"/>
                      </a:lnTo>
                      <a:lnTo>
                        <a:pt x="259" y="94"/>
                      </a:lnTo>
                      <a:lnTo>
                        <a:pt x="259" y="95"/>
                      </a:lnTo>
                      <a:lnTo>
                        <a:pt x="260" y="94"/>
                      </a:lnTo>
                      <a:lnTo>
                        <a:pt x="260" y="95"/>
                      </a:lnTo>
                      <a:lnTo>
                        <a:pt x="260" y="94"/>
                      </a:lnTo>
                      <a:lnTo>
                        <a:pt x="260" y="94"/>
                      </a:lnTo>
                      <a:lnTo>
                        <a:pt x="260" y="94"/>
                      </a:lnTo>
                      <a:lnTo>
                        <a:pt x="260" y="94"/>
                      </a:lnTo>
                      <a:lnTo>
                        <a:pt x="261" y="94"/>
                      </a:lnTo>
                      <a:lnTo>
                        <a:pt x="260" y="94"/>
                      </a:lnTo>
                      <a:lnTo>
                        <a:pt x="261" y="94"/>
                      </a:lnTo>
                      <a:lnTo>
                        <a:pt x="260" y="94"/>
                      </a:lnTo>
                      <a:lnTo>
                        <a:pt x="261" y="94"/>
                      </a:lnTo>
                      <a:lnTo>
                        <a:pt x="262" y="94"/>
                      </a:lnTo>
                      <a:lnTo>
                        <a:pt x="261" y="94"/>
                      </a:lnTo>
                      <a:lnTo>
                        <a:pt x="261" y="94"/>
                      </a:lnTo>
                      <a:lnTo>
                        <a:pt x="262" y="94"/>
                      </a:lnTo>
                      <a:lnTo>
                        <a:pt x="262" y="94"/>
                      </a:lnTo>
                      <a:lnTo>
                        <a:pt x="263" y="94"/>
                      </a:lnTo>
                      <a:lnTo>
                        <a:pt x="262" y="94"/>
                      </a:lnTo>
                      <a:lnTo>
                        <a:pt x="263" y="93"/>
                      </a:lnTo>
                      <a:lnTo>
                        <a:pt x="263" y="94"/>
                      </a:lnTo>
                      <a:lnTo>
                        <a:pt x="263" y="93"/>
                      </a:lnTo>
                      <a:lnTo>
                        <a:pt x="264" y="93"/>
                      </a:lnTo>
                      <a:lnTo>
                        <a:pt x="264" y="94"/>
                      </a:lnTo>
                      <a:lnTo>
                        <a:pt x="264" y="93"/>
                      </a:lnTo>
                      <a:lnTo>
                        <a:pt x="264" y="94"/>
                      </a:lnTo>
                      <a:lnTo>
                        <a:pt x="265" y="94"/>
                      </a:lnTo>
                      <a:lnTo>
                        <a:pt x="266" y="94"/>
                      </a:lnTo>
                      <a:lnTo>
                        <a:pt x="265" y="94"/>
                      </a:lnTo>
                      <a:lnTo>
                        <a:pt x="264" y="94"/>
                      </a:lnTo>
                      <a:lnTo>
                        <a:pt x="264" y="93"/>
                      </a:lnTo>
                      <a:lnTo>
                        <a:pt x="264" y="93"/>
                      </a:lnTo>
                      <a:lnTo>
                        <a:pt x="263" y="93"/>
                      </a:lnTo>
                      <a:lnTo>
                        <a:pt x="263" y="93"/>
                      </a:lnTo>
                      <a:lnTo>
                        <a:pt x="264" y="93"/>
                      </a:lnTo>
                      <a:lnTo>
                        <a:pt x="264" y="93"/>
                      </a:lnTo>
                      <a:lnTo>
                        <a:pt x="264" y="92"/>
                      </a:lnTo>
                      <a:lnTo>
                        <a:pt x="265" y="92"/>
                      </a:lnTo>
                      <a:lnTo>
                        <a:pt x="266" y="92"/>
                      </a:lnTo>
                      <a:lnTo>
                        <a:pt x="265" y="92"/>
                      </a:lnTo>
                      <a:lnTo>
                        <a:pt x="266" y="92"/>
                      </a:lnTo>
                      <a:lnTo>
                        <a:pt x="266" y="92"/>
                      </a:lnTo>
                      <a:lnTo>
                        <a:pt x="267" y="92"/>
                      </a:lnTo>
                      <a:lnTo>
                        <a:pt x="267" y="92"/>
                      </a:lnTo>
                      <a:lnTo>
                        <a:pt x="268" y="92"/>
                      </a:lnTo>
                      <a:lnTo>
                        <a:pt x="269" y="92"/>
                      </a:lnTo>
                      <a:lnTo>
                        <a:pt x="269" y="92"/>
                      </a:lnTo>
                      <a:lnTo>
                        <a:pt x="269" y="92"/>
                      </a:lnTo>
                      <a:lnTo>
                        <a:pt x="270" y="92"/>
                      </a:lnTo>
                      <a:lnTo>
                        <a:pt x="270" y="92"/>
                      </a:lnTo>
                      <a:lnTo>
                        <a:pt x="271" y="92"/>
                      </a:lnTo>
                      <a:lnTo>
                        <a:pt x="271" y="91"/>
                      </a:lnTo>
                      <a:lnTo>
                        <a:pt x="271" y="91"/>
                      </a:lnTo>
                      <a:lnTo>
                        <a:pt x="271" y="91"/>
                      </a:lnTo>
                      <a:lnTo>
                        <a:pt x="271" y="92"/>
                      </a:lnTo>
                      <a:lnTo>
                        <a:pt x="271" y="92"/>
                      </a:lnTo>
                      <a:lnTo>
                        <a:pt x="271" y="92"/>
                      </a:lnTo>
                      <a:lnTo>
                        <a:pt x="271" y="92"/>
                      </a:lnTo>
                      <a:lnTo>
                        <a:pt x="271" y="93"/>
                      </a:lnTo>
                      <a:lnTo>
                        <a:pt x="271" y="92"/>
                      </a:lnTo>
                      <a:lnTo>
                        <a:pt x="272" y="92"/>
                      </a:lnTo>
                      <a:lnTo>
                        <a:pt x="272" y="92"/>
                      </a:lnTo>
                      <a:lnTo>
                        <a:pt x="273" y="92"/>
                      </a:lnTo>
                      <a:lnTo>
                        <a:pt x="273" y="91"/>
                      </a:lnTo>
                      <a:lnTo>
                        <a:pt x="273" y="91"/>
                      </a:lnTo>
                      <a:lnTo>
                        <a:pt x="274" y="91"/>
                      </a:lnTo>
                      <a:lnTo>
                        <a:pt x="273" y="91"/>
                      </a:lnTo>
                      <a:lnTo>
                        <a:pt x="274" y="92"/>
                      </a:lnTo>
                      <a:lnTo>
                        <a:pt x="273" y="92"/>
                      </a:lnTo>
                      <a:lnTo>
                        <a:pt x="274" y="92"/>
                      </a:lnTo>
                      <a:lnTo>
                        <a:pt x="274" y="92"/>
                      </a:lnTo>
                      <a:lnTo>
                        <a:pt x="275" y="92"/>
                      </a:lnTo>
                      <a:lnTo>
                        <a:pt x="275" y="92"/>
                      </a:lnTo>
                      <a:lnTo>
                        <a:pt x="275" y="91"/>
                      </a:lnTo>
                      <a:lnTo>
                        <a:pt x="276" y="92"/>
                      </a:lnTo>
                      <a:lnTo>
                        <a:pt x="275" y="92"/>
                      </a:lnTo>
                      <a:lnTo>
                        <a:pt x="276" y="92"/>
                      </a:lnTo>
                      <a:lnTo>
                        <a:pt x="277" y="92"/>
                      </a:lnTo>
                      <a:lnTo>
                        <a:pt x="277" y="92"/>
                      </a:lnTo>
                      <a:lnTo>
                        <a:pt x="277" y="91"/>
                      </a:lnTo>
                      <a:lnTo>
                        <a:pt x="277" y="91"/>
                      </a:lnTo>
                      <a:lnTo>
                        <a:pt x="277" y="90"/>
                      </a:lnTo>
                      <a:lnTo>
                        <a:pt x="277" y="90"/>
                      </a:lnTo>
                      <a:lnTo>
                        <a:pt x="277" y="90"/>
                      </a:lnTo>
                      <a:lnTo>
                        <a:pt x="278" y="90"/>
                      </a:lnTo>
                      <a:lnTo>
                        <a:pt x="278" y="90"/>
                      </a:lnTo>
                      <a:lnTo>
                        <a:pt x="278" y="90"/>
                      </a:lnTo>
                      <a:lnTo>
                        <a:pt x="278" y="90"/>
                      </a:lnTo>
                      <a:lnTo>
                        <a:pt x="278" y="90"/>
                      </a:lnTo>
                      <a:lnTo>
                        <a:pt x="279" y="90"/>
                      </a:lnTo>
                      <a:lnTo>
                        <a:pt x="279" y="90"/>
                      </a:lnTo>
                      <a:lnTo>
                        <a:pt x="279" y="90"/>
                      </a:lnTo>
                      <a:lnTo>
                        <a:pt x="280" y="90"/>
                      </a:lnTo>
                      <a:lnTo>
                        <a:pt x="281" y="90"/>
                      </a:lnTo>
                      <a:lnTo>
                        <a:pt x="281" y="90"/>
                      </a:lnTo>
                      <a:lnTo>
                        <a:pt x="281" y="90"/>
                      </a:lnTo>
                      <a:lnTo>
                        <a:pt x="282" y="90"/>
                      </a:lnTo>
                      <a:lnTo>
                        <a:pt x="282" y="90"/>
                      </a:lnTo>
                      <a:lnTo>
                        <a:pt x="283" y="90"/>
                      </a:lnTo>
                      <a:lnTo>
                        <a:pt x="284" y="90"/>
                      </a:lnTo>
                      <a:lnTo>
                        <a:pt x="284" y="90"/>
                      </a:lnTo>
                      <a:lnTo>
                        <a:pt x="284" y="90"/>
                      </a:lnTo>
                      <a:lnTo>
                        <a:pt x="284" y="89"/>
                      </a:lnTo>
                      <a:lnTo>
                        <a:pt x="284" y="89"/>
                      </a:lnTo>
                      <a:lnTo>
                        <a:pt x="285" y="89"/>
                      </a:lnTo>
                      <a:lnTo>
                        <a:pt x="285" y="89"/>
                      </a:lnTo>
                      <a:lnTo>
                        <a:pt x="286" y="89"/>
                      </a:lnTo>
                      <a:lnTo>
                        <a:pt x="286" y="89"/>
                      </a:lnTo>
                      <a:lnTo>
                        <a:pt x="287" y="89"/>
                      </a:lnTo>
                      <a:lnTo>
                        <a:pt x="288" y="89"/>
                      </a:lnTo>
                      <a:lnTo>
                        <a:pt x="288" y="89"/>
                      </a:lnTo>
                      <a:lnTo>
                        <a:pt x="289" y="89"/>
                      </a:lnTo>
                      <a:lnTo>
                        <a:pt x="289" y="89"/>
                      </a:lnTo>
                      <a:lnTo>
                        <a:pt x="290" y="89"/>
                      </a:lnTo>
                      <a:lnTo>
                        <a:pt x="290" y="89"/>
                      </a:lnTo>
                      <a:lnTo>
                        <a:pt x="291" y="89"/>
                      </a:lnTo>
                      <a:lnTo>
                        <a:pt x="292" y="89"/>
                      </a:lnTo>
                      <a:lnTo>
                        <a:pt x="292" y="88"/>
                      </a:lnTo>
                      <a:lnTo>
                        <a:pt x="292" y="88"/>
                      </a:lnTo>
                      <a:lnTo>
                        <a:pt x="293" y="88"/>
                      </a:lnTo>
                      <a:lnTo>
                        <a:pt x="293" y="88"/>
                      </a:lnTo>
                      <a:lnTo>
                        <a:pt x="294" y="88"/>
                      </a:lnTo>
                      <a:lnTo>
                        <a:pt x="294" y="87"/>
                      </a:lnTo>
                      <a:lnTo>
                        <a:pt x="295" y="87"/>
                      </a:lnTo>
                      <a:lnTo>
                        <a:pt x="295" y="88"/>
                      </a:lnTo>
                      <a:lnTo>
                        <a:pt x="295" y="87"/>
                      </a:lnTo>
                      <a:lnTo>
                        <a:pt x="295" y="87"/>
                      </a:lnTo>
                      <a:lnTo>
                        <a:pt x="296" y="87"/>
                      </a:lnTo>
                      <a:lnTo>
                        <a:pt x="296" y="87"/>
                      </a:lnTo>
                      <a:lnTo>
                        <a:pt x="296" y="87"/>
                      </a:lnTo>
                      <a:lnTo>
                        <a:pt x="297" y="87"/>
                      </a:lnTo>
                      <a:lnTo>
                        <a:pt x="297" y="87"/>
                      </a:lnTo>
                      <a:lnTo>
                        <a:pt x="297" y="87"/>
                      </a:lnTo>
                      <a:lnTo>
                        <a:pt x="297" y="87"/>
                      </a:lnTo>
                      <a:lnTo>
                        <a:pt x="297" y="86"/>
                      </a:lnTo>
                      <a:lnTo>
                        <a:pt x="297" y="86"/>
                      </a:lnTo>
                      <a:lnTo>
                        <a:pt x="297" y="86"/>
                      </a:lnTo>
                      <a:lnTo>
                        <a:pt x="297" y="86"/>
                      </a:lnTo>
                      <a:lnTo>
                        <a:pt x="297" y="87"/>
                      </a:lnTo>
                      <a:lnTo>
                        <a:pt x="296" y="87"/>
                      </a:lnTo>
                      <a:lnTo>
                        <a:pt x="296" y="87"/>
                      </a:lnTo>
                      <a:lnTo>
                        <a:pt x="295" y="87"/>
                      </a:lnTo>
                      <a:lnTo>
                        <a:pt x="295" y="87"/>
                      </a:lnTo>
                      <a:lnTo>
                        <a:pt x="295" y="87"/>
                      </a:lnTo>
                      <a:lnTo>
                        <a:pt x="294" y="87"/>
                      </a:lnTo>
                      <a:lnTo>
                        <a:pt x="293" y="87"/>
                      </a:lnTo>
                      <a:lnTo>
                        <a:pt x="293" y="87"/>
                      </a:lnTo>
                      <a:lnTo>
                        <a:pt x="293" y="87"/>
                      </a:lnTo>
                      <a:lnTo>
                        <a:pt x="292" y="87"/>
                      </a:lnTo>
                      <a:lnTo>
                        <a:pt x="292" y="87"/>
                      </a:lnTo>
                      <a:lnTo>
                        <a:pt x="292" y="87"/>
                      </a:lnTo>
                      <a:lnTo>
                        <a:pt x="292" y="87"/>
                      </a:lnTo>
                      <a:lnTo>
                        <a:pt x="292" y="88"/>
                      </a:lnTo>
                      <a:lnTo>
                        <a:pt x="292" y="88"/>
                      </a:lnTo>
                      <a:lnTo>
                        <a:pt x="292" y="87"/>
                      </a:lnTo>
                      <a:lnTo>
                        <a:pt x="291" y="87"/>
                      </a:lnTo>
                      <a:lnTo>
                        <a:pt x="290" y="87"/>
                      </a:lnTo>
                      <a:lnTo>
                        <a:pt x="290" y="87"/>
                      </a:lnTo>
                      <a:lnTo>
                        <a:pt x="290" y="86"/>
                      </a:lnTo>
                      <a:lnTo>
                        <a:pt x="290" y="86"/>
                      </a:lnTo>
                      <a:lnTo>
                        <a:pt x="290" y="86"/>
                      </a:lnTo>
                      <a:lnTo>
                        <a:pt x="290" y="86"/>
                      </a:lnTo>
                      <a:lnTo>
                        <a:pt x="290" y="86"/>
                      </a:lnTo>
                      <a:lnTo>
                        <a:pt x="290" y="86"/>
                      </a:lnTo>
                      <a:lnTo>
                        <a:pt x="290" y="86"/>
                      </a:lnTo>
                      <a:lnTo>
                        <a:pt x="289" y="86"/>
                      </a:lnTo>
                      <a:lnTo>
                        <a:pt x="289" y="86"/>
                      </a:lnTo>
                      <a:lnTo>
                        <a:pt x="289" y="87"/>
                      </a:lnTo>
                      <a:lnTo>
                        <a:pt x="288" y="87"/>
                      </a:lnTo>
                      <a:lnTo>
                        <a:pt x="288" y="87"/>
                      </a:lnTo>
                      <a:lnTo>
                        <a:pt x="287" y="87"/>
                      </a:lnTo>
                      <a:lnTo>
                        <a:pt x="288" y="87"/>
                      </a:lnTo>
                      <a:lnTo>
                        <a:pt x="288" y="87"/>
                      </a:lnTo>
                      <a:lnTo>
                        <a:pt x="289" y="87"/>
                      </a:lnTo>
                      <a:lnTo>
                        <a:pt x="289" y="87"/>
                      </a:lnTo>
                      <a:lnTo>
                        <a:pt x="288" y="87"/>
                      </a:lnTo>
                      <a:lnTo>
                        <a:pt x="288" y="87"/>
                      </a:lnTo>
                      <a:lnTo>
                        <a:pt x="287" y="87"/>
                      </a:lnTo>
                      <a:lnTo>
                        <a:pt x="286" y="87"/>
                      </a:lnTo>
                      <a:lnTo>
                        <a:pt x="287" y="87"/>
                      </a:lnTo>
                      <a:lnTo>
                        <a:pt x="287" y="87"/>
                      </a:lnTo>
                      <a:lnTo>
                        <a:pt x="287" y="86"/>
                      </a:lnTo>
                      <a:lnTo>
                        <a:pt x="286" y="86"/>
                      </a:lnTo>
                      <a:lnTo>
                        <a:pt x="287" y="86"/>
                      </a:lnTo>
                      <a:lnTo>
                        <a:pt x="288" y="86"/>
                      </a:lnTo>
                      <a:lnTo>
                        <a:pt x="288" y="86"/>
                      </a:lnTo>
                      <a:lnTo>
                        <a:pt x="288" y="85"/>
                      </a:lnTo>
                      <a:lnTo>
                        <a:pt x="287" y="85"/>
                      </a:lnTo>
                      <a:lnTo>
                        <a:pt x="288" y="85"/>
                      </a:lnTo>
                      <a:lnTo>
                        <a:pt x="288" y="85"/>
                      </a:lnTo>
                      <a:lnTo>
                        <a:pt x="289" y="85"/>
                      </a:lnTo>
                      <a:lnTo>
                        <a:pt x="288" y="85"/>
                      </a:lnTo>
                      <a:lnTo>
                        <a:pt x="289" y="85"/>
                      </a:lnTo>
                      <a:lnTo>
                        <a:pt x="289" y="85"/>
                      </a:lnTo>
                      <a:lnTo>
                        <a:pt x="288" y="85"/>
                      </a:lnTo>
                      <a:lnTo>
                        <a:pt x="289" y="85"/>
                      </a:lnTo>
                      <a:lnTo>
                        <a:pt x="289" y="86"/>
                      </a:lnTo>
                      <a:lnTo>
                        <a:pt x="289" y="86"/>
                      </a:lnTo>
                      <a:lnTo>
                        <a:pt x="289" y="85"/>
                      </a:lnTo>
                      <a:lnTo>
                        <a:pt x="290" y="85"/>
                      </a:lnTo>
                      <a:lnTo>
                        <a:pt x="290" y="85"/>
                      </a:lnTo>
                      <a:lnTo>
                        <a:pt x="289" y="85"/>
                      </a:lnTo>
                      <a:lnTo>
                        <a:pt x="290" y="85"/>
                      </a:lnTo>
                      <a:lnTo>
                        <a:pt x="290" y="85"/>
                      </a:lnTo>
                      <a:lnTo>
                        <a:pt x="290" y="85"/>
                      </a:lnTo>
                      <a:lnTo>
                        <a:pt x="289" y="85"/>
                      </a:lnTo>
                      <a:lnTo>
                        <a:pt x="289" y="84"/>
                      </a:lnTo>
                      <a:lnTo>
                        <a:pt x="290" y="84"/>
                      </a:lnTo>
                      <a:lnTo>
                        <a:pt x="290" y="84"/>
                      </a:lnTo>
                      <a:lnTo>
                        <a:pt x="290" y="84"/>
                      </a:lnTo>
                      <a:lnTo>
                        <a:pt x="290" y="85"/>
                      </a:lnTo>
                      <a:lnTo>
                        <a:pt x="290" y="85"/>
                      </a:lnTo>
                      <a:lnTo>
                        <a:pt x="290" y="84"/>
                      </a:lnTo>
                      <a:lnTo>
                        <a:pt x="291" y="84"/>
                      </a:lnTo>
                      <a:lnTo>
                        <a:pt x="292" y="84"/>
                      </a:lnTo>
                      <a:lnTo>
                        <a:pt x="292" y="85"/>
                      </a:lnTo>
                      <a:lnTo>
                        <a:pt x="291" y="85"/>
                      </a:lnTo>
                      <a:lnTo>
                        <a:pt x="290" y="85"/>
                      </a:lnTo>
                      <a:lnTo>
                        <a:pt x="291" y="85"/>
                      </a:lnTo>
                      <a:lnTo>
                        <a:pt x="291" y="85"/>
                      </a:lnTo>
                      <a:lnTo>
                        <a:pt x="292" y="85"/>
                      </a:lnTo>
                      <a:lnTo>
                        <a:pt x="291" y="85"/>
                      </a:lnTo>
                      <a:lnTo>
                        <a:pt x="291" y="86"/>
                      </a:lnTo>
                      <a:lnTo>
                        <a:pt x="292" y="86"/>
                      </a:lnTo>
                      <a:lnTo>
                        <a:pt x="292" y="86"/>
                      </a:lnTo>
                      <a:lnTo>
                        <a:pt x="292" y="85"/>
                      </a:lnTo>
                      <a:lnTo>
                        <a:pt x="293" y="85"/>
                      </a:lnTo>
                      <a:lnTo>
                        <a:pt x="293" y="85"/>
                      </a:lnTo>
                      <a:lnTo>
                        <a:pt x="293" y="85"/>
                      </a:lnTo>
                      <a:lnTo>
                        <a:pt x="293" y="85"/>
                      </a:lnTo>
                      <a:lnTo>
                        <a:pt x="294" y="85"/>
                      </a:lnTo>
                      <a:lnTo>
                        <a:pt x="293" y="85"/>
                      </a:lnTo>
                      <a:lnTo>
                        <a:pt x="294" y="85"/>
                      </a:lnTo>
                      <a:lnTo>
                        <a:pt x="294" y="85"/>
                      </a:lnTo>
                      <a:lnTo>
                        <a:pt x="295" y="85"/>
                      </a:lnTo>
                      <a:lnTo>
                        <a:pt x="295" y="85"/>
                      </a:lnTo>
                      <a:lnTo>
                        <a:pt x="296" y="85"/>
                      </a:lnTo>
                      <a:lnTo>
                        <a:pt x="296" y="85"/>
                      </a:lnTo>
                      <a:lnTo>
                        <a:pt x="296" y="85"/>
                      </a:lnTo>
                      <a:lnTo>
                        <a:pt x="295" y="85"/>
                      </a:lnTo>
                      <a:lnTo>
                        <a:pt x="295" y="85"/>
                      </a:lnTo>
                      <a:lnTo>
                        <a:pt x="295" y="85"/>
                      </a:lnTo>
                      <a:lnTo>
                        <a:pt x="295" y="85"/>
                      </a:lnTo>
                      <a:lnTo>
                        <a:pt x="294" y="85"/>
                      </a:lnTo>
                      <a:lnTo>
                        <a:pt x="293" y="84"/>
                      </a:lnTo>
                      <a:lnTo>
                        <a:pt x="294" y="84"/>
                      </a:lnTo>
                      <a:lnTo>
                        <a:pt x="295" y="84"/>
                      </a:lnTo>
                      <a:lnTo>
                        <a:pt x="295" y="84"/>
                      </a:lnTo>
                      <a:lnTo>
                        <a:pt x="296" y="84"/>
                      </a:lnTo>
                      <a:lnTo>
                        <a:pt x="296" y="84"/>
                      </a:lnTo>
                      <a:lnTo>
                        <a:pt x="297" y="84"/>
                      </a:lnTo>
                      <a:lnTo>
                        <a:pt x="297" y="83"/>
                      </a:lnTo>
                      <a:lnTo>
                        <a:pt x="297" y="84"/>
                      </a:lnTo>
                      <a:lnTo>
                        <a:pt x="297" y="84"/>
                      </a:lnTo>
                      <a:lnTo>
                        <a:pt x="298" y="84"/>
                      </a:lnTo>
                      <a:lnTo>
                        <a:pt x="299" y="84"/>
                      </a:lnTo>
                      <a:lnTo>
                        <a:pt x="299" y="84"/>
                      </a:lnTo>
                      <a:lnTo>
                        <a:pt x="300" y="84"/>
                      </a:lnTo>
                      <a:lnTo>
                        <a:pt x="300" y="85"/>
                      </a:lnTo>
                      <a:lnTo>
                        <a:pt x="300" y="85"/>
                      </a:lnTo>
                      <a:lnTo>
                        <a:pt x="301" y="85"/>
                      </a:lnTo>
                      <a:lnTo>
                        <a:pt x="301" y="85"/>
                      </a:lnTo>
                      <a:lnTo>
                        <a:pt x="301" y="85"/>
                      </a:lnTo>
                      <a:lnTo>
                        <a:pt x="301" y="84"/>
                      </a:lnTo>
                      <a:lnTo>
                        <a:pt x="301" y="84"/>
                      </a:lnTo>
                      <a:lnTo>
                        <a:pt x="302" y="84"/>
                      </a:lnTo>
                      <a:lnTo>
                        <a:pt x="303" y="84"/>
                      </a:lnTo>
                      <a:lnTo>
                        <a:pt x="302" y="84"/>
                      </a:lnTo>
                      <a:lnTo>
                        <a:pt x="302" y="83"/>
                      </a:lnTo>
                      <a:lnTo>
                        <a:pt x="301" y="83"/>
                      </a:lnTo>
                      <a:lnTo>
                        <a:pt x="301" y="83"/>
                      </a:lnTo>
                      <a:lnTo>
                        <a:pt x="300" y="83"/>
                      </a:lnTo>
                      <a:lnTo>
                        <a:pt x="301" y="83"/>
                      </a:lnTo>
                      <a:lnTo>
                        <a:pt x="301" y="83"/>
                      </a:lnTo>
                      <a:lnTo>
                        <a:pt x="302" y="83"/>
                      </a:lnTo>
                      <a:lnTo>
                        <a:pt x="303" y="83"/>
                      </a:lnTo>
                      <a:lnTo>
                        <a:pt x="303" y="83"/>
                      </a:lnTo>
                      <a:lnTo>
                        <a:pt x="303" y="84"/>
                      </a:lnTo>
                      <a:lnTo>
                        <a:pt x="304" y="84"/>
                      </a:lnTo>
                      <a:lnTo>
                        <a:pt x="304" y="84"/>
                      </a:lnTo>
                      <a:lnTo>
                        <a:pt x="304" y="85"/>
                      </a:lnTo>
                      <a:lnTo>
                        <a:pt x="304" y="84"/>
                      </a:lnTo>
                      <a:lnTo>
                        <a:pt x="304" y="85"/>
                      </a:lnTo>
                      <a:lnTo>
                        <a:pt x="305" y="84"/>
                      </a:lnTo>
                      <a:lnTo>
                        <a:pt x="305" y="84"/>
                      </a:lnTo>
                      <a:lnTo>
                        <a:pt x="306" y="84"/>
                      </a:lnTo>
                      <a:lnTo>
                        <a:pt x="307" y="84"/>
                      </a:lnTo>
                      <a:lnTo>
                        <a:pt x="307" y="83"/>
                      </a:lnTo>
                      <a:lnTo>
                        <a:pt x="307" y="83"/>
                      </a:lnTo>
                      <a:lnTo>
                        <a:pt x="308" y="83"/>
                      </a:lnTo>
                      <a:lnTo>
                        <a:pt x="308" y="83"/>
                      </a:lnTo>
                      <a:lnTo>
                        <a:pt x="309" y="83"/>
                      </a:lnTo>
                      <a:lnTo>
                        <a:pt x="310" y="83"/>
                      </a:lnTo>
                      <a:lnTo>
                        <a:pt x="310" y="83"/>
                      </a:lnTo>
                      <a:lnTo>
                        <a:pt x="311" y="83"/>
                      </a:lnTo>
                      <a:lnTo>
                        <a:pt x="311" y="83"/>
                      </a:lnTo>
                      <a:lnTo>
                        <a:pt x="311" y="84"/>
                      </a:lnTo>
                      <a:lnTo>
                        <a:pt x="312" y="84"/>
                      </a:lnTo>
                      <a:lnTo>
                        <a:pt x="312" y="84"/>
                      </a:lnTo>
                      <a:lnTo>
                        <a:pt x="313" y="84"/>
                      </a:lnTo>
                      <a:lnTo>
                        <a:pt x="314" y="84"/>
                      </a:lnTo>
                      <a:lnTo>
                        <a:pt x="314" y="84"/>
                      </a:lnTo>
                      <a:lnTo>
                        <a:pt x="314" y="85"/>
                      </a:lnTo>
                      <a:lnTo>
                        <a:pt x="314" y="85"/>
                      </a:lnTo>
                      <a:lnTo>
                        <a:pt x="313" y="85"/>
                      </a:lnTo>
                      <a:lnTo>
                        <a:pt x="312" y="85"/>
                      </a:lnTo>
                      <a:lnTo>
                        <a:pt x="312" y="85"/>
                      </a:lnTo>
                      <a:lnTo>
                        <a:pt x="312" y="85"/>
                      </a:lnTo>
                      <a:lnTo>
                        <a:pt x="312" y="85"/>
                      </a:lnTo>
                      <a:lnTo>
                        <a:pt x="313" y="85"/>
                      </a:lnTo>
                      <a:lnTo>
                        <a:pt x="312" y="85"/>
                      </a:lnTo>
                      <a:lnTo>
                        <a:pt x="312" y="86"/>
                      </a:lnTo>
                      <a:lnTo>
                        <a:pt x="312" y="86"/>
                      </a:lnTo>
                      <a:lnTo>
                        <a:pt x="312" y="86"/>
                      </a:lnTo>
                      <a:lnTo>
                        <a:pt x="312" y="86"/>
                      </a:lnTo>
                      <a:lnTo>
                        <a:pt x="311" y="86"/>
                      </a:lnTo>
                      <a:lnTo>
                        <a:pt x="311" y="86"/>
                      </a:lnTo>
                      <a:lnTo>
                        <a:pt x="311" y="87"/>
                      </a:lnTo>
                      <a:lnTo>
                        <a:pt x="310" y="87"/>
                      </a:lnTo>
                      <a:lnTo>
                        <a:pt x="310" y="87"/>
                      </a:lnTo>
                      <a:lnTo>
                        <a:pt x="310" y="87"/>
                      </a:lnTo>
                      <a:lnTo>
                        <a:pt x="310" y="87"/>
                      </a:lnTo>
                      <a:lnTo>
                        <a:pt x="310" y="87"/>
                      </a:lnTo>
                      <a:lnTo>
                        <a:pt x="310" y="87"/>
                      </a:lnTo>
                      <a:lnTo>
                        <a:pt x="310" y="87"/>
                      </a:lnTo>
                      <a:lnTo>
                        <a:pt x="309" y="87"/>
                      </a:lnTo>
                      <a:lnTo>
                        <a:pt x="310" y="87"/>
                      </a:lnTo>
                      <a:lnTo>
                        <a:pt x="309" y="87"/>
                      </a:lnTo>
                      <a:lnTo>
                        <a:pt x="308" y="87"/>
                      </a:lnTo>
                      <a:lnTo>
                        <a:pt x="309" y="87"/>
                      </a:lnTo>
                      <a:lnTo>
                        <a:pt x="309" y="88"/>
                      </a:lnTo>
                      <a:lnTo>
                        <a:pt x="310" y="88"/>
                      </a:lnTo>
                      <a:lnTo>
                        <a:pt x="310" y="89"/>
                      </a:lnTo>
                      <a:lnTo>
                        <a:pt x="310" y="89"/>
                      </a:lnTo>
                      <a:lnTo>
                        <a:pt x="310" y="88"/>
                      </a:lnTo>
                      <a:lnTo>
                        <a:pt x="310" y="89"/>
                      </a:lnTo>
                      <a:lnTo>
                        <a:pt x="311" y="89"/>
                      </a:lnTo>
                      <a:lnTo>
                        <a:pt x="310" y="89"/>
                      </a:lnTo>
                      <a:lnTo>
                        <a:pt x="310" y="89"/>
                      </a:lnTo>
                      <a:lnTo>
                        <a:pt x="310" y="90"/>
                      </a:lnTo>
                      <a:lnTo>
                        <a:pt x="310" y="89"/>
                      </a:lnTo>
                      <a:lnTo>
                        <a:pt x="311" y="89"/>
                      </a:lnTo>
                      <a:lnTo>
                        <a:pt x="311" y="89"/>
                      </a:lnTo>
                      <a:lnTo>
                        <a:pt x="310" y="89"/>
                      </a:lnTo>
                      <a:lnTo>
                        <a:pt x="310" y="88"/>
                      </a:lnTo>
                      <a:lnTo>
                        <a:pt x="311" y="87"/>
                      </a:lnTo>
                      <a:lnTo>
                        <a:pt x="311" y="87"/>
                      </a:lnTo>
                      <a:lnTo>
                        <a:pt x="311" y="87"/>
                      </a:lnTo>
                      <a:lnTo>
                        <a:pt x="312" y="87"/>
                      </a:lnTo>
                      <a:lnTo>
                        <a:pt x="312" y="87"/>
                      </a:lnTo>
                      <a:lnTo>
                        <a:pt x="312" y="86"/>
                      </a:lnTo>
                      <a:lnTo>
                        <a:pt x="313" y="86"/>
                      </a:lnTo>
                      <a:lnTo>
                        <a:pt x="313" y="87"/>
                      </a:lnTo>
                      <a:lnTo>
                        <a:pt x="314" y="87"/>
                      </a:lnTo>
                      <a:lnTo>
                        <a:pt x="314" y="86"/>
                      </a:lnTo>
                      <a:lnTo>
                        <a:pt x="314" y="86"/>
                      </a:lnTo>
                      <a:lnTo>
                        <a:pt x="314" y="87"/>
                      </a:lnTo>
                      <a:lnTo>
                        <a:pt x="315" y="86"/>
                      </a:lnTo>
                      <a:lnTo>
                        <a:pt x="314" y="86"/>
                      </a:lnTo>
                      <a:lnTo>
                        <a:pt x="315" y="86"/>
                      </a:lnTo>
                      <a:lnTo>
                        <a:pt x="314" y="86"/>
                      </a:lnTo>
                      <a:lnTo>
                        <a:pt x="314" y="86"/>
                      </a:lnTo>
                      <a:lnTo>
                        <a:pt x="315" y="86"/>
                      </a:lnTo>
                      <a:lnTo>
                        <a:pt x="315" y="86"/>
                      </a:lnTo>
                      <a:lnTo>
                        <a:pt x="316" y="86"/>
                      </a:lnTo>
                      <a:lnTo>
                        <a:pt x="316" y="86"/>
                      </a:lnTo>
                      <a:lnTo>
                        <a:pt x="316" y="86"/>
                      </a:lnTo>
                      <a:lnTo>
                        <a:pt x="315" y="86"/>
                      </a:lnTo>
                      <a:lnTo>
                        <a:pt x="316" y="86"/>
                      </a:lnTo>
                      <a:lnTo>
                        <a:pt x="315" y="86"/>
                      </a:lnTo>
                      <a:lnTo>
                        <a:pt x="316" y="86"/>
                      </a:lnTo>
                      <a:lnTo>
                        <a:pt x="316" y="86"/>
                      </a:lnTo>
                      <a:lnTo>
                        <a:pt x="317" y="86"/>
                      </a:lnTo>
                      <a:lnTo>
                        <a:pt x="318" y="86"/>
                      </a:lnTo>
                      <a:lnTo>
                        <a:pt x="317" y="86"/>
                      </a:lnTo>
                      <a:lnTo>
                        <a:pt x="317" y="87"/>
                      </a:lnTo>
                      <a:lnTo>
                        <a:pt x="316" y="87"/>
                      </a:lnTo>
                      <a:lnTo>
                        <a:pt x="316" y="87"/>
                      </a:lnTo>
                      <a:lnTo>
                        <a:pt x="316" y="88"/>
                      </a:lnTo>
                      <a:lnTo>
                        <a:pt x="315" y="88"/>
                      </a:lnTo>
                      <a:lnTo>
                        <a:pt x="316" y="88"/>
                      </a:lnTo>
                      <a:lnTo>
                        <a:pt x="315" y="88"/>
                      </a:lnTo>
                      <a:lnTo>
                        <a:pt x="315" y="88"/>
                      </a:lnTo>
                      <a:lnTo>
                        <a:pt x="315" y="88"/>
                      </a:lnTo>
                      <a:lnTo>
                        <a:pt x="316" y="88"/>
                      </a:lnTo>
                      <a:lnTo>
                        <a:pt x="315" y="88"/>
                      </a:lnTo>
                      <a:lnTo>
                        <a:pt x="316" y="88"/>
                      </a:lnTo>
                      <a:lnTo>
                        <a:pt x="316" y="87"/>
                      </a:lnTo>
                      <a:lnTo>
                        <a:pt x="316" y="87"/>
                      </a:lnTo>
                      <a:lnTo>
                        <a:pt x="317" y="87"/>
                      </a:lnTo>
                      <a:lnTo>
                        <a:pt x="318" y="87"/>
                      </a:lnTo>
                      <a:lnTo>
                        <a:pt x="318" y="87"/>
                      </a:lnTo>
                      <a:lnTo>
                        <a:pt x="319" y="87"/>
                      </a:lnTo>
                      <a:lnTo>
                        <a:pt x="318" y="87"/>
                      </a:lnTo>
                      <a:lnTo>
                        <a:pt x="319" y="87"/>
                      </a:lnTo>
                      <a:lnTo>
                        <a:pt x="318" y="87"/>
                      </a:lnTo>
                      <a:lnTo>
                        <a:pt x="319" y="87"/>
                      </a:lnTo>
                      <a:lnTo>
                        <a:pt x="319" y="87"/>
                      </a:lnTo>
                      <a:lnTo>
                        <a:pt x="319" y="87"/>
                      </a:lnTo>
                      <a:lnTo>
                        <a:pt x="320" y="87"/>
                      </a:lnTo>
                      <a:lnTo>
                        <a:pt x="320" y="86"/>
                      </a:lnTo>
                      <a:lnTo>
                        <a:pt x="319" y="86"/>
                      </a:lnTo>
                      <a:lnTo>
                        <a:pt x="320" y="86"/>
                      </a:lnTo>
                      <a:lnTo>
                        <a:pt x="320" y="86"/>
                      </a:lnTo>
                      <a:lnTo>
                        <a:pt x="321" y="86"/>
                      </a:lnTo>
                      <a:lnTo>
                        <a:pt x="322" y="86"/>
                      </a:lnTo>
                      <a:lnTo>
                        <a:pt x="322" y="86"/>
                      </a:lnTo>
                      <a:lnTo>
                        <a:pt x="322" y="85"/>
                      </a:lnTo>
                      <a:lnTo>
                        <a:pt x="323" y="85"/>
                      </a:lnTo>
                      <a:lnTo>
                        <a:pt x="323" y="86"/>
                      </a:lnTo>
                      <a:lnTo>
                        <a:pt x="322" y="86"/>
                      </a:lnTo>
                      <a:lnTo>
                        <a:pt x="322" y="86"/>
                      </a:lnTo>
                      <a:lnTo>
                        <a:pt x="321" y="86"/>
                      </a:lnTo>
                      <a:lnTo>
                        <a:pt x="321" y="86"/>
                      </a:lnTo>
                      <a:lnTo>
                        <a:pt x="322" y="86"/>
                      </a:lnTo>
                      <a:lnTo>
                        <a:pt x="322" y="86"/>
                      </a:lnTo>
                      <a:lnTo>
                        <a:pt x="322" y="87"/>
                      </a:lnTo>
                      <a:lnTo>
                        <a:pt x="321" y="87"/>
                      </a:lnTo>
                      <a:lnTo>
                        <a:pt x="322" y="87"/>
                      </a:lnTo>
                      <a:lnTo>
                        <a:pt x="322" y="87"/>
                      </a:lnTo>
                      <a:lnTo>
                        <a:pt x="322" y="86"/>
                      </a:lnTo>
                      <a:lnTo>
                        <a:pt x="323" y="86"/>
                      </a:lnTo>
                      <a:lnTo>
                        <a:pt x="323" y="86"/>
                      </a:lnTo>
                      <a:lnTo>
                        <a:pt x="323" y="86"/>
                      </a:lnTo>
                      <a:lnTo>
                        <a:pt x="324" y="86"/>
                      </a:lnTo>
                      <a:lnTo>
                        <a:pt x="325" y="86"/>
                      </a:lnTo>
                      <a:lnTo>
                        <a:pt x="325" y="86"/>
                      </a:lnTo>
                      <a:lnTo>
                        <a:pt x="325" y="86"/>
                      </a:lnTo>
                      <a:lnTo>
                        <a:pt x="325" y="86"/>
                      </a:lnTo>
                      <a:lnTo>
                        <a:pt x="325" y="86"/>
                      </a:lnTo>
                      <a:lnTo>
                        <a:pt x="326" y="86"/>
                      </a:lnTo>
                      <a:lnTo>
                        <a:pt x="326" y="86"/>
                      </a:lnTo>
                      <a:lnTo>
                        <a:pt x="327" y="86"/>
                      </a:lnTo>
                      <a:lnTo>
                        <a:pt x="326" y="86"/>
                      </a:lnTo>
                      <a:lnTo>
                        <a:pt x="326" y="85"/>
                      </a:lnTo>
                      <a:lnTo>
                        <a:pt x="326" y="85"/>
                      </a:lnTo>
                      <a:lnTo>
                        <a:pt x="325" y="85"/>
                      </a:lnTo>
                      <a:lnTo>
                        <a:pt x="325" y="85"/>
                      </a:lnTo>
                      <a:lnTo>
                        <a:pt x="325" y="85"/>
                      </a:lnTo>
                      <a:lnTo>
                        <a:pt x="325" y="85"/>
                      </a:lnTo>
                      <a:lnTo>
                        <a:pt x="326" y="85"/>
                      </a:lnTo>
                      <a:lnTo>
                        <a:pt x="326" y="85"/>
                      </a:lnTo>
                      <a:lnTo>
                        <a:pt x="327" y="85"/>
                      </a:lnTo>
                      <a:lnTo>
                        <a:pt x="326" y="85"/>
                      </a:lnTo>
                      <a:lnTo>
                        <a:pt x="327" y="85"/>
                      </a:lnTo>
                      <a:lnTo>
                        <a:pt x="327" y="85"/>
                      </a:lnTo>
                      <a:lnTo>
                        <a:pt x="327" y="85"/>
                      </a:lnTo>
                      <a:lnTo>
                        <a:pt x="327" y="85"/>
                      </a:lnTo>
                      <a:lnTo>
                        <a:pt x="327" y="85"/>
                      </a:lnTo>
                      <a:lnTo>
                        <a:pt x="328" y="85"/>
                      </a:lnTo>
                      <a:lnTo>
                        <a:pt x="328" y="85"/>
                      </a:lnTo>
                      <a:lnTo>
                        <a:pt x="328" y="85"/>
                      </a:lnTo>
                      <a:lnTo>
                        <a:pt x="329" y="85"/>
                      </a:lnTo>
                      <a:lnTo>
                        <a:pt x="329" y="85"/>
                      </a:lnTo>
                      <a:lnTo>
                        <a:pt x="329" y="85"/>
                      </a:lnTo>
                      <a:lnTo>
                        <a:pt x="330" y="85"/>
                      </a:lnTo>
                      <a:lnTo>
                        <a:pt x="330" y="85"/>
                      </a:lnTo>
                      <a:lnTo>
                        <a:pt x="330" y="85"/>
                      </a:lnTo>
                      <a:lnTo>
                        <a:pt x="330" y="84"/>
                      </a:lnTo>
                      <a:lnTo>
                        <a:pt x="330" y="85"/>
                      </a:lnTo>
                      <a:lnTo>
                        <a:pt x="329" y="85"/>
                      </a:lnTo>
                      <a:lnTo>
                        <a:pt x="329" y="84"/>
                      </a:lnTo>
                      <a:lnTo>
                        <a:pt x="329" y="84"/>
                      </a:lnTo>
                      <a:lnTo>
                        <a:pt x="329" y="85"/>
                      </a:lnTo>
                      <a:lnTo>
                        <a:pt x="329" y="84"/>
                      </a:lnTo>
                      <a:lnTo>
                        <a:pt x="328" y="85"/>
                      </a:lnTo>
                      <a:lnTo>
                        <a:pt x="328" y="84"/>
                      </a:lnTo>
                      <a:lnTo>
                        <a:pt x="327" y="84"/>
                      </a:lnTo>
                      <a:lnTo>
                        <a:pt x="328" y="84"/>
                      </a:lnTo>
                      <a:lnTo>
                        <a:pt x="329" y="83"/>
                      </a:lnTo>
                      <a:lnTo>
                        <a:pt x="328" y="83"/>
                      </a:lnTo>
                      <a:lnTo>
                        <a:pt x="329" y="83"/>
                      </a:lnTo>
                      <a:lnTo>
                        <a:pt x="329" y="84"/>
                      </a:lnTo>
                      <a:lnTo>
                        <a:pt x="329" y="83"/>
                      </a:lnTo>
                      <a:lnTo>
                        <a:pt x="329" y="83"/>
                      </a:lnTo>
                      <a:lnTo>
                        <a:pt x="329" y="83"/>
                      </a:lnTo>
                      <a:lnTo>
                        <a:pt x="330" y="83"/>
                      </a:lnTo>
                      <a:lnTo>
                        <a:pt x="330" y="83"/>
                      </a:lnTo>
                      <a:lnTo>
                        <a:pt x="331" y="83"/>
                      </a:lnTo>
                      <a:lnTo>
                        <a:pt x="331" y="83"/>
                      </a:lnTo>
                      <a:lnTo>
                        <a:pt x="331" y="83"/>
                      </a:lnTo>
                      <a:lnTo>
                        <a:pt x="332" y="83"/>
                      </a:lnTo>
                      <a:lnTo>
                        <a:pt x="333" y="82"/>
                      </a:lnTo>
                      <a:lnTo>
                        <a:pt x="333" y="82"/>
                      </a:lnTo>
                      <a:lnTo>
                        <a:pt x="334" y="82"/>
                      </a:lnTo>
                      <a:lnTo>
                        <a:pt x="334" y="82"/>
                      </a:lnTo>
                      <a:lnTo>
                        <a:pt x="334" y="82"/>
                      </a:lnTo>
                      <a:lnTo>
                        <a:pt x="335" y="82"/>
                      </a:lnTo>
                      <a:lnTo>
                        <a:pt x="334" y="82"/>
                      </a:lnTo>
                      <a:lnTo>
                        <a:pt x="334" y="82"/>
                      </a:lnTo>
                      <a:lnTo>
                        <a:pt x="334" y="82"/>
                      </a:lnTo>
                      <a:lnTo>
                        <a:pt x="334" y="83"/>
                      </a:lnTo>
                      <a:lnTo>
                        <a:pt x="335" y="83"/>
                      </a:lnTo>
                      <a:lnTo>
                        <a:pt x="335" y="82"/>
                      </a:lnTo>
                      <a:lnTo>
                        <a:pt x="335" y="83"/>
                      </a:lnTo>
                      <a:lnTo>
                        <a:pt x="336" y="83"/>
                      </a:lnTo>
                      <a:lnTo>
                        <a:pt x="336" y="82"/>
                      </a:lnTo>
                      <a:lnTo>
                        <a:pt x="336" y="82"/>
                      </a:lnTo>
                      <a:lnTo>
                        <a:pt x="337" y="82"/>
                      </a:lnTo>
                      <a:lnTo>
                        <a:pt x="337" y="82"/>
                      </a:lnTo>
                      <a:lnTo>
                        <a:pt x="337" y="83"/>
                      </a:lnTo>
                      <a:lnTo>
                        <a:pt x="338" y="82"/>
                      </a:lnTo>
                      <a:lnTo>
                        <a:pt x="338" y="83"/>
                      </a:lnTo>
                      <a:lnTo>
                        <a:pt x="337" y="83"/>
                      </a:lnTo>
                      <a:lnTo>
                        <a:pt x="338" y="83"/>
                      </a:lnTo>
                      <a:lnTo>
                        <a:pt x="338" y="82"/>
                      </a:lnTo>
                      <a:lnTo>
                        <a:pt x="338" y="83"/>
                      </a:lnTo>
                      <a:lnTo>
                        <a:pt x="339" y="83"/>
                      </a:lnTo>
                      <a:lnTo>
                        <a:pt x="338" y="83"/>
                      </a:lnTo>
                      <a:lnTo>
                        <a:pt x="338" y="83"/>
                      </a:lnTo>
                      <a:lnTo>
                        <a:pt x="338" y="83"/>
                      </a:lnTo>
                      <a:lnTo>
                        <a:pt x="338" y="83"/>
                      </a:lnTo>
                      <a:lnTo>
                        <a:pt x="338" y="83"/>
                      </a:lnTo>
                      <a:lnTo>
                        <a:pt x="337" y="83"/>
                      </a:lnTo>
                      <a:lnTo>
                        <a:pt x="338" y="83"/>
                      </a:lnTo>
                      <a:lnTo>
                        <a:pt x="338" y="84"/>
                      </a:lnTo>
                      <a:lnTo>
                        <a:pt x="338" y="84"/>
                      </a:lnTo>
                      <a:lnTo>
                        <a:pt x="339" y="84"/>
                      </a:lnTo>
                      <a:lnTo>
                        <a:pt x="339" y="83"/>
                      </a:lnTo>
                      <a:lnTo>
                        <a:pt x="340" y="83"/>
                      </a:lnTo>
                      <a:lnTo>
                        <a:pt x="340" y="84"/>
                      </a:lnTo>
                      <a:lnTo>
                        <a:pt x="340" y="83"/>
                      </a:lnTo>
                      <a:lnTo>
                        <a:pt x="341" y="83"/>
                      </a:lnTo>
                      <a:lnTo>
                        <a:pt x="340" y="83"/>
                      </a:lnTo>
                      <a:lnTo>
                        <a:pt x="341" y="83"/>
                      </a:lnTo>
                      <a:lnTo>
                        <a:pt x="341" y="84"/>
                      </a:lnTo>
                      <a:lnTo>
                        <a:pt x="340" y="84"/>
                      </a:lnTo>
                      <a:lnTo>
                        <a:pt x="340" y="84"/>
                      </a:lnTo>
                      <a:lnTo>
                        <a:pt x="340" y="85"/>
                      </a:lnTo>
                      <a:lnTo>
                        <a:pt x="340" y="85"/>
                      </a:lnTo>
                      <a:lnTo>
                        <a:pt x="341" y="85"/>
                      </a:lnTo>
                      <a:lnTo>
                        <a:pt x="341" y="85"/>
                      </a:lnTo>
                      <a:lnTo>
                        <a:pt x="340" y="85"/>
                      </a:lnTo>
                      <a:lnTo>
                        <a:pt x="340" y="85"/>
                      </a:lnTo>
                      <a:lnTo>
                        <a:pt x="340" y="85"/>
                      </a:lnTo>
                      <a:lnTo>
                        <a:pt x="339" y="85"/>
                      </a:lnTo>
                      <a:lnTo>
                        <a:pt x="340" y="85"/>
                      </a:lnTo>
                      <a:lnTo>
                        <a:pt x="340" y="85"/>
                      </a:lnTo>
                      <a:lnTo>
                        <a:pt x="341" y="85"/>
                      </a:lnTo>
                      <a:lnTo>
                        <a:pt x="341" y="85"/>
                      </a:lnTo>
                      <a:lnTo>
                        <a:pt x="342" y="85"/>
                      </a:lnTo>
                      <a:lnTo>
                        <a:pt x="342" y="85"/>
                      </a:lnTo>
                      <a:lnTo>
                        <a:pt x="343" y="86"/>
                      </a:lnTo>
                      <a:lnTo>
                        <a:pt x="342" y="86"/>
                      </a:lnTo>
                      <a:lnTo>
                        <a:pt x="342" y="86"/>
                      </a:lnTo>
                      <a:lnTo>
                        <a:pt x="342" y="86"/>
                      </a:lnTo>
                      <a:lnTo>
                        <a:pt x="341" y="86"/>
                      </a:lnTo>
                      <a:lnTo>
                        <a:pt x="341" y="87"/>
                      </a:lnTo>
                      <a:lnTo>
                        <a:pt x="341" y="87"/>
                      </a:lnTo>
                      <a:lnTo>
                        <a:pt x="341" y="87"/>
                      </a:lnTo>
                      <a:lnTo>
                        <a:pt x="341" y="88"/>
                      </a:lnTo>
                      <a:lnTo>
                        <a:pt x="340" y="88"/>
                      </a:lnTo>
                      <a:lnTo>
                        <a:pt x="340" y="89"/>
                      </a:lnTo>
                      <a:lnTo>
                        <a:pt x="340" y="89"/>
                      </a:lnTo>
                      <a:lnTo>
                        <a:pt x="340" y="89"/>
                      </a:lnTo>
                      <a:lnTo>
                        <a:pt x="339" y="89"/>
                      </a:lnTo>
                      <a:lnTo>
                        <a:pt x="340" y="89"/>
                      </a:lnTo>
                      <a:lnTo>
                        <a:pt x="339" y="89"/>
                      </a:lnTo>
                      <a:lnTo>
                        <a:pt x="338" y="89"/>
                      </a:lnTo>
                      <a:lnTo>
                        <a:pt x="338" y="89"/>
                      </a:lnTo>
                      <a:lnTo>
                        <a:pt x="338" y="90"/>
                      </a:lnTo>
                      <a:lnTo>
                        <a:pt x="337" y="90"/>
                      </a:lnTo>
                      <a:lnTo>
                        <a:pt x="337" y="90"/>
                      </a:lnTo>
                      <a:lnTo>
                        <a:pt x="337" y="90"/>
                      </a:lnTo>
                      <a:lnTo>
                        <a:pt x="338" y="90"/>
                      </a:lnTo>
                      <a:lnTo>
                        <a:pt x="338" y="90"/>
                      </a:lnTo>
                      <a:lnTo>
                        <a:pt x="338" y="90"/>
                      </a:lnTo>
                      <a:lnTo>
                        <a:pt x="338" y="91"/>
                      </a:lnTo>
                      <a:lnTo>
                        <a:pt x="337" y="91"/>
                      </a:lnTo>
                      <a:lnTo>
                        <a:pt x="338" y="91"/>
                      </a:lnTo>
                      <a:lnTo>
                        <a:pt x="338" y="92"/>
                      </a:lnTo>
                      <a:lnTo>
                        <a:pt x="337" y="92"/>
                      </a:lnTo>
                      <a:lnTo>
                        <a:pt x="337" y="93"/>
                      </a:lnTo>
                      <a:lnTo>
                        <a:pt x="337" y="93"/>
                      </a:lnTo>
                      <a:lnTo>
                        <a:pt x="338" y="93"/>
                      </a:lnTo>
                      <a:lnTo>
                        <a:pt x="338" y="94"/>
                      </a:lnTo>
                      <a:lnTo>
                        <a:pt x="338" y="94"/>
                      </a:lnTo>
                      <a:lnTo>
                        <a:pt x="338" y="95"/>
                      </a:lnTo>
                      <a:lnTo>
                        <a:pt x="338" y="95"/>
                      </a:lnTo>
                      <a:lnTo>
                        <a:pt x="337" y="95"/>
                      </a:lnTo>
                      <a:lnTo>
                        <a:pt x="337" y="95"/>
                      </a:lnTo>
                      <a:lnTo>
                        <a:pt x="337" y="96"/>
                      </a:lnTo>
                      <a:lnTo>
                        <a:pt x="336" y="96"/>
                      </a:lnTo>
                      <a:lnTo>
                        <a:pt x="336" y="96"/>
                      </a:lnTo>
                      <a:lnTo>
                        <a:pt x="335" y="96"/>
                      </a:lnTo>
                      <a:lnTo>
                        <a:pt x="334" y="96"/>
                      </a:lnTo>
                      <a:lnTo>
                        <a:pt x="334" y="96"/>
                      </a:lnTo>
                      <a:lnTo>
                        <a:pt x="333" y="96"/>
                      </a:lnTo>
                      <a:lnTo>
                        <a:pt x="333" y="96"/>
                      </a:lnTo>
                      <a:lnTo>
                        <a:pt x="333" y="96"/>
                      </a:lnTo>
                      <a:lnTo>
                        <a:pt x="332" y="96"/>
                      </a:lnTo>
                      <a:lnTo>
                        <a:pt x="331" y="96"/>
                      </a:lnTo>
                      <a:lnTo>
                        <a:pt x="331" y="96"/>
                      </a:lnTo>
                      <a:lnTo>
                        <a:pt x="330" y="96"/>
                      </a:lnTo>
                      <a:lnTo>
                        <a:pt x="330" y="95"/>
                      </a:lnTo>
                      <a:lnTo>
                        <a:pt x="330" y="95"/>
                      </a:lnTo>
                      <a:lnTo>
                        <a:pt x="329" y="95"/>
                      </a:lnTo>
                      <a:lnTo>
                        <a:pt x="329" y="96"/>
                      </a:lnTo>
                      <a:lnTo>
                        <a:pt x="329" y="96"/>
                      </a:lnTo>
                      <a:lnTo>
                        <a:pt x="329" y="96"/>
                      </a:lnTo>
                      <a:lnTo>
                        <a:pt x="328" y="96"/>
                      </a:lnTo>
                      <a:lnTo>
                        <a:pt x="327" y="96"/>
                      </a:lnTo>
                      <a:lnTo>
                        <a:pt x="327" y="97"/>
                      </a:lnTo>
                      <a:lnTo>
                        <a:pt x="326" y="97"/>
                      </a:lnTo>
                      <a:lnTo>
                        <a:pt x="326" y="97"/>
                      </a:lnTo>
                      <a:lnTo>
                        <a:pt x="325" y="97"/>
                      </a:lnTo>
                      <a:lnTo>
                        <a:pt x="326" y="97"/>
                      </a:lnTo>
                      <a:lnTo>
                        <a:pt x="325" y="97"/>
                      </a:lnTo>
                      <a:lnTo>
                        <a:pt x="325" y="96"/>
                      </a:lnTo>
                      <a:lnTo>
                        <a:pt x="325" y="96"/>
                      </a:lnTo>
                      <a:lnTo>
                        <a:pt x="324" y="96"/>
                      </a:lnTo>
                      <a:lnTo>
                        <a:pt x="323" y="96"/>
                      </a:lnTo>
                      <a:lnTo>
                        <a:pt x="323" y="96"/>
                      </a:lnTo>
                      <a:lnTo>
                        <a:pt x="323" y="96"/>
                      </a:lnTo>
                      <a:lnTo>
                        <a:pt x="322" y="96"/>
                      </a:lnTo>
                      <a:lnTo>
                        <a:pt x="322" y="96"/>
                      </a:lnTo>
                      <a:lnTo>
                        <a:pt x="321" y="96"/>
                      </a:lnTo>
                      <a:lnTo>
                        <a:pt x="320" y="96"/>
                      </a:lnTo>
                      <a:lnTo>
                        <a:pt x="320" y="96"/>
                      </a:lnTo>
                      <a:lnTo>
                        <a:pt x="320" y="96"/>
                      </a:lnTo>
                      <a:lnTo>
                        <a:pt x="319" y="96"/>
                      </a:lnTo>
                      <a:lnTo>
                        <a:pt x="319" y="96"/>
                      </a:lnTo>
                      <a:lnTo>
                        <a:pt x="318" y="96"/>
                      </a:lnTo>
                      <a:lnTo>
                        <a:pt x="318" y="96"/>
                      </a:lnTo>
                      <a:lnTo>
                        <a:pt x="317" y="96"/>
                      </a:lnTo>
                      <a:lnTo>
                        <a:pt x="318" y="96"/>
                      </a:lnTo>
                      <a:lnTo>
                        <a:pt x="318" y="96"/>
                      </a:lnTo>
                      <a:lnTo>
                        <a:pt x="319" y="96"/>
                      </a:lnTo>
                      <a:lnTo>
                        <a:pt x="319" y="96"/>
                      </a:lnTo>
                      <a:lnTo>
                        <a:pt x="320" y="96"/>
                      </a:lnTo>
                      <a:lnTo>
                        <a:pt x="320" y="96"/>
                      </a:lnTo>
                      <a:lnTo>
                        <a:pt x="320" y="96"/>
                      </a:lnTo>
                      <a:lnTo>
                        <a:pt x="321" y="96"/>
                      </a:lnTo>
                      <a:lnTo>
                        <a:pt x="322" y="96"/>
                      </a:lnTo>
                      <a:lnTo>
                        <a:pt x="321" y="96"/>
                      </a:lnTo>
                      <a:lnTo>
                        <a:pt x="320" y="96"/>
                      </a:lnTo>
                      <a:lnTo>
                        <a:pt x="320" y="96"/>
                      </a:lnTo>
                      <a:lnTo>
                        <a:pt x="321" y="96"/>
                      </a:lnTo>
                      <a:lnTo>
                        <a:pt x="322" y="96"/>
                      </a:lnTo>
                      <a:lnTo>
                        <a:pt x="322" y="96"/>
                      </a:lnTo>
                      <a:lnTo>
                        <a:pt x="322" y="96"/>
                      </a:lnTo>
                      <a:lnTo>
                        <a:pt x="321" y="96"/>
                      </a:lnTo>
                      <a:lnTo>
                        <a:pt x="320" y="96"/>
                      </a:lnTo>
                      <a:lnTo>
                        <a:pt x="320" y="96"/>
                      </a:lnTo>
                      <a:lnTo>
                        <a:pt x="321" y="96"/>
                      </a:lnTo>
                      <a:lnTo>
                        <a:pt x="322" y="96"/>
                      </a:lnTo>
                      <a:lnTo>
                        <a:pt x="322" y="96"/>
                      </a:lnTo>
                      <a:lnTo>
                        <a:pt x="323" y="96"/>
                      </a:lnTo>
                      <a:lnTo>
                        <a:pt x="323" y="96"/>
                      </a:lnTo>
                      <a:lnTo>
                        <a:pt x="323" y="96"/>
                      </a:lnTo>
                      <a:lnTo>
                        <a:pt x="324" y="96"/>
                      </a:lnTo>
                      <a:lnTo>
                        <a:pt x="325" y="96"/>
                      </a:lnTo>
                      <a:lnTo>
                        <a:pt x="325" y="96"/>
                      </a:lnTo>
                      <a:lnTo>
                        <a:pt x="325" y="97"/>
                      </a:lnTo>
                      <a:lnTo>
                        <a:pt x="326" y="97"/>
                      </a:lnTo>
                      <a:lnTo>
                        <a:pt x="326" y="97"/>
                      </a:lnTo>
                      <a:lnTo>
                        <a:pt x="327" y="97"/>
                      </a:lnTo>
                      <a:lnTo>
                        <a:pt x="327" y="97"/>
                      </a:lnTo>
                      <a:lnTo>
                        <a:pt x="327" y="96"/>
                      </a:lnTo>
                      <a:lnTo>
                        <a:pt x="328" y="96"/>
                      </a:lnTo>
                      <a:lnTo>
                        <a:pt x="329" y="96"/>
                      </a:lnTo>
                      <a:lnTo>
                        <a:pt x="329" y="96"/>
                      </a:lnTo>
                      <a:lnTo>
                        <a:pt x="329" y="96"/>
                      </a:lnTo>
                      <a:lnTo>
                        <a:pt x="329" y="95"/>
                      </a:lnTo>
                      <a:lnTo>
                        <a:pt x="330" y="95"/>
                      </a:lnTo>
                      <a:lnTo>
                        <a:pt x="330" y="95"/>
                      </a:lnTo>
                      <a:lnTo>
                        <a:pt x="330" y="96"/>
                      </a:lnTo>
                      <a:lnTo>
                        <a:pt x="331" y="96"/>
                      </a:lnTo>
                      <a:lnTo>
                        <a:pt x="331" y="96"/>
                      </a:lnTo>
                      <a:lnTo>
                        <a:pt x="332" y="96"/>
                      </a:lnTo>
                      <a:lnTo>
                        <a:pt x="333" y="96"/>
                      </a:lnTo>
                      <a:lnTo>
                        <a:pt x="333" y="96"/>
                      </a:lnTo>
                      <a:lnTo>
                        <a:pt x="333" y="96"/>
                      </a:lnTo>
                      <a:lnTo>
                        <a:pt x="333" y="96"/>
                      </a:lnTo>
                      <a:lnTo>
                        <a:pt x="334" y="96"/>
                      </a:lnTo>
                      <a:lnTo>
                        <a:pt x="334" y="96"/>
                      </a:lnTo>
                      <a:lnTo>
                        <a:pt x="335" y="96"/>
                      </a:lnTo>
                      <a:lnTo>
                        <a:pt x="336" y="96"/>
                      </a:lnTo>
                      <a:lnTo>
                        <a:pt x="336" y="96"/>
                      </a:lnTo>
                      <a:lnTo>
                        <a:pt x="337" y="96"/>
                      </a:lnTo>
                      <a:lnTo>
                        <a:pt x="337" y="95"/>
                      </a:lnTo>
                      <a:lnTo>
                        <a:pt x="337" y="95"/>
                      </a:lnTo>
                      <a:lnTo>
                        <a:pt x="337" y="95"/>
                      </a:lnTo>
                      <a:lnTo>
                        <a:pt x="338" y="95"/>
                      </a:lnTo>
                      <a:lnTo>
                        <a:pt x="338" y="95"/>
                      </a:lnTo>
                      <a:lnTo>
                        <a:pt x="338" y="95"/>
                      </a:lnTo>
                      <a:lnTo>
                        <a:pt x="338" y="94"/>
                      </a:lnTo>
                      <a:lnTo>
                        <a:pt x="338" y="94"/>
                      </a:lnTo>
                      <a:lnTo>
                        <a:pt x="338" y="93"/>
                      </a:lnTo>
                      <a:lnTo>
                        <a:pt x="338" y="93"/>
                      </a:lnTo>
                      <a:lnTo>
                        <a:pt x="339" y="93"/>
                      </a:lnTo>
                      <a:lnTo>
                        <a:pt x="339" y="94"/>
                      </a:lnTo>
                      <a:lnTo>
                        <a:pt x="340" y="94"/>
                      </a:lnTo>
                      <a:lnTo>
                        <a:pt x="340" y="94"/>
                      </a:lnTo>
                      <a:lnTo>
                        <a:pt x="341" y="94"/>
                      </a:lnTo>
                      <a:lnTo>
                        <a:pt x="341" y="94"/>
                      </a:lnTo>
                      <a:lnTo>
                        <a:pt x="342" y="94"/>
                      </a:lnTo>
                      <a:lnTo>
                        <a:pt x="342" y="94"/>
                      </a:lnTo>
                      <a:lnTo>
                        <a:pt x="342" y="94"/>
                      </a:lnTo>
                      <a:lnTo>
                        <a:pt x="342" y="94"/>
                      </a:lnTo>
                      <a:lnTo>
                        <a:pt x="342" y="95"/>
                      </a:lnTo>
                      <a:lnTo>
                        <a:pt x="342" y="95"/>
                      </a:lnTo>
                      <a:lnTo>
                        <a:pt x="342" y="95"/>
                      </a:lnTo>
                      <a:lnTo>
                        <a:pt x="342" y="96"/>
                      </a:lnTo>
                      <a:lnTo>
                        <a:pt x="342" y="96"/>
                      </a:lnTo>
                      <a:lnTo>
                        <a:pt x="341" y="96"/>
                      </a:lnTo>
                      <a:lnTo>
                        <a:pt x="341" y="96"/>
                      </a:lnTo>
                      <a:lnTo>
                        <a:pt x="342" y="96"/>
                      </a:lnTo>
                      <a:lnTo>
                        <a:pt x="342" y="96"/>
                      </a:lnTo>
                      <a:lnTo>
                        <a:pt x="343" y="96"/>
                      </a:lnTo>
                      <a:lnTo>
                        <a:pt x="344" y="97"/>
                      </a:lnTo>
                      <a:lnTo>
                        <a:pt x="344" y="97"/>
                      </a:lnTo>
                      <a:lnTo>
                        <a:pt x="345" y="97"/>
                      </a:lnTo>
                      <a:lnTo>
                        <a:pt x="345" y="97"/>
                      </a:lnTo>
                      <a:lnTo>
                        <a:pt x="345" y="98"/>
                      </a:lnTo>
                      <a:lnTo>
                        <a:pt x="344" y="98"/>
                      </a:lnTo>
                      <a:lnTo>
                        <a:pt x="344" y="98"/>
                      </a:lnTo>
                      <a:lnTo>
                        <a:pt x="345" y="98"/>
                      </a:lnTo>
                      <a:lnTo>
                        <a:pt x="345" y="98"/>
                      </a:lnTo>
                      <a:lnTo>
                        <a:pt x="345" y="99"/>
                      </a:lnTo>
                      <a:lnTo>
                        <a:pt x="345" y="99"/>
                      </a:lnTo>
                      <a:lnTo>
                        <a:pt x="344" y="99"/>
                      </a:lnTo>
                      <a:lnTo>
                        <a:pt x="345" y="99"/>
                      </a:lnTo>
                      <a:lnTo>
                        <a:pt x="344" y="100"/>
                      </a:lnTo>
                      <a:lnTo>
                        <a:pt x="345" y="100"/>
                      </a:lnTo>
                      <a:lnTo>
                        <a:pt x="345" y="100"/>
                      </a:lnTo>
                      <a:lnTo>
                        <a:pt x="345" y="100"/>
                      </a:lnTo>
                      <a:lnTo>
                        <a:pt x="345" y="101"/>
                      </a:lnTo>
                      <a:lnTo>
                        <a:pt x="345" y="101"/>
                      </a:lnTo>
                      <a:lnTo>
                        <a:pt x="346" y="100"/>
                      </a:lnTo>
                      <a:lnTo>
                        <a:pt x="346" y="100"/>
                      </a:lnTo>
                      <a:lnTo>
                        <a:pt x="347" y="101"/>
                      </a:lnTo>
                      <a:lnTo>
                        <a:pt x="347" y="100"/>
                      </a:lnTo>
                      <a:lnTo>
                        <a:pt x="348" y="100"/>
                      </a:lnTo>
                      <a:lnTo>
                        <a:pt x="348" y="100"/>
                      </a:lnTo>
                      <a:lnTo>
                        <a:pt x="349" y="101"/>
                      </a:lnTo>
                      <a:lnTo>
                        <a:pt x="348" y="101"/>
                      </a:lnTo>
                      <a:lnTo>
                        <a:pt x="349" y="101"/>
                      </a:lnTo>
                      <a:lnTo>
                        <a:pt x="349" y="102"/>
                      </a:lnTo>
                      <a:lnTo>
                        <a:pt x="348" y="103"/>
                      </a:lnTo>
                      <a:lnTo>
                        <a:pt x="348" y="103"/>
                      </a:lnTo>
                      <a:lnTo>
                        <a:pt x="347" y="103"/>
                      </a:lnTo>
                      <a:lnTo>
                        <a:pt x="346" y="103"/>
                      </a:lnTo>
                      <a:lnTo>
                        <a:pt x="346" y="102"/>
                      </a:lnTo>
                      <a:lnTo>
                        <a:pt x="346" y="103"/>
                      </a:lnTo>
                      <a:lnTo>
                        <a:pt x="347" y="103"/>
                      </a:lnTo>
                      <a:lnTo>
                        <a:pt x="346" y="103"/>
                      </a:lnTo>
                      <a:lnTo>
                        <a:pt x="346" y="103"/>
                      </a:lnTo>
                      <a:lnTo>
                        <a:pt x="346" y="103"/>
                      </a:lnTo>
                      <a:lnTo>
                        <a:pt x="346" y="103"/>
                      </a:lnTo>
                      <a:lnTo>
                        <a:pt x="346" y="103"/>
                      </a:lnTo>
                      <a:lnTo>
                        <a:pt x="345" y="103"/>
                      </a:lnTo>
                      <a:lnTo>
                        <a:pt x="345" y="104"/>
                      </a:lnTo>
                      <a:lnTo>
                        <a:pt x="346" y="104"/>
                      </a:lnTo>
                      <a:lnTo>
                        <a:pt x="346" y="104"/>
                      </a:lnTo>
                      <a:lnTo>
                        <a:pt x="346" y="104"/>
                      </a:lnTo>
                      <a:lnTo>
                        <a:pt x="347" y="104"/>
                      </a:lnTo>
                      <a:lnTo>
                        <a:pt x="348" y="104"/>
                      </a:lnTo>
                      <a:lnTo>
                        <a:pt x="348" y="105"/>
                      </a:lnTo>
                      <a:lnTo>
                        <a:pt x="347" y="105"/>
                      </a:lnTo>
                      <a:lnTo>
                        <a:pt x="348" y="105"/>
                      </a:lnTo>
                      <a:lnTo>
                        <a:pt x="347" y="105"/>
                      </a:lnTo>
                      <a:lnTo>
                        <a:pt x="348" y="105"/>
                      </a:lnTo>
                      <a:lnTo>
                        <a:pt x="347" y="105"/>
                      </a:lnTo>
                      <a:lnTo>
                        <a:pt x="347" y="106"/>
                      </a:lnTo>
                      <a:lnTo>
                        <a:pt x="348" y="106"/>
                      </a:lnTo>
                      <a:lnTo>
                        <a:pt x="348" y="107"/>
                      </a:lnTo>
                      <a:lnTo>
                        <a:pt x="348" y="107"/>
                      </a:lnTo>
                      <a:lnTo>
                        <a:pt x="348" y="107"/>
                      </a:lnTo>
                      <a:lnTo>
                        <a:pt x="349" y="107"/>
                      </a:lnTo>
                      <a:lnTo>
                        <a:pt x="349" y="108"/>
                      </a:lnTo>
                      <a:lnTo>
                        <a:pt x="348" y="108"/>
                      </a:lnTo>
                      <a:lnTo>
                        <a:pt x="348" y="108"/>
                      </a:lnTo>
                      <a:lnTo>
                        <a:pt x="348" y="108"/>
                      </a:lnTo>
                      <a:lnTo>
                        <a:pt x="348" y="108"/>
                      </a:lnTo>
                      <a:lnTo>
                        <a:pt x="348" y="108"/>
                      </a:lnTo>
                      <a:lnTo>
                        <a:pt x="348" y="109"/>
                      </a:lnTo>
                      <a:lnTo>
                        <a:pt x="348" y="109"/>
                      </a:lnTo>
                      <a:lnTo>
                        <a:pt x="348" y="108"/>
                      </a:lnTo>
                      <a:lnTo>
                        <a:pt x="347" y="108"/>
                      </a:lnTo>
                      <a:lnTo>
                        <a:pt x="347" y="109"/>
                      </a:lnTo>
                      <a:lnTo>
                        <a:pt x="346" y="109"/>
                      </a:lnTo>
                      <a:lnTo>
                        <a:pt x="346" y="109"/>
                      </a:lnTo>
                      <a:lnTo>
                        <a:pt x="346" y="109"/>
                      </a:lnTo>
                      <a:lnTo>
                        <a:pt x="346" y="109"/>
                      </a:lnTo>
                      <a:lnTo>
                        <a:pt x="346" y="109"/>
                      </a:lnTo>
                      <a:lnTo>
                        <a:pt x="346" y="109"/>
                      </a:lnTo>
                      <a:lnTo>
                        <a:pt x="346" y="109"/>
                      </a:lnTo>
                      <a:lnTo>
                        <a:pt x="346" y="109"/>
                      </a:lnTo>
                      <a:lnTo>
                        <a:pt x="346" y="110"/>
                      </a:lnTo>
                      <a:lnTo>
                        <a:pt x="345" y="110"/>
                      </a:lnTo>
                      <a:lnTo>
                        <a:pt x="345" y="111"/>
                      </a:lnTo>
                      <a:lnTo>
                        <a:pt x="345" y="111"/>
                      </a:lnTo>
                      <a:lnTo>
                        <a:pt x="345" y="111"/>
                      </a:lnTo>
                      <a:lnTo>
                        <a:pt x="344" y="111"/>
                      </a:lnTo>
                      <a:lnTo>
                        <a:pt x="344" y="111"/>
                      </a:lnTo>
                      <a:lnTo>
                        <a:pt x="343" y="111"/>
                      </a:lnTo>
                      <a:lnTo>
                        <a:pt x="343" y="111"/>
                      </a:lnTo>
                      <a:lnTo>
                        <a:pt x="343" y="111"/>
                      </a:lnTo>
                      <a:lnTo>
                        <a:pt x="342" y="111"/>
                      </a:lnTo>
                      <a:lnTo>
                        <a:pt x="342" y="110"/>
                      </a:lnTo>
                      <a:lnTo>
                        <a:pt x="342" y="110"/>
                      </a:lnTo>
                      <a:lnTo>
                        <a:pt x="341" y="110"/>
                      </a:lnTo>
                      <a:lnTo>
                        <a:pt x="341" y="110"/>
                      </a:lnTo>
                      <a:lnTo>
                        <a:pt x="340" y="110"/>
                      </a:lnTo>
                      <a:lnTo>
                        <a:pt x="340" y="111"/>
                      </a:lnTo>
                      <a:lnTo>
                        <a:pt x="340" y="111"/>
                      </a:lnTo>
                      <a:lnTo>
                        <a:pt x="340" y="110"/>
                      </a:lnTo>
                      <a:lnTo>
                        <a:pt x="339" y="110"/>
                      </a:lnTo>
                      <a:lnTo>
                        <a:pt x="338" y="110"/>
                      </a:lnTo>
                      <a:lnTo>
                        <a:pt x="338" y="111"/>
                      </a:lnTo>
                      <a:lnTo>
                        <a:pt x="338" y="111"/>
                      </a:lnTo>
                      <a:lnTo>
                        <a:pt x="338" y="110"/>
                      </a:lnTo>
                      <a:lnTo>
                        <a:pt x="337" y="110"/>
                      </a:lnTo>
                      <a:lnTo>
                        <a:pt x="337" y="111"/>
                      </a:lnTo>
                      <a:lnTo>
                        <a:pt x="337" y="110"/>
                      </a:lnTo>
                      <a:lnTo>
                        <a:pt x="337" y="111"/>
                      </a:lnTo>
                      <a:lnTo>
                        <a:pt x="337" y="110"/>
                      </a:lnTo>
                      <a:lnTo>
                        <a:pt x="337" y="111"/>
                      </a:lnTo>
                      <a:lnTo>
                        <a:pt x="338" y="111"/>
                      </a:lnTo>
                      <a:lnTo>
                        <a:pt x="337" y="111"/>
                      </a:lnTo>
                      <a:lnTo>
                        <a:pt x="338" y="111"/>
                      </a:lnTo>
                      <a:lnTo>
                        <a:pt x="338" y="111"/>
                      </a:lnTo>
                      <a:lnTo>
                        <a:pt x="339" y="111"/>
                      </a:lnTo>
                      <a:lnTo>
                        <a:pt x="339" y="111"/>
                      </a:lnTo>
                      <a:lnTo>
                        <a:pt x="339" y="111"/>
                      </a:lnTo>
                      <a:lnTo>
                        <a:pt x="340" y="111"/>
                      </a:lnTo>
                      <a:lnTo>
                        <a:pt x="340" y="111"/>
                      </a:lnTo>
                      <a:lnTo>
                        <a:pt x="340" y="111"/>
                      </a:lnTo>
                      <a:lnTo>
                        <a:pt x="341" y="111"/>
                      </a:lnTo>
                      <a:lnTo>
                        <a:pt x="342" y="111"/>
                      </a:lnTo>
                      <a:lnTo>
                        <a:pt x="342" y="111"/>
                      </a:lnTo>
                      <a:lnTo>
                        <a:pt x="341" y="111"/>
                      </a:lnTo>
                      <a:lnTo>
                        <a:pt x="341" y="112"/>
                      </a:lnTo>
                      <a:lnTo>
                        <a:pt x="342" y="111"/>
                      </a:lnTo>
                      <a:lnTo>
                        <a:pt x="341" y="111"/>
                      </a:lnTo>
                      <a:lnTo>
                        <a:pt x="342" y="111"/>
                      </a:lnTo>
                      <a:lnTo>
                        <a:pt x="342" y="111"/>
                      </a:lnTo>
                      <a:lnTo>
                        <a:pt x="343" y="111"/>
                      </a:lnTo>
                      <a:lnTo>
                        <a:pt x="344" y="111"/>
                      </a:lnTo>
                      <a:lnTo>
                        <a:pt x="343" y="112"/>
                      </a:lnTo>
                      <a:lnTo>
                        <a:pt x="342" y="112"/>
                      </a:lnTo>
                      <a:lnTo>
                        <a:pt x="342" y="112"/>
                      </a:lnTo>
                      <a:lnTo>
                        <a:pt x="341" y="112"/>
                      </a:lnTo>
                      <a:lnTo>
                        <a:pt x="342" y="112"/>
                      </a:lnTo>
                      <a:lnTo>
                        <a:pt x="341" y="112"/>
                      </a:lnTo>
                      <a:lnTo>
                        <a:pt x="342" y="112"/>
                      </a:lnTo>
                      <a:lnTo>
                        <a:pt x="341" y="112"/>
                      </a:lnTo>
                      <a:lnTo>
                        <a:pt x="341" y="112"/>
                      </a:lnTo>
                      <a:lnTo>
                        <a:pt x="341" y="113"/>
                      </a:lnTo>
                      <a:lnTo>
                        <a:pt x="341" y="113"/>
                      </a:lnTo>
                      <a:lnTo>
                        <a:pt x="340" y="113"/>
                      </a:lnTo>
                      <a:lnTo>
                        <a:pt x="340" y="114"/>
                      </a:lnTo>
                      <a:lnTo>
                        <a:pt x="340" y="114"/>
                      </a:lnTo>
                      <a:lnTo>
                        <a:pt x="340" y="114"/>
                      </a:lnTo>
                      <a:lnTo>
                        <a:pt x="339" y="114"/>
                      </a:lnTo>
                      <a:lnTo>
                        <a:pt x="339" y="115"/>
                      </a:lnTo>
                      <a:lnTo>
                        <a:pt x="339" y="114"/>
                      </a:lnTo>
                      <a:lnTo>
                        <a:pt x="339" y="115"/>
                      </a:lnTo>
                      <a:lnTo>
                        <a:pt x="338" y="115"/>
                      </a:lnTo>
                      <a:lnTo>
                        <a:pt x="338" y="114"/>
                      </a:lnTo>
                      <a:lnTo>
                        <a:pt x="338" y="114"/>
                      </a:lnTo>
                      <a:lnTo>
                        <a:pt x="337" y="114"/>
                      </a:lnTo>
                      <a:lnTo>
                        <a:pt x="337" y="114"/>
                      </a:lnTo>
                      <a:lnTo>
                        <a:pt x="337" y="115"/>
                      </a:lnTo>
                      <a:lnTo>
                        <a:pt x="336" y="115"/>
                      </a:lnTo>
                      <a:lnTo>
                        <a:pt x="336" y="114"/>
                      </a:lnTo>
                      <a:lnTo>
                        <a:pt x="336" y="114"/>
                      </a:lnTo>
                      <a:lnTo>
                        <a:pt x="335" y="114"/>
                      </a:lnTo>
                      <a:lnTo>
                        <a:pt x="335" y="115"/>
                      </a:lnTo>
                      <a:lnTo>
                        <a:pt x="334" y="115"/>
                      </a:lnTo>
                      <a:lnTo>
                        <a:pt x="334" y="115"/>
                      </a:lnTo>
                      <a:lnTo>
                        <a:pt x="333" y="115"/>
                      </a:lnTo>
                      <a:lnTo>
                        <a:pt x="333" y="115"/>
                      </a:lnTo>
                      <a:lnTo>
                        <a:pt x="333" y="115"/>
                      </a:lnTo>
                      <a:lnTo>
                        <a:pt x="333" y="115"/>
                      </a:lnTo>
                      <a:lnTo>
                        <a:pt x="333" y="115"/>
                      </a:lnTo>
                      <a:lnTo>
                        <a:pt x="332" y="115"/>
                      </a:lnTo>
                      <a:lnTo>
                        <a:pt x="332" y="114"/>
                      </a:lnTo>
                      <a:lnTo>
                        <a:pt x="332" y="115"/>
                      </a:lnTo>
                      <a:lnTo>
                        <a:pt x="332" y="114"/>
                      </a:lnTo>
                      <a:lnTo>
                        <a:pt x="331" y="114"/>
                      </a:lnTo>
                      <a:lnTo>
                        <a:pt x="331" y="114"/>
                      </a:lnTo>
                      <a:lnTo>
                        <a:pt x="330" y="114"/>
                      </a:lnTo>
                      <a:lnTo>
                        <a:pt x="330" y="114"/>
                      </a:lnTo>
                      <a:lnTo>
                        <a:pt x="329" y="115"/>
                      </a:lnTo>
                      <a:lnTo>
                        <a:pt x="330" y="114"/>
                      </a:lnTo>
                      <a:lnTo>
                        <a:pt x="330" y="114"/>
                      </a:lnTo>
                      <a:lnTo>
                        <a:pt x="331" y="114"/>
                      </a:lnTo>
                      <a:lnTo>
                        <a:pt x="331" y="114"/>
                      </a:lnTo>
                      <a:lnTo>
                        <a:pt x="332" y="115"/>
                      </a:lnTo>
                      <a:lnTo>
                        <a:pt x="333" y="115"/>
                      </a:lnTo>
                      <a:lnTo>
                        <a:pt x="333" y="115"/>
                      </a:lnTo>
                      <a:lnTo>
                        <a:pt x="333" y="115"/>
                      </a:lnTo>
                      <a:lnTo>
                        <a:pt x="334" y="115"/>
                      </a:lnTo>
                      <a:lnTo>
                        <a:pt x="334" y="115"/>
                      </a:lnTo>
                      <a:lnTo>
                        <a:pt x="335" y="115"/>
                      </a:lnTo>
                      <a:lnTo>
                        <a:pt x="335" y="115"/>
                      </a:lnTo>
                      <a:lnTo>
                        <a:pt x="336" y="114"/>
                      </a:lnTo>
                      <a:lnTo>
                        <a:pt x="336" y="115"/>
                      </a:lnTo>
                      <a:lnTo>
                        <a:pt x="336" y="115"/>
                      </a:lnTo>
                      <a:lnTo>
                        <a:pt x="337" y="115"/>
                      </a:lnTo>
                      <a:lnTo>
                        <a:pt x="337" y="115"/>
                      </a:lnTo>
                      <a:lnTo>
                        <a:pt x="338" y="115"/>
                      </a:lnTo>
                      <a:lnTo>
                        <a:pt x="338" y="115"/>
                      </a:lnTo>
                      <a:lnTo>
                        <a:pt x="339" y="115"/>
                      </a:lnTo>
                      <a:lnTo>
                        <a:pt x="340" y="115"/>
                      </a:lnTo>
                      <a:lnTo>
                        <a:pt x="340" y="114"/>
                      </a:lnTo>
                      <a:lnTo>
                        <a:pt x="340" y="114"/>
                      </a:lnTo>
                      <a:lnTo>
                        <a:pt x="341" y="115"/>
                      </a:lnTo>
                      <a:lnTo>
                        <a:pt x="341" y="115"/>
                      </a:lnTo>
                      <a:lnTo>
                        <a:pt x="341" y="114"/>
                      </a:lnTo>
                      <a:lnTo>
                        <a:pt x="342" y="115"/>
                      </a:lnTo>
                      <a:lnTo>
                        <a:pt x="341" y="115"/>
                      </a:lnTo>
                      <a:lnTo>
                        <a:pt x="342" y="115"/>
                      </a:lnTo>
                      <a:lnTo>
                        <a:pt x="341" y="114"/>
                      </a:lnTo>
                      <a:lnTo>
                        <a:pt x="341" y="115"/>
                      </a:lnTo>
                      <a:lnTo>
                        <a:pt x="341" y="115"/>
                      </a:lnTo>
                      <a:lnTo>
                        <a:pt x="340" y="114"/>
                      </a:lnTo>
                      <a:lnTo>
                        <a:pt x="340" y="114"/>
                      </a:lnTo>
                      <a:lnTo>
                        <a:pt x="340" y="114"/>
                      </a:lnTo>
                      <a:lnTo>
                        <a:pt x="341" y="114"/>
                      </a:lnTo>
                      <a:lnTo>
                        <a:pt x="341" y="114"/>
                      </a:lnTo>
                      <a:lnTo>
                        <a:pt x="342" y="113"/>
                      </a:lnTo>
                      <a:lnTo>
                        <a:pt x="342" y="113"/>
                      </a:lnTo>
                      <a:lnTo>
                        <a:pt x="342" y="113"/>
                      </a:lnTo>
                      <a:lnTo>
                        <a:pt x="342" y="113"/>
                      </a:lnTo>
                      <a:lnTo>
                        <a:pt x="343" y="113"/>
                      </a:lnTo>
                      <a:lnTo>
                        <a:pt x="342" y="113"/>
                      </a:lnTo>
                      <a:lnTo>
                        <a:pt x="343" y="113"/>
                      </a:lnTo>
                      <a:lnTo>
                        <a:pt x="342" y="113"/>
                      </a:lnTo>
                      <a:lnTo>
                        <a:pt x="342" y="112"/>
                      </a:lnTo>
                      <a:lnTo>
                        <a:pt x="342" y="112"/>
                      </a:lnTo>
                      <a:lnTo>
                        <a:pt x="343" y="112"/>
                      </a:lnTo>
                      <a:lnTo>
                        <a:pt x="344" y="112"/>
                      </a:lnTo>
                      <a:lnTo>
                        <a:pt x="344" y="112"/>
                      </a:lnTo>
                      <a:lnTo>
                        <a:pt x="345" y="112"/>
                      </a:lnTo>
                      <a:lnTo>
                        <a:pt x="345" y="112"/>
                      </a:lnTo>
                      <a:lnTo>
                        <a:pt x="346" y="112"/>
                      </a:lnTo>
                      <a:lnTo>
                        <a:pt x="346" y="112"/>
                      </a:lnTo>
                      <a:lnTo>
                        <a:pt x="347" y="112"/>
                      </a:lnTo>
                      <a:lnTo>
                        <a:pt x="347" y="111"/>
                      </a:lnTo>
                      <a:lnTo>
                        <a:pt x="347" y="112"/>
                      </a:lnTo>
                      <a:lnTo>
                        <a:pt x="348" y="112"/>
                      </a:lnTo>
                      <a:lnTo>
                        <a:pt x="348" y="112"/>
                      </a:lnTo>
                      <a:lnTo>
                        <a:pt x="348" y="112"/>
                      </a:lnTo>
                      <a:lnTo>
                        <a:pt x="348" y="112"/>
                      </a:lnTo>
                      <a:lnTo>
                        <a:pt x="348" y="112"/>
                      </a:lnTo>
                      <a:lnTo>
                        <a:pt x="349" y="112"/>
                      </a:lnTo>
                      <a:lnTo>
                        <a:pt x="349" y="112"/>
                      </a:lnTo>
                      <a:lnTo>
                        <a:pt x="349" y="112"/>
                      </a:lnTo>
                      <a:lnTo>
                        <a:pt x="349" y="112"/>
                      </a:lnTo>
                      <a:lnTo>
                        <a:pt x="350" y="112"/>
                      </a:lnTo>
                      <a:lnTo>
                        <a:pt x="350" y="112"/>
                      </a:lnTo>
                      <a:lnTo>
                        <a:pt x="351" y="112"/>
                      </a:lnTo>
                      <a:lnTo>
                        <a:pt x="351" y="112"/>
                      </a:lnTo>
                      <a:lnTo>
                        <a:pt x="351" y="112"/>
                      </a:lnTo>
                      <a:lnTo>
                        <a:pt x="351" y="113"/>
                      </a:lnTo>
                      <a:lnTo>
                        <a:pt x="352" y="113"/>
                      </a:lnTo>
                      <a:lnTo>
                        <a:pt x="352" y="114"/>
                      </a:lnTo>
                      <a:lnTo>
                        <a:pt x="352" y="114"/>
                      </a:lnTo>
                      <a:lnTo>
                        <a:pt x="352" y="114"/>
                      </a:lnTo>
                      <a:lnTo>
                        <a:pt x="352" y="115"/>
                      </a:lnTo>
                      <a:lnTo>
                        <a:pt x="352" y="115"/>
                      </a:lnTo>
                      <a:lnTo>
                        <a:pt x="353" y="115"/>
                      </a:lnTo>
                      <a:lnTo>
                        <a:pt x="353" y="116"/>
                      </a:lnTo>
                      <a:lnTo>
                        <a:pt x="353" y="116"/>
                      </a:lnTo>
                      <a:lnTo>
                        <a:pt x="354" y="116"/>
                      </a:lnTo>
                      <a:lnTo>
                        <a:pt x="354" y="116"/>
                      </a:lnTo>
                      <a:lnTo>
                        <a:pt x="353" y="116"/>
                      </a:lnTo>
                      <a:lnTo>
                        <a:pt x="353" y="117"/>
                      </a:lnTo>
                      <a:lnTo>
                        <a:pt x="353" y="117"/>
                      </a:lnTo>
                      <a:lnTo>
                        <a:pt x="353" y="118"/>
                      </a:lnTo>
                      <a:lnTo>
                        <a:pt x="353" y="118"/>
                      </a:lnTo>
                      <a:lnTo>
                        <a:pt x="352" y="118"/>
                      </a:lnTo>
                      <a:lnTo>
                        <a:pt x="352" y="118"/>
                      </a:lnTo>
                      <a:lnTo>
                        <a:pt x="352" y="118"/>
                      </a:lnTo>
                      <a:lnTo>
                        <a:pt x="352" y="119"/>
                      </a:lnTo>
                      <a:lnTo>
                        <a:pt x="352" y="119"/>
                      </a:lnTo>
                      <a:lnTo>
                        <a:pt x="353" y="119"/>
                      </a:lnTo>
                      <a:lnTo>
                        <a:pt x="353" y="119"/>
                      </a:lnTo>
                      <a:lnTo>
                        <a:pt x="354" y="119"/>
                      </a:lnTo>
                      <a:lnTo>
                        <a:pt x="355" y="119"/>
                      </a:lnTo>
                      <a:lnTo>
                        <a:pt x="355" y="119"/>
                      </a:lnTo>
                      <a:lnTo>
                        <a:pt x="355" y="119"/>
                      </a:lnTo>
                      <a:lnTo>
                        <a:pt x="356" y="119"/>
                      </a:lnTo>
                      <a:lnTo>
                        <a:pt x="356" y="119"/>
                      </a:lnTo>
                      <a:lnTo>
                        <a:pt x="357" y="119"/>
                      </a:lnTo>
                      <a:lnTo>
                        <a:pt x="357" y="119"/>
                      </a:lnTo>
                      <a:lnTo>
                        <a:pt x="357" y="118"/>
                      </a:lnTo>
                      <a:lnTo>
                        <a:pt x="356" y="118"/>
                      </a:lnTo>
                      <a:lnTo>
                        <a:pt x="356" y="118"/>
                      </a:lnTo>
                      <a:lnTo>
                        <a:pt x="356" y="118"/>
                      </a:lnTo>
                      <a:lnTo>
                        <a:pt x="356" y="118"/>
                      </a:lnTo>
                      <a:lnTo>
                        <a:pt x="356" y="117"/>
                      </a:lnTo>
                      <a:lnTo>
                        <a:pt x="357" y="117"/>
                      </a:lnTo>
                      <a:lnTo>
                        <a:pt x="356" y="117"/>
                      </a:lnTo>
                      <a:lnTo>
                        <a:pt x="356" y="116"/>
                      </a:lnTo>
                      <a:lnTo>
                        <a:pt x="356" y="116"/>
                      </a:lnTo>
                      <a:lnTo>
                        <a:pt x="356" y="116"/>
                      </a:lnTo>
                      <a:lnTo>
                        <a:pt x="355" y="116"/>
                      </a:lnTo>
                      <a:lnTo>
                        <a:pt x="355" y="115"/>
                      </a:lnTo>
                      <a:lnTo>
                        <a:pt x="355" y="115"/>
                      </a:lnTo>
                      <a:lnTo>
                        <a:pt x="354" y="115"/>
                      </a:lnTo>
                      <a:lnTo>
                        <a:pt x="355" y="115"/>
                      </a:lnTo>
                      <a:lnTo>
                        <a:pt x="354" y="115"/>
                      </a:lnTo>
                      <a:lnTo>
                        <a:pt x="354" y="114"/>
                      </a:lnTo>
                      <a:lnTo>
                        <a:pt x="354" y="114"/>
                      </a:lnTo>
                      <a:lnTo>
                        <a:pt x="353" y="114"/>
                      </a:lnTo>
                      <a:lnTo>
                        <a:pt x="354" y="114"/>
                      </a:lnTo>
                      <a:lnTo>
                        <a:pt x="353" y="114"/>
                      </a:lnTo>
                      <a:lnTo>
                        <a:pt x="353" y="113"/>
                      </a:lnTo>
                      <a:lnTo>
                        <a:pt x="353" y="112"/>
                      </a:lnTo>
                      <a:lnTo>
                        <a:pt x="353" y="112"/>
                      </a:lnTo>
                      <a:lnTo>
                        <a:pt x="353" y="112"/>
                      </a:lnTo>
                      <a:lnTo>
                        <a:pt x="353" y="111"/>
                      </a:lnTo>
                      <a:lnTo>
                        <a:pt x="353" y="111"/>
                      </a:lnTo>
                      <a:lnTo>
                        <a:pt x="353" y="111"/>
                      </a:lnTo>
                      <a:lnTo>
                        <a:pt x="353" y="111"/>
                      </a:lnTo>
                      <a:lnTo>
                        <a:pt x="354" y="111"/>
                      </a:lnTo>
                      <a:lnTo>
                        <a:pt x="354" y="111"/>
                      </a:lnTo>
                      <a:lnTo>
                        <a:pt x="353" y="111"/>
                      </a:lnTo>
                      <a:lnTo>
                        <a:pt x="353" y="111"/>
                      </a:lnTo>
                      <a:lnTo>
                        <a:pt x="353" y="110"/>
                      </a:lnTo>
                      <a:lnTo>
                        <a:pt x="353" y="111"/>
                      </a:lnTo>
                      <a:lnTo>
                        <a:pt x="353" y="110"/>
                      </a:lnTo>
                      <a:lnTo>
                        <a:pt x="352" y="110"/>
                      </a:lnTo>
                      <a:lnTo>
                        <a:pt x="352" y="111"/>
                      </a:lnTo>
                      <a:lnTo>
                        <a:pt x="352" y="111"/>
                      </a:lnTo>
                      <a:lnTo>
                        <a:pt x="351" y="111"/>
                      </a:lnTo>
                      <a:lnTo>
                        <a:pt x="351" y="111"/>
                      </a:lnTo>
                      <a:lnTo>
                        <a:pt x="350" y="111"/>
                      </a:lnTo>
                      <a:lnTo>
                        <a:pt x="349" y="111"/>
                      </a:lnTo>
                      <a:lnTo>
                        <a:pt x="349" y="111"/>
                      </a:lnTo>
                      <a:lnTo>
                        <a:pt x="349" y="110"/>
                      </a:lnTo>
                      <a:lnTo>
                        <a:pt x="349" y="110"/>
                      </a:lnTo>
                      <a:lnTo>
                        <a:pt x="350" y="110"/>
                      </a:lnTo>
                      <a:lnTo>
                        <a:pt x="351" y="110"/>
                      </a:lnTo>
                      <a:lnTo>
                        <a:pt x="351" y="109"/>
                      </a:lnTo>
                      <a:lnTo>
                        <a:pt x="351" y="110"/>
                      </a:lnTo>
                      <a:lnTo>
                        <a:pt x="351" y="109"/>
                      </a:lnTo>
                      <a:lnTo>
                        <a:pt x="351" y="109"/>
                      </a:lnTo>
                      <a:lnTo>
                        <a:pt x="352" y="109"/>
                      </a:lnTo>
                      <a:lnTo>
                        <a:pt x="352" y="109"/>
                      </a:lnTo>
                      <a:lnTo>
                        <a:pt x="353" y="109"/>
                      </a:lnTo>
                      <a:lnTo>
                        <a:pt x="353" y="109"/>
                      </a:lnTo>
                      <a:lnTo>
                        <a:pt x="354" y="109"/>
                      </a:lnTo>
                      <a:lnTo>
                        <a:pt x="355" y="109"/>
                      </a:lnTo>
                      <a:lnTo>
                        <a:pt x="355" y="109"/>
                      </a:lnTo>
                      <a:lnTo>
                        <a:pt x="355" y="110"/>
                      </a:lnTo>
                      <a:lnTo>
                        <a:pt x="355" y="110"/>
                      </a:lnTo>
                      <a:lnTo>
                        <a:pt x="355" y="111"/>
                      </a:lnTo>
                      <a:lnTo>
                        <a:pt x="355" y="111"/>
                      </a:lnTo>
                      <a:lnTo>
                        <a:pt x="355" y="111"/>
                      </a:lnTo>
                      <a:lnTo>
                        <a:pt x="356" y="111"/>
                      </a:lnTo>
                      <a:lnTo>
                        <a:pt x="356" y="111"/>
                      </a:lnTo>
                      <a:lnTo>
                        <a:pt x="356" y="112"/>
                      </a:lnTo>
                      <a:lnTo>
                        <a:pt x="357" y="112"/>
                      </a:lnTo>
                      <a:lnTo>
                        <a:pt x="357" y="112"/>
                      </a:lnTo>
                      <a:lnTo>
                        <a:pt x="358" y="113"/>
                      </a:lnTo>
                      <a:lnTo>
                        <a:pt x="359" y="113"/>
                      </a:lnTo>
                      <a:lnTo>
                        <a:pt x="359" y="113"/>
                      </a:lnTo>
                      <a:lnTo>
                        <a:pt x="360" y="113"/>
                      </a:lnTo>
                      <a:lnTo>
                        <a:pt x="360" y="113"/>
                      </a:lnTo>
                      <a:lnTo>
                        <a:pt x="360" y="114"/>
                      </a:lnTo>
                      <a:lnTo>
                        <a:pt x="360" y="114"/>
                      </a:lnTo>
                      <a:lnTo>
                        <a:pt x="360" y="114"/>
                      </a:lnTo>
                      <a:lnTo>
                        <a:pt x="361" y="114"/>
                      </a:lnTo>
                      <a:lnTo>
                        <a:pt x="361" y="113"/>
                      </a:lnTo>
                      <a:lnTo>
                        <a:pt x="362" y="113"/>
                      </a:lnTo>
                      <a:lnTo>
                        <a:pt x="362" y="114"/>
                      </a:lnTo>
                      <a:lnTo>
                        <a:pt x="362" y="114"/>
                      </a:lnTo>
                      <a:lnTo>
                        <a:pt x="362" y="113"/>
                      </a:lnTo>
                      <a:lnTo>
                        <a:pt x="362" y="113"/>
                      </a:lnTo>
                      <a:lnTo>
                        <a:pt x="362" y="112"/>
                      </a:lnTo>
                      <a:lnTo>
                        <a:pt x="361" y="112"/>
                      </a:lnTo>
                      <a:lnTo>
                        <a:pt x="361" y="113"/>
                      </a:lnTo>
                      <a:lnTo>
                        <a:pt x="361" y="112"/>
                      </a:lnTo>
                      <a:lnTo>
                        <a:pt x="362" y="112"/>
                      </a:lnTo>
                      <a:lnTo>
                        <a:pt x="362" y="112"/>
                      </a:lnTo>
                      <a:lnTo>
                        <a:pt x="361" y="112"/>
                      </a:lnTo>
                      <a:lnTo>
                        <a:pt x="361" y="112"/>
                      </a:lnTo>
                      <a:lnTo>
                        <a:pt x="361" y="112"/>
                      </a:lnTo>
                      <a:lnTo>
                        <a:pt x="361" y="111"/>
                      </a:lnTo>
                      <a:lnTo>
                        <a:pt x="360" y="111"/>
                      </a:lnTo>
                      <a:lnTo>
                        <a:pt x="360" y="111"/>
                      </a:lnTo>
                      <a:lnTo>
                        <a:pt x="360" y="111"/>
                      </a:lnTo>
                      <a:lnTo>
                        <a:pt x="360" y="110"/>
                      </a:lnTo>
                      <a:lnTo>
                        <a:pt x="360" y="109"/>
                      </a:lnTo>
                      <a:lnTo>
                        <a:pt x="359" y="109"/>
                      </a:lnTo>
                      <a:lnTo>
                        <a:pt x="359" y="109"/>
                      </a:lnTo>
                      <a:lnTo>
                        <a:pt x="360" y="109"/>
                      </a:lnTo>
                      <a:lnTo>
                        <a:pt x="360" y="108"/>
                      </a:lnTo>
                      <a:lnTo>
                        <a:pt x="361" y="108"/>
                      </a:lnTo>
                      <a:lnTo>
                        <a:pt x="361" y="109"/>
                      </a:lnTo>
                      <a:lnTo>
                        <a:pt x="362" y="109"/>
                      </a:lnTo>
                      <a:lnTo>
                        <a:pt x="362" y="108"/>
                      </a:lnTo>
                      <a:lnTo>
                        <a:pt x="362" y="108"/>
                      </a:lnTo>
                      <a:lnTo>
                        <a:pt x="363" y="108"/>
                      </a:lnTo>
                      <a:lnTo>
                        <a:pt x="363" y="108"/>
                      </a:lnTo>
                      <a:lnTo>
                        <a:pt x="364" y="108"/>
                      </a:lnTo>
                      <a:lnTo>
                        <a:pt x="364" y="108"/>
                      </a:lnTo>
                      <a:lnTo>
                        <a:pt x="364" y="109"/>
                      </a:lnTo>
                      <a:lnTo>
                        <a:pt x="365" y="109"/>
                      </a:lnTo>
                      <a:lnTo>
                        <a:pt x="366" y="109"/>
                      </a:lnTo>
                      <a:lnTo>
                        <a:pt x="366" y="109"/>
                      </a:lnTo>
                      <a:lnTo>
                        <a:pt x="366" y="109"/>
                      </a:lnTo>
                      <a:lnTo>
                        <a:pt x="365" y="109"/>
                      </a:lnTo>
                      <a:lnTo>
                        <a:pt x="366" y="109"/>
                      </a:lnTo>
                      <a:lnTo>
                        <a:pt x="366" y="109"/>
                      </a:lnTo>
                      <a:lnTo>
                        <a:pt x="366" y="109"/>
                      </a:lnTo>
                      <a:lnTo>
                        <a:pt x="367" y="109"/>
                      </a:lnTo>
                      <a:lnTo>
                        <a:pt x="366" y="109"/>
                      </a:lnTo>
                      <a:lnTo>
                        <a:pt x="367" y="109"/>
                      </a:lnTo>
                      <a:lnTo>
                        <a:pt x="366" y="109"/>
                      </a:lnTo>
                      <a:lnTo>
                        <a:pt x="367" y="109"/>
                      </a:lnTo>
                      <a:lnTo>
                        <a:pt x="367" y="110"/>
                      </a:lnTo>
                      <a:lnTo>
                        <a:pt x="367" y="110"/>
                      </a:lnTo>
                      <a:lnTo>
                        <a:pt x="367" y="110"/>
                      </a:lnTo>
                      <a:lnTo>
                        <a:pt x="367" y="110"/>
                      </a:lnTo>
                      <a:lnTo>
                        <a:pt x="368" y="111"/>
                      </a:lnTo>
                      <a:lnTo>
                        <a:pt x="368" y="111"/>
                      </a:lnTo>
                      <a:lnTo>
                        <a:pt x="369" y="111"/>
                      </a:lnTo>
                      <a:lnTo>
                        <a:pt x="368" y="111"/>
                      </a:lnTo>
                      <a:lnTo>
                        <a:pt x="368" y="111"/>
                      </a:lnTo>
                      <a:lnTo>
                        <a:pt x="369" y="111"/>
                      </a:lnTo>
                      <a:lnTo>
                        <a:pt x="370" y="111"/>
                      </a:lnTo>
                      <a:lnTo>
                        <a:pt x="370" y="112"/>
                      </a:lnTo>
                      <a:lnTo>
                        <a:pt x="370" y="112"/>
                      </a:lnTo>
                      <a:lnTo>
                        <a:pt x="370" y="111"/>
                      </a:lnTo>
                      <a:lnTo>
                        <a:pt x="371" y="111"/>
                      </a:lnTo>
                      <a:lnTo>
                        <a:pt x="370" y="112"/>
                      </a:lnTo>
                      <a:lnTo>
                        <a:pt x="371" y="112"/>
                      </a:lnTo>
                      <a:lnTo>
                        <a:pt x="371" y="112"/>
                      </a:lnTo>
                      <a:lnTo>
                        <a:pt x="372" y="112"/>
                      </a:lnTo>
                      <a:lnTo>
                        <a:pt x="372" y="112"/>
                      </a:lnTo>
                      <a:lnTo>
                        <a:pt x="372" y="112"/>
                      </a:lnTo>
                      <a:lnTo>
                        <a:pt x="373" y="112"/>
                      </a:lnTo>
                      <a:lnTo>
                        <a:pt x="372" y="112"/>
                      </a:lnTo>
                      <a:lnTo>
                        <a:pt x="372" y="113"/>
                      </a:lnTo>
                      <a:lnTo>
                        <a:pt x="373" y="113"/>
                      </a:lnTo>
                      <a:lnTo>
                        <a:pt x="374" y="113"/>
                      </a:lnTo>
                      <a:lnTo>
                        <a:pt x="373" y="113"/>
                      </a:lnTo>
                      <a:lnTo>
                        <a:pt x="374" y="113"/>
                      </a:lnTo>
                      <a:lnTo>
                        <a:pt x="374" y="113"/>
                      </a:lnTo>
                      <a:lnTo>
                        <a:pt x="374" y="113"/>
                      </a:lnTo>
                      <a:lnTo>
                        <a:pt x="374" y="114"/>
                      </a:lnTo>
                      <a:lnTo>
                        <a:pt x="374" y="114"/>
                      </a:lnTo>
                      <a:lnTo>
                        <a:pt x="375" y="114"/>
                      </a:lnTo>
                      <a:lnTo>
                        <a:pt x="375" y="114"/>
                      </a:lnTo>
                      <a:lnTo>
                        <a:pt x="375" y="114"/>
                      </a:lnTo>
                      <a:lnTo>
                        <a:pt x="376" y="115"/>
                      </a:lnTo>
                      <a:lnTo>
                        <a:pt x="376" y="114"/>
                      </a:lnTo>
                      <a:lnTo>
                        <a:pt x="375" y="114"/>
                      </a:lnTo>
                      <a:lnTo>
                        <a:pt x="376" y="114"/>
                      </a:lnTo>
                      <a:lnTo>
                        <a:pt x="376" y="115"/>
                      </a:lnTo>
                      <a:lnTo>
                        <a:pt x="377" y="115"/>
                      </a:lnTo>
                      <a:lnTo>
                        <a:pt x="376" y="115"/>
                      </a:lnTo>
                      <a:lnTo>
                        <a:pt x="376" y="115"/>
                      </a:lnTo>
                      <a:lnTo>
                        <a:pt x="375" y="115"/>
                      </a:lnTo>
                      <a:lnTo>
                        <a:pt x="376" y="116"/>
                      </a:lnTo>
                      <a:lnTo>
                        <a:pt x="375" y="116"/>
                      </a:lnTo>
                      <a:lnTo>
                        <a:pt x="375" y="116"/>
                      </a:lnTo>
                      <a:lnTo>
                        <a:pt x="375" y="116"/>
                      </a:lnTo>
                      <a:lnTo>
                        <a:pt x="376" y="116"/>
                      </a:lnTo>
                      <a:lnTo>
                        <a:pt x="375" y="115"/>
                      </a:lnTo>
                      <a:lnTo>
                        <a:pt x="376" y="115"/>
                      </a:lnTo>
                      <a:lnTo>
                        <a:pt x="376" y="115"/>
                      </a:lnTo>
                      <a:lnTo>
                        <a:pt x="377" y="115"/>
                      </a:lnTo>
                      <a:lnTo>
                        <a:pt x="376" y="114"/>
                      </a:lnTo>
                      <a:lnTo>
                        <a:pt x="375" y="114"/>
                      </a:lnTo>
                      <a:lnTo>
                        <a:pt x="376" y="114"/>
                      </a:lnTo>
                      <a:lnTo>
                        <a:pt x="375" y="114"/>
                      </a:lnTo>
                      <a:lnTo>
                        <a:pt x="375" y="114"/>
                      </a:lnTo>
                      <a:lnTo>
                        <a:pt x="375" y="114"/>
                      </a:lnTo>
                      <a:lnTo>
                        <a:pt x="375" y="114"/>
                      </a:lnTo>
                      <a:lnTo>
                        <a:pt x="376" y="114"/>
                      </a:lnTo>
                      <a:lnTo>
                        <a:pt x="375" y="114"/>
                      </a:lnTo>
                      <a:lnTo>
                        <a:pt x="375" y="114"/>
                      </a:lnTo>
                      <a:lnTo>
                        <a:pt x="374" y="114"/>
                      </a:lnTo>
                      <a:lnTo>
                        <a:pt x="374" y="114"/>
                      </a:lnTo>
                      <a:lnTo>
                        <a:pt x="374" y="113"/>
                      </a:lnTo>
                      <a:lnTo>
                        <a:pt x="374" y="113"/>
                      </a:lnTo>
                      <a:lnTo>
                        <a:pt x="374" y="113"/>
                      </a:lnTo>
                      <a:lnTo>
                        <a:pt x="373" y="113"/>
                      </a:lnTo>
                      <a:lnTo>
                        <a:pt x="374" y="113"/>
                      </a:lnTo>
                      <a:lnTo>
                        <a:pt x="373" y="112"/>
                      </a:lnTo>
                      <a:lnTo>
                        <a:pt x="373" y="113"/>
                      </a:lnTo>
                      <a:lnTo>
                        <a:pt x="372" y="113"/>
                      </a:lnTo>
                      <a:lnTo>
                        <a:pt x="372" y="112"/>
                      </a:lnTo>
                      <a:lnTo>
                        <a:pt x="373" y="112"/>
                      </a:lnTo>
                      <a:lnTo>
                        <a:pt x="372" y="112"/>
                      </a:lnTo>
                      <a:lnTo>
                        <a:pt x="372" y="112"/>
                      </a:lnTo>
                      <a:lnTo>
                        <a:pt x="372" y="112"/>
                      </a:lnTo>
                      <a:lnTo>
                        <a:pt x="371" y="112"/>
                      </a:lnTo>
                      <a:lnTo>
                        <a:pt x="371" y="112"/>
                      </a:lnTo>
                      <a:lnTo>
                        <a:pt x="370" y="112"/>
                      </a:lnTo>
                      <a:lnTo>
                        <a:pt x="371" y="112"/>
                      </a:lnTo>
                      <a:lnTo>
                        <a:pt x="371" y="111"/>
                      </a:lnTo>
                      <a:lnTo>
                        <a:pt x="370" y="111"/>
                      </a:lnTo>
                      <a:lnTo>
                        <a:pt x="370" y="112"/>
                      </a:lnTo>
                      <a:lnTo>
                        <a:pt x="370" y="111"/>
                      </a:lnTo>
                      <a:lnTo>
                        <a:pt x="370" y="111"/>
                      </a:lnTo>
                      <a:lnTo>
                        <a:pt x="370" y="111"/>
                      </a:lnTo>
                      <a:lnTo>
                        <a:pt x="369" y="111"/>
                      </a:lnTo>
                      <a:lnTo>
                        <a:pt x="369" y="111"/>
                      </a:lnTo>
                      <a:lnTo>
                        <a:pt x="368" y="111"/>
                      </a:lnTo>
                      <a:lnTo>
                        <a:pt x="369" y="111"/>
                      </a:lnTo>
                      <a:lnTo>
                        <a:pt x="368" y="111"/>
                      </a:lnTo>
                      <a:lnTo>
                        <a:pt x="369" y="111"/>
                      </a:lnTo>
                      <a:lnTo>
                        <a:pt x="368" y="111"/>
                      </a:lnTo>
                      <a:lnTo>
                        <a:pt x="368" y="111"/>
                      </a:lnTo>
                      <a:lnTo>
                        <a:pt x="368" y="110"/>
                      </a:lnTo>
                      <a:lnTo>
                        <a:pt x="367" y="110"/>
                      </a:lnTo>
                      <a:lnTo>
                        <a:pt x="367" y="109"/>
                      </a:lnTo>
                      <a:lnTo>
                        <a:pt x="366" y="109"/>
                      </a:lnTo>
                      <a:lnTo>
                        <a:pt x="366" y="108"/>
                      </a:lnTo>
                      <a:lnTo>
                        <a:pt x="366" y="108"/>
                      </a:lnTo>
                      <a:lnTo>
                        <a:pt x="366" y="108"/>
                      </a:lnTo>
                      <a:lnTo>
                        <a:pt x="367" y="108"/>
                      </a:lnTo>
                      <a:lnTo>
                        <a:pt x="367" y="108"/>
                      </a:lnTo>
                      <a:lnTo>
                        <a:pt x="368" y="108"/>
                      </a:lnTo>
                      <a:lnTo>
                        <a:pt x="368" y="108"/>
                      </a:lnTo>
                      <a:lnTo>
                        <a:pt x="368" y="108"/>
                      </a:lnTo>
                      <a:lnTo>
                        <a:pt x="369" y="108"/>
                      </a:lnTo>
                      <a:lnTo>
                        <a:pt x="370" y="108"/>
                      </a:lnTo>
                      <a:lnTo>
                        <a:pt x="370" y="108"/>
                      </a:lnTo>
                      <a:lnTo>
                        <a:pt x="371" y="108"/>
                      </a:lnTo>
                      <a:lnTo>
                        <a:pt x="371" y="108"/>
                      </a:lnTo>
                      <a:lnTo>
                        <a:pt x="372" y="108"/>
                      </a:lnTo>
                      <a:lnTo>
                        <a:pt x="372" y="107"/>
                      </a:lnTo>
                      <a:lnTo>
                        <a:pt x="372" y="107"/>
                      </a:lnTo>
                      <a:lnTo>
                        <a:pt x="372" y="107"/>
                      </a:lnTo>
                      <a:lnTo>
                        <a:pt x="373" y="107"/>
                      </a:lnTo>
                      <a:lnTo>
                        <a:pt x="373" y="107"/>
                      </a:lnTo>
                      <a:lnTo>
                        <a:pt x="374" y="107"/>
                      </a:lnTo>
                      <a:lnTo>
                        <a:pt x="374" y="107"/>
                      </a:lnTo>
                      <a:lnTo>
                        <a:pt x="374" y="107"/>
                      </a:lnTo>
                      <a:lnTo>
                        <a:pt x="375" y="107"/>
                      </a:lnTo>
                      <a:lnTo>
                        <a:pt x="375" y="107"/>
                      </a:lnTo>
                      <a:lnTo>
                        <a:pt x="375" y="107"/>
                      </a:lnTo>
                      <a:lnTo>
                        <a:pt x="375" y="107"/>
                      </a:lnTo>
                      <a:lnTo>
                        <a:pt x="375" y="107"/>
                      </a:lnTo>
                      <a:lnTo>
                        <a:pt x="376" y="107"/>
                      </a:lnTo>
                      <a:lnTo>
                        <a:pt x="376" y="108"/>
                      </a:lnTo>
                      <a:lnTo>
                        <a:pt x="376" y="107"/>
                      </a:lnTo>
                      <a:lnTo>
                        <a:pt x="377" y="107"/>
                      </a:lnTo>
                      <a:lnTo>
                        <a:pt x="377" y="107"/>
                      </a:lnTo>
                      <a:lnTo>
                        <a:pt x="376" y="107"/>
                      </a:lnTo>
                      <a:lnTo>
                        <a:pt x="376" y="106"/>
                      </a:lnTo>
                      <a:lnTo>
                        <a:pt x="376" y="105"/>
                      </a:lnTo>
                      <a:lnTo>
                        <a:pt x="377" y="105"/>
                      </a:lnTo>
                      <a:lnTo>
                        <a:pt x="377" y="105"/>
                      </a:lnTo>
                      <a:lnTo>
                        <a:pt x="377" y="106"/>
                      </a:lnTo>
                      <a:lnTo>
                        <a:pt x="377" y="106"/>
                      </a:lnTo>
                      <a:lnTo>
                        <a:pt x="377" y="106"/>
                      </a:lnTo>
                      <a:lnTo>
                        <a:pt x="378" y="106"/>
                      </a:lnTo>
                      <a:lnTo>
                        <a:pt x="378" y="106"/>
                      </a:lnTo>
                      <a:lnTo>
                        <a:pt x="379" y="106"/>
                      </a:lnTo>
                      <a:lnTo>
                        <a:pt x="379" y="105"/>
                      </a:lnTo>
                      <a:lnTo>
                        <a:pt x="379" y="105"/>
                      </a:lnTo>
                      <a:lnTo>
                        <a:pt x="380" y="105"/>
                      </a:lnTo>
                      <a:lnTo>
                        <a:pt x="381" y="105"/>
                      </a:lnTo>
                      <a:lnTo>
                        <a:pt x="381" y="105"/>
                      </a:lnTo>
                      <a:lnTo>
                        <a:pt x="381" y="105"/>
                      </a:lnTo>
                      <a:lnTo>
                        <a:pt x="381" y="105"/>
                      </a:lnTo>
                      <a:lnTo>
                        <a:pt x="382" y="105"/>
                      </a:lnTo>
                      <a:lnTo>
                        <a:pt x="382" y="105"/>
                      </a:lnTo>
                      <a:lnTo>
                        <a:pt x="382" y="104"/>
                      </a:lnTo>
                      <a:lnTo>
                        <a:pt x="383" y="104"/>
                      </a:lnTo>
                      <a:lnTo>
                        <a:pt x="383" y="105"/>
                      </a:lnTo>
                      <a:lnTo>
                        <a:pt x="383" y="105"/>
                      </a:lnTo>
                      <a:lnTo>
                        <a:pt x="384" y="105"/>
                      </a:lnTo>
                      <a:lnTo>
                        <a:pt x="385" y="105"/>
                      </a:lnTo>
                      <a:lnTo>
                        <a:pt x="385" y="105"/>
                      </a:lnTo>
                      <a:lnTo>
                        <a:pt x="386" y="105"/>
                      </a:lnTo>
                      <a:lnTo>
                        <a:pt x="386" y="105"/>
                      </a:lnTo>
                      <a:lnTo>
                        <a:pt x="387" y="105"/>
                      </a:lnTo>
                      <a:lnTo>
                        <a:pt x="388" y="105"/>
                      </a:lnTo>
                      <a:lnTo>
                        <a:pt x="388" y="104"/>
                      </a:lnTo>
                      <a:lnTo>
                        <a:pt x="388" y="104"/>
                      </a:lnTo>
                      <a:lnTo>
                        <a:pt x="388" y="104"/>
                      </a:lnTo>
                      <a:lnTo>
                        <a:pt x="388" y="104"/>
                      </a:lnTo>
                      <a:lnTo>
                        <a:pt x="389" y="104"/>
                      </a:lnTo>
                      <a:lnTo>
                        <a:pt x="389" y="104"/>
                      </a:lnTo>
                      <a:lnTo>
                        <a:pt x="390" y="104"/>
                      </a:lnTo>
                      <a:lnTo>
                        <a:pt x="390" y="104"/>
                      </a:lnTo>
                      <a:lnTo>
                        <a:pt x="390" y="104"/>
                      </a:lnTo>
                      <a:lnTo>
                        <a:pt x="391" y="104"/>
                      </a:lnTo>
                      <a:lnTo>
                        <a:pt x="392" y="104"/>
                      </a:lnTo>
                      <a:lnTo>
                        <a:pt x="392" y="104"/>
                      </a:lnTo>
                      <a:lnTo>
                        <a:pt x="393" y="104"/>
                      </a:lnTo>
                      <a:lnTo>
                        <a:pt x="393" y="104"/>
                      </a:lnTo>
                      <a:lnTo>
                        <a:pt x="394" y="104"/>
                      </a:lnTo>
                      <a:lnTo>
                        <a:pt x="394" y="104"/>
                      </a:lnTo>
                      <a:lnTo>
                        <a:pt x="394" y="104"/>
                      </a:lnTo>
                      <a:lnTo>
                        <a:pt x="395" y="104"/>
                      </a:lnTo>
                      <a:lnTo>
                        <a:pt x="396" y="104"/>
                      </a:lnTo>
                      <a:lnTo>
                        <a:pt x="396" y="104"/>
                      </a:lnTo>
                      <a:lnTo>
                        <a:pt x="397" y="104"/>
                      </a:lnTo>
                      <a:lnTo>
                        <a:pt x="397" y="105"/>
                      </a:lnTo>
                      <a:lnTo>
                        <a:pt x="396" y="105"/>
                      </a:lnTo>
                      <a:lnTo>
                        <a:pt x="397" y="105"/>
                      </a:lnTo>
                      <a:lnTo>
                        <a:pt x="397" y="105"/>
                      </a:lnTo>
                      <a:lnTo>
                        <a:pt x="397" y="105"/>
                      </a:lnTo>
                      <a:lnTo>
                        <a:pt x="397" y="105"/>
                      </a:lnTo>
                      <a:lnTo>
                        <a:pt x="397" y="105"/>
                      </a:lnTo>
                      <a:lnTo>
                        <a:pt x="397" y="106"/>
                      </a:lnTo>
                      <a:lnTo>
                        <a:pt x="397" y="106"/>
                      </a:lnTo>
                      <a:lnTo>
                        <a:pt x="397" y="107"/>
                      </a:lnTo>
                      <a:lnTo>
                        <a:pt x="398" y="107"/>
                      </a:lnTo>
                      <a:lnTo>
                        <a:pt x="397" y="107"/>
                      </a:lnTo>
                      <a:lnTo>
                        <a:pt x="398" y="107"/>
                      </a:lnTo>
                      <a:lnTo>
                        <a:pt x="398" y="107"/>
                      </a:lnTo>
                      <a:lnTo>
                        <a:pt x="398" y="107"/>
                      </a:lnTo>
                      <a:lnTo>
                        <a:pt x="398" y="107"/>
                      </a:lnTo>
                      <a:lnTo>
                        <a:pt x="398" y="107"/>
                      </a:lnTo>
                      <a:lnTo>
                        <a:pt x="397" y="107"/>
                      </a:lnTo>
                      <a:lnTo>
                        <a:pt x="397" y="106"/>
                      </a:lnTo>
                      <a:lnTo>
                        <a:pt x="397" y="105"/>
                      </a:lnTo>
                      <a:lnTo>
                        <a:pt x="397" y="105"/>
                      </a:lnTo>
                      <a:lnTo>
                        <a:pt x="397" y="105"/>
                      </a:lnTo>
                      <a:lnTo>
                        <a:pt x="397" y="105"/>
                      </a:lnTo>
                      <a:lnTo>
                        <a:pt x="397" y="105"/>
                      </a:lnTo>
                      <a:lnTo>
                        <a:pt x="397" y="104"/>
                      </a:lnTo>
                      <a:lnTo>
                        <a:pt x="396" y="104"/>
                      </a:lnTo>
                      <a:lnTo>
                        <a:pt x="397" y="104"/>
                      </a:lnTo>
                      <a:lnTo>
                        <a:pt x="397" y="104"/>
                      </a:lnTo>
                      <a:lnTo>
                        <a:pt x="397" y="103"/>
                      </a:lnTo>
                      <a:lnTo>
                        <a:pt x="396" y="103"/>
                      </a:lnTo>
                      <a:lnTo>
                        <a:pt x="397" y="103"/>
                      </a:lnTo>
                      <a:lnTo>
                        <a:pt x="397" y="103"/>
                      </a:lnTo>
                      <a:lnTo>
                        <a:pt x="397" y="102"/>
                      </a:lnTo>
                      <a:lnTo>
                        <a:pt x="397" y="101"/>
                      </a:lnTo>
                      <a:lnTo>
                        <a:pt x="397" y="101"/>
                      </a:lnTo>
                      <a:lnTo>
                        <a:pt x="398" y="101"/>
                      </a:lnTo>
                      <a:lnTo>
                        <a:pt x="397" y="101"/>
                      </a:lnTo>
                      <a:lnTo>
                        <a:pt x="398" y="101"/>
                      </a:lnTo>
                      <a:lnTo>
                        <a:pt x="398" y="100"/>
                      </a:lnTo>
                      <a:lnTo>
                        <a:pt x="398" y="101"/>
                      </a:lnTo>
                      <a:lnTo>
                        <a:pt x="398" y="100"/>
                      </a:lnTo>
                      <a:lnTo>
                        <a:pt x="398" y="101"/>
                      </a:lnTo>
                      <a:lnTo>
                        <a:pt x="398" y="101"/>
                      </a:lnTo>
                      <a:lnTo>
                        <a:pt x="399" y="101"/>
                      </a:lnTo>
                      <a:lnTo>
                        <a:pt x="398" y="101"/>
                      </a:lnTo>
                      <a:lnTo>
                        <a:pt x="399" y="101"/>
                      </a:lnTo>
                      <a:lnTo>
                        <a:pt x="400" y="101"/>
                      </a:lnTo>
                      <a:lnTo>
                        <a:pt x="400" y="101"/>
                      </a:lnTo>
                      <a:lnTo>
                        <a:pt x="400" y="101"/>
                      </a:lnTo>
                      <a:lnTo>
                        <a:pt x="400" y="101"/>
                      </a:lnTo>
                      <a:lnTo>
                        <a:pt x="401" y="101"/>
                      </a:lnTo>
                      <a:lnTo>
                        <a:pt x="401" y="101"/>
                      </a:lnTo>
                      <a:lnTo>
                        <a:pt x="402" y="101"/>
                      </a:lnTo>
                      <a:lnTo>
                        <a:pt x="402" y="101"/>
                      </a:lnTo>
                      <a:lnTo>
                        <a:pt x="402" y="101"/>
                      </a:lnTo>
                      <a:lnTo>
                        <a:pt x="401" y="101"/>
                      </a:lnTo>
                      <a:lnTo>
                        <a:pt x="401" y="101"/>
                      </a:lnTo>
                      <a:lnTo>
                        <a:pt x="400" y="101"/>
                      </a:lnTo>
                      <a:lnTo>
                        <a:pt x="400" y="101"/>
                      </a:lnTo>
                      <a:lnTo>
                        <a:pt x="399" y="101"/>
                      </a:lnTo>
                      <a:lnTo>
                        <a:pt x="398" y="101"/>
                      </a:lnTo>
                      <a:lnTo>
                        <a:pt x="399" y="101"/>
                      </a:lnTo>
                      <a:lnTo>
                        <a:pt x="398" y="101"/>
                      </a:lnTo>
                      <a:lnTo>
                        <a:pt x="399" y="101"/>
                      </a:lnTo>
                      <a:lnTo>
                        <a:pt x="398" y="101"/>
                      </a:lnTo>
                      <a:lnTo>
                        <a:pt x="398" y="101"/>
                      </a:lnTo>
                      <a:lnTo>
                        <a:pt x="398" y="100"/>
                      </a:lnTo>
                      <a:lnTo>
                        <a:pt x="398" y="100"/>
                      </a:lnTo>
                      <a:lnTo>
                        <a:pt x="398" y="100"/>
                      </a:lnTo>
                      <a:lnTo>
                        <a:pt x="398" y="100"/>
                      </a:lnTo>
                      <a:lnTo>
                        <a:pt x="399" y="100"/>
                      </a:lnTo>
                      <a:lnTo>
                        <a:pt x="400" y="100"/>
                      </a:lnTo>
                      <a:lnTo>
                        <a:pt x="400" y="100"/>
                      </a:lnTo>
                      <a:lnTo>
                        <a:pt x="400" y="100"/>
                      </a:lnTo>
                      <a:lnTo>
                        <a:pt x="400" y="100"/>
                      </a:lnTo>
                      <a:lnTo>
                        <a:pt x="400" y="100"/>
                      </a:lnTo>
                      <a:lnTo>
                        <a:pt x="401" y="100"/>
                      </a:lnTo>
                      <a:lnTo>
                        <a:pt x="400" y="100"/>
                      </a:lnTo>
                      <a:lnTo>
                        <a:pt x="400" y="100"/>
                      </a:lnTo>
                      <a:lnTo>
                        <a:pt x="400" y="100"/>
                      </a:lnTo>
                      <a:lnTo>
                        <a:pt x="400" y="100"/>
                      </a:lnTo>
                      <a:lnTo>
                        <a:pt x="400" y="100"/>
                      </a:lnTo>
                      <a:lnTo>
                        <a:pt x="401" y="100"/>
                      </a:lnTo>
                      <a:lnTo>
                        <a:pt x="401" y="100"/>
                      </a:lnTo>
                      <a:lnTo>
                        <a:pt x="402" y="100"/>
                      </a:lnTo>
                      <a:lnTo>
                        <a:pt x="401" y="100"/>
                      </a:lnTo>
                      <a:lnTo>
                        <a:pt x="402" y="100"/>
                      </a:lnTo>
                      <a:lnTo>
                        <a:pt x="402" y="99"/>
                      </a:lnTo>
                      <a:lnTo>
                        <a:pt x="403" y="99"/>
                      </a:lnTo>
                      <a:lnTo>
                        <a:pt x="402" y="99"/>
                      </a:lnTo>
                      <a:lnTo>
                        <a:pt x="403" y="99"/>
                      </a:lnTo>
                      <a:lnTo>
                        <a:pt x="403" y="99"/>
                      </a:lnTo>
                      <a:lnTo>
                        <a:pt x="403" y="98"/>
                      </a:lnTo>
                      <a:lnTo>
                        <a:pt x="404" y="98"/>
                      </a:lnTo>
                      <a:lnTo>
                        <a:pt x="404" y="98"/>
                      </a:lnTo>
                      <a:lnTo>
                        <a:pt x="405" y="98"/>
                      </a:lnTo>
                      <a:lnTo>
                        <a:pt x="404" y="98"/>
                      </a:lnTo>
                      <a:lnTo>
                        <a:pt x="405" y="98"/>
                      </a:lnTo>
                      <a:lnTo>
                        <a:pt x="404" y="98"/>
                      </a:lnTo>
                      <a:lnTo>
                        <a:pt x="405" y="98"/>
                      </a:lnTo>
                      <a:lnTo>
                        <a:pt x="405" y="98"/>
                      </a:lnTo>
                      <a:lnTo>
                        <a:pt x="404" y="98"/>
                      </a:lnTo>
                      <a:lnTo>
                        <a:pt x="405" y="98"/>
                      </a:lnTo>
                      <a:lnTo>
                        <a:pt x="405" y="97"/>
                      </a:lnTo>
                      <a:lnTo>
                        <a:pt x="405" y="97"/>
                      </a:lnTo>
                      <a:lnTo>
                        <a:pt x="405" y="97"/>
                      </a:lnTo>
                      <a:lnTo>
                        <a:pt x="404" y="97"/>
                      </a:lnTo>
                      <a:lnTo>
                        <a:pt x="404" y="97"/>
                      </a:lnTo>
                      <a:lnTo>
                        <a:pt x="404" y="97"/>
                      </a:lnTo>
                      <a:lnTo>
                        <a:pt x="403" y="97"/>
                      </a:lnTo>
                      <a:lnTo>
                        <a:pt x="403" y="97"/>
                      </a:lnTo>
                      <a:lnTo>
                        <a:pt x="402" y="97"/>
                      </a:lnTo>
                      <a:lnTo>
                        <a:pt x="402" y="96"/>
                      </a:lnTo>
                      <a:lnTo>
                        <a:pt x="403" y="96"/>
                      </a:lnTo>
                      <a:lnTo>
                        <a:pt x="403" y="96"/>
                      </a:lnTo>
                      <a:lnTo>
                        <a:pt x="403" y="95"/>
                      </a:lnTo>
                      <a:lnTo>
                        <a:pt x="403" y="94"/>
                      </a:lnTo>
                      <a:lnTo>
                        <a:pt x="403" y="94"/>
                      </a:lnTo>
                      <a:lnTo>
                        <a:pt x="403" y="94"/>
                      </a:lnTo>
                      <a:lnTo>
                        <a:pt x="404" y="94"/>
                      </a:lnTo>
                      <a:lnTo>
                        <a:pt x="403" y="94"/>
                      </a:lnTo>
                      <a:lnTo>
                        <a:pt x="404" y="94"/>
                      </a:lnTo>
                      <a:lnTo>
                        <a:pt x="404" y="93"/>
                      </a:lnTo>
                      <a:lnTo>
                        <a:pt x="404" y="93"/>
                      </a:lnTo>
                      <a:lnTo>
                        <a:pt x="404" y="93"/>
                      </a:lnTo>
                      <a:lnTo>
                        <a:pt x="405" y="93"/>
                      </a:lnTo>
                      <a:lnTo>
                        <a:pt x="404" y="93"/>
                      </a:lnTo>
                      <a:lnTo>
                        <a:pt x="404" y="93"/>
                      </a:lnTo>
                      <a:lnTo>
                        <a:pt x="404" y="93"/>
                      </a:lnTo>
                      <a:lnTo>
                        <a:pt x="404" y="93"/>
                      </a:lnTo>
                      <a:lnTo>
                        <a:pt x="404" y="94"/>
                      </a:lnTo>
                      <a:lnTo>
                        <a:pt x="404" y="93"/>
                      </a:lnTo>
                      <a:lnTo>
                        <a:pt x="404" y="94"/>
                      </a:lnTo>
                      <a:lnTo>
                        <a:pt x="403" y="94"/>
                      </a:lnTo>
                      <a:lnTo>
                        <a:pt x="403" y="94"/>
                      </a:lnTo>
                      <a:lnTo>
                        <a:pt x="403" y="94"/>
                      </a:lnTo>
                      <a:lnTo>
                        <a:pt x="403" y="95"/>
                      </a:lnTo>
                      <a:lnTo>
                        <a:pt x="403" y="96"/>
                      </a:lnTo>
                      <a:lnTo>
                        <a:pt x="403" y="96"/>
                      </a:lnTo>
                      <a:lnTo>
                        <a:pt x="403" y="96"/>
                      </a:lnTo>
                      <a:lnTo>
                        <a:pt x="403" y="96"/>
                      </a:lnTo>
                      <a:lnTo>
                        <a:pt x="402" y="96"/>
                      </a:lnTo>
                      <a:lnTo>
                        <a:pt x="402" y="97"/>
                      </a:lnTo>
                      <a:lnTo>
                        <a:pt x="403" y="97"/>
                      </a:lnTo>
                      <a:lnTo>
                        <a:pt x="403" y="97"/>
                      </a:lnTo>
                      <a:lnTo>
                        <a:pt x="404" y="97"/>
                      </a:lnTo>
                      <a:lnTo>
                        <a:pt x="404" y="97"/>
                      </a:lnTo>
                      <a:lnTo>
                        <a:pt x="404" y="97"/>
                      </a:lnTo>
                      <a:lnTo>
                        <a:pt x="405" y="97"/>
                      </a:lnTo>
                      <a:lnTo>
                        <a:pt x="405" y="98"/>
                      </a:lnTo>
                      <a:lnTo>
                        <a:pt x="404" y="98"/>
                      </a:lnTo>
                      <a:lnTo>
                        <a:pt x="405" y="98"/>
                      </a:lnTo>
                      <a:lnTo>
                        <a:pt x="405" y="98"/>
                      </a:lnTo>
                      <a:lnTo>
                        <a:pt x="404" y="98"/>
                      </a:lnTo>
                      <a:lnTo>
                        <a:pt x="404" y="98"/>
                      </a:lnTo>
                      <a:lnTo>
                        <a:pt x="403" y="98"/>
                      </a:lnTo>
                      <a:lnTo>
                        <a:pt x="403" y="99"/>
                      </a:lnTo>
                      <a:lnTo>
                        <a:pt x="403" y="99"/>
                      </a:lnTo>
                      <a:lnTo>
                        <a:pt x="402" y="99"/>
                      </a:lnTo>
                      <a:lnTo>
                        <a:pt x="402" y="100"/>
                      </a:lnTo>
                      <a:lnTo>
                        <a:pt x="401" y="100"/>
                      </a:lnTo>
                      <a:lnTo>
                        <a:pt x="402" y="100"/>
                      </a:lnTo>
                      <a:lnTo>
                        <a:pt x="402" y="99"/>
                      </a:lnTo>
                      <a:lnTo>
                        <a:pt x="402" y="100"/>
                      </a:lnTo>
                      <a:lnTo>
                        <a:pt x="401" y="100"/>
                      </a:lnTo>
                      <a:lnTo>
                        <a:pt x="401" y="100"/>
                      </a:lnTo>
                      <a:lnTo>
                        <a:pt x="401" y="100"/>
                      </a:lnTo>
                      <a:lnTo>
                        <a:pt x="401" y="100"/>
                      </a:lnTo>
                      <a:lnTo>
                        <a:pt x="400" y="100"/>
                      </a:lnTo>
                      <a:lnTo>
                        <a:pt x="400" y="100"/>
                      </a:lnTo>
                      <a:lnTo>
                        <a:pt x="400" y="100"/>
                      </a:lnTo>
                      <a:lnTo>
                        <a:pt x="400" y="100"/>
                      </a:lnTo>
                      <a:lnTo>
                        <a:pt x="400" y="100"/>
                      </a:lnTo>
                      <a:lnTo>
                        <a:pt x="399" y="100"/>
                      </a:lnTo>
                      <a:lnTo>
                        <a:pt x="398" y="100"/>
                      </a:lnTo>
                      <a:lnTo>
                        <a:pt x="398" y="100"/>
                      </a:lnTo>
                      <a:lnTo>
                        <a:pt x="397" y="100"/>
                      </a:lnTo>
                      <a:lnTo>
                        <a:pt x="397" y="101"/>
                      </a:lnTo>
                      <a:lnTo>
                        <a:pt x="397" y="101"/>
                      </a:lnTo>
                      <a:lnTo>
                        <a:pt x="397" y="101"/>
                      </a:lnTo>
                      <a:lnTo>
                        <a:pt x="397" y="102"/>
                      </a:lnTo>
                      <a:lnTo>
                        <a:pt x="396" y="102"/>
                      </a:lnTo>
                      <a:lnTo>
                        <a:pt x="396" y="101"/>
                      </a:lnTo>
                      <a:lnTo>
                        <a:pt x="396" y="101"/>
                      </a:lnTo>
                      <a:lnTo>
                        <a:pt x="396" y="101"/>
                      </a:lnTo>
                      <a:lnTo>
                        <a:pt x="396" y="101"/>
                      </a:lnTo>
                      <a:lnTo>
                        <a:pt x="397" y="101"/>
                      </a:lnTo>
                      <a:lnTo>
                        <a:pt x="396" y="101"/>
                      </a:lnTo>
                      <a:lnTo>
                        <a:pt x="396" y="100"/>
                      </a:lnTo>
                      <a:lnTo>
                        <a:pt x="396" y="101"/>
                      </a:lnTo>
                      <a:lnTo>
                        <a:pt x="395" y="101"/>
                      </a:lnTo>
                      <a:lnTo>
                        <a:pt x="395" y="100"/>
                      </a:lnTo>
                      <a:lnTo>
                        <a:pt x="394" y="100"/>
                      </a:lnTo>
                      <a:lnTo>
                        <a:pt x="395" y="100"/>
                      </a:lnTo>
                      <a:lnTo>
                        <a:pt x="394" y="100"/>
                      </a:lnTo>
                      <a:lnTo>
                        <a:pt x="394" y="101"/>
                      </a:lnTo>
                      <a:lnTo>
                        <a:pt x="394" y="101"/>
                      </a:lnTo>
                      <a:lnTo>
                        <a:pt x="394" y="100"/>
                      </a:lnTo>
                      <a:lnTo>
                        <a:pt x="394" y="100"/>
                      </a:lnTo>
                      <a:lnTo>
                        <a:pt x="394" y="100"/>
                      </a:lnTo>
                      <a:lnTo>
                        <a:pt x="394" y="100"/>
                      </a:lnTo>
                      <a:lnTo>
                        <a:pt x="394" y="100"/>
                      </a:lnTo>
                      <a:lnTo>
                        <a:pt x="394" y="100"/>
                      </a:lnTo>
                      <a:lnTo>
                        <a:pt x="394" y="100"/>
                      </a:lnTo>
                      <a:lnTo>
                        <a:pt x="394" y="100"/>
                      </a:lnTo>
                      <a:lnTo>
                        <a:pt x="394" y="100"/>
                      </a:lnTo>
                      <a:lnTo>
                        <a:pt x="394" y="99"/>
                      </a:lnTo>
                      <a:lnTo>
                        <a:pt x="394" y="99"/>
                      </a:lnTo>
                      <a:lnTo>
                        <a:pt x="394" y="99"/>
                      </a:lnTo>
                      <a:lnTo>
                        <a:pt x="394" y="99"/>
                      </a:lnTo>
                      <a:lnTo>
                        <a:pt x="394" y="98"/>
                      </a:lnTo>
                      <a:lnTo>
                        <a:pt x="393" y="98"/>
                      </a:lnTo>
                      <a:lnTo>
                        <a:pt x="394" y="98"/>
                      </a:lnTo>
                      <a:lnTo>
                        <a:pt x="393" y="98"/>
                      </a:lnTo>
                      <a:lnTo>
                        <a:pt x="393" y="98"/>
                      </a:lnTo>
                      <a:lnTo>
                        <a:pt x="393" y="98"/>
                      </a:lnTo>
                      <a:lnTo>
                        <a:pt x="393" y="98"/>
                      </a:lnTo>
                      <a:lnTo>
                        <a:pt x="393" y="98"/>
                      </a:lnTo>
                      <a:lnTo>
                        <a:pt x="393" y="98"/>
                      </a:lnTo>
                      <a:lnTo>
                        <a:pt x="392" y="98"/>
                      </a:lnTo>
                      <a:lnTo>
                        <a:pt x="392" y="98"/>
                      </a:lnTo>
                      <a:lnTo>
                        <a:pt x="392" y="97"/>
                      </a:lnTo>
                      <a:lnTo>
                        <a:pt x="391" y="97"/>
                      </a:lnTo>
                      <a:lnTo>
                        <a:pt x="390" y="97"/>
                      </a:lnTo>
                      <a:lnTo>
                        <a:pt x="390" y="96"/>
                      </a:lnTo>
                      <a:lnTo>
                        <a:pt x="389" y="96"/>
                      </a:lnTo>
                      <a:lnTo>
                        <a:pt x="389" y="96"/>
                      </a:lnTo>
                      <a:lnTo>
                        <a:pt x="389" y="96"/>
                      </a:lnTo>
                      <a:lnTo>
                        <a:pt x="389" y="96"/>
                      </a:lnTo>
                      <a:lnTo>
                        <a:pt x="389" y="96"/>
                      </a:lnTo>
                      <a:lnTo>
                        <a:pt x="388" y="96"/>
                      </a:lnTo>
                      <a:lnTo>
                        <a:pt x="388" y="96"/>
                      </a:lnTo>
                      <a:lnTo>
                        <a:pt x="388" y="95"/>
                      </a:lnTo>
                      <a:lnTo>
                        <a:pt x="387" y="95"/>
                      </a:lnTo>
                      <a:lnTo>
                        <a:pt x="388" y="95"/>
                      </a:lnTo>
                      <a:lnTo>
                        <a:pt x="387" y="95"/>
                      </a:lnTo>
                      <a:lnTo>
                        <a:pt x="388" y="95"/>
                      </a:lnTo>
                      <a:lnTo>
                        <a:pt x="388" y="96"/>
                      </a:lnTo>
                      <a:lnTo>
                        <a:pt x="388" y="96"/>
                      </a:lnTo>
                      <a:lnTo>
                        <a:pt x="388" y="96"/>
                      </a:lnTo>
                      <a:lnTo>
                        <a:pt x="388" y="96"/>
                      </a:lnTo>
                      <a:lnTo>
                        <a:pt x="388" y="96"/>
                      </a:lnTo>
                      <a:lnTo>
                        <a:pt x="388" y="96"/>
                      </a:lnTo>
                      <a:lnTo>
                        <a:pt x="389" y="96"/>
                      </a:lnTo>
                      <a:lnTo>
                        <a:pt x="389" y="96"/>
                      </a:lnTo>
                      <a:lnTo>
                        <a:pt x="389" y="96"/>
                      </a:lnTo>
                      <a:lnTo>
                        <a:pt x="389" y="96"/>
                      </a:lnTo>
                      <a:lnTo>
                        <a:pt x="389" y="96"/>
                      </a:lnTo>
                      <a:lnTo>
                        <a:pt x="389" y="96"/>
                      </a:lnTo>
                      <a:lnTo>
                        <a:pt x="389" y="96"/>
                      </a:lnTo>
                      <a:lnTo>
                        <a:pt x="389" y="96"/>
                      </a:lnTo>
                      <a:lnTo>
                        <a:pt x="390" y="96"/>
                      </a:lnTo>
                      <a:lnTo>
                        <a:pt x="389" y="96"/>
                      </a:lnTo>
                      <a:lnTo>
                        <a:pt x="389" y="97"/>
                      </a:lnTo>
                      <a:lnTo>
                        <a:pt x="390" y="97"/>
                      </a:lnTo>
                      <a:lnTo>
                        <a:pt x="389" y="97"/>
                      </a:lnTo>
                      <a:lnTo>
                        <a:pt x="390" y="97"/>
                      </a:lnTo>
                      <a:lnTo>
                        <a:pt x="390" y="97"/>
                      </a:lnTo>
                      <a:lnTo>
                        <a:pt x="391" y="97"/>
                      </a:lnTo>
                      <a:lnTo>
                        <a:pt x="391" y="97"/>
                      </a:lnTo>
                      <a:lnTo>
                        <a:pt x="392" y="97"/>
                      </a:lnTo>
                      <a:lnTo>
                        <a:pt x="392" y="98"/>
                      </a:lnTo>
                      <a:lnTo>
                        <a:pt x="392" y="98"/>
                      </a:lnTo>
                      <a:lnTo>
                        <a:pt x="392" y="98"/>
                      </a:lnTo>
                      <a:lnTo>
                        <a:pt x="393" y="98"/>
                      </a:lnTo>
                      <a:lnTo>
                        <a:pt x="392" y="98"/>
                      </a:lnTo>
                      <a:lnTo>
                        <a:pt x="392" y="99"/>
                      </a:lnTo>
                      <a:lnTo>
                        <a:pt x="392" y="99"/>
                      </a:lnTo>
                      <a:lnTo>
                        <a:pt x="392" y="99"/>
                      </a:lnTo>
                      <a:lnTo>
                        <a:pt x="392" y="98"/>
                      </a:lnTo>
                      <a:lnTo>
                        <a:pt x="393" y="98"/>
                      </a:lnTo>
                      <a:lnTo>
                        <a:pt x="393" y="98"/>
                      </a:lnTo>
                      <a:lnTo>
                        <a:pt x="394" y="98"/>
                      </a:lnTo>
                      <a:lnTo>
                        <a:pt x="394" y="99"/>
                      </a:lnTo>
                      <a:lnTo>
                        <a:pt x="394" y="99"/>
                      </a:lnTo>
                      <a:lnTo>
                        <a:pt x="394" y="99"/>
                      </a:lnTo>
                      <a:lnTo>
                        <a:pt x="394" y="100"/>
                      </a:lnTo>
                      <a:lnTo>
                        <a:pt x="394" y="100"/>
                      </a:lnTo>
                      <a:lnTo>
                        <a:pt x="394" y="100"/>
                      </a:lnTo>
                      <a:lnTo>
                        <a:pt x="394" y="100"/>
                      </a:lnTo>
                      <a:lnTo>
                        <a:pt x="394" y="100"/>
                      </a:lnTo>
                      <a:lnTo>
                        <a:pt x="394" y="101"/>
                      </a:lnTo>
                      <a:lnTo>
                        <a:pt x="394" y="101"/>
                      </a:lnTo>
                      <a:lnTo>
                        <a:pt x="394" y="100"/>
                      </a:lnTo>
                      <a:lnTo>
                        <a:pt x="395" y="101"/>
                      </a:lnTo>
                      <a:lnTo>
                        <a:pt x="396" y="101"/>
                      </a:lnTo>
                      <a:lnTo>
                        <a:pt x="396" y="101"/>
                      </a:lnTo>
                      <a:lnTo>
                        <a:pt x="396" y="101"/>
                      </a:lnTo>
                      <a:lnTo>
                        <a:pt x="395" y="101"/>
                      </a:lnTo>
                      <a:lnTo>
                        <a:pt x="396" y="101"/>
                      </a:lnTo>
                      <a:lnTo>
                        <a:pt x="396" y="101"/>
                      </a:lnTo>
                      <a:lnTo>
                        <a:pt x="396" y="102"/>
                      </a:lnTo>
                      <a:lnTo>
                        <a:pt x="397" y="102"/>
                      </a:lnTo>
                      <a:lnTo>
                        <a:pt x="397" y="103"/>
                      </a:lnTo>
                      <a:lnTo>
                        <a:pt x="396" y="103"/>
                      </a:lnTo>
                      <a:lnTo>
                        <a:pt x="396" y="103"/>
                      </a:lnTo>
                      <a:lnTo>
                        <a:pt x="396" y="104"/>
                      </a:lnTo>
                      <a:lnTo>
                        <a:pt x="396" y="104"/>
                      </a:lnTo>
                      <a:lnTo>
                        <a:pt x="397" y="104"/>
                      </a:lnTo>
                      <a:lnTo>
                        <a:pt x="397" y="104"/>
                      </a:lnTo>
                      <a:lnTo>
                        <a:pt x="396" y="104"/>
                      </a:lnTo>
                      <a:lnTo>
                        <a:pt x="396" y="104"/>
                      </a:lnTo>
                      <a:lnTo>
                        <a:pt x="396" y="104"/>
                      </a:lnTo>
                      <a:lnTo>
                        <a:pt x="395" y="104"/>
                      </a:lnTo>
                      <a:lnTo>
                        <a:pt x="395" y="104"/>
                      </a:lnTo>
                      <a:lnTo>
                        <a:pt x="394" y="104"/>
                      </a:lnTo>
                      <a:lnTo>
                        <a:pt x="394" y="104"/>
                      </a:lnTo>
                      <a:lnTo>
                        <a:pt x="394" y="104"/>
                      </a:lnTo>
                      <a:lnTo>
                        <a:pt x="393" y="104"/>
                      </a:lnTo>
                      <a:lnTo>
                        <a:pt x="393" y="104"/>
                      </a:lnTo>
                      <a:lnTo>
                        <a:pt x="392" y="104"/>
                      </a:lnTo>
                      <a:lnTo>
                        <a:pt x="392" y="104"/>
                      </a:lnTo>
                      <a:lnTo>
                        <a:pt x="391" y="104"/>
                      </a:lnTo>
                      <a:lnTo>
                        <a:pt x="390" y="104"/>
                      </a:lnTo>
                      <a:lnTo>
                        <a:pt x="390" y="104"/>
                      </a:lnTo>
                      <a:lnTo>
                        <a:pt x="389" y="104"/>
                      </a:lnTo>
                      <a:lnTo>
                        <a:pt x="389" y="104"/>
                      </a:lnTo>
                      <a:lnTo>
                        <a:pt x="388" y="104"/>
                      </a:lnTo>
                      <a:lnTo>
                        <a:pt x="388" y="104"/>
                      </a:lnTo>
                      <a:lnTo>
                        <a:pt x="387" y="104"/>
                      </a:lnTo>
                      <a:lnTo>
                        <a:pt x="386" y="104"/>
                      </a:lnTo>
                      <a:lnTo>
                        <a:pt x="386" y="104"/>
                      </a:lnTo>
                      <a:lnTo>
                        <a:pt x="385" y="104"/>
                      </a:lnTo>
                      <a:lnTo>
                        <a:pt x="385" y="103"/>
                      </a:lnTo>
                      <a:lnTo>
                        <a:pt x="385" y="103"/>
                      </a:lnTo>
                      <a:lnTo>
                        <a:pt x="384" y="103"/>
                      </a:lnTo>
                      <a:lnTo>
                        <a:pt x="385" y="103"/>
                      </a:lnTo>
                      <a:lnTo>
                        <a:pt x="384" y="103"/>
                      </a:lnTo>
                      <a:lnTo>
                        <a:pt x="383" y="103"/>
                      </a:lnTo>
                      <a:lnTo>
                        <a:pt x="383" y="103"/>
                      </a:lnTo>
                      <a:lnTo>
                        <a:pt x="383" y="103"/>
                      </a:lnTo>
                      <a:lnTo>
                        <a:pt x="382" y="103"/>
                      </a:lnTo>
                      <a:lnTo>
                        <a:pt x="382" y="102"/>
                      </a:lnTo>
                      <a:lnTo>
                        <a:pt x="382" y="103"/>
                      </a:lnTo>
                      <a:lnTo>
                        <a:pt x="382" y="103"/>
                      </a:lnTo>
                      <a:lnTo>
                        <a:pt x="382" y="102"/>
                      </a:lnTo>
                      <a:lnTo>
                        <a:pt x="382" y="101"/>
                      </a:lnTo>
                      <a:lnTo>
                        <a:pt x="381" y="101"/>
                      </a:lnTo>
                      <a:lnTo>
                        <a:pt x="381" y="101"/>
                      </a:lnTo>
                      <a:lnTo>
                        <a:pt x="381" y="100"/>
                      </a:lnTo>
                      <a:lnTo>
                        <a:pt x="381" y="100"/>
                      </a:lnTo>
                      <a:lnTo>
                        <a:pt x="381" y="100"/>
                      </a:lnTo>
                      <a:lnTo>
                        <a:pt x="380" y="100"/>
                      </a:lnTo>
                      <a:lnTo>
                        <a:pt x="379" y="100"/>
                      </a:lnTo>
                      <a:lnTo>
                        <a:pt x="379" y="100"/>
                      </a:lnTo>
                      <a:lnTo>
                        <a:pt x="379" y="99"/>
                      </a:lnTo>
                      <a:lnTo>
                        <a:pt x="379" y="100"/>
                      </a:lnTo>
                      <a:lnTo>
                        <a:pt x="379" y="99"/>
                      </a:lnTo>
                      <a:lnTo>
                        <a:pt x="378" y="99"/>
                      </a:lnTo>
                      <a:lnTo>
                        <a:pt x="378" y="100"/>
                      </a:lnTo>
                      <a:lnTo>
                        <a:pt x="378" y="99"/>
                      </a:lnTo>
                      <a:lnTo>
                        <a:pt x="378" y="100"/>
                      </a:lnTo>
                      <a:lnTo>
                        <a:pt x="378" y="99"/>
                      </a:lnTo>
                      <a:lnTo>
                        <a:pt x="378" y="99"/>
                      </a:lnTo>
                      <a:lnTo>
                        <a:pt x="378" y="100"/>
                      </a:lnTo>
                      <a:lnTo>
                        <a:pt x="378" y="99"/>
                      </a:lnTo>
                      <a:lnTo>
                        <a:pt x="378" y="100"/>
                      </a:lnTo>
                      <a:lnTo>
                        <a:pt x="377" y="100"/>
                      </a:lnTo>
                      <a:lnTo>
                        <a:pt x="377" y="99"/>
                      </a:lnTo>
                      <a:lnTo>
                        <a:pt x="378" y="99"/>
                      </a:lnTo>
                      <a:lnTo>
                        <a:pt x="377" y="99"/>
                      </a:lnTo>
                      <a:lnTo>
                        <a:pt x="378" y="99"/>
                      </a:lnTo>
                      <a:lnTo>
                        <a:pt x="377" y="99"/>
                      </a:lnTo>
                      <a:lnTo>
                        <a:pt x="377" y="99"/>
                      </a:lnTo>
                      <a:lnTo>
                        <a:pt x="377" y="99"/>
                      </a:lnTo>
                      <a:lnTo>
                        <a:pt x="377" y="100"/>
                      </a:lnTo>
                      <a:lnTo>
                        <a:pt x="378" y="100"/>
                      </a:lnTo>
                      <a:lnTo>
                        <a:pt x="377" y="100"/>
                      </a:lnTo>
                      <a:lnTo>
                        <a:pt x="378" y="100"/>
                      </a:lnTo>
                      <a:lnTo>
                        <a:pt x="377" y="100"/>
                      </a:lnTo>
                      <a:lnTo>
                        <a:pt x="378" y="100"/>
                      </a:lnTo>
                      <a:lnTo>
                        <a:pt x="377" y="100"/>
                      </a:lnTo>
                      <a:lnTo>
                        <a:pt x="378" y="100"/>
                      </a:lnTo>
                      <a:lnTo>
                        <a:pt x="377" y="100"/>
                      </a:lnTo>
                      <a:lnTo>
                        <a:pt x="378" y="100"/>
                      </a:lnTo>
                      <a:lnTo>
                        <a:pt x="377" y="100"/>
                      </a:lnTo>
                      <a:lnTo>
                        <a:pt x="378" y="100"/>
                      </a:lnTo>
                      <a:lnTo>
                        <a:pt x="377" y="100"/>
                      </a:lnTo>
                      <a:lnTo>
                        <a:pt x="377" y="101"/>
                      </a:lnTo>
                      <a:lnTo>
                        <a:pt x="378" y="101"/>
                      </a:lnTo>
                      <a:lnTo>
                        <a:pt x="377" y="101"/>
                      </a:lnTo>
                      <a:lnTo>
                        <a:pt x="377" y="101"/>
                      </a:lnTo>
                      <a:lnTo>
                        <a:pt x="377" y="101"/>
                      </a:lnTo>
                      <a:lnTo>
                        <a:pt x="376" y="101"/>
                      </a:lnTo>
                      <a:lnTo>
                        <a:pt x="375" y="101"/>
                      </a:lnTo>
                      <a:lnTo>
                        <a:pt x="375" y="101"/>
                      </a:lnTo>
                      <a:lnTo>
                        <a:pt x="375" y="102"/>
                      </a:lnTo>
                      <a:lnTo>
                        <a:pt x="375" y="102"/>
                      </a:lnTo>
                      <a:lnTo>
                        <a:pt x="375" y="102"/>
                      </a:lnTo>
                      <a:lnTo>
                        <a:pt x="375" y="102"/>
                      </a:lnTo>
                      <a:lnTo>
                        <a:pt x="375" y="102"/>
                      </a:lnTo>
                      <a:lnTo>
                        <a:pt x="375" y="102"/>
                      </a:lnTo>
                      <a:lnTo>
                        <a:pt x="375" y="103"/>
                      </a:lnTo>
                      <a:lnTo>
                        <a:pt x="375" y="102"/>
                      </a:lnTo>
                      <a:lnTo>
                        <a:pt x="375" y="103"/>
                      </a:lnTo>
                      <a:lnTo>
                        <a:pt x="375" y="103"/>
                      </a:lnTo>
                      <a:lnTo>
                        <a:pt x="375" y="103"/>
                      </a:lnTo>
                      <a:lnTo>
                        <a:pt x="376" y="103"/>
                      </a:lnTo>
                      <a:lnTo>
                        <a:pt x="377" y="103"/>
                      </a:lnTo>
                      <a:lnTo>
                        <a:pt x="377" y="104"/>
                      </a:lnTo>
                      <a:lnTo>
                        <a:pt x="377" y="103"/>
                      </a:lnTo>
                      <a:lnTo>
                        <a:pt x="377" y="104"/>
                      </a:lnTo>
                      <a:lnTo>
                        <a:pt x="377" y="104"/>
                      </a:lnTo>
                      <a:lnTo>
                        <a:pt x="377" y="103"/>
                      </a:lnTo>
                      <a:lnTo>
                        <a:pt x="378" y="103"/>
                      </a:lnTo>
                      <a:lnTo>
                        <a:pt x="378" y="103"/>
                      </a:lnTo>
                      <a:lnTo>
                        <a:pt x="378" y="103"/>
                      </a:lnTo>
                      <a:lnTo>
                        <a:pt x="379" y="103"/>
                      </a:lnTo>
                      <a:lnTo>
                        <a:pt x="379" y="103"/>
                      </a:lnTo>
                      <a:lnTo>
                        <a:pt x="380" y="103"/>
                      </a:lnTo>
                      <a:lnTo>
                        <a:pt x="379" y="104"/>
                      </a:lnTo>
                      <a:lnTo>
                        <a:pt x="379" y="104"/>
                      </a:lnTo>
                      <a:lnTo>
                        <a:pt x="378" y="104"/>
                      </a:lnTo>
                      <a:lnTo>
                        <a:pt x="378" y="105"/>
                      </a:lnTo>
                      <a:lnTo>
                        <a:pt x="378" y="104"/>
                      </a:lnTo>
                      <a:lnTo>
                        <a:pt x="378" y="105"/>
                      </a:lnTo>
                      <a:lnTo>
                        <a:pt x="378" y="105"/>
                      </a:lnTo>
                      <a:lnTo>
                        <a:pt x="378" y="104"/>
                      </a:lnTo>
                      <a:lnTo>
                        <a:pt x="377" y="104"/>
                      </a:lnTo>
                      <a:lnTo>
                        <a:pt x="377" y="104"/>
                      </a:lnTo>
                      <a:lnTo>
                        <a:pt x="376" y="104"/>
                      </a:lnTo>
                      <a:lnTo>
                        <a:pt x="375" y="104"/>
                      </a:lnTo>
                      <a:lnTo>
                        <a:pt x="375" y="104"/>
                      </a:lnTo>
                      <a:lnTo>
                        <a:pt x="375" y="105"/>
                      </a:lnTo>
                      <a:lnTo>
                        <a:pt x="374" y="105"/>
                      </a:lnTo>
                      <a:lnTo>
                        <a:pt x="374" y="105"/>
                      </a:lnTo>
                      <a:lnTo>
                        <a:pt x="374" y="105"/>
                      </a:lnTo>
                      <a:lnTo>
                        <a:pt x="374" y="106"/>
                      </a:lnTo>
                      <a:lnTo>
                        <a:pt x="373" y="106"/>
                      </a:lnTo>
                      <a:lnTo>
                        <a:pt x="372" y="106"/>
                      </a:lnTo>
                      <a:lnTo>
                        <a:pt x="372" y="106"/>
                      </a:lnTo>
                      <a:lnTo>
                        <a:pt x="372" y="107"/>
                      </a:lnTo>
                      <a:lnTo>
                        <a:pt x="371" y="107"/>
                      </a:lnTo>
                      <a:lnTo>
                        <a:pt x="371" y="106"/>
                      </a:lnTo>
                      <a:lnTo>
                        <a:pt x="371" y="106"/>
                      </a:lnTo>
                      <a:lnTo>
                        <a:pt x="371" y="107"/>
                      </a:lnTo>
                      <a:lnTo>
                        <a:pt x="370" y="107"/>
                      </a:lnTo>
                      <a:lnTo>
                        <a:pt x="370" y="107"/>
                      </a:lnTo>
                      <a:lnTo>
                        <a:pt x="370" y="107"/>
                      </a:lnTo>
                      <a:lnTo>
                        <a:pt x="370" y="107"/>
                      </a:lnTo>
                      <a:lnTo>
                        <a:pt x="370" y="107"/>
                      </a:lnTo>
                      <a:lnTo>
                        <a:pt x="369" y="107"/>
                      </a:lnTo>
                      <a:lnTo>
                        <a:pt x="369" y="107"/>
                      </a:lnTo>
                      <a:lnTo>
                        <a:pt x="369" y="107"/>
                      </a:lnTo>
                      <a:lnTo>
                        <a:pt x="369" y="107"/>
                      </a:lnTo>
                      <a:lnTo>
                        <a:pt x="368" y="107"/>
                      </a:lnTo>
                      <a:lnTo>
                        <a:pt x="368" y="107"/>
                      </a:lnTo>
                      <a:lnTo>
                        <a:pt x="368" y="107"/>
                      </a:lnTo>
                      <a:lnTo>
                        <a:pt x="368" y="107"/>
                      </a:lnTo>
                      <a:lnTo>
                        <a:pt x="367" y="107"/>
                      </a:lnTo>
                      <a:lnTo>
                        <a:pt x="367" y="107"/>
                      </a:lnTo>
                      <a:lnTo>
                        <a:pt x="367" y="107"/>
                      </a:lnTo>
                      <a:lnTo>
                        <a:pt x="366" y="107"/>
                      </a:lnTo>
                      <a:lnTo>
                        <a:pt x="366" y="107"/>
                      </a:lnTo>
                      <a:lnTo>
                        <a:pt x="365" y="107"/>
                      </a:lnTo>
                      <a:lnTo>
                        <a:pt x="365" y="107"/>
                      </a:lnTo>
                      <a:lnTo>
                        <a:pt x="364" y="107"/>
                      </a:lnTo>
                      <a:lnTo>
                        <a:pt x="364" y="107"/>
                      </a:lnTo>
                      <a:lnTo>
                        <a:pt x="364" y="107"/>
                      </a:lnTo>
                      <a:lnTo>
                        <a:pt x="364" y="107"/>
                      </a:lnTo>
                      <a:lnTo>
                        <a:pt x="363" y="107"/>
                      </a:lnTo>
                      <a:lnTo>
                        <a:pt x="363" y="107"/>
                      </a:lnTo>
                      <a:lnTo>
                        <a:pt x="363" y="107"/>
                      </a:lnTo>
                      <a:lnTo>
                        <a:pt x="362" y="107"/>
                      </a:lnTo>
                      <a:lnTo>
                        <a:pt x="362" y="107"/>
                      </a:lnTo>
                      <a:lnTo>
                        <a:pt x="361" y="107"/>
                      </a:lnTo>
                      <a:lnTo>
                        <a:pt x="360" y="107"/>
                      </a:lnTo>
                      <a:lnTo>
                        <a:pt x="360" y="107"/>
                      </a:lnTo>
                      <a:lnTo>
                        <a:pt x="359" y="107"/>
                      </a:lnTo>
                      <a:lnTo>
                        <a:pt x="358" y="107"/>
                      </a:lnTo>
                      <a:lnTo>
                        <a:pt x="357" y="107"/>
                      </a:lnTo>
                      <a:lnTo>
                        <a:pt x="357" y="107"/>
                      </a:lnTo>
                      <a:lnTo>
                        <a:pt x="356" y="107"/>
                      </a:lnTo>
                      <a:lnTo>
                        <a:pt x="356" y="107"/>
                      </a:lnTo>
                      <a:lnTo>
                        <a:pt x="355" y="107"/>
                      </a:lnTo>
                      <a:lnTo>
                        <a:pt x="355" y="107"/>
                      </a:lnTo>
                      <a:lnTo>
                        <a:pt x="354" y="107"/>
                      </a:lnTo>
                      <a:lnTo>
                        <a:pt x="355" y="107"/>
                      </a:lnTo>
                      <a:lnTo>
                        <a:pt x="354" y="107"/>
                      </a:lnTo>
                      <a:lnTo>
                        <a:pt x="353" y="107"/>
                      </a:lnTo>
                      <a:lnTo>
                        <a:pt x="353" y="107"/>
                      </a:lnTo>
                      <a:lnTo>
                        <a:pt x="352" y="107"/>
                      </a:lnTo>
                      <a:lnTo>
                        <a:pt x="352" y="106"/>
                      </a:lnTo>
                      <a:lnTo>
                        <a:pt x="352" y="106"/>
                      </a:lnTo>
                      <a:lnTo>
                        <a:pt x="351" y="105"/>
                      </a:lnTo>
                      <a:lnTo>
                        <a:pt x="351" y="105"/>
                      </a:lnTo>
                      <a:lnTo>
                        <a:pt x="350" y="105"/>
                      </a:lnTo>
                      <a:lnTo>
                        <a:pt x="349" y="105"/>
                      </a:lnTo>
                      <a:lnTo>
                        <a:pt x="349" y="105"/>
                      </a:lnTo>
                      <a:lnTo>
                        <a:pt x="349" y="105"/>
                      </a:lnTo>
                      <a:lnTo>
                        <a:pt x="348" y="104"/>
                      </a:lnTo>
                      <a:lnTo>
                        <a:pt x="349" y="104"/>
                      </a:lnTo>
                      <a:lnTo>
                        <a:pt x="349" y="104"/>
                      </a:lnTo>
                      <a:lnTo>
                        <a:pt x="349" y="103"/>
                      </a:lnTo>
                      <a:lnTo>
                        <a:pt x="349" y="103"/>
                      </a:lnTo>
                      <a:lnTo>
                        <a:pt x="349" y="103"/>
                      </a:lnTo>
                      <a:lnTo>
                        <a:pt x="348" y="103"/>
                      </a:lnTo>
                      <a:lnTo>
                        <a:pt x="348" y="103"/>
                      </a:lnTo>
                      <a:lnTo>
                        <a:pt x="347" y="103"/>
                      </a:lnTo>
                      <a:lnTo>
                        <a:pt x="348" y="103"/>
                      </a:lnTo>
                      <a:lnTo>
                        <a:pt x="348" y="103"/>
                      </a:lnTo>
                      <a:lnTo>
                        <a:pt x="349" y="103"/>
                      </a:lnTo>
                      <a:lnTo>
                        <a:pt x="349" y="103"/>
                      </a:lnTo>
                      <a:lnTo>
                        <a:pt x="349" y="103"/>
                      </a:lnTo>
                      <a:lnTo>
                        <a:pt x="349" y="102"/>
                      </a:lnTo>
                      <a:lnTo>
                        <a:pt x="349" y="102"/>
                      </a:lnTo>
                      <a:lnTo>
                        <a:pt x="349" y="102"/>
                      </a:lnTo>
                      <a:lnTo>
                        <a:pt x="349" y="101"/>
                      </a:lnTo>
                      <a:lnTo>
                        <a:pt x="349" y="101"/>
                      </a:lnTo>
                      <a:lnTo>
                        <a:pt x="349" y="101"/>
                      </a:lnTo>
                      <a:lnTo>
                        <a:pt x="349" y="101"/>
                      </a:lnTo>
                      <a:lnTo>
                        <a:pt x="349" y="101"/>
                      </a:lnTo>
                      <a:lnTo>
                        <a:pt x="349" y="100"/>
                      </a:lnTo>
                      <a:lnTo>
                        <a:pt x="348" y="100"/>
                      </a:lnTo>
                      <a:lnTo>
                        <a:pt x="348" y="100"/>
                      </a:lnTo>
                      <a:lnTo>
                        <a:pt x="347" y="100"/>
                      </a:lnTo>
                      <a:lnTo>
                        <a:pt x="346" y="100"/>
                      </a:lnTo>
                      <a:lnTo>
                        <a:pt x="347" y="100"/>
                      </a:lnTo>
                      <a:lnTo>
                        <a:pt x="347" y="100"/>
                      </a:lnTo>
                      <a:lnTo>
                        <a:pt x="346" y="100"/>
                      </a:lnTo>
                      <a:lnTo>
                        <a:pt x="346" y="100"/>
                      </a:lnTo>
                      <a:lnTo>
                        <a:pt x="345" y="100"/>
                      </a:lnTo>
                      <a:lnTo>
                        <a:pt x="346" y="100"/>
                      </a:lnTo>
                      <a:lnTo>
                        <a:pt x="346" y="99"/>
                      </a:lnTo>
                      <a:lnTo>
                        <a:pt x="345" y="99"/>
                      </a:lnTo>
                      <a:lnTo>
                        <a:pt x="345" y="98"/>
                      </a:lnTo>
                      <a:lnTo>
                        <a:pt x="345" y="98"/>
                      </a:lnTo>
                      <a:lnTo>
                        <a:pt x="344" y="98"/>
                      </a:lnTo>
                      <a:lnTo>
                        <a:pt x="344" y="98"/>
                      </a:lnTo>
                      <a:lnTo>
                        <a:pt x="345" y="98"/>
                      </a:lnTo>
                      <a:lnTo>
                        <a:pt x="345" y="97"/>
                      </a:lnTo>
                      <a:lnTo>
                        <a:pt x="345" y="97"/>
                      </a:lnTo>
                      <a:lnTo>
                        <a:pt x="344" y="97"/>
                      </a:lnTo>
                      <a:lnTo>
                        <a:pt x="345" y="97"/>
                      </a:lnTo>
                      <a:lnTo>
                        <a:pt x="344" y="97"/>
                      </a:lnTo>
                      <a:lnTo>
                        <a:pt x="344" y="97"/>
                      </a:lnTo>
                      <a:lnTo>
                        <a:pt x="344" y="96"/>
                      </a:lnTo>
                      <a:lnTo>
                        <a:pt x="343" y="96"/>
                      </a:lnTo>
                      <a:lnTo>
                        <a:pt x="342" y="96"/>
                      </a:lnTo>
                      <a:lnTo>
                        <a:pt x="342" y="96"/>
                      </a:lnTo>
                      <a:lnTo>
                        <a:pt x="342" y="95"/>
                      </a:lnTo>
                      <a:lnTo>
                        <a:pt x="342" y="95"/>
                      </a:lnTo>
                      <a:lnTo>
                        <a:pt x="342" y="95"/>
                      </a:lnTo>
                      <a:lnTo>
                        <a:pt x="343" y="95"/>
                      </a:lnTo>
                      <a:lnTo>
                        <a:pt x="344" y="95"/>
                      </a:lnTo>
                      <a:lnTo>
                        <a:pt x="343" y="95"/>
                      </a:lnTo>
                      <a:lnTo>
                        <a:pt x="342" y="95"/>
                      </a:lnTo>
                      <a:lnTo>
                        <a:pt x="342" y="94"/>
                      </a:lnTo>
                      <a:lnTo>
                        <a:pt x="342" y="94"/>
                      </a:lnTo>
                      <a:lnTo>
                        <a:pt x="341" y="94"/>
                      </a:lnTo>
                      <a:lnTo>
                        <a:pt x="341" y="94"/>
                      </a:lnTo>
                      <a:lnTo>
                        <a:pt x="340" y="94"/>
                      </a:lnTo>
                      <a:lnTo>
                        <a:pt x="340" y="94"/>
                      </a:lnTo>
                      <a:lnTo>
                        <a:pt x="339" y="94"/>
                      </a:lnTo>
                      <a:lnTo>
                        <a:pt x="339" y="93"/>
                      </a:lnTo>
                      <a:lnTo>
                        <a:pt x="338" y="93"/>
                      </a:lnTo>
                      <a:lnTo>
                        <a:pt x="338" y="93"/>
                      </a:lnTo>
                      <a:lnTo>
                        <a:pt x="337" y="93"/>
                      </a:lnTo>
                      <a:lnTo>
                        <a:pt x="337" y="93"/>
                      </a:lnTo>
                      <a:lnTo>
                        <a:pt x="337" y="92"/>
                      </a:lnTo>
                      <a:lnTo>
                        <a:pt x="338" y="92"/>
                      </a:lnTo>
                      <a:lnTo>
                        <a:pt x="337" y="92"/>
                      </a:lnTo>
                      <a:lnTo>
                        <a:pt x="338" y="92"/>
                      </a:lnTo>
                      <a:lnTo>
                        <a:pt x="338" y="92"/>
                      </a:lnTo>
                      <a:lnTo>
                        <a:pt x="338" y="91"/>
                      </a:lnTo>
                      <a:lnTo>
                        <a:pt x="338" y="91"/>
                      </a:lnTo>
                      <a:lnTo>
                        <a:pt x="339" y="91"/>
                      </a:lnTo>
                      <a:lnTo>
                        <a:pt x="338" y="90"/>
                      </a:lnTo>
                      <a:lnTo>
                        <a:pt x="338" y="90"/>
                      </a:lnTo>
                      <a:lnTo>
                        <a:pt x="339" y="89"/>
                      </a:lnTo>
                      <a:lnTo>
                        <a:pt x="340" y="89"/>
                      </a:lnTo>
                      <a:lnTo>
                        <a:pt x="340" y="89"/>
                      </a:lnTo>
                      <a:lnTo>
                        <a:pt x="341" y="89"/>
                      </a:lnTo>
                      <a:lnTo>
                        <a:pt x="341" y="89"/>
                      </a:lnTo>
                      <a:lnTo>
                        <a:pt x="342" y="89"/>
                      </a:lnTo>
                      <a:lnTo>
                        <a:pt x="342" y="89"/>
                      </a:lnTo>
                      <a:lnTo>
                        <a:pt x="342" y="89"/>
                      </a:lnTo>
                      <a:lnTo>
                        <a:pt x="342" y="89"/>
                      </a:lnTo>
                      <a:lnTo>
                        <a:pt x="342" y="89"/>
                      </a:lnTo>
                      <a:lnTo>
                        <a:pt x="343" y="89"/>
                      </a:lnTo>
                      <a:lnTo>
                        <a:pt x="343" y="89"/>
                      </a:lnTo>
                      <a:lnTo>
                        <a:pt x="344" y="89"/>
                      </a:lnTo>
                      <a:lnTo>
                        <a:pt x="343" y="89"/>
                      </a:lnTo>
                      <a:lnTo>
                        <a:pt x="342" y="89"/>
                      </a:lnTo>
                      <a:lnTo>
                        <a:pt x="342" y="89"/>
                      </a:lnTo>
                      <a:lnTo>
                        <a:pt x="342" y="88"/>
                      </a:lnTo>
                      <a:lnTo>
                        <a:pt x="342" y="88"/>
                      </a:lnTo>
                      <a:lnTo>
                        <a:pt x="342" y="87"/>
                      </a:lnTo>
                      <a:lnTo>
                        <a:pt x="343" y="87"/>
                      </a:lnTo>
                      <a:lnTo>
                        <a:pt x="342" y="87"/>
                      </a:lnTo>
                      <a:lnTo>
                        <a:pt x="342" y="88"/>
                      </a:lnTo>
                      <a:lnTo>
                        <a:pt x="342" y="87"/>
                      </a:lnTo>
                      <a:lnTo>
                        <a:pt x="343" y="87"/>
                      </a:lnTo>
                      <a:lnTo>
                        <a:pt x="343" y="88"/>
                      </a:lnTo>
                      <a:lnTo>
                        <a:pt x="342" y="88"/>
                      </a:lnTo>
                      <a:lnTo>
                        <a:pt x="342" y="88"/>
                      </a:lnTo>
                      <a:lnTo>
                        <a:pt x="342" y="88"/>
                      </a:lnTo>
                      <a:lnTo>
                        <a:pt x="343" y="88"/>
                      </a:lnTo>
                      <a:lnTo>
                        <a:pt x="343" y="87"/>
                      </a:lnTo>
                      <a:lnTo>
                        <a:pt x="343" y="87"/>
                      </a:lnTo>
                      <a:lnTo>
                        <a:pt x="344" y="87"/>
                      </a:lnTo>
                      <a:lnTo>
                        <a:pt x="343" y="87"/>
                      </a:lnTo>
                      <a:lnTo>
                        <a:pt x="343" y="87"/>
                      </a:lnTo>
                      <a:lnTo>
                        <a:pt x="343" y="87"/>
                      </a:lnTo>
                      <a:lnTo>
                        <a:pt x="344" y="87"/>
                      </a:lnTo>
                      <a:lnTo>
                        <a:pt x="344" y="86"/>
                      </a:lnTo>
                      <a:lnTo>
                        <a:pt x="344" y="86"/>
                      </a:lnTo>
                      <a:lnTo>
                        <a:pt x="345" y="86"/>
                      </a:lnTo>
                      <a:lnTo>
                        <a:pt x="345" y="86"/>
                      </a:lnTo>
                      <a:lnTo>
                        <a:pt x="345" y="86"/>
                      </a:lnTo>
                      <a:lnTo>
                        <a:pt x="345" y="87"/>
                      </a:lnTo>
                      <a:lnTo>
                        <a:pt x="345" y="87"/>
                      </a:lnTo>
                      <a:lnTo>
                        <a:pt x="345" y="87"/>
                      </a:lnTo>
                      <a:lnTo>
                        <a:pt x="345" y="86"/>
                      </a:lnTo>
                      <a:lnTo>
                        <a:pt x="345" y="86"/>
                      </a:lnTo>
                      <a:lnTo>
                        <a:pt x="345" y="86"/>
                      </a:lnTo>
                      <a:lnTo>
                        <a:pt x="344" y="86"/>
                      </a:lnTo>
                      <a:lnTo>
                        <a:pt x="344" y="86"/>
                      </a:lnTo>
                      <a:lnTo>
                        <a:pt x="344" y="86"/>
                      </a:lnTo>
                      <a:lnTo>
                        <a:pt x="344" y="86"/>
                      </a:lnTo>
                      <a:lnTo>
                        <a:pt x="343" y="86"/>
                      </a:lnTo>
                      <a:lnTo>
                        <a:pt x="344" y="86"/>
                      </a:lnTo>
                      <a:lnTo>
                        <a:pt x="343" y="86"/>
                      </a:lnTo>
                      <a:lnTo>
                        <a:pt x="344" y="86"/>
                      </a:lnTo>
                      <a:lnTo>
                        <a:pt x="343" y="86"/>
                      </a:lnTo>
                      <a:lnTo>
                        <a:pt x="344" y="86"/>
                      </a:lnTo>
                      <a:lnTo>
                        <a:pt x="343" y="86"/>
                      </a:lnTo>
                      <a:lnTo>
                        <a:pt x="343" y="85"/>
                      </a:lnTo>
                      <a:lnTo>
                        <a:pt x="343" y="85"/>
                      </a:lnTo>
                      <a:lnTo>
                        <a:pt x="342" y="85"/>
                      </a:lnTo>
                      <a:lnTo>
                        <a:pt x="342" y="84"/>
                      </a:lnTo>
                      <a:lnTo>
                        <a:pt x="342" y="83"/>
                      </a:lnTo>
                      <a:lnTo>
                        <a:pt x="342" y="83"/>
                      </a:lnTo>
                      <a:lnTo>
                        <a:pt x="342" y="83"/>
                      </a:lnTo>
                      <a:lnTo>
                        <a:pt x="342" y="83"/>
                      </a:lnTo>
                      <a:lnTo>
                        <a:pt x="342" y="83"/>
                      </a:lnTo>
                      <a:lnTo>
                        <a:pt x="341" y="83"/>
                      </a:lnTo>
                      <a:lnTo>
                        <a:pt x="341" y="83"/>
                      </a:lnTo>
                      <a:lnTo>
                        <a:pt x="341" y="82"/>
                      </a:lnTo>
                      <a:lnTo>
                        <a:pt x="341" y="82"/>
                      </a:lnTo>
                      <a:lnTo>
                        <a:pt x="340" y="82"/>
                      </a:lnTo>
                      <a:lnTo>
                        <a:pt x="340" y="82"/>
                      </a:lnTo>
                      <a:lnTo>
                        <a:pt x="339" y="82"/>
                      </a:lnTo>
                      <a:lnTo>
                        <a:pt x="339" y="81"/>
                      </a:lnTo>
                      <a:lnTo>
                        <a:pt x="338" y="81"/>
                      </a:lnTo>
                      <a:lnTo>
                        <a:pt x="338" y="81"/>
                      </a:lnTo>
                      <a:lnTo>
                        <a:pt x="337" y="81"/>
                      </a:lnTo>
                      <a:lnTo>
                        <a:pt x="337" y="81"/>
                      </a:lnTo>
                      <a:lnTo>
                        <a:pt x="336" y="80"/>
                      </a:lnTo>
                      <a:lnTo>
                        <a:pt x="336" y="79"/>
                      </a:lnTo>
                      <a:lnTo>
                        <a:pt x="336" y="79"/>
                      </a:lnTo>
                      <a:lnTo>
                        <a:pt x="335" y="79"/>
                      </a:lnTo>
                      <a:lnTo>
                        <a:pt x="335" y="78"/>
                      </a:lnTo>
                      <a:lnTo>
                        <a:pt x="336" y="78"/>
                      </a:lnTo>
                      <a:lnTo>
                        <a:pt x="336" y="78"/>
                      </a:lnTo>
                      <a:lnTo>
                        <a:pt x="336" y="78"/>
                      </a:lnTo>
                      <a:lnTo>
                        <a:pt x="336" y="78"/>
                      </a:lnTo>
                      <a:lnTo>
                        <a:pt x="338" y="78"/>
                      </a:lnTo>
                      <a:lnTo>
                        <a:pt x="338" y="79"/>
                      </a:lnTo>
                      <a:lnTo>
                        <a:pt x="339" y="79"/>
                      </a:lnTo>
                      <a:lnTo>
                        <a:pt x="340" y="79"/>
                      </a:lnTo>
                      <a:lnTo>
                        <a:pt x="340" y="79"/>
                      </a:lnTo>
                      <a:lnTo>
                        <a:pt x="341" y="79"/>
                      </a:lnTo>
                      <a:lnTo>
                        <a:pt x="341" y="79"/>
                      </a:lnTo>
                      <a:lnTo>
                        <a:pt x="342" y="79"/>
                      </a:lnTo>
                      <a:lnTo>
                        <a:pt x="344" y="79"/>
                      </a:lnTo>
                      <a:lnTo>
                        <a:pt x="344" y="79"/>
                      </a:lnTo>
                      <a:lnTo>
                        <a:pt x="345" y="78"/>
                      </a:lnTo>
                      <a:lnTo>
                        <a:pt x="346" y="79"/>
                      </a:lnTo>
                      <a:lnTo>
                        <a:pt x="347" y="79"/>
                      </a:lnTo>
                      <a:lnTo>
                        <a:pt x="348" y="79"/>
                      </a:lnTo>
                      <a:lnTo>
                        <a:pt x="348" y="78"/>
                      </a:lnTo>
                      <a:lnTo>
                        <a:pt x="349" y="78"/>
                      </a:lnTo>
                      <a:lnTo>
                        <a:pt x="350" y="78"/>
                      </a:lnTo>
                      <a:lnTo>
                        <a:pt x="351" y="78"/>
                      </a:lnTo>
                      <a:lnTo>
                        <a:pt x="351" y="78"/>
                      </a:lnTo>
                      <a:lnTo>
                        <a:pt x="352" y="78"/>
                      </a:lnTo>
                      <a:lnTo>
                        <a:pt x="352" y="78"/>
                      </a:lnTo>
                      <a:lnTo>
                        <a:pt x="352" y="78"/>
                      </a:lnTo>
                      <a:lnTo>
                        <a:pt x="352" y="79"/>
                      </a:lnTo>
                      <a:lnTo>
                        <a:pt x="353" y="79"/>
                      </a:lnTo>
                      <a:lnTo>
                        <a:pt x="353" y="78"/>
                      </a:lnTo>
                      <a:lnTo>
                        <a:pt x="353" y="79"/>
                      </a:lnTo>
                      <a:lnTo>
                        <a:pt x="352" y="79"/>
                      </a:lnTo>
                      <a:lnTo>
                        <a:pt x="353" y="79"/>
                      </a:lnTo>
                      <a:lnTo>
                        <a:pt x="352" y="79"/>
                      </a:lnTo>
                      <a:lnTo>
                        <a:pt x="353" y="79"/>
                      </a:lnTo>
                      <a:lnTo>
                        <a:pt x="353" y="79"/>
                      </a:lnTo>
                      <a:lnTo>
                        <a:pt x="353" y="79"/>
                      </a:lnTo>
                      <a:lnTo>
                        <a:pt x="353" y="79"/>
                      </a:lnTo>
                      <a:lnTo>
                        <a:pt x="353" y="79"/>
                      </a:lnTo>
                      <a:lnTo>
                        <a:pt x="354" y="79"/>
                      </a:lnTo>
                      <a:lnTo>
                        <a:pt x="355" y="79"/>
                      </a:lnTo>
                      <a:lnTo>
                        <a:pt x="355" y="79"/>
                      </a:lnTo>
                      <a:lnTo>
                        <a:pt x="356" y="79"/>
                      </a:lnTo>
                      <a:lnTo>
                        <a:pt x="356" y="79"/>
                      </a:lnTo>
                      <a:lnTo>
                        <a:pt x="357" y="79"/>
                      </a:lnTo>
                      <a:lnTo>
                        <a:pt x="357" y="79"/>
                      </a:lnTo>
                      <a:lnTo>
                        <a:pt x="358" y="79"/>
                      </a:lnTo>
                      <a:lnTo>
                        <a:pt x="359" y="79"/>
                      </a:lnTo>
                      <a:lnTo>
                        <a:pt x="358" y="79"/>
                      </a:lnTo>
                      <a:lnTo>
                        <a:pt x="359" y="79"/>
                      </a:lnTo>
                      <a:lnTo>
                        <a:pt x="359" y="79"/>
                      </a:lnTo>
                      <a:lnTo>
                        <a:pt x="359" y="79"/>
                      </a:lnTo>
                      <a:lnTo>
                        <a:pt x="359" y="80"/>
                      </a:lnTo>
                      <a:lnTo>
                        <a:pt x="360" y="80"/>
                      </a:lnTo>
                      <a:lnTo>
                        <a:pt x="360" y="80"/>
                      </a:lnTo>
                      <a:lnTo>
                        <a:pt x="360" y="81"/>
                      </a:lnTo>
                      <a:lnTo>
                        <a:pt x="362" y="81"/>
                      </a:lnTo>
                      <a:lnTo>
                        <a:pt x="362" y="81"/>
                      </a:lnTo>
                      <a:lnTo>
                        <a:pt x="363" y="81"/>
                      </a:lnTo>
                      <a:lnTo>
                        <a:pt x="363" y="81"/>
                      </a:lnTo>
                      <a:lnTo>
                        <a:pt x="364" y="81"/>
                      </a:lnTo>
                      <a:lnTo>
                        <a:pt x="364" y="81"/>
                      </a:lnTo>
                      <a:lnTo>
                        <a:pt x="365" y="81"/>
                      </a:lnTo>
                      <a:lnTo>
                        <a:pt x="366" y="81"/>
                      </a:lnTo>
                      <a:lnTo>
                        <a:pt x="366" y="81"/>
                      </a:lnTo>
                      <a:lnTo>
                        <a:pt x="367" y="81"/>
                      </a:lnTo>
                      <a:lnTo>
                        <a:pt x="367" y="81"/>
                      </a:lnTo>
                      <a:lnTo>
                        <a:pt x="368" y="81"/>
                      </a:lnTo>
                      <a:lnTo>
                        <a:pt x="368" y="81"/>
                      </a:lnTo>
                      <a:lnTo>
                        <a:pt x="368" y="81"/>
                      </a:lnTo>
                      <a:lnTo>
                        <a:pt x="368" y="81"/>
                      </a:lnTo>
                      <a:lnTo>
                        <a:pt x="368" y="80"/>
                      </a:lnTo>
                      <a:lnTo>
                        <a:pt x="369" y="80"/>
                      </a:lnTo>
                      <a:lnTo>
                        <a:pt x="370" y="80"/>
                      </a:lnTo>
                      <a:lnTo>
                        <a:pt x="370" y="80"/>
                      </a:lnTo>
                      <a:lnTo>
                        <a:pt x="371" y="80"/>
                      </a:lnTo>
                      <a:lnTo>
                        <a:pt x="371" y="80"/>
                      </a:lnTo>
                      <a:lnTo>
                        <a:pt x="372" y="80"/>
                      </a:lnTo>
                      <a:lnTo>
                        <a:pt x="372" y="80"/>
                      </a:lnTo>
                      <a:lnTo>
                        <a:pt x="372" y="79"/>
                      </a:lnTo>
                      <a:lnTo>
                        <a:pt x="373" y="79"/>
                      </a:lnTo>
                      <a:lnTo>
                        <a:pt x="374" y="79"/>
                      </a:lnTo>
                      <a:lnTo>
                        <a:pt x="373" y="79"/>
                      </a:lnTo>
                      <a:lnTo>
                        <a:pt x="372" y="79"/>
                      </a:lnTo>
                      <a:lnTo>
                        <a:pt x="372" y="80"/>
                      </a:lnTo>
                      <a:lnTo>
                        <a:pt x="372" y="80"/>
                      </a:lnTo>
                      <a:lnTo>
                        <a:pt x="372" y="80"/>
                      </a:lnTo>
                      <a:lnTo>
                        <a:pt x="372" y="80"/>
                      </a:lnTo>
                      <a:lnTo>
                        <a:pt x="372" y="80"/>
                      </a:lnTo>
                      <a:lnTo>
                        <a:pt x="371" y="80"/>
                      </a:lnTo>
                      <a:lnTo>
                        <a:pt x="371" y="80"/>
                      </a:lnTo>
                      <a:lnTo>
                        <a:pt x="371" y="80"/>
                      </a:lnTo>
                      <a:lnTo>
                        <a:pt x="371" y="80"/>
                      </a:lnTo>
                      <a:lnTo>
                        <a:pt x="370" y="80"/>
                      </a:lnTo>
                      <a:lnTo>
                        <a:pt x="370" y="80"/>
                      </a:lnTo>
                      <a:lnTo>
                        <a:pt x="369" y="80"/>
                      </a:lnTo>
                      <a:lnTo>
                        <a:pt x="370" y="80"/>
                      </a:lnTo>
                      <a:lnTo>
                        <a:pt x="369" y="80"/>
                      </a:lnTo>
                      <a:lnTo>
                        <a:pt x="368" y="80"/>
                      </a:lnTo>
                      <a:lnTo>
                        <a:pt x="368" y="80"/>
                      </a:lnTo>
                      <a:lnTo>
                        <a:pt x="368" y="81"/>
                      </a:lnTo>
                      <a:lnTo>
                        <a:pt x="368" y="80"/>
                      </a:lnTo>
                      <a:lnTo>
                        <a:pt x="368" y="80"/>
                      </a:lnTo>
                      <a:lnTo>
                        <a:pt x="368" y="81"/>
                      </a:lnTo>
                      <a:lnTo>
                        <a:pt x="368" y="81"/>
                      </a:lnTo>
                      <a:lnTo>
                        <a:pt x="367" y="81"/>
                      </a:lnTo>
                      <a:lnTo>
                        <a:pt x="367" y="81"/>
                      </a:lnTo>
                      <a:lnTo>
                        <a:pt x="366" y="81"/>
                      </a:lnTo>
                      <a:lnTo>
                        <a:pt x="366" y="81"/>
                      </a:lnTo>
                      <a:lnTo>
                        <a:pt x="365" y="81"/>
                      </a:lnTo>
                      <a:lnTo>
                        <a:pt x="364" y="81"/>
                      </a:lnTo>
                      <a:lnTo>
                        <a:pt x="364" y="81"/>
                      </a:lnTo>
                      <a:lnTo>
                        <a:pt x="363" y="81"/>
                      </a:lnTo>
                      <a:lnTo>
                        <a:pt x="363" y="81"/>
                      </a:lnTo>
                      <a:lnTo>
                        <a:pt x="363" y="81"/>
                      </a:lnTo>
                      <a:lnTo>
                        <a:pt x="362" y="81"/>
                      </a:lnTo>
                      <a:lnTo>
                        <a:pt x="363" y="81"/>
                      </a:lnTo>
                      <a:lnTo>
                        <a:pt x="363" y="81"/>
                      </a:lnTo>
                      <a:lnTo>
                        <a:pt x="363" y="81"/>
                      </a:lnTo>
                      <a:lnTo>
                        <a:pt x="363" y="81"/>
                      </a:lnTo>
                      <a:lnTo>
                        <a:pt x="364" y="81"/>
                      </a:lnTo>
                      <a:lnTo>
                        <a:pt x="364" y="81"/>
                      </a:lnTo>
                      <a:lnTo>
                        <a:pt x="365" y="81"/>
                      </a:lnTo>
                      <a:lnTo>
                        <a:pt x="366" y="81"/>
                      </a:lnTo>
                      <a:lnTo>
                        <a:pt x="365" y="81"/>
                      </a:lnTo>
                      <a:lnTo>
                        <a:pt x="364" y="81"/>
                      </a:lnTo>
                      <a:lnTo>
                        <a:pt x="364" y="81"/>
                      </a:lnTo>
                      <a:lnTo>
                        <a:pt x="363" y="81"/>
                      </a:lnTo>
                      <a:lnTo>
                        <a:pt x="364" y="81"/>
                      </a:lnTo>
                      <a:lnTo>
                        <a:pt x="364" y="81"/>
                      </a:lnTo>
                      <a:lnTo>
                        <a:pt x="364" y="80"/>
                      </a:lnTo>
                      <a:lnTo>
                        <a:pt x="365" y="80"/>
                      </a:lnTo>
                      <a:lnTo>
                        <a:pt x="366" y="79"/>
                      </a:lnTo>
                      <a:lnTo>
                        <a:pt x="365" y="79"/>
                      </a:lnTo>
                      <a:lnTo>
                        <a:pt x="364" y="79"/>
                      </a:lnTo>
                      <a:lnTo>
                        <a:pt x="364" y="79"/>
                      </a:lnTo>
                      <a:lnTo>
                        <a:pt x="363" y="79"/>
                      </a:lnTo>
                      <a:lnTo>
                        <a:pt x="363" y="80"/>
                      </a:lnTo>
                      <a:lnTo>
                        <a:pt x="363" y="80"/>
                      </a:lnTo>
                      <a:lnTo>
                        <a:pt x="363" y="81"/>
                      </a:lnTo>
                      <a:lnTo>
                        <a:pt x="363" y="80"/>
                      </a:lnTo>
                      <a:lnTo>
                        <a:pt x="362" y="80"/>
                      </a:lnTo>
                      <a:lnTo>
                        <a:pt x="362" y="80"/>
                      </a:lnTo>
                      <a:lnTo>
                        <a:pt x="361" y="80"/>
                      </a:lnTo>
                      <a:lnTo>
                        <a:pt x="360" y="80"/>
                      </a:lnTo>
                      <a:lnTo>
                        <a:pt x="360" y="79"/>
                      </a:lnTo>
                      <a:lnTo>
                        <a:pt x="359" y="79"/>
                      </a:lnTo>
                      <a:lnTo>
                        <a:pt x="359" y="79"/>
                      </a:lnTo>
                      <a:lnTo>
                        <a:pt x="358" y="79"/>
                      </a:lnTo>
                      <a:lnTo>
                        <a:pt x="357" y="79"/>
                      </a:lnTo>
                      <a:lnTo>
                        <a:pt x="357" y="79"/>
                      </a:lnTo>
                      <a:lnTo>
                        <a:pt x="356" y="79"/>
                      </a:lnTo>
                      <a:lnTo>
                        <a:pt x="356" y="78"/>
                      </a:lnTo>
                      <a:lnTo>
                        <a:pt x="356" y="78"/>
                      </a:lnTo>
                      <a:lnTo>
                        <a:pt x="355" y="78"/>
                      </a:lnTo>
                      <a:lnTo>
                        <a:pt x="355" y="78"/>
                      </a:lnTo>
                      <a:lnTo>
                        <a:pt x="354" y="78"/>
                      </a:lnTo>
                      <a:lnTo>
                        <a:pt x="353" y="78"/>
                      </a:lnTo>
                      <a:lnTo>
                        <a:pt x="353" y="78"/>
                      </a:lnTo>
                      <a:lnTo>
                        <a:pt x="352" y="78"/>
                      </a:lnTo>
                      <a:lnTo>
                        <a:pt x="352" y="78"/>
                      </a:lnTo>
                      <a:lnTo>
                        <a:pt x="352" y="77"/>
                      </a:lnTo>
                      <a:lnTo>
                        <a:pt x="352" y="77"/>
                      </a:lnTo>
                      <a:lnTo>
                        <a:pt x="352" y="78"/>
                      </a:lnTo>
                      <a:lnTo>
                        <a:pt x="352" y="77"/>
                      </a:lnTo>
                      <a:lnTo>
                        <a:pt x="353" y="77"/>
                      </a:lnTo>
                      <a:lnTo>
                        <a:pt x="353" y="76"/>
                      </a:lnTo>
                      <a:lnTo>
                        <a:pt x="353" y="76"/>
                      </a:lnTo>
                      <a:lnTo>
                        <a:pt x="353" y="76"/>
                      </a:lnTo>
                      <a:lnTo>
                        <a:pt x="353" y="76"/>
                      </a:lnTo>
                      <a:lnTo>
                        <a:pt x="353" y="76"/>
                      </a:lnTo>
                      <a:lnTo>
                        <a:pt x="353" y="75"/>
                      </a:lnTo>
                      <a:lnTo>
                        <a:pt x="354" y="75"/>
                      </a:lnTo>
                      <a:lnTo>
                        <a:pt x="355" y="75"/>
                      </a:lnTo>
                      <a:lnTo>
                        <a:pt x="355" y="75"/>
                      </a:lnTo>
                      <a:lnTo>
                        <a:pt x="356" y="76"/>
                      </a:lnTo>
                      <a:lnTo>
                        <a:pt x="356" y="76"/>
                      </a:lnTo>
                      <a:lnTo>
                        <a:pt x="356" y="76"/>
                      </a:lnTo>
                      <a:lnTo>
                        <a:pt x="355" y="75"/>
                      </a:lnTo>
                      <a:lnTo>
                        <a:pt x="355" y="75"/>
                      </a:lnTo>
                      <a:lnTo>
                        <a:pt x="355" y="75"/>
                      </a:lnTo>
                      <a:lnTo>
                        <a:pt x="354" y="75"/>
                      </a:lnTo>
                      <a:lnTo>
                        <a:pt x="355" y="75"/>
                      </a:lnTo>
                      <a:lnTo>
                        <a:pt x="355" y="74"/>
                      </a:lnTo>
                      <a:lnTo>
                        <a:pt x="354" y="74"/>
                      </a:lnTo>
                      <a:lnTo>
                        <a:pt x="355" y="74"/>
                      </a:lnTo>
                      <a:lnTo>
                        <a:pt x="354" y="74"/>
                      </a:lnTo>
                      <a:lnTo>
                        <a:pt x="353" y="74"/>
                      </a:lnTo>
                      <a:lnTo>
                        <a:pt x="353" y="74"/>
                      </a:lnTo>
                      <a:lnTo>
                        <a:pt x="353" y="74"/>
                      </a:lnTo>
                      <a:lnTo>
                        <a:pt x="353" y="74"/>
                      </a:lnTo>
                      <a:lnTo>
                        <a:pt x="352" y="74"/>
                      </a:lnTo>
                      <a:lnTo>
                        <a:pt x="352" y="73"/>
                      </a:lnTo>
                      <a:lnTo>
                        <a:pt x="352" y="72"/>
                      </a:lnTo>
                      <a:lnTo>
                        <a:pt x="351" y="72"/>
                      </a:lnTo>
                      <a:lnTo>
                        <a:pt x="352" y="72"/>
                      </a:lnTo>
                      <a:lnTo>
                        <a:pt x="352" y="72"/>
                      </a:lnTo>
                      <a:lnTo>
                        <a:pt x="352" y="71"/>
                      </a:lnTo>
                      <a:lnTo>
                        <a:pt x="352" y="71"/>
                      </a:lnTo>
                      <a:lnTo>
                        <a:pt x="353" y="71"/>
                      </a:lnTo>
                      <a:lnTo>
                        <a:pt x="353" y="71"/>
                      </a:lnTo>
                      <a:lnTo>
                        <a:pt x="353" y="71"/>
                      </a:lnTo>
                      <a:lnTo>
                        <a:pt x="354" y="71"/>
                      </a:lnTo>
                      <a:lnTo>
                        <a:pt x="353" y="71"/>
                      </a:lnTo>
                      <a:lnTo>
                        <a:pt x="353" y="71"/>
                      </a:lnTo>
                      <a:lnTo>
                        <a:pt x="354" y="71"/>
                      </a:lnTo>
                      <a:lnTo>
                        <a:pt x="355" y="71"/>
                      </a:lnTo>
                      <a:lnTo>
                        <a:pt x="355" y="70"/>
                      </a:lnTo>
                      <a:lnTo>
                        <a:pt x="355" y="70"/>
                      </a:lnTo>
                      <a:lnTo>
                        <a:pt x="355" y="70"/>
                      </a:lnTo>
                      <a:lnTo>
                        <a:pt x="355" y="70"/>
                      </a:lnTo>
                      <a:lnTo>
                        <a:pt x="355" y="69"/>
                      </a:lnTo>
                      <a:lnTo>
                        <a:pt x="355" y="69"/>
                      </a:lnTo>
                      <a:lnTo>
                        <a:pt x="355" y="69"/>
                      </a:lnTo>
                      <a:lnTo>
                        <a:pt x="354" y="70"/>
                      </a:lnTo>
                      <a:lnTo>
                        <a:pt x="354" y="69"/>
                      </a:lnTo>
                      <a:lnTo>
                        <a:pt x="355" y="69"/>
                      </a:lnTo>
                      <a:lnTo>
                        <a:pt x="355" y="68"/>
                      </a:lnTo>
                      <a:lnTo>
                        <a:pt x="355" y="68"/>
                      </a:lnTo>
                      <a:lnTo>
                        <a:pt x="355" y="68"/>
                      </a:lnTo>
                      <a:lnTo>
                        <a:pt x="356" y="68"/>
                      </a:lnTo>
                      <a:lnTo>
                        <a:pt x="356" y="68"/>
                      </a:lnTo>
                      <a:lnTo>
                        <a:pt x="356" y="67"/>
                      </a:lnTo>
                      <a:lnTo>
                        <a:pt x="356" y="68"/>
                      </a:lnTo>
                      <a:lnTo>
                        <a:pt x="356" y="67"/>
                      </a:lnTo>
                      <a:lnTo>
                        <a:pt x="357" y="67"/>
                      </a:lnTo>
                      <a:lnTo>
                        <a:pt x="357" y="67"/>
                      </a:lnTo>
                      <a:lnTo>
                        <a:pt x="357" y="67"/>
                      </a:lnTo>
                      <a:lnTo>
                        <a:pt x="358" y="67"/>
                      </a:lnTo>
                      <a:lnTo>
                        <a:pt x="358" y="66"/>
                      </a:lnTo>
                      <a:lnTo>
                        <a:pt x="359" y="66"/>
                      </a:lnTo>
                      <a:lnTo>
                        <a:pt x="359" y="66"/>
                      </a:lnTo>
                      <a:lnTo>
                        <a:pt x="359" y="65"/>
                      </a:lnTo>
                      <a:lnTo>
                        <a:pt x="359" y="66"/>
                      </a:lnTo>
                      <a:lnTo>
                        <a:pt x="359" y="65"/>
                      </a:lnTo>
                      <a:lnTo>
                        <a:pt x="360" y="65"/>
                      </a:lnTo>
                      <a:lnTo>
                        <a:pt x="360" y="65"/>
                      </a:lnTo>
                      <a:lnTo>
                        <a:pt x="360" y="65"/>
                      </a:lnTo>
                      <a:lnTo>
                        <a:pt x="361" y="65"/>
                      </a:lnTo>
                      <a:lnTo>
                        <a:pt x="362" y="65"/>
                      </a:lnTo>
                      <a:lnTo>
                        <a:pt x="362" y="65"/>
                      </a:lnTo>
                      <a:lnTo>
                        <a:pt x="362" y="65"/>
                      </a:lnTo>
                      <a:lnTo>
                        <a:pt x="362" y="65"/>
                      </a:lnTo>
                      <a:lnTo>
                        <a:pt x="363" y="65"/>
                      </a:lnTo>
                      <a:lnTo>
                        <a:pt x="362" y="65"/>
                      </a:lnTo>
                      <a:lnTo>
                        <a:pt x="362" y="64"/>
                      </a:lnTo>
                      <a:lnTo>
                        <a:pt x="363" y="64"/>
                      </a:lnTo>
                      <a:lnTo>
                        <a:pt x="363" y="64"/>
                      </a:lnTo>
                      <a:lnTo>
                        <a:pt x="363" y="64"/>
                      </a:lnTo>
                      <a:lnTo>
                        <a:pt x="363" y="64"/>
                      </a:lnTo>
                      <a:lnTo>
                        <a:pt x="363" y="64"/>
                      </a:lnTo>
                      <a:lnTo>
                        <a:pt x="363" y="64"/>
                      </a:lnTo>
                      <a:lnTo>
                        <a:pt x="363" y="64"/>
                      </a:lnTo>
                      <a:lnTo>
                        <a:pt x="363" y="64"/>
                      </a:lnTo>
                      <a:lnTo>
                        <a:pt x="363" y="64"/>
                      </a:lnTo>
                      <a:lnTo>
                        <a:pt x="364" y="64"/>
                      </a:lnTo>
                      <a:lnTo>
                        <a:pt x="363" y="64"/>
                      </a:lnTo>
                      <a:lnTo>
                        <a:pt x="364" y="64"/>
                      </a:lnTo>
                      <a:lnTo>
                        <a:pt x="364" y="63"/>
                      </a:lnTo>
                      <a:lnTo>
                        <a:pt x="363" y="64"/>
                      </a:lnTo>
                      <a:lnTo>
                        <a:pt x="364" y="64"/>
                      </a:lnTo>
                      <a:lnTo>
                        <a:pt x="364" y="63"/>
                      </a:lnTo>
                      <a:lnTo>
                        <a:pt x="364" y="63"/>
                      </a:lnTo>
                      <a:lnTo>
                        <a:pt x="364" y="63"/>
                      </a:lnTo>
                      <a:lnTo>
                        <a:pt x="364" y="63"/>
                      </a:lnTo>
                      <a:lnTo>
                        <a:pt x="364" y="63"/>
                      </a:lnTo>
                      <a:lnTo>
                        <a:pt x="365" y="63"/>
                      </a:lnTo>
                      <a:lnTo>
                        <a:pt x="365" y="62"/>
                      </a:lnTo>
                      <a:lnTo>
                        <a:pt x="366" y="62"/>
                      </a:lnTo>
                      <a:lnTo>
                        <a:pt x="365" y="62"/>
                      </a:lnTo>
                      <a:lnTo>
                        <a:pt x="365" y="63"/>
                      </a:lnTo>
                      <a:lnTo>
                        <a:pt x="365" y="62"/>
                      </a:lnTo>
                      <a:lnTo>
                        <a:pt x="366" y="62"/>
                      </a:lnTo>
                      <a:lnTo>
                        <a:pt x="366" y="63"/>
                      </a:lnTo>
                      <a:lnTo>
                        <a:pt x="366" y="62"/>
                      </a:lnTo>
                      <a:lnTo>
                        <a:pt x="366" y="62"/>
                      </a:lnTo>
                      <a:lnTo>
                        <a:pt x="367" y="62"/>
                      </a:lnTo>
                      <a:lnTo>
                        <a:pt x="366" y="62"/>
                      </a:lnTo>
                      <a:lnTo>
                        <a:pt x="367" y="62"/>
                      </a:lnTo>
                      <a:lnTo>
                        <a:pt x="367" y="62"/>
                      </a:lnTo>
                      <a:lnTo>
                        <a:pt x="367" y="61"/>
                      </a:lnTo>
                      <a:lnTo>
                        <a:pt x="368" y="61"/>
                      </a:lnTo>
                      <a:lnTo>
                        <a:pt x="368" y="61"/>
                      </a:lnTo>
                      <a:lnTo>
                        <a:pt x="368" y="61"/>
                      </a:lnTo>
                      <a:lnTo>
                        <a:pt x="368" y="61"/>
                      </a:lnTo>
                      <a:lnTo>
                        <a:pt x="368" y="61"/>
                      </a:lnTo>
                      <a:lnTo>
                        <a:pt x="369" y="61"/>
                      </a:lnTo>
                      <a:lnTo>
                        <a:pt x="368" y="61"/>
                      </a:lnTo>
                      <a:lnTo>
                        <a:pt x="368" y="61"/>
                      </a:lnTo>
                      <a:lnTo>
                        <a:pt x="368" y="61"/>
                      </a:lnTo>
                      <a:lnTo>
                        <a:pt x="369" y="61"/>
                      </a:lnTo>
                      <a:lnTo>
                        <a:pt x="369" y="60"/>
                      </a:lnTo>
                      <a:lnTo>
                        <a:pt x="370" y="60"/>
                      </a:lnTo>
                      <a:lnTo>
                        <a:pt x="370" y="60"/>
                      </a:lnTo>
                      <a:lnTo>
                        <a:pt x="371" y="60"/>
                      </a:lnTo>
                      <a:lnTo>
                        <a:pt x="371" y="60"/>
                      </a:lnTo>
                      <a:lnTo>
                        <a:pt x="371" y="60"/>
                      </a:lnTo>
                      <a:lnTo>
                        <a:pt x="371" y="60"/>
                      </a:lnTo>
                      <a:lnTo>
                        <a:pt x="371" y="60"/>
                      </a:lnTo>
                      <a:lnTo>
                        <a:pt x="371" y="60"/>
                      </a:lnTo>
                      <a:lnTo>
                        <a:pt x="371" y="60"/>
                      </a:lnTo>
                      <a:lnTo>
                        <a:pt x="372" y="60"/>
                      </a:lnTo>
                      <a:lnTo>
                        <a:pt x="371" y="60"/>
                      </a:lnTo>
                      <a:lnTo>
                        <a:pt x="372" y="60"/>
                      </a:lnTo>
                      <a:lnTo>
                        <a:pt x="372" y="60"/>
                      </a:lnTo>
                      <a:lnTo>
                        <a:pt x="373" y="60"/>
                      </a:lnTo>
                      <a:lnTo>
                        <a:pt x="374" y="60"/>
                      </a:lnTo>
                      <a:lnTo>
                        <a:pt x="374" y="60"/>
                      </a:lnTo>
                      <a:lnTo>
                        <a:pt x="375" y="60"/>
                      </a:lnTo>
                      <a:lnTo>
                        <a:pt x="374" y="60"/>
                      </a:lnTo>
                      <a:lnTo>
                        <a:pt x="375" y="60"/>
                      </a:lnTo>
                      <a:lnTo>
                        <a:pt x="375" y="60"/>
                      </a:lnTo>
                      <a:lnTo>
                        <a:pt x="375" y="60"/>
                      </a:lnTo>
                      <a:lnTo>
                        <a:pt x="375" y="60"/>
                      </a:lnTo>
                      <a:lnTo>
                        <a:pt x="375" y="60"/>
                      </a:lnTo>
                      <a:lnTo>
                        <a:pt x="375" y="60"/>
                      </a:lnTo>
                      <a:lnTo>
                        <a:pt x="375" y="59"/>
                      </a:lnTo>
                      <a:lnTo>
                        <a:pt x="375" y="60"/>
                      </a:lnTo>
                      <a:lnTo>
                        <a:pt x="375" y="59"/>
                      </a:lnTo>
                      <a:lnTo>
                        <a:pt x="376" y="59"/>
                      </a:lnTo>
                      <a:lnTo>
                        <a:pt x="377" y="59"/>
                      </a:lnTo>
                      <a:lnTo>
                        <a:pt x="377" y="59"/>
                      </a:lnTo>
                      <a:lnTo>
                        <a:pt x="377" y="59"/>
                      </a:lnTo>
                      <a:lnTo>
                        <a:pt x="378" y="59"/>
                      </a:lnTo>
                      <a:lnTo>
                        <a:pt x="378" y="59"/>
                      </a:lnTo>
                      <a:lnTo>
                        <a:pt x="379" y="59"/>
                      </a:lnTo>
                      <a:lnTo>
                        <a:pt x="379" y="59"/>
                      </a:lnTo>
                      <a:lnTo>
                        <a:pt x="378" y="59"/>
                      </a:lnTo>
                      <a:lnTo>
                        <a:pt x="379" y="59"/>
                      </a:lnTo>
                      <a:lnTo>
                        <a:pt x="379" y="60"/>
                      </a:lnTo>
                      <a:lnTo>
                        <a:pt x="379" y="60"/>
                      </a:lnTo>
                      <a:lnTo>
                        <a:pt x="380" y="60"/>
                      </a:lnTo>
                      <a:lnTo>
                        <a:pt x="381" y="60"/>
                      </a:lnTo>
                      <a:lnTo>
                        <a:pt x="381" y="59"/>
                      </a:lnTo>
                      <a:lnTo>
                        <a:pt x="381" y="59"/>
                      </a:lnTo>
                      <a:lnTo>
                        <a:pt x="382" y="59"/>
                      </a:lnTo>
                      <a:lnTo>
                        <a:pt x="382" y="59"/>
                      </a:lnTo>
                      <a:lnTo>
                        <a:pt x="383" y="59"/>
                      </a:lnTo>
                      <a:lnTo>
                        <a:pt x="383" y="60"/>
                      </a:lnTo>
                      <a:lnTo>
                        <a:pt x="382" y="60"/>
                      </a:lnTo>
                      <a:lnTo>
                        <a:pt x="383" y="60"/>
                      </a:lnTo>
                      <a:lnTo>
                        <a:pt x="382" y="60"/>
                      </a:lnTo>
                      <a:lnTo>
                        <a:pt x="383" y="60"/>
                      </a:lnTo>
                      <a:lnTo>
                        <a:pt x="382" y="60"/>
                      </a:lnTo>
                      <a:lnTo>
                        <a:pt x="383" y="60"/>
                      </a:lnTo>
                      <a:lnTo>
                        <a:pt x="383" y="60"/>
                      </a:lnTo>
                      <a:lnTo>
                        <a:pt x="382" y="60"/>
                      </a:lnTo>
                      <a:lnTo>
                        <a:pt x="383" y="60"/>
                      </a:lnTo>
                      <a:lnTo>
                        <a:pt x="382" y="60"/>
                      </a:lnTo>
                      <a:lnTo>
                        <a:pt x="383" y="60"/>
                      </a:lnTo>
                      <a:close/>
                      <a:moveTo>
                        <a:pt x="246" y="117"/>
                      </a:moveTo>
                      <a:lnTo>
                        <a:pt x="247" y="117"/>
                      </a:lnTo>
                      <a:lnTo>
                        <a:pt x="246" y="117"/>
                      </a:lnTo>
                      <a:lnTo>
                        <a:pt x="247" y="117"/>
                      </a:lnTo>
                      <a:lnTo>
                        <a:pt x="246" y="117"/>
                      </a:lnTo>
                      <a:close/>
                      <a:moveTo>
                        <a:pt x="245" y="117"/>
                      </a:moveTo>
                      <a:lnTo>
                        <a:pt x="246" y="117"/>
                      </a:lnTo>
                      <a:lnTo>
                        <a:pt x="245" y="117"/>
                      </a:lnTo>
                      <a:close/>
                      <a:moveTo>
                        <a:pt x="245" y="116"/>
                      </a:moveTo>
                      <a:lnTo>
                        <a:pt x="245" y="117"/>
                      </a:lnTo>
                      <a:lnTo>
                        <a:pt x="245" y="116"/>
                      </a:lnTo>
                      <a:close/>
                      <a:moveTo>
                        <a:pt x="215" y="122"/>
                      </a:moveTo>
                      <a:lnTo>
                        <a:pt x="214" y="122"/>
                      </a:lnTo>
                      <a:lnTo>
                        <a:pt x="215" y="122"/>
                      </a:lnTo>
                      <a:lnTo>
                        <a:pt x="214" y="122"/>
                      </a:lnTo>
                      <a:lnTo>
                        <a:pt x="215" y="122"/>
                      </a:lnTo>
                      <a:close/>
                      <a:moveTo>
                        <a:pt x="210" y="204"/>
                      </a:moveTo>
                      <a:lnTo>
                        <a:pt x="210" y="203"/>
                      </a:lnTo>
                      <a:lnTo>
                        <a:pt x="210" y="203"/>
                      </a:lnTo>
                      <a:lnTo>
                        <a:pt x="210" y="203"/>
                      </a:lnTo>
                      <a:lnTo>
                        <a:pt x="210" y="204"/>
                      </a:lnTo>
                      <a:close/>
                      <a:moveTo>
                        <a:pt x="149" y="186"/>
                      </a:moveTo>
                      <a:lnTo>
                        <a:pt x="150" y="186"/>
                      </a:lnTo>
                      <a:lnTo>
                        <a:pt x="149" y="186"/>
                      </a:lnTo>
                      <a:lnTo>
                        <a:pt x="150" y="186"/>
                      </a:lnTo>
                      <a:lnTo>
                        <a:pt x="150" y="187"/>
                      </a:lnTo>
                      <a:lnTo>
                        <a:pt x="149" y="187"/>
                      </a:lnTo>
                      <a:lnTo>
                        <a:pt x="150" y="187"/>
                      </a:lnTo>
                      <a:lnTo>
                        <a:pt x="149" y="187"/>
                      </a:lnTo>
                      <a:lnTo>
                        <a:pt x="150" y="187"/>
                      </a:lnTo>
                      <a:lnTo>
                        <a:pt x="150" y="186"/>
                      </a:lnTo>
                      <a:lnTo>
                        <a:pt x="149" y="186"/>
                      </a:lnTo>
                      <a:close/>
                      <a:moveTo>
                        <a:pt x="179" y="181"/>
                      </a:moveTo>
                      <a:lnTo>
                        <a:pt x="179" y="181"/>
                      </a:lnTo>
                      <a:lnTo>
                        <a:pt x="179" y="181"/>
                      </a:lnTo>
                      <a:close/>
                      <a:moveTo>
                        <a:pt x="190" y="170"/>
                      </a:moveTo>
                      <a:lnTo>
                        <a:pt x="190" y="170"/>
                      </a:lnTo>
                      <a:lnTo>
                        <a:pt x="190" y="170"/>
                      </a:lnTo>
                      <a:lnTo>
                        <a:pt x="191" y="170"/>
                      </a:lnTo>
                      <a:lnTo>
                        <a:pt x="190" y="170"/>
                      </a:lnTo>
                      <a:close/>
                      <a:moveTo>
                        <a:pt x="189" y="170"/>
                      </a:moveTo>
                      <a:lnTo>
                        <a:pt x="189" y="170"/>
                      </a:lnTo>
                      <a:lnTo>
                        <a:pt x="189" y="170"/>
                      </a:lnTo>
                      <a:lnTo>
                        <a:pt x="189" y="170"/>
                      </a:lnTo>
                      <a:lnTo>
                        <a:pt x="189" y="170"/>
                      </a:lnTo>
                      <a:close/>
                      <a:moveTo>
                        <a:pt x="189" y="170"/>
                      </a:moveTo>
                      <a:lnTo>
                        <a:pt x="190" y="170"/>
                      </a:lnTo>
                      <a:lnTo>
                        <a:pt x="189" y="170"/>
                      </a:lnTo>
                      <a:close/>
                      <a:moveTo>
                        <a:pt x="176" y="146"/>
                      </a:moveTo>
                      <a:lnTo>
                        <a:pt x="176" y="145"/>
                      </a:lnTo>
                      <a:lnTo>
                        <a:pt x="176" y="146"/>
                      </a:lnTo>
                      <a:lnTo>
                        <a:pt x="176" y="146"/>
                      </a:lnTo>
                      <a:lnTo>
                        <a:pt x="176" y="146"/>
                      </a:lnTo>
                      <a:close/>
                      <a:moveTo>
                        <a:pt x="155" y="188"/>
                      </a:moveTo>
                      <a:lnTo>
                        <a:pt x="156" y="188"/>
                      </a:lnTo>
                      <a:lnTo>
                        <a:pt x="155" y="188"/>
                      </a:lnTo>
                      <a:close/>
                      <a:moveTo>
                        <a:pt x="508" y="208"/>
                      </a:moveTo>
                      <a:lnTo>
                        <a:pt x="507" y="208"/>
                      </a:lnTo>
                      <a:lnTo>
                        <a:pt x="507" y="208"/>
                      </a:lnTo>
                      <a:lnTo>
                        <a:pt x="507" y="208"/>
                      </a:lnTo>
                      <a:lnTo>
                        <a:pt x="506" y="208"/>
                      </a:lnTo>
                      <a:lnTo>
                        <a:pt x="506" y="209"/>
                      </a:lnTo>
                      <a:lnTo>
                        <a:pt x="506" y="208"/>
                      </a:lnTo>
                      <a:lnTo>
                        <a:pt x="506" y="209"/>
                      </a:lnTo>
                      <a:lnTo>
                        <a:pt x="505" y="208"/>
                      </a:lnTo>
                      <a:lnTo>
                        <a:pt x="505" y="208"/>
                      </a:lnTo>
                      <a:lnTo>
                        <a:pt x="504" y="208"/>
                      </a:lnTo>
                      <a:lnTo>
                        <a:pt x="505" y="208"/>
                      </a:lnTo>
                      <a:lnTo>
                        <a:pt x="505" y="208"/>
                      </a:lnTo>
                      <a:lnTo>
                        <a:pt x="506" y="209"/>
                      </a:lnTo>
                      <a:lnTo>
                        <a:pt x="506" y="208"/>
                      </a:lnTo>
                      <a:lnTo>
                        <a:pt x="507" y="208"/>
                      </a:lnTo>
                      <a:lnTo>
                        <a:pt x="507" y="208"/>
                      </a:lnTo>
                      <a:lnTo>
                        <a:pt x="507" y="208"/>
                      </a:lnTo>
                      <a:lnTo>
                        <a:pt x="508" y="208"/>
                      </a:lnTo>
                      <a:lnTo>
                        <a:pt x="508" y="207"/>
                      </a:lnTo>
                      <a:lnTo>
                        <a:pt x="507" y="207"/>
                      </a:lnTo>
                      <a:lnTo>
                        <a:pt x="507" y="207"/>
                      </a:lnTo>
                      <a:lnTo>
                        <a:pt x="507" y="207"/>
                      </a:lnTo>
                      <a:lnTo>
                        <a:pt x="507" y="206"/>
                      </a:lnTo>
                      <a:lnTo>
                        <a:pt x="507" y="206"/>
                      </a:lnTo>
                      <a:lnTo>
                        <a:pt x="507" y="207"/>
                      </a:lnTo>
                      <a:lnTo>
                        <a:pt x="508" y="207"/>
                      </a:lnTo>
                      <a:lnTo>
                        <a:pt x="508" y="206"/>
                      </a:lnTo>
                      <a:lnTo>
                        <a:pt x="508" y="206"/>
                      </a:lnTo>
                      <a:lnTo>
                        <a:pt x="508" y="206"/>
                      </a:lnTo>
                      <a:lnTo>
                        <a:pt x="508" y="206"/>
                      </a:lnTo>
                      <a:lnTo>
                        <a:pt x="509" y="206"/>
                      </a:lnTo>
                      <a:lnTo>
                        <a:pt x="509" y="206"/>
                      </a:lnTo>
                      <a:lnTo>
                        <a:pt x="509" y="205"/>
                      </a:lnTo>
                      <a:lnTo>
                        <a:pt x="509" y="205"/>
                      </a:lnTo>
                      <a:lnTo>
                        <a:pt x="509" y="205"/>
                      </a:lnTo>
                      <a:lnTo>
                        <a:pt x="509" y="205"/>
                      </a:lnTo>
                      <a:lnTo>
                        <a:pt x="509" y="205"/>
                      </a:lnTo>
                      <a:lnTo>
                        <a:pt x="509" y="206"/>
                      </a:lnTo>
                      <a:lnTo>
                        <a:pt x="509" y="205"/>
                      </a:lnTo>
                      <a:lnTo>
                        <a:pt x="509" y="206"/>
                      </a:lnTo>
                      <a:lnTo>
                        <a:pt x="508" y="206"/>
                      </a:lnTo>
                      <a:lnTo>
                        <a:pt x="508" y="206"/>
                      </a:lnTo>
                      <a:lnTo>
                        <a:pt x="508" y="207"/>
                      </a:lnTo>
                      <a:lnTo>
                        <a:pt x="507" y="207"/>
                      </a:lnTo>
                      <a:lnTo>
                        <a:pt x="507" y="206"/>
                      </a:lnTo>
                      <a:lnTo>
                        <a:pt x="507" y="206"/>
                      </a:lnTo>
                      <a:lnTo>
                        <a:pt x="507" y="207"/>
                      </a:lnTo>
                      <a:lnTo>
                        <a:pt x="507" y="207"/>
                      </a:lnTo>
                      <a:lnTo>
                        <a:pt x="507" y="207"/>
                      </a:lnTo>
                      <a:lnTo>
                        <a:pt x="508" y="207"/>
                      </a:lnTo>
                      <a:lnTo>
                        <a:pt x="508" y="208"/>
                      </a:lnTo>
                      <a:close/>
                      <a:moveTo>
                        <a:pt x="534" y="233"/>
                      </a:moveTo>
                      <a:lnTo>
                        <a:pt x="534" y="234"/>
                      </a:lnTo>
                      <a:lnTo>
                        <a:pt x="534" y="233"/>
                      </a:lnTo>
                      <a:lnTo>
                        <a:pt x="534" y="233"/>
                      </a:lnTo>
                      <a:lnTo>
                        <a:pt x="534" y="233"/>
                      </a:lnTo>
                      <a:close/>
                      <a:moveTo>
                        <a:pt x="72" y="246"/>
                      </a:moveTo>
                      <a:lnTo>
                        <a:pt x="71" y="246"/>
                      </a:lnTo>
                      <a:lnTo>
                        <a:pt x="72" y="246"/>
                      </a:lnTo>
                      <a:close/>
                      <a:moveTo>
                        <a:pt x="66" y="244"/>
                      </a:moveTo>
                      <a:lnTo>
                        <a:pt x="67" y="244"/>
                      </a:lnTo>
                      <a:lnTo>
                        <a:pt x="66" y="244"/>
                      </a:lnTo>
                      <a:close/>
                      <a:moveTo>
                        <a:pt x="69" y="240"/>
                      </a:moveTo>
                      <a:lnTo>
                        <a:pt x="69" y="241"/>
                      </a:lnTo>
                      <a:lnTo>
                        <a:pt x="69" y="240"/>
                      </a:lnTo>
                      <a:lnTo>
                        <a:pt x="69" y="241"/>
                      </a:lnTo>
                      <a:lnTo>
                        <a:pt x="69" y="240"/>
                      </a:lnTo>
                      <a:close/>
                      <a:moveTo>
                        <a:pt x="76" y="231"/>
                      </a:moveTo>
                      <a:lnTo>
                        <a:pt x="76" y="231"/>
                      </a:lnTo>
                      <a:lnTo>
                        <a:pt x="76" y="231"/>
                      </a:lnTo>
                      <a:lnTo>
                        <a:pt x="76" y="230"/>
                      </a:lnTo>
                      <a:lnTo>
                        <a:pt x="75" y="230"/>
                      </a:lnTo>
                      <a:lnTo>
                        <a:pt x="76" y="230"/>
                      </a:lnTo>
                      <a:lnTo>
                        <a:pt x="75" y="230"/>
                      </a:lnTo>
                      <a:lnTo>
                        <a:pt x="75" y="230"/>
                      </a:lnTo>
                      <a:lnTo>
                        <a:pt x="76" y="230"/>
                      </a:lnTo>
                      <a:lnTo>
                        <a:pt x="75" y="230"/>
                      </a:lnTo>
                      <a:lnTo>
                        <a:pt x="76" y="230"/>
                      </a:lnTo>
                      <a:lnTo>
                        <a:pt x="75" y="230"/>
                      </a:lnTo>
                      <a:lnTo>
                        <a:pt x="75" y="230"/>
                      </a:lnTo>
                      <a:lnTo>
                        <a:pt x="76" y="231"/>
                      </a:lnTo>
                      <a:lnTo>
                        <a:pt x="75" y="231"/>
                      </a:lnTo>
                      <a:lnTo>
                        <a:pt x="75" y="232"/>
                      </a:lnTo>
                      <a:lnTo>
                        <a:pt x="75" y="231"/>
                      </a:lnTo>
                      <a:lnTo>
                        <a:pt x="75" y="232"/>
                      </a:lnTo>
                      <a:lnTo>
                        <a:pt x="76" y="232"/>
                      </a:lnTo>
                      <a:lnTo>
                        <a:pt x="76" y="232"/>
                      </a:lnTo>
                      <a:lnTo>
                        <a:pt x="76" y="232"/>
                      </a:lnTo>
                      <a:lnTo>
                        <a:pt x="76" y="231"/>
                      </a:lnTo>
                      <a:lnTo>
                        <a:pt x="76" y="232"/>
                      </a:lnTo>
                      <a:lnTo>
                        <a:pt x="76" y="231"/>
                      </a:lnTo>
                      <a:close/>
                      <a:moveTo>
                        <a:pt x="76" y="230"/>
                      </a:moveTo>
                      <a:lnTo>
                        <a:pt x="76" y="230"/>
                      </a:lnTo>
                      <a:lnTo>
                        <a:pt x="76" y="230"/>
                      </a:lnTo>
                      <a:close/>
                      <a:moveTo>
                        <a:pt x="76" y="230"/>
                      </a:moveTo>
                      <a:lnTo>
                        <a:pt x="75" y="230"/>
                      </a:lnTo>
                      <a:lnTo>
                        <a:pt x="76" y="230"/>
                      </a:lnTo>
                      <a:close/>
                      <a:moveTo>
                        <a:pt x="102" y="226"/>
                      </a:moveTo>
                      <a:lnTo>
                        <a:pt x="102" y="227"/>
                      </a:lnTo>
                      <a:lnTo>
                        <a:pt x="102" y="226"/>
                      </a:lnTo>
                      <a:lnTo>
                        <a:pt x="102" y="227"/>
                      </a:lnTo>
                      <a:lnTo>
                        <a:pt x="102" y="226"/>
                      </a:lnTo>
                      <a:lnTo>
                        <a:pt x="102" y="226"/>
                      </a:lnTo>
                      <a:lnTo>
                        <a:pt x="102" y="227"/>
                      </a:lnTo>
                      <a:lnTo>
                        <a:pt x="102" y="226"/>
                      </a:lnTo>
                      <a:close/>
                      <a:moveTo>
                        <a:pt x="103" y="226"/>
                      </a:moveTo>
                      <a:lnTo>
                        <a:pt x="103" y="227"/>
                      </a:lnTo>
                      <a:lnTo>
                        <a:pt x="103" y="226"/>
                      </a:lnTo>
                      <a:close/>
                      <a:moveTo>
                        <a:pt x="77" y="226"/>
                      </a:moveTo>
                      <a:lnTo>
                        <a:pt x="77" y="226"/>
                      </a:lnTo>
                      <a:lnTo>
                        <a:pt x="77" y="226"/>
                      </a:lnTo>
                      <a:close/>
                      <a:moveTo>
                        <a:pt x="77" y="226"/>
                      </a:moveTo>
                      <a:lnTo>
                        <a:pt x="76" y="226"/>
                      </a:lnTo>
                      <a:lnTo>
                        <a:pt x="77" y="226"/>
                      </a:lnTo>
                      <a:close/>
                      <a:moveTo>
                        <a:pt x="76" y="226"/>
                      </a:moveTo>
                      <a:lnTo>
                        <a:pt x="75" y="226"/>
                      </a:lnTo>
                      <a:lnTo>
                        <a:pt x="76" y="226"/>
                      </a:lnTo>
                      <a:close/>
                      <a:moveTo>
                        <a:pt x="73" y="236"/>
                      </a:moveTo>
                      <a:lnTo>
                        <a:pt x="72" y="236"/>
                      </a:lnTo>
                      <a:lnTo>
                        <a:pt x="73" y="236"/>
                      </a:lnTo>
                      <a:close/>
                      <a:moveTo>
                        <a:pt x="73" y="249"/>
                      </a:moveTo>
                      <a:lnTo>
                        <a:pt x="73" y="250"/>
                      </a:lnTo>
                      <a:lnTo>
                        <a:pt x="73" y="249"/>
                      </a:lnTo>
                      <a:close/>
                      <a:moveTo>
                        <a:pt x="72" y="257"/>
                      </a:moveTo>
                      <a:lnTo>
                        <a:pt x="72" y="257"/>
                      </a:lnTo>
                      <a:lnTo>
                        <a:pt x="72" y="257"/>
                      </a:lnTo>
                      <a:close/>
                      <a:moveTo>
                        <a:pt x="80" y="263"/>
                      </a:moveTo>
                      <a:lnTo>
                        <a:pt x="80" y="263"/>
                      </a:lnTo>
                      <a:lnTo>
                        <a:pt x="80" y="263"/>
                      </a:lnTo>
                      <a:lnTo>
                        <a:pt x="79" y="263"/>
                      </a:lnTo>
                      <a:lnTo>
                        <a:pt x="78" y="263"/>
                      </a:lnTo>
                      <a:lnTo>
                        <a:pt x="78" y="263"/>
                      </a:lnTo>
                      <a:lnTo>
                        <a:pt x="77" y="263"/>
                      </a:lnTo>
                      <a:lnTo>
                        <a:pt x="77" y="263"/>
                      </a:lnTo>
                      <a:lnTo>
                        <a:pt x="77" y="263"/>
                      </a:lnTo>
                      <a:lnTo>
                        <a:pt x="78" y="263"/>
                      </a:lnTo>
                      <a:lnTo>
                        <a:pt x="77" y="263"/>
                      </a:lnTo>
                      <a:lnTo>
                        <a:pt x="78" y="263"/>
                      </a:lnTo>
                      <a:lnTo>
                        <a:pt x="78" y="263"/>
                      </a:lnTo>
                      <a:lnTo>
                        <a:pt x="78" y="263"/>
                      </a:lnTo>
                      <a:lnTo>
                        <a:pt x="78" y="263"/>
                      </a:lnTo>
                      <a:lnTo>
                        <a:pt x="79" y="263"/>
                      </a:lnTo>
                      <a:lnTo>
                        <a:pt x="80" y="263"/>
                      </a:lnTo>
                      <a:lnTo>
                        <a:pt x="80" y="263"/>
                      </a:lnTo>
                      <a:lnTo>
                        <a:pt x="80" y="263"/>
                      </a:lnTo>
                      <a:lnTo>
                        <a:pt x="80" y="263"/>
                      </a:lnTo>
                      <a:lnTo>
                        <a:pt x="80" y="263"/>
                      </a:lnTo>
                      <a:lnTo>
                        <a:pt x="81" y="263"/>
                      </a:lnTo>
                      <a:lnTo>
                        <a:pt x="81" y="262"/>
                      </a:lnTo>
                      <a:lnTo>
                        <a:pt x="81" y="263"/>
                      </a:lnTo>
                      <a:lnTo>
                        <a:pt x="81" y="263"/>
                      </a:lnTo>
                      <a:lnTo>
                        <a:pt x="81" y="262"/>
                      </a:lnTo>
                      <a:lnTo>
                        <a:pt x="82" y="262"/>
                      </a:lnTo>
                      <a:lnTo>
                        <a:pt x="83" y="262"/>
                      </a:lnTo>
                      <a:lnTo>
                        <a:pt x="83" y="262"/>
                      </a:lnTo>
                      <a:lnTo>
                        <a:pt x="84" y="262"/>
                      </a:lnTo>
                      <a:lnTo>
                        <a:pt x="84" y="262"/>
                      </a:lnTo>
                      <a:lnTo>
                        <a:pt x="84" y="262"/>
                      </a:lnTo>
                      <a:lnTo>
                        <a:pt x="85" y="262"/>
                      </a:lnTo>
                      <a:lnTo>
                        <a:pt x="85" y="262"/>
                      </a:lnTo>
                      <a:lnTo>
                        <a:pt x="85" y="262"/>
                      </a:lnTo>
                      <a:lnTo>
                        <a:pt x="85" y="262"/>
                      </a:lnTo>
                      <a:lnTo>
                        <a:pt x="85" y="262"/>
                      </a:lnTo>
                      <a:lnTo>
                        <a:pt x="85" y="262"/>
                      </a:lnTo>
                      <a:lnTo>
                        <a:pt x="86" y="262"/>
                      </a:lnTo>
                      <a:lnTo>
                        <a:pt x="86" y="262"/>
                      </a:lnTo>
                      <a:lnTo>
                        <a:pt x="85" y="262"/>
                      </a:lnTo>
                      <a:lnTo>
                        <a:pt x="85" y="262"/>
                      </a:lnTo>
                      <a:lnTo>
                        <a:pt x="85" y="262"/>
                      </a:lnTo>
                      <a:lnTo>
                        <a:pt x="85" y="262"/>
                      </a:lnTo>
                      <a:lnTo>
                        <a:pt x="85" y="262"/>
                      </a:lnTo>
                      <a:lnTo>
                        <a:pt x="85" y="262"/>
                      </a:lnTo>
                      <a:lnTo>
                        <a:pt x="84" y="262"/>
                      </a:lnTo>
                      <a:lnTo>
                        <a:pt x="84" y="262"/>
                      </a:lnTo>
                      <a:lnTo>
                        <a:pt x="84" y="262"/>
                      </a:lnTo>
                      <a:lnTo>
                        <a:pt x="83" y="262"/>
                      </a:lnTo>
                      <a:lnTo>
                        <a:pt x="83" y="262"/>
                      </a:lnTo>
                      <a:lnTo>
                        <a:pt x="82" y="262"/>
                      </a:lnTo>
                      <a:lnTo>
                        <a:pt x="81" y="262"/>
                      </a:lnTo>
                      <a:lnTo>
                        <a:pt x="82" y="262"/>
                      </a:lnTo>
                      <a:lnTo>
                        <a:pt x="81" y="262"/>
                      </a:lnTo>
                      <a:lnTo>
                        <a:pt x="81" y="262"/>
                      </a:lnTo>
                      <a:lnTo>
                        <a:pt x="81" y="263"/>
                      </a:lnTo>
                      <a:lnTo>
                        <a:pt x="81" y="262"/>
                      </a:lnTo>
                      <a:lnTo>
                        <a:pt x="81" y="263"/>
                      </a:lnTo>
                      <a:lnTo>
                        <a:pt x="80" y="263"/>
                      </a:lnTo>
                      <a:lnTo>
                        <a:pt x="80" y="263"/>
                      </a:lnTo>
                      <a:lnTo>
                        <a:pt x="80" y="263"/>
                      </a:lnTo>
                      <a:close/>
                      <a:moveTo>
                        <a:pt x="74" y="263"/>
                      </a:moveTo>
                      <a:lnTo>
                        <a:pt x="74" y="263"/>
                      </a:lnTo>
                      <a:lnTo>
                        <a:pt x="74" y="263"/>
                      </a:lnTo>
                      <a:close/>
                      <a:moveTo>
                        <a:pt x="76" y="263"/>
                      </a:moveTo>
                      <a:lnTo>
                        <a:pt x="76" y="263"/>
                      </a:lnTo>
                      <a:lnTo>
                        <a:pt x="76" y="263"/>
                      </a:lnTo>
                      <a:close/>
                      <a:moveTo>
                        <a:pt x="77" y="263"/>
                      </a:moveTo>
                      <a:lnTo>
                        <a:pt x="76" y="263"/>
                      </a:lnTo>
                      <a:lnTo>
                        <a:pt x="77" y="263"/>
                      </a:lnTo>
                      <a:close/>
                      <a:moveTo>
                        <a:pt x="70" y="264"/>
                      </a:moveTo>
                      <a:lnTo>
                        <a:pt x="69" y="264"/>
                      </a:lnTo>
                      <a:lnTo>
                        <a:pt x="70" y="264"/>
                      </a:lnTo>
                      <a:lnTo>
                        <a:pt x="69" y="264"/>
                      </a:lnTo>
                      <a:lnTo>
                        <a:pt x="69" y="264"/>
                      </a:lnTo>
                      <a:lnTo>
                        <a:pt x="70" y="264"/>
                      </a:lnTo>
                      <a:lnTo>
                        <a:pt x="70" y="264"/>
                      </a:lnTo>
                      <a:close/>
                      <a:moveTo>
                        <a:pt x="73" y="264"/>
                      </a:moveTo>
                      <a:lnTo>
                        <a:pt x="73" y="264"/>
                      </a:lnTo>
                      <a:lnTo>
                        <a:pt x="73" y="264"/>
                      </a:lnTo>
                      <a:close/>
                      <a:moveTo>
                        <a:pt x="69" y="264"/>
                      </a:moveTo>
                      <a:lnTo>
                        <a:pt x="69" y="265"/>
                      </a:lnTo>
                      <a:lnTo>
                        <a:pt x="69" y="264"/>
                      </a:lnTo>
                      <a:close/>
                      <a:moveTo>
                        <a:pt x="67" y="268"/>
                      </a:moveTo>
                      <a:lnTo>
                        <a:pt x="68" y="268"/>
                      </a:lnTo>
                      <a:lnTo>
                        <a:pt x="67" y="268"/>
                      </a:lnTo>
                      <a:close/>
                      <a:moveTo>
                        <a:pt x="84" y="292"/>
                      </a:moveTo>
                      <a:lnTo>
                        <a:pt x="84" y="292"/>
                      </a:lnTo>
                      <a:lnTo>
                        <a:pt x="84" y="292"/>
                      </a:lnTo>
                      <a:close/>
                      <a:moveTo>
                        <a:pt x="84" y="292"/>
                      </a:moveTo>
                      <a:lnTo>
                        <a:pt x="83" y="292"/>
                      </a:lnTo>
                      <a:lnTo>
                        <a:pt x="84" y="292"/>
                      </a:lnTo>
                      <a:close/>
                      <a:moveTo>
                        <a:pt x="64" y="276"/>
                      </a:moveTo>
                      <a:lnTo>
                        <a:pt x="64" y="275"/>
                      </a:lnTo>
                      <a:lnTo>
                        <a:pt x="64" y="276"/>
                      </a:lnTo>
                      <a:lnTo>
                        <a:pt x="64" y="275"/>
                      </a:lnTo>
                      <a:lnTo>
                        <a:pt x="64" y="276"/>
                      </a:lnTo>
                      <a:lnTo>
                        <a:pt x="63" y="276"/>
                      </a:lnTo>
                      <a:lnTo>
                        <a:pt x="64" y="276"/>
                      </a:lnTo>
                      <a:close/>
                      <a:moveTo>
                        <a:pt x="62" y="274"/>
                      </a:moveTo>
                      <a:lnTo>
                        <a:pt x="62" y="274"/>
                      </a:lnTo>
                      <a:lnTo>
                        <a:pt x="62" y="274"/>
                      </a:lnTo>
                      <a:close/>
                      <a:moveTo>
                        <a:pt x="59" y="272"/>
                      </a:moveTo>
                      <a:lnTo>
                        <a:pt x="59" y="272"/>
                      </a:lnTo>
                      <a:lnTo>
                        <a:pt x="59" y="272"/>
                      </a:lnTo>
                      <a:lnTo>
                        <a:pt x="59" y="272"/>
                      </a:lnTo>
                      <a:lnTo>
                        <a:pt x="59" y="272"/>
                      </a:lnTo>
                      <a:close/>
                      <a:moveTo>
                        <a:pt x="58" y="261"/>
                      </a:moveTo>
                      <a:lnTo>
                        <a:pt x="58" y="261"/>
                      </a:lnTo>
                      <a:lnTo>
                        <a:pt x="58" y="261"/>
                      </a:lnTo>
                      <a:close/>
                      <a:moveTo>
                        <a:pt x="65" y="248"/>
                      </a:moveTo>
                      <a:lnTo>
                        <a:pt x="65" y="248"/>
                      </a:lnTo>
                      <a:lnTo>
                        <a:pt x="65" y="248"/>
                      </a:lnTo>
                      <a:close/>
                      <a:moveTo>
                        <a:pt x="64" y="249"/>
                      </a:moveTo>
                      <a:lnTo>
                        <a:pt x="64" y="249"/>
                      </a:lnTo>
                      <a:lnTo>
                        <a:pt x="64" y="249"/>
                      </a:lnTo>
                      <a:close/>
                      <a:moveTo>
                        <a:pt x="58" y="249"/>
                      </a:moveTo>
                      <a:lnTo>
                        <a:pt x="58" y="248"/>
                      </a:lnTo>
                      <a:lnTo>
                        <a:pt x="58" y="248"/>
                      </a:lnTo>
                      <a:lnTo>
                        <a:pt x="58" y="248"/>
                      </a:lnTo>
                      <a:lnTo>
                        <a:pt x="58" y="249"/>
                      </a:lnTo>
                      <a:close/>
                      <a:moveTo>
                        <a:pt x="62" y="249"/>
                      </a:moveTo>
                      <a:lnTo>
                        <a:pt x="62" y="248"/>
                      </a:lnTo>
                      <a:lnTo>
                        <a:pt x="62" y="249"/>
                      </a:lnTo>
                      <a:close/>
                      <a:moveTo>
                        <a:pt x="52" y="246"/>
                      </a:moveTo>
                      <a:lnTo>
                        <a:pt x="51" y="246"/>
                      </a:lnTo>
                      <a:lnTo>
                        <a:pt x="51" y="245"/>
                      </a:lnTo>
                      <a:lnTo>
                        <a:pt x="52" y="245"/>
                      </a:lnTo>
                      <a:lnTo>
                        <a:pt x="51" y="245"/>
                      </a:lnTo>
                      <a:lnTo>
                        <a:pt x="51" y="246"/>
                      </a:lnTo>
                      <a:lnTo>
                        <a:pt x="52" y="246"/>
                      </a:lnTo>
                      <a:close/>
                      <a:moveTo>
                        <a:pt x="52" y="245"/>
                      </a:moveTo>
                      <a:lnTo>
                        <a:pt x="51" y="245"/>
                      </a:lnTo>
                      <a:lnTo>
                        <a:pt x="52" y="245"/>
                      </a:lnTo>
                      <a:close/>
                      <a:moveTo>
                        <a:pt x="51" y="245"/>
                      </a:moveTo>
                      <a:lnTo>
                        <a:pt x="51" y="245"/>
                      </a:lnTo>
                      <a:lnTo>
                        <a:pt x="51" y="245"/>
                      </a:lnTo>
                      <a:close/>
                      <a:moveTo>
                        <a:pt x="61" y="241"/>
                      </a:moveTo>
                      <a:lnTo>
                        <a:pt x="61" y="240"/>
                      </a:lnTo>
                      <a:lnTo>
                        <a:pt x="61" y="241"/>
                      </a:lnTo>
                      <a:close/>
                      <a:moveTo>
                        <a:pt x="64" y="236"/>
                      </a:moveTo>
                      <a:lnTo>
                        <a:pt x="64" y="236"/>
                      </a:lnTo>
                      <a:lnTo>
                        <a:pt x="64" y="236"/>
                      </a:lnTo>
                      <a:close/>
                      <a:moveTo>
                        <a:pt x="70" y="229"/>
                      </a:moveTo>
                      <a:lnTo>
                        <a:pt x="70" y="229"/>
                      </a:lnTo>
                      <a:lnTo>
                        <a:pt x="70" y="229"/>
                      </a:lnTo>
                      <a:lnTo>
                        <a:pt x="71" y="229"/>
                      </a:lnTo>
                      <a:lnTo>
                        <a:pt x="70" y="229"/>
                      </a:lnTo>
                      <a:lnTo>
                        <a:pt x="70" y="229"/>
                      </a:lnTo>
                      <a:lnTo>
                        <a:pt x="70" y="229"/>
                      </a:lnTo>
                      <a:lnTo>
                        <a:pt x="70" y="230"/>
                      </a:lnTo>
                      <a:lnTo>
                        <a:pt x="69" y="230"/>
                      </a:lnTo>
                      <a:lnTo>
                        <a:pt x="70" y="230"/>
                      </a:lnTo>
                      <a:lnTo>
                        <a:pt x="70" y="229"/>
                      </a:lnTo>
                      <a:close/>
                      <a:moveTo>
                        <a:pt x="93" y="221"/>
                      </a:moveTo>
                      <a:lnTo>
                        <a:pt x="93" y="221"/>
                      </a:lnTo>
                      <a:lnTo>
                        <a:pt x="93" y="221"/>
                      </a:lnTo>
                      <a:lnTo>
                        <a:pt x="93" y="220"/>
                      </a:lnTo>
                      <a:lnTo>
                        <a:pt x="93" y="221"/>
                      </a:lnTo>
                      <a:lnTo>
                        <a:pt x="94" y="221"/>
                      </a:lnTo>
                      <a:lnTo>
                        <a:pt x="94" y="220"/>
                      </a:lnTo>
                      <a:lnTo>
                        <a:pt x="93" y="220"/>
                      </a:lnTo>
                      <a:lnTo>
                        <a:pt x="93" y="220"/>
                      </a:lnTo>
                      <a:lnTo>
                        <a:pt x="93" y="221"/>
                      </a:lnTo>
                      <a:lnTo>
                        <a:pt x="93" y="221"/>
                      </a:lnTo>
                      <a:close/>
                      <a:moveTo>
                        <a:pt x="92" y="221"/>
                      </a:moveTo>
                      <a:lnTo>
                        <a:pt x="91" y="221"/>
                      </a:lnTo>
                      <a:lnTo>
                        <a:pt x="92" y="221"/>
                      </a:lnTo>
                      <a:lnTo>
                        <a:pt x="91" y="221"/>
                      </a:lnTo>
                      <a:lnTo>
                        <a:pt x="92" y="221"/>
                      </a:lnTo>
                      <a:close/>
                      <a:moveTo>
                        <a:pt x="92" y="221"/>
                      </a:moveTo>
                      <a:lnTo>
                        <a:pt x="92" y="221"/>
                      </a:lnTo>
                      <a:lnTo>
                        <a:pt x="92" y="221"/>
                      </a:lnTo>
                      <a:lnTo>
                        <a:pt x="92" y="221"/>
                      </a:lnTo>
                      <a:lnTo>
                        <a:pt x="92" y="221"/>
                      </a:lnTo>
                      <a:close/>
                      <a:moveTo>
                        <a:pt x="92" y="221"/>
                      </a:moveTo>
                      <a:lnTo>
                        <a:pt x="91" y="221"/>
                      </a:lnTo>
                      <a:lnTo>
                        <a:pt x="92" y="221"/>
                      </a:lnTo>
                      <a:lnTo>
                        <a:pt x="92" y="221"/>
                      </a:lnTo>
                      <a:lnTo>
                        <a:pt x="92" y="222"/>
                      </a:lnTo>
                      <a:lnTo>
                        <a:pt x="92" y="222"/>
                      </a:lnTo>
                      <a:lnTo>
                        <a:pt x="93" y="222"/>
                      </a:lnTo>
                      <a:lnTo>
                        <a:pt x="93" y="222"/>
                      </a:lnTo>
                      <a:lnTo>
                        <a:pt x="93" y="222"/>
                      </a:lnTo>
                      <a:lnTo>
                        <a:pt x="92" y="222"/>
                      </a:lnTo>
                      <a:lnTo>
                        <a:pt x="92" y="221"/>
                      </a:lnTo>
                      <a:lnTo>
                        <a:pt x="92" y="221"/>
                      </a:lnTo>
                      <a:close/>
                      <a:moveTo>
                        <a:pt x="95" y="220"/>
                      </a:moveTo>
                      <a:lnTo>
                        <a:pt x="96" y="220"/>
                      </a:lnTo>
                      <a:lnTo>
                        <a:pt x="96" y="219"/>
                      </a:lnTo>
                      <a:lnTo>
                        <a:pt x="96" y="220"/>
                      </a:lnTo>
                      <a:lnTo>
                        <a:pt x="95" y="220"/>
                      </a:lnTo>
                      <a:lnTo>
                        <a:pt x="96" y="219"/>
                      </a:lnTo>
                      <a:lnTo>
                        <a:pt x="95" y="219"/>
                      </a:lnTo>
                      <a:lnTo>
                        <a:pt x="95" y="220"/>
                      </a:lnTo>
                      <a:lnTo>
                        <a:pt x="95" y="220"/>
                      </a:lnTo>
                      <a:lnTo>
                        <a:pt x="95" y="220"/>
                      </a:lnTo>
                      <a:lnTo>
                        <a:pt x="96" y="220"/>
                      </a:lnTo>
                      <a:lnTo>
                        <a:pt x="95" y="220"/>
                      </a:lnTo>
                      <a:close/>
                      <a:moveTo>
                        <a:pt x="98" y="189"/>
                      </a:moveTo>
                      <a:lnTo>
                        <a:pt x="98" y="189"/>
                      </a:lnTo>
                      <a:lnTo>
                        <a:pt x="98" y="189"/>
                      </a:lnTo>
                      <a:lnTo>
                        <a:pt x="98" y="189"/>
                      </a:lnTo>
                      <a:lnTo>
                        <a:pt x="98" y="189"/>
                      </a:lnTo>
                      <a:close/>
                      <a:moveTo>
                        <a:pt x="92" y="174"/>
                      </a:moveTo>
                      <a:lnTo>
                        <a:pt x="92" y="174"/>
                      </a:lnTo>
                      <a:lnTo>
                        <a:pt x="92" y="174"/>
                      </a:lnTo>
                      <a:lnTo>
                        <a:pt x="91" y="174"/>
                      </a:lnTo>
                      <a:lnTo>
                        <a:pt x="92" y="174"/>
                      </a:lnTo>
                      <a:close/>
                      <a:moveTo>
                        <a:pt x="119" y="135"/>
                      </a:moveTo>
                      <a:lnTo>
                        <a:pt x="119" y="135"/>
                      </a:lnTo>
                      <a:lnTo>
                        <a:pt x="119" y="135"/>
                      </a:lnTo>
                      <a:close/>
                      <a:moveTo>
                        <a:pt x="81" y="170"/>
                      </a:moveTo>
                      <a:lnTo>
                        <a:pt x="82" y="170"/>
                      </a:lnTo>
                      <a:lnTo>
                        <a:pt x="83" y="170"/>
                      </a:lnTo>
                      <a:lnTo>
                        <a:pt x="83" y="170"/>
                      </a:lnTo>
                      <a:lnTo>
                        <a:pt x="83" y="170"/>
                      </a:lnTo>
                      <a:lnTo>
                        <a:pt x="83" y="170"/>
                      </a:lnTo>
                      <a:lnTo>
                        <a:pt x="84" y="170"/>
                      </a:lnTo>
                      <a:lnTo>
                        <a:pt x="83" y="170"/>
                      </a:lnTo>
                      <a:lnTo>
                        <a:pt x="83" y="170"/>
                      </a:lnTo>
                      <a:lnTo>
                        <a:pt x="83" y="170"/>
                      </a:lnTo>
                      <a:lnTo>
                        <a:pt x="83" y="170"/>
                      </a:lnTo>
                      <a:lnTo>
                        <a:pt x="83" y="170"/>
                      </a:lnTo>
                      <a:lnTo>
                        <a:pt x="82" y="170"/>
                      </a:lnTo>
                      <a:lnTo>
                        <a:pt x="81" y="170"/>
                      </a:lnTo>
                      <a:close/>
                      <a:moveTo>
                        <a:pt x="948" y="285"/>
                      </a:moveTo>
                      <a:lnTo>
                        <a:pt x="948" y="284"/>
                      </a:lnTo>
                      <a:lnTo>
                        <a:pt x="948" y="285"/>
                      </a:lnTo>
                      <a:close/>
                      <a:moveTo>
                        <a:pt x="844" y="329"/>
                      </a:moveTo>
                      <a:lnTo>
                        <a:pt x="845" y="329"/>
                      </a:lnTo>
                      <a:lnTo>
                        <a:pt x="844" y="329"/>
                      </a:lnTo>
                      <a:close/>
                      <a:moveTo>
                        <a:pt x="795" y="357"/>
                      </a:moveTo>
                      <a:lnTo>
                        <a:pt x="794" y="357"/>
                      </a:lnTo>
                      <a:lnTo>
                        <a:pt x="795" y="357"/>
                      </a:lnTo>
                      <a:close/>
                      <a:moveTo>
                        <a:pt x="795" y="358"/>
                      </a:moveTo>
                      <a:lnTo>
                        <a:pt x="794" y="358"/>
                      </a:lnTo>
                      <a:lnTo>
                        <a:pt x="795" y="358"/>
                      </a:lnTo>
                      <a:lnTo>
                        <a:pt x="794" y="358"/>
                      </a:lnTo>
                      <a:lnTo>
                        <a:pt x="794" y="357"/>
                      </a:lnTo>
                      <a:lnTo>
                        <a:pt x="794" y="358"/>
                      </a:lnTo>
                      <a:lnTo>
                        <a:pt x="795" y="358"/>
                      </a:lnTo>
                      <a:close/>
                      <a:moveTo>
                        <a:pt x="973" y="260"/>
                      </a:moveTo>
                      <a:lnTo>
                        <a:pt x="973" y="260"/>
                      </a:lnTo>
                      <a:lnTo>
                        <a:pt x="973" y="260"/>
                      </a:lnTo>
                      <a:close/>
                      <a:moveTo>
                        <a:pt x="974" y="259"/>
                      </a:moveTo>
                      <a:lnTo>
                        <a:pt x="973" y="259"/>
                      </a:lnTo>
                      <a:lnTo>
                        <a:pt x="974" y="259"/>
                      </a:lnTo>
                      <a:close/>
                      <a:moveTo>
                        <a:pt x="916" y="249"/>
                      </a:moveTo>
                      <a:lnTo>
                        <a:pt x="917" y="249"/>
                      </a:lnTo>
                      <a:lnTo>
                        <a:pt x="916" y="249"/>
                      </a:lnTo>
                      <a:lnTo>
                        <a:pt x="917" y="250"/>
                      </a:lnTo>
                      <a:lnTo>
                        <a:pt x="917" y="249"/>
                      </a:lnTo>
                      <a:lnTo>
                        <a:pt x="917" y="249"/>
                      </a:lnTo>
                      <a:lnTo>
                        <a:pt x="917" y="249"/>
                      </a:lnTo>
                      <a:lnTo>
                        <a:pt x="918" y="249"/>
                      </a:lnTo>
                      <a:lnTo>
                        <a:pt x="918" y="249"/>
                      </a:lnTo>
                      <a:lnTo>
                        <a:pt x="918" y="248"/>
                      </a:lnTo>
                      <a:lnTo>
                        <a:pt x="918" y="249"/>
                      </a:lnTo>
                      <a:lnTo>
                        <a:pt x="918" y="248"/>
                      </a:lnTo>
                      <a:lnTo>
                        <a:pt x="918" y="248"/>
                      </a:lnTo>
                      <a:lnTo>
                        <a:pt x="919" y="248"/>
                      </a:lnTo>
                      <a:lnTo>
                        <a:pt x="919" y="248"/>
                      </a:lnTo>
                      <a:lnTo>
                        <a:pt x="920" y="248"/>
                      </a:lnTo>
                      <a:lnTo>
                        <a:pt x="920" y="248"/>
                      </a:lnTo>
                      <a:lnTo>
                        <a:pt x="920" y="247"/>
                      </a:lnTo>
                      <a:lnTo>
                        <a:pt x="921" y="247"/>
                      </a:lnTo>
                      <a:lnTo>
                        <a:pt x="921" y="247"/>
                      </a:lnTo>
                      <a:lnTo>
                        <a:pt x="921" y="247"/>
                      </a:lnTo>
                      <a:lnTo>
                        <a:pt x="922" y="247"/>
                      </a:lnTo>
                      <a:lnTo>
                        <a:pt x="922" y="246"/>
                      </a:lnTo>
                      <a:lnTo>
                        <a:pt x="922" y="246"/>
                      </a:lnTo>
                      <a:lnTo>
                        <a:pt x="922" y="245"/>
                      </a:lnTo>
                      <a:lnTo>
                        <a:pt x="923" y="245"/>
                      </a:lnTo>
                      <a:lnTo>
                        <a:pt x="924" y="245"/>
                      </a:lnTo>
                      <a:lnTo>
                        <a:pt x="924" y="245"/>
                      </a:lnTo>
                      <a:lnTo>
                        <a:pt x="924" y="245"/>
                      </a:lnTo>
                      <a:lnTo>
                        <a:pt x="924" y="244"/>
                      </a:lnTo>
                      <a:lnTo>
                        <a:pt x="925" y="245"/>
                      </a:lnTo>
                      <a:lnTo>
                        <a:pt x="925" y="244"/>
                      </a:lnTo>
                      <a:lnTo>
                        <a:pt x="925" y="245"/>
                      </a:lnTo>
                      <a:lnTo>
                        <a:pt x="925" y="244"/>
                      </a:lnTo>
                      <a:lnTo>
                        <a:pt x="925" y="244"/>
                      </a:lnTo>
                      <a:lnTo>
                        <a:pt x="925" y="244"/>
                      </a:lnTo>
                      <a:lnTo>
                        <a:pt x="925" y="243"/>
                      </a:lnTo>
                      <a:lnTo>
                        <a:pt x="925" y="244"/>
                      </a:lnTo>
                      <a:lnTo>
                        <a:pt x="925" y="243"/>
                      </a:lnTo>
                      <a:lnTo>
                        <a:pt x="925" y="243"/>
                      </a:lnTo>
                      <a:lnTo>
                        <a:pt x="925" y="244"/>
                      </a:lnTo>
                      <a:lnTo>
                        <a:pt x="925" y="244"/>
                      </a:lnTo>
                      <a:lnTo>
                        <a:pt x="924" y="244"/>
                      </a:lnTo>
                      <a:lnTo>
                        <a:pt x="924" y="244"/>
                      </a:lnTo>
                      <a:lnTo>
                        <a:pt x="924" y="245"/>
                      </a:lnTo>
                      <a:lnTo>
                        <a:pt x="924" y="245"/>
                      </a:lnTo>
                      <a:lnTo>
                        <a:pt x="924" y="245"/>
                      </a:lnTo>
                      <a:lnTo>
                        <a:pt x="924" y="245"/>
                      </a:lnTo>
                      <a:lnTo>
                        <a:pt x="924" y="245"/>
                      </a:lnTo>
                      <a:lnTo>
                        <a:pt x="924" y="245"/>
                      </a:lnTo>
                      <a:lnTo>
                        <a:pt x="923" y="245"/>
                      </a:lnTo>
                      <a:lnTo>
                        <a:pt x="922" y="245"/>
                      </a:lnTo>
                      <a:lnTo>
                        <a:pt x="922" y="246"/>
                      </a:lnTo>
                      <a:lnTo>
                        <a:pt x="922" y="246"/>
                      </a:lnTo>
                      <a:lnTo>
                        <a:pt x="922" y="247"/>
                      </a:lnTo>
                      <a:lnTo>
                        <a:pt x="921" y="247"/>
                      </a:lnTo>
                      <a:lnTo>
                        <a:pt x="921" y="247"/>
                      </a:lnTo>
                      <a:lnTo>
                        <a:pt x="920" y="247"/>
                      </a:lnTo>
                      <a:lnTo>
                        <a:pt x="920" y="248"/>
                      </a:lnTo>
                      <a:lnTo>
                        <a:pt x="920" y="248"/>
                      </a:lnTo>
                      <a:lnTo>
                        <a:pt x="919" y="248"/>
                      </a:lnTo>
                      <a:lnTo>
                        <a:pt x="920" y="248"/>
                      </a:lnTo>
                      <a:lnTo>
                        <a:pt x="919" y="248"/>
                      </a:lnTo>
                      <a:lnTo>
                        <a:pt x="919" y="248"/>
                      </a:lnTo>
                      <a:lnTo>
                        <a:pt x="918" y="248"/>
                      </a:lnTo>
                      <a:lnTo>
                        <a:pt x="918" y="248"/>
                      </a:lnTo>
                      <a:lnTo>
                        <a:pt x="918" y="249"/>
                      </a:lnTo>
                      <a:lnTo>
                        <a:pt x="918" y="248"/>
                      </a:lnTo>
                      <a:lnTo>
                        <a:pt x="918" y="249"/>
                      </a:lnTo>
                      <a:lnTo>
                        <a:pt x="918" y="249"/>
                      </a:lnTo>
                      <a:lnTo>
                        <a:pt x="917" y="249"/>
                      </a:lnTo>
                      <a:lnTo>
                        <a:pt x="918" y="249"/>
                      </a:lnTo>
                      <a:lnTo>
                        <a:pt x="917" y="249"/>
                      </a:lnTo>
                      <a:lnTo>
                        <a:pt x="917" y="249"/>
                      </a:lnTo>
                      <a:lnTo>
                        <a:pt x="917" y="249"/>
                      </a:lnTo>
                      <a:lnTo>
                        <a:pt x="917" y="250"/>
                      </a:lnTo>
                      <a:lnTo>
                        <a:pt x="916" y="249"/>
                      </a:lnTo>
                      <a:lnTo>
                        <a:pt x="916" y="250"/>
                      </a:lnTo>
                      <a:lnTo>
                        <a:pt x="916" y="251"/>
                      </a:lnTo>
                      <a:lnTo>
                        <a:pt x="916" y="250"/>
                      </a:lnTo>
                      <a:lnTo>
                        <a:pt x="915" y="250"/>
                      </a:lnTo>
                      <a:lnTo>
                        <a:pt x="915" y="251"/>
                      </a:lnTo>
                      <a:lnTo>
                        <a:pt x="915" y="250"/>
                      </a:lnTo>
                      <a:lnTo>
                        <a:pt x="915" y="250"/>
                      </a:lnTo>
                      <a:lnTo>
                        <a:pt x="915" y="251"/>
                      </a:lnTo>
                      <a:lnTo>
                        <a:pt x="915" y="250"/>
                      </a:lnTo>
                      <a:lnTo>
                        <a:pt x="915" y="250"/>
                      </a:lnTo>
                      <a:lnTo>
                        <a:pt x="915" y="251"/>
                      </a:lnTo>
                      <a:lnTo>
                        <a:pt x="915" y="250"/>
                      </a:lnTo>
                      <a:lnTo>
                        <a:pt x="916" y="250"/>
                      </a:lnTo>
                      <a:lnTo>
                        <a:pt x="916" y="251"/>
                      </a:lnTo>
                      <a:lnTo>
                        <a:pt x="916" y="250"/>
                      </a:lnTo>
                      <a:lnTo>
                        <a:pt x="916" y="249"/>
                      </a:lnTo>
                      <a:close/>
                      <a:moveTo>
                        <a:pt x="925" y="243"/>
                      </a:moveTo>
                      <a:lnTo>
                        <a:pt x="926" y="243"/>
                      </a:lnTo>
                      <a:lnTo>
                        <a:pt x="925" y="243"/>
                      </a:lnTo>
                      <a:close/>
                      <a:moveTo>
                        <a:pt x="926" y="243"/>
                      </a:moveTo>
                      <a:lnTo>
                        <a:pt x="925" y="243"/>
                      </a:lnTo>
                      <a:lnTo>
                        <a:pt x="926" y="243"/>
                      </a:lnTo>
                      <a:close/>
                      <a:moveTo>
                        <a:pt x="935" y="244"/>
                      </a:moveTo>
                      <a:lnTo>
                        <a:pt x="935" y="244"/>
                      </a:lnTo>
                      <a:lnTo>
                        <a:pt x="935" y="244"/>
                      </a:lnTo>
                      <a:close/>
                      <a:moveTo>
                        <a:pt x="935" y="244"/>
                      </a:moveTo>
                      <a:lnTo>
                        <a:pt x="935" y="244"/>
                      </a:lnTo>
                      <a:lnTo>
                        <a:pt x="935" y="244"/>
                      </a:lnTo>
                      <a:close/>
                      <a:moveTo>
                        <a:pt x="961" y="245"/>
                      </a:moveTo>
                      <a:lnTo>
                        <a:pt x="961" y="245"/>
                      </a:lnTo>
                      <a:lnTo>
                        <a:pt x="960" y="245"/>
                      </a:lnTo>
                      <a:lnTo>
                        <a:pt x="961" y="245"/>
                      </a:lnTo>
                      <a:lnTo>
                        <a:pt x="960" y="245"/>
                      </a:lnTo>
                      <a:lnTo>
                        <a:pt x="962" y="245"/>
                      </a:lnTo>
                      <a:lnTo>
                        <a:pt x="962" y="245"/>
                      </a:lnTo>
                      <a:lnTo>
                        <a:pt x="961" y="245"/>
                      </a:lnTo>
                      <a:close/>
                      <a:moveTo>
                        <a:pt x="965" y="247"/>
                      </a:moveTo>
                      <a:lnTo>
                        <a:pt x="966" y="249"/>
                      </a:lnTo>
                      <a:lnTo>
                        <a:pt x="966" y="248"/>
                      </a:lnTo>
                      <a:lnTo>
                        <a:pt x="967" y="248"/>
                      </a:lnTo>
                      <a:lnTo>
                        <a:pt x="966" y="248"/>
                      </a:lnTo>
                      <a:lnTo>
                        <a:pt x="966" y="248"/>
                      </a:lnTo>
                      <a:lnTo>
                        <a:pt x="966" y="248"/>
                      </a:lnTo>
                      <a:lnTo>
                        <a:pt x="966" y="248"/>
                      </a:lnTo>
                      <a:lnTo>
                        <a:pt x="966" y="247"/>
                      </a:lnTo>
                      <a:lnTo>
                        <a:pt x="967" y="247"/>
                      </a:lnTo>
                      <a:lnTo>
                        <a:pt x="966" y="247"/>
                      </a:lnTo>
                      <a:lnTo>
                        <a:pt x="966" y="247"/>
                      </a:lnTo>
                      <a:lnTo>
                        <a:pt x="965" y="247"/>
                      </a:lnTo>
                      <a:close/>
                      <a:moveTo>
                        <a:pt x="967" y="249"/>
                      </a:moveTo>
                      <a:lnTo>
                        <a:pt x="967" y="249"/>
                      </a:lnTo>
                      <a:lnTo>
                        <a:pt x="966" y="249"/>
                      </a:lnTo>
                      <a:lnTo>
                        <a:pt x="967" y="249"/>
                      </a:lnTo>
                      <a:close/>
                      <a:moveTo>
                        <a:pt x="967" y="249"/>
                      </a:moveTo>
                      <a:lnTo>
                        <a:pt x="967" y="250"/>
                      </a:lnTo>
                      <a:lnTo>
                        <a:pt x="967" y="249"/>
                      </a:lnTo>
                      <a:lnTo>
                        <a:pt x="967" y="249"/>
                      </a:lnTo>
                      <a:close/>
                      <a:moveTo>
                        <a:pt x="985" y="243"/>
                      </a:moveTo>
                      <a:lnTo>
                        <a:pt x="985" y="243"/>
                      </a:lnTo>
                      <a:lnTo>
                        <a:pt x="985" y="243"/>
                      </a:lnTo>
                      <a:lnTo>
                        <a:pt x="984" y="243"/>
                      </a:lnTo>
                      <a:lnTo>
                        <a:pt x="985" y="243"/>
                      </a:lnTo>
                      <a:close/>
                      <a:moveTo>
                        <a:pt x="936" y="243"/>
                      </a:moveTo>
                      <a:lnTo>
                        <a:pt x="935" y="243"/>
                      </a:lnTo>
                      <a:lnTo>
                        <a:pt x="936" y="243"/>
                      </a:lnTo>
                      <a:close/>
                      <a:moveTo>
                        <a:pt x="985" y="243"/>
                      </a:moveTo>
                      <a:lnTo>
                        <a:pt x="985" y="242"/>
                      </a:lnTo>
                      <a:lnTo>
                        <a:pt x="985" y="242"/>
                      </a:lnTo>
                      <a:lnTo>
                        <a:pt x="985" y="243"/>
                      </a:lnTo>
                      <a:lnTo>
                        <a:pt x="985" y="243"/>
                      </a:lnTo>
                      <a:lnTo>
                        <a:pt x="985" y="243"/>
                      </a:lnTo>
                      <a:lnTo>
                        <a:pt x="985" y="242"/>
                      </a:lnTo>
                      <a:lnTo>
                        <a:pt x="985" y="243"/>
                      </a:lnTo>
                      <a:close/>
                      <a:moveTo>
                        <a:pt x="935" y="242"/>
                      </a:moveTo>
                      <a:lnTo>
                        <a:pt x="935" y="242"/>
                      </a:lnTo>
                      <a:lnTo>
                        <a:pt x="935" y="242"/>
                      </a:lnTo>
                      <a:close/>
                      <a:moveTo>
                        <a:pt x="935" y="242"/>
                      </a:moveTo>
                      <a:lnTo>
                        <a:pt x="934" y="242"/>
                      </a:lnTo>
                      <a:lnTo>
                        <a:pt x="935" y="242"/>
                      </a:lnTo>
                      <a:close/>
                      <a:moveTo>
                        <a:pt x="935" y="241"/>
                      </a:moveTo>
                      <a:lnTo>
                        <a:pt x="935" y="241"/>
                      </a:lnTo>
                      <a:lnTo>
                        <a:pt x="935" y="241"/>
                      </a:lnTo>
                      <a:lnTo>
                        <a:pt x="935" y="241"/>
                      </a:lnTo>
                      <a:lnTo>
                        <a:pt x="934" y="241"/>
                      </a:lnTo>
                      <a:lnTo>
                        <a:pt x="934" y="240"/>
                      </a:lnTo>
                      <a:lnTo>
                        <a:pt x="934" y="241"/>
                      </a:lnTo>
                      <a:lnTo>
                        <a:pt x="933" y="241"/>
                      </a:lnTo>
                      <a:lnTo>
                        <a:pt x="933" y="240"/>
                      </a:lnTo>
                      <a:lnTo>
                        <a:pt x="933" y="240"/>
                      </a:lnTo>
                      <a:lnTo>
                        <a:pt x="933" y="240"/>
                      </a:lnTo>
                      <a:lnTo>
                        <a:pt x="933" y="239"/>
                      </a:lnTo>
                      <a:lnTo>
                        <a:pt x="932" y="239"/>
                      </a:lnTo>
                      <a:lnTo>
                        <a:pt x="932" y="238"/>
                      </a:lnTo>
                      <a:lnTo>
                        <a:pt x="933" y="238"/>
                      </a:lnTo>
                      <a:lnTo>
                        <a:pt x="932" y="238"/>
                      </a:lnTo>
                      <a:lnTo>
                        <a:pt x="933" y="238"/>
                      </a:lnTo>
                      <a:lnTo>
                        <a:pt x="932" y="238"/>
                      </a:lnTo>
                      <a:lnTo>
                        <a:pt x="932" y="238"/>
                      </a:lnTo>
                      <a:lnTo>
                        <a:pt x="933" y="238"/>
                      </a:lnTo>
                      <a:lnTo>
                        <a:pt x="933" y="237"/>
                      </a:lnTo>
                      <a:lnTo>
                        <a:pt x="933" y="237"/>
                      </a:lnTo>
                      <a:lnTo>
                        <a:pt x="933" y="236"/>
                      </a:lnTo>
                      <a:lnTo>
                        <a:pt x="933" y="237"/>
                      </a:lnTo>
                      <a:lnTo>
                        <a:pt x="933" y="236"/>
                      </a:lnTo>
                      <a:lnTo>
                        <a:pt x="933" y="236"/>
                      </a:lnTo>
                      <a:lnTo>
                        <a:pt x="933" y="235"/>
                      </a:lnTo>
                      <a:lnTo>
                        <a:pt x="933" y="235"/>
                      </a:lnTo>
                      <a:lnTo>
                        <a:pt x="933" y="235"/>
                      </a:lnTo>
                      <a:lnTo>
                        <a:pt x="933" y="236"/>
                      </a:lnTo>
                      <a:lnTo>
                        <a:pt x="933" y="235"/>
                      </a:lnTo>
                      <a:lnTo>
                        <a:pt x="933" y="235"/>
                      </a:lnTo>
                      <a:lnTo>
                        <a:pt x="933" y="235"/>
                      </a:lnTo>
                      <a:lnTo>
                        <a:pt x="933" y="234"/>
                      </a:lnTo>
                      <a:lnTo>
                        <a:pt x="933" y="234"/>
                      </a:lnTo>
                      <a:lnTo>
                        <a:pt x="933" y="234"/>
                      </a:lnTo>
                      <a:lnTo>
                        <a:pt x="933" y="234"/>
                      </a:lnTo>
                      <a:lnTo>
                        <a:pt x="933" y="234"/>
                      </a:lnTo>
                      <a:lnTo>
                        <a:pt x="933" y="235"/>
                      </a:lnTo>
                      <a:lnTo>
                        <a:pt x="933" y="234"/>
                      </a:lnTo>
                      <a:lnTo>
                        <a:pt x="933" y="235"/>
                      </a:lnTo>
                      <a:lnTo>
                        <a:pt x="933" y="235"/>
                      </a:lnTo>
                      <a:lnTo>
                        <a:pt x="933" y="235"/>
                      </a:lnTo>
                      <a:lnTo>
                        <a:pt x="933" y="235"/>
                      </a:lnTo>
                      <a:lnTo>
                        <a:pt x="933" y="235"/>
                      </a:lnTo>
                      <a:lnTo>
                        <a:pt x="933" y="236"/>
                      </a:lnTo>
                      <a:lnTo>
                        <a:pt x="932" y="236"/>
                      </a:lnTo>
                      <a:lnTo>
                        <a:pt x="933" y="236"/>
                      </a:lnTo>
                      <a:lnTo>
                        <a:pt x="933" y="236"/>
                      </a:lnTo>
                      <a:lnTo>
                        <a:pt x="933" y="237"/>
                      </a:lnTo>
                      <a:lnTo>
                        <a:pt x="932" y="237"/>
                      </a:lnTo>
                      <a:lnTo>
                        <a:pt x="933" y="237"/>
                      </a:lnTo>
                      <a:lnTo>
                        <a:pt x="933" y="237"/>
                      </a:lnTo>
                      <a:lnTo>
                        <a:pt x="933" y="238"/>
                      </a:lnTo>
                      <a:lnTo>
                        <a:pt x="933" y="237"/>
                      </a:lnTo>
                      <a:lnTo>
                        <a:pt x="932" y="238"/>
                      </a:lnTo>
                      <a:lnTo>
                        <a:pt x="933" y="238"/>
                      </a:lnTo>
                      <a:lnTo>
                        <a:pt x="932" y="238"/>
                      </a:lnTo>
                      <a:lnTo>
                        <a:pt x="933" y="238"/>
                      </a:lnTo>
                      <a:lnTo>
                        <a:pt x="932" y="238"/>
                      </a:lnTo>
                      <a:lnTo>
                        <a:pt x="932" y="238"/>
                      </a:lnTo>
                      <a:lnTo>
                        <a:pt x="932" y="239"/>
                      </a:lnTo>
                      <a:lnTo>
                        <a:pt x="932" y="239"/>
                      </a:lnTo>
                      <a:lnTo>
                        <a:pt x="931" y="239"/>
                      </a:lnTo>
                      <a:lnTo>
                        <a:pt x="932" y="239"/>
                      </a:lnTo>
                      <a:lnTo>
                        <a:pt x="931" y="240"/>
                      </a:lnTo>
                      <a:lnTo>
                        <a:pt x="931" y="239"/>
                      </a:lnTo>
                      <a:lnTo>
                        <a:pt x="930" y="240"/>
                      </a:lnTo>
                      <a:lnTo>
                        <a:pt x="930" y="240"/>
                      </a:lnTo>
                      <a:lnTo>
                        <a:pt x="930" y="240"/>
                      </a:lnTo>
                      <a:lnTo>
                        <a:pt x="929" y="240"/>
                      </a:lnTo>
                      <a:lnTo>
                        <a:pt x="929" y="241"/>
                      </a:lnTo>
                      <a:lnTo>
                        <a:pt x="929" y="241"/>
                      </a:lnTo>
                      <a:lnTo>
                        <a:pt x="929" y="241"/>
                      </a:lnTo>
                      <a:lnTo>
                        <a:pt x="929" y="242"/>
                      </a:lnTo>
                      <a:lnTo>
                        <a:pt x="928" y="242"/>
                      </a:lnTo>
                      <a:lnTo>
                        <a:pt x="929" y="242"/>
                      </a:lnTo>
                      <a:lnTo>
                        <a:pt x="928" y="242"/>
                      </a:lnTo>
                      <a:lnTo>
                        <a:pt x="929" y="242"/>
                      </a:lnTo>
                      <a:lnTo>
                        <a:pt x="929" y="241"/>
                      </a:lnTo>
                      <a:lnTo>
                        <a:pt x="929" y="241"/>
                      </a:lnTo>
                      <a:lnTo>
                        <a:pt x="929" y="240"/>
                      </a:lnTo>
                      <a:lnTo>
                        <a:pt x="930" y="240"/>
                      </a:lnTo>
                      <a:lnTo>
                        <a:pt x="930" y="240"/>
                      </a:lnTo>
                      <a:lnTo>
                        <a:pt x="930" y="240"/>
                      </a:lnTo>
                      <a:lnTo>
                        <a:pt x="931" y="240"/>
                      </a:lnTo>
                      <a:lnTo>
                        <a:pt x="932" y="240"/>
                      </a:lnTo>
                      <a:lnTo>
                        <a:pt x="931" y="240"/>
                      </a:lnTo>
                      <a:lnTo>
                        <a:pt x="932" y="240"/>
                      </a:lnTo>
                      <a:lnTo>
                        <a:pt x="932" y="239"/>
                      </a:lnTo>
                      <a:lnTo>
                        <a:pt x="932" y="239"/>
                      </a:lnTo>
                      <a:lnTo>
                        <a:pt x="932" y="240"/>
                      </a:lnTo>
                      <a:lnTo>
                        <a:pt x="932" y="239"/>
                      </a:lnTo>
                      <a:lnTo>
                        <a:pt x="933" y="240"/>
                      </a:lnTo>
                      <a:lnTo>
                        <a:pt x="933" y="240"/>
                      </a:lnTo>
                      <a:lnTo>
                        <a:pt x="933" y="240"/>
                      </a:lnTo>
                      <a:lnTo>
                        <a:pt x="933" y="240"/>
                      </a:lnTo>
                      <a:lnTo>
                        <a:pt x="933" y="240"/>
                      </a:lnTo>
                      <a:lnTo>
                        <a:pt x="933" y="240"/>
                      </a:lnTo>
                      <a:lnTo>
                        <a:pt x="933" y="240"/>
                      </a:lnTo>
                      <a:lnTo>
                        <a:pt x="933" y="241"/>
                      </a:lnTo>
                      <a:lnTo>
                        <a:pt x="934" y="241"/>
                      </a:lnTo>
                      <a:lnTo>
                        <a:pt x="933" y="241"/>
                      </a:lnTo>
                      <a:lnTo>
                        <a:pt x="934" y="241"/>
                      </a:lnTo>
                      <a:lnTo>
                        <a:pt x="934" y="241"/>
                      </a:lnTo>
                      <a:lnTo>
                        <a:pt x="933" y="241"/>
                      </a:lnTo>
                      <a:lnTo>
                        <a:pt x="934" y="241"/>
                      </a:lnTo>
                      <a:lnTo>
                        <a:pt x="935" y="241"/>
                      </a:lnTo>
                      <a:lnTo>
                        <a:pt x="935" y="242"/>
                      </a:lnTo>
                      <a:lnTo>
                        <a:pt x="935" y="241"/>
                      </a:lnTo>
                      <a:lnTo>
                        <a:pt x="934" y="241"/>
                      </a:lnTo>
                      <a:lnTo>
                        <a:pt x="935" y="241"/>
                      </a:lnTo>
                      <a:lnTo>
                        <a:pt x="934" y="241"/>
                      </a:lnTo>
                      <a:lnTo>
                        <a:pt x="934" y="241"/>
                      </a:lnTo>
                      <a:lnTo>
                        <a:pt x="935" y="241"/>
                      </a:lnTo>
                      <a:lnTo>
                        <a:pt x="935" y="241"/>
                      </a:lnTo>
                      <a:lnTo>
                        <a:pt x="935" y="241"/>
                      </a:lnTo>
                      <a:lnTo>
                        <a:pt x="935" y="241"/>
                      </a:lnTo>
                      <a:lnTo>
                        <a:pt x="935" y="241"/>
                      </a:lnTo>
                      <a:lnTo>
                        <a:pt x="935" y="242"/>
                      </a:lnTo>
                      <a:lnTo>
                        <a:pt x="936" y="242"/>
                      </a:lnTo>
                      <a:lnTo>
                        <a:pt x="935" y="242"/>
                      </a:lnTo>
                      <a:lnTo>
                        <a:pt x="935" y="241"/>
                      </a:lnTo>
                      <a:lnTo>
                        <a:pt x="935" y="241"/>
                      </a:lnTo>
                      <a:lnTo>
                        <a:pt x="935" y="241"/>
                      </a:lnTo>
                      <a:lnTo>
                        <a:pt x="935" y="241"/>
                      </a:lnTo>
                      <a:close/>
                      <a:moveTo>
                        <a:pt x="933" y="240"/>
                      </a:moveTo>
                      <a:lnTo>
                        <a:pt x="933" y="240"/>
                      </a:lnTo>
                      <a:lnTo>
                        <a:pt x="932" y="240"/>
                      </a:lnTo>
                      <a:lnTo>
                        <a:pt x="933" y="240"/>
                      </a:lnTo>
                      <a:lnTo>
                        <a:pt x="933" y="240"/>
                      </a:lnTo>
                      <a:close/>
                      <a:moveTo>
                        <a:pt x="932" y="238"/>
                      </a:moveTo>
                      <a:lnTo>
                        <a:pt x="932" y="238"/>
                      </a:lnTo>
                      <a:lnTo>
                        <a:pt x="932" y="238"/>
                      </a:lnTo>
                      <a:close/>
                      <a:moveTo>
                        <a:pt x="933" y="234"/>
                      </a:moveTo>
                      <a:lnTo>
                        <a:pt x="933" y="233"/>
                      </a:lnTo>
                      <a:lnTo>
                        <a:pt x="933" y="234"/>
                      </a:lnTo>
                      <a:lnTo>
                        <a:pt x="933" y="233"/>
                      </a:lnTo>
                      <a:lnTo>
                        <a:pt x="933" y="234"/>
                      </a:lnTo>
                      <a:lnTo>
                        <a:pt x="933" y="233"/>
                      </a:lnTo>
                      <a:lnTo>
                        <a:pt x="934" y="233"/>
                      </a:lnTo>
                      <a:lnTo>
                        <a:pt x="933" y="233"/>
                      </a:lnTo>
                      <a:lnTo>
                        <a:pt x="933" y="234"/>
                      </a:lnTo>
                      <a:close/>
                      <a:moveTo>
                        <a:pt x="934" y="233"/>
                      </a:moveTo>
                      <a:lnTo>
                        <a:pt x="935" y="233"/>
                      </a:lnTo>
                      <a:lnTo>
                        <a:pt x="935" y="233"/>
                      </a:lnTo>
                      <a:lnTo>
                        <a:pt x="934" y="233"/>
                      </a:lnTo>
                      <a:lnTo>
                        <a:pt x="935" y="233"/>
                      </a:lnTo>
                      <a:lnTo>
                        <a:pt x="935" y="232"/>
                      </a:lnTo>
                      <a:lnTo>
                        <a:pt x="934" y="232"/>
                      </a:lnTo>
                      <a:lnTo>
                        <a:pt x="934" y="232"/>
                      </a:lnTo>
                      <a:lnTo>
                        <a:pt x="935" y="232"/>
                      </a:lnTo>
                      <a:lnTo>
                        <a:pt x="934" y="232"/>
                      </a:lnTo>
                      <a:lnTo>
                        <a:pt x="935" y="232"/>
                      </a:lnTo>
                      <a:lnTo>
                        <a:pt x="935" y="231"/>
                      </a:lnTo>
                      <a:lnTo>
                        <a:pt x="935" y="232"/>
                      </a:lnTo>
                      <a:lnTo>
                        <a:pt x="934" y="232"/>
                      </a:lnTo>
                      <a:lnTo>
                        <a:pt x="935" y="232"/>
                      </a:lnTo>
                      <a:lnTo>
                        <a:pt x="934" y="232"/>
                      </a:lnTo>
                      <a:lnTo>
                        <a:pt x="935" y="232"/>
                      </a:lnTo>
                      <a:lnTo>
                        <a:pt x="934" y="232"/>
                      </a:lnTo>
                      <a:lnTo>
                        <a:pt x="935" y="232"/>
                      </a:lnTo>
                      <a:lnTo>
                        <a:pt x="934" y="232"/>
                      </a:lnTo>
                      <a:lnTo>
                        <a:pt x="934" y="232"/>
                      </a:lnTo>
                      <a:lnTo>
                        <a:pt x="935" y="232"/>
                      </a:lnTo>
                      <a:lnTo>
                        <a:pt x="934" y="232"/>
                      </a:lnTo>
                      <a:lnTo>
                        <a:pt x="935" y="232"/>
                      </a:lnTo>
                      <a:lnTo>
                        <a:pt x="934" y="232"/>
                      </a:lnTo>
                      <a:lnTo>
                        <a:pt x="935" y="232"/>
                      </a:lnTo>
                      <a:lnTo>
                        <a:pt x="935" y="233"/>
                      </a:lnTo>
                      <a:lnTo>
                        <a:pt x="934" y="233"/>
                      </a:lnTo>
                      <a:lnTo>
                        <a:pt x="935" y="233"/>
                      </a:lnTo>
                      <a:lnTo>
                        <a:pt x="935" y="233"/>
                      </a:lnTo>
                      <a:lnTo>
                        <a:pt x="934" y="233"/>
                      </a:lnTo>
                      <a:close/>
                      <a:moveTo>
                        <a:pt x="935" y="231"/>
                      </a:moveTo>
                      <a:lnTo>
                        <a:pt x="935" y="231"/>
                      </a:lnTo>
                      <a:lnTo>
                        <a:pt x="935" y="231"/>
                      </a:lnTo>
                      <a:lnTo>
                        <a:pt x="935" y="230"/>
                      </a:lnTo>
                      <a:lnTo>
                        <a:pt x="935" y="230"/>
                      </a:lnTo>
                      <a:lnTo>
                        <a:pt x="935" y="230"/>
                      </a:lnTo>
                      <a:lnTo>
                        <a:pt x="935" y="230"/>
                      </a:lnTo>
                      <a:lnTo>
                        <a:pt x="935" y="230"/>
                      </a:lnTo>
                      <a:lnTo>
                        <a:pt x="935" y="229"/>
                      </a:lnTo>
                      <a:lnTo>
                        <a:pt x="935" y="229"/>
                      </a:lnTo>
                      <a:lnTo>
                        <a:pt x="935" y="228"/>
                      </a:lnTo>
                      <a:lnTo>
                        <a:pt x="935" y="228"/>
                      </a:lnTo>
                      <a:lnTo>
                        <a:pt x="935" y="227"/>
                      </a:lnTo>
                      <a:lnTo>
                        <a:pt x="936" y="227"/>
                      </a:lnTo>
                      <a:lnTo>
                        <a:pt x="936" y="227"/>
                      </a:lnTo>
                      <a:lnTo>
                        <a:pt x="936" y="227"/>
                      </a:lnTo>
                      <a:lnTo>
                        <a:pt x="936" y="227"/>
                      </a:lnTo>
                      <a:lnTo>
                        <a:pt x="936" y="227"/>
                      </a:lnTo>
                      <a:lnTo>
                        <a:pt x="936" y="227"/>
                      </a:lnTo>
                      <a:lnTo>
                        <a:pt x="936" y="227"/>
                      </a:lnTo>
                      <a:lnTo>
                        <a:pt x="935" y="227"/>
                      </a:lnTo>
                      <a:lnTo>
                        <a:pt x="935" y="228"/>
                      </a:lnTo>
                      <a:lnTo>
                        <a:pt x="935" y="228"/>
                      </a:lnTo>
                      <a:lnTo>
                        <a:pt x="935" y="229"/>
                      </a:lnTo>
                      <a:lnTo>
                        <a:pt x="935" y="229"/>
                      </a:lnTo>
                      <a:lnTo>
                        <a:pt x="935" y="230"/>
                      </a:lnTo>
                      <a:lnTo>
                        <a:pt x="935" y="230"/>
                      </a:lnTo>
                      <a:lnTo>
                        <a:pt x="935" y="230"/>
                      </a:lnTo>
                      <a:lnTo>
                        <a:pt x="935" y="230"/>
                      </a:lnTo>
                      <a:lnTo>
                        <a:pt x="935" y="230"/>
                      </a:lnTo>
                      <a:lnTo>
                        <a:pt x="935" y="230"/>
                      </a:lnTo>
                      <a:lnTo>
                        <a:pt x="935" y="230"/>
                      </a:lnTo>
                      <a:lnTo>
                        <a:pt x="935" y="230"/>
                      </a:lnTo>
                      <a:lnTo>
                        <a:pt x="935" y="230"/>
                      </a:lnTo>
                      <a:lnTo>
                        <a:pt x="935" y="230"/>
                      </a:lnTo>
                      <a:lnTo>
                        <a:pt x="935" y="230"/>
                      </a:lnTo>
                      <a:lnTo>
                        <a:pt x="935" y="230"/>
                      </a:lnTo>
                      <a:lnTo>
                        <a:pt x="935" y="231"/>
                      </a:lnTo>
                      <a:lnTo>
                        <a:pt x="935" y="230"/>
                      </a:lnTo>
                      <a:lnTo>
                        <a:pt x="935" y="231"/>
                      </a:lnTo>
                      <a:close/>
                      <a:moveTo>
                        <a:pt x="936" y="227"/>
                      </a:moveTo>
                      <a:lnTo>
                        <a:pt x="937" y="227"/>
                      </a:lnTo>
                      <a:lnTo>
                        <a:pt x="937" y="226"/>
                      </a:lnTo>
                      <a:lnTo>
                        <a:pt x="937" y="226"/>
                      </a:lnTo>
                      <a:lnTo>
                        <a:pt x="937" y="226"/>
                      </a:lnTo>
                      <a:lnTo>
                        <a:pt x="937" y="227"/>
                      </a:lnTo>
                      <a:lnTo>
                        <a:pt x="936" y="227"/>
                      </a:lnTo>
                      <a:close/>
                      <a:moveTo>
                        <a:pt x="934" y="234"/>
                      </a:moveTo>
                      <a:lnTo>
                        <a:pt x="933" y="234"/>
                      </a:lnTo>
                      <a:lnTo>
                        <a:pt x="934" y="234"/>
                      </a:lnTo>
                      <a:close/>
                      <a:moveTo>
                        <a:pt x="933" y="234"/>
                      </a:moveTo>
                      <a:lnTo>
                        <a:pt x="934" y="234"/>
                      </a:lnTo>
                      <a:lnTo>
                        <a:pt x="933" y="234"/>
                      </a:lnTo>
                      <a:close/>
                      <a:moveTo>
                        <a:pt x="913" y="195"/>
                      </a:moveTo>
                      <a:lnTo>
                        <a:pt x="912" y="195"/>
                      </a:lnTo>
                      <a:lnTo>
                        <a:pt x="913" y="195"/>
                      </a:lnTo>
                      <a:lnTo>
                        <a:pt x="913" y="194"/>
                      </a:lnTo>
                      <a:lnTo>
                        <a:pt x="912" y="194"/>
                      </a:lnTo>
                      <a:lnTo>
                        <a:pt x="913" y="194"/>
                      </a:lnTo>
                      <a:lnTo>
                        <a:pt x="913" y="195"/>
                      </a:lnTo>
                      <a:lnTo>
                        <a:pt x="912" y="195"/>
                      </a:lnTo>
                      <a:lnTo>
                        <a:pt x="913" y="195"/>
                      </a:lnTo>
                      <a:close/>
                      <a:moveTo>
                        <a:pt x="982" y="188"/>
                      </a:moveTo>
                      <a:lnTo>
                        <a:pt x="982" y="188"/>
                      </a:lnTo>
                      <a:lnTo>
                        <a:pt x="982" y="188"/>
                      </a:lnTo>
                      <a:close/>
                      <a:moveTo>
                        <a:pt x="965" y="182"/>
                      </a:moveTo>
                      <a:lnTo>
                        <a:pt x="965" y="182"/>
                      </a:lnTo>
                      <a:lnTo>
                        <a:pt x="965" y="182"/>
                      </a:lnTo>
                      <a:lnTo>
                        <a:pt x="965" y="182"/>
                      </a:lnTo>
                      <a:lnTo>
                        <a:pt x="965" y="182"/>
                      </a:lnTo>
                      <a:close/>
                      <a:moveTo>
                        <a:pt x="939" y="181"/>
                      </a:moveTo>
                      <a:lnTo>
                        <a:pt x="939" y="180"/>
                      </a:lnTo>
                      <a:lnTo>
                        <a:pt x="939" y="181"/>
                      </a:lnTo>
                      <a:lnTo>
                        <a:pt x="938" y="180"/>
                      </a:lnTo>
                      <a:lnTo>
                        <a:pt x="939" y="180"/>
                      </a:lnTo>
                      <a:lnTo>
                        <a:pt x="938" y="180"/>
                      </a:lnTo>
                      <a:lnTo>
                        <a:pt x="939" y="180"/>
                      </a:lnTo>
                      <a:lnTo>
                        <a:pt x="938" y="180"/>
                      </a:lnTo>
                      <a:lnTo>
                        <a:pt x="939" y="180"/>
                      </a:lnTo>
                      <a:lnTo>
                        <a:pt x="939" y="181"/>
                      </a:lnTo>
                      <a:lnTo>
                        <a:pt x="939" y="180"/>
                      </a:lnTo>
                      <a:lnTo>
                        <a:pt x="939" y="181"/>
                      </a:lnTo>
                      <a:lnTo>
                        <a:pt x="939" y="181"/>
                      </a:lnTo>
                      <a:lnTo>
                        <a:pt x="939" y="181"/>
                      </a:lnTo>
                      <a:close/>
                      <a:moveTo>
                        <a:pt x="937" y="178"/>
                      </a:moveTo>
                      <a:lnTo>
                        <a:pt x="936" y="178"/>
                      </a:lnTo>
                      <a:lnTo>
                        <a:pt x="936" y="178"/>
                      </a:lnTo>
                      <a:lnTo>
                        <a:pt x="936" y="178"/>
                      </a:lnTo>
                      <a:lnTo>
                        <a:pt x="937" y="178"/>
                      </a:lnTo>
                      <a:close/>
                      <a:moveTo>
                        <a:pt x="881" y="189"/>
                      </a:moveTo>
                      <a:lnTo>
                        <a:pt x="881" y="189"/>
                      </a:lnTo>
                      <a:lnTo>
                        <a:pt x="882" y="189"/>
                      </a:lnTo>
                      <a:lnTo>
                        <a:pt x="883" y="189"/>
                      </a:lnTo>
                      <a:lnTo>
                        <a:pt x="882" y="189"/>
                      </a:lnTo>
                      <a:lnTo>
                        <a:pt x="881" y="189"/>
                      </a:lnTo>
                      <a:lnTo>
                        <a:pt x="881" y="189"/>
                      </a:lnTo>
                      <a:lnTo>
                        <a:pt x="880" y="189"/>
                      </a:lnTo>
                      <a:lnTo>
                        <a:pt x="881" y="189"/>
                      </a:lnTo>
                      <a:lnTo>
                        <a:pt x="880" y="189"/>
                      </a:lnTo>
                      <a:lnTo>
                        <a:pt x="880" y="188"/>
                      </a:lnTo>
                      <a:lnTo>
                        <a:pt x="880" y="188"/>
                      </a:lnTo>
                      <a:lnTo>
                        <a:pt x="879" y="188"/>
                      </a:lnTo>
                      <a:lnTo>
                        <a:pt x="880" y="188"/>
                      </a:lnTo>
                      <a:lnTo>
                        <a:pt x="879" y="188"/>
                      </a:lnTo>
                      <a:lnTo>
                        <a:pt x="880" y="188"/>
                      </a:lnTo>
                      <a:lnTo>
                        <a:pt x="880" y="188"/>
                      </a:lnTo>
                      <a:lnTo>
                        <a:pt x="880" y="189"/>
                      </a:lnTo>
                      <a:lnTo>
                        <a:pt x="881" y="189"/>
                      </a:lnTo>
                      <a:close/>
                      <a:moveTo>
                        <a:pt x="891" y="184"/>
                      </a:moveTo>
                      <a:lnTo>
                        <a:pt x="892" y="184"/>
                      </a:lnTo>
                      <a:lnTo>
                        <a:pt x="891" y="184"/>
                      </a:lnTo>
                      <a:close/>
                      <a:moveTo>
                        <a:pt x="828" y="181"/>
                      </a:moveTo>
                      <a:lnTo>
                        <a:pt x="828" y="181"/>
                      </a:lnTo>
                      <a:lnTo>
                        <a:pt x="828" y="181"/>
                      </a:lnTo>
                      <a:lnTo>
                        <a:pt x="828" y="181"/>
                      </a:lnTo>
                      <a:lnTo>
                        <a:pt x="828" y="181"/>
                      </a:lnTo>
                      <a:close/>
                      <a:moveTo>
                        <a:pt x="725" y="173"/>
                      </a:moveTo>
                      <a:lnTo>
                        <a:pt x="725" y="173"/>
                      </a:lnTo>
                      <a:lnTo>
                        <a:pt x="725" y="173"/>
                      </a:lnTo>
                      <a:close/>
                      <a:moveTo>
                        <a:pt x="545" y="213"/>
                      </a:moveTo>
                      <a:lnTo>
                        <a:pt x="546" y="213"/>
                      </a:lnTo>
                      <a:lnTo>
                        <a:pt x="545" y="213"/>
                      </a:lnTo>
                      <a:lnTo>
                        <a:pt x="545" y="213"/>
                      </a:lnTo>
                      <a:lnTo>
                        <a:pt x="544" y="213"/>
                      </a:lnTo>
                      <a:lnTo>
                        <a:pt x="545" y="213"/>
                      </a:lnTo>
                      <a:lnTo>
                        <a:pt x="545" y="213"/>
                      </a:lnTo>
                      <a:lnTo>
                        <a:pt x="545" y="213"/>
                      </a:lnTo>
                      <a:lnTo>
                        <a:pt x="545" y="213"/>
                      </a:lnTo>
                      <a:close/>
                      <a:moveTo>
                        <a:pt x="724" y="179"/>
                      </a:moveTo>
                      <a:lnTo>
                        <a:pt x="725" y="179"/>
                      </a:lnTo>
                      <a:lnTo>
                        <a:pt x="725" y="180"/>
                      </a:lnTo>
                      <a:lnTo>
                        <a:pt x="725" y="179"/>
                      </a:lnTo>
                      <a:lnTo>
                        <a:pt x="724" y="179"/>
                      </a:lnTo>
                      <a:close/>
                      <a:moveTo>
                        <a:pt x="740" y="156"/>
                      </a:moveTo>
                      <a:lnTo>
                        <a:pt x="739" y="156"/>
                      </a:lnTo>
                      <a:lnTo>
                        <a:pt x="740" y="156"/>
                      </a:lnTo>
                      <a:lnTo>
                        <a:pt x="740" y="156"/>
                      </a:lnTo>
                      <a:lnTo>
                        <a:pt x="740" y="156"/>
                      </a:lnTo>
                      <a:close/>
                      <a:moveTo>
                        <a:pt x="631" y="160"/>
                      </a:moveTo>
                      <a:lnTo>
                        <a:pt x="631" y="160"/>
                      </a:lnTo>
                      <a:lnTo>
                        <a:pt x="632" y="160"/>
                      </a:lnTo>
                      <a:lnTo>
                        <a:pt x="631" y="160"/>
                      </a:lnTo>
                      <a:lnTo>
                        <a:pt x="631" y="160"/>
                      </a:lnTo>
                      <a:close/>
                      <a:moveTo>
                        <a:pt x="631" y="160"/>
                      </a:moveTo>
                      <a:lnTo>
                        <a:pt x="631" y="159"/>
                      </a:lnTo>
                      <a:lnTo>
                        <a:pt x="630" y="159"/>
                      </a:lnTo>
                      <a:lnTo>
                        <a:pt x="630" y="160"/>
                      </a:lnTo>
                      <a:lnTo>
                        <a:pt x="630" y="159"/>
                      </a:lnTo>
                      <a:lnTo>
                        <a:pt x="630" y="159"/>
                      </a:lnTo>
                      <a:lnTo>
                        <a:pt x="630" y="159"/>
                      </a:lnTo>
                      <a:lnTo>
                        <a:pt x="630" y="159"/>
                      </a:lnTo>
                      <a:lnTo>
                        <a:pt x="630" y="159"/>
                      </a:lnTo>
                      <a:lnTo>
                        <a:pt x="629" y="159"/>
                      </a:lnTo>
                      <a:lnTo>
                        <a:pt x="630" y="159"/>
                      </a:lnTo>
                      <a:lnTo>
                        <a:pt x="629" y="159"/>
                      </a:lnTo>
                      <a:lnTo>
                        <a:pt x="628" y="159"/>
                      </a:lnTo>
                      <a:lnTo>
                        <a:pt x="628" y="158"/>
                      </a:lnTo>
                      <a:lnTo>
                        <a:pt x="628" y="158"/>
                      </a:lnTo>
                      <a:lnTo>
                        <a:pt x="628" y="159"/>
                      </a:lnTo>
                      <a:lnTo>
                        <a:pt x="628" y="158"/>
                      </a:lnTo>
                      <a:lnTo>
                        <a:pt x="628" y="159"/>
                      </a:lnTo>
                      <a:lnTo>
                        <a:pt x="628" y="158"/>
                      </a:lnTo>
                      <a:lnTo>
                        <a:pt x="628" y="159"/>
                      </a:lnTo>
                      <a:lnTo>
                        <a:pt x="629" y="159"/>
                      </a:lnTo>
                      <a:lnTo>
                        <a:pt x="630" y="159"/>
                      </a:lnTo>
                      <a:lnTo>
                        <a:pt x="629" y="159"/>
                      </a:lnTo>
                      <a:lnTo>
                        <a:pt x="630" y="159"/>
                      </a:lnTo>
                      <a:lnTo>
                        <a:pt x="630" y="159"/>
                      </a:lnTo>
                      <a:lnTo>
                        <a:pt x="630" y="160"/>
                      </a:lnTo>
                      <a:lnTo>
                        <a:pt x="630" y="159"/>
                      </a:lnTo>
                      <a:lnTo>
                        <a:pt x="631" y="159"/>
                      </a:lnTo>
                      <a:lnTo>
                        <a:pt x="631" y="160"/>
                      </a:lnTo>
                      <a:close/>
                      <a:moveTo>
                        <a:pt x="628" y="158"/>
                      </a:moveTo>
                      <a:lnTo>
                        <a:pt x="627" y="158"/>
                      </a:lnTo>
                      <a:lnTo>
                        <a:pt x="628" y="158"/>
                      </a:lnTo>
                      <a:close/>
                      <a:moveTo>
                        <a:pt x="605" y="160"/>
                      </a:moveTo>
                      <a:lnTo>
                        <a:pt x="605" y="161"/>
                      </a:lnTo>
                      <a:lnTo>
                        <a:pt x="604" y="160"/>
                      </a:lnTo>
                      <a:lnTo>
                        <a:pt x="604" y="160"/>
                      </a:lnTo>
                      <a:lnTo>
                        <a:pt x="604" y="160"/>
                      </a:lnTo>
                      <a:lnTo>
                        <a:pt x="604" y="161"/>
                      </a:lnTo>
                      <a:lnTo>
                        <a:pt x="605" y="161"/>
                      </a:lnTo>
                      <a:lnTo>
                        <a:pt x="605" y="160"/>
                      </a:lnTo>
                      <a:close/>
                      <a:moveTo>
                        <a:pt x="411" y="137"/>
                      </a:moveTo>
                      <a:lnTo>
                        <a:pt x="410" y="137"/>
                      </a:lnTo>
                      <a:lnTo>
                        <a:pt x="411" y="137"/>
                      </a:lnTo>
                      <a:lnTo>
                        <a:pt x="411" y="137"/>
                      </a:lnTo>
                      <a:lnTo>
                        <a:pt x="411" y="137"/>
                      </a:lnTo>
                      <a:lnTo>
                        <a:pt x="412" y="137"/>
                      </a:lnTo>
                      <a:lnTo>
                        <a:pt x="412" y="137"/>
                      </a:lnTo>
                      <a:lnTo>
                        <a:pt x="413" y="137"/>
                      </a:lnTo>
                      <a:lnTo>
                        <a:pt x="413" y="137"/>
                      </a:lnTo>
                      <a:lnTo>
                        <a:pt x="413" y="137"/>
                      </a:lnTo>
                      <a:lnTo>
                        <a:pt x="414" y="137"/>
                      </a:lnTo>
                      <a:lnTo>
                        <a:pt x="413" y="138"/>
                      </a:lnTo>
                      <a:lnTo>
                        <a:pt x="414" y="138"/>
                      </a:lnTo>
                      <a:lnTo>
                        <a:pt x="414" y="138"/>
                      </a:lnTo>
                      <a:lnTo>
                        <a:pt x="414" y="138"/>
                      </a:lnTo>
                      <a:lnTo>
                        <a:pt x="415" y="138"/>
                      </a:lnTo>
                      <a:lnTo>
                        <a:pt x="415" y="138"/>
                      </a:lnTo>
                      <a:lnTo>
                        <a:pt x="415" y="139"/>
                      </a:lnTo>
                      <a:lnTo>
                        <a:pt x="415" y="138"/>
                      </a:lnTo>
                      <a:lnTo>
                        <a:pt x="415" y="138"/>
                      </a:lnTo>
                      <a:lnTo>
                        <a:pt x="415" y="139"/>
                      </a:lnTo>
                      <a:lnTo>
                        <a:pt x="416" y="139"/>
                      </a:lnTo>
                      <a:lnTo>
                        <a:pt x="416" y="139"/>
                      </a:lnTo>
                      <a:lnTo>
                        <a:pt x="416" y="138"/>
                      </a:lnTo>
                      <a:lnTo>
                        <a:pt x="417" y="138"/>
                      </a:lnTo>
                      <a:lnTo>
                        <a:pt x="418" y="138"/>
                      </a:lnTo>
                      <a:lnTo>
                        <a:pt x="418" y="138"/>
                      </a:lnTo>
                      <a:lnTo>
                        <a:pt x="418" y="139"/>
                      </a:lnTo>
                      <a:lnTo>
                        <a:pt x="419" y="139"/>
                      </a:lnTo>
                      <a:lnTo>
                        <a:pt x="419" y="138"/>
                      </a:lnTo>
                      <a:lnTo>
                        <a:pt x="419" y="139"/>
                      </a:lnTo>
                      <a:lnTo>
                        <a:pt x="419" y="139"/>
                      </a:lnTo>
                      <a:lnTo>
                        <a:pt x="420" y="139"/>
                      </a:lnTo>
                      <a:lnTo>
                        <a:pt x="420" y="138"/>
                      </a:lnTo>
                      <a:lnTo>
                        <a:pt x="420" y="138"/>
                      </a:lnTo>
                      <a:lnTo>
                        <a:pt x="421" y="138"/>
                      </a:lnTo>
                      <a:lnTo>
                        <a:pt x="421" y="139"/>
                      </a:lnTo>
                      <a:lnTo>
                        <a:pt x="422" y="139"/>
                      </a:lnTo>
                      <a:lnTo>
                        <a:pt x="422" y="139"/>
                      </a:lnTo>
                      <a:lnTo>
                        <a:pt x="423" y="139"/>
                      </a:lnTo>
                      <a:lnTo>
                        <a:pt x="422" y="139"/>
                      </a:lnTo>
                      <a:lnTo>
                        <a:pt x="422" y="140"/>
                      </a:lnTo>
                      <a:lnTo>
                        <a:pt x="422" y="140"/>
                      </a:lnTo>
                      <a:lnTo>
                        <a:pt x="423" y="140"/>
                      </a:lnTo>
                      <a:lnTo>
                        <a:pt x="423" y="140"/>
                      </a:lnTo>
                      <a:lnTo>
                        <a:pt x="423" y="141"/>
                      </a:lnTo>
                      <a:lnTo>
                        <a:pt x="424" y="141"/>
                      </a:lnTo>
                      <a:lnTo>
                        <a:pt x="424" y="141"/>
                      </a:lnTo>
                      <a:lnTo>
                        <a:pt x="425" y="141"/>
                      </a:lnTo>
                      <a:lnTo>
                        <a:pt x="425" y="141"/>
                      </a:lnTo>
                      <a:lnTo>
                        <a:pt x="425" y="142"/>
                      </a:lnTo>
                      <a:lnTo>
                        <a:pt x="426" y="142"/>
                      </a:lnTo>
                      <a:lnTo>
                        <a:pt x="425" y="142"/>
                      </a:lnTo>
                      <a:lnTo>
                        <a:pt x="426" y="142"/>
                      </a:lnTo>
                      <a:lnTo>
                        <a:pt x="426" y="142"/>
                      </a:lnTo>
                      <a:lnTo>
                        <a:pt x="427" y="142"/>
                      </a:lnTo>
                      <a:lnTo>
                        <a:pt x="427" y="142"/>
                      </a:lnTo>
                      <a:lnTo>
                        <a:pt x="427" y="142"/>
                      </a:lnTo>
                      <a:lnTo>
                        <a:pt x="428" y="142"/>
                      </a:lnTo>
                      <a:lnTo>
                        <a:pt x="429" y="142"/>
                      </a:lnTo>
                      <a:lnTo>
                        <a:pt x="429" y="142"/>
                      </a:lnTo>
                      <a:lnTo>
                        <a:pt x="429" y="143"/>
                      </a:lnTo>
                      <a:lnTo>
                        <a:pt x="430" y="143"/>
                      </a:lnTo>
                      <a:lnTo>
                        <a:pt x="429" y="143"/>
                      </a:lnTo>
                      <a:lnTo>
                        <a:pt x="429" y="142"/>
                      </a:lnTo>
                      <a:lnTo>
                        <a:pt x="429" y="142"/>
                      </a:lnTo>
                      <a:lnTo>
                        <a:pt x="428" y="142"/>
                      </a:lnTo>
                      <a:lnTo>
                        <a:pt x="427" y="142"/>
                      </a:lnTo>
                      <a:lnTo>
                        <a:pt x="428" y="142"/>
                      </a:lnTo>
                      <a:lnTo>
                        <a:pt x="427" y="142"/>
                      </a:lnTo>
                      <a:lnTo>
                        <a:pt x="427" y="142"/>
                      </a:lnTo>
                      <a:lnTo>
                        <a:pt x="427" y="142"/>
                      </a:lnTo>
                      <a:lnTo>
                        <a:pt x="426" y="142"/>
                      </a:lnTo>
                      <a:lnTo>
                        <a:pt x="427" y="142"/>
                      </a:lnTo>
                      <a:lnTo>
                        <a:pt x="426" y="142"/>
                      </a:lnTo>
                      <a:lnTo>
                        <a:pt x="426" y="142"/>
                      </a:lnTo>
                      <a:lnTo>
                        <a:pt x="425" y="142"/>
                      </a:lnTo>
                      <a:lnTo>
                        <a:pt x="425" y="141"/>
                      </a:lnTo>
                      <a:lnTo>
                        <a:pt x="425" y="141"/>
                      </a:lnTo>
                      <a:lnTo>
                        <a:pt x="424" y="141"/>
                      </a:lnTo>
                      <a:lnTo>
                        <a:pt x="424" y="141"/>
                      </a:lnTo>
                      <a:lnTo>
                        <a:pt x="423" y="140"/>
                      </a:lnTo>
                      <a:lnTo>
                        <a:pt x="423" y="140"/>
                      </a:lnTo>
                      <a:lnTo>
                        <a:pt x="422" y="140"/>
                      </a:lnTo>
                      <a:lnTo>
                        <a:pt x="422" y="140"/>
                      </a:lnTo>
                      <a:lnTo>
                        <a:pt x="423" y="140"/>
                      </a:lnTo>
                      <a:lnTo>
                        <a:pt x="422" y="140"/>
                      </a:lnTo>
                      <a:lnTo>
                        <a:pt x="423" y="140"/>
                      </a:lnTo>
                      <a:lnTo>
                        <a:pt x="423" y="139"/>
                      </a:lnTo>
                      <a:lnTo>
                        <a:pt x="422" y="139"/>
                      </a:lnTo>
                      <a:lnTo>
                        <a:pt x="422" y="139"/>
                      </a:lnTo>
                      <a:lnTo>
                        <a:pt x="421" y="139"/>
                      </a:lnTo>
                      <a:lnTo>
                        <a:pt x="421" y="138"/>
                      </a:lnTo>
                      <a:lnTo>
                        <a:pt x="420" y="138"/>
                      </a:lnTo>
                      <a:lnTo>
                        <a:pt x="420" y="138"/>
                      </a:lnTo>
                      <a:lnTo>
                        <a:pt x="420" y="139"/>
                      </a:lnTo>
                      <a:lnTo>
                        <a:pt x="420" y="138"/>
                      </a:lnTo>
                      <a:lnTo>
                        <a:pt x="419" y="138"/>
                      </a:lnTo>
                      <a:lnTo>
                        <a:pt x="419" y="139"/>
                      </a:lnTo>
                      <a:lnTo>
                        <a:pt x="419" y="139"/>
                      </a:lnTo>
                      <a:lnTo>
                        <a:pt x="419" y="138"/>
                      </a:lnTo>
                      <a:lnTo>
                        <a:pt x="418" y="138"/>
                      </a:lnTo>
                      <a:lnTo>
                        <a:pt x="418" y="138"/>
                      </a:lnTo>
                      <a:lnTo>
                        <a:pt x="417" y="138"/>
                      </a:lnTo>
                      <a:lnTo>
                        <a:pt x="418" y="138"/>
                      </a:lnTo>
                      <a:lnTo>
                        <a:pt x="417" y="138"/>
                      </a:lnTo>
                      <a:lnTo>
                        <a:pt x="416" y="138"/>
                      </a:lnTo>
                      <a:lnTo>
                        <a:pt x="416" y="139"/>
                      </a:lnTo>
                      <a:lnTo>
                        <a:pt x="416" y="139"/>
                      </a:lnTo>
                      <a:lnTo>
                        <a:pt x="415" y="139"/>
                      </a:lnTo>
                      <a:lnTo>
                        <a:pt x="415" y="138"/>
                      </a:lnTo>
                      <a:lnTo>
                        <a:pt x="415" y="138"/>
                      </a:lnTo>
                      <a:lnTo>
                        <a:pt x="415" y="138"/>
                      </a:lnTo>
                      <a:lnTo>
                        <a:pt x="414" y="138"/>
                      </a:lnTo>
                      <a:lnTo>
                        <a:pt x="413" y="138"/>
                      </a:lnTo>
                      <a:lnTo>
                        <a:pt x="414" y="138"/>
                      </a:lnTo>
                      <a:lnTo>
                        <a:pt x="414" y="137"/>
                      </a:lnTo>
                      <a:lnTo>
                        <a:pt x="413" y="137"/>
                      </a:lnTo>
                      <a:lnTo>
                        <a:pt x="413" y="137"/>
                      </a:lnTo>
                      <a:lnTo>
                        <a:pt x="412" y="137"/>
                      </a:lnTo>
                      <a:lnTo>
                        <a:pt x="412" y="137"/>
                      </a:lnTo>
                      <a:lnTo>
                        <a:pt x="412" y="137"/>
                      </a:lnTo>
                      <a:lnTo>
                        <a:pt x="411" y="137"/>
                      </a:lnTo>
                      <a:lnTo>
                        <a:pt x="411" y="137"/>
                      </a:lnTo>
                      <a:lnTo>
                        <a:pt x="411" y="137"/>
                      </a:lnTo>
                      <a:close/>
                      <a:moveTo>
                        <a:pt x="331" y="162"/>
                      </a:moveTo>
                      <a:lnTo>
                        <a:pt x="331" y="161"/>
                      </a:lnTo>
                      <a:lnTo>
                        <a:pt x="331" y="161"/>
                      </a:lnTo>
                      <a:lnTo>
                        <a:pt x="331" y="161"/>
                      </a:lnTo>
                      <a:lnTo>
                        <a:pt x="331" y="160"/>
                      </a:lnTo>
                      <a:lnTo>
                        <a:pt x="331" y="160"/>
                      </a:lnTo>
                      <a:lnTo>
                        <a:pt x="331" y="160"/>
                      </a:lnTo>
                      <a:lnTo>
                        <a:pt x="330" y="160"/>
                      </a:lnTo>
                      <a:lnTo>
                        <a:pt x="331" y="160"/>
                      </a:lnTo>
                      <a:lnTo>
                        <a:pt x="331" y="160"/>
                      </a:lnTo>
                      <a:lnTo>
                        <a:pt x="331" y="160"/>
                      </a:lnTo>
                      <a:lnTo>
                        <a:pt x="331" y="161"/>
                      </a:lnTo>
                      <a:lnTo>
                        <a:pt x="331" y="161"/>
                      </a:lnTo>
                      <a:lnTo>
                        <a:pt x="331" y="161"/>
                      </a:lnTo>
                      <a:lnTo>
                        <a:pt x="331" y="162"/>
                      </a:lnTo>
                      <a:close/>
                      <a:moveTo>
                        <a:pt x="329" y="161"/>
                      </a:moveTo>
                      <a:lnTo>
                        <a:pt x="329" y="160"/>
                      </a:lnTo>
                      <a:lnTo>
                        <a:pt x="329" y="161"/>
                      </a:lnTo>
                      <a:close/>
                      <a:moveTo>
                        <a:pt x="324" y="19"/>
                      </a:moveTo>
                      <a:lnTo>
                        <a:pt x="325" y="19"/>
                      </a:lnTo>
                      <a:lnTo>
                        <a:pt x="325" y="19"/>
                      </a:lnTo>
                      <a:lnTo>
                        <a:pt x="326" y="19"/>
                      </a:lnTo>
                      <a:lnTo>
                        <a:pt x="326" y="19"/>
                      </a:lnTo>
                      <a:lnTo>
                        <a:pt x="327" y="20"/>
                      </a:lnTo>
                      <a:lnTo>
                        <a:pt x="327" y="20"/>
                      </a:lnTo>
                      <a:lnTo>
                        <a:pt x="327" y="20"/>
                      </a:lnTo>
                      <a:lnTo>
                        <a:pt x="328" y="20"/>
                      </a:lnTo>
                      <a:lnTo>
                        <a:pt x="329" y="20"/>
                      </a:lnTo>
                      <a:lnTo>
                        <a:pt x="329" y="21"/>
                      </a:lnTo>
                      <a:lnTo>
                        <a:pt x="328" y="21"/>
                      </a:lnTo>
                      <a:lnTo>
                        <a:pt x="327" y="22"/>
                      </a:lnTo>
                      <a:lnTo>
                        <a:pt x="328" y="22"/>
                      </a:lnTo>
                      <a:lnTo>
                        <a:pt x="327" y="22"/>
                      </a:lnTo>
                      <a:lnTo>
                        <a:pt x="327" y="22"/>
                      </a:lnTo>
                      <a:lnTo>
                        <a:pt x="327" y="22"/>
                      </a:lnTo>
                      <a:lnTo>
                        <a:pt x="327" y="22"/>
                      </a:lnTo>
                      <a:lnTo>
                        <a:pt x="327" y="23"/>
                      </a:lnTo>
                      <a:lnTo>
                        <a:pt x="327" y="23"/>
                      </a:lnTo>
                      <a:lnTo>
                        <a:pt x="328" y="23"/>
                      </a:lnTo>
                      <a:lnTo>
                        <a:pt x="329" y="23"/>
                      </a:lnTo>
                      <a:lnTo>
                        <a:pt x="328" y="23"/>
                      </a:lnTo>
                      <a:lnTo>
                        <a:pt x="328" y="23"/>
                      </a:lnTo>
                      <a:lnTo>
                        <a:pt x="329" y="23"/>
                      </a:lnTo>
                      <a:lnTo>
                        <a:pt x="329" y="23"/>
                      </a:lnTo>
                      <a:lnTo>
                        <a:pt x="329" y="23"/>
                      </a:lnTo>
                      <a:lnTo>
                        <a:pt x="329" y="23"/>
                      </a:lnTo>
                      <a:lnTo>
                        <a:pt x="329" y="23"/>
                      </a:lnTo>
                      <a:lnTo>
                        <a:pt x="330" y="23"/>
                      </a:lnTo>
                      <a:lnTo>
                        <a:pt x="330" y="24"/>
                      </a:lnTo>
                      <a:lnTo>
                        <a:pt x="330" y="24"/>
                      </a:lnTo>
                      <a:lnTo>
                        <a:pt x="331" y="24"/>
                      </a:lnTo>
                      <a:lnTo>
                        <a:pt x="331" y="24"/>
                      </a:lnTo>
                      <a:lnTo>
                        <a:pt x="331" y="23"/>
                      </a:lnTo>
                      <a:lnTo>
                        <a:pt x="331" y="23"/>
                      </a:lnTo>
                      <a:lnTo>
                        <a:pt x="332" y="23"/>
                      </a:lnTo>
                      <a:lnTo>
                        <a:pt x="331" y="23"/>
                      </a:lnTo>
                      <a:lnTo>
                        <a:pt x="332" y="23"/>
                      </a:lnTo>
                      <a:lnTo>
                        <a:pt x="332" y="22"/>
                      </a:lnTo>
                      <a:lnTo>
                        <a:pt x="332" y="22"/>
                      </a:lnTo>
                      <a:lnTo>
                        <a:pt x="331" y="22"/>
                      </a:lnTo>
                      <a:lnTo>
                        <a:pt x="332" y="22"/>
                      </a:lnTo>
                      <a:lnTo>
                        <a:pt x="332" y="21"/>
                      </a:lnTo>
                      <a:lnTo>
                        <a:pt x="333" y="21"/>
                      </a:lnTo>
                      <a:lnTo>
                        <a:pt x="333" y="20"/>
                      </a:lnTo>
                      <a:lnTo>
                        <a:pt x="333" y="20"/>
                      </a:lnTo>
                      <a:lnTo>
                        <a:pt x="334" y="20"/>
                      </a:lnTo>
                      <a:lnTo>
                        <a:pt x="333" y="20"/>
                      </a:lnTo>
                      <a:lnTo>
                        <a:pt x="334" y="21"/>
                      </a:lnTo>
                      <a:lnTo>
                        <a:pt x="334" y="21"/>
                      </a:lnTo>
                      <a:lnTo>
                        <a:pt x="335" y="21"/>
                      </a:lnTo>
                      <a:lnTo>
                        <a:pt x="336" y="21"/>
                      </a:lnTo>
                      <a:lnTo>
                        <a:pt x="335" y="21"/>
                      </a:lnTo>
                      <a:lnTo>
                        <a:pt x="336" y="21"/>
                      </a:lnTo>
                      <a:lnTo>
                        <a:pt x="336" y="21"/>
                      </a:lnTo>
                      <a:lnTo>
                        <a:pt x="337" y="21"/>
                      </a:lnTo>
                      <a:lnTo>
                        <a:pt x="337" y="20"/>
                      </a:lnTo>
                      <a:lnTo>
                        <a:pt x="337" y="21"/>
                      </a:lnTo>
                      <a:lnTo>
                        <a:pt x="337" y="20"/>
                      </a:lnTo>
                      <a:lnTo>
                        <a:pt x="337" y="20"/>
                      </a:lnTo>
                      <a:lnTo>
                        <a:pt x="337" y="21"/>
                      </a:lnTo>
                      <a:lnTo>
                        <a:pt x="338" y="21"/>
                      </a:lnTo>
                      <a:lnTo>
                        <a:pt x="338" y="21"/>
                      </a:lnTo>
                      <a:lnTo>
                        <a:pt x="338" y="21"/>
                      </a:lnTo>
                      <a:lnTo>
                        <a:pt x="337" y="21"/>
                      </a:lnTo>
                      <a:lnTo>
                        <a:pt x="337" y="22"/>
                      </a:lnTo>
                      <a:lnTo>
                        <a:pt x="337" y="22"/>
                      </a:lnTo>
                      <a:lnTo>
                        <a:pt x="338" y="22"/>
                      </a:lnTo>
                      <a:lnTo>
                        <a:pt x="338" y="22"/>
                      </a:lnTo>
                      <a:lnTo>
                        <a:pt x="338" y="21"/>
                      </a:lnTo>
                      <a:lnTo>
                        <a:pt x="339" y="21"/>
                      </a:lnTo>
                      <a:lnTo>
                        <a:pt x="340" y="22"/>
                      </a:lnTo>
                      <a:lnTo>
                        <a:pt x="339" y="22"/>
                      </a:lnTo>
                      <a:lnTo>
                        <a:pt x="338" y="22"/>
                      </a:lnTo>
                      <a:lnTo>
                        <a:pt x="339" y="22"/>
                      </a:lnTo>
                      <a:lnTo>
                        <a:pt x="340" y="22"/>
                      </a:lnTo>
                      <a:lnTo>
                        <a:pt x="340" y="22"/>
                      </a:lnTo>
                      <a:lnTo>
                        <a:pt x="340" y="22"/>
                      </a:lnTo>
                      <a:lnTo>
                        <a:pt x="340" y="22"/>
                      </a:lnTo>
                      <a:lnTo>
                        <a:pt x="340" y="22"/>
                      </a:lnTo>
                      <a:lnTo>
                        <a:pt x="341" y="22"/>
                      </a:lnTo>
                      <a:lnTo>
                        <a:pt x="340" y="22"/>
                      </a:lnTo>
                      <a:lnTo>
                        <a:pt x="340" y="23"/>
                      </a:lnTo>
                      <a:lnTo>
                        <a:pt x="341" y="23"/>
                      </a:lnTo>
                      <a:lnTo>
                        <a:pt x="341" y="22"/>
                      </a:lnTo>
                      <a:lnTo>
                        <a:pt x="341" y="22"/>
                      </a:lnTo>
                      <a:lnTo>
                        <a:pt x="341" y="23"/>
                      </a:lnTo>
                      <a:lnTo>
                        <a:pt x="342" y="23"/>
                      </a:lnTo>
                      <a:lnTo>
                        <a:pt x="341" y="23"/>
                      </a:lnTo>
                      <a:lnTo>
                        <a:pt x="342" y="23"/>
                      </a:lnTo>
                      <a:lnTo>
                        <a:pt x="342" y="23"/>
                      </a:lnTo>
                      <a:lnTo>
                        <a:pt x="342" y="23"/>
                      </a:lnTo>
                      <a:lnTo>
                        <a:pt x="343" y="23"/>
                      </a:lnTo>
                      <a:lnTo>
                        <a:pt x="343" y="24"/>
                      </a:lnTo>
                      <a:lnTo>
                        <a:pt x="344" y="24"/>
                      </a:lnTo>
                      <a:lnTo>
                        <a:pt x="344" y="24"/>
                      </a:lnTo>
                      <a:lnTo>
                        <a:pt x="344" y="24"/>
                      </a:lnTo>
                      <a:lnTo>
                        <a:pt x="344" y="24"/>
                      </a:lnTo>
                      <a:lnTo>
                        <a:pt x="344" y="24"/>
                      </a:lnTo>
                      <a:lnTo>
                        <a:pt x="345" y="24"/>
                      </a:lnTo>
                      <a:lnTo>
                        <a:pt x="345" y="25"/>
                      </a:lnTo>
                      <a:lnTo>
                        <a:pt x="344" y="25"/>
                      </a:lnTo>
                      <a:lnTo>
                        <a:pt x="345" y="25"/>
                      </a:lnTo>
                      <a:lnTo>
                        <a:pt x="344" y="26"/>
                      </a:lnTo>
                      <a:lnTo>
                        <a:pt x="344" y="26"/>
                      </a:lnTo>
                      <a:lnTo>
                        <a:pt x="343" y="26"/>
                      </a:lnTo>
                      <a:lnTo>
                        <a:pt x="342" y="26"/>
                      </a:lnTo>
                      <a:lnTo>
                        <a:pt x="343" y="26"/>
                      </a:lnTo>
                      <a:lnTo>
                        <a:pt x="344" y="26"/>
                      </a:lnTo>
                      <a:lnTo>
                        <a:pt x="343" y="27"/>
                      </a:lnTo>
                      <a:lnTo>
                        <a:pt x="344" y="27"/>
                      </a:lnTo>
                      <a:lnTo>
                        <a:pt x="343" y="27"/>
                      </a:lnTo>
                      <a:lnTo>
                        <a:pt x="342" y="28"/>
                      </a:lnTo>
                      <a:lnTo>
                        <a:pt x="342" y="28"/>
                      </a:lnTo>
                      <a:lnTo>
                        <a:pt x="342" y="29"/>
                      </a:lnTo>
                      <a:lnTo>
                        <a:pt x="342" y="29"/>
                      </a:lnTo>
                      <a:lnTo>
                        <a:pt x="342" y="29"/>
                      </a:lnTo>
                      <a:lnTo>
                        <a:pt x="342" y="30"/>
                      </a:lnTo>
                      <a:lnTo>
                        <a:pt x="343" y="30"/>
                      </a:lnTo>
                      <a:lnTo>
                        <a:pt x="342" y="30"/>
                      </a:lnTo>
                      <a:lnTo>
                        <a:pt x="342" y="31"/>
                      </a:lnTo>
                      <a:lnTo>
                        <a:pt x="342" y="31"/>
                      </a:lnTo>
                      <a:lnTo>
                        <a:pt x="342" y="31"/>
                      </a:lnTo>
                      <a:lnTo>
                        <a:pt x="342" y="31"/>
                      </a:lnTo>
                      <a:lnTo>
                        <a:pt x="342" y="32"/>
                      </a:lnTo>
                      <a:lnTo>
                        <a:pt x="342" y="32"/>
                      </a:lnTo>
                      <a:lnTo>
                        <a:pt x="342" y="32"/>
                      </a:lnTo>
                      <a:lnTo>
                        <a:pt x="342" y="33"/>
                      </a:lnTo>
                      <a:lnTo>
                        <a:pt x="342" y="33"/>
                      </a:lnTo>
                      <a:lnTo>
                        <a:pt x="342" y="33"/>
                      </a:lnTo>
                      <a:lnTo>
                        <a:pt x="342" y="34"/>
                      </a:lnTo>
                      <a:lnTo>
                        <a:pt x="342" y="34"/>
                      </a:lnTo>
                      <a:lnTo>
                        <a:pt x="342" y="33"/>
                      </a:lnTo>
                      <a:lnTo>
                        <a:pt x="341" y="33"/>
                      </a:lnTo>
                      <a:lnTo>
                        <a:pt x="341" y="34"/>
                      </a:lnTo>
                      <a:lnTo>
                        <a:pt x="341" y="34"/>
                      </a:lnTo>
                      <a:lnTo>
                        <a:pt x="340" y="34"/>
                      </a:lnTo>
                      <a:lnTo>
                        <a:pt x="341" y="34"/>
                      </a:lnTo>
                      <a:lnTo>
                        <a:pt x="340" y="34"/>
                      </a:lnTo>
                      <a:lnTo>
                        <a:pt x="340" y="34"/>
                      </a:lnTo>
                      <a:lnTo>
                        <a:pt x="339" y="33"/>
                      </a:lnTo>
                      <a:lnTo>
                        <a:pt x="338" y="33"/>
                      </a:lnTo>
                      <a:lnTo>
                        <a:pt x="337" y="33"/>
                      </a:lnTo>
                      <a:lnTo>
                        <a:pt x="337" y="33"/>
                      </a:lnTo>
                      <a:lnTo>
                        <a:pt x="337" y="34"/>
                      </a:lnTo>
                      <a:lnTo>
                        <a:pt x="338" y="34"/>
                      </a:lnTo>
                      <a:lnTo>
                        <a:pt x="338" y="34"/>
                      </a:lnTo>
                      <a:lnTo>
                        <a:pt x="339" y="34"/>
                      </a:lnTo>
                      <a:lnTo>
                        <a:pt x="340" y="35"/>
                      </a:lnTo>
                      <a:lnTo>
                        <a:pt x="340" y="35"/>
                      </a:lnTo>
                      <a:lnTo>
                        <a:pt x="340" y="35"/>
                      </a:lnTo>
                      <a:lnTo>
                        <a:pt x="341" y="35"/>
                      </a:lnTo>
                      <a:lnTo>
                        <a:pt x="342" y="35"/>
                      </a:lnTo>
                      <a:lnTo>
                        <a:pt x="341" y="35"/>
                      </a:lnTo>
                      <a:lnTo>
                        <a:pt x="341" y="35"/>
                      </a:lnTo>
                      <a:lnTo>
                        <a:pt x="340" y="36"/>
                      </a:lnTo>
                      <a:lnTo>
                        <a:pt x="341" y="36"/>
                      </a:lnTo>
                      <a:lnTo>
                        <a:pt x="341" y="36"/>
                      </a:lnTo>
                      <a:lnTo>
                        <a:pt x="342" y="37"/>
                      </a:lnTo>
                      <a:lnTo>
                        <a:pt x="343" y="37"/>
                      </a:lnTo>
                      <a:lnTo>
                        <a:pt x="343" y="37"/>
                      </a:lnTo>
                      <a:lnTo>
                        <a:pt x="343" y="38"/>
                      </a:lnTo>
                      <a:lnTo>
                        <a:pt x="344" y="38"/>
                      </a:lnTo>
                      <a:lnTo>
                        <a:pt x="343" y="38"/>
                      </a:lnTo>
                      <a:lnTo>
                        <a:pt x="344" y="39"/>
                      </a:lnTo>
                      <a:lnTo>
                        <a:pt x="343" y="39"/>
                      </a:lnTo>
                      <a:lnTo>
                        <a:pt x="342" y="39"/>
                      </a:lnTo>
                      <a:lnTo>
                        <a:pt x="342" y="39"/>
                      </a:lnTo>
                      <a:lnTo>
                        <a:pt x="342" y="40"/>
                      </a:lnTo>
                      <a:lnTo>
                        <a:pt x="341" y="40"/>
                      </a:lnTo>
                      <a:lnTo>
                        <a:pt x="341" y="41"/>
                      </a:lnTo>
                      <a:lnTo>
                        <a:pt x="340" y="41"/>
                      </a:lnTo>
                      <a:lnTo>
                        <a:pt x="340" y="41"/>
                      </a:lnTo>
                      <a:lnTo>
                        <a:pt x="340" y="41"/>
                      </a:lnTo>
                      <a:lnTo>
                        <a:pt x="339" y="41"/>
                      </a:lnTo>
                      <a:lnTo>
                        <a:pt x="338" y="41"/>
                      </a:lnTo>
                      <a:lnTo>
                        <a:pt x="338" y="41"/>
                      </a:lnTo>
                      <a:lnTo>
                        <a:pt x="338" y="41"/>
                      </a:lnTo>
                      <a:lnTo>
                        <a:pt x="337" y="41"/>
                      </a:lnTo>
                      <a:lnTo>
                        <a:pt x="337" y="41"/>
                      </a:lnTo>
                      <a:lnTo>
                        <a:pt x="336" y="41"/>
                      </a:lnTo>
                      <a:lnTo>
                        <a:pt x="336" y="41"/>
                      </a:lnTo>
                      <a:lnTo>
                        <a:pt x="335" y="41"/>
                      </a:lnTo>
                      <a:lnTo>
                        <a:pt x="334" y="41"/>
                      </a:lnTo>
                      <a:lnTo>
                        <a:pt x="334" y="41"/>
                      </a:lnTo>
                      <a:lnTo>
                        <a:pt x="333" y="41"/>
                      </a:lnTo>
                      <a:lnTo>
                        <a:pt x="332" y="41"/>
                      </a:lnTo>
                      <a:lnTo>
                        <a:pt x="332" y="42"/>
                      </a:lnTo>
                      <a:lnTo>
                        <a:pt x="331" y="42"/>
                      </a:lnTo>
                      <a:lnTo>
                        <a:pt x="331" y="42"/>
                      </a:lnTo>
                      <a:lnTo>
                        <a:pt x="330" y="41"/>
                      </a:lnTo>
                      <a:lnTo>
                        <a:pt x="330" y="41"/>
                      </a:lnTo>
                      <a:lnTo>
                        <a:pt x="329" y="41"/>
                      </a:lnTo>
                      <a:lnTo>
                        <a:pt x="329" y="41"/>
                      </a:lnTo>
                      <a:lnTo>
                        <a:pt x="329" y="41"/>
                      </a:lnTo>
                      <a:lnTo>
                        <a:pt x="329" y="41"/>
                      </a:lnTo>
                      <a:lnTo>
                        <a:pt x="329" y="41"/>
                      </a:lnTo>
                      <a:lnTo>
                        <a:pt x="329" y="41"/>
                      </a:lnTo>
                      <a:lnTo>
                        <a:pt x="328" y="41"/>
                      </a:lnTo>
                      <a:lnTo>
                        <a:pt x="327" y="41"/>
                      </a:lnTo>
                      <a:lnTo>
                        <a:pt x="327" y="41"/>
                      </a:lnTo>
                      <a:lnTo>
                        <a:pt x="327" y="41"/>
                      </a:lnTo>
                      <a:lnTo>
                        <a:pt x="327" y="41"/>
                      </a:lnTo>
                      <a:lnTo>
                        <a:pt x="326" y="41"/>
                      </a:lnTo>
                      <a:lnTo>
                        <a:pt x="327" y="41"/>
                      </a:lnTo>
                      <a:lnTo>
                        <a:pt x="326" y="41"/>
                      </a:lnTo>
                      <a:lnTo>
                        <a:pt x="326" y="41"/>
                      </a:lnTo>
                      <a:lnTo>
                        <a:pt x="326" y="41"/>
                      </a:lnTo>
                      <a:lnTo>
                        <a:pt x="326" y="41"/>
                      </a:lnTo>
                      <a:lnTo>
                        <a:pt x="325" y="41"/>
                      </a:lnTo>
                      <a:lnTo>
                        <a:pt x="325" y="41"/>
                      </a:lnTo>
                      <a:lnTo>
                        <a:pt x="324" y="41"/>
                      </a:lnTo>
                      <a:lnTo>
                        <a:pt x="323" y="41"/>
                      </a:lnTo>
                      <a:lnTo>
                        <a:pt x="323" y="41"/>
                      </a:lnTo>
                      <a:lnTo>
                        <a:pt x="323" y="40"/>
                      </a:lnTo>
                      <a:lnTo>
                        <a:pt x="322" y="40"/>
                      </a:lnTo>
                      <a:lnTo>
                        <a:pt x="323" y="40"/>
                      </a:lnTo>
                      <a:lnTo>
                        <a:pt x="322" y="40"/>
                      </a:lnTo>
                      <a:lnTo>
                        <a:pt x="322" y="40"/>
                      </a:lnTo>
                      <a:lnTo>
                        <a:pt x="322" y="39"/>
                      </a:lnTo>
                      <a:lnTo>
                        <a:pt x="321" y="39"/>
                      </a:lnTo>
                      <a:lnTo>
                        <a:pt x="321" y="40"/>
                      </a:lnTo>
                      <a:lnTo>
                        <a:pt x="321" y="39"/>
                      </a:lnTo>
                      <a:lnTo>
                        <a:pt x="320" y="39"/>
                      </a:lnTo>
                      <a:lnTo>
                        <a:pt x="320" y="39"/>
                      </a:lnTo>
                      <a:lnTo>
                        <a:pt x="320" y="39"/>
                      </a:lnTo>
                      <a:lnTo>
                        <a:pt x="320" y="39"/>
                      </a:lnTo>
                      <a:lnTo>
                        <a:pt x="320" y="39"/>
                      </a:lnTo>
                      <a:lnTo>
                        <a:pt x="319" y="39"/>
                      </a:lnTo>
                      <a:lnTo>
                        <a:pt x="320" y="39"/>
                      </a:lnTo>
                      <a:lnTo>
                        <a:pt x="319" y="39"/>
                      </a:lnTo>
                      <a:lnTo>
                        <a:pt x="320" y="38"/>
                      </a:lnTo>
                      <a:lnTo>
                        <a:pt x="319" y="38"/>
                      </a:lnTo>
                      <a:lnTo>
                        <a:pt x="320" y="38"/>
                      </a:lnTo>
                      <a:lnTo>
                        <a:pt x="319" y="38"/>
                      </a:lnTo>
                      <a:lnTo>
                        <a:pt x="319" y="38"/>
                      </a:lnTo>
                      <a:lnTo>
                        <a:pt x="319" y="38"/>
                      </a:lnTo>
                      <a:lnTo>
                        <a:pt x="319" y="38"/>
                      </a:lnTo>
                      <a:lnTo>
                        <a:pt x="319" y="38"/>
                      </a:lnTo>
                      <a:lnTo>
                        <a:pt x="318" y="38"/>
                      </a:lnTo>
                      <a:lnTo>
                        <a:pt x="319" y="38"/>
                      </a:lnTo>
                      <a:lnTo>
                        <a:pt x="318" y="38"/>
                      </a:lnTo>
                      <a:lnTo>
                        <a:pt x="318" y="38"/>
                      </a:lnTo>
                      <a:lnTo>
                        <a:pt x="318" y="38"/>
                      </a:lnTo>
                      <a:lnTo>
                        <a:pt x="317" y="38"/>
                      </a:lnTo>
                      <a:lnTo>
                        <a:pt x="317" y="38"/>
                      </a:lnTo>
                      <a:lnTo>
                        <a:pt x="316" y="38"/>
                      </a:lnTo>
                      <a:lnTo>
                        <a:pt x="316" y="38"/>
                      </a:lnTo>
                      <a:lnTo>
                        <a:pt x="316" y="38"/>
                      </a:lnTo>
                      <a:lnTo>
                        <a:pt x="316" y="38"/>
                      </a:lnTo>
                      <a:lnTo>
                        <a:pt x="315" y="38"/>
                      </a:lnTo>
                      <a:lnTo>
                        <a:pt x="315" y="38"/>
                      </a:lnTo>
                      <a:lnTo>
                        <a:pt x="315" y="38"/>
                      </a:lnTo>
                      <a:lnTo>
                        <a:pt x="315" y="38"/>
                      </a:lnTo>
                      <a:lnTo>
                        <a:pt x="315" y="38"/>
                      </a:lnTo>
                      <a:lnTo>
                        <a:pt x="315" y="38"/>
                      </a:lnTo>
                      <a:lnTo>
                        <a:pt x="314" y="38"/>
                      </a:lnTo>
                      <a:lnTo>
                        <a:pt x="315" y="38"/>
                      </a:lnTo>
                      <a:lnTo>
                        <a:pt x="315" y="38"/>
                      </a:lnTo>
                      <a:lnTo>
                        <a:pt x="316" y="38"/>
                      </a:lnTo>
                      <a:lnTo>
                        <a:pt x="315" y="38"/>
                      </a:lnTo>
                      <a:lnTo>
                        <a:pt x="315" y="38"/>
                      </a:lnTo>
                      <a:lnTo>
                        <a:pt x="314" y="38"/>
                      </a:lnTo>
                      <a:lnTo>
                        <a:pt x="314" y="38"/>
                      </a:lnTo>
                      <a:lnTo>
                        <a:pt x="313" y="38"/>
                      </a:lnTo>
                      <a:lnTo>
                        <a:pt x="314" y="38"/>
                      </a:lnTo>
                      <a:lnTo>
                        <a:pt x="314" y="38"/>
                      </a:lnTo>
                      <a:lnTo>
                        <a:pt x="313" y="38"/>
                      </a:lnTo>
                      <a:lnTo>
                        <a:pt x="312" y="38"/>
                      </a:lnTo>
                      <a:lnTo>
                        <a:pt x="312" y="38"/>
                      </a:lnTo>
                      <a:lnTo>
                        <a:pt x="312" y="38"/>
                      </a:lnTo>
                      <a:lnTo>
                        <a:pt x="311" y="38"/>
                      </a:lnTo>
                      <a:lnTo>
                        <a:pt x="311" y="38"/>
                      </a:lnTo>
                      <a:lnTo>
                        <a:pt x="310" y="38"/>
                      </a:lnTo>
                      <a:lnTo>
                        <a:pt x="310" y="38"/>
                      </a:lnTo>
                      <a:lnTo>
                        <a:pt x="310" y="37"/>
                      </a:lnTo>
                      <a:lnTo>
                        <a:pt x="310" y="38"/>
                      </a:lnTo>
                      <a:lnTo>
                        <a:pt x="310" y="37"/>
                      </a:lnTo>
                      <a:lnTo>
                        <a:pt x="310" y="37"/>
                      </a:lnTo>
                      <a:lnTo>
                        <a:pt x="310" y="37"/>
                      </a:lnTo>
                      <a:lnTo>
                        <a:pt x="310" y="37"/>
                      </a:lnTo>
                      <a:lnTo>
                        <a:pt x="310" y="37"/>
                      </a:lnTo>
                      <a:lnTo>
                        <a:pt x="309" y="37"/>
                      </a:lnTo>
                      <a:lnTo>
                        <a:pt x="309" y="37"/>
                      </a:lnTo>
                      <a:lnTo>
                        <a:pt x="310" y="37"/>
                      </a:lnTo>
                      <a:lnTo>
                        <a:pt x="309" y="37"/>
                      </a:lnTo>
                      <a:lnTo>
                        <a:pt x="308" y="37"/>
                      </a:lnTo>
                      <a:lnTo>
                        <a:pt x="308" y="36"/>
                      </a:lnTo>
                      <a:lnTo>
                        <a:pt x="308" y="36"/>
                      </a:lnTo>
                      <a:lnTo>
                        <a:pt x="308" y="37"/>
                      </a:lnTo>
                      <a:lnTo>
                        <a:pt x="308" y="36"/>
                      </a:lnTo>
                      <a:lnTo>
                        <a:pt x="308" y="37"/>
                      </a:lnTo>
                      <a:lnTo>
                        <a:pt x="307" y="37"/>
                      </a:lnTo>
                      <a:lnTo>
                        <a:pt x="307" y="37"/>
                      </a:lnTo>
                      <a:lnTo>
                        <a:pt x="307" y="37"/>
                      </a:lnTo>
                      <a:lnTo>
                        <a:pt x="307" y="37"/>
                      </a:lnTo>
                      <a:lnTo>
                        <a:pt x="307" y="37"/>
                      </a:lnTo>
                      <a:lnTo>
                        <a:pt x="306" y="37"/>
                      </a:lnTo>
                      <a:lnTo>
                        <a:pt x="306" y="37"/>
                      </a:lnTo>
                      <a:lnTo>
                        <a:pt x="305" y="37"/>
                      </a:lnTo>
                      <a:lnTo>
                        <a:pt x="305" y="37"/>
                      </a:lnTo>
                      <a:lnTo>
                        <a:pt x="305" y="37"/>
                      </a:lnTo>
                      <a:lnTo>
                        <a:pt x="305" y="38"/>
                      </a:lnTo>
                      <a:lnTo>
                        <a:pt x="304" y="38"/>
                      </a:lnTo>
                      <a:lnTo>
                        <a:pt x="304" y="37"/>
                      </a:lnTo>
                      <a:lnTo>
                        <a:pt x="304" y="37"/>
                      </a:lnTo>
                      <a:lnTo>
                        <a:pt x="304" y="37"/>
                      </a:lnTo>
                      <a:lnTo>
                        <a:pt x="305" y="37"/>
                      </a:lnTo>
                      <a:lnTo>
                        <a:pt x="304" y="37"/>
                      </a:lnTo>
                      <a:lnTo>
                        <a:pt x="305" y="37"/>
                      </a:lnTo>
                      <a:lnTo>
                        <a:pt x="304" y="37"/>
                      </a:lnTo>
                      <a:lnTo>
                        <a:pt x="304" y="37"/>
                      </a:lnTo>
                      <a:lnTo>
                        <a:pt x="304" y="37"/>
                      </a:lnTo>
                      <a:lnTo>
                        <a:pt x="304" y="37"/>
                      </a:lnTo>
                      <a:lnTo>
                        <a:pt x="303" y="37"/>
                      </a:lnTo>
                      <a:lnTo>
                        <a:pt x="304" y="37"/>
                      </a:lnTo>
                      <a:lnTo>
                        <a:pt x="303" y="37"/>
                      </a:lnTo>
                      <a:lnTo>
                        <a:pt x="303" y="37"/>
                      </a:lnTo>
                      <a:lnTo>
                        <a:pt x="302" y="37"/>
                      </a:lnTo>
                      <a:lnTo>
                        <a:pt x="302" y="36"/>
                      </a:lnTo>
                      <a:lnTo>
                        <a:pt x="302" y="37"/>
                      </a:lnTo>
                      <a:lnTo>
                        <a:pt x="302" y="36"/>
                      </a:lnTo>
                      <a:lnTo>
                        <a:pt x="301" y="36"/>
                      </a:lnTo>
                      <a:lnTo>
                        <a:pt x="302" y="37"/>
                      </a:lnTo>
                      <a:lnTo>
                        <a:pt x="301" y="37"/>
                      </a:lnTo>
                      <a:lnTo>
                        <a:pt x="301" y="36"/>
                      </a:lnTo>
                      <a:lnTo>
                        <a:pt x="301" y="35"/>
                      </a:lnTo>
                      <a:lnTo>
                        <a:pt x="301" y="35"/>
                      </a:lnTo>
                      <a:lnTo>
                        <a:pt x="301" y="35"/>
                      </a:lnTo>
                      <a:lnTo>
                        <a:pt x="302" y="35"/>
                      </a:lnTo>
                      <a:lnTo>
                        <a:pt x="301" y="35"/>
                      </a:lnTo>
                      <a:lnTo>
                        <a:pt x="301" y="35"/>
                      </a:lnTo>
                      <a:lnTo>
                        <a:pt x="300" y="34"/>
                      </a:lnTo>
                      <a:lnTo>
                        <a:pt x="299" y="34"/>
                      </a:lnTo>
                      <a:lnTo>
                        <a:pt x="299" y="34"/>
                      </a:lnTo>
                      <a:lnTo>
                        <a:pt x="299" y="34"/>
                      </a:lnTo>
                      <a:lnTo>
                        <a:pt x="299" y="34"/>
                      </a:lnTo>
                      <a:lnTo>
                        <a:pt x="299" y="34"/>
                      </a:lnTo>
                      <a:lnTo>
                        <a:pt x="299" y="34"/>
                      </a:lnTo>
                      <a:lnTo>
                        <a:pt x="299" y="34"/>
                      </a:lnTo>
                      <a:lnTo>
                        <a:pt x="299" y="34"/>
                      </a:lnTo>
                      <a:lnTo>
                        <a:pt x="299" y="33"/>
                      </a:lnTo>
                      <a:lnTo>
                        <a:pt x="299" y="33"/>
                      </a:lnTo>
                      <a:lnTo>
                        <a:pt x="299" y="33"/>
                      </a:lnTo>
                      <a:lnTo>
                        <a:pt x="299" y="33"/>
                      </a:lnTo>
                      <a:lnTo>
                        <a:pt x="299" y="32"/>
                      </a:lnTo>
                      <a:lnTo>
                        <a:pt x="299" y="32"/>
                      </a:lnTo>
                      <a:lnTo>
                        <a:pt x="299" y="31"/>
                      </a:lnTo>
                      <a:lnTo>
                        <a:pt x="299" y="31"/>
                      </a:lnTo>
                      <a:lnTo>
                        <a:pt x="299" y="31"/>
                      </a:lnTo>
                      <a:lnTo>
                        <a:pt x="299" y="30"/>
                      </a:lnTo>
                      <a:lnTo>
                        <a:pt x="300" y="30"/>
                      </a:lnTo>
                      <a:lnTo>
                        <a:pt x="299" y="30"/>
                      </a:lnTo>
                      <a:lnTo>
                        <a:pt x="299" y="30"/>
                      </a:lnTo>
                      <a:lnTo>
                        <a:pt x="299" y="30"/>
                      </a:lnTo>
                      <a:lnTo>
                        <a:pt x="300" y="30"/>
                      </a:lnTo>
                      <a:lnTo>
                        <a:pt x="299" y="30"/>
                      </a:lnTo>
                      <a:lnTo>
                        <a:pt x="299" y="30"/>
                      </a:lnTo>
                      <a:lnTo>
                        <a:pt x="298" y="30"/>
                      </a:lnTo>
                      <a:lnTo>
                        <a:pt x="297" y="30"/>
                      </a:lnTo>
                      <a:lnTo>
                        <a:pt x="297" y="30"/>
                      </a:lnTo>
                      <a:lnTo>
                        <a:pt x="297" y="30"/>
                      </a:lnTo>
                      <a:lnTo>
                        <a:pt x="297" y="30"/>
                      </a:lnTo>
                      <a:lnTo>
                        <a:pt x="297" y="30"/>
                      </a:lnTo>
                      <a:lnTo>
                        <a:pt x="296" y="30"/>
                      </a:lnTo>
                      <a:lnTo>
                        <a:pt x="296" y="30"/>
                      </a:lnTo>
                      <a:lnTo>
                        <a:pt x="296" y="30"/>
                      </a:lnTo>
                      <a:lnTo>
                        <a:pt x="296" y="30"/>
                      </a:lnTo>
                      <a:lnTo>
                        <a:pt x="296" y="30"/>
                      </a:lnTo>
                      <a:lnTo>
                        <a:pt x="296" y="30"/>
                      </a:lnTo>
                      <a:lnTo>
                        <a:pt x="296" y="30"/>
                      </a:lnTo>
                      <a:lnTo>
                        <a:pt x="296" y="30"/>
                      </a:lnTo>
                      <a:lnTo>
                        <a:pt x="296" y="30"/>
                      </a:lnTo>
                      <a:lnTo>
                        <a:pt x="296" y="31"/>
                      </a:lnTo>
                      <a:lnTo>
                        <a:pt x="295" y="31"/>
                      </a:lnTo>
                      <a:lnTo>
                        <a:pt x="295" y="30"/>
                      </a:lnTo>
                      <a:lnTo>
                        <a:pt x="294" y="30"/>
                      </a:lnTo>
                      <a:lnTo>
                        <a:pt x="295" y="30"/>
                      </a:lnTo>
                      <a:lnTo>
                        <a:pt x="294" y="30"/>
                      </a:lnTo>
                      <a:lnTo>
                        <a:pt x="295" y="30"/>
                      </a:lnTo>
                      <a:lnTo>
                        <a:pt x="295" y="30"/>
                      </a:lnTo>
                      <a:lnTo>
                        <a:pt x="296" y="30"/>
                      </a:lnTo>
                      <a:lnTo>
                        <a:pt x="295" y="30"/>
                      </a:lnTo>
                      <a:lnTo>
                        <a:pt x="295" y="30"/>
                      </a:lnTo>
                      <a:lnTo>
                        <a:pt x="296" y="30"/>
                      </a:lnTo>
                      <a:lnTo>
                        <a:pt x="295" y="30"/>
                      </a:lnTo>
                      <a:lnTo>
                        <a:pt x="296" y="30"/>
                      </a:lnTo>
                      <a:lnTo>
                        <a:pt x="295" y="29"/>
                      </a:lnTo>
                      <a:lnTo>
                        <a:pt x="294" y="29"/>
                      </a:lnTo>
                      <a:lnTo>
                        <a:pt x="295" y="29"/>
                      </a:lnTo>
                      <a:lnTo>
                        <a:pt x="295" y="29"/>
                      </a:lnTo>
                      <a:lnTo>
                        <a:pt x="295" y="29"/>
                      </a:lnTo>
                      <a:lnTo>
                        <a:pt x="294" y="29"/>
                      </a:lnTo>
                      <a:lnTo>
                        <a:pt x="293" y="29"/>
                      </a:lnTo>
                      <a:lnTo>
                        <a:pt x="294" y="29"/>
                      </a:lnTo>
                      <a:lnTo>
                        <a:pt x="294" y="28"/>
                      </a:lnTo>
                      <a:lnTo>
                        <a:pt x="293" y="28"/>
                      </a:lnTo>
                      <a:lnTo>
                        <a:pt x="293" y="29"/>
                      </a:lnTo>
                      <a:lnTo>
                        <a:pt x="293" y="28"/>
                      </a:lnTo>
                      <a:lnTo>
                        <a:pt x="294" y="28"/>
                      </a:lnTo>
                      <a:lnTo>
                        <a:pt x="295" y="28"/>
                      </a:lnTo>
                      <a:lnTo>
                        <a:pt x="294" y="28"/>
                      </a:lnTo>
                      <a:lnTo>
                        <a:pt x="295" y="28"/>
                      </a:lnTo>
                      <a:lnTo>
                        <a:pt x="294" y="28"/>
                      </a:lnTo>
                      <a:lnTo>
                        <a:pt x="295" y="28"/>
                      </a:lnTo>
                      <a:lnTo>
                        <a:pt x="295" y="28"/>
                      </a:lnTo>
                      <a:lnTo>
                        <a:pt x="295" y="28"/>
                      </a:lnTo>
                      <a:lnTo>
                        <a:pt x="295" y="28"/>
                      </a:lnTo>
                      <a:lnTo>
                        <a:pt x="295" y="28"/>
                      </a:lnTo>
                      <a:lnTo>
                        <a:pt x="295" y="28"/>
                      </a:lnTo>
                      <a:lnTo>
                        <a:pt x="295" y="28"/>
                      </a:lnTo>
                      <a:lnTo>
                        <a:pt x="295" y="27"/>
                      </a:lnTo>
                      <a:lnTo>
                        <a:pt x="295" y="28"/>
                      </a:lnTo>
                      <a:lnTo>
                        <a:pt x="294" y="28"/>
                      </a:lnTo>
                      <a:lnTo>
                        <a:pt x="293" y="28"/>
                      </a:lnTo>
                      <a:lnTo>
                        <a:pt x="294" y="28"/>
                      </a:lnTo>
                      <a:lnTo>
                        <a:pt x="293" y="28"/>
                      </a:lnTo>
                      <a:lnTo>
                        <a:pt x="294" y="28"/>
                      </a:lnTo>
                      <a:lnTo>
                        <a:pt x="293" y="28"/>
                      </a:lnTo>
                      <a:lnTo>
                        <a:pt x="293" y="28"/>
                      </a:lnTo>
                      <a:lnTo>
                        <a:pt x="292" y="28"/>
                      </a:lnTo>
                      <a:lnTo>
                        <a:pt x="293" y="28"/>
                      </a:lnTo>
                      <a:lnTo>
                        <a:pt x="293" y="29"/>
                      </a:lnTo>
                      <a:lnTo>
                        <a:pt x="292" y="29"/>
                      </a:lnTo>
                      <a:lnTo>
                        <a:pt x="292" y="29"/>
                      </a:lnTo>
                      <a:lnTo>
                        <a:pt x="291" y="29"/>
                      </a:lnTo>
                      <a:lnTo>
                        <a:pt x="292" y="29"/>
                      </a:lnTo>
                      <a:lnTo>
                        <a:pt x="291" y="29"/>
                      </a:lnTo>
                      <a:lnTo>
                        <a:pt x="292" y="29"/>
                      </a:lnTo>
                      <a:lnTo>
                        <a:pt x="291" y="30"/>
                      </a:lnTo>
                      <a:lnTo>
                        <a:pt x="292" y="30"/>
                      </a:lnTo>
                      <a:lnTo>
                        <a:pt x="292" y="30"/>
                      </a:lnTo>
                      <a:lnTo>
                        <a:pt x="292" y="30"/>
                      </a:lnTo>
                      <a:lnTo>
                        <a:pt x="292" y="30"/>
                      </a:lnTo>
                      <a:lnTo>
                        <a:pt x="292" y="30"/>
                      </a:lnTo>
                      <a:lnTo>
                        <a:pt x="292" y="30"/>
                      </a:lnTo>
                      <a:lnTo>
                        <a:pt x="291" y="30"/>
                      </a:lnTo>
                      <a:lnTo>
                        <a:pt x="290" y="30"/>
                      </a:lnTo>
                      <a:lnTo>
                        <a:pt x="291" y="30"/>
                      </a:lnTo>
                      <a:lnTo>
                        <a:pt x="292" y="30"/>
                      </a:lnTo>
                      <a:lnTo>
                        <a:pt x="291" y="30"/>
                      </a:lnTo>
                      <a:lnTo>
                        <a:pt x="290" y="30"/>
                      </a:lnTo>
                      <a:lnTo>
                        <a:pt x="290" y="31"/>
                      </a:lnTo>
                      <a:lnTo>
                        <a:pt x="289" y="30"/>
                      </a:lnTo>
                      <a:lnTo>
                        <a:pt x="289" y="30"/>
                      </a:lnTo>
                      <a:lnTo>
                        <a:pt x="289" y="30"/>
                      </a:lnTo>
                      <a:lnTo>
                        <a:pt x="290" y="30"/>
                      </a:lnTo>
                      <a:lnTo>
                        <a:pt x="290" y="30"/>
                      </a:lnTo>
                      <a:lnTo>
                        <a:pt x="290" y="30"/>
                      </a:lnTo>
                      <a:lnTo>
                        <a:pt x="290" y="30"/>
                      </a:lnTo>
                      <a:lnTo>
                        <a:pt x="290" y="30"/>
                      </a:lnTo>
                      <a:lnTo>
                        <a:pt x="290" y="30"/>
                      </a:lnTo>
                      <a:lnTo>
                        <a:pt x="290" y="29"/>
                      </a:lnTo>
                      <a:lnTo>
                        <a:pt x="290" y="29"/>
                      </a:lnTo>
                      <a:lnTo>
                        <a:pt x="289" y="29"/>
                      </a:lnTo>
                      <a:lnTo>
                        <a:pt x="289" y="29"/>
                      </a:lnTo>
                      <a:lnTo>
                        <a:pt x="288" y="29"/>
                      </a:lnTo>
                      <a:lnTo>
                        <a:pt x="289" y="29"/>
                      </a:lnTo>
                      <a:lnTo>
                        <a:pt x="288" y="28"/>
                      </a:lnTo>
                      <a:lnTo>
                        <a:pt x="288" y="28"/>
                      </a:lnTo>
                      <a:lnTo>
                        <a:pt x="288" y="29"/>
                      </a:lnTo>
                      <a:lnTo>
                        <a:pt x="287" y="28"/>
                      </a:lnTo>
                      <a:lnTo>
                        <a:pt x="288" y="28"/>
                      </a:lnTo>
                      <a:lnTo>
                        <a:pt x="288" y="28"/>
                      </a:lnTo>
                      <a:lnTo>
                        <a:pt x="289" y="28"/>
                      </a:lnTo>
                      <a:lnTo>
                        <a:pt x="289" y="29"/>
                      </a:lnTo>
                      <a:lnTo>
                        <a:pt x="290" y="29"/>
                      </a:lnTo>
                      <a:lnTo>
                        <a:pt x="290" y="29"/>
                      </a:lnTo>
                      <a:lnTo>
                        <a:pt x="290" y="28"/>
                      </a:lnTo>
                      <a:lnTo>
                        <a:pt x="292" y="28"/>
                      </a:lnTo>
                      <a:lnTo>
                        <a:pt x="293" y="28"/>
                      </a:lnTo>
                      <a:lnTo>
                        <a:pt x="293" y="28"/>
                      </a:lnTo>
                      <a:lnTo>
                        <a:pt x="294" y="27"/>
                      </a:lnTo>
                      <a:lnTo>
                        <a:pt x="293" y="28"/>
                      </a:lnTo>
                      <a:lnTo>
                        <a:pt x="293" y="27"/>
                      </a:lnTo>
                      <a:lnTo>
                        <a:pt x="294" y="27"/>
                      </a:lnTo>
                      <a:lnTo>
                        <a:pt x="295" y="27"/>
                      </a:lnTo>
                      <a:lnTo>
                        <a:pt x="295" y="26"/>
                      </a:lnTo>
                      <a:lnTo>
                        <a:pt x="295" y="26"/>
                      </a:lnTo>
                      <a:lnTo>
                        <a:pt x="296" y="26"/>
                      </a:lnTo>
                      <a:lnTo>
                        <a:pt x="296" y="26"/>
                      </a:lnTo>
                      <a:lnTo>
                        <a:pt x="297" y="25"/>
                      </a:lnTo>
                      <a:lnTo>
                        <a:pt x="297" y="25"/>
                      </a:lnTo>
                      <a:lnTo>
                        <a:pt x="298" y="25"/>
                      </a:lnTo>
                      <a:lnTo>
                        <a:pt x="299" y="25"/>
                      </a:lnTo>
                      <a:lnTo>
                        <a:pt x="300" y="25"/>
                      </a:lnTo>
                      <a:lnTo>
                        <a:pt x="300" y="25"/>
                      </a:lnTo>
                      <a:lnTo>
                        <a:pt x="301" y="25"/>
                      </a:lnTo>
                      <a:lnTo>
                        <a:pt x="300" y="25"/>
                      </a:lnTo>
                      <a:lnTo>
                        <a:pt x="301" y="25"/>
                      </a:lnTo>
                      <a:lnTo>
                        <a:pt x="300" y="25"/>
                      </a:lnTo>
                      <a:lnTo>
                        <a:pt x="301" y="25"/>
                      </a:lnTo>
                      <a:lnTo>
                        <a:pt x="301" y="25"/>
                      </a:lnTo>
                      <a:lnTo>
                        <a:pt x="301" y="24"/>
                      </a:lnTo>
                      <a:lnTo>
                        <a:pt x="301" y="24"/>
                      </a:lnTo>
                      <a:lnTo>
                        <a:pt x="300" y="24"/>
                      </a:lnTo>
                      <a:lnTo>
                        <a:pt x="300" y="24"/>
                      </a:lnTo>
                      <a:lnTo>
                        <a:pt x="299" y="24"/>
                      </a:lnTo>
                      <a:lnTo>
                        <a:pt x="299" y="23"/>
                      </a:lnTo>
                      <a:lnTo>
                        <a:pt x="299" y="23"/>
                      </a:lnTo>
                      <a:lnTo>
                        <a:pt x="299" y="23"/>
                      </a:lnTo>
                      <a:lnTo>
                        <a:pt x="299" y="23"/>
                      </a:lnTo>
                      <a:lnTo>
                        <a:pt x="299" y="23"/>
                      </a:lnTo>
                      <a:lnTo>
                        <a:pt x="299" y="23"/>
                      </a:lnTo>
                      <a:lnTo>
                        <a:pt x="299" y="22"/>
                      </a:lnTo>
                      <a:lnTo>
                        <a:pt x="299" y="22"/>
                      </a:lnTo>
                      <a:lnTo>
                        <a:pt x="299" y="22"/>
                      </a:lnTo>
                      <a:lnTo>
                        <a:pt x="300" y="22"/>
                      </a:lnTo>
                      <a:lnTo>
                        <a:pt x="300" y="22"/>
                      </a:lnTo>
                      <a:lnTo>
                        <a:pt x="301" y="22"/>
                      </a:lnTo>
                      <a:lnTo>
                        <a:pt x="301" y="22"/>
                      </a:lnTo>
                      <a:lnTo>
                        <a:pt x="301" y="22"/>
                      </a:lnTo>
                      <a:lnTo>
                        <a:pt x="301" y="22"/>
                      </a:lnTo>
                      <a:lnTo>
                        <a:pt x="301" y="22"/>
                      </a:lnTo>
                      <a:lnTo>
                        <a:pt x="302" y="22"/>
                      </a:lnTo>
                      <a:lnTo>
                        <a:pt x="302" y="21"/>
                      </a:lnTo>
                      <a:lnTo>
                        <a:pt x="303" y="21"/>
                      </a:lnTo>
                      <a:lnTo>
                        <a:pt x="303" y="20"/>
                      </a:lnTo>
                      <a:lnTo>
                        <a:pt x="303" y="20"/>
                      </a:lnTo>
                      <a:lnTo>
                        <a:pt x="304" y="20"/>
                      </a:lnTo>
                      <a:lnTo>
                        <a:pt x="303" y="20"/>
                      </a:lnTo>
                      <a:lnTo>
                        <a:pt x="303" y="20"/>
                      </a:lnTo>
                      <a:lnTo>
                        <a:pt x="304" y="20"/>
                      </a:lnTo>
                      <a:lnTo>
                        <a:pt x="304" y="20"/>
                      </a:lnTo>
                      <a:lnTo>
                        <a:pt x="304" y="20"/>
                      </a:lnTo>
                      <a:lnTo>
                        <a:pt x="304" y="20"/>
                      </a:lnTo>
                      <a:lnTo>
                        <a:pt x="305" y="20"/>
                      </a:lnTo>
                      <a:lnTo>
                        <a:pt x="304" y="20"/>
                      </a:lnTo>
                      <a:lnTo>
                        <a:pt x="305" y="20"/>
                      </a:lnTo>
                      <a:lnTo>
                        <a:pt x="305" y="20"/>
                      </a:lnTo>
                      <a:lnTo>
                        <a:pt x="305" y="21"/>
                      </a:lnTo>
                      <a:lnTo>
                        <a:pt x="306" y="21"/>
                      </a:lnTo>
                      <a:lnTo>
                        <a:pt x="307" y="21"/>
                      </a:lnTo>
                      <a:lnTo>
                        <a:pt x="307" y="20"/>
                      </a:lnTo>
                      <a:lnTo>
                        <a:pt x="307" y="20"/>
                      </a:lnTo>
                      <a:lnTo>
                        <a:pt x="308" y="20"/>
                      </a:lnTo>
                      <a:lnTo>
                        <a:pt x="308" y="20"/>
                      </a:lnTo>
                      <a:lnTo>
                        <a:pt x="309" y="20"/>
                      </a:lnTo>
                      <a:lnTo>
                        <a:pt x="310" y="20"/>
                      </a:lnTo>
                      <a:lnTo>
                        <a:pt x="310" y="20"/>
                      </a:lnTo>
                      <a:lnTo>
                        <a:pt x="311" y="20"/>
                      </a:lnTo>
                      <a:lnTo>
                        <a:pt x="311" y="20"/>
                      </a:lnTo>
                      <a:lnTo>
                        <a:pt x="311" y="20"/>
                      </a:lnTo>
                      <a:lnTo>
                        <a:pt x="311" y="20"/>
                      </a:lnTo>
                      <a:lnTo>
                        <a:pt x="311" y="20"/>
                      </a:lnTo>
                      <a:lnTo>
                        <a:pt x="311" y="20"/>
                      </a:lnTo>
                      <a:lnTo>
                        <a:pt x="312" y="20"/>
                      </a:lnTo>
                      <a:lnTo>
                        <a:pt x="311" y="20"/>
                      </a:lnTo>
                      <a:lnTo>
                        <a:pt x="312" y="20"/>
                      </a:lnTo>
                      <a:lnTo>
                        <a:pt x="312" y="20"/>
                      </a:lnTo>
                      <a:lnTo>
                        <a:pt x="313" y="20"/>
                      </a:lnTo>
                      <a:lnTo>
                        <a:pt x="313" y="20"/>
                      </a:lnTo>
                      <a:lnTo>
                        <a:pt x="313" y="20"/>
                      </a:lnTo>
                      <a:lnTo>
                        <a:pt x="313" y="20"/>
                      </a:lnTo>
                      <a:lnTo>
                        <a:pt x="314" y="20"/>
                      </a:lnTo>
                      <a:lnTo>
                        <a:pt x="314" y="20"/>
                      </a:lnTo>
                      <a:lnTo>
                        <a:pt x="315" y="20"/>
                      </a:lnTo>
                      <a:lnTo>
                        <a:pt x="315" y="20"/>
                      </a:lnTo>
                      <a:lnTo>
                        <a:pt x="316" y="20"/>
                      </a:lnTo>
                      <a:lnTo>
                        <a:pt x="316" y="20"/>
                      </a:lnTo>
                      <a:lnTo>
                        <a:pt x="317" y="19"/>
                      </a:lnTo>
                      <a:lnTo>
                        <a:pt x="316" y="19"/>
                      </a:lnTo>
                      <a:lnTo>
                        <a:pt x="317" y="19"/>
                      </a:lnTo>
                      <a:lnTo>
                        <a:pt x="317" y="20"/>
                      </a:lnTo>
                      <a:lnTo>
                        <a:pt x="318" y="20"/>
                      </a:lnTo>
                      <a:lnTo>
                        <a:pt x="318" y="20"/>
                      </a:lnTo>
                      <a:lnTo>
                        <a:pt x="318" y="19"/>
                      </a:lnTo>
                      <a:lnTo>
                        <a:pt x="318" y="20"/>
                      </a:lnTo>
                      <a:lnTo>
                        <a:pt x="319" y="20"/>
                      </a:lnTo>
                      <a:lnTo>
                        <a:pt x="319" y="19"/>
                      </a:lnTo>
                      <a:lnTo>
                        <a:pt x="320" y="19"/>
                      </a:lnTo>
                      <a:lnTo>
                        <a:pt x="320" y="19"/>
                      </a:lnTo>
                      <a:lnTo>
                        <a:pt x="321" y="19"/>
                      </a:lnTo>
                      <a:lnTo>
                        <a:pt x="322" y="19"/>
                      </a:lnTo>
                      <a:lnTo>
                        <a:pt x="322" y="19"/>
                      </a:lnTo>
                      <a:lnTo>
                        <a:pt x="323" y="19"/>
                      </a:lnTo>
                      <a:lnTo>
                        <a:pt x="323" y="19"/>
                      </a:lnTo>
                      <a:lnTo>
                        <a:pt x="324" y="19"/>
                      </a:lnTo>
                      <a:close/>
                      <a:moveTo>
                        <a:pt x="310" y="0"/>
                      </a:moveTo>
                      <a:lnTo>
                        <a:pt x="311" y="1"/>
                      </a:lnTo>
                      <a:lnTo>
                        <a:pt x="311" y="1"/>
                      </a:lnTo>
                      <a:lnTo>
                        <a:pt x="312" y="1"/>
                      </a:lnTo>
                      <a:lnTo>
                        <a:pt x="312" y="1"/>
                      </a:lnTo>
                      <a:lnTo>
                        <a:pt x="312" y="1"/>
                      </a:lnTo>
                      <a:lnTo>
                        <a:pt x="312" y="2"/>
                      </a:lnTo>
                      <a:lnTo>
                        <a:pt x="311" y="2"/>
                      </a:lnTo>
                      <a:lnTo>
                        <a:pt x="311" y="1"/>
                      </a:lnTo>
                      <a:lnTo>
                        <a:pt x="311" y="2"/>
                      </a:lnTo>
                      <a:lnTo>
                        <a:pt x="312" y="2"/>
                      </a:lnTo>
                      <a:lnTo>
                        <a:pt x="311" y="2"/>
                      </a:lnTo>
                      <a:lnTo>
                        <a:pt x="312" y="2"/>
                      </a:lnTo>
                      <a:lnTo>
                        <a:pt x="312" y="2"/>
                      </a:lnTo>
                      <a:lnTo>
                        <a:pt x="312" y="2"/>
                      </a:lnTo>
                      <a:lnTo>
                        <a:pt x="312" y="2"/>
                      </a:lnTo>
                      <a:lnTo>
                        <a:pt x="313" y="2"/>
                      </a:lnTo>
                      <a:lnTo>
                        <a:pt x="314" y="2"/>
                      </a:lnTo>
                      <a:lnTo>
                        <a:pt x="313" y="2"/>
                      </a:lnTo>
                      <a:lnTo>
                        <a:pt x="313" y="2"/>
                      </a:lnTo>
                      <a:lnTo>
                        <a:pt x="314" y="2"/>
                      </a:lnTo>
                      <a:lnTo>
                        <a:pt x="314" y="2"/>
                      </a:lnTo>
                      <a:lnTo>
                        <a:pt x="314" y="2"/>
                      </a:lnTo>
                      <a:lnTo>
                        <a:pt x="314" y="2"/>
                      </a:lnTo>
                      <a:lnTo>
                        <a:pt x="314" y="3"/>
                      </a:lnTo>
                      <a:lnTo>
                        <a:pt x="314" y="3"/>
                      </a:lnTo>
                      <a:lnTo>
                        <a:pt x="315" y="3"/>
                      </a:lnTo>
                      <a:lnTo>
                        <a:pt x="315" y="3"/>
                      </a:lnTo>
                      <a:lnTo>
                        <a:pt x="316" y="4"/>
                      </a:lnTo>
                      <a:lnTo>
                        <a:pt x="315" y="4"/>
                      </a:lnTo>
                      <a:lnTo>
                        <a:pt x="316" y="4"/>
                      </a:lnTo>
                      <a:lnTo>
                        <a:pt x="316" y="4"/>
                      </a:lnTo>
                      <a:lnTo>
                        <a:pt x="316" y="4"/>
                      </a:lnTo>
                      <a:lnTo>
                        <a:pt x="316" y="4"/>
                      </a:lnTo>
                      <a:lnTo>
                        <a:pt x="316" y="4"/>
                      </a:lnTo>
                      <a:lnTo>
                        <a:pt x="317" y="4"/>
                      </a:lnTo>
                      <a:lnTo>
                        <a:pt x="316" y="5"/>
                      </a:lnTo>
                      <a:lnTo>
                        <a:pt x="317" y="5"/>
                      </a:lnTo>
                      <a:lnTo>
                        <a:pt x="316" y="5"/>
                      </a:lnTo>
                      <a:lnTo>
                        <a:pt x="317" y="5"/>
                      </a:lnTo>
                      <a:lnTo>
                        <a:pt x="318" y="5"/>
                      </a:lnTo>
                      <a:lnTo>
                        <a:pt x="318" y="5"/>
                      </a:lnTo>
                      <a:lnTo>
                        <a:pt x="318" y="5"/>
                      </a:lnTo>
                      <a:lnTo>
                        <a:pt x="318" y="5"/>
                      </a:lnTo>
                      <a:lnTo>
                        <a:pt x="318" y="6"/>
                      </a:lnTo>
                      <a:lnTo>
                        <a:pt x="318" y="6"/>
                      </a:lnTo>
                      <a:lnTo>
                        <a:pt x="318" y="6"/>
                      </a:lnTo>
                      <a:lnTo>
                        <a:pt x="319" y="6"/>
                      </a:lnTo>
                      <a:lnTo>
                        <a:pt x="319" y="6"/>
                      </a:lnTo>
                      <a:lnTo>
                        <a:pt x="319" y="6"/>
                      </a:lnTo>
                      <a:lnTo>
                        <a:pt x="320" y="6"/>
                      </a:lnTo>
                      <a:lnTo>
                        <a:pt x="320" y="6"/>
                      </a:lnTo>
                      <a:lnTo>
                        <a:pt x="320" y="7"/>
                      </a:lnTo>
                      <a:lnTo>
                        <a:pt x="321" y="7"/>
                      </a:lnTo>
                      <a:lnTo>
                        <a:pt x="320" y="7"/>
                      </a:lnTo>
                      <a:lnTo>
                        <a:pt x="321" y="7"/>
                      </a:lnTo>
                      <a:lnTo>
                        <a:pt x="320" y="7"/>
                      </a:lnTo>
                      <a:lnTo>
                        <a:pt x="321" y="7"/>
                      </a:lnTo>
                      <a:lnTo>
                        <a:pt x="320" y="7"/>
                      </a:lnTo>
                      <a:lnTo>
                        <a:pt x="321" y="7"/>
                      </a:lnTo>
                      <a:lnTo>
                        <a:pt x="322" y="7"/>
                      </a:lnTo>
                      <a:lnTo>
                        <a:pt x="321" y="7"/>
                      </a:lnTo>
                      <a:lnTo>
                        <a:pt x="322" y="7"/>
                      </a:lnTo>
                      <a:lnTo>
                        <a:pt x="322" y="8"/>
                      </a:lnTo>
                      <a:lnTo>
                        <a:pt x="322" y="8"/>
                      </a:lnTo>
                      <a:lnTo>
                        <a:pt x="322" y="8"/>
                      </a:lnTo>
                      <a:lnTo>
                        <a:pt x="322" y="8"/>
                      </a:lnTo>
                      <a:lnTo>
                        <a:pt x="322" y="8"/>
                      </a:lnTo>
                      <a:lnTo>
                        <a:pt x="322" y="8"/>
                      </a:lnTo>
                      <a:lnTo>
                        <a:pt x="323" y="8"/>
                      </a:lnTo>
                      <a:lnTo>
                        <a:pt x="323" y="8"/>
                      </a:lnTo>
                      <a:lnTo>
                        <a:pt x="323" y="8"/>
                      </a:lnTo>
                      <a:lnTo>
                        <a:pt x="323" y="8"/>
                      </a:lnTo>
                      <a:lnTo>
                        <a:pt x="323" y="8"/>
                      </a:lnTo>
                      <a:lnTo>
                        <a:pt x="323" y="8"/>
                      </a:lnTo>
                      <a:lnTo>
                        <a:pt x="324" y="8"/>
                      </a:lnTo>
                      <a:lnTo>
                        <a:pt x="324" y="8"/>
                      </a:lnTo>
                      <a:lnTo>
                        <a:pt x="324" y="8"/>
                      </a:lnTo>
                      <a:lnTo>
                        <a:pt x="324" y="8"/>
                      </a:lnTo>
                      <a:lnTo>
                        <a:pt x="325" y="8"/>
                      </a:lnTo>
                      <a:lnTo>
                        <a:pt x="324" y="8"/>
                      </a:lnTo>
                      <a:lnTo>
                        <a:pt x="325" y="8"/>
                      </a:lnTo>
                      <a:lnTo>
                        <a:pt x="325" y="8"/>
                      </a:lnTo>
                      <a:lnTo>
                        <a:pt x="326" y="8"/>
                      </a:lnTo>
                      <a:lnTo>
                        <a:pt x="326" y="8"/>
                      </a:lnTo>
                      <a:lnTo>
                        <a:pt x="327" y="8"/>
                      </a:lnTo>
                      <a:lnTo>
                        <a:pt x="326" y="8"/>
                      </a:lnTo>
                      <a:lnTo>
                        <a:pt x="327" y="8"/>
                      </a:lnTo>
                      <a:lnTo>
                        <a:pt x="327" y="9"/>
                      </a:lnTo>
                      <a:lnTo>
                        <a:pt x="326" y="9"/>
                      </a:lnTo>
                      <a:lnTo>
                        <a:pt x="327" y="9"/>
                      </a:lnTo>
                      <a:lnTo>
                        <a:pt x="326" y="9"/>
                      </a:lnTo>
                      <a:lnTo>
                        <a:pt x="326" y="8"/>
                      </a:lnTo>
                      <a:lnTo>
                        <a:pt x="326" y="9"/>
                      </a:lnTo>
                      <a:lnTo>
                        <a:pt x="327" y="9"/>
                      </a:lnTo>
                      <a:lnTo>
                        <a:pt x="327" y="9"/>
                      </a:lnTo>
                      <a:lnTo>
                        <a:pt x="327" y="9"/>
                      </a:lnTo>
                      <a:lnTo>
                        <a:pt x="327" y="9"/>
                      </a:lnTo>
                      <a:lnTo>
                        <a:pt x="326" y="9"/>
                      </a:lnTo>
                      <a:lnTo>
                        <a:pt x="326" y="10"/>
                      </a:lnTo>
                      <a:lnTo>
                        <a:pt x="327" y="10"/>
                      </a:lnTo>
                      <a:lnTo>
                        <a:pt x="327" y="10"/>
                      </a:lnTo>
                      <a:lnTo>
                        <a:pt x="327" y="10"/>
                      </a:lnTo>
                      <a:lnTo>
                        <a:pt x="327" y="10"/>
                      </a:lnTo>
                      <a:lnTo>
                        <a:pt x="327" y="10"/>
                      </a:lnTo>
                      <a:lnTo>
                        <a:pt x="327" y="10"/>
                      </a:lnTo>
                      <a:lnTo>
                        <a:pt x="328" y="10"/>
                      </a:lnTo>
                      <a:lnTo>
                        <a:pt x="327" y="10"/>
                      </a:lnTo>
                      <a:lnTo>
                        <a:pt x="327" y="11"/>
                      </a:lnTo>
                      <a:lnTo>
                        <a:pt x="327" y="10"/>
                      </a:lnTo>
                      <a:lnTo>
                        <a:pt x="327" y="11"/>
                      </a:lnTo>
                      <a:lnTo>
                        <a:pt x="327" y="11"/>
                      </a:lnTo>
                      <a:lnTo>
                        <a:pt x="326" y="11"/>
                      </a:lnTo>
                      <a:lnTo>
                        <a:pt x="326" y="11"/>
                      </a:lnTo>
                      <a:lnTo>
                        <a:pt x="326" y="11"/>
                      </a:lnTo>
                      <a:lnTo>
                        <a:pt x="326" y="11"/>
                      </a:lnTo>
                      <a:lnTo>
                        <a:pt x="326" y="11"/>
                      </a:lnTo>
                      <a:lnTo>
                        <a:pt x="325" y="11"/>
                      </a:lnTo>
                      <a:lnTo>
                        <a:pt x="325" y="11"/>
                      </a:lnTo>
                      <a:lnTo>
                        <a:pt x="324" y="11"/>
                      </a:lnTo>
                      <a:lnTo>
                        <a:pt x="324" y="11"/>
                      </a:lnTo>
                      <a:lnTo>
                        <a:pt x="325" y="11"/>
                      </a:lnTo>
                      <a:lnTo>
                        <a:pt x="324" y="11"/>
                      </a:lnTo>
                      <a:lnTo>
                        <a:pt x="323" y="11"/>
                      </a:lnTo>
                      <a:lnTo>
                        <a:pt x="323" y="11"/>
                      </a:lnTo>
                      <a:lnTo>
                        <a:pt x="322" y="11"/>
                      </a:lnTo>
                      <a:lnTo>
                        <a:pt x="323" y="11"/>
                      </a:lnTo>
                      <a:lnTo>
                        <a:pt x="323" y="11"/>
                      </a:lnTo>
                      <a:lnTo>
                        <a:pt x="322" y="11"/>
                      </a:lnTo>
                      <a:lnTo>
                        <a:pt x="322" y="11"/>
                      </a:lnTo>
                      <a:lnTo>
                        <a:pt x="322" y="11"/>
                      </a:lnTo>
                      <a:lnTo>
                        <a:pt x="322" y="11"/>
                      </a:lnTo>
                      <a:lnTo>
                        <a:pt x="321" y="11"/>
                      </a:lnTo>
                      <a:lnTo>
                        <a:pt x="321" y="11"/>
                      </a:lnTo>
                      <a:lnTo>
                        <a:pt x="322" y="11"/>
                      </a:lnTo>
                      <a:lnTo>
                        <a:pt x="322" y="11"/>
                      </a:lnTo>
                      <a:lnTo>
                        <a:pt x="322" y="12"/>
                      </a:lnTo>
                      <a:lnTo>
                        <a:pt x="321" y="12"/>
                      </a:lnTo>
                      <a:lnTo>
                        <a:pt x="321" y="12"/>
                      </a:lnTo>
                      <a:lnTo>
                        <a:pt x="321" y="13"/>
                      </a:lnTo>
                      <a:lnTo>
                        <a:pt x="320" y="13"/>
                      </a:lnTo>
                      <a:lnTo>
                        <a:pt x="321" y="13"/>
                      </a:lnTo>
                      <a:lnTo>
                        <a:pt x="321" y="13"/>
                      </a:lnTo>
                      <a:lnTo>
                        <a:pt x="322" y="13"/>
                      </a:lnTo>
                      <a:lnTo>
                        <a:pt x="321" y="13"/>
                      </a:lnTo>
                      <a:lnTo>
                        <a:pt x="322" y="13"/>
                      </a:lnTo>
                      <a:lnTo>
                        <a:pt x="322" y="14"/>
                      </a:lnTo>
                      <a:lnTo>
                        <a:pt x="321" y="14"/>
                      </a:lnTo>
                      <a:lnTo>
                        <a:pt x="322" y="14"/>
                      </a:lnTo>
                      <a:lnTo>
                        <a:pt x="322" y="14"/>
                      </a:lnTo>
                      <a:lnTo>
                        <a:pt x="322" y="15"/>
                      </a:lnTo>
                      <a:lnTo>
                        <a:pt x="322" y="15"/>
                      </a:lnTo>
                      <a:lnTo>
                        <a:pt x="322" y="15"/>
                      </a:lnTo>
                      <a:lnTo>
                        <a:pt x="322" y="15"/>
                      </a:lnTo>
                      <a:lnTo>
                        <a:pt x="322" y="15"/>
                      </a:lnTo>
                      <a:lnTo>
                        <a:pt x="322" y="15"/>
                      </a:lnTo>
                      <a:lnTo>
                        <a:pt x="322" y="16"/>
                      </a:lnTo>
                      <a:lnTo>
                        <a:pt x="322" y="16"/>
                      </a:lnTo>
                      <a:lnTo>
                        <a:pt x="322" y="16"/>
                      </a:lnTo>
                      <a:lnTo>
                        <a:pt x="322" y="16"/>
                      </a:lnTo>
                      <a:lnTo>
                        <a:pt x="323" y="16"/>
                      </a:lnTo>
                      <a:lnTo>
                        <a:pt x="323" y="16"/>
                      </a:lnTo>
                      <a:lnTo>
                        <a:pt x="323" y="16"/>
                      </a:lnTo>
                      <a:lnTo>
                        <a:pt x="324" y="16"/>
                      </a:lnTo>
                      <a:lnTo>
                        <a:pt x="324" y="17"/>
                      </a:lnTo>
                      <a:lnTo>
                        <a:pt x="323" y="17"/>
                      </a:lnTo>
                      <a:lnTo>
                        <a:pt x="323" y="17"/>
                      </a:lnTo>
                      <a:lnTo>
                        <a:pt x="323" y="17"/>
                      </a:lnTo>
                      <a:lnTo>
                        <a:pt x="322" y="17"/>
                      </a:lnTo>
                      <a:lnTo>
                        <a:pt x="322" y="18"/>
                      </a:lnTo>
                      <a:lnTo>
                        <a:pt x="322" y="17"/>
                      </a:lnTo>
                      <a:lnTo>
                        <a:pt x="322" y="17"/>
                      </a:lnTo>
                      <a:lnTo>
                        <a:pt x="321" y="17"/>
                      </a:lnTo>
                      <a:lnTo>
                        <a:pt x="320" y="17"/>
                      </a:lnTo>
                      <a:lnTo>
                        <a:pt x="320" y="18"/>
                      </a:lnTo>
                      <a:lnTo>
                        <a:pt x="319" y="18"/>
                      </a:lnTo>
                      <a:lnTo>
                        <a:pt x="319" y="18"/>
                      </a:lnTo>
                      <a:lnTo>
                        <a:pt x="318" y="18"/>
                      </a:lnTo>
                      <a:lnTo>
                        <a:pt x="317" y="18"/>
                      </a:lnTo>
                      <a:lnTo>
                        <a:pt x="316" y="18"/>
                      </a:lnTo>
                      <a:lnTo>
                        <a:pt x="315" y="18"/>
                      </a:lnTo>
                      <a:lnTo>
                        <a:pt x="315" y="18"/>
                      </a:lnTo>
                      <a:lnTo>
                        <a:pt x="314" y="18"/>
                      </a:lnTo>
                      <a:lnTo>
                        <a:pt x="314" y="18"/>
                      </a:lnTo>
                      <a:lnTo>
                        <a:pt x="313" y="18"/>
                      </a:lnTo>
                      <a:lnTo>
                        <a:pt x="312" y="18"/>
                      </a:lnTo>
                      <a:lnTo>
                        <a:pt x="312" y="18"/>
                      </a:lnTo>
                      <a:lnTo>
                        <a:pt x="311" y="18"/>
                      </a:lnTo>
                      <a:lnTo>
                        <a:pt x="311" y="18"/>
                      </a:lnTo>
                      <a:lnTo>
                        <a:pt x="310" y="18"/>
                      </a:lnTo>
                      <a:lnTo>
                        <a:pt x="310" y="18"/>
                      </a:lnTo>
                      <a:lnTo>
                        <a:pt x="309" y="18"/>
                      </a:lnTo>
                      <a:lnTo>
                        <a:pt x="308" y="18"/>
                      </a:lnTo>
                      <a:lnTo>
                        <a:pt x="308" y="18"/>
                      </a:lnTo>
                      <a:lnTo>
                        <a:pt x="308" y="19"/>
                      </a:lnTo>
                      <a:lnTo>
                        <a:pt x="307" y="19"/>
                      </a:lnTo>
                      <a:lnTo>
                        <a:pt x="307" y="19"/>
                      </a:lnTo>
                      <a:lnTo>
                        <a:pt x="306" y="19"/>
                      </a:lnTo>
                      <a:lnTo>
                        <a:pt x="305" y="19"/>
                      </a:lnTo>
                      <a:lnTo>
                        <a:pt x="305" y="19"/>
                      </a:lnTo>
                      <a:lnTo>
                        <a:pt x="304" y="19"/>
                      </a:lnTo>
                      <a:lnTo>
                        <a:pt x="304" y="19"/>
                      </a:lnTo>
                      <a:lnTo>
                        <a:pt x="303" y="19"/>
                      </a:lnTo>
                      <a:lnTo>
                        <a:pt x="303" y="19"/>
                      </a:lnTo>
                      <a:lnTo>
                        <a:pt x="302" y="20"/>
                      </a:lnTo>
                      <a:lnTo>
                        <a:pt x="301" y="20"/>
                      </a:lnTo>
                      <a:lnTo>
                        <a:pt x="301" y="19"/>
                      </a:lnTo>
                      <a:lnTo>
                        <a:pt x="301" y="19"/>
                      </a:lnTo>
                      <a:lnTo>
                        <a:pt x="300" y="19"/>
                      </a:lnTo>
                      <a:lnTo>
                        <a:pt x="301" y="19"/>
                      </a:lnTo>
                      <a:lnTo>
                        <a:pt x="301" y="20"/>
                      </a:lnTo>
                      <a:lnTo>
                        <a:pt x="300" y="20"/>
                      </a:lnTo>
                      <a:lnTo>
                        <a:pt x="299" y="20"/>
                      </a:lnTo>
                      <a:lnTo>
                        <a:pt x="298" y="20"/>
                      </a:lnTo>
                      <a:lnTo>
                        <a:pt x="297" y="21"/>
                      </a:lnTo>
                      <a:lnTo>
                        <a:pt x="297" y="21"/>
                      </a:lnTo>
                      <a:lnTo>
                        <a:pt x="296" y="21"/>
                      </a:lnTo>
                      <a:lnTo>
                        <a:pt x="296" y="21"/>
                      </a:lnTo>
                      <a:lnTo>
                        <a:pt x="295" y="21"/>
                      </a:lnTo>
                      <a:lnTo>
                        <a:pt x="295" y="22"/>
                      </a:lnTo>
                      <a:lnTo>
                        <a:pt x="296" y="22"/>
                      </a:lnTo>
                      <a:lnTo>
                        <a:pt x="295" y="22"/>
                      </a:lnTo>
                      <a:lnTo>
                        <a:pt x="295" y="21"/>
                      </a:lnTo>
                      <a:lnTo>
                        <a:pt x="295" y="22"/>
                      </a:lnTo>
                      <a:lnTo>
                        <a:pt x="295" y="22"/>
                      </a:lnTo>
                      <a:lnTo>
                        <a:pt x="294" y="22"/>
                      </a:lnTo>
                      <a:lnTo>
                        <a:pt x="293" y="22"/>
                      </a:lnTo>
                      <a:lnTo>
                        <a:pt x="293" y="22"/>
                      </a:lnTo>
                      <a:lnTo>
                        <a:pt x="292" y="22"/>
                      </a:lnTo>
                      <a:lnTo>
                        <a:pt x="292" y="21"/>
                      </a:lnTo>
                      <a:lnTo>
                        <a:pt x="292" y="21"/>
                      </a:lnTo>
                      <a:lnTo>
                        <a:pt x="291" y="21"/>
                      </a:lnTo>
                      <a:lnTo>
                        <a:pt x="289" y="20"/>
                      </a:lnTo>
                      <a:lnTo>
                        <a:pt x="289" y="20"/>
                      </a:lnTo>
                      <a:lnTo>
                        <a:pt x="288" y="19"/>
                      </a:lnTo>
                      <a:lnTo>
                        <a:pt x="287" y="19"/>
                      </a:lnTo>
                      <a:lnTo>
                        <a:pt x="285" y="19"/>
                      </a:lnTo>
                      <a:lnTo>
                        <a:pt x="285" y="19"/>
                      </a:lnTo>
                      <a:lnTo>
                        <a:pt x="284" y="19"/>
                      </a:lnTo>
                      <a:lnTo>
                        <a:pt x="284" y="19"/>
                      </a:lnTo>
                      <a:lnTo>
                        <a:pt x="282" y="19"/>
                      </a:lnTo>
                      <a:lnTo>
                        <a:pt x="282" y="19"/>
                      </a:lnTo>
                      <a:lnTo>
                        <a:pt x="281" y="19"/>
                      </a:lnTo>
                      <a:lnTo>
                        <a:pt x="281" y="19"/>
                      </a:lnTo>
                      <a:lnTo>
                        <a:pt x="281" y="19"/>
                      </a:lnTo>
                      <a:lnTo>
                        <a:pt x="282" y="19"/>
                      </a:lnTo>
                      <a:lnTo>
                        <a:pt x="283" y="19"/>
                      </a:lnTo>
                      <a:lnTo>
                        <a:pt x="282" y="19"/>
                      </a:lnTo>
                      <a:lnTo>
                        <a:pt x="282" y="18"/>
                      </a:lnTo>
                      <a:lnTo>
                        <a:pt x="283" y="18"/>
                      </a:lnTo>
                      <a:lnTo>
                        <a:pt x="283" y="19"/>
                      </a:lnTo>
                      <a:lnTo>
                        <a:pt x="284" y="19"/>
                      </a:lnTo>
                      <a:lnTo>
                        <a:pt x="285" y="19"/>
                      </a:lnTo>
                      <a:lnTo>
                        <a:pt x="285" y="19"/>
                      </a:lnTo>
                      <a:lnTo>
                        <a:pt x="286" y="19"/>
                      </a:lnTo>
                      <a:lnTo>
                        <a:pt x="287" y="19"/>
                      </a:lnTo>
                      <a:lnTo>
                        <a:pt x="288" y="19"/>
                      </a:lnTo>
                      <a:lnTo>
                        <a:pt x="288" y="19"/>
                      </a:lnTo>
                      <a:lnTo>
                        <a:pt x="287" y="19"/>
                      </a:lnTo>
                      <a:lnTo>
                        <a:pt x="286" y="19"/>
                      </a:lnTo>
                      <a:lnTo>
                        <a:pt x="285" y="18"/>
                      </a:lnTo>
                      <a:lnTo>
                        <a:pt x="285" y="18"/>
                      </a:lnTo>
                      <a:lnTo>
                        <a:pt x="284" y="18"/>
                      </a:lnTo>
                      <a:lnTo>
                        <a:pt x="284" y="18"/>
                      </a:lnTo>
                      <a:lnTo>
                        <a:pt x="283" y="18"/>
                      </a:lnTo>
                      <a:lnTo>
                        <a:pt x="283" y="17"/>
                      </a:lnTo>
                      <a:lnTo>
                        <a:pt x="282" y="17"/>
                      </a:lnTo>
                      <a:lnTo>
                        <a:pt x="282" y="17"/>
                      </a:lnTo>
                      <a:lnTo>
                        <a:pt x="281" y="17"/>
                      </a:lnTo>
                      <a:lnTo>
                        <a:pt x="281" y="17"/>
                      </a:lnTo>
                      <a:lnTo>
                        <a:pt x="281" y="17"/>
                      </a:lnTo>
                      <a:lnTo>
                        <a:pt x="282" y="17"/>
                      </a:lnTo>
                      <a:lnTo>
                        <a:pt x="282" y="17"/>
                      </a:lnTo>
                      <a:lnTo>
                        <a:pt x="283" y="17"/>
                      </a:lnTo>
                      <a:lnTo>
                        <a:pt x="284" y="17"/>
                      </a:lnTo>
                      <a:lnTo>
                        <a:pt x="284" y="17"/>
                      </a:lnTo>
                      <a:lnTo>
                        <a:pt x="285" y="17"/>
                      </a:lnTo>
                      <a:lnTo>
                        <a:pt x="285" y="17"/>
                      </a:lnTo>
                      <a:lnTo>
                        <a:pt x="286" y="17"/>
                      </a:lnTo>
                      <a:lnTo>
                        <a:pt x="286" y="17"/>
                      </a:lnTo>
                      <a:lnTo>
                        <a:pt x="287" y="16"/>
                      </a:lnTo>
                      <a:lnTo>
                        <a:pt x="288" y="16"/>
                      </a:lnTo>
                      <a:lnTo>
                        <a:pt x="288" y="17"/>
                      </a:lnTo>
                      <a:lnTo>
                        <a:pt x="288" y="17"/>
                      </a:lnTo>
                      <a:lnTo>
                        <a:pt x="289" y="17"/>
                      </a:lnTo>
                      <a:lnTo>
                        <a:pt x="289" y="17"/>
                      </a:lnTo>
                      <a:lnTo>
                        <a:pt x="290" y="17"/>
                      </a:lnTo>
                      <a:lnTo>
                        <a:pt x="290" y="17"/>
                      </a:lnTo>
                      <a:lnTo>
                        <a:pt x="291" y="17"/>
                      </a:lnTo>
                      <a:lnTo>
                        <a:pt x="292" y="17"/>
                      </a:lnTo>
                      <a:lnTo>
                        <a:pt x="291" y="17"/>
                      </a:lnTo>
                      <a:lnTo>
                        <a:pt x="291" y="17"/>
                      </a:lnTo>
                      <a:lnTo>
                        <a:pt x="290" y="17"/>
                      </a:lnTo>
                      <a:lnTo>
                        <a:pt x="291" y="17"/>
                      </a:lnTo>
                      <a:lnTo>
                        <a:pt x="290" y="17"/>
                      </a:lnTo>
                      <a:lnTo>
                        <a:pt x="290" y="17"/>
                      </a:lnTo>
                      <a:lnTo>
                        <a:pt x="289" y="16"/>
                      </a:lnTo>
                      <a:lnTo>
                        <a:pt x="288" y="16"/>
                      </a:lnTo>
                      <a:lnTo>
                        <a:pt x="288" y="16"/>
                      </a:lnTo>
                      <a:lnTo>
                        <a:pt x="288" y="16"/>
                      </a:lnTo>
                      <a:lnTo>
                        <a:pt x="288" y="16"/>
                      </a:lnTo>
                      <a:lnTo>
                        <a:pt x="287" y="16"/>
                      </a:lnTo>
                      <a:lnTo>
                        <a:pt x="286" y="17"/>
                      </a:lnTo>
                      <a:lnTo>
                        <a:pt x="285" y="17"/>
                      </a:lnTo>
                      <a:lnTo>
                        <a:pt x="285" y="17"/>
                      </a:lnTo>
                      <a:lnTo>
                        <a:pt x="284" y="17"/>
                      </a:lnTo>
                      <a:lnTo>
                        <a:pt x="283" y="17"/>
                      </a:lnTo>
                      <a:lnTo>
                        <a:pt x="282" y="17"/>
                      </a:lnTo>
                      <a:lnTo>
                        <a:pt x="281" y="17"/>
                      </a:lnTo>
                      <a:lnTo>
                        <a:pt x="281" y="17"/>
                      </a:lnTo>
                      <a:lnTo>
                        <a:pt x="280" y="17"/>
                      </a:lnTo>
                      <a:lnTo>
                        <a:pt x="279" y="17"/>
                      </a:lnTo>
                      <a:lnTo>
                        <a:pt x="279" y="17"/>
                      </a:lnTo>
                      <a:lnTo>
                        <a:pt x="278" y="17"/>
                      </a:lnTo>
                      <a:lnTo>
                        <a:pt x="278" y="17"/>
                      </a:lnTo>
                      <a:lnTo>
                        <a:pt x="277" y="17"/>
                      </a:lnTo>
                      <a:lnTo>
                        <a:pt x="278" y="17"/>
                      </a:lnTo>
                      <a:lnTo>
                        <a:pt x="278" y="16"/>
                      </a:lnTo>
                      <a:lnTo>
                        <a:pt x="278" y="17"/>
                      </a:lnTo>
                      <a:lnTo>
                        <a:pt x="278" y="16"/>
                      </a:lnTo>
                      <a:lnTo>
                        <a:pt x="277" y="17"/>
                      </a:lnTo>
                      <a:lnTo>
                        <a:pt x="277" y="17"/>
                      </a:lnTo>
                      <a:lnTo>
                        <a:pt x="276" y="17"/>
                      </a:lnTo>
                      <a:lnTo>
                        <a:pt x="275" y="17"/>
                      </a:lnTo>
                      <a:lnTo>
                        <a:pt x="276" y="17"/>
                      </a:lnTo>
                      <a:lnTo>
                        <a:pt x="277" y="17"/>
                      </a:lnTo>
                      <a:lnTo>
                        <a:pt x="277" y="16"/>
                      </a:lnTo>
                      <a:lnTo>
                        <a:pt x="277" y="16"/>
                      </a:lnTo>
                      <a:lnTo>
                        <a:pt x="278" y="16"/>
                      </a:lnTo>
                      <a:lnTo>
                        <a:pt x="277" y="16"/>
                      </a:lnTo>
                      <a:lnTo>
                        <a:pt x="278" y="16"/>
                      </a:lnTo>
                      <a:lnTo>
                        <a:pt x="278" y="16"/>
                      </a:lnTo>
                      <a:lnTo>
                        <a:pt x="279" y="16"/>
                      </a:lnTo>
                      <a:lnTo>
                        <a:pt x="279" y="16"/>
                      </a:lnTo>
                      <a:lnTo>
                        <a:pt x="279" y="15"/>
                      </a:lnTo>
                      <a:lnTo>
                        <a:pt x="280" y="15"/>
                      </a:lnTo>
                      <a:lnTo>
                        <a:pt x="279" y="16"/>
                      </a:lnTo>
                      <a:lnTo>
                        <a:pt x="280" y="16"/>
                      </a:lnTo>
                      <a:lnTo>
                        <a:pt x="281" y="16"/>
                      </a:lnTo>
                      <a:lnTo>
                        <a:pt x="281" y="16"/>
                      </a:lnTo>
                      <a:lnTo>
                        <a:pt x="282" y="16"/>
                      </a:lnTo>
                      <a:lnTo>
                        <a:pt x="281" y="16"/>
                      </a:lnTo>
                      <a:lnTo>
                        <a:pt x="281" y="15"/>
                      </a:lnTo>
                      <a:lnTo>
                        <a:pt x="280" y="15"/>
                      </a:lnTo>
                      <a:lnTo>
                        <a:pt x="281" y="15"/>
                      </a:lnTo>
                      <a:lnTo>
                        <a:pt x="281" y="15"/>
                      </a:lnTo>
                      <a:lnTo>
                        <a:pt x="282" y="15"/>
                      </a:lnTo>
                      <a:lnTo>
                        <a:pt x="282" y="16"/>
                      </a:lnTo>
                      <a:lnTo>
                        <a:pt x="282" y="16"/>
                      </a:lnTo>
                      <a:lnTo>
                        <a:pt x="282" y="16"/>
                      </a:lnTo>
                      <a:lnTo>
                        <a:pt x="282" y="15"/>
                      </a:lnTo>
                      <a:lnTo>
                        <a:pt x="282" y="16"/>
                      </a:lnTo>
                      <a:lnTo>
                        <a:pt x="283" y="15"/>
                      </a:lnTo>
                      <a:lnTo>
                        <a:pt x="284" y="15"/>
                      </a:lnTo>
                      <a:lnTo>
                        <a:pt x="284" y="16"/>
                      </a:lnTo>
                      <a:lnTo>
                        <a:pt x="284" y="16"/>
                      </a:lnTo>
                      <a:lnTo>
                        <a:pt x="284" y="16"/>
                      </a:lnTo>
                      <a:lnTo>
                        <a:pt x="285" y="16"/>
                      </a:lnTo>
                      <a:lnTo>
                        <a:pt x="285" y="16"/>
                      </a:lnTo>
                      <a:lnTo>
                        <a:pt x="285" y="15"/>
                      </a:lnTo>
                      <a:lnTo>
                        <a:pt x="284" y="15"/>
                      </a:lnTo>
                      <a:lnTo>
                        <a:pt x="282" y="15"/>
                      </a:lnTo>
                      <a:lnTo>
                        <a:pt x="281" y="15"/>
                      </a:lnTo>
                      <a:lnTo>
                        <a:pt x="281" y="15"/>
                      </a:lnTo>
                      <a:lnTo>
                        <a:pt x="279" y="15"/>
                      </a:lnTo>
                      <a:lnTo>
                        <a:pt x="280" y="15"/>
                      </a:lnTo>
                      <a:lnTo>
                        <a:pt x="280" y="14"/>
                      </a:lnTo>
                      <a:lnTo>
                        <a:pt x="281" y="14"/>
                      </a:lnTo>
                      <a:lnTo>
                        <a:pt x="281" y="14"/>
                      </a:lnTo>
                      <a:lnTo>
                        <a:pt x="282" y="14"/>
                      </a:lnTo>
                      <a:lnTo>
                        <a:pt x="282" y="14"/>
                      </a:lnTo>
                      <a:lnTo>
                        <a:pt x="283" y="14"/>
                      </a:lnTo>
                      <a:lnTo>
                        <a:pt x="284" y="13"/>
                      </a:lnTo>
                      <a:lnTo>
                        <a:pt x="284" y="13"/>
                      </a:lnTo>
                      <a:lnTo>
                        <a:pt x="286" y="13"/>
                      </a:lnTo>
                      <a:lnTo>
                        <a:pt x="286" y="13"/>
                      </a:lnTo>
                      <a:lnTo>
                        <a:pt x="287" y="13"/>
                      </a:lnTo>
                      <a:lnTo>
                        <a:pt x="287" y="13"/>
                      </a:lnTo>
                      <a:lnTo>
                        <a:pt x="287" y="12"/>
                      </a:lnTo>
                      <a:lnTo>
                        <a:pt x="286" y="12"/>
                      </a:lnTo>
                      <a:lnTo>
                        <a:pt x="286" y="12"/>
                      </a:lnTo>
                      <a:lnTo>
                        <a:pt x="287" y="11"/>
                      </a:lnTo>
                      <a:lnTo>
                        <a:pt x="288" y="11"/>
                      </a:lnTo>
                      <a:lnTo>
                        <a:pt x="288" y="11"/>
                      </a:lnTo>
                      <a:lnTo>
                        <a:pt x="288" y="11"/>
                      </a:lnTo>
                      <a:lnTo>
                        <a:pt x="289" y="10"/>
                      </a:lnTo>
                      <a:lnTo>
                        <a:pt x="289" y="10"/>
                      </a:lnTo>
                      <a:lnTo>
                        <a:pt x="290" y="9"/>
                      </a:lnTo>
                      <a:lnTo>
                        <a:pt x="290" y="9"/>
                      </a:lnTo>
                      <a:lnTo>
                        <a:pt x="291" y="9"/>
                      </a:lnTo>
                      <a:lnTo>
                        <a:pt x="290" y="9"/>
                      </a:lnTo>
                      <a:lnTo>
                        <a:pt x="290" y="9"/>
                      </a:lnTo>
                      <a:lnTo>
                        <a:pt x="290" y="9"/>
                      </a:lnTo>
                      <a:lnTo>
                        <a:pt x="290" y="9"/>
                      </a:lnTo>
                      <a:lnTo>
                        <a:pt x="291" y="9"/>
                      </a:lnTo>
                      <a:lnTo>
                        <a:pt x="292" y="9"/>
                      </a:lnTo>
                      <a:lnTo>
                        <a:pt x="291" y="9"/>
                      </a:lnTo>
                      <a:lnTo>
                        <a:pt x="290" y="9"/>
                      </a:lnTo>
                      <a:lnTo>
                        <a:pt x="289" y="9"/>
                      </a:lnTo>
                      <a:lnTo>
                        <a:pt x="290" y="9"/>
                      </a:lnTo>
                      <a:lnTo>
                        <a:pt x="289" y="9"/>
                      </a:lnTo>
                      <a:lnTo>
                        <a:pt x="289" y="9"/>
                      </a:lnTo>
                      <a:lnTo>
                        <a:pt x="288" y="9"/>
                      </a:lnTo>
                      <a:lnTo>
                        <a:pt x="287" y="9"/>
                      </a:lnTo>
                      <a:lnTo>
                        <a:pt x="286" y="9"/>
                      </a:lnTo>
                      <a:lnTo>
                        <a:pt x="285" y="9"/>
                      </a:lnTo>
                      <a:lnTo>
                        <a:pt x="285" y="9"/>
                      </a:lnTo>
                      <a:lnTo>
                        <a:pt x="284" y="9"/>
                      </a:lnTo>
                      <a:lnTo>
                        <a:pt x="285" y="9"/>
                      </a:lnTo>
                      <a:lnTo>
                        <a:pt x="285" y="9"/>
                      </a:lnTo>
                      <a:lnTo>
                        <a:pt x="285" y="9"/>
                      </a:lnTo>
                      <a:lnTo>
                        <a:pt x="286" y="9"/>
                      </a:lnTo>
                      <a:lnTo>
                        <a:pt x="285" y="9"/>
                      </a:lnTo>
                      <a:lnTo>
                        <a:pt x="286" y="9"/>
                      </a:lnTo>
                      <a:lnTo>
                        <a:pt x="286" y="8"/>
                      </a:lnTo>
                      <a:lnTo>
                        <a:pt x="286" y="8"/>
                      </a:lnTo>
                      <a:lnTo>
                        <a:pt x="286" y="8"/>
                      </a:lnTo>
                      <a:lnTo>
                        <a:pt x="287" y="8"/>
                      </a:lnTo>
                      <a:lnTo>
                        <a:pt x="286" y="8"/>
                      </a:lnTo>
                      <a:lnTo>
                        <a:pt x="287" y="8"/>
                      </a:lnTo>
                      <a:lnTo>
                        <a:pt x="288" y="8"/>
                      </a:lnTo>
                      <a:lnTo>
                        <a:pt x="287" y="7"/>
                      </a:lnTo>
                      <a:lnTo>
                        <a:pt x="288" y="7"/>
                      </a:lnTo>
                      <a:lnTo>
                        <a:pt x="288" y="7"/>
                      </a:lnTo>
                      <a:lnTo>
                        <a:pt x="289" y="7"/>
                      </a:lnTo>
                      <a:lnTo>
                        <a:pt x="289" y="6"/>
                      </a:lnTo>
                      <a:lnTo>
                        <a:pt x="290" y="6"/>
                      </a:lnTo>
                      <a:lnTo>
                        <a:pt x="289" y="6"/>
                      </a:lnTo>
                      <a:lnTo>
                        <a:pt x="290" y="6"/>
                      </a:lnTo>
                      <a:lnTo>
                        <a:pt x="289" y="6"/>
                      </a:lnTo>
                      <a:lnTo>
                        <a:pt x="289" y="6"/>
                      </a:lnTo>
                      <a:lnTo>
                        <a:pt x="290" y="6"/>
                      </a:lnTo>
                      <a:lnTo>
                        <a:pt x="289" y="6"/>
                      </a:lnTo>
                      <a:lnTo>
                        <a:pt x="289" y="6"/>
                      </a:lnTo>
                      <a:lnTo>
                        <a:pt x="289" y="5"/>
                      </a:lnTo>
                      <a:lnTo>
                        <a:pt x="290" y="5"/>
                      </a:lnTo>
                      <a:lnTo>
                        <a:pt x="290" y="5"/>
                      </a:lnTo>
                      <a:lnTo>
                        <a:pt x="290" y="5"/>
                      </a:lnTo>
                      <a:lnTo>
                        <a:pt x="290" y="5"/>
                      </a:lnTo>
                      <a:lnTo>
                        <a:pt x="291" y="5"/>
                      </a:lnTo>
                      <a:lnTo>
                        <a:pt x="292" y="5"/>
                      </a:lnTo>
                      <a:lnTo>
                        <a:pt x="291" y="5"/>
                      </a:lnTo>
                      <a:lnTo>
                        <a:pt x="292" y="5"/>
                      </a:lnTo>
                      <a:lnTo>
                        <a:pt x="292" y="5"/>
                      </a:lnTo>
                      <a:lnTo>
                        <a:pt x="292" y="5"/>
                      </a:lnTo>
                      <a:lnTo>
                        <a:pt x="293" y="5"/>
                      </a:lnTo>
                      <a:lnTo>
                        <a:pt x="293" y="5"/>
                      </a:lnTo>
                      <a:lnTo>
                        <a:pt x="294" y="5"/>
                      </a:lnTo>
                      <a:lnTo>
                        <a:pt x="295" y="5"/>
                      </a:lnTo>
                      <a:lnTo>
                        <a:pt x="294" y="5"/>
                      </a:lnTo>
                      <a:lnTo>
                        <a:pt x="295" y="5"/>
                      </a:lnTo>
                      <a:lnTo>
                        <a:pt x="295" y="5"/>
                      </a:lnTo>
                      <a:lnTo>
                        <a:pt x="296" y="5"/>
                      </a:lnTo>
                      <a:lnTo>
                        <a:pt x="296" y="4"/>
                      </a:lnTo>
                      <a:lnTo>
                        <a:pt x="297" y="4"/>
                      </a:lnTo>
                      <a:lnTo>
                        <a:pt x="297" y="4"/>
                      </a:lnTo>
                      <a:lnTo>
                        <a:pt x="298" y="4"/>
                      </a:lnTo>
                      <a:lnTo>
                        <a:pt x="298" y="4"/>
                      </a:lnTo>
                      <a:lnTo>
                        <a:pt x="299" y="4"/>
                      </a:lnTo>
                      <a:lnTo>
                        <a:pt x="299" y="4"/>
                      </a:lnTo>
                      <a:lnTo>
                        <a:pt x="300" y="4"/>
                      </a:lnTo>
                      <a:lnTo>
                        <a:pt x="300" y="4"/>
                      </a:lnTo>
                      <a:lnTo>
                        <a:pt x="301" y="4"/>
                      </a:lnTo>
                      <a:lnTo>
                        <a:pt x="300" y="4"/>
                      </a:lnTo>
                      <a:lnTo>
                        <a:pt x="301" y="4"/>
                      </a:lnTo>
                      <a:lnTo>
                        <a:pt x="301" y="4"/>
                      </a:lnTo>
                      <a:lnTo>
                        <a:pt x="302" y="4"/>
                      </a:lnTo>
                      <a:lnTo>
                        <a:pt x="303" y="3"/>
                      </a:lnTo>
                      <a:lnTo>
                        <a:pt x="303" y="3"/>
                      </a:lnTo>
                      <a:lnTo>
                        <a:pt x="304" y="2"/>
                      </a:lnTo>
                      <a:lnTo>
                        <a:pt x="304" y="2"/>
                      </a:lnTo>
                      <a:lnTo>
                        <a:pt x="305" y="2"/>
                      </a:lnTo>
                      <a:lnTo>
                        <a:pt x="305" y="2"/>
                      </a:lnTo>
                      <a:lnTo>
                        <a:pt x="305" y="2"/>
                      </a:lnTo>
                      <a:lnTo>
                        <a:pt x="305" y="2"/>
                      </a:lnTo>
                      <a:lnTo>
                        <a:pt x="306" y="2"/>
                      </a:lnTo>
                      <a:lnTo>
                        <a:pt x="307" y="1"/>
                      </a:lnTo>
                      <a:lnTo>
                        <a:pt x="307" y="2"/>
                      </a:lnTo>
                      <a:lnTo>
                        <a:pt x="308" y="2"/>
                      </a:lnTo>
                      <a:lnTo>
                        <a:pt x="308" y="1"/>
                      </a:lnTo>
                      <a:lnTo>
                        <a:pt x="308" y="1"/>
                      </a:lnTo>
                      <a:lnTo>
                        <a:pt x="309" y="1"/>
                      </a:lnTo>
                      <a:lnTo>
                        <a:pt x="310" y="1"/>
                      </a:lnTo>
                      <a:lnTo>
                        <a:pt x="308" y="1"/>
                      </a:lnTo>
                      <a:lnTo>
                        <a:pt x="308" y="1"/>
                      </a:lnTo>
                      <a:lnTo>
                        <a:pt x="307" y="1"/>
                      </a:lnTo>
                      <a:lnTo>
                        <a:pt x="307" y="1"/>
                      </a:lnTo>
                      <a:lnTo>
                        <a:pt x="306" y="1"/>
                      </a:lnTo>
                      <a:lnTo>
                        <a:pt x="305" y="1"/>
                      </a:lnTo>
                      <a:lnTo>
                        <a:pt x="305" y="1"/>
                      </a:lnTo>
                      <a:lnTo>
                        <a:pt x="305" y="1"/>
                      </a:lnTo>
                      <a:lnTo>
                        <a:pt x="305" y="1"/>
                      </a:lnTo>
                      <a:lnTo>
                        <a:pt x="304" y="1"/>
                      </a:lnTo>
                      <a:lnTo>
                        <a:pt x="305" y="1"/>
                      </a:lnTo>
                      <a:lnTo>
                        <a:pt x="305" y="1"/>
                      </a:lnTo>
                      <a:lnTo>
                        <a:pt x="306" y="1"/>
                      </a:lnTo>
                      <a:lnTo>
                        <a:pt x="307" y="0"/>
                      </a:lnTo>
                      <a:lnTo>
                        <a:pt x="307" y="0"/>
                      </a:lnTo>
                      <a:lnTo>
                        <a:pt x="308" y="0"/>
                      </a:lnTo>
                      <a:lnTo>
                        <a:pt x="308" y="0"/>
                      </a:lnTo>
                      <a:lnTo>
                        <a:pt x="310" y="0"/>
                      </a:lnTo>
                      <a:lnTo>
                        <a:pt x="310" y="0"/>
                      </a:lnTo>
                      <a:close/>
                      <a:moveTo>
                        <a:pt x="63" y="271"/>
                      </a:moveTo>
                      <a:lnTo>
                        <a:pt x="63" y="272"/>
                      </a:lnTo>
                      <a:lnTo>
                        <a:pt x="63" y="271"/>
                      </a:lnTo>
                      <a:close/>
                      <a:moveTo>
                        <a:pt x="63" y="271"/>
                      </a:moveTo>
                      <a:lnTo>
                        <a:pt x="63" y="270"/>
                      </a:lnTo>
                      <a:lnTo>
                        <a:pt x="63" y="271"/>
                      </a:lnTo>
                      <a:close/>
                      <a:moveTo>
                        <a:pt x="73" y="264"/>
                      </a:moveTo>
                      <a:lnTo>
                        <a:pt x="73" y="264"/>
                      </a:lnTo>
                      <a:lnTo>
                        <a:pt x="73" y="264"/>
                      </a:lnTo>
                      <a:close/>
                      <a:moveTo>
                        <a:pt x="66" y="260"/>
                      </a:moveTo>
                      <a:lnTo>
                        <a:pt x="67" y="260"/>
                      </a:lnTo>
                      <a:lnTo>
                        <a:pt x="66" y="260"/>
                      </a:lnTo>
                      <a:close/>
                      <a:moveTo>
                        <a:pt x="69" y="260"/>
                      </a:moveTo>
                      <a:lnTo>
                        <a:pt x="69" y="260"/>
                      </a:lnTo>
                      <a:lnTo>
                        <a:pt x="69" y="260"/>
                      </a:lnTo>
                      <a:close/>
                      <a:moveTo>
                        <a:pt x="67" y="260"/>
                      </a:moveTo>
                      <a:lnTo>
                        <a:pt x="66" y="260"/>
                      </a:lnTo>
                      <a:lnTo>
                        <a:pt x="67" y="260"/>
                      </a:lnTo>
                      <a:close/>
                      <a:moveTo>
                        <a:pt x="72" y="256"/>
                      </a:moveTo>
                      <a:lnTo>
                        <a:pt x="71" y="256"/>
                      </a:lnTo>
                      <a:lnTo>
                        <a:pt x="72" y="256"/>
                      </a:lnTo>
                      <a:close/>
                      <a:moveTo>
                        <a:pt x="66" y="252"/>
                      </a:moveTo>
                      <a:lnTo>
                        <a:pt x="65" y="252"/>
                      </a:lnTo>
                      <a:lnTo>
                        <a:pt x="66" y="252"/>
                      </a:lnTo>
                      <a:close/>
                      <a:moveTo>
                        <a:pt x="66" y="251"/>
                      </a:moveTo>
                      <a:lnTo>
                        <a:pt x="66" y="252"/>
                      </a:lnTo>
                      <a:lnTo>
                        <a:pt x="66" y="251"/>
                      </a:lnTo>
                      <a:close/>
                      <a:moveTo>
                        <a:pt x="63" y="249"/>
                      </a:moveTo>
                      <a:lnTo>
                        <a:pt x="64" y="249"/>
                      </a:lnTo>
                      <a:lnTo>
                        <a:pt x="63" y="249"/>
                      </a:lnTo>
                      <a:close/>
                      <a:moveTo>
                        <a:pt x="133" y="244"/>
                      </a:moveTo>
                      <a:lnTo>
                        <a:pt x="132" y="244"/>
                      </a:lnTo>
                      <a:lnTo>
                        <a:pt x="133" y="244"/>
                      </a:lnTo>
                      <a:lnTo>
                        <a:pt x="133" y="244"/>
                      </a:lnTo>
                      <a:lnTo>
                        <a:pt x="133" y="244"/>
                      </a:lnTo>
                      <a:close/>
                      <a:moveTo>
                        <a:pt x="131" y="244"/>
                      </a:moveTo>
                      <a:lnTo>
                        <a:pt x="130" y="243"/>
                      </a:lnTo>
                      <a:lnTo>
                        <a:pt x="131" y="243"/>
                      </a:lnTo>
                      <a:lnTo>
                        <a:pt x="131" y="244"/>
                      </a:lnTo>
                      <a:close/>
                      <a:moveTo>
                        <a:pt x="65" y="242"/>
                      </a:moveTo>
                      <a:lnTo>
                        <a:pt x="64" y="242"/>
                      </a:lnTo>
                      <a:lnTo>
                        <a:pt x="65" y="242"/>
                      </a:lnTo>
                      <a:close/>
                      <a:moveTo>
                        <a:pt x="64" y="242"/>
                      </a:moveTo>
                      <a:lnTo>
                        <a:pt x="65" y="242"/>
                      </a:lnTo>
                      <a:lnTo>
                        <a:pt x="64" y="242"/>
                      </a:lnTo>
                      <a:close/>
                      <a:moveTo>
                        <a:pt x="65" y="242"/>
                      </a:moveTo>
                      <a:lnTo>
                        <a:pt x="64" y="242"/>
                      </a:lnTo>
                      <a:lnTo>
                        <a:pt x="65" y="242"/>
                      </a:lnTo>
                      <a:close/>
                      <a:moveTo>
                        <a:pt x="65" y="241"/>
                      </a:moveTo>
                      <a:lnTo>
                        <a:pt x="65" y="242"/>
                      </a:lnTo>
                      <a:lnTo>
                        <a:pt x="65" y="241"/>
                      </a:lnTo>
                      <a:close/>
                      <a:moveTo>
                        <a:pt x="64" y="241"/>
                      </a:moveTo>
                      <a:lnTo>
                        <a:pt x="65" y="241"/>
                      </a:lnTo>
                      <a:lnTo>
                        <a:pt x="64" y="241"/>
                      </a:lnTo>
                      <a:close/>
                      <a:moveTo>
                        <a:pt x="125" y="238"/>
                      </a:moveTo>
                      <a:lnTo>
                        <a:pt x="125" y="238"/>
                      </a:lnTo>
                      <a:lnTo>
                        <a:pt x="125" y="238"/>
                      </a:lnTo>
                      <a:lnTo>
                        <a:pt x="124" y="238"/>
                      </a:lnTo>
                      <a:lnTo>
                        <a:pt x="125" y="238"/>
                      </a:lnTo>
                      <a:lnTo>
                        <a:pt x="125" y="238"/>
                      </a:lnTo>
                      <a:lnTo>
                        <a:pt x="124" y="238"/>
                      </a:lnTo>
                      <a:lnTo>
                        <a:pt x="124" y="238"/>
                      </a:lnTo>
                      <a:lnTo>
                        <a:pt x="125" y="238"/>
                      </a:lnTo>
                      <a:close/>
                      <a:moveTo>
                        <a:pt x="63" y="237"/>
                      </a:moveTo>
                      <a:lnTo>
                        <a:pt x="63" y="237"/>
                      </a:lnTo>
                      <a:lnTo>
                        <a:pt x="63" y="237"/>
                      </a:lnTo>
                      <a:lnTo>
                        <a:pt x="63" y="237"/>
                      </a:lnTo>
                      <a:lnTo>
                        <a:pt x="63" y="237"/>
                      </a:lnTo>
                      <a:lnTo>
                        <a:pt x="63" y="237"/>
                      </a:lnTo>
                      <a:lnTo>
                        <a:pt x="63" y="237"/>
                      </a:lnTo>
                      <a:lnTo>
                        <a:pt x="63" y="237"/>
                      </a:lnTo>
                      <a:lnTo>
                        <a:pt x="63" y="237"/>
                      </a:lnTo>
                      <a:close/>
                      <a:moveTo>
                        <a:pt x="64" y="237"/>
                      </a:moveTo>
                      <a:lnTo>
                        <a:pt x="63" y="237"/>
                      </a:lnTo>
                      <a:lnTo>
                        <a:pt x="64" y="237"/>
                      </a:lnTo>
                      <a:lnTo>
                        <a:pt x="63" y="237"/>
                      </a:lnTo>
                      <a:lnTo>
                        <a:pt x="64" y="237"/>
                      </a:lnTo>
                      <a:close/>
                      <a:moveTo>
                        <a:pt x="66" y="234"/>
                      </a:moveTo>
                      <a:lnTo>
                        <a:pt x="67" y="234"/>
                      </a:lnTo>
                      <a:lnTo>
                        <a:pt x="66" y="234"/>
                      </a:lnTo>
                      <a:close/>
                      <a:moveTo>
                        <a:pt x="496" y="125"/>
                      </a:moveTo>
                      <a:lnTo>
                        <a:pt x="496" y="125"/>
                      </a:lnTo>
                      <a:lnTo>
                        <a:pt x="496" y="125"/>
                      </a:lnTo>
                      <a:close/>
                      <a:moveTo>
                        <a:pt x="271" y="120"/>
                      </a:moveTo>
                      <a:lnTo>
                        <a:pt x="270" y="120"/>
                      </a:lnTo>
                      <a:lnTo>
                        <a:pt x="270" y="119"/>
                      </a:lnTo>
                      <a:lnTo>
                        <a:pt x="271" y="119"/>
                      </a:lnTo>
                      <a:lnTo>
                        <a:pt x="271" y="120"/>
                      </a:lnTo>
                      <a:lnTo>
                        <a:pt x="270" y="120"/>
                      </a:lnTo>
                      <a:lnTo>
                        <a:pt x="271" y="12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81" name="Freeform 97"/>
                <p:cNvSpPr>
                  <a:spLocks noEditPoints="1"/>
                </p:cNvSpPr>
                <p:nvPr/>
              </p:nvSpPr>
              <p:spPr bwMode="auto">
                <a:xfrm>
                  <a:off x="8321203" y="4881834"/>
                  <a:ext cx="518215" cy="643447"/>
                </a:xfrm>
                <a:custGeom>
                  <a:avLst/>
                  <a:gdLst>
                    <a:gd name="T0" fmla="*/ 168 w 397"/>
                    <a:gd name="T1" fmla="*/ 182 h 467"/>
                    <a:gd name="T2" fmla="*/ 265 w 397"/>
                    <a:gd name="T3" fmla="*/ 159 h 467"/>
                    <a:gd name="T4" fmla="*/ 267 w 397"/>
                    <a:gd name="T5" fmla="*/ 140 h 467"/>
                    <a:gd name="T6" fmla="*/ 276 w 397"/>
                    <a:gd name="T7" fmla="*/ 133 h 467"/>
                    <a:gd name="T8" fmla="*/ 279 w 397"/>
                    <a:gd name="T9" fmla="*/ 130 h 467"/>
                    <a:gd name="T10" fmla="*/ 101 w 397"/>
                    <a:gd name="T11" fmla="*/ 124 h 467"/>
                    <a:gd name="T12" fmla="*/ 151 w 397"/>
                    <a:gd name="T13" fmla="*/ 130 h 467"/>
                    <a:gd name="T14" fmla="*/ 169 w 397"/>
                    <a:gd name="T15" fmla="*/ 156 h 467"/>
                    <a:gd name="T16" fmla="*/ 108 w 397"/>
                    <a:gd name="T17" fmla="*/ 151 h 467"/>
                    <a:gd name="T18" fmla="*/ 118 w 397"/>
                    <a:gd name="T19" fmla="*/ 160 h 467"/>
                    <a:gd name="T20" fmla="*/ 115 w 397"/>
                    <a:gd name="T21" fmla="*/ 177 h 467"/>
                    <a:gd name="T22" fmla="*/ 163 w 397"/>
                    <a:gd name="T23" fmla="*/ 205 h 467"/>
                    <a:gd name="T24" fmla="*/ 138 w 397"/>
                    <a:gd name="T25" fmla="*/ 176 h 467"/>
                    <a:gd name="T26" fmla="*/ 181 w 397"/>
                    <a:gd name="T27" fmla="*/ 199 h 467"/>
                    <a:gd name="T28" fmla="*/ 182 w 397"/>
                    <a:gd name="T29" fmla="*/ 230 h 467"/>
                    <a:gd name="T30" fmla="*/ 202 w 397"/>
                    <a:gd name="T31" fmla="*/ 212 h 467"/>
                    <a:gd name="T32" fmla="*/ 192 w 397"/>
                    <a:gd name="T33" fmla="*/ 180 h 467"/>
                    <a:gd name="T34" fmla="*/ 194 w 397"/>
                    <a:gd name="T35" fmla="*/ 159 h 467"/>
                    <a:gd name="T36" fmla="*/ 197 w 397"/>
                    <a:gd name="T37" fmla="*/ 162 h 467"/>
                    <a:gd name="T38" fmla="*/ 218 w 397"/>
                    <a:gd name="T39" fmla="*/ 137 h 467"/>
                    <a:gd name="T40" fmla="*/ 227 w 397"/>
                    <a:gd name="T41" fmla="*/ 141 h 467"/>
                    <a:gd name="T42" fmla="*/ 269 w 397"/>
                    <a:gd name="T43" fmla="*/ 124 h 467"/>
                    <a:gd name="T44" fmla="*/ 269 w 397"/>
                    <a:gd name="T45" fmla="*/ 137 h 467"/>
                    <a:gd name="T46" fmla="*/ 260 w 397"/>
                    <a:gd name="T47" fmla="*/ 170 h 467"/>
                    <a:gd name="T48" fmla="*/ 272 w 397"/>
                    <a:gd name="T49" fmla="*/ 173 h 467"/>
                    <a:gd name="T50" fmla="*/ 305 w 397"/>
                    <a:gd name="T51" fmla="*/ 187 h 467"/>
                    <a:gd name="T52" fmla="*/ 308 w 397"/>
                    <a:gd name="T53" fmla="*/ 178 h 467"/>
                    <a:gd name="T54" fmla="*/ 325 w 397"/>
                    <a:gd name="T55" fmla="*/ 157 h 467"/>
                    <a:gd name="T56" fmla="*/ 305 w 397"/>
                    <a:gd name="T57" fmla="*/ 163 h 467"/>
                    <a:gd name="T58" fmla="*/ 264 w 397"/>
                    <a:gd name="T59" fmla="*/ 148 h 467"/>
                    <a:gd name="T60" fmla="*/ 287 w 397"/>
                    <a:gd name="T61" fmla="*/ 127 h 467"/>
                    <a:gd name="T62" fmla="*/ 317 w 397"/>
                    <a:gd name="T63" fmla="*/ 120 h 467"/>
                    <a:gd name="T64" fmla="*/ 337 w 397"/>
                    <a:gd name="T65" fmla="*/ 126 h 467"/>
                    <a:gd name="T66" fmla="*/ 331 w 397"/>
                    <a:gd name="T67" fmla="*/ 109 h 467"/>
                    <a:gd name="T68" fmla="*/ 374 w 397"/>
                    <a:gd name="T69" fmla="*/ 136 h 467"/>
                    <a:gd name="T70" fmla="*/ 320 w 397"/>
                    <a:gd name="T71" fmla="*/ 218 h 467"/>
                    <a:gd name="T72" fmla="*/ 320 w 397"/>
                    <a:gd name="T73" fmla="*/ 298 h 467"/>
                    <a:gd name="T74" fmla="*/ 315 w 397"/>
                    <a:gd name="T75" fmla="*/ 335 h 467"/>
                    <a:gd name="T76" fmla="*/ 281 w 397"/>
                    <a:gd name="T77" fmla="*/ 355 h 467"/>
                    <a:gd name="T78" fmla="*/ 224 w 397"/>
                    <a:gd name="T79" fmla="*/ 362 h 467"/>
                    <a:gd name="T80" fmla="*/ 235 w 397"/>
                    <a:gd name="T81" fmla="*/ 415 h 467"/>
                    <a:gd name="T82" fmla="*/ 226 w 397"/>
                    <a:gd name="T83" fmla="*/ 414 h 467"/>
                    <a:gd name="T84" fmla="*/ 229 w 397"/>
                    <a:gd name="T85" fmla="*/ 454 h 467"/>
                    <a:gd name="T86" fmla="*/ 170 w 397"/>
                    <a:gd name="T87" fmla="*/ 441 h 467"/>
                    <a:gd name="T88" fmla="*/ 156 w 397"/>
                    <a:gd name="T89" fmla="*/ 402 h 467"/>
                    <a:gd name="T90" fmla="*/ 158 w 397"/>
                    <a:gd name="T91" fmla="*/ 369 h 467"/>
                    <a:gd name="T92" fmla="*/ 97 w 397"/>
                    <a:gd name="T93" fmla="*/ 339 h 467"/>
                    <a:gd name="T94" fmla="*/ 73 w 397"/>
                    <a:gd name="T95" fmla="*/ 292 h 467"/>
                    <a:gd name="T96" fmla="*/ 84 w 397"/>
                    <a:gd name="T97" fmla="*/ 242 h 467"/>
                    <a:gd name="T98" fmla="*/ 88 w 397"/>
                    <a:gd name="T99" fmla="*/ 188 h 467"/>
                    <a:gd name="T100" fmla="*/ 102 w 397"/>
                    <a:gd name="T101" fmla="*/ 108 h 467"/>
                    <a:gd name="T102" fmla="*/ 290 w 397"/>
                    <a:gd name="T103" fmla="*/ 67 h 467"/>
                    <a:gd name="T104" fmla="*/ 298 w 397"/>
                    <a:gd name="T105" fmla="*/ 97 h 467"/>
                    <a:gd name="T106" fmla="*/ 276 w 397"/>
                    <a:gd name="T107" fmla="*/ 95 h 467"/>
                    <a:gd name="T108" fmla="*/ 262 w 397"/>
                    <a:gd name="T109" fmla="*/ 85 h 467"/>
                    <a:gd name="T110" fmla="*/ 271 w 397"/>
                    <a:gd name="T111" fmla="*/ 63 h 467"/>
                    <a:gd name="T112" fmla="*/ 390 w 397"/>
                    <a:gd name="T113" fmla="*/ 11 h 467"/>
                    <a:gd name="T114" fmla="*/ 327 w 397"/>
                    <a:gd name="T115" fmla="*/ 34 h 467"/>
                    <a:gd name="T116" fmla="*/ 307 w 397"/>
                    <a:gd name="T117" fmla="*/ 49 h 467"/>
                    <a:gd name="T118" fmla="*/ 280 w 397"/>
                    <a:gd name="T119" fmla="*/ 53 h 467"/>
                    <a:gd name="T120" fmla="*/ 290 w 397"/>
                    <a:gd name="T121" fmla="*/ 42 h 467"/>
                    <a:gd name="T122" fmla="*/ 301 w 397"/>
                    <a:gd name="T123" fmla="*/ 26 h 467"/>
                    <a:gd name="T124" fmla="*/ 345 w 397"/>
                    <a:gd name="T125" fmla="*/ 13 h 4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97" h="467">
                      <a:moveTo>
                        <a:pt x="1" y="313"/>
                      </a:moveTo>
                      <a:lnTo>
                        <a:pt x="0" y="313"/>
                      </a:lnTo>
                      <a:lnTo>
                        <a:pt x="1" y="313"/>
                      </a:lnTo>
                      <a:lnTo>
                        <a:pt x="1" y="312"/>
                      </a:lnTo>
                      <a:lnTo>
                        <a:pt x="2" y="312"/>
                      </a:lnTo>
                      <a:lnTo>
                        <a:pt x="2" y="311"/>
                      </a:lnTo>
                      <a:lnTo>
                        <a:pt x="2" y="311"/>
                      </a:lnTo>
                      <a:lnTo>
                        <a:pt x="2" y="311"/>
                      </a:lnTo>
                      <a:lnTo>
                        <a:pt x="3" y="310"/>
                      </a:lnTo>
                      <a:lnTo>
                        <a:pt x="3" y="311"/>
                      </a:lnTo>
                      <a:lnTo>
                        <a:pt x="2" y="311"/>
                      </a:lnTo>
                      <a:lnTo>
                        <a:pt x="2" y="311"/>
                      </a:lnTo>
                      <a:lnTo>
                        <a:pt x="2" y="311"/>
                      </a:lnTo>
                      <a:lnTo>
                        <a:pt x="2" y="312"/>
                      </a:lnTo>
                      <a:lnTo>
                        <a:pt x="1" y="312"/>
                      </a:lnTo>
                      <a:lnTo>
                        <a:pt x="1" y="313"/>
                      </a:lnTo>
                      <a:close/>
                      <a:moveTo>
                        <a:pt x="8" y="307"/>
                      </a:moveTo>
                      <a:lnTo>
                        <a:pt x="9" y="307"/>
                      </a:lnTo>
                      <a:lnTo>
                        <a:pt x="10" y="307"/>
                      </a:lnTo>
                      <a:lnTo>
                        <a:pt x="10" y="306"/>
                      </a:lnTo>
                      <a:lnTo>
                        <a:pt x="10" y="307"/>
                      </a:lnTo>
                      <a:lnTo>
                        <a:pt x="10" y="307"/>
                      </a:lnTo>
                      <a:lnTo>
                        <a:pt x="11" y="307"/>
                      </a:lnTo>
                      <a:lnTo>
                        <a:pt x="11" y="307"/>
                      </a:lnTo>
                      <a:lnTo>
                        <a:pt x="11" y="307"/>
                      </a:lnTo>
                      <a:lnTo>
                        <a:pt x="11" y="307"/>
                      </a:lnTo>
                      <a:lnTo>
                        <a:pt x="11" y="307"/>
                      </a:lnTo>
                      <a:lnTo>
                        <a:pt x="12" y="307"/>
                      </a:lnTo>
                      <a:lnTo>
                        <a:pt x="12" y="307"/>
                      </a:lnTo>
                      <a:lnTo>
                        <a:pt x="12" y="307"/>
                      </a:lnTo>
                      <a:lnTo>
                        <a:pt x="13" y="307"/>
                      </a:lnTo>
                      <a:lnTo>
                        <a:pt x="13" y="307"/>
                      </a:lnTo>
                      <a:lnTo>
                        <a:pt x="13" y="307"/>
                      </a:lnTo>
                      <a:lnTo>
                        <a:pt x="14" y="307"/>
                      </a:lnTo>
                      <a:lnTo>
                        <a:pt x="14" y="306"/>
                      </a:lnTo>
                      <a:lnTo>
                        <a:pt x="13" y="306"/>
                      </a:lnTo>
                      <a:lnTo>
                        <a:pt x="14" y="306"/>
                      </a:lnTo>
                      <a:lnTo>
                        <a:pt x="14" y="306"/>
                      </a:lnTo>
                      <a:lnTo>
                        <a:pt x="13" y="306"/>
                      </a:lnTo>
                      <a:lnTo>
                        <a:pt x="13" y="305"/>
                      </a:lnTo>
                      <a:lnTo>
                        <a:pt x="13" y="304"/>
                      </a:lnTo>
                      <a:lnTo>
                        <a:pt x="13" y="304"/>
                      </a:lnTo>
                      <a:lnTo>
                        <a:pt x="13" y="303"/>
                      </a:lnTo>
                      <a:lnTo>
                        <a:pt x="14" y="303"/>
                      </a:lnTo>
                      <a:lnTo>
                        <a:pt x="13" y="303"/>
                      </a:lnTo>
                      <a:lnTo>
                        <a:pt x="14" y="303"/>
                      </a:lnTo>
                      <a:lnTo>
                        <a:pt x="14" y="303"/>
                      </a:lnTo>
                      <a:lnTo>
                        <a:pt x="14" y="303"/>
                      </a:lnTo>
                      <a:lnTo>
                        <a:pt x="14" y="302"/>
                      </a:lnTo>
                      <a:lnTo>
                        <a:pt x="15" y="302"/>
                      </a:lnTo>
                      <a:lnTo>
                        <a:pt x="15" y="303"/>
                      </a:lnTo>
                      <a:lnTo>
                        <a:pt x="15" y="303"/>
                      </a:lnTo>
                      <a:lnTo>
                        <a:pt x="16" y="303"/>
                      </a:lnTo>
                      <a:lnTo>
                        <a:pt x="17" y="303"/>
                      </a:lnTo>
                      <a:lnTo>
                        <a:pt x="17" y="304"/>
                      </a:lnTo>
                      <a:lnTo>
                        <a:pt x="17" y="304"/>
                      </a:lnTo>
                      <a:lnTo>
                        <a:pt x="17" y="304"/>
                      </a:lnTo>
                      <a:lnTo>
                        <a:pt x="18" y="304"/>
                      </a:lnTo>
                      <a:lnTo>
                        <a:pt x="18" y="304"/>
                      </a:lnTo>
                      <a:lnTo>
                        <a:pt x="19" y="304"/>
                      </a:lnTo>
                      <a:lnTo>
                        <a:pt x="19" y="305"/>
                      </a:lnTo>
                      <a:lnTo>
                        <a:pt x="19" y="305"/>
                      </a:lnTo>
                      <a:lnTo>
                        <a:pt x="20" y="305"/>
                      </a:lnTo>
                      <a:lnTo>
                        <a:pt x="20" y="306"/>
                      </a:lnTo>
                      <a:lnTo>
                        <a:pt x="21" y="306"/>
                      </a:lnTo>
                      <a:lnTo>
                        <a:pt x="21" y="305"/>
                      </a:lnTo>
                      <a:lnTo>
                        <a:pt x="21" y="305"/>
                      </a:lnTo>
                      <a:lnTo>
                        <a:pt x="22" y="305"/>
                      </a:lnTo>
                      <a:lnTo>
                        <a:pt x="22" y="305"/>
                      </a:lnTo>
                      <a:lnTo>
                        <a:pt x="23" y="305"/>
                      </a:lnTo>
                      <a:lnTo>
                        <a:pt x="23" y="305"/>
                      </a:lnTo>
                      <a:lnTo>
                        <a:pt x="24" y="305"/>
                      </a:lnTo>
                      <a:lnTo>
                        <a:pt x="24" y="306"/>
                      </a:lnTo>
                      <a:lnTo>
                        <a:pt x="25" y="306"/>
                      </a:lnTo>
                      <a:lnTo>
                        <a:pt x="25" y="306"/>
                      </a:lnTo>
                      <a:lnTo>
                        <a:pt x="25" y="306"/>
                      </a:lnTo>
                      <a:lnTo>
                        <a:pt x="25" y="306"/>
                      </a:lnTo>
                      <a:lnTo>
                        <a:pt x="25" y="306"/>
                      </a:lnTo>
                      <a:lnTo>
                        <a:pt x="26" y="307"/>
                      </a:lnTo>
                      <a:lnTo>
                        <a:pt x="26" y="307"/>
                      </a:lnTo>
                      <a:lnTo>
                        <a:pt x="26" y="307"/>
                      </a:lnTo>
                      <a:lnTo>
                        <a:pt x="26" y="308"/>
                      </a:lnTo>
                      <a:lnTo>
                        <a:pt x="27" y="308"/>
                      </a:lnTo>
                      <a:lnTo>
                        <a:pt x="26" y="308"/>
                      </a:lnTo>
                      <a:lnTo>
                        <a:pt x="26" y="308"/>
                      </a:lnTo>
                      <a:lnTo>
                        <a:pt x="26" y="309"/>
                      </a:lnTo>
                      <a:lnTo>
                        <a:pt x="25" y="309"/>
                      </a:lnTo>
                      <a:lnTo>
                        <a:pt x="25" y="310"/>
                      </a:lnTo>
                      <a:lnTo>
                        <a:pt x="26" y="310"/>
                      </a:lnTo>
                      <a:lnTo>
                        <a:pt x="25" y="310"/>
                      </a:lnTo>
                      <a:lnTo>
                        <a:pt x="25" y="310"/>
                      </a:lnTo>
                      <a:lnTo>
                        <a:pt x="26" y="310"/>
                      </a:lnTo>
                      <a:lnTo>
                        <a:pt x="25" y="310"/>
                      </a:lnTo>
                      <a:lnTo>
                        <a:pt x="25" y="311"/>
                      </a:lnTo>
                      <a:lnTo>
                        <a:pt x="25" y="311"/>
                      </a:lnTo>
                      <a:lnTo>
                        <a:pt x="25" y="312"/>
                      </a:lnTo>
                      <a:lnTo>
                        <a:pt x="25" y="313"/>
                      </a:lnTo>
                      <a:lnTo>
                        <a:pt x="26" y="313"/>
                      </a:lnTo>
                      <a:lnTo>
                        <a:pt x="26" y="314"/>
                      </a:lnTo>
                      <a:lnTo>
                        <a:pt x="25" y="314"/>
                      </a:lnTo>
                      <a:lnTo>
                        <a:pt x="25" y="314"/>
                      </a:lnTo>
                      <a:lnTo>
                        <a:pt x="23" y="314"/>
                      </a:lnTo>
                      <a:lnTo>
                        <a:pt x="22" y="314"/>
                      </a:lnTo>
                      <a:lnTo>
                        <a:pt x="21" y="314"/>
                      </a:lnTo>
                      <a:lnTo>
                        <a:pt x="21" y="314"/>
                      </a:lnTo>
                      <a:lnTo>
                        <a:pt x="20" y="314"/>
                      </a:lnTo>
                      <a:lnTo>
                        <a:pt x="19" y="314"/>
                      </a:lnTo>
                      <a:lnTo>
                        <a:pt x="19" y="314"/>
                      </a:lnTo>
                      <a:lnTo>
                        <a:pt x="19" y="314"/>
                      </a:lnTo>
                      <a:lnTo>
                        <a:pt x="18" y="314"/>
                      </a:lnTo>
                      <a:lnTo>
                        <a:pt x="17" y="314"/>
                      </a:lnTo>
                      <a:lnTo>
                        <a:pt x="16" y="314"/>
                      </a:lnTo>
                      <a:lnTo>
                        <a:pt x="15" y="314"/>
                      </a:lnTo>
                      <a:lnTo>
                        <a:pt x="15" y="314"/>
                      </a:lnTo>
                      <a:lnTo>
                        <a:pt x="14" y="314"/>
                      </a:lnTo>
                      <a:lnTo>
                        <a:pt x="14" y="314"/>
                      </a:lnTo>
                      <a:lnTo>
                        <a:pt x="13" y="314"/>
                      </a:lnTo>
                      <a:lnTo>
                        <a:pt x="13" y="314"/>
                      </a:lnTo>
                      <a:lnTo>
                        <a:pt x="12" y="314"/>
                      </a:lnTo>
                      <a:lnTo>
                        <a:pt x="10" y="314"/>
                      </a:lnTo>
                      <a:lnTo>
                        <a:pt x="10" y="314"/>
                      </a:lnTo>
                      <a:lnTo>
                        <a:pt x="9" y="314"/>
                      </a:lnTo>
                      <a:lnTo>
                        <a:pt x="8" y="314"/>
                      </a:lnTo>
                      <a:lnTo>
                        <a:pt x="7" y="313"/>
                      </a:lnTo>
                      <a:lnTo>
                        <a:pt x="6" y="313"/>
                      </a:lnTo>
                      <a:lnTo>
                        <a:pt x="5" y="313"/>
                      </a:lnTo>
                      <a:lnTo>
                        <a:pt x="4" y="313"/>
                      </a:lnTo>
                      <a:lnTo>
                        <a:pt x="3" y="313"/>
                      </a:lnTo>
                      <a:lnTo>
                        <a:pt x="2" y="313"/>
                      </a:lnTo>
                      <a:lnTo>
                        <a:pt x="3" y="312"/>
                      </a:lnTo>
                      <a:lnTo>
                        <a:pt x="3" y="312"/>
                      </a:lnTo>
                      <a:lnTo>
                        <a:pt x="3" y="311"/>
                      </a:lnTo>
                      <a:lnTo>
                        <a:pt x="3" y="311"/>
                      </a:lnTo>
                      <a:lnTo>
                        <a:pt x="4" y="311"/>
                      </a:lnTo>
                      <a:lnTo>
                        <a:pt x="4" y="311"/>
                      </a:lnTo>
                      <a:lnTo>
                        <a:pt x="4" y="311"/>
                      </a:lnTo>
                      <a:lnTo>
                        <a:pt x="4" y="311"/>
                      </a:lnTo>
                      <a:lnTo>
                        <a:pt x="5" y="311"/>
                      </a:lnTo>
                      <a:lnTo>
                        <a:pt x="6" y="311"/>
                      </a:lnTo>
                      <a:lnTo>
                        <a:pt x="6" y="310"/>
                      </a:lnTo>
                      <a:lnTo>
                        <a:pt x="6" y="310"/>
                      </a:lnTo>
                      <a:lnTo>
                        <a:pt x="7" y="310"/>
                      </a:lnTo>
                      <a:lnTo>
                        <a:pt x="7" y="310"/>
                      </a:lnTo>
                      <a:lnTo>
                        <a:pt x="7" y="310"/>
                      </a:lnTo>
                      <a:lnTo>
                        <a:pt x="7" y="310"/>
                      </a:lnTo>
                      <a:lnTo>
                        <a:pt x="6" y="310"/>
                      </a:lnTo>
                      <a:lnTo>
                        <a:pt x="6" y="310"/>
                      </a:lnTo>
                      <a:lnTo>
                        <a:pt x="5" y="310"/>
                      </a:lnTo>
                      <a:lnTo>
                        <a:pt x="4" y="310"/>
                      </a:lnTo>
                      <a:lnTo>
                        <a:pt x="4" y="310"/>
                      </a:lnTo>
                      <a:lnTo>
                        <a:pt x="4" y="310"/>
                      </a:lnTo>
                      <a:lnTo>
                        <a:pt x="4" y="310"/>
                      </a:lnTo>
                      <a:lnTo>
                        <a:pt x="4" y="310"/>
                      </a:lnTo>
                      <a:lnTo>
                        <a:pt x="4" y="310"/>
                      </a:lnTo>
                      <a:lnTo>
                        <a:pt x="4" y="309"/>
                      </a:lnTo>
                      <a:lnTo>
                        <a:pt x="3" y="309"/>
                      </a:lnTo>
                      <a:lnTo>
                        <a:pt x="3" y="310"/>
                      </a:lnTo>
                      <a:lnTo>
                        <a:pt x="3" y="310"/>
                      </a:lnTo>
                      <a:lnTo>
                        <a:pt x="3" y="310"/>
                      </a:lnTo>
                      <a:lnTo>
                        <a:pt x="3" y="310"/>
                      </a:lnTo>
                      <a:lnTo>
                        <a:pt x="3" y="309"/>
                      </a:lnTo>
                      <a:lnTo>
                        <a:pt x="3" y="308"/>
                      </a:lnTo>
                      <a:lnTo>
                        <a:pt x="3" y="308"/>
                      </a:lnTo>
                      <a:lnTo>
                        <a:pt x="3" y="307"/>
                      </a:lnTo>
                      <a:lnTo>
                        <a:pt x="3" y="307"/>
                      </a:lnTo>
                      <a:lnTo>
                        <a:pt x="3" y="307"/>
                      </a:lnTo>
                      <a:lnTo>
                        <a:pt x="3" y="307"/>
                      </a:lnTo>
                      <a:lnTo>
                        <a:pt x="3" y="307"/>
                      </a:lnTo>
                      <a:lnTo>
                        <a:pt x="3" y="307"/>
                      </a:lnTo>
                      <a:lnTo>
                        <a:pt x="3" y="306"/>
                      </a:lnTo>
                      <a:lnTo>
                        <a:pt x="4" y="306"/>
                      </a:lnTo>
                      <a:lnTo>
                        <a:pt x="4" y="307"/>
                      </a:lnTo>
                      <a:lnTo>
                        <a:pt x="4" y="306"/>
                      </a:lnTo>
                      <a:lnTo>
                        <a:pt x="4" y="306"/>
                      </a:lnTo>
                      <a:lnTo>
                        <a:pt x="4" y="307"/>
                      </a:lnTo>
                      <a:lnTo>
                        <a:pt x="5" y="306"/>
                      </a:lnTo>
                      <a:lnTo>
                        <a:pt x="6" y="306"/>
                      </a:lnTo>
                      <a:lnTo>
                        <a:pt x="6" y="307"/>
                      </a:lnTo>
                      <a:lnTo>
                        <a:pt x="7" y="307"/>
                      </a:lnTo>
                      <a:lnTo>
                        <a:pt x="7" y="306"/>
                      </a:lnTo>
                      <a:lnTo>
                        <a:pt x="7" y="306"/>
                      </a:lnTo>
                      <a:lnTo>
                        <a:pt x="8" y="306"/>
                      </a:lnTo>
                      <a:lnTo>
                        <a:pt x="8" y="306"/>
                      </a:lnTo>
                      <a:lnTo>
                        <a:pt x="8" y="306"/>
                      </a:lnTo>
                      <a:lnTo>
                        <a:pt x="9" y="305"/>
                      </a:lnTo>
                      <a:lnTo>
                        <a:pt x="10" y="304"/>
                      </a:lnTo>
                      <a:lnTo>
                        <a:pt x="10" y="304"/>
                      </a:lnTo>
                      <a:lnTo>
                        <a:pt x="10" y="303"/>
                      </a:lnTo>
                      <a:lnTo>
                        <a:pt x="11" y="303"/>
                      </a:lnTo>
                      <a:lnTo>
                        <a:pt x="11" y="303"/>
                      </a:lnTo>
                      <a:lnTo>
                        <a:pt x="11" y="302"/>
                      </a:lnTo>
                      <a:lnTo>
                        <a:pt x="11" y="303"/>
                      </a:lnTo>
                      <a:lnTo>
                        <a:pt x="11" y="303"/>
                      </a:lnTo>
                      <a:lnTo>
                        <a:pt x="11" y="303"/>
                      </a:lnTo>
                      <a:lnTo>
                        <a:pt x="11" y="304"/>
                      </a:lnTo>
                      <a:lnTo>
                        <a:pt x="10" y="304"/>
                      </a:lnTo>
                      <a:lnTo>
                        <a:pt x="10" y="304"/>
                      </a:lnTo>
                      <a:lnTo>
                        <a:pt x="10" y="304"/>
                      </a:lnTo>
                      <a:lnTo>
                        <a:pt x="10" y="305"/>
                      </a:lnTo>
                      <a:lnTo>
                        <a:pt x="9" y="305"/>
                      </a:lnTo>
                      <a:lnTo>
                        <a:pt x="9" y="306"/>
                      </a:lnTo>
                      <a:lnTo>
                        <a:pt x="8" y="306"/>
                      </a:lnTo>
                      <a:lnTo>
                        <a:pt x="8" y="306"/>
                      </a:lnTo>
                      <a:lnTo>
                        <a:pt x="7" y="306"/>
                      </a:lnTo>
                      <a:lnTo>
                        <a:pt x="8" y="306"/>
                      </a:lnTo>
                      <a:lnTo>
                        <a:pt x="8" y="307"/>
                      </a:lnTo>
                      <a:lnTo>
                        <a:pt x="8" y="306"/>
                      </a:lnTo>
                      <a:lnTo>
                        <a:pt x="8" y="307"/>
                      </a:lnTo>
                      <a:lnTo>
                        <a:pt x="8" y="307"/>
                      </a:lnTo>
                      <a:close/>
                      <a:moveTo>
                        <a:pt x="82" y="243"/>
                      </a:moveTo>
                      <a:lnTo>
                        <a:pt x="82" y="243"/>
                      </a:lnTo>
                      <a:lnTo>
                        <a:pt x="82" y="243"/>
                      </a:lnTo>
                      <a:close/>
                      <a:moveTo>
                        <a:pt x="82" y="243"/>
                      </a:moveTo>
                      <a:lnTo>
                        <a:pt x="82" y="243"/>
                      </a:lnTo>
                      <a:lnTo>
                        <a:pt x="81" y="243"/>
                      </a:lnTo>
                      <a:lnTo>
                        <a:pt x="81" y="242"/>
                      </a:lnTo>
                      <a:lnTo>
                        <a:pt x="81" y="243"/>
                      </a:lnTo>
                      <a:lnTo>
                        <a:pt x="81" y="242"/>
                      </a:lnTo>
                      <a:lnTo>
                        <a:pt x="81" y="243"/>
                      </a:lnTo>
                      <a:lnTo>
                        <a:pt x="82" y="243"/>
                      </a:lnTo>
                      <a:lnTo>
                        <a:pt x="82" y="243"/>
                      </a:lnTo>
                      <a:lnTo>
                        <a:pt x="82" y="243"/>
                      </a:lnTo>
                      <a:lnTo>
                        <a:pt x="82" y="243"/>
                      </a:lnTo>
                      <a:lnTo>
                        <a:pt x="82" y="243"/>
                      </a:lnTo>
                      <a:lnTo>
                        <a:pt x="82" y="243"/>
                      </a:lnTo>
                      <a:close/>
                      <a:moveTo>
                        <a:pt x="66" y="237"/>
                      </a:moveTo>
                      <a:lnTo>
                        <a:pt x="66" y="237"/>
                      </a:lnTo>
                      <a:lnTo>
                        <a:pt x="66" y="237"/>
                      </a:lnTo>
                      <a:close/>
                      <a:moveTo>
                        <a:pt x="166" y="181"/>
                      </a:moveTo>
                      <a:lnTo>
                        <a:pt x="166" y="181"/>
                      </a:lnTo>
                      <a:lnTo>
                        <a:pt x="166" y="181"/>
                      </a:lnTo>
                      <a:lnTo>
                        <a:pt x="166" y="181"/>
                      </a:lnTo>
                      <a:lnTo>
                        <a:pt x="166" y="181"/>
                      </a:lnTo>
                      <a:lnTo>
                        <a:pt x="166" y="181"/>
                      </a:lnTo>
                      <a:lnTo>
                        <a:pt x="166" y="181"/>
                      </a:lnTo>
                      <a:lnTo>
                        <a:pt x="166" y="181"/>
                      </a:lnTo>
                      <a:lnTo>
                        <a:pt x="166" y="181"/>
                      </a:lnTo>
                      <a:close/>
                      <a:moveTo>
                        <a:pt x="168" y="181"/>
                      </a:moveTo>
                      <a:lnTo>
                        <a:pt x="168" y="181"/>
                      </a:lnTo>
                      <a:lnTo>
                        <a:pt x="168" y="181"/>
                      </a:lnTo>
                      <a:lnTo>
                        <a:pt x="168" y="180"/>
                      </a:lnTo>
                      <a:lnTo>
                        <a:pt x="168" y="180"/>
                      </a:lnTo>
                      <a:lnTo>
                        <a:pt x="169" y="180"/>
                      </a:lnTo>
                      <a:lnTo>
                        <a:pt x="168" y="180"/>
                      </a:lnTo>
                      <a:lnTo>
                        <a:pt x="169" y="180"/>
                      </a:lnTo>
                      <a:lnTo>
                        <a:pt x="169" y="181"/>
                      </a:lnTo>
                      <a:lnTo>
                        <a:pt x="170" y="181"/>
                      </a:lnTo>
                      <a:lnTo>
                        <a:pt x="169" y="181"/>
                      </a:lnTo>
                      <a:lnTo>
                        <a:pt x="169" y="181"/>
                      </a:lnTo>
                      <a:lnTo>
                        <a:pt x="169" y="182"/>
                      </a:lnTo>
                      <a:lnTo>
                        <a:pt x="168" y="182"/>
                      </a:lnTo>
                      <a:lnTo>
                        <a:pt x="168" y="182"/>
                      </a:lnTo>
                      <a:lnTo>
                        <a:pt x="168" y="182"/>
                      </a:lnTo>
                      <a:lnTo>
                        <a:pt x="168" y="182"/>
                      </a:lnTo>
                      <a:lnTo>
                        <a:pt x="168" y="182"/>
                      </a:lnTo>
                      <a:lnTo>
                        <a:pt x="168" y="182"/>
                      </a:lnTo>
                      <a:lnTo>
                        <a:pt x="168" y="181"/>
                      </a:lnTo>
                      <a:lnTo>
                        <a:pt x="168" y="181"/>
                      </a:lnTo>
                      <a:close/>
                      <a:moveTo>
                        <a:pt x="168" y="180"/>
                      </a:moveTo>
                      <a:lnTo>
                        <a:pt x="167" y="180"/>
                      </a:lnTo>
                      <a:lnTo>
                        <a:pt x="167" y="179"/>
                      </a:lnTo>
                      <a:lnTo>
                        <a:pt x="168" y="179"/>
                      </a:lnTo>
                      <a:lnTo>
                        <a:pt x="168" y="180"/>
                      </a:lnTo>
                      <a:lnTo>
                        <a:pt x="168" y="180"/>
                      </a:lnTo>
                      <a:lnTo>
                        <a:pt x="168" y="180"/>
                      </a:lnTo>
                      <a:lnTo>
                        <a:pt x="168" y="181"/>
                      </a:lnTo>
                      <a:lnTo>
                        <a:pt x="168" y="181"/>
                      </a:lnTo>
                      <a:lnTo>
                        <a:pt x="168" y="181"/>
                      </a:lnTo>
                      <a:lnTo>
                        <a:pt x="168" y="181"/>
                      </a:lnTo>
                      <a:lnTo>
                        <a:pt x="168" y="181"/>
                      </a:lnTo>
                      <a:lnTo>
                        <a:pt x="168" y="181"/>
                      </a:lnTo>
                      <a:lnTo>
                        <a:pt x="168" y="182"/>
                      </a:lnTo>
                      <a:lnTo>
                        <a:pt x="168" y="181"/>
                      </a:lnTo>
                      <a:lnTo>
                        <a:pt x="167" y="181"/>
                      </a:lnTo>
                      <a:lnTo>
                        <a:pt x="167" y="181"/>
                      </a:lnTo>
                      <a:lnTo>
                        <a:pt x="167" y="180"/>
                      </a:lnTo>
                      <a:lnTo>
                        <a:pt x="168" y="180"/>
                      </a:lnTo>
                      <a:close/>
                      <a:moveTo>
                        <a:pt x="167" y="179"/>
                      </a:moveTo>
                      <a:lnTo>
                        <a:pt x="167" y="180"/>
                      </a:lnTo>
                      <a:lnTo>
                        <a:pt x="167" y="180"/>
                      </a:lnTo>
                      <a:lnTo>
                        <a:pt x="167" y="181"/>
                      </a:lnTo>
                      <a:lnTo>
                        <a:pt x="167" y="181"/>
                      </a:lnTo>
                      <a:lnTo>
                        <a:pt x="167" y="181"/>
                      </a:lnTo>
                      <a:lnTo>
                        <a:pt x="167" y="181"/>
                      </a:lnTo>
                      <a:lnTo>
                        <a:pt x="166" y="181"/>
                      </a:lnTo>
                      <a:lnTo>
                        <a:pt x="166" y="180"/>
                      </a:lnTo>
                      <a:lnTo>
                        <a:pt x="166" y="180"/>
                      </a:lnTo>
                      <a:lnTo>
                        <a:pt x="166" y="179"/>
                      </a:lnTo>
                      <a:lnTo>
                        <a:pt x="166" y="180"/>
                      </a:lnTo>
                      <a:lnTo>
                        <a:pt x="165" y="180"/>
                      </a:lnTo>
                      <a:lnTo>
                        <a:pt x="165" y="179"/>
                      </a:lnTo>
                      <a:lnTo>
                        <a:pt x="166" y="179"/>
                      </a:lnTo>
                      <a:lnTo>
                        <a:pt x="166" y="179"/>
                      </a:lnTo>
                      <a:lnTo>
                        <a:pt x="166" y="180"/>
                      </a:lnTo>
                      <a:lnTo>
                        <a:pt x="166" y="179"/>
                      </a:lnTo>
                      <a:lnTo>
                        <a:pt x="166" y="180"/>
                      </a:lnTo>
                      <a:lnTo>
                        <a:pt x="166" y="180"/>
                      </a:lnTo>
                      <a:lnTo>
                        <a:pt x="166" y="179"/>
                      </a:lnTo>
                      <a:lnTo>
                        <a:pt x="166" y="180"/>
                      </a:lnTo>
                      <a:lnTo>
                        <a:pt x="166" y="179"/>
                      </a:lnTo>
                      <a:lnTo>
                        <a:pt x="166" y="180"/>
                      </a:lnTo>
                      <a:lnTo>
                        <a:pt x="166" y="180"/>
                      </a:lnTo>
                      <a:lnTo>
                        <a:pt x="166" y="179"/>
                      </a:lnTo>
                      <a:lnTo>
                        <a:pt x="166" y="180"/>
                      </a:lnTo>
                      <a:lnTo>
                        <a:pt x="166" y="179"/>
                      </a:lnTo>
                      <a:lnTo>
                        <a:pt x="167" y="179"/>
                      </a:lnTo>
                      <a:lnTo>
                        <a:pt x="166" y="179"/>
                      </a:lnTo>
                      <a:lnTo>
                        <a:pt x="167" y="179"/>
                      </a:lnTo>
                      <a:lnTo>
                        <a:pt x="166" y="179"/>
                      </a:lnTo>
                      <a:lnTo>
                        <a:pt x="167" y="179"/>
                      </a:lnTo>
                      <a:lnTo>
                        <a:pt x="166" y="179"/>
                      </a:lnTo>
                      <a:lnTo>
                        <a:pt x="167" y="179"/>
                      </a:lnTo>
                      <a:close/>
                      <a:moveTo>
                        <a:pt x="308" y="180"/>
                      </a:moveTo>
                      <a:lnTo>
                        <a:pt x="308" y="180"/>
                      </a:lnTo>
                      <a:lnTo>
                        <a:pt x="308" y="179"/>
                      </a:lnTo>
                      <a:lnTo>
                        <a:pt x="308" y="180"/>
                      </a:lnTo>
                      <a:lnTo>
                        <a:pt x="308" y="180"/>
                      </a:lnTo>
                      <a:lnTo>
                        <a:pt x="308" y="179"/>
                      </a:lnTo>
                      <a:lnTo>
                        <a:pt x="308" y="179"/>
                      </a:lnTo>
                      <a:lnTo>
                        <a:pt x="308" y="180"/>
                      </a:lnTo>
                      <a:lnTo>
                        <a:pt x="308" y="180"/>
                      </a:lnTo>
                      <a:lnTo>
                        <a:pt x="308" y="180"/>
                      </a:lnTo>
                      <a:lnTo>
                        <a:pt x="308" y="181"/>
                      </a:lnTo>
                      <a:lnTo>
                        <a:pt x="308" y="180"/>
                      </a:lnTo>
                      <a:close/>
                      <a:moveTo>
                        <a:pt x="308" y="179"/>
                      </a:moveTo>
                      <a:lnTo>
                        <a:pt x="308" y="179"/>
                      </a:lnTo>
                      <a:lnTo>
                        <a:pt x="308" y="179"/>
                      </a:lnTo>
                      <a:close/>
                      <a:moveTo>
                        <a:pt x="306" y="178"/>
                      </a:moveTo>
                      <a:lnTo>
                        <a:pt x="306" y="177"/>
                      </a:lnTo>
                      <a:lnTo>
                        <a:pt x="306" y="178"/>
                      </a:lnTo>
                      <a:lnTo>
                        <a:pt x="306" y="178"/>
                      </a:lnTo>
                      <a:lnTo>
                        <a:pt x="306" y="178"/>
                      </a:lnTo>
                      <a:lnTo>
                        <a:pt x="306" y="178"/>
                      </a:lnTo>
                      <a:lnTo>
                        <a:pt x="306" y="178"/>
                      </a:lnTo>
                      <a:close/>
                      <a:moveTo>
                        <a:pt x="267" y="172"/>
                      </a:moveTo>
                      <a:lnTo>
                        <a:pt x="268" y="172"/>
                      </a:lnTo>
                      <a:lnTo>
                        <a:pt x="267" y="172"/>
                      </a:lnTo>
                      <a:lnTo>
                        <a:pt x="268" y="172"/>
                      </a:lnTo>
                      <a:lnTo>
                        <a:pt x="268" y="173"/>
                      </a:lnTo>
                      <a:lnTo>
                        <a:pt x="267" y="173"/>
                      </a:lnTo>
                      <a:lnTo>
                        <a:pt x="267" y="172"/>
                      </a:lnTo>
                      <a:close/>
                      <a:moveTo>
                        <a:pt x="267" y="171"/>
                      </a:moveTo>
                      <a:lnTo>
                        <a:pt x="267" y="171"/>
                      </a:lnTo>
                      <a:lnTo>
                        <a:pt x="267" y="171"/>
                      </a:lnTo>
                      <a:lnTo>
                        <a:pt x="266" y="171"/>
                      </a:lnTo>
                      <a:lnTo>
                        <a:pt x="267" y="171"/>
                      </a:lnTo>
                      <a:close/>
                      <a:moveTo>
                        <a:pt x="301" y="171"/>
                      </a:moveTo>
                      <a:lnTo>
                        <a:pt x="301" y="171"/>
                      </a:lnTo>
                      <a:lnTo>
                        <a:pt x="301" y="171"/>
                      </a:lnTo>
                      <a:lnTo>
                        <a:pt x="301" y="172"/>
                      </a:lnTo>
                      <a:lnTo>
                        <a:pt x="301" y="172"/>
                      </a:lnTo>
                      <a:lnTo>
                        <a:pt x="301" y="172"/>
                      </a:lnTo>
                      <a:lnTo>
                        <a:pt x="301" y="173"/>
                      </a:lnTo>
                      <a:lnTo>
                        <a:pt x="301" y="172"/>
                      </a:lnTo>
                      <a:lnTo>
                        <a:pt x="301" y="171"/>
                      </a:lnTo>
                      <a:lnTo>
                        <a:pt x="301" y="171"/>
                      </a:lnTo>
                      <a:close/>
                      <a:moveTo>
                        <a:pt x="301" y="168"/>
                      </a:moveTo>
                      <a:lnTo>
                        <a:pt x="301" y="169"/>
                      </a:lnTo>
                      <a:lnTo>
                        <a:pt x="301" y="169"/>
                      </a:lnTo>
                      <a:lnTo>
                        <a:pt x="301" y="168"/>
                      </a:lnTo>
                      <a:lnTo>
                        <a:pt x="301" y="169"/>
                      </a:lnTo>
                      <a:lnTo>
                        <a:pt x="301" y="168"/>
                      </a:lnTo>
                      <a:lnTo>
                        <a:pt x="301" y="168"/>
                      </a:lnTo>
                      <a:close/>
                      <a:moveTo>
                        <a:pt x="262" y="167"/>
                      </a:moveTo>
                      <a:lnTo>
                        <a:pt x="262" y="166"/>
                      </a:lnTo>
                      <a:lnTo>
                        <a:pt x="262" y="167"/>
                      </a:lnTo>
                      <a:close/>
                      <a:moveTo>
                        <a:pt x="284" y="165"/>
                      </a:moveTo>
                      <a:lnTo>
                        <a:pt x="283" y="165"/>
                      </a:lnTo>
                      <a:lnTo>
                        <a:pt x="283" y="166"/>
                      </a:lnTo>
                      <a:lnTo>
                        <a:pt x="283" y="165"/>
                      </a:lnTo>
                      <a:lnTo>
                        <a:pt x="284" y="165"/>
                      </a:lnTo>
                      <a:lnTo>
                        <a:pt x="284" y="164"/>
                      </a:lnTo>
                      <a:lnTo>
                        <a:pt x="285" y="164"/>
                      </a:lnTo>
                      <a:lnTo>
                        <a:pt x="284" y="165"/>
                      </a:lnTo>
                      <a:lnTo>
                        <a:pt x="283" y="166"/>
                      </a:lnTo>
                      <a:lnTo>
                        <a:pt x="284" y="165"/>
                      </a:lnTo>
                      <a:lnTo>
                        <a:pt x="283" y="166"/>
                      </a:lnTo>
                      <a:lnTo>
                        <a:pt x="284" y="165"/>
                      </a:lnTo>
                      <a:close/>
                      <a:moveTo>
                        <a:pt x="299" y="163"/>
                      </a:moveTo>
                      <a:lnTo>
                        <a:pt x="300" y="163"/>
                      </a:lnTo>
                      <a:lnTo>
                        <a:pt x="300" y="164"/>
                      </a:lnTo>
                      <a:lnTo>
                        <a:pt x="300" y="163"/>
                      </a:lnTo>
                      <a:lnTo>
                        <a:pt x="300" y="164"/>
                      </a:lnTo>
                      <a:lnTo>
                        <a:pt x="299" y="164"/>
                      </a:lnTo>
                      <a:lnTo>
                        <a:pt x="299" y="163"/>
                      </a:lnTo>
                      <a:close/>
                      <a:moveTo>
                        <a:pt x="285" y="164"/>
                      </a:moveTo>
                      <a:lnTo>
                        <a:pt x="285" y="164"/>
                      </a:lnTo>
                      <a:lnTo>
                        <a:pt x="286" y="164"/>
                      </a:lnTo>
                      <a:lnTo>
                        <a:pt x="286" y="163"/>
                      </a:lnTo>
                      <a:lnTo>
                        <a:pt x="286" y="163"/>
                      </a:lnTo>
                      <a:lnTo>
                        <a:pt x="286" y="163"/>
                      </a:lnTo>
                      <a:lnTo>
                        <a:pt x="286" y="163"/>
                      </a:lnTo>
                      <a:lnTo>
                        <a:pt x="286" y="164"/>
                      </a:lnTo>
                      <a:lnTo>
                        <a:pt x="286" y="163"/>
                      </a:lnTo>
                      <a:lnTo>
                        <a:pt x="286" y="163"/>
                      </a:lnTo>
                      <a:lnTo>
                        <a:pt x="286" y="163"/>
                      </a:lnTo>
                      <a:lnTo>
                        <a:pt x="286" y="164"/>
                      </a:lnTo>
                      <a:lnTo>
                        <a:pt x="286" y="164"/>
                      </a:lnTo>
                      <a:lnTo>
                        <a:pt x="286" y="164"/>
                      </a:lnTo>
                      <a:lnTo>
                        <a:pt x="285" y="164"/>
                      </a:lnTo>
                      <a:close/>
                      <a:moveTo>
                        <a:pt x="286" y="164"/>
                      </a:moveTo>
                      <a:lnTo>
                        <a:pt x="286" y="164"/>
                      </a:lnTo>
                      <a:lnTo>
                        <a:pt x="286" y="164"/>
                      </a:lnTo>
                      <a:close/>
                      <a:moveTo>
                        <a:pt x="264" y="162"/>
                      </a:moveTo>
                      <a:lnTo>
                        <a:pt x="264" y="162"/>
                      </a:lnTo>
                      <a:lnTo>
                        <a:pt x="264" y="163"/>
                      </a:lnTo>
                      <a:lnTo>
                        <a:pt x="264" y="162"/>
                      </a:lnTo>
                      <a:lnTo>
                        <a:pt x="264" y="162"/>
                      </a:lnTo>
                      <a:lnTo>
                        <a:pt x="264" y="162"/>
                      </a:lnTo>
                      <a:lnTo>
                        <a:pt x="265" y="162"/>
                      </a:lnTo>
                      <a:lnTo>
                        <a:pt x="265" y="163"/>
                      </a:lnTo>
                      <a:lnTo>
                        <a:pt x="264" y="163"/>
                      </a:lnTo>
                      <a:lnTo>
                        <a:pt x="264" y="163"/>
                      </a:lnTo>
                      <a:lnTo>
                        <a:pt x="264" y="163"/>
                      </a:lnTo>
                      <a:lnTo>
                        <a:pt x="264" y="164"/>
                      </a:lnTo>
                      <a:lnTo>
                        <a:pt x="264" y="163"/>
                      </a:lnTo>
                      <a:lnTo>
                        <a:pt x="264" y="163"/>
                      </a:lnTo>
                      <a:lnTo>
                        <a:pt x="264" y="162"/>
                      </a:lnTo>
                      <a:lnTo>
                        <a:pt x="264" y="162"/>
                      </a:lnTo>
                      <a:lnTo>
                        <a:pt x="264" y="162"/>
                      </a:lnTo>
                      <a:lnTo>
                        <a:pt x="264" y="162"/>
                      </a:lnTo>
                      <a:lnTo>
                        <a:pt x="264" y="162"/>
                      </a:lnTo>
                      <a:close/>
                      <a:moveTo>
                        <a:pt x="299" y="162"/>
                      </a:moveTo>
                      <a:lnTo>
                        <a:pt x="298" y="162"/>
                      </a:lnTo>
                      <a:lnTo>
                        <a:pt x="298" y="162"/>
                      </a:lnTo>
                      <a:lnTo>
                        <a:pt x="299" y="162"/>
                      </a:lnTo>
                      <a:lnTo>
                        <a:pt x="300" y="162"/>
                      </a:lnTo>
                      <a:lnTo>
                        <a:pt x="300" y="162"/>
                      </a:lnTo>
                      <a:lnTo>
                        <a:pt x="300" y="163"/>
                      </a:lnTo>
                      <a:lnTo>
                        <a:pt x="300" y="162"/>
                      </a:lnTo>
                      <a:lnTo>
                        <a:pt x="300" y="163"/>
                      </a:lnTo>
                      <a:lnTo>
                        <a:pt x="299" y="163"/>
                      </a:lnTo>
                      <a:lnTo>
                        <a:pt x="299" y="162"/>
                      </a:lnTo>
                      <a:close/>
                      <a:moveTo>
                        <a:pt x="299" y="162"/>
                      </a:moveTo>
                      <a:lnTo>
                        <a:pt x="300" y="162"/>
                      </a:lnTo>
                      <a:lnTo>
                        <a:pt x="299" y="162"/>
                      </a:lnTo>
                      <a:close/>
                      <a:moveTo>
                        <a:pt x="298" y="160"/>
                      </a:moveTo>
                      <a:lnTo>
                        <a:pt x="298" y="161"/>
                      </a:lnTo>
                      <a:lnTo>
                        <a:pt x="298" y="160"/>
                      </a:lnTo>
                      <a:lnTo>
                        <a:pt x="298" y="160"/>
                      </a:lnTo>
                      <a:lnTo>
                        <a:pt x="298" y="160"/>
                      </a:lnTo>
                      <a:lnTo>
                        <a:pt x="298" y="160"/>
                      </a:lnTo>
                      <a:lnTo>
                        <a:pt x="298" y="161"/>
                      </a:lnTo>
                      <a:lnTo>
                        <a:pt x="298" y="161"/>
                      </a:lnTo>
                      <a:lnTo>
                        <a:pt x="298" y="161"/>
                      </a:lnTo>
                      <a:lnTo>
                        <a:pt x="298" y="162"/>
                      </a:lnTo>
                      <a:lnTo>
                        <a:pt x="298" y="162"/>
                      </a:lnTo>
                      <a:lnTo>
                        <a:pt x="298" y="161"/>
                      </a:lnTo>
                      <a:lnTo>
                        <a:pt x="298" y="160"/>
                      </a:lnTo>
                      <a:close/>
                      <a:moveTo>
                        <a:pt x="324" y="160"/>
                      </a:moveTo>
                      <a:lnTo>
                        <a:pt x="324" y="160"/>
                      </a:lnTo>
                      <a:lnTo>
                        <a:pt x="324" y="160"/>
                      </a:lnTo>
                      <a:close/>
                      <a:moveTo>
                        <a:pt x="287" y="160"/>
                      </a:moveTo>
                      <a:lnTo>
                        <a:pt x="286" y="160"/>
                      </a:lnTo>
                      <a:lnTo>
                        <a:pt x="286" y="160"/>
                      </a:lnTo>
                      <a:lnTo>
                        <a:pt x="287" y="160"/>
                      </a:lnTo>
                      <a:lnTo>
                        <a:pt x="287" y="160"/>
                      </a:lnTo>
                      <a:lnTo>
                        <a:pt x="287" y="160"/>
                      </a:lnTo>
                      <a:lnTo>
                        <a:pt x="287" y="160"/>
                      </a:lnTo>
                      <a:lnTo>
                        <a:pt x="286" y="160"/>
                      </a:lnTo>
                      <a:lnTo>
                        <a:pt x="287" y="160"/>
                      </a:lnTo>
                      <a:close/>
                      <a:moveTo>
                        <a:pt x="265" y="159"/>
                      </a:moveTo>
                      <a:lnTo>
                        <a:pt x="265" y="160"/>
                      </a:lnTo>
                      <a:lnTo>
                        <a:pt x="265" y="160"/>
                      </a:lnTo>
                      <a:lnTo>
                        <a:pt x="265" y="160"/>
                      </a:lnTo>
                      <a:lnTo>
                        <a:pt x="265" y="159"/>
                      </a:lnTo>
                      <a:close/>
                      <a:moveTo>
                        <a:pt x="323" y="158"/>
                      </a:moveTo>
                      <a:lnTo>
                        <a:pt x="323" y="159"/>
                      </a:lnTo>
                      <a:lnTo>
                        <a:pt x="323" y="158"/>
                      </a:lnTo>
                      <a:close/>
                      <a:moveTo>
                        <a:pt x="291" y="158"/>
                      </a:moveTo>
                      <a:lnTo>
                        <a:pt x="290" y="159"/>
                      </a:lnTo>
                      <a:lnTo>
                        <a:pt x="290" y="158"/>
                      </a:lnTo>
                      <a:lnTo>
                        <a:pt x="291" y="158"/>
                      </a:lnTo>
                      <a:lnTo>
                        <a:pt x="292" y="158"/>
                      </a:lnTo>
                      <a:lnTo>
                        <a:pt x="292" y="159"/>
                      </a:lnTo>
                      <a:lnTo>
                        <a:pt x="291" y="159"/>
                      </a:lnTo>
                      <a:lnTo>
                        <a:pt x="290" y="159"/>
                      </a:lnTo>
                      <a:lnTo>
                        <a:pt x="291" y="158"/>
                      </a:lnTo>
                      <a:close/>
                      <a:moveTo>
                        <a:pt x="296" y="157"/>
                      </a:moveTo>
                      <a:lnTo>
                        <a:pt x="296" y="157"/>
                      </a:lnTo>
                      <a:lnTo>
                        <a:pt x="296" y="158"/>
                      </a:lnTo>
                      <a:lnTo>
                        <a:pt x="296" y="158"/>
                      </a:lnTo>
                      <a:lnTo>
                        <a:pt x="296" y="158"/>
                      </a:lnTo>
                      <a:lnTo>
                        <a:pt x="296" y="158"/>
                      </a:lnTo>
                      <a:lnTo>
                        <a:pt x="295" y="158"/>
                      </a:lnTo>
                      <a:lnTo>
                        <a:pt x="294" y="158"/>
                      </a:lnTo>
                      <a:lnTo>
                        <a:pt x="295" y="157"/>
                      </a:lnTo>
                      <a:lnTo>
                        <a:pt x="294" y="158"/>
                      </a:lnTo>
                      <a:lnTo>
                        <a:pt x="295" y="158"/>
                      </a:lnTo>
                      <a:lnTo>
                        <a:pt x="295" y="157"/>
                      </a:lnTo>
                      <a:lnTo>
                        <a:pt x="296" y="157"/>
                      </a:lnTo>
                      <a:close/>
                      <a:moveTo>
                        <a:pt x="264" y="157"/>
                      </a:moveTo>
                      <a:lnTo>
                        <a:pt x="264" y="157"/>
                      </a:lnTo>
                      <a:lnTo>
                        <a:pt x="264" y="157"/>
                      </a:lnTo>
                      <a:lnTo>
                        <a:pt x="264" y="157"/>
                      </a:lnTo>
                      <a:lnTo>
                        <a:pt x="264" y="157"/>
                      </a:lnTo>
                      <a:lnTo>
                        <a:pt x="264" y="157"/>
                      </a:lnTo>
                      <a:lnTo>
                        <a:pt x="264" y="156"/>
                      </a:lnTo>
                      <a:lnTo>
                        <a:pt x="264" y="157"/>
                      </a:lnTo>
                      <a:lnTo>
                        <a:pt x="264" y="157"/>
                      </a:lnTo>
                      <a:close/>
                      <a:moveTo>
                        <a:pt x="264" y="156"/>
                      </a:moveTo>
                      <a:lnTo>
                        <a:pt x="264" y="157"/>
                      </a:lnTo>
                      <a:lnTo>
                        <a:pt x="265" y="157"/>
                      </a:lnTo>
                      <a:lnTo>
                        <a:pt x="265" y="157"/>
                      </a:lnTo>
                      <a:lnTo>
                        <a:pt x="265" y="158"/>
                      </a:lnTo>
                      <a:lnTo>
                        <a:pt x="264" y="158"/>
                      </a:lnTo>
                      <a:lnTo>
                        <a:pt x="265" y="158"/>
                      </a:lnTo>
                      <a:lnTo>
                        <a:pt x="265" y="159"/>
                      </a:lnTo>
                      <a:lnTo>
                        <a:pt x="264" y="159"/>
                      </a:lnTo>
                      <a:lnTo>
                        <a:pt x="264" y="158"/>
                      </a:lnTo>
                      <a:lnTo>
                        <a:pt x="264" y="157"/>
                      </a:lnTo>
                      <a:lnTo>
                        <a:pt x="264" y="157"/>
                      </a:lnTo>
                      <a:lnTo>
                        <a:pt x="264" y="157"/>
                      </a:lnTo>
                      <a:lnTo>
                        <a:pt x="264" y="157"/>
                      </a:lnTo>
                      <a:lnTo>
                        <a:pt x="264" y="156"/>
                      </a:lnTo>
                      <a:lnTo>
                        <a:pt x="264" y="157"/>
                      </a:lnTo>
                      <a:lnTo>
                        <a:pt x="265" y="157"/>
                      </a:lnTo>
                      <a:lnTo>
                        <a:pt x="264" y="157"/>
                      </a:lnTo>
                      <a:lnTo>
                        <a:pt x="264" y="156"/>
                      </a:lnTo>
                      <a:close/>
                      <a:moveTo>
                        <a:pt x="264" y="156"/>
                      </a:moveTo>
                      <a:lnTo>
                        <a:pt x="264" y="156"/>
                      </a:lnTo>
                      <a:lnTo>
                        <a:pt x="264" y="156"/>
                      </a:lnTo>
                      <a:lnTo>
                        <a:pt x="264" y="156"/>
                      </a:lnTo>
                      <a:lnTo>
                        <a:pt x="264" y="156"/>
                      </a:lnTo>
                      <a:lnTo>
                        <a:pt x="264" y="156"/>
                      </a:lnTo>
                      <a:lnTo>
                        <a:pt x="264" y="156"/>
                      </a:lnTo>
                      <a:lnTo>
                        <a:pt x="264" y="156"/>
                      </a:lnTo>
                      <a:lnTo>
                        <a:pt x="264" y="156"/>
                      </a:lnTo>
                      <a:lnTo>
                        <a:pt x="264" y="156"/>
                      </a:lnTo>
                      <a:lnTo>
                        <a:pt x="264" y="156"/>
                      </a:lnTo>
                      <a:lnTo>
                        <a:pt x="264" y="157"/>
                      </a:lnTo>
                      <a:lnTo>
                        <a:pt x="264" y="156"/>
                      </a:lnTo>
                      <a:lnTo>
                        <a:pt x="264" y="156"/>
                      </a:lnTo>
                      <a:lnTo>
                        <a:pt x="263" y="156"/>
                      </a:lnTo>
                      <a:lnTo>
                        <a:pt x="264" y="156"/>
                      </a:lnTo>
                      <a:close/>
                      <a:moveTo>
                        <a:pt x="265" y="154"/>
                      </a:moveTo>
                      <a:lnTo>
                        <a:pt x="264" y="154"/>
                      </a:lnTo>
                      <a:lnTo>
                        <a:pt x="265" y="154"/>
                      </a:lnTo>
                      <a:lnTo>
                        <a:pt x="264" y="154"/>
                      </a:lnTo>
                      <a:lnTo>
                        <a:pt x="265" y="154"/>
                      </a:lnTo>
                      <a:close/>
                      <a:moveTo>
                        <a:pt x="264" y="153"/>
                      </a:moveTo>
                      <a:lnTo>
                        <a:pt x="264" y="153"/>
                      </a:lnTo>
                      <a:lnTo>
                        <a:pt x="264" y="153"/>
                      </a:lnTo>
                      <a:lnTo>
                        <a:pt x="264" y="153"/>
                      </a:lnTo>
                      <a:lnTo>
                        <a:pt x="264" y="154"/>
                      </a:lnTo>
                      <a:lnTo>
                        <a:pt x="264" y="154"/>
                      </a:lnTo>
                      <a:lnTo>
                        <a:pt x="264" y="153"/>
                      </a:lnTo>
                      <a:lnTo>
                        <a:pt x="263" y="153"/>
                      </a:lnTo>
                      <a:lnTo>
                        <a:pt x="264" y="153"/>
                      </a:lnTo>
                      <a:lnTo>
                        <a:pt x="264" y="153"/>
                      </a:lnTo>
                      <a:lnTo>
                        <a:pt x="264" y="153"/>
                      </a:lnTo>
                      <a:lnTo>
                        <a:pt x="264" y="153"/>
                      </a:lnTo>
                      <a:lnTo>
                        <a:pt x="264" y="153"/>
                      </a:lnTo>
                      <a:lnTo>
                        <a:pt x="264" y="153"/>
                      </a:lnTo>
                      <a:lnTo>
                        <a:pt x="264" y="153"/>
                      </a:lnTo>
                      <a:lnTo>
                        <a:pt x="264" y="153"/>
                      </a:lnTo>
                      <a:lnTo>
                        <a:pt x="264" y="153"/>
                      </a:lnTo>
                      <a:close/>
                      <a:moveTo>
                        <a:pt x="264" y="152"/>
                      </a:moveTo>
                      <a:lnTo>
                        <a:pt x="263" y="152"/>
                      </a:lnTo>
                      <a:lnTo>
                        <a:pt x="264" y="152"/>
                      </a:lnTo>
                      <a:close/>
                      <a:moveTo>
                        <a:pt x="263" y="152"/>
                      </a:moveTo>
                      <a:lnTo>
                        <a:pt x="263" y="152"/>
                      </a:lnTo>
                      <a:lnTo>
                        <a:pt x="263" y="152"/>
                      </a:lnTo>
                      <a:lnTo>
                        <a:pt x="263" y="152"/>
                      </a:lnTo>
                      <a:lnTo>
                        <a:pt x="263" y="152"/>
                      </a:lnTo>
                      <a:close/>
                      <a:moveTo>
                        <a:pt x="200" y="151"/>
                      </a:moveTo>
                      <a:lnTo>
                        <a:pt x="200" y="151"/>
                      </a:lnTo>
                      <a:lnTo>
                        <a:pt x="200" y="151"/>
                      </a:lnTo>
                      <a:lnTo>
                        <a:pt x="200" y="151"/>
                      </a:lnTo>
                      <a:lnTo>
                        <a:pt x="200" y="151"/>
                      </a:lnTo>
                      <a:lnTo>
                        <a:pt x="200" y="151"/>
                      </a:lnTo>
                      <a:lnTo>
                        <a:pt x="200" y="151"/>
                      </a:lnTo>
                      <a:close/>
                      <a:moveTo>
                        <a:pt x="263" y="151"/>
                      </a:moveTo>
                      <a:lnTo>
                        <a:pt x="263" y="151"/>
                      </a:lnTo>
                      <a:lnTo>
                        <a:pt x="264" y="151"/>
                      </a:lnTo>
                      <a:lnTo>
                        <a:pt x="263" y="151"/>
                      </a:lnTo>
                      <a:lnTo>
                        <a:pt x="263" y="151"/>
                      </a:lnTo>
                      <a:lnTo>
                        <a:pt x="263" y="151"/>
                      </a:lnTo>
                      <a:lnTo>
                        <a:pt x="263" y="151"/>
                      </a:lnTo>
                      <a:lnTo>
                        <a:pt x="263" y="151"/>
                      </a:lnTo>
                      <a:lnTo>
                        <a:pt x="263" y="151"/>
                      </a:lnTo>
                      <a:lnTo>
                        <a:pt x="263" y="151"/>
                      </a:lnTo>
                      <a:close/>
                      <a:moveTo>
                        <a:pt x="264" y="149"/>
                      </a:moveTo>
                      <a:lnTo>
                        <a:pt x="264" y="150"/>
                      </a:lnTo>
                      <a:lnTo>
                        <a:pt x="264" y="149"/>
                      </a:lnTo>
                      <a:lnTo>
                        <a:pt x="264" y="150"/>
                      </a:lnTo>
                      <a:lnTo>
                        <a:pt x="263" y="150"/>
                      </a:lnTo>
                      <a:lnTo>
                        <a:pt x="264" y="149"/>
                      </a:lnTo>
                      <a:lnTo>
                        <a:pt x="263" y="149"/>
                      </a:lnTo>
                      <a:lnTo>
                        <a:pt x="264" y="149"/>
                      </a:lnTo>
                      <a:close/>
                      <a:moveTo>
                        <a:pt x="263" y="148"/>
                      </a:moveTo>
                      <a:lnTo>
                        <a:pt x="264" y="149"/>
                      </a:lnTo>
                      <a:lnTo>
                        <a:pt x="263" y="149"/>
                      </a:lnTo>
                      <a:lnTo>
                        <a:pt x="263" y="148"/>
                      </a:lnTo>
                      <a:lnTo>
                        <a:pt x="264" y="148"/>
                      </a:lnTo>
                      <a:lnTo>
                        <a:pt x="263" y="148"/>
                      </a:lnTo>
                      <a:close/>
                      <a:moveTo>
                        <a:pt x="266" y="148"/>
                      </a:moveTo>
                      <a:lnTo>
                        <a:pt x="265" y="148"/>
                      </a:lnTo>
                      <a:lnTo>
                        <a:pt x="266" y="148"/>
                      </a:lnTo>
                      <a:close/>
                      <a:moveTo>
                        <a:pt x="265" y="148"/>
                      </a:moveTo>
                      <a:lnTo>
                        <a:pt x="266" y="148"/>
                      </a:lnTo>
                      <a:lnTo>
                        <a:pt x="265" y="148"/>
                      </a:lnTo>
                      <a:close/>
                      <a:moveTo>
                        <a:pt x="264" y="147"/>
                      </a:moveTo>
                      <a:lnTo>
                        <a:pt x="264" y="148"/>
                      </a:lnTo>
                      <a:lnTo>
                        <a:pt x="264" y="147"/>
                      </a:lnTo>
                      <a:lnTo>
                        <a:pt x="263" y="147"/>
                      </a:lnTo>
                      <a:lnTo>
                        <a:pt x="264" y="147"/>
                      </a:lnTo>
                      <a:lnTo>
                        <a:pt x="263" y="147"/>
                      </a:lnTo>
                      <a:lnTo>
                        <a:pt x="264" y="147"/>
                      </a:lnTo>
                      <a:close/>
                      <a:moveTo>
                        <a:pt x="263" y="147"/>
                      </a:moveTo>
                      <a:lnTo>
                        <a:pt x="263" y="147"/>
                      </a:lnTo>
                      <a:lnTo>
                        <a:pt x="263" y="146"/>
                      </a:lnTo>
                      <a:lnTo>
                        <a:pt x="263" y="146"/>
                      </a:lnTo>
                      <a:lnTo>
                        <a:pt x="263" y="147"/>
                      </a:lnTo>
                      <a:lnTo>
                        <a:pt x="263" y="148"/>
                      </a:lnTo>
                      <a:lnTo>
                        <a:pt x="264" y="148"/>
                      </a:lnTo>
                      <a:lnTo>
                        <a:pt x="263" y="148"/>
                      </a:lnTo>
                      <a:lnTo>
                        <a:pt x="263" y="148"/>
                      </a:lnTo>
                      <a:lnTo>
                        <a:pt x="263" y="149"/>
                      </a:lnTo>
                      <a:lnTo>
                        <a:pt x="263" y="148"/>
                      </a:lnTo>
                      <a:lnTo>
                        <a:pt x="263" y="149"/>
                      </a:lnTo>
                      <a:lnTo>
                        <a:pt x="263" y="149"/>
                      </a:lnTo>
                      <a:lnTo>
                        <a:pt x="263" y="150"/>
                      </a:lnTo>
                      <a:lnTo>
                        <a:pt x="263" y="150"/>
                      </a:lnTo>
                      <a:lnTo>
                        <a:pt x="263" y="149"/>
                      </a:lnTo>
                      <a:lnTo>
                        <a:pt x="262" y="149"/>
                      </a:lnTo>
                      <a:lnTo>
                        <a:pt x="262" y="149"/>
                      </a:lnTo>
                      <a:lnTo>
                        <a:pt x="261" y="149"/>
                      </a:lnTo>
                      <a:lnTo>
                        <a:pt x="261" y="148"/>
                      </a:lnTo>
                      <a:lnTo>
                        <a:pt x="262" y="148"/>
                      </a:lnTo>
                      <a:lnTo>
                        <a:pt x="261" y="148"/>
                      </a:lnTo>
                      <a:lnTo>
                        <a:pt x="262" y="148"/>
                      </a:lnTo>
                      <a:lnTo>
                        <a:pt x="261" y="148"/>
                      </a:lnTo>
                      <a:lnTo>
                        <a:pt x="262" y="148"/>
                      </a:lnTo>
                      <a:lnTo>
                        <a:pt x="261" y="148"/>
                      </a:lnTo>
                      <a:lnTo>
                        <a:pt x="261" y="148"/>
                      </a:lnTo>
                      <a:lnTo>
                        <a:pt x="261" y="147"/>
                      </a:lnTo>
                      <a:lnTo>
                        <a:pt x="260" y="147"/>
                      </a:lnTo>
                      <a:lnTo>
                        <a:pt x="261" y="147"/>
                      </a:lnTo>
                      <a:lnTo>
                        <a:pt x="261" y="147"/>
                      </a:lnTo>
                      <a:lnTo>
                        <a:pt x="262" y="147"/>
                      </a:lnTo>
                      <a:lnTo>
                        <a:pt x="261" y="147"/>
                      </a:lnTo>
                      <a:lnTo>
                        <a:pt x="262" y="147"/>
                      </a:lnTo>
                      <a:lnTo>
                        <a:pt x="261" y="146"/>
                      </a:lnTo>
                      <a:lnTo>
                        <a:pt x="262" y="146"/>
                      </a:lnTo>
                      <a:lnTo>
                        <a:pt x="261" y="146"/>
                      </a:lnTo>
                      <a:lnTo>
                        <a:pt x="262" y="146"/>
                      </a:lnTo>
                      <a:lnTo>
                        <a:pt x="261" y="146"/>
                      </a:lnTo>
                      <a:lnTo>
                        <a:pt x="261" y="146"/>
                      </a:lnTo>
                      <a:lnTo>
                        <a:pt x="262" y="146"/>
                      </a:lnTo>
                      <a:lnTo>
                        <a:pt x="262" y="146"/>
                      </a:lnTo>
                      <a:lnTo>
                        <a:pt x="263" y="146"/>
                      </a:lnTo>
                      <a:lnTo>
                        <a:pt x="263" y="147"/>
                      </a:lnTo>
                      <a:lnTo>
                        <a:pt x="263" y="147"/>
                      </a:lnTo>
                      <a:close/>
                      <a:moveTo>
                        <a:pt x="262" y="146"/>
                      </a:moveTo>
                      <a:lnTo>
                        <a:pt x="262" y="146"/>
                      </a:lnTo>
                      <a:lnTo>
                        <a:pt x="262" y="146"/>
                      </a:lnTo>
                      <a:close/>
                      <a:moveTo>
                        <a:pt x="259" y="146"/>
                      </a:moveTo>
                      <a:lnTo>
                        <a:pt x="259" y="145"/>
                      </a:lnTo>
                      <a:lnTo>
                        <a:pt x="259" y="146"/>
                      </a:lnTo>
                      <a:lnTo>
                        <a:pt x="259" y="145"/>
                      </a:lnTo>
                      <a:lnTo>
                        <a:pt x="259" y="146"/>
                      </a:lnTo>
                      <a:close/>
                      <a:moveTo>
                        <a:pt x="259" y="146"/>
                      </a:moveTo>
                      <a:lnTo>
                        <a:pt x="259" y="145"/>
                      </a:lnTo>
                      <a:lnTo>
                        <a:pt x="259" y="146"/>
                      </a:lnTo>
                      <a:close/>
                      <a:moveTo>
                        <a:pt x="262" y="145"/>
                      </a:moveTo>
                      <a:lnTo>
                        <a:pt x="261" y="145"/>
                      </a:lnTo>
                      <a:lnTo>
                        <a:pt x="262" y="145"/>
                      </a:lnTo>
                      <a:close/>
                      <a:moveTo>
                        <a:pt x="259" y="145"/>
                      </a:moveTo>
                      <a:lnTo>
                        <a:pt x="259" y="145"/>
                      </a:lnTo>
                      <a:lnTo>
                        <a:pt x="259" y="145"/>
                      </a:lnTo>
                      <a:close/>
                      <a:moveTo>
                        <a:pt x="259" y="145"/>
                      </a:moveTo>
                      <a:lnTo>
                        <a:pt x="259" y="145"/>
                      </a:lnTo>
                      <a:lnTo>
                        <a:pt x="259" y="145"/>
                      </a:lnTo>
                      <a:close/>
                      <a:moveTo>
                        <a:pt x="262" y="145"/>
                      </a:moveTo>
                      <a:lnTo>
                        <a:pt x="261" y="145"/>
                      </a:lnTo>
                      <a:lnTo>
                        <a:pt x="261" y="145"/>
                      </a:lnTo>
                      <a:lnTo>
                        <a:pt x="261" y="145"/>
                      </a:lnTo>
                      <a:lnTo>
                        <a:pt x="261" y="145"/>
                      </a:lnTo>
                      <a:lnTo>
                        <a:pt x="261" y="145"/>
                      </a:lnTo>
                      <a:lnTo>
                        <a:pt x="262" y="145"/>
                      </a:lnTo>
                      <a:lnTo>
                        <a:pt x="262" y="145"/>
                      </a:lnTo>
                      <a:close/>
                      <a:moveTo>
                        <a:pt x="262" y="143"/>
                      </a:moveTo>
                      <a:lnTo>
                        <a:pt x="262" y="144"/>
                      </a:lnTo>
                      <a:lnTo>
                        <a:pt x="262" y="143"/>
                      </a:lnTo>
                      <a:close/>
                      <a:moveTo>
                        <a:pt x="262" y="143"/>
                      </a:moveTo>
                      <a:lnTo>
                        <a:pt x="262" y="144"/>
                      </a:lnTo>
                      <a:lnTo>
                        <a:pt x="261" y="144"/>
                      </a:lnTo>
                      <a:lnTo>
                        <a:pt x="261" y="144"/>
                      </a:lnTo>
                      <a:lnTo>
                        <a:pt x="261" y="144"/>
                      </a:lnTo>
                      <a:lnTo>
                        <a:pt x="262" y="144"/>
                      </a:lnTo>
                      <a:lnTo>
                        <a:pt x="262" y="143"/>
                      </a:lnTo>
                      <a:close/>
                      <a:moveTo>
                        <a:pt x="261" y="141"/>
                      </a:moveTo>
                      <a:lnTo>
                        <a:pt x="260" y="141"/>
                      </a:lnTo>
                      <a:lnTo>
                        <a:pt x="261" y="141"/>
                      </a:lnTo>
                      <a:close/>
                      <a:moveTo>
                        <a:pt x="261" y="141"/>
                      </a:moveTo>
                      <a:lnTo>
                        <a:pt x="261" y="142"/>
                      </a:lnTo>
                      <a:lnTo>
                        <a:pt x="261" y="141"/>
                      </a:lnTo>
                      <a:lnTo>
                        <a:pt x="260" y="141"/>
                      </a:lnTo>
                      <a:lnTo>
                        <a:pt x="261" y="141"/>
                      </a:lnTo>
                      <a:lnTo>
                        <a:pt x="260" y="141"/>
                      </a:lnTo>
                      <a:lnTo>
                        <a:pt x="261" y="141"/>
                      </a:lnTo>
                      <a:close/>
                      <a:moveTo>
                        <a:pt x="260" y="141"/>
                      </a:moveTo>
                      <a:lnTo>
                        <a:pt x="261" y="141"/>
                      </a:lnTo>
                      <a:lnTo>
                        <a:pt x="260" y="141"/>
                      </a:lnTo>
                      <a:close/>
                      <a:moveTo>
                        <a:pt x="262" y="142"/>
                      </a:moveTo>
                      <a:lnTo>
                        <a:pt x="261" y="142"/>
                      </a:lnTo>
                      <a:lnTo>
                        <a:pt x="262" y="142"/>
                      </a:lnTo>
                      <a:lnTo>
                        <a:pt x="263" y="142"/>
                      </a:lnTo>
                      <a:lnTo>
                        <a:pt x="262" y="142"/>
                      </a:lnTo>
                      <a:lnTo>
                        <a:pt x="262" y="143"/>
                      </a:lnTo>
                      <a:lnTo>
                        <a:pt x="261" y="143"/>
                      </a:lnTo>
                      <a:lnTo>
                        <a:pt x="261" y="144"/>
                      </a:lnTo>
                      <a:lnTo>
                        <a:pt x="261" y="144"/>
                      </a:lnTo>
                      <a:lnTo>
                        <a:pt x="261" y="144"/>
                      </a:lnTo>
                      <a:lnTo>
                        <a:pt x="261" y="144"/>
                      </a:lnTo>
                      <a:lnTo>
                        <a:pt x="260" y="144"/>
                      </a:lnTo>
                      <a:lnTo>
                        <a:pt x="260" y="144"/>
                      </a:lnTo>
                      <a:lnTo>
                        <a:pt x="260" y="144"/>
                      </a:lnTo>
                      <a:lnTo>
                        <a:pt x="260" y="143"/>
                      </a:lnTo>
                      <a:lnTo>
                        <a:pt x="260" y="142"/>
                      </a:lnTo>
                      <a:lnTo>
                        <a:pt x="259" y="142"/>
                      </a:lnTo>
                      <a:lnTo>
                        <a:pt x="259" y="142"/>
                      </a:lnTo>
                      <a:lnTo>
                        <a:pt x="260" y="142"/>
                      </a:lnTo>
                      <a:lnTo>
                        <a:pt x="260" y="141"/>
                      </a:lnTo>
                      <a:lnTo>
                        <a:pt x="260" y="141"/>
                      </a:lnTo>
                      <a:lnTo>
                        <a:pt x="260" y="141"/>
                      </a:lnTo>
                      <a:lnTo>
                        <a:pt x="261" y="141"/>
                      </a:lnTo>
                      <a:lnTo>
                        <a:pt x="261" y="141"/>
                      </a:lnTo>
                      <a:lnTo>
                        <a:pt x="261" y="141"/>
                      </a:lnTo>
                      <a:lnTo>
                        <a:pt x="260" y="141"/>
                      </a:lnTo>
                      <a:lnTo>
                        <a:pt x="261" y="141"/>
                      </a:lnTo>
                      <a:lnTo>
                        <a:pt x="260" y="141"/>
                      </a:lnTo>
                      <a:lnTo>
                        <a:pt x="260" y="142"/>
                      </a:lnTo>
                      <a:lnTo>
                        <a:pt x="260" y="141"/>
                      </a:lnTo>
                      <a:lnTo>
                        <a:pt x="260" y="142"/>
                      </a:lnTo>
                      <a:lnTo>
                        <a:pt x="261" y="142"/>
                      </a:lnTo>
                      <a:lnTo>
                        <a:pt x="261" y="141"/>
                      </a:lnTo>
                      <a:lnTo>
                        <a:pt x="261" y="142"/>
                      </a:lnTo>
                      <a:lnTo>
                        <a:pt x="261" y="141"/>
                      </a:lnTo>
                      <a:lnTo>
                        <a:pt x="261" y="142"/>
                      </a:lnTo>
                      <a:lnTo>
                        <a:pt x="261" y="141"/>
                      </a:lnTo>
                      <a:lnTo>
                        <a:pt x="261" y="142"/>
                      </a:lnTo>
                      <a:lnTo>
                        <a:pt x="261" y="141"/>
                      </a:lnTo>
                      <a:lnTo>
                        <a:pt x="261" y="141"/>
                      </a:lnTo>
                      <a:lnTo>
                        <a:pt x="261" y="141"/>
                      </a:lnTo>
                      <a:lnTo>
                        <a:pt x="261" y="141"/>
                      </a:lnTo>
                      <a:lnTo>
                        <a:pt x="261" y="141"/>
                      </a:lnTo>
                      <a:lnTo>
                        <a:pt x="261" y="141"/>
                      </a:lnTo>
                      <a:lnTo>
                        <a:pt x="261" y="141"/>
                      </a:lnTo>
                      <a:lnTo>
                        <a:pt x="261" y="141"/>
                      </a:lnTo>
                      <a:lnTo>
                        <a:pt x="261" y="142"/>
                      </a:lnTo>
                      <a:lnTo>
                        <a:pt x="261" y="142"/>
                      </a:lnTo>
                      <a:lnTo>
                        <a:pt x="262" y="142"/>
                      </a:lnTo>
                      <a:close/>
                      <a:moveTo>
                        <a:pt x="260" y="142"/>
                      </a:moveTo>
                      <a:lnTo>
                        <a:pt x="260" y="142"/>
                      </a:lnTo>
                      <a:lnTo>
                        <a:pt x="260" y="142"/>
                      </a:lnTo>
                      <a:lnTo>
                        <a:pt x="260" y="142"/>
                      </a:lnTo>
                      <a:lnTo>
                        <a:pt x="260" y="142"/>
                      </a:lnTo>
                      <a:close/>
                      <a:moveTo>
                        <a:pt x="267" y="140"/>
                      </a:moveTo>
                      <a:lnTo>
                        <a:pt x="267" y="139"/>
                      </a:lnTo>
                      <a:lnTo>
                        <a:pt x="267" y="140"/>
                      </a:lnTo>
                      <a:lnTo>
                        <a:pt x="267" y="139"/>
                      </a:lnTo>
                      <a:lnTo>
                        <a:pt x="267" y="139"/>
                      </a:lnTo>
                      <a:lnTo>
                        <a:pt x="268" y="140"/>
                      </a:lnTo>
                      <a:lnTo>
                        <a:pt x="267" y="140"/>
                      </a:lnTo>
                      <a:close/>
                      <a:moveTo>
                        <a:pt x="270" y="137"/>
                      </a:moveTo>
                      <a:lnTo>
                        <a:pt x="270" y="138"/>
                      </a:lnTo>
                      <a:lnTo>
                        <a:pt x="270" y="137"/>
                      </a:lnTo>
                      <a:lnTo>
                        <a:pt x="270" y="138"/>
                      </a:lnTo>
                      <a:lnTo>
                        <a:pt x="270" y="137"/>
                      </a:lnTo>
                      <a:lnTo>
                        <a:pt x="270" y="138"/>
                      </a:lnTo>
                      <a:lnTo>
                        <a:pt x="270" y="137"/>
                      </a:lnTo>
                      <a:lnTo>
                        <a:pt x="270" y="137"/>
                      </a:lnTo>
                      <a:lnTo>
                        <a:pt x="270" y="137"/>
                      </a:lnTo>
                      <a:lnTo>
                        <a:pt x="270" y="137"/>
                      </a:lnTo>
                      <a:lnTo>
                        <a:pt x="270" y="137"/>
                      </a:lnTo>
                      <a:lnTo>
                        <a:pt x="270" y="137"/>
                      </a:lnTo>
                      <a:lnTo>
                        <a:pt x="270" y="138"/>
                      </a:lnTo>
                      <a:lnTo>
                        <a:pt x="270" y="138"/>
                      </a:lnTo>
                      <a:lnTo>
                        <a:pt x="269" y="138"/>
                      </a:lnTo>
                      <a:lnTo>
                        <a:pt x="268" y="138"/>
                      </a:lnTo>
                      <a:lnTo>
                        <a:pt x="269" y="138"/>
                      </a:lnTo>
                      <a:lnTo>
                        <a:pt x="270" y="138"/>
                      </a:lnTo>
                      <a:lnTo>
                        <a:pt x="270" y="138"/>
                      </a:lnTo>
                      <a:lnTo>
                        <a:pt x="270" y="137"/>
                      </a:lnTo>
                      <a:lnTo>
                        <a:pt x="270" y="137"/>
                      </a:lnTo>
                      <a:lnTo>
                        <a:pt x="271" y="137"/>
                      </a:lnTo>
                      <a:lnTo>
                        <a:pt x="270" y="137"/>
                      </a:lnTo>
                      <a:lnTo>
                        <a:pt x="270" y="138"/>
                      </a:lnTo>
                      <a:lnTo>
                        <a:pt x="270" y="138"/>
                      </a:lnTo>
                      <a:lnTo>
                        <a:pt x="270" y="138"/>
                      </a:lnTo>
                      <a:lnTo>
                        <a:pt x="270" y="138"/>
                      </a:lnTo>
                      <a:lnTo>
                        <a:pt x="270" y="138"/>
                      </a:lnTo>
                      <a:lnTo>
                        <a:pt x="270" y="138"/>
                      </a:lnTo>
                      <a:lnTo>
                        <a:pt x="269" y="138"/>
                      </a:lnTo>
                      <a:lnTo>
                        <a:pt x="269" y="138"/>
                      </a:lnTo>
                      <a:lnTo>
                        <a:pt x="269" y="138"/>
                      </a:lnTo>
                      <a:lnTo>
                        <a:pt x="270" y="138"/>
                      </a:lnTo>
                      <a:lnTo>
                        <a:pt x="270" y="138"/>
                      </a:lnTo>
                      <a:lnTo>
                        <a:pt x="270" y="138"/>
                      </a:lnTo>
                      <a:lnTo>
                        <a:pt x="269" y="138"/>
                      </a:lnTo>
                      <a:lnTo>
                        <a:pt x="269" y="139"/>
                      </a:lnTo>
                      <a:lnTo>
                        <a:pt x="269" y="138"/>
                      </a:lnTo>
                      <a:lnTo>
                        <a:pt x="269" y="139"/>
                      </a:lnTo>
                      <a:lnTo>
                        <a:pt x="268" y="139"/>
                      </a:lnTo>
                      <a:lnTo>
                        <a:pt x="268" y="139"/>
                      </a:lnTo>
                      <a:lnTo>
                        <a:pt x="268" y="139"/>
                      </a:lnTo>
                      <a:lnTo>
                        <a:pt x="268" y="140"/>
                      </a:lnTo>
                      <a:lnTo>
                        <a:pt x="268" y="140"/>
                      </a:lnTo>
                      <a:lnTo>
                        <a:pt x="267" y="139"/>
                      </a:lnTo>
                      <a:lnTo>
                        <a:pt x="267" y="139"/>
                      </a:lnTo>
                      <a:lnTo>
                        <a:pt x="266" y="139"/>
                      </a:lnTo>
                      <a:lnTo>
                        <a:pt x="266" y="138"/>
                      </a:lnTo>
                      <a:lnTo>
                        <a:pt x="267" y="138"/>
                      </a:lnTo>
                      <a:lnTo>
                        <a:pt x="267" y="138"/>
                      </a:lnTo>
                      <a:lnTo>
                        <a:pt x="267" y="138"/>
                      </a:lnTo>
                      <a:lnTo>
                        <a:pt x="266" y="138"/>
                      </a:lnTo>
                      <a:lnTo>
                        <a:pt x="266" y="139"/>
                      </a:lnTo>
                      <a:lnTo>
                        <a:pt x="266" y="139"/>
                      </a:lnTo>
                      <a:lnTo>
                        <a:pt x="265" y="139"/>
                      </a:lnTo>
                      <a:lnTo>
                        <a:pt x="265" y="138"/>
                      </a:lnTo>
                      <a:lnTo>
                        <a:pt x="266" y="138"/>
                      </a:lnTo>
                      <a:lnTo>
                        <a:pt x="266" y="138"/>
                      </a:lnTo>
                      <a:lnTo>
                        <a:pt x="267" y="138"/>
                      </a:lnTo>
                      <a:lnTo>
                        <a:pt x="266" y="138"/>
                      </a:lnTo>
                      <a:lnTo>
                        <a:pt x="267" y="138"/>
                      </a:lnTo>
                      <a:lnTo>
                        <a:pt x="267" y="138"/>
                      </a:lnTo>
                      <a:lnTo>
                        <a:pt x="267" y="138"/>
                      </a:lnTo>
                      <a:lnTo>
                        <a:pt x="268" y="138"/>
                      </a:lnTo>
                      <a:lnTo>
                        <a:pt x="268" y="138"/>
                      </a:lnTo>
                      <a:lnTo>
                        <a:pt x="268" y="137"/>
                      </a:lnTo>
                      <a:lnTo>
                        <a:pt x="269" y="137"/>
                      </a:lnTo>
                      <a:lnTo>
                        <a:pt x="269" y="138"/>
                      </a:lnTo>
                      <a:lnTo>
                        <a:pt x="268" y="138"/>
                      </a:lnTo>
                      <a:lnTo>
                        <a:pt x="269" y="138"/>
                      </a:lnTo>
                      <a:lnTo>
                        <a:pt x="268" y="138"/>
                      </a:lnTo>
                      <a:lnTo>
                        <a:pt x="268" y="138"/>
                      </a:lnTo>
                      <a:lnTo>
                        <a:pt x="268" y="138"/>
                      </a:lnTo>
                      <a:lnTo>
                        <a:pt x="268" y="138"/>
                      </a:lnTo>
                      <a:lnTo>
                        <a:pt x="268" y="138"/>
                      </a:lnTo>
                      <a:lnTo>
                        <a:pt x="268" y="138"/>
                      </a:lnTo>
                      <a:lnTo>
                        <a:pt x="268" y="138"/>
                      </a:lnTo>
                      <a:lnTo>
                        <a:pt x="268" y="138"/>
                      </a:lnTo>
                      <a:lnTo>
                        <a:pt x="268" y="138"/>
                      </a:lnTo>
                      <a:lnTo>
                        <a:pt x="269" y="138"/>
                      </a:lnTo>
                      <a:lnTo>
                        <a:pt x="269" y="137"/>
                      </a:lnTo>
                      <a:lnTo>
                        <a:pt x="270" y="137"/>
                      </a:lnTo>
                      <a:lnTo>
                        <a:pt x="270" y="137"/>
                      </a:lnTo>
                      <a:lnTo>
                        <a:pt x="270" y="137"/>
                      </a:lnTo>
                      <a:lnTo>
                        <a:pt x="270" y="136"/>
                      </a:lnTo>
                      <a:lnTo>
                        <a:pt x="271" y="136"/>
                      </a:lnTo>
                      <a:lnTo>
                        <a:pt x="270" y="136"/>
                      </a:lnTo>
                      <a:lnTo>
                        <a:pt x="270" y="137"/>
                      </a:lnTo>
                      <a:lnTo>
                        <a:pt x="271" y="137"/>
                      </a:lnTo>
                      <a:lnTo>
                        <a:pt x="270" y="137"/>
                      </a:lnTo>
                      <a:lnTo>
                        <a:pt x="271" y="137"/>
                      </a:lnTo>
                      <a:lnTo>
                        <a:pt x="270" y="137"/>
                      </a:lnTo>
                      <a:lnTo>
                        <a:pt x="270" y="137"/>
                      </a:lnTo>
                      <a:lnTo>
                        <a:pt x="270" y="137"/>
                      </a:lnTo>
                      <a:close/>
                      <a:moveTo>
                        <a:pt x="269" y="138"/>
                      </a:moveTo>
                      <a:lnTo>
                        <a:pt x="268" y="138"/>
                      </a:lnTo>
                      <a:lnTo>
                        <a:pt x="269" y="138"/>
                      </a:lnTo>
                      <a:lnTo>
                        <a:pt x="269" y="138"/>
                      </a:lnTo>
                      <a:lnTo>
                        <a:pt x="269" y="138"/>
                      </a:lnTo>
                      <a:close/>
                      <a:moveTo>
                        <a:pt x="267" y="138"/>
                      </a:moveTo>
                      <a:lnTo>
                        <a:pt x="267" y="138"/>
                      </a:lnTo>
                      <a:lnTo>
                        <a:pt x="267" y="138"/>
                      </a:lnTo>
                      <a:lnTo>
                        <a:pt x="267" y="138"/>
                      </a:lnTo>
                      <a:close/>
                      <a:moveTo>
                        <a:pt x="268" y="138"/>
                      </a:moveTo>
                      <a:lnTo>
                        <a:pt x="267" y="138"/>
                      </a:lnTo>
                      <a:lnTo>
                        <a:pt x="268" y="138"/>
                      </a:lnTo>
                      <a:close/>
                      <a:moveTo>
                        <a:pt x="274" y="136"/>
                      </a:moveTo>
                      <a:lnTo>
                        <a:pt x="274" y="136"/>
                      </a:lnTo>
                      <a:lnTo>
                        <a:pt x="273" y="136"/>
                      </a:lnTo>
                      <a:lnTo>
                        <a:pt x="274" y="136"/>
                      </a:lnTo>
                      <a:lnTo>
                        <a:pt x="274" y="136"/>
                      </a:lnTo>
                      <a:lnTo>
                        <a:pt x="274" y="136"/>
                      </a:lnTo>
                      <a:lnTo>
                        <a:pt x="273" y="136"/>
                      </a:lnTo>
                      <a:lnTo>
                        <a:pt x="273" y="137"/>
                      </a:lnTo>
                      <a:lnTo>
                        <a:pt x="274" y="137"/>
                      </a:lnTo>
                      <a:lnTo>
                        <a:pt x="274" y="136"/>
                      </a:lnTo>
                      <a:lnTo>
                        <a:pt x="274" y="137"/>
                      </a:lnTo>
                      <a:lnTo>
                        <a:pt x="274" y="136"/>
                      </a:lnTo>
                      <a:lnTo>
                        <a:pt x="274" y="136"/>
                      </a:lnTo>
                      <a:lnTo>
                        <a:pt x="274" y="137"/>
                      </a:lnTo>
                      <a:lnTo>
                        <a:pt x="274" y="137"/>
                      </a:lnTo>
                      <a:lnTo>
                        <a:pt x="273" y="137"/>
                      </a:lnTo>
                      <a:lnTo>
                        <a:pt x="274" y="137"/>
                      </a:lnTo>
                      <a:lnTo>
                        <a:pt x="273" y="137"/>
                      </a:lnTo>
                      <a:lnTo>
                        <a:pt x="273" y="137"/>
                      </a:lnTo>
                      <a:lnTo>
                        <a:pt x="272" y="137"/>
                      </a:lnTo>
                      <a:lnTo>
                        <a:pt x="272" y="138"/>
                      </a:lnTo>
                      <a:lnTo>
                        <a:pt x="272" y="138"/>
                      </a:lnTo>
                      <a:lnTo>
                        <a:pt x="271" y="138"/>
                      </a:lnTo>
                      <a:lnTo>
                        <a:pt x="271" y="138"/>
                      </a:lnTo>
                      <a:lnTo>
                        <a:pt x="271" y="137"/>
                      </a:lnTo>
                      <a:lnTo>
                        <a:pt x="271" y="137"/>
                      </a:lnTo>
                      <a:lnTo>
                        <a:pt x="271" y="137"/>
                      </a:lnTo>
                      <a:lnTo>
                        <a:pt x="272" y="136"/>
                      </a:lnTo>
                      <a:lnTo>
                        <a:pt x="272" y="136"/>
                      </a:lnTo>
                      <a:lnTo>
                        <a:pt x="273" y="136"/>
                      </a:lnTo>
                      <a:lnTo>
                        <a:pt x="274" y="136"/>
                      </a:lnTo>
                      <a:lnTo>
                        <a:pt x="274" y="136"/>
                      </a:lnTo>
                      <a:close/>
                      <a:moveTo>
                        <a:pt x="274" y="133"/>
                      </a:moveTo>
                      <a:lnTo>
                        <a:pt x="274" y="133"/>
                      </a:lnTo>
                      <a:lnTo>
                        <a:pt x="274" y="133"/>
                      </a:lnTo>
                      <a:close/>
                      <a:moveTo>
                        <a:pt x="278" y="131"/>
                      </a:moveTo>
                      <a:lnTo>
                        <a:pt x="278" y="131"/>
                      </a:lnTo>
                      <a:lnTo>
                        <a:pt x="278" y="131"/>
                      </a:lnTo>
                      <a:lnTo>
                        <a:pt x="278" y="132"/>
                      </a:lnTo>
                      <a:lnTo>
                        <a:pt x="278" y="133"/>
                      </a:lnTo>
                      <a:lnTo>
                        <a:pt x="277" y="132"/>
                      </a:lnTo>
                      <a:lnTo>
                        <a:pt x="277" y="131"/>
                      </a:lnTo>
                      <a:lnTo>
                        <a:pt x="277" y="132"/>
                      </a:lnTo>
                      <a:lnTo>
                        <a:pt x="278" y="131"/>
                      </a:lnTo>
                      <a:lnTo>
                        <a:pt x="278" y="132"/>
                      </a:lnTo>
                      <a:lnTo>
                        <a:pt x="277" y="132"/>
                      </a:lnTo>
                      <a:lnTo>
                        <a:pt x="278" y="132"/>
                      </a:lnTo>
                      <a:lnTo>
                        <a:pt x="278" y="131"/>
                      </a:lnTo>
                      <a:lnTo>
                        <a:pt x="278" y="131"/>
                      </a:lnTo>
                      <a:close/>
                      <a:moveTo>
                        <a:pt x="278" y="131"/>
                      </a:moveTo>
                      <a:lnTo>
                        <a:pt x="278" y="132"/>
                      </a:lnTo>
                      <a:lnTo>
                        <a:pt x="278" y="131"/>
                      </a:lnTo>
                      <a:close/>
                      <a:moveTo>
                        <a:pt x="277" y="133"/>
                      </a:moveTo>
                      <a:lnTo>
                        <a:pt x="278" y="133"/>
                      </a:lnTo>
                      <a:lnTo>
                        <a:pt x="278" y="133"/>
                      </a:lnTo>
                      <a:lnTo>
                        <a:pt x="278" y="133"/>
                      </a:lnTo>
                      <a:lnTo>
                        <a:pt x="278" y="133"/>
                      </a:lnTo>
                      <a:lnTo>
                        <a:pt x="277" y="134"/>
                      </a:lnTo>
                      <a:lnTo>
                        <a:pt x="276" y="134"/>
                      </a:lnTo>
                      <a:lnTo>
                        <a:pt x="276" y="134"/>
                      </a:lnTo>
                      <a:lnTo>
                        <a:pt x="276" y="134"/>
                      </a:lnTo>
                      <a:lnTo>
                        <a:pt x="275" y="134"/>
                      </a:lnTo>
                      <a:lnTo>
                        <a:pt x="275" y="135"/>
                      </a:lnTo>
                      <a:lnTo>
                        <a:pt x="275" y="134"/>
                      </a:lnTo>
                      <a:lnTo>
                        <a:pt x="276" y="134"/>
                      </a:lnTo>
                      <a:lnTo>
                        <a:pt x="275" y="134"/>
                      </a:lnTo>
                      <a:lnTo>
                        <a:pt x="275" y="135"/>
                      </a:lnTo>
                      <a:lnTo>
                        <a:pt x="275" y="134"/>
                      </a:lnTo>
                      <a:lnTo>
                        <a:pt x="275" y="135"/>
                      </a:lnTo>
                      <a:lnTo>
                        <a:pt x="275" y="134"/>
                      </a:lnTo>
                      <a:lnTo>
                        <a:pt x="275" y="135"/>
                      </a:lnTo>
                      <a:lnTo>
                        <a:pt x="275" y="134"/>
                      </a:lnTo>
                      <a:lnTo>
                        <a:pt x="275" y="134"/>
                      </a:lnTo>
                      <a:lnTo>
                        <a:pt x="275" y="134"/>
                      </a:lnTo>
                      <a:lnTo>
                        <a:pt x="275" y="133"/>
                      </a:lnTo>
                      <a:lnTo>
                        <a:pt x="276" y="133"/>
                      </a:lnTo>
                      <a:lnTo>
                        <a:pt x="276" y="133"/>
                      </a:lnTo>
                      <a:lnTo>
                        <a:pt x="276" y="132"/>
                      </a:lnTo>
                      <a:lnTo>
                        <a:pt x="276" y="133"/>
                      </a:lnTo>
                      <a:lnTo>
                        <a:pt x="276" y="133"/>
                      </a:lnTo>
                      <a:lnTo>
                        <a:pt x="275" y="133"/>
                      </a:lnTo>
                      <a:lnTo>
                        <a:pt x="275" y="134"/>
                      </a:lnTo>
                      <a:lnTo>
                        <a:pt x="275" y="134"/>
                      </a:lnTo>
                      <a:lnTo>
                        <a:pt x="275" y="134"/>
                      </a:lnTo>
                      <a:lnTo>
                        <a:pt x="275" y="135"/>
                      </a:lnTo>
                      <a:lnTo>
                        <a:pt x="275" y="134"/>
                      </a:lnTo>
                      <a:lnTo>
                        <a:pt x="275" y="135"/>
                      </a:lnTo>
                      <a:lnTo>
                        <a:pt x="274" y="135"/>
                      </a:lnTo>
                      <a:lnTo>
                        <a:pt x="274" y="135"/>
                      </a:lnTo>
                      <a:lnTo>
                        <a:pt x="273" y="136"/>
                      </a:lnTo>
                      <a:lnTo>
                        <a:pt x="272" y="136"/>
                      </a:lnTo>
                      <a:lnTo>
                        <a:pt x="272" y="136"/>
                      </a:lnTo>
                      <a:lnTo>
                        <a:pt x="271" y="136"/>
                      </a:lnTo>
                      <a:lnTo>
                        <a:pt x="272" y="136"/>
                      </a:lnTo>
                      <a:lnTo>
                        <a:pt x="272" y="136"/>
                      </a:lnTo>
                      <a:lnTo>
                        <a:pt x="272" y="136"/>
                      </a:lnTo>
                      <a:lnTo>
                        <a:pt x="271" y="136"/>
                      </a:lnTo>
                      <a:lnTo>
                        <a:pt x="271" y="137"/>
                      </a:lnTo>
                      <a:lnTo>
                        <a:pt x="271" y="136"/>
                      </a:lnTo>
                      <a:lnTo>
                        <a:pt x="271" y="137"/>
                      </a:lnTo>
                      <a:lnTo>
                        <a:pt x="271" y="137"/>
                      </a:lnTo>
                      <a:lnTo>
                        <a:pt x="271" y="136"/>
                      </a:lnTo>
                      <a:lnTo>
                        <a:pt x="271" y="136"/>
                      </a:lnTo>
                      <a:lnTo>
                        <a:pt x="271" y="135"/>
                      </a:lnTo>
                      <a:lnTo>
                        <a:pt x="272" y="135"/>
                      </a:lnTo>
                      <a:lnTo>
                        <a:pt x="271" y="135"/>
                      </a:lnTo>
                      <a:lnTo>
                        <a:pt x="272" y="135"/>
                      </a:lnTo>
                      <a:lnTo>
                        <a:pt x="272" y="135"/>
                      </a:lnTo>
                      <a:lnTo>
                        <a:pt x="272" y="135"/>
                      </a:lnTo>
                      <a:lnTo>
                        <a:pt x="273" y="135"/>
                      </a:lnTo>
                      <a:lnTo>
                        <a:pt x="272" y="135"/>
                      </a:lnTo>
                      <a:lnTo>
                        <a:pt x="272" y="134"/>
                      </a:lnTo>
                      <a:lnTo>
                        <a:pt x="273" y="134"/>
                      </a:lnTo>
                      <a:lnTo>
                        <a:pt x="274" y="134"/>
                      </a:lnTo>
                      <a:lnTo>
                        <a:pt x="273" y="134"/>
                      </a:lnTo>
                      <a:lnTo>
                        <a:pt x="274" y="134"/>
                      </a:lnTo>
                      <a:lnTo>
                        <a:pt x="274" y="134"/>
                      </a:lnTo>
                      <a:lnTo>
                        <a:pt x="274" y="133"/>
                      </a:lnTo>
                      <a:lnTo>
                        <a:pt x="274" y="133"/>
                      </a:lnTo>
                      <a:lnTo>
                        <a:pt x="274" y="133"/>
                      </a:lnTo>
                      <a:lnTo>
                        <a:pt x="274" y="133"/>
                      </a:lnTo>
                      <a:lnTo>
                        <a:pt x="274" y="132"/>
                      </a:lnTo>
                      <a:lnTo>
                        <a:pt x="275" y="132"/>
                      </a:lnTo>
                      <a:lnTo>
                        <a:pt x="275" y="133"/>
                      </a:lnTo>
                      <a:lnTo>
                        <a:pt x="275" y="132"/>
                      </a:lnTo>
                      <a:lnTo>
                        <a:pt x="275" y="132"/>
                      </a:lnTo>
                      <a:lnTo>
                        <a:pt x="276" y="132"/>
                      </a:lnTo>
                      <a:lnTo>
                        <a:pt x="275" y="132"/>
                      </a:lnTo>
                      <a:lnTo>
                        <a:pt x="276" y="132"/>
                      </a:lnTo>
                      <a:lnTo>
                        <a:pt x="276" y="131"/>
                      </a:lnTo>
                      <a:lnTo>
                        <a:pt x="276" y="131"/>
                      </a:lnTo>
                      <a:lnTo>
                        <a:pt x="276" y="132"/>
                      </a:lnTo>
                      <a:lnTo>
                        <a:pt x="276" y="132"/>
                      </a:lnTo>
                      <a:lnTo>
                        <a:pt x="276" y="132"/>
                      </a:lnTo>
                      <a:lnTo>
                        <a:pt x="276" y="132"/>
                      </a:lnTo>
                      <a:lnTo>
                        <a:pt x="276" y="132"/>
                      </a:lnTo>
                      <a:lnTo>
                        <a:pt x="276" y="132"/>
                      </a:lnTo>
                      <a:lnTo>
                        <a:pt x="276" y="131"/>
                      </a:lnTo>
                      <a:lnTo>
                        <a:pt x="276" y="132"/>
                      </a:lnTo>
                      <a:lnTo>
                        <a:pt x="276" y="133"/>
                      </a:lnTo>
                      <a:lnTo>
                        <a:pt x="276" y="132"/>
                      </a:lnTo>
                      <a:lnTo>
                        <a:pt x="276" y="133"/>
                      </a:lnTo>
                      <a:lnTo>
                        <a:pt x="276" y="133"/>
                      </a:lnTo>
                      <a:lnTo>
                        <a:pt x="276" y="133"/>
                      </a:lnTo>
                      <a:lnTo>
                        <a:pt x="276" y="133"/>
                      </a:lnTo>
                      <a:lnTo>
                        <a:pt x="276" y="133"/>
                      </a:lnTo>
                      <a:lnTo>
                        <a:pt x="276" y="133"/>
                      </a:lnTo>
                      <a:lnTo>
                        <a:pt x="276" y="133"/>
                      </a:lnTo>
                      <a:lnTo>
                        <a:pt x="276" y="133"/>
                      </a:lnTo>
                      <a:lnTo>
                        <a:pt x="276" y="133"/>
                      </a:lnTo>
                      <a:lnTo>
                        <a:pt x="276" y="132"/>
                      </a:lnTo>
                      <a:lnTo>
                        <a:pt x="276" y="131"/>
                      </a:lnTo>
                      <a:lnTo>
                        <a:pt x="276" y="132"/>
                      </a:lnTo>
                      <a:lnTo>
                        <a:pt x="276" y="133"/>
                      </a:lnTo>
                      <a:lnTo>
                        <a:pt x="276" y="132"/>
                      </a:lnTo>
                      <a:lnTo>
                        <a:pt x="277" y="132"/>
                      </a:lnTo>
                      <a:lnTo>
                        <a:pt x="276" y="132"/>
                      </a:lnTo>
                      <a:lnTo>
                        <a:pt x="276" y="131"/>
                      </a:lnTo>
                      <a:lnTo>
                        <a:pt x="276" y="132"/>
                      </a:lnTo>
                      <a:lnTo>
                        <a:pt x="277" y="132"/>
                      </a:lnTo>
                      <a:lnTo>
                        <a:pt x="277" y="131"/>
                      </a:lnTo>
                      <a:lnTo>
                        <a:pt x="277" y="131"/>
                      </a:lnTo>
                      <a:lnTo>
                        <a:pt x="277" y="131"/>
                      </a:lnTo>
                      <a:lnTo>
                        <a:pt x="278" y="131"/>
                      </a:lnTo>
                      <a:lnTo>
                        <a:pt x="277" y="131"/>
                      </a:lnTo>
                      <a:lnTo>
                        <a:pt x="277" y="132"/>
                      </a:lnTo>
                      <a:lnTo>
                        <a:pt x="277" y="133"/>
                      </a:lnTo>
                      <a:close/>
                      <a:moveTo>
                        <a:pt x="276" y="133"/>
                      </a:moveTo>
                      <a:lnTo>
                        <a:pt x="276" y="133"/>
                      </a:lnTo>
                      <a:lnTo>
                        <a:pt x="276" y="133"/>
                      </a:lnTo>
                      <a:close/>
                      <a:moveTo>
                        <a:pt x="275" y="133"/>
                      </a:moveTo>
                      <a:lnTo>
                        <a:pt x="274" y="133"/>
                      </a:lnTo>
                      <a:lnTo>
                        <a:pt x="275" y="133"/>
                      </a:lnTo>
                      <a:lnTo>
                        <a:pt x="274" y="133"/>
                      </a:lnTo>
                      <a:lnTo>
                        <a:pt x="275" y="133"/>
                      </a:lnTo>
                      <a:lnTo>
                        <a:pt x="275" y="133"/>
                      </a:lnTo>
                      <a:lnTo>
                        <a:pt x="275" y="133"/>
                      </a:lnTo>
                      <a:close/>
                      <a:moveTo>
                        <a:pt x="274" y="133"/>
                      </a:moveTo>
                      <a:lnTo>
                        <a:pt x="275" y="133"/>
                      </a:lnTo>
                      <a:lnTo>
                        <a:pt x="274" y="133"/>
                      </a:lnTo>
                      <a:close/>
                      <a:moveTo>
                        <a:pt x="272" y="135"/>
                      </a:moveTo>
                      <a:lnTo>
                        <a:pt x="272" y="135"/>
                      </a:lnTo>
                      <a:lnTo>
                        <a:pt x="272" y="135"/>
                      </a:lnTo>
                      <a:lnTo>
                        <a:pt x="272" y="135"/>
                      </a:lnTo>
                      <a:lnTo>
                        <a:pt x="273" y="135"/>
                      </a:lnTo>
                      <a:lnTo>
                        <a:pt x="272" y="135"/>
                      </a:lnTo>
                      <a:lnTo>
                        <a:pt x="272" y="135"/>
                      </a:lnTo>
                      <a:lnTo>
                        <a:pt x="273" y="135"/>
                      </a:lnTo>
                      <a:lnTo>
                        <a:pt x="272" y="135"/>
                      </a:lnTo>
                      <a:close/>
                      <a:moveTo>
                        <a:pt x="272" y="133"/>
                      </a:moveTo>
                      <a:lnTo>
                        <a:pt x="273" y="133"/>
                      </a:lnTo>
                      <a:lnTo>
                        <a:pt x="272" y="133"/>
                      </a:lnTo>
                      <a:lnTo>
                        <a:pt x="273" y="133"/>
                      </a:lnTo>
                      <a:lnTo>
                        <a:pt x="273" y="132"/>
                      </a:lnTo>
                      <a:lnTo>
                        <a:pt x="273" y="133"/>
                      </a:lnTo>
                      <a:lnTo>
                        <a:pt x="272" y="133"/>
                      </a:lnTo>
                      <a:lnTo>
                        <a:pt x="272" y="133"/>
                      </a:lnTo>
                      <a:lnTo>
                        <a:pt x="273" y="133"/>
                      </a:lnTo>
                      <a:lnTo>
                        <a:pt x="272" y="133"/>
                      </a:lnTo>
                      <a:lnTo>
                        <a:pt x="273" y="133"/>
                      </a:lnTo>
                      <a:lnTo>
                        <a:pt x="272" y="133"/>
                      </a:lnTo>
                      <a:lnTo>
                        <a:pt x="273" y="133"/>
                      </a:lnTo>
                      <a:lnTo>
                        <a:pt x="274" y="133"/>
                      </a:lnTo>
                      <a:lnTo>
                        <a:pt x="273" y="133"/>
                      </a:lnTo>
                      <a:lnTo>
                        <a:pt x="274" y="133"/>
                      </a:lnTo>
                      <a:lnTo>
                        <a:pt x="273" y="133"/>
                      </a:lnTo>
                      <a:lnTo>
                        <a:pt x="273" y="134"/>
                      </a:lnTo>
                      <a:lnTo>
                        <a:pt x="274" y="134"/>
                      </a:lnTo>
                      <a:lnTo>
                        <a:pt x="274" y="134"/>
                      </a:lnTo>
                      <a:lnTo>
                        <a:pt x="273" y="134"/>
                      </a:lnTo>
                      <a:lnTo>
                        <a:pt x="272" y="134"/>
                      </a:lnTo>
                      <a:lnTo>
                        <a:pt x="272" y="135"/>
                      </a:lnTo>
                      <a:lnTo>
                        <a:pt x="272" y="135"/>
                      </a:lnTo>
                      <a:lnTo>
                        <a:pt x="271" y="135"/>
                      </a:lnTo>
                      <a:lnTo>
                        <a:pt x="271" y="134"/>
                      </a:lnTo>
                      <a:lnTo>
                        <a:pt x="271" y="134"/>
                      </a:lnTo>
                      <a:lnTo>
                        <a:pt x="271" y="134"/>
                      </a:lnTo>
                      <a:lnTo>
                        <a:pt x="271" y="134"/>
                      </a:lnTo>
                      <a:lnTo>
                        <a:pt x="272" y="134"/>
                      </a:lnTo>
                      <a:lnTo>
                        <a:pt x="271" y="134"/>
                      </a:lnTo>
                      <a:lnTo>
                        <a:pt x="271" y="134"/>
                      </a:lnTo>
                      <a:lnTo>
                        <a:pt x="271" y="134"/>
                      </a:lnTo>
                      <a:lnTo>
                        <a:pt x="271" y="134"/>
                      </a:lnTo>
                      <a:lnTo>
                        <a:pt x="271" y="135"/>
                      </a:lnTo>
                      <a:lnTo>
                        <a:pt x="271" y="135"/>
                      </a:lnTo>
                      <a:lnTo>
                        <a:pt x="271" y="136"/>
                      </a:lnTo>
                      <a:lnTo>
                        <a:pt x="271" y="136"/>
                      </a:lnTo>
                      <a:lnTo>
                        <a:pt x="271" y="135"/>
                      </a:lnTo>
                      <a:lnTo>
                        <a:pt x="270" y="135"/>
                      </a:lnTo>
                      <a:lnTo>
                        <a:pt x="270" y="135"/>
                      </a:lnTo>
                      <a:lnTo>
                        <a:pt x="269" y="135"/>
                      </a:lnTo>
                      <a:lnTo>
                        <a:pt x="268" y="135"/>
                      </a:lnTo>
                      <a:lnTo>
                        <a:pt x="269" y="135"/>
                      </a:lnTo>
                      <a:lnTo>
                        <a:pt x="269" y="134"/>
                      </a:lnTo>
                      <a:lnTo>
                        <a:pt x="270" y="134"/>
                      </a:lnTo>
                      <a:lnTo>
                        <a:pt x="269" y="134"/>
                      </a:lnTo>
                      <a:lnTo>
                        <a:pt x="268" y="134"/>
                      </a:lnTo>
                      <a:lnTo>
                        <a:pt x="269" y="134"/>
                      </a:lnTo>
                      <a:lnTo>
                        <a:pt x="269" y="133"/>
                      </a:lnTo>
                      <a:lnTo>
                        <a:pt x="269" y="134"/>
                      </a:lnTo>
                      <a:lnTo>
                        <a:pt x="269" y="133"/>
                      </a:lnTo>
                      <a:lnTo>
                        <a:pt x="270" y="133"/>
                      </a:lnTo>
                      <a:lnTo>
                        <a:pt x="270" y="133"/>
                      </a:lnTo>
                      <a:lnTo>
                        <a:pt x="270" y="133"/>
                      </a:lnTo>
                      <a:lnTo>
                        <a:pt x="270" y="133"/>
                      </a:lnTo>
                      <a:lnTo>
                        <a:pt x="270" y="133"/>
                      </a:lnTo>
                      <a:lnTo>
                        <a:pt x="270" y="132"/>
                      </a:lnTo>
                      <a:lnTo>
                        <a:pt x="270" y="133"/>
                      </a:lnTo>
                      <a:lnTo>
                        <a:pt x="270" y="132"/>
                      </a:lnTo>
                      <a:lnTo>
                        <a:pt x="271" y="132"/>
                      </a:lnTo>
                      <a:lnTo>
                        <a:pt x="271" y="133"/>
                      </a:lnTo>
                      <a:lnTo>
                        <a:pt x="270" y="133"/>
                      </a:lnTo>
                      <a:lnTo>
                        <a:pt x="271" y="132"/>
                      </a:lnTo>
                      <a:lnTo>
                        <a:pt x="270" y="132"/>
                      </a:lnTo>
                      <a:lnTo>
                        <a:pt x="271" y="132"/>
                      </a:lnTo>
                      <a:lnTo>
                        <a:pt x="271" y="133"/>
                      </a:lnTo>
                      <a:lnTo>
                        <a:pt x="270" y="133"/>
                      </a:lnTo>
                      <a:lnTo>
                        <a:pt x="270" y="133"/>
                      </a:lnTo>
                      <a:lnTo>
                        <a:pt x="271" y="133"/>
                      </a:lnTo>
                      <a:lnTo>
                        <a:pt x="270" y="133"/>
                      </a:lnTo>
                      <a:lnTo>
                        <a:pt x="271" y="133"/>
                      </a:lnTo>
                      <a:lnTo>
                        <a:pt x="270" y="133"/>
                      </a:lnTo>
                      <a:lnTo>
                        <a:pt x="270" y="133"/>
                      </a:lnTo>
                      <a:lnTo>
                        <a:pt x="271" y="133"/>
                      </a:lnTo>
                      <a:lnTo>
                        <a:pt x="271" y="132"/>
                      </a:lnTo>
                      <a:lnTo>
                        <a:pt x="270" y="132"/>
                      </a:lnTo>
                      <a:lnTo>
                        <a:pt x="270" y="131"/>
                      </a:lnTo>
                      <a:lnTo>
                        <a:pt x="271" y="131"/>
                      </a:lnTo>
                      <a:lnTo>
                        <a:pt x="271" y="131"/>
                      </a:lnTo>
                      <a:lnTo>
                        <a:pt x="272" y="131"/>
                      </a:lnTo>
                      <a:lnTo>
                        <a:pt x="272" y="131"/>
                      </a:lnTo>
                      <a:lnTo>
                        <a:pt x="272" y="131"/>
                      </a:lnTo>
                      <a:lnTo>
                        <a:pt x="272" y="131"/>
                      </a:lnTo>
                      <a:lnTo>
                        <a:pt x="272" y="131"/>
                      </a:lnTo>
                      <a:lnTo>
                        <a:pt x="272" y="131"/>
                      </a:lnTo>
                      <a:lnTo>
                        <a:pt x="272" y="131"/>
                      </a:lnTo>
                      <a:lnTo>
                        <a:pt x="272" y="131"/>
                      </a:lnTo>
                      <a:lnTo>
                        <a:pt x="272" y="131"/>
                      </a:lnTo>
                      <a:lnTo>
                        <a:pt x="272" y="132"/>
                      </a:lnTo>
                      <a:lnTo>
                        <a:pt x="273" y="132"/>
                      </a:lnTo>
                      <a:lnTo>
                        <a:pt x="272" y="133"/>
                      </a:lnTo>
                      <a:close/>
                      <a:moveTo>
                        <a:pt x="271" y="132"/>
                      </a:moveTo>
                      <a:lnTo>
                        <a:pt x="271" y="133"/>
                      </a:lnTo>
                      <a:lnTo>
                        <a:pt x="271" y="132"/>
                      </a:lnTo>
                      <a:close/>
                      <a:moveTo>
                        <a:pt x="271" y="132"/>
                      </a:moveTo>
                      <a:lnTo>
                        <a:pt x="271" y="133"/>
                      </a:lnTo>
                      <a:lnTo>
                        <a:pt x="271" y="132"/>
                      </a:lnTo>
                      <a:close/>
                      <a:moveTo>
                        <a:pt x="271" y="132"/>
                      </a:moveTo>
                      <a:lnTo>
                        <a:pt x="272" y="132"/>
                      </a:lnTo>
                      <a:lnTo>
                        <a:pt x="271" y="132"/>
                      </a:lnTo>
                      <a:close/>
                      <a:moveTo>
                        <a:pt x="272" y="131"/>
                      </a:moveTo>
                      <a:lnTo>
                        <a:pt x="272" y="132"/>
                      </a:lnTo>
                      <a:lnTo>
                        <a:pt x="272" y="131"/>
                      </a:lnTo>
                      <a:close/>
                      <a:moveTo>
                        <a:pt x="271" y="133"/>
                      </a:moveTo>
                      <a:lnTo>
                        <a:pt x="271" y="133"/>
                      </a:lnTo>
                      <a:lnTo>
                        <a:pt x="271" y="133"/>
                      </a:lnTo>
                      <a:close/>
                      <a:moveTo>
                        <a:pt x="271" y="134"/>
                      </a:moveTo>
                      <a:lnTo>
                        <a:pt x="271" y="134"/>
                      </a:lnTo>
                      <a:lnTo>
                        <a:pt x="271" y="134"/>
                      </a:lnTo>
                      <a:lnTo>
                        <a:pt x="271" y="133"/>
                      </a:lnTo>
                      <a:lnTo>
                        <a:pt x="271" y="133"/>
                      </a:lnTo>
                      <a:lnTo>
                        <a:pt x="271" y="133"/>
                      </a:lnTo>
                      <a:lnTo>
                        <a:pt x="271" y="134"/>
                      </a:lnTo>
                      <a:close/>
                      <a:moveTo>
                        <a:pt x="272" y="133"/>
                      </a:moveTo>
                      <a:lnTo>
                        <a:pt x="272" y="134"/>
                      </a:lnTo>
                      <a:lnTo>
                        <a:pt x="272" y="133"/>
                      </a:lnTo>
                      <a:close/>
                      <a:moveTo>
                        <a:pt x="270" y="134"/>
                      </a:moveTo>
                      <a:lnTo>
                        <a:pt x="269" y="134"/>
                      </a:lnTo>
                      <a:lnTo>
                        <a:pt x="270" y="134"/>
                      </a:lnTo>
                      <a:close/>
                      <a:moveTo>
                        <a:pt x="270" y="134"/>
                      </a:moveTo>
                      <a:lnTo>
                        <a:pt x="270" y="135"/>
                      </a:lnTo>
                      <a:lnTo>
                        <a:pt x="270" y="134"/>
                      </a:lnTo>
                      <a:lnTo>
                        <a:pt x="270" y="135"/>
                      </a:lnTo>
                      <a:lnTo>
                        <a:pt x="270" y="134"/>
                      </a:lnTo>
                      <a:lnTo>
                        <a:pt x="270" y="135"/>
                      </a:lnTo>
                      <a:lnTo>
                        <a:pt x="270" y="134"/>
                      </a:lnTo>
                      <a:close/>
                      <a:moveTo>
                        <a:pt x="270" y="135"/>
                      </a:moveTo>
                      <a:lnTo>
                        <a:pt x="270" y="135"/>
                      </a:lnTo>
                      <a:lnTo>
                        <a:pt x="270" y="135"/>
                      </a:lnTo>
                      <a:close/>
                      <a:moveTo>
                        <a:pt x="271" y="135"/>
                      </a:moveTo>
                      <a:lnTo>
                        <a:pt x="271" y="135"/>
                      </a:lnTo>
                      <a:lnTo>
                        <a:pt x="271" y="136"/>
                      </a:lnTo>
                      <a:lnTo>
                        <a:pt x="271" y="135"/>
                      </a:lnTo>
                      <a:lnTo>
                        <a:pt x="271" y="135"/>
                      </a:lnTo>
                      <a:lnTo>
                        <a:pt x="271" y="135"/>
                      </a:lnTo>
                      <a:lnTo>
                        <a:pt x="271" y="135"/>
                      </a:lnTo>
                      <a:close/>
                      <a:moveTo>
                        <a:pt x="275" y="131"/>
                      </a:moveTo>
                      <a:lnTo>
                        <a:pt x="275" y="131"/>
                      </a:lnTo>
                      <a:lnTo>
                        <a:pt x="275" y="131"/>
                      </a:lnTo>
                      <a:lnTo>
                        <a:pt x="276" y="131"/>
                      </a:lnTo>
                      <a:lnTo>
                        <a:pt x="275" y="131"/>
                      </a:lnTo>
                      <a:lnTo>
                        <a:pt x="275" y="132"/>
                      </a:lnTo>
                      <a:lnTo>
                        <a:pt x="275" y="132"/>
                      </a:lnTo>
                      <a:lnTo>
                        <a:pt x="274" y="132"/>
                      </a:lnTo>
                      <a:lnTo>
                        <a:pt x="275" y="132"/>
                      </a:lnTo>
                      <a:lnTo>
                        <a:pt x="274" y="132"/>
                      </a:lnTo>
                      <a:lnTo>
                        <a:pt x="274" y="131"/>
                      </a:lnTo>
                      <a:lnTo>
                        <a:pt x="274" y="132"/>
                      </a:lnTo>
                      <a:lnTo>
                        <a:pt x="274" y="132"/>
                      </a:lnTo>
                      <a:lnTo>
                        <a:pt x="274" y="131"/>
                      </a:lnTo>
                      <a:lnTo>
                        <a:pt x="274" y="131"/>
                      </a:lnTo>
                      <a:lnTo>
                        <a:pt x="275" y="131"/>
                      </a:lnTo>
                      <a:lnTo>
                        <a:pt x="274" y="131"/>
                      </a:lnTo>
                      <a:lnTo>
                        <a:pt x="274" y="131"/>
                      </a:lnTo>
                      <a:lnTo>
                        <a:pt x="275" y="131"/>
                      </a:lnTo>
                      <a:lnTo>
                        <a:pt x="274" y="131"/>
                      </a:lnTo>
                      <a:lnTo>
                        <a:pt x="275" y="131"/>
                      </a:lnTo>
                      <a:lnTo>
                        <a:pt x="275" y="131"/>
                      </a:lnTo>
                      <a:lnTo>
                        <a:pt x="275" y="131"/>
                      </a:lnTo>
                      <a:lnTo>
                        <a:pt x="275" y="131"/>
                      </a:lnTo>
                      <a:lnTo>
                        <a:pt x="275" y="131"/>
                      </a:lnTo>
                      <a:lnTo>
                        <a:pt x="275" y="131"/>
                      </a:lnTo>
                      <a:close/>
                      <a:moveTo>
                        <a:pt x="274" y="131"/>
                      </a:moveTo>
                      <a:lnTo>
                        <a:pt x="275" y="131"/>
                      </a:lnTo>
                      <a:lnTo>
                        <a:pt x="274" y="131"/>
                      </a:lnTo>
                      <a:lnTo>
                        <a:pt x="275" y="131"/>
                      </a:lnTo>
                      <a:lnTo>
                        <a:pt x="274" y="131"/>
                      </a:lnTo>
                      <a:close/>
                      <a:moveTo>
                        <a:pt x="273" y="131"/>
                      </a:moveTo>
                      <a:lnTo>
                        <a:pt x="273" y="131"/>
                      </a:lnTo>
                      <a:lnTo>
                        <a:pt x="274" y="131"/>
                      </a:lnTo>
                      <a:lnTo>
                        <a:pt x="274" y="131"/>
                      </a:lnTo>
                      <a:lnTo>
                        <a:pt x="274" y="131"/>
                      </a:lnTo>
                      <a:lnTo>
                        <a:pt x="274" y="131"/>
                      </a:lnTo>
                      <a:lnTo>
                        <a:pt x="274" y="131"/>
                      </a:lnTo>
                      <a:lnTo>
                        <a:pt x="274" y="131"/>
                      </a:lnTo>
                      <a:lnTo>
                        <a:pt x="274" y="132"/>
                      </a:lnTo>
                      <a:lnTo>
                        <a:pt x="274" y="132"/>
                      </a:lnTo>
                      <a:lnTo>
                        <a:pt x="274" y="133"/>
                      </a:lnTo>
                      <a:lnTo>
                        <a:pt x="274" y="133"/>
                      </a:lnTo>
                      <a:lnTo>
                        <a:pt x="274" y="133"/>
                      </a:lnTo>
                      <a:lnTo>
                        <a:pt x="274" y="133"/>
                      </a:lnTo>
                      <a:lnTo>
                        <a:pt x="274" y="133"/>
                      </a:lnTo>
                      <a:lnTo>
                        <a:pt x="273" y="133"/>
                      </a:lnTo>
                      <a:lnTo>
                        <a:pt x="274" y="133"/>
                      </a:lnTo>
                      <a:lnTo>
                        <a:pt x="273" y="133"/>
                      </a:lnTo>
                      <a:lnTo>
                        <a:pt x="273" y="132"/>
                      </a:lnTo>
                      <a:lnTo>
                        <a:pt x="272" y="132"/>
                      </a:lnTo>
                      <a:lnTo>
                        <a:pt x="273" y="131"/>
                      </a:lnTo>
                      <a:lnTo>
                        <a:pt x="273" y="132"/>
                      </a:lnTo>
                      <a:lnTo>
                        <a:pt x="273" y="131"/>
                      </a:lnTo>
                      <a:close/>
                      <a:moveTo>
                        <a:pt x="273" y="131"/>
                      </a:moveTo>
                      <a:lnTo>
                        <a:pt x="273" y="131"/>
                      </a:lnTo>
                      <a:lnTo>
                        <a:pt x="272" y="132"/>
                      </a:lnTo>
                      <a:lnTo>
                        <a:pt x="272" y="131"/>
                      </a:lnTo>
                      <a:lnTo>
                        <a:pt x="272" y="131"/>
                      </a:lnTo>
                      <a:lnTo>
                        <a:pt x="273" y="131"/>
                      </a:lnTo>
                      <a:lnTo>
                        <a:pt x="272" y="131"/>
                      </a:lnTo>
                      <a:lnTo>
                        <a:pt x="273" y="131"/>
                      </a:lnTo>
                      <a:lnTo>
                        <a:pt x="273" y="131"/>
                      </a:lnTo>
                      <a:lnTo>
                        <a:pt x="273" y="131"/>
                      </a:lnTo>
                      <a:lnTo>
                        <a:pt x="273" y="131"/>
                      </a:lnTo>
                      <a:close/>
                      <a:moveTo>
                        <a:pt x="275" y="131"/>
                      </a:moveTo>
                      <a:lnTo>
                        <a:pt x="276" y="131"/>
                      </a:lnTo>
                      <a:lnTo>
                        <a:pt x="276" y="131"/>
                      </a:lnTo>
                      <a:lnTo>
                        <a:pt x="275" y="131"/>
                      </a:lnTo>
                      <a:lnTo>
                        <a:pt x="275" y="131"/>
                      </a:lnTo>
                      <a:close/>
                      <a:moveTo>
                        <a:pt x="279" y="130"/>
                      </a:moveTo>
                      <a:lnTo>
                        <a:pt x="279" y="130"/>
                      </a:lnTo>
                      <a:lnTo>
                        <a:pt x="279" y="130"/>
                      </a:lnTo>
                      <a:lnTo>
                        <a:pt x="279" y="131"/>
                      </a:lnTo>
                      <a:lnTo>
                        <a:pt x="279" y="131"/>
                      </a:lnTo>
                      <a:lnTo>
                        <a:pt x="278" y="131"/>
                      </a:lnTo>
                      <a:lnTo>
                        <a:pt x="278" y="130"/>
                      </a:lnTo>
                      <a:lnTo>
                        <a:pt x="279" y="130"/>
                      </a:lnTo>
                      <a:lnTo>
                        <a:pt x="279" y="130"/>
                      </a:lnTo>
                      <a:close/>
                      <a:moveTo>
                        <a:pt x="279" y="130"/>
                      </a:moveTo>
                      <a:lnTo>
                        <a:pt x="278" y="130"/>
                      </a:lnTo>
                      <a:lnTo>
                        <a:pt x="278" y="131"/>
                      </a:lnTo>
                      <a:lnTo>
                        <a:pt x="278" y="130"/>
                      </a:lnTo>
                      <a:lnTo>
                        <a:pt x="279" y="130"/>
                      </a:lnTo>
                      <a:lnTo>
                        <a:pt x="279" y="130"/>
                      </a:lnTo>
                      <a:lnTo>
                        <a:pt x="279" y="130"/>
                      </a:lnTo>
                      <a:lnTo>
                        <a:pt x="279" y="130"/>
                      </a:lnTo>
                      <a:lnTo>
                        <a:pt x="279" y="130"/>
                      </a:lnTo>
                      <a:lnTo>
                        <a:pt x="279" y="130"/>
                      </a:lnTo>
                      <a:close/>
                      <a:moveTo>
                        <a:pt x="263" y="128"/>
                      </a:moveTo>
                      <a:lnTo>
                        <a:pt x="264" y="128"/>
                      </a:lnTo>
                      <a:lnTo>
                        <a:pt x="263" y="128"/>
                      </a:lnTo>
                      <a:close/>
                      <a:moveTo>
                        <a:pt x="318" y="126"/>
                      </a:moveTo>
                      <a:lnTo>
                        <a:pt x="318" y="126"/>
                      </a:lnTo>
                      <a:lnTo>
                        <a:pt x="318" y="126"/>
                      </a:lnTo>
                      <a:lnTo>
                        <a:pt x="318" y="126"/>
                      </a:lnTo>
                      <a:lnTo>
                        <a:pt x="318" y="126"/>
                      </a:lnTo>
                      <a:lnTo>
                        <a:pt x="318" y="126"/>
                      </a:lnTo>
                      <a:lnTo>
                        <a:pt x="318" y="126"/>
                      </a:lnTo>
                      <a:lnTo>
                        <a:pt x="318" y="126"/>
                      </a:lnTo>
                      <a:lnTo>
                        <a:pt x="318" y="126"/>
                      </a:lnTo>
                      <a:lnTo>
                        <a:pt x="318" y="126"/>
                      </a:lnTo>
                      <a:lnTo>
                        <a:pt x="318" y="126"/>
                      </a:lnTo>
                      <a:close/>
                      <a:moveTo>
                        <a:pt x="318" y="126"/>
                      </a:moveTo>
                      <a:lnTo>
                        <a:pt x="318" y="126"/>
                      </a:lnTo>
                      <a:lnTo>
                        <a:pt x="318" y="126"/>
                      </a:lnTo>
                      <a:close/>
                      <a:moveTo>
                        <a:pt x="322" y="122"/>
                      </a:moveTo>
                      <a:lnTo>
                        <a:pt x="322" y="122"/>
                      </a:lnTo>
                      <a:lnTo>
                        <a:pt x="322" y="122"/>
                      </a:lnTo>
                      <a:lnTo>
                        <a:pt x="322" y="122"/>
                      </a:lnTo>
                      <a:lnTo>
                        <a:pt x="322" y="122"/>
                      </a:lnTo>
                      <a:close/>
                      <a:moveTo>
                        <a:pt x="321" y="122"/>
                      </a:moveTo>
                      <a:lnTo>
                        <a:pt x="320" y="122"/>
                      </a:lnTo>
                      <a:lnTo>
                        <a:pt x="321" y="122"/>
                      </a:lnTo>
                      <a:close/>
                      <a:moveTo>
                        <a:pt x="244" y="120"/>
                      </a:moveTo>
                      <a:lnTo>
                        <a:pt x="244" y="120"/>
                      </a:lnTo>
                      <a:lnTo>
                        <a:pt x="244" y="120"/>
                      </a:lnTo>
                      <a:lnTo>
                        <a:pt x="244" y="120"/>
                      </a:lnTo>
                      <a:lnTo>
                        <a:pt x="244" y="120"/>
                      </a:lnTo>
                      <a:lnTo>
                        <a:pt x="244" y="120"/>
                      </a:lnTo>
                      <a:lnTo>
                        <a:pt x="244" y="120"/>
                      </a:lnTo>
                      <a:close/>
                      <a:moveTo>
                        <a:pt x="244" y="120"/>
                      </a:moveTo>
                      <a:lnTo>
                        <a:pt x="245" y="120"/>
                      </a:lnTo>
                      <a:lnTo>
                        <a:pt x="245" y="120"/>
                      </a:lnTo>
                      <a:lnTo>
                        <a:pt x="244" y="120"/>
                      </a:lnTo>
                      <a:lnTo>
                        <a:pt x="244" y="120"/>
                      </a:lnTo>
                      <a:lnTo>
                        <a:pt x="244" y="120"/>
                      </a:lnTo>
                      <a:lnTo>
                        <a:pt x="245" y="120"/>
                      </a:lnTo>
                      <a:lnTo>
                        <a:pt x="244" y="120"/>
                      </a:lnTo>
                      <a:lnTo>
                        <a:pt x="245" y="120"/>
                      </a:lnTo>
                      <a:lnTo>
                        <a:pt x="244" y="120"/>
                      </a:lnTo>
                      <a:close/>
                      <a:moveTo>
                        <a:pt x="244" y="120"/>
                      </a:moveTo>
                      <a:lnTo>
                        <a:pt x="244" y="120"/>
                      </a:lnTo>
                      <a:lnTo>
                        <a:pt x="244" y="120"/>
                      </a:lnTo>
                      <a:close/>
                      <a:moveTo>
                        <a:pt x="362" y="119"/>
                      </a:moveTo>
                      <a:lnTo>
                        <a:pt x="363" y="119"/>
                      </a:lnTo>
                      <a:lnTo>
                        <a:pt x="362" y="119"/>
                      </a:lnTo>
                      <a:lnTo>
                        <a:pt x="362" y="119"/>
                      </a:lnTo>
                      <a:lnTo>
                        <a:pt x="361" y="119"/>
                      </a:lnTo>
                      <a:lnTo>
                        <a:pt x="361" y="119"/>
                      </a:lnTo>
                      <a:lnTo>
                        <a:pt x="361" y="119"/>
                      </a:lnTo>
                      <a:lnTo>
                        <a:pt x="361" y="119"/>
                      </a:lnTo>
                      <a:lnTo>
                        <a:pt x="362" y="119"/>
                      </a:lnTo>
                      <a:close/>
                      <a:moveTo>
                        <a:pt x="104" y="114"/>
                      </a:moveTo>
                      <a:lnTo>
                        <a:pt x="103" y="114"/>
                      </a:lnTo>
                      <a:lnTo>
                        <a:pt x="103" y="114"/>
                      </a:lnTo>
                      <a:lnTo>
                        <a:pt x="103" y="114"/>
                      </a:lnTo>
                      <a:lnTo>
                        <a:pt x="103" y="114"/>
                      </a:lnTo>
                      <a:lnTo>
                        <a:pt x="103" y="114"/>
                      </a:lnTo>
                      <a:lnTo>
                        <a:pt x="102" y="114"/>
                      </a:lnTo>
                      <a:lnTo>
                        <a:pt x="102" y="115"/>
                      </a:lnTo>
                      <a:lnTo>
                        <a:pt x="102" y="114"/>
                      </a:lnTo>
                      <a:lnTo>
                        <a:pt x="101" y="114"/>
                      </a:lnTo>
                      <a:lnTo>
                        <a:pt x="101" y="115"/>
                      </a:lnTo>
                      <a:lnTo>
                        <a:pt x="101" y="115"/>
                      </a:lnTo>
                      <a:lnTo>
                        <a:pt x="101" y="115"/>
                      </a:lnTo>
                      <a:lnTo>
                        <a:pt x="101" y="114"/>
                      </a:lnTo>
                      <a:lnTo>
                        <a:pt x="101" y="115"/>
                      </a:lnTo>
                      <a:lnTo>
                        <a:pt x="102" y="115"/>
                      </a:lnTo>
                      <a:lnTo>
                        <a:pt x="102" y="114"/>
                      </a:lnTo>
                      <a:lnTo>
                        <a:pt x="103" y="114"/>
                      </a:lnTo>
                      <a:lnTo>
                        <a:pt x="103" y="114"/>
                      </a:lnTo>
                      <a:lnTo>
                        <a:pt x="103" y="114"/>
                      </a:lnTo>
                      <a:lnTo>
                        <a:pt x="104" y="114"/>
                      </a:lnTo>
                      <a:lnTo>
                        <a:pt x="104" y="114"/>
                      </a:lnTo>
                      <a:lnTo>
                        <a:pt x="104" y="114"/>
                      </a:lnTo>
                      <a:lnTo>
                        <a:pt x="105" y="114"/>
                      </a:lnTo>
                      <a:lnTo>
                        <a:pt x="104" y="114"/>
                      </a:lnTo>
                      <a:lnTo>
                        <a:pt x="105" y="114"/>
                      </a:lnTo>
                      <a:lnTo>
                        <a:pt x="104" y="114"/>
                      </a:lnTo>
                      <a:lnTo>
                        <a:pt x="105" y="114"/>
                      </a:lnTo>
                      <a:lnTo>
                        <a:pt x="105" y="114"/>
                      </a:lnTo>
                      <a:lnTo>
                        <a:pt x="106" y="114"/>
                      </a:lnTo>
                      <a:lnTo>
                        <a:pt x="105" y="114"/>
                      </a:lnTo>
                      <a:lnTo>
                        <a:pt x="106" y="114"/>
                      </a:lnTo>
                      <a:lnTo>
                        <a:pt x="106" y="114"/>
                      </a:lnTo>
                      <a:lnTo>
                        <a:pt x="106" y="114"/>
                      </a:lnTo>
                      <a:lnTo>
                        <a:pt x="106" y="114"/>
                      </a:lnTo>
                      <a:lnTo>
                        <a:pt x="106" y="114"/>
                      </a:lnTo>
                      <a:lnTo>
                        <a:pt x="106" y="114"/>
                      </a:lnTo>
                      <a:lnTo>
                        <a:pt x="107" y="114"/>
                      </a:lnTo>
                      <a:lnTo>
                        <a:pt x="107" y="114"/>
                      </a:lnTo>
                      <a:lnTo>
                        <a:pt x="107" y="114"/>
                      </a:lnTo>
                      <a:lnTo>
                        <a:pt x="106" y="115"/>
                      </a:lnTo>
                      <a:lnTo>
                        <a:pt x="107" y="115"/>
                      </a:lnTo>
                      <a:lnTo>
                        <a:pt x="106" y="115"/>
                      </a:lnTo>
                      <a:lnTo>
                        <a:pt x="106" y="115"/>
                      </a:lnTo>
                      <a:lnTo>
                        <a:pt x="106" y="115"/>
                      </a:lnTo>
                      <a:lnTo>
                        <a:pt x="107" y="115"/>
                      </a:lnTo>
                      <a:lnTo>
                        <a:pt x="107" y="114"/>
                      </a:lnTo>
                      <a:lnTo>
                        <a:pt x="107" y="114"/>
                      </a:lnTo>
                      <a:lnTo>
                        <a:pt x="108" y="114"/>
                      </a:lnTo>
                      <a:lnTo>
                        <a:pt x="108" y="114"/>
                      </a:lnTo>
                      <a:lnTo>
                        <a:pt x="108" y="114"/>
                      </a:lnTo>
                      <a:lnTo>
                        <a:pt x="108" y="114"/>
                      </a:lnTo>
                      <a:lnTo>
                        <a:pt x="108" y="114"/>
                      </a:lnTo>
                      <a:lnTo>
                        <a:pt x="108" y="114"/>
                      </a:lnTo>
                      <a:lnTo>
                        <a:pt x="108" y="114"/>
                      </a:lnTo>
                      <a:lnTo>
                        <a:pt x="108" y="115"/>
                      </a:lnTo>
                      <a:lnTo>
                        <a:pt x="107" y="115"/>
                      </a:lnTo>
                      <a:lnTo>
                        <a:pt x="107" y="115"/>
                      </a:lnTo>
                      <a:lnTo>
                        <a:pt x="107" y="116"/>
                      </a:lnTo>
                      <a:lnTo>
                        <a:pt x="107" y="116"/>
                      </a:lnTo>
                      <a:lnTo>
                        <a:pt x="107" y="116"/>
                      </a:lnTo>
                      <a:lnTo>
                        <a:pt x="106" y="116"/>
                      </a:lnTo>
                      <a:lnTo>
                        <a:pt x="107" y="116"/>
                      </a:lnTo>
                      <a:lnTo>
                        <a:pt x="107" y="116"/>
                      </a:lnTo>
                      <a:lnTo>
                        <a:pt x="107" y="116"/>
                      </a:lnTo>
                      <a:lnTo>
                        <a:pt x="107" y="116"/>
                      </a:lnTo>
                      <a:lnTo>
                        <a:pt x="107" y="116"/>
                      </a:lnTo>
                      <a:lnTo>
                        <a:pt x="107" y="115"/>
                      </a:lnTo>
                      <a:lnTo>
                        <a:pt x="108" y="115"/>
                      </a:lnTo>
                      <a:lnTo>
                        <a:pt x="108" y="115"/>
                      </a:lnTo>
                      <a:lnTo>
                        <a:pt x="108" y="115"/>
                      </a:lnTo>
                      <a:lnTo>
                        <a:pt x="109" y="115"/>
                      </a:lnTo>
                      <a:lnTo>
                        <a:pt x="110" y="115"/>
                      </a:lnTo>
                      <a:lnTo>
                        <a:pt x="110" y="115"/>
                      </a:lnTo>
                      <a:lnTo>
                        <a:pt x="110" y="114"/>
                      </a:lnTo>
                      <a:lnTo>
                        <a:pt x="111" y="114"/>
                      </a:lnTo>
                      <a:lnTo>
                        <a:pt x="111" y="115"/>
                      </a:lnTo>
                      <a:lnTo>
                        <a:pt x="111" y="114"/>
                      </a:lnTo>
                      <a:lnTo>
                        <a:pt x="111" y="115"/>
                      </a:lnTo>
                      <a:lnTo>
                        <a:pt x="111" y="115"/>
                      </a:lnTo>
                      <a:lnTo>
                        <a:pt x="111" y="114"/>
                      </a:lnTo>
                      <a:lnTo>
                        <a:pt x="111" y="115"/>
                      </a:lnTo>
                      <a:lnTo>
                        <a:pt x="112" y="115"/>
                      </a:lnTo>
                      <a:lnTo>
                        <a:pt x="112" y="115"/>
                      </a:lnTo>
                      <a:lnTo>
                        <a:pt x="111" y="115"/>
                      </a:lnTo>
                      <a:lnTo>
                        <a:pt x="112" y="115"/>
                      </a:lnTo>
                      <a:lnTo>
                        <a:pt x="112" y="116"/>
                      </a:lnTo>
                      <a:lnTo>
                        <a:pt x="111" y="116"/>
                      </a:lnTo>
                      <a:lnTo>
                        <a:pt x="112" y="116"/>
                      </a:lnTo>
                      <a:lnTo>
                        <a:pt x="111" y="116"/>
                      </a:lnTo>
                      <a:lnTo>
                        <a:pt x="111" y="116"/>
                      </a:lnTo>
                      <a:lnTo>
                        <a:pt x="111" y="116"/>
                      </a:lnTo>
                      <a:lnTo>
                        <a:pt x="111" y="116"/>
                      </a:lnTo>
                      <a:lnTo>
                        <a:pt x="111" y="116"/>
                      </a:lnTo>
                      <a:lnTo>
                        <a:pt x="110" y="116"/>
                      </a:lnTo>
                      <a:lnTo>
                        <a:pt x="110" y="116"/>
                      </a:lnTo>
                      <a:lnTo>
                        <a:pt x="110" y="117"/>
                      </a:lnTo>
                      <a:lnTo>
                        <a:pt x="110" y="116"/>
                      </a:lnTo>
                      <a:lnTo>
                        <a:pt x="110" y="117"/>
                      </a:lnTo>
                      <a:lnTo>
                        <a:pt x="110" y="117"/>
                      </a:lnTo>
                      <a:lnTo>
                        <a:pt x="110" y="117"/>
                      </a:lnTo>
                      <a:lnTo>
                        <a:pt x="110" y="117"/>
                      </a:lnTo>
                      <a:lnTo>
                        <a:pt x="110" y="116"/>
                      </a:lnTo>
                      <a:lnTo>
                        <a:pt x="111" y="116"/>
                      </a:lnTo>
                      <a:lnTo>
                        <a:pt x="111" y="116"/>
                      </a:lnTo>
                      <a:lnTo>
                        <a:pt x="112" y="116"/>
                      </a:lnTo>
                      <a:lnTo>
                        <a:pt x="111" y="117"/>
                      </a:lnTo>
                      <a:lnTo>
                        <a:pt x="112" y="117"/>
                      </a:lnTo>
                      <a:lnTo>
                        <a:pt x="111" y="117"/>
                      </a:lnTo>
                      <a:lnTo>
                        <a:pt x="111" y="117"/>
                      </a:lnTo>
                      <a:lnTo>
                        <a:pt x="110" y="117"/>
                      </a:lnTo>
                      <a:lnTo>
                        <a:pt x="110" y="118"/>
                      </a:lnTo>
                      <a:lnTo>
                        <a:pt x="110" y="117"/>
                      </a:lnTo>
                      <a:lnTo>
                        <a:pt x="110" y="118"/>
                      </a:lnTo>
                      <a:lnTo>
                        <a:pt x="110" y="117"/>
                      </a:lnTo>
                      <a:lnTo>
                        <a:pt x="111" y="117"/>
                      </a:lnTo>
                      <a:lnTo>
                        <a:pt x="110" y="117"/>
                      </a:lnTo>
                      <a:lnTo>
                        <a:pt x="111" y="117"/>
                      </a:lnTo>
                      <a:lnTo>
                        <a:pt x="111" y="118"/>
                      </a:lnTo>
                      <a:lnTo>
                        <a:pt x="111" y="117"/>
                      </a:lnTo>
                      <a:lnTo>
                        <a:pt x="111" y="118"/>
                      </a:lnTo>
                      <a:lnTo>
                        <a:pt x="111" y="117"/>
                      </a:lnTo>
                      <a:lnTo>
                        <a:pt x="111" y="117"/>
                      </a:lnTo>
                      <a:lnTo>
                        <a:pt x="111" y="117"/>
                      </a:lnTo>
                      <a:lnTo>
                        <a:pt x="111" y="118"/>
                      </a:lnTo>
                      <a:lnTo>
                        <a:pt x="111" y="118"/>
                      </a:lnTo>
                      <a:lnTo>
                        <a:pt x="111" y="118"/>
                      </a:lnTo>
                      <a:lnTo>
                        <a:pt x="111" y="117"/>
                      </a:lnTo>
                      <a:lnTo>
                        <a:pt x="111" y="118"/>
                      </a:lnTo>
                      <a:lnTo>
                        <a:pt x="112" y="118"/>
                      </a:lnTo>
                      <a:lnTo>
                        <a:pt x="112" y="118"/>
                      </a:lnTo>
                      <a:lnTo>
                        <a:pt x="111" y="118"/>
                      </a:lnTo>
                      <a:lnTo>
                        <a:pt x="111" y="119"/>
                      </a:lnTo>
                      <a:lnTo>
                        <a:pt x="111" y="119"/>
                      </a:lnTo>
                      <a:lnTo>
                        <a:pt x="110" y="119"/>
                      </a:lnTo>
                      <a:lnTo>
                        <a:pt x="110" y="119"/>
                      </a:lnTo>
                      <a:lnTo>
                        <a:pt x="110" y="119"/>
                      </a:lnTo>
                      <a:lnTo>
                        <a:pt x="109" y="119"/>
                      </a:lnTo>
                      <a:lnTo>
                        <a:pt x="108" y="119"/>
                      </a:lnTo>
                      <a:lnTo>
                        <a:pt x="108" y="120"/>
                      </a:lnTo>
                      <a:lnTo>
                        <a:pt x="108" y="120"/>
                      </a:lnTo>
                      <a:lnTo>
                        <a:pt x="108" y="120"/>
                      </a:lnTo>
                      <a:lnTo>
                        <a:pt x="108" y="120"/>
                      </a:lnTo>
                      <a:lnTo>
                        <a:pt x="108" y="121"/>
                      </a:lnTo>
                      <a:lnTo>
                        <a:pt x="108" y="122"/>
                      </a:lnTo>
                      <a:lnTo>
                        <a:pt x="108" y="122"/>
                      </a:lnTo>
                      <a:lnTo>
                        <a:pt x="108" y="122"/>
                      </a:lnTo>
                      <a:lnTo>
                        <a:pt x="108" y="122"/>
                      </a:lnTo>
                      <a:lnTo>
                        <a:pt x="107" y="122"/>
                      </a:lnTo>
                      <a:lnTo>
                        <a:pt x="107" y="123"/>
                      </a:lnTo>
                      <a:lnTo>
                        <a:pt x="106" y="123"/>
                      </a:lnTo>
                      <a:lnTo>
                        <a:pt x="106" y="123"/>
                      </a:lnTo>
                      <a:lnTo>
                        <a:pt x="106" y="123"/>
                      </a:lnTo>
                      <a:lnTo>
                        <a:pt x="106" y="123"/>
                      </a:lnTo>
                      <a:lnTo>
                        <a:pt x="106" y="123"/>
                      </a:lnTo>
                      <a:lnTo>
                        <a:pt x="105" y="123"/>
                      </a:lnTo>
                      <a:lnTo>
                        <a:pt x="104" y="123"/>
                      </a:lnTo>
                      <a:lnTo>
                        <a:pt x="104" y="123"/>
                      </a:lnTo>
                      <a:lnTo>
                        <a:pt x="103" y="123"/>
                      </a:lnTo>
                      <a:lnTo>
                        <a:pt x="103" y="124"/>
                      </a:lnTo>
                      <a:lnTo>
                        <a:pt x="103" y="124"/>
                      </a:lnTo>
                      <a:lnTo>
                        <a:pt x="102" y="124"/>
                      </a:lnTo>
                      <a:lnTo>
                        <a:pt x="103" y="124"/>
                      </a:lnTo>
                      <a:lnTo>
                        <a:pt x="102" y="124"/>
                      </a:lnTo>
                      <a:lnTo>
                        <a:pt x="101" y="124"/>
                      </a:lnTo>
                      <a:lnTo>
                        <a:pt x="101" y="124"/>
                      </a:lnTo>
                      <a:lnTo>
                        <a:pt x="101" y="124"/>
                      </a:lnTo>
                      <a:lnTo>
                        <a:pt x="100" y="124"/>
                      </a:lnTo>
                      <a:lnTo>
                        <a:pt x="100" y="125"/>
                      </a:lnTo>
                      <a:lnTo>
                        <a:pt x="100" y="125"/>
                      </a:lnTo>
                      <a:lnTo>
                        <a:pt x="99" y="125"/>
                      </a:lnTo>
                      <a:lnTo>
                        <a:pt x="99" y="126"/>
                      </a:lnTo>
                      <a:lnTo>
                        <a:pt x="99" y="125"/>
                      </a:lnTo>
                      <a:lnTo>
                        <a:pt x="99" y="126"/>
                      </a:lnTo>
                      <a:lnTo>
                        <a:pt x="99" y="125"/>
                      </a:lnTo>
                      <a:lnTo>
                        <a:pt x="100" y="125"/>
                      </a:lnTo>
                      <a:lnTo>
                        <a:pt x="100" y="125"/>
                      </a:lnTo>
                      <a:lnTo>
                        <a:pt x="101" y="124"/>
                      </a:lnTo>
                      <a:lnTo>
                        <a:pt x="101" y="125"/>
                      </a:lnTo>
                      <a:lnTo>
                        <a:pt x="101" y="124"/>
                      </a:lnTo>
                      <a:lnTo>
                        <a:pt x="101" y="124"/>
                      </a:lnTo>
                      <a:lnTo>
                        <a:pt x="101" y="124"/>
                      </a:lnTo>
                      <a:lnTo>
                        <a:pt x="101" y="124"/>
                      </a:lnTo>
                      <a:lnTo>
                        <a:pt x="101" y="124"/>
                      </a:lnTo>
                      <a:lnTo>
                        <a:pt x="101" y="124"/>
                      </a:lnTo>
                      <a:lnTo>
                        <a:pt x="102" y="124"/>
                      </a:lnTo>
                      <a:lnTo>
                        <a:pt x="102" y="124"/>
                      </a:lnTo>
                      <a:lnTo>
                        <a:pt x="103" y="124"/>
                      </a:lnTo>
                      <a:lnTo>
                        <a:pt x="103" y="124"/>
                      </a:lnTo>
                      <a:lnTo>
                        <a:pt x="104" y="123"/>
                      </a:lnTo>
                      <a:lnTo>
                        <a:pt x="104" y="123"/>
                      </a:lnTo>
                      <a:lnTo>
                        <a:pt x="105" y="123"/>
                      </a:lnTo>
                      <a:lnTo>
                        <a:pt x="106" y="123"/>
                      </a:lnTo>
                      <a:lnTo>
                        <a:pt x="106" y="123"/>
                      </a:lnTo>
                      <a:lnTo>
                        <a:pt x="107" y="123"/>
                      </a:lnTo>
                      <a:lnTo>
                        <a:pt x="107" y="123"/>
                      </a:lnTo>
                      <a:lnTo>
                        <a:pt x="107" y="122"/>
                      </a:lnTo>
                      <a:lnTo>
                        <a:pt x="108" y="122"/>
                      </a:lnTo>
                      <a:lnTo>
                        <a:pt x="108" y="122"/>
                      </a:lnTo>
                      <a:lnTo>
                        <a:pt x="108" y="122"/>
                      </a:lnTo>
                      <a:lnTo>
                        <a:pt x="108" y="121"/>
                      </a:lnTo>
                      <a:lnTo>
                        <a:pt x="108" y="120"/>
                      </a:lnTo>
                      <a:lnTo>
                        <a:pt x="108" y="120"/>
                      </a:lnTo>
                      <a:lnTo>
                        <a:pt x="109" y="119"/>
                      </a:lnTo>
                      <a:lnTo>
                        <a:pt x="109" y="120"/>
                      </a:lnTo>
                      <a:lnTo>
                        <a:pt x="109" y="119"/>
                      </a:lnTo>
                      <a:lnTo>
                        <a:pt x="110" y="119"/>
                      </a:lnTo>
                      <a:lnTo>
                        <a:pt x="110" y="120"/>
                      </a:lnTo>
                      <a:lnTo>
                        <a:pt x="110" y="119"/>
                      </a:lnTo>
                      <a:lnTo>
                        <a:pt x="110" y="119"/>
                      </a:lnTo>
                      <a:lnTo>
                        <a:pt x="110" y="120"/>
                      </a:lnTo>
                      <a:lnTo>
                        <a:pt x="110" y="119"/>
                      </a:lnTo>
                      <a:lnTo>
                        <a:pt x="111" y="119"/>
                      </a:lnTo>
                      <a:lnTo>
                        <a:pt x="111" y="119"/>
                      </a:lnTo>
                      <a:lnTo>
                        <a:pt x="112" y="119"/>
                      </a:lnTo>
                      <a:lnTo>
                        <a:pt x="111" y="119"/>
                      </a:lnTo>
                      <a:lnTo>
                        <a:pt x="112" y="119"/>
                      </a:lnTo>
                      <a:lnTo>
                        <a:pt x="112" y="119"/>
                      </a:lnTo>
                      <a:lnTo>
                        <a:pt x="111" y="119"/>
                      </a:lnTo>
                      <a:lnTo>
                        <a:pt x="112" y="119"/>
                      </a:lnTo>
                      <a:lnTo>
                        <a:pt x="112" y="118"/>
                      </a:lnTo>
                      <a:lnTo>
                        <a:pt x="112" y="118"/>
                      </a:lnTo>
                      <a:lnTo>
                        <a:pt x="112" y="119"/>
                      </a:lnTo>
                      <a:lnTo>
                        <a:pt x="112" y="118"/>
                      </a:lnTo>
                      <a:lnTo>
                        <a:pt x="112" y="118"/>
                      </a:lnTo>
                      <a:lnTo>
                        <a:pt x="113" y="118"/>
                      </a:lnTo>
                      <a:lnTo>
                        <a:pt x="113" y="118"/>
                      </a:lnTo>
                      <a:lnTo>
                        <a:pt x="113" y="118"/>
                      </a:lnTo>
                      <a:lnTo>
                        <a:pt x="113" y="118"/>
                      </a:lnTo>
                      <a:lnTo>
                        <a:pt x="113" y="118"/>
                      </a:lnTo>
                      <a:lnTo>
                        <a:pt x="112" y="118"/>
                      </a:lnTo>
                      <a:lnTo>
                        <a:pt x="112" y="117"/>
                      </a:lnTo>
                      <a:lnTo>
                        <a:pt x="112" y="116"/>
                      </a:lnTo>
                      <a:lnTo>
                        <a:pt x="113" y="116"/>
                      </a:lnTo>
                      <a:lnTo>
                        <a:pt x="112" y="116"/>
                      </a:lnTo>
                      <a:lnTo>
                        <a:pt x="112" y="117"/>
                      </a:lnTo>
                      <a:lnTo>
                        <a:pt x="112" y="116"/>
                      </a:lnTo>
                      <a:lnTo>
                        <a:pt x="112" y="116"/>
                      </a:lnTo>
                      <a:lnTo>
                        <a:pt x="113" y="116"/>
                      </a:lnTo>
                      <a:lnTo>
                        <a:pt x="113" y="116"/>
                      </a:lnTo>
                      <a:lnTo>
                        <a:pt x="113" y="116"/>
                      </a:lnTo>
                      <a:lnTo>
                        <a:pt x="114" y="116"/>
                      </a:lnTo>
                      <a:lnTo>
                        <a:pt x="114" y="116"/>
                      </a:lnTo>
                      <a:lnTo>
                        <a:pt x="114" y="116"/>
                      </a:lnTo>
                      <a:lnTo>
                        <a:pt x="114" y="116"/>
                      </a:lnTo>
                      <a:lnTo>
                        <a:pt x="114" y="116"/>
                      </a:lnTo>
                      <a:lnTo>
                        <a:pt x="114" y="116"/>
                      </a:lnTo>
                      <a:lnTo>
                        <a:pt x="115" y="116"/>
                      </a:lnTo>
                      <a:lnTo>
                        <a:pt x="115" y="116"/>
                      </a:lnTo>
                      <a:lnTo>
                        <a:pt x="115" y="116"/>
                      </a:lnTo>
                      <a:lnTo>
                        <a:pt x="115" y="116"/>
                      </a:lnTo>
                      <a:lnTo>
                        <a:pt x="115" y="116"/>
                      </a:lnTo>
                      <a:lnTo>
                        <a:pt x="116" y="116"/>
                      </a:lnTo>
                      <a:lnTo>
                        <a:pt x="116" y="116"/>
                      </a:lnTo>
                      <a:lnTo>
                        <a:pt x="117" y="116"/>
                      </a:lnTo>
                      <a:lnTo>
                        <a:pt x="118" y="116"/>
                      </a:lnTo>
                      <a:lnTo>
                        <a:pt x="118" y="116"/>
                      </a:lnTo>
                      <a:lnTo>
                        <a:pt x="119" y="116"/>
                      </a:lnTo>
                      <a:lnTo>
                        <a:pt x="119" y="116"/>
                      </a:lnTo>
                      <a:lnTo>
                        <a:pt x="119" y="116"/>
                      </a:lnTo>
                      <a:lnTo>
                        <a:pt x="119" y="116"/>
                      </a:lnTo>
                      <a:lnTo>
                        <a:pt x="119" y="116"/>
                      </a:lnTo>
                      <a:lnTo>
                        <a:pt x="120" y="116"/>
                      </a:lnTo>
                      <a:lnTo>
                        <a:pt x="119" y="116"/>
                      </a:lnTo>
                      <a:lnTo>
                        <a:pt x="120" y="116"/>
                      </a:lnTo>
                      <a:lnTo>
                        <a:pt x="120" y="117"/>
                      </a:lnTo>
                      <a:lnTo>
                        <a:pt x="120" y="116"/>
                      </a:lnTo>
                      <a:lnTo>
                        <a:pt x="121" y="116"/>
                      </a:lnTo>
                      <a:lnTo>
                        <a:pt x="120" y="116"/>
                      </a:lnTo>
                      <a:lnTo>
                        <a:pt x="121" y="116"/>
                      </a:lnTo>
                      <a:lnTo>
                        <a:pt x="121" y="117"/>
                      </a:lnTo>
                      <a:lnTo>
                        <a:pt x="121" y="116"/>
                      </a:lnTo>
                      <a:lnTo>
                        <a:pt x="121" y="117"/>
                      </a:lnTo>
                      <a:lnTo>
                        <a:pt x="121" y="116"/>
                      </a:lnTo>
                      <a:lnTo>
                        <a:pt x="121" y="116"/>
                      </a:lnTo>
                      <a:lnTo>
                        <a:pt x="121" y="117"/>
                      </a:lnTo>
                      <a:lnTo>
                        <a:pt x="122" y="117"/>
                      </a:lnTo>
                      <a:lnTo>
                        <a:pt x="122" y="117"/>
                      </a:lnTo>
                      <a:lnTo>
                        <a:pt x="122" y="118"/>
                      </a:lnTo>
                      <a:lnTo>
                        <a:pt x="122" y="117"/>
                      </a:lnTo>
                      <a:lnTo>
                        <a:pt x="122" y="118"/>
                      </a:lnTo>
                      <a:lnTo>
                        <a:pt x="122" y="117"/>
                      </a:lnTo>
                      <a:lnTo>
                        <a:pt x="122" y="118"/>
                      </a:lnTo>
                      <a:lnTo>
                        <a:pt x="122" y="117"/>
                      </a:lnTo>
                      <a:lnTo>
                        <a:pt x="123" y="117"/>
                      </a:lnTo>
                      <a:lnTo>
                        <a:pt x="123" y="117"/>
                      </a:lnTo>
                      <a:lnTo>
                        <a:pt x="123" y="118"/>
                      </a:lnTo>
                      <a:lnTo>
                        <a:pt x="123" y="117"/>
                      </a:lnTo>
                      <a:lnTo>
                        <a:pt x="124" y="117"/>
                      </a:lnTo>
                      <a:lnTo>
                        <a:pt x="124" y="118"/>
                      </a:lnTo>
                      <a:lnTo>
                        <a:pt x="123" y="118"/>
                      </a:lnTo>
                      <a:lnTo>
                        <a:pt x="123" y="118"/>
                      </a:lnTo>
                      <a:lnTo>
                        <a:pt x="123" y="118"/>
                      </a:lnTo>
                      <a:lnTo>
                        <a:pt x="124" y="118"/>
                      </a:lnTo>
                      <a:lnTo>
                        <a:pt x="125" y="118"/>
                      </a:lnTo>
                      <a:lnTo>
                        <a:pt x="125" y="118"/>
                      </a:lnTo>
                      <a:lnTo>
                        <a:pt x="125" y="118"/>
                      </a:lnTo>
                      <a:lnTo>
                        <a:pt x="125" y="119"/>
                      </a:lnTo>
                      <a:lnTo>
                        <a:pt x="125" y="118"/>
                      </a:lnTo>
                      <a:lnTo>
                        <a:pt x="125" y="118"/>
                      </a:lnTo>
                      <a:lnTo>
                        <a:pt x="126" y="118"/>
                      </a:lnTo>
                      <a:lnTo>
                        <a:pt x="126" y="118"/>
                      </a:lnTo>
                      <a:lnTo>
                        <a:pt x="126" y="118"/>
                      </a:lnTo>
                      <a:lnTo>
                        <a:pt x="126" y="118"/>
                      </a:lnTo>
                      <a:lnTo>
                        <a:pt x="126" y="117"/>
                      </a:lnTo>
                      <a:lnTo>
                        <a:pt x="126" y="117"/>
                      </a:lnTo>
                      <a:lnTo>
                        <a:pt x="125" y="117"/>
                      </a:lnTo>
                      <a:lnTo>
                        <a:pt x="126" y="117"/>
                      </a:lnTo>
                      <a:lnTo>
                        <a:pt x="126" y="117"/>
                      </a:lnTo>
                      <a:lnTo>
                        <a:pt x="127" y="117"/>
                      </a:lnTo>
                      <a:lnTo>
                        <a:pt x="127" y="117"/>
                      </a:lnTo>
                      <a:lnTo>
                        <a:pt x="128" y="117"/>
                      </a:lnTo>
                      <a:lnTo>
                        <a:pt x="129" y="117"/>
                      </a:lnTo>
                      <a:lnTo>
                        <a:pt x="128" y="118"/>
                      </a:lnTo>
                      <a:lnTo>
                        <a:pt x="129" y="118"/>
                      </a:lnTo>
                      <a:lnTo>
                        <a:pt x="129" y="118"/>
                      </a:lnTo>
                      <a:lnTo>
                        <a:pt x="130" y="118"/>
                      </a:lnTo>
                      <a:lnTo>
                        <a:pt x="130" y="118"/>
                      </a:lnTo>
                      <a:lnTo>
                        <a:pt x="130" y="118"/>
                      </a:lnTo>
                      <a:lnTo>
                        <a:pt x="130" y="119"/>
                      </a:lnTo>
                      <a:lnTo>
                        <a:pt x="130" y="119"/>
                      </a:lnTo>
                      <a:lnTo>
                        <a:pt x="130" y="119"/>
                      </a:lnTo>
                      <a:lnTo>
                        <a:pt x="130" y="119"/>
                      </a:lnTo>
                      <a:lnTo>
                        <a:pt x="130" y="119"/>
                      </a:lnTo>
                      <a:lnTo>
                        <a:pt x="130" y="119"/>
                      </a:lnTo>
                      <a:lnTo>
                        <a:pt x="130" y="120"/>
                      </a:lnTo>
                      <a:lnTo>
                        <a:pt x="130" y="120"/>
                      </a:lnTo>
                      <a:lnTo>
                        <a:pt x="130" y="120"/>
                      </a:lnTo>
                      <a:lnTo>
                        <a:pt x="130" y="119"/>
                      </a:lnTo>
                      <a:lnTo>
                        <a:pt x="130" y="119"/>
                      </a:lnTo>
                      <a:lnTo>
                        <a:pt x="130" y="118"/>
                      </a:lnTo>
                      <a:lnTo>
                        <a:pt x="130" y="118"/>
                      </a:lnTo>
                      <a:lnTo>
                        <a:pt x="131" y="118"/>
                      </a:lnTo>
                      <a:lnTo>
                        <a:pt x="131" y="118"/>
                      </a:lnTo>
                      <a:lnTo>
                        <a:pt x="131" y="118"/>
                      </a:lnTo>
                      <a:lnTo>
                        <a:pt x="132" y="118"/>
                      </a:lnTo>
                      <a:lnTo>
                        <a:pt x="132" y="119"/>
                      </a:lnTo>
                      <a:lnTo>
                        <a:pt x="133" y="119"/>
                      </a:lnTo>
                      <a:lnTo>
                        <a:pt x="132" y="119"/>
                      </a:lnTo>
                      <a:lnTo>
                        <a:pt x="133" y="119"/>
                      </a:lnTo>
                      <a:lnTo>
                        <a:pt x="133" y="119"/>
                      </a:lnTo>
                      <a:lnTo>
                        <a:pt x="132" y="119"/>
                      </a:lnTo>
                      <a:lnTo>
                        <a:pt x="132" y="118"/>
                      </a:lnTo>
                      <a:lnTo>
                        <a:pt x="133" y="118"/>
                      </a:lnTo>
                      <a:lnTo>
                        <a:pt x="133" y="119"/>
                      </a:lnTo>
                      <a:lnTo>
                        <a:pt x="133" y="119"/>
                      </a:lnTo>
                      <a:lnTo>
                        <a:pt x="134" y="119"/>
                      </a:lnTo>
                      <a:lnTo>
                        <a:pt x="134" y="119"/>
                      </a:lnTo>
                      <a:lnTo>
                        <a:pt x="134" y="119"/>
                      </a:lnTo>
                      <a:lnTo>
                        <a:pt x="134" y="119"/>
                      </a:lnTo>
                      <a:lnTo>
                        <a:pt x="134" y="119"/>
                      </a:lnTo>
                      <a:lnTo>
                        <a:pt x="135" y="120"/>
                      </a:lnTo>
                      <a:lnTo>
                        <a:pt x="135" y="119"/>
                      </a:lnTo>
                      <a:lnTo>
                        <a:pt x="135" y="120"/>
                      </a:lnTo>
                      <a:lnTo>
                        <a:pt x="136" y="120"/>
                      </a:lnTo>
                      <a:lnTo>
                        <a:pt x="136" y="120"/>
                      </a:lnTo>
                      <a:lnTo>
                        <a:pt x="136" y="120"/>
                      </a:lnTo>
                      <a:lnTo>
                        <a:pt x="137" y="120"/>
                      </a:lnTo>
                      <a:lnTo>
                        <a:pt x="137" y="120"/>
                      </a:lnTo>
                      <a:lnTo>
                        <a:pt x="137" y="120"/>
                      </a:lnTo>
                      <a:lnTo>
                        <a:pt x="137" y="120"/>
                      </a:lnTo>
                      <a:lnTo>
                        <a:pt x="137" y="120"/>
                      </a:lnTo>
                      <a:lnTo>
                        <a:pt x="137" y="120"/>
                      </a:lnTo>
                      <a:lnTo>
                        <a:pt x="137" y="120"/>
                      </a:lnTo>
                      <a:lnTo>
                        <a:pt x="137" y="120"/>
                      </a:lnTo>
                      <a:lnTo>
                        <a:pt x="138" y="120"/>
                      </a:lnTo>
                      <a:lnTo>
                        <a:pt x="138" y="121"/>
                      </a:lnTo>
                      <a:lnTo>
                        <a:pt x="138" y="121"/>
                      </a:lnTo>
                      <a:lnTo>
                        <a:pt x="138" y="122"/>
                      </a:lnTo>
                      <a:lnTo>
                        <a:pt x="139" y="122"/>
                      </a:lnTo>
                      <a:lnTo>
                        <a:pt x="140" y="122"/>
                      </a:lnTo>
                      <a:lnTo>
                        <a:pt x="140" y="122"/>
                      </a:lnTo>
                      <a:lnTo>
                        <a:pt x="140" y="122"/>
                      </a:lnTo>
                      <a:lnTo>
                        <a:pt x="141" y="122"/>
                      </a:lnTo>
                      <a:lnTo>
                        <a:pt x="141" y="123"/>
                      </a:lnTo>
                      <a:lnTo>
                        <a:pt x="141" y="123"/>
                      </a:lnTo>
                      <a:lnTo>
                        <a:pt x="142" y="123"/>
                      </a:lnTo>
                      <a:lnTo>
                        <a:pt x="142" y="123"/>
                      </a:lnTo>
                      <a:lnTo>
                        <a:pt x="142" y="123"/>
                      </a:lnTo>
                      <a:lnTo>
                        <a:pt x="143" y="123"/>
                      </a:lnTo>
                      <a:lnTo>
                        <a:pt x="143" y="124"/>
                      </a:lnTo>
                      <a:lnTo>
                        <a:pt x="144" y="124"/>
                      </a:lnTo>
                      <a:lnTo>
                        <a:pt x="144" y="124"/>
                      </a:lnTo>
                      <a:lnTo>
                        <a:pt x="144" y="124"/>
                      </a:lnTo>
                      <a:lnTo>
                        <a:pt x="144" y="124"/>
                      </a:lnTo>
                      <a:lnTo>
                        <a:pt x="144" y="124"/>
                      </a:lnTo>
                      <a:lnTo>
                        <a:pt x="144" y="124"/>
                      </a:lnTo>
                      <a:lnTo>
                        <a:pt x="144" y="124"/>
                      </a:lnTo>
                      <a:lnTo>
                        <a:pt x="145" y="124"/>
                      </a:lnTo>
                      <a:lnTo>
                        <a:pt x="145" y="125"/>
                      </a:lnTo>
                      <a:lnTo>
                        <a:pt x="145" y="124"/>
                      </a:lnTo>
                      <a:lnTo>
                        <a:pt x="145" y="124"/>
                      </a:lnTo>
                      <a:lnTo>
                        <a:pt x="145" y="125"/>
                      </a:lnTo>
                      <a:lnTo>
                        <a:pt x="145" y="124"/>
                      </a:lnTo>
                      <a:lnTo>
                        <a:pt x="145" y="125"/>
                      </a:lnTo>
                      <a:lnTo>
                        <a:pt x="146" y="125"/>
                      </a:lnTo>
                      <a:lnTo>
                        <a:pt x="147" y="125"/>
                      </a:lnTo>
                      <a:lnTo>
                        <a:pt x="147" y="126"/>
                      </a:lnTo>
                      <a:lnTo>
                        <a:pt x="146" y="126"/>
                      </a:lnTo>
                      <a:lnTo>
                        <a:pt x="147" y="126"/>
                      </a:lnTo>
                      <a:lnTo>
                        <a:pt x="147" y="126"/>
                      </a:lnTo>
                      <a:lnTo>
                        <a:pt x="147" y="126"/>
                      </a:lnTo>
                      <a:lnTo>
                        <a:pt x="147" y="126"/>
                      </a:lnTo>
                      <a:lnTo>
                        <a:pt x="147" y="126"/>
                      </a:lnTo>
                      <a:lnTo>
                        <a:pt x="147" y="126"/>
                      </a:lnTo>
                      <a:lnTo>
                        <a:pt x="147" y="126"/>
                      </a:lnTo>
                      <a:lnTo>
                        <a:pt x="148" y="126"/>
                      </a:lnTo>
                      <a:lnTo>
                        <a:pt x="148" y="127"/>
                      </a:lnTo>
                      <a:lnTo>
                        <a:pt x="148" y="127"/>
                      </a:lnTo>
                      <a:lnTo>
                        <a:pt x="148" y="127"/>
                      </a:lnTo>
                      <a:lnTo>
                        <a:pt x="148" y="127"/>
                      </a:lnTo>
                      <a:lnTo>
                        <a:pt x="148" y="127"/>
                      </a:lnTo>
                      <a:lnTo>
                        <a:pt x="148" y="127"/>
                      </a:lnTo>
                      <a:lnTo>
                        <a:pt x="148" y="127"/>
                      </a:lnTo>
                      <a:lnTo>
                        <a:pt x="148" y="127"/>
                      </a:lnTo>
                      <a:lnTo>
                        <a:pt x="148" y="127"/>
                      </a:lnTo>
                      <a:lnTo>
                        <a:pt x="148" y="127"/>
                      </a:lnTo>
                      <a:lnTo>
                        <a:pt x="148" y="127"/>
                      </a:lnTo>
                      <a:lnTo>
                        <a:pt x="149" y="127"/>
                      </a:lnTo>
                      <a:lnTo>
                        <a:pt x="148" y="127"/>
                      </a:lnTo>
                      <a:lnTo>
                        <a:pt x="149" y="127"/>
                      </a:lnTo>
                      <a:lnTo>
                        <a:pt x="149" y="128"/>
                      </a:lnTo>
                      <a:lnTo>
                        <a:pt x="149" y="127"/>
                      </a:lnTo>
                      <a:lnTo>
                        <a:pt x="149" y="128"/>
                      </a:lnTo>
                      <a:lnTo>
                        <a:pt x="149" y="128"/>
                      </a:lnTo>
                      <a:lnTo>
                        <a:pt x="150" y="128"/>
                      </a:lnTo>
                      <a:lnTo>
                        <a:pt x="149" y="129"/>
                      </a:lnTo>
                      <a:lnTo>
                        <a:pt x="150" y="129"/>
                      </a:lnTo>
                      <a:lnTo>
                        <a:pt x="149" y="129"/>
                      </a:lnTo>
                      <a:lnTo>
                        <a:pt x="150" y="129"/>
                      </a:lnTo>
                      <a:lnTo>
                        <a:pt x="150" y="128"/>
                      </a:lnTo>
                      <a:lnTo>
                        <a:pt x="150" y="129"/>
                      </a:lnTo>
                      <a:lnTo>
                        <a:pt x="151" y="129"/>
                      </a:lnTo>
                      <a:lnTo>
                        <a:pt x="151" y="129"/>
                      </a:lnTo>
                      <a:lnTo>
                        <a:pt x="151" y="129"/>
                      </a:lnTo>
                      <a:lnTo>
                        <a:pt x="151" y="129"/>
                      </a:lnTo>
                      <a:lnTo>
                        <a:pt x="151" y="130"/>
                      </a:lnTo>
                      <a:lnTo>
                        <a:pt x="151" y="129"/>
                      </a:lnTo>
                      <a:lnTo>
                        <a:pt x="151" y="130"/>
                      </a:lnTo>
                      <a:lnTo>
                        <a:pt x="151" y="130"/>
                      </a:lnTo>
                      <a:lnTo>
                        <a:pt x="151" y="129"/>
                      </a:lnTo>
                      <a:lnTo>
                        <a:pt x="151" y="130"/>
                      </a:lnTo>
                      <a:lnTo>
                        <a:pt x="151" y="129"/>
                      </a:lnTo>
                      <a:lnTo>
                        <a:pt x="152" y="129"/>
                      </a:lnTo>
                      <a:lnTo>
                        <a:pt x="151" y="130"/>
                      </a:lnTo>
                      <a:lnTo>
                        <a:pt x="152" y="130"/>
                      </a:lnTo>
                      <a:lnTo>
                        <a:pt x="151" y="130"/>
                      </a:lnTo>
                      <a:lnTo>
                        <a:pt x="152" y="130"/>
                      </a:lnTo>
                      <a:lnTo>
                        <a:pt x="151" y="130"/>
                      </a:lnTo>
                      <a:lnTo>
                        <a:pt x="151" y="130"/>
                      </a:lnTo>
                      <a:lnTo>
                        <a:pt x="152" y="130"/>
                      </a:lnTo>
                      <a:lnTo>
                        <a:pt x="152" y="130"/>
                      </a:lnTo>
                      <a:lnTo>
                        <a:pt x="152" y="130"/>
                      </a:lnTo>
                      <a:lnTo>
                        <a:pt x="152" y="130"/>
                      </a:lnTo>
                      <a:lnTo>
                        <a:pt x="153" y="130"/>
                      </a:lnTo>
                      <a:lnTo>
                        <a:pt x="153" y="130"/>
                      </a:lnTo>
                      <a:lnTo>
                        <a:pt x="153" y="131"/>
                      </a:lnTo>
                      <a:lnTo>
                        <a:pt x="154" y="131"/>
                      </a:lnTo>
                      <a:lnTo>
                        <a:pt x="153" y="131"/>
                      </a:lnTo>
                      <a:lnTo>
                        <a:pt x="154" y="131"/>
                      </a:lnTo>
                      <a:lnTo>
                        <a:pt x="154" y="130"/>
                      </a:lnTo>
                      <a:lnTo>
                        <a:pt x="153" y="130"/>
                      </a:lnTo>
                      <a:lnTo>
                        <a:pt x="153" y="130"/>
                      </a:lnTo>
                      <a:lnTo>
                        <a:pt x="153" y="130"/>
                      </a:lnTo>
                      <a:lnTo>
                        <a:pt x="152" y="130"/>
                      </a:lnTo>
                      <a:lnTo>
                        <a:pt x="153" y="130"/>
                      </a:lnTo>
                      <a:lnTo>
                        <a:pt x="153" y="129"/>
                      </a:lnTo>
                      <a:lnTo>
                        <a:pt x="153" y="129"/>
                      </a:lnTo>
                      <a:lnTo>
                        <a:pt x="153" y="130"/>
                      </a:lnTo>
                      <a:lnTo>
                        <a:pt x="154" y="130"/>
                      </a:lnTo>
                      <a:lnTo>
                        <a:pt x="154" y="130"/>
                      </a:lnTo>
                      <a:lnTo>
                        <a:pt x="155" y="130"/>
                      </a:lnTo>
                      <a:lnTo>
                        <a:pt x="155" y="130"/>
                      </a:lnTo>
                      <a:lnTo>
                        <a:pt x="156" y="130"/>
                      </a:lnTo>
                      <a:lnTo>
                        <a:pt x="156" y="131"/>
                      </a:lnTo>
                      <a:lnTo>
                        <a:pt x="156" y="130"/>
                      </a:lnTo>
                      <a:lnTo>
                        <a:pt x="156" y="131"/>
                      </a:lnTo>
                      <a:lnTo>
                        <a:pt x="155" y="131"/>
                      </a:lnTo>
                      <a:lnTo>
                        <a:pt x="156" y="131"/>
                      </a:lnTo>
                      <a:lnTo>
                        <a:pt x="156" y="131"/>
                      </a:lnTo>
                      <a:lnTo>
                        <a:pt x="156" y="131"/>
                      </a:lnTo>
                      <a:lnTo>
                        <a:pt x="156" y="131"/>
                      </a:lnTo>
                      <a:lnTo>
                        <a:pt x="156" y="131"/>
                      </a:lnTo>
                      <a:lnTo>
                        <a:pt x="157" y="131"/>
                      </a:lnTo>
                      <a:lnTo>
                        <a:pt x="157" y="132"/>
                      </a:lnTo>
                      <a:lnTo>
                        <a:pt x="157" y="132"/>
                      </a:lnTo>
                      <a:lnTo>
                        <a:pt x="158" y="132"/>
                      </a:lnTo>
                      <a:lnTo>
                        <a:pt x="158" y="133"/>
                      </a:lnTo>
                      <a:lnTo>
                        <a:pt x="159" y="133"/>
                      </a:lnTo>
                      <a:lnTo>
                        <a:pt x="159" y="133"/>
                      </a:lnTo>
                      <a:lnTo>
                        <a:pt x="159" y="133"/>
                      </a:lnTo>
                      <a:lnTo>
                        <a:pt x="160" y="133"/>
                      </a:lnTo>
                      <a:lnTo>
                        <a:pt x="160" y="134"/>
                      </a:lnTo>
                      <a:lnTo>
                        <a:pt x="160" y="134"/>
                      </a:lnTo>
                      <a:lnTo>
                        <a:pt x="160" y="134"/>
                      </a:lnTo>
                      <a:lnTo>
                        <a:pt x="160" y="134"/>
                      </a:lnTo>
                      <a:lnTo>
                        <a:pt x="160" y="134"/>
                      </a:lnTo>
                      <a:lnTo>
                        <a:pt x="161" y="134"/>
                      </a:lnTo>
                      <a:lnTo>
                        <a:pt x="161" y="134"/>
                      </a:lnTo>
                      <a:lnTo>
                        <a:pt x="162" y="134"/>
                      </a:lnTo>
                      <a:lnTo>
                        <a:pt x="161" y="134"/>
                      </a:lnTo>
                      <a:lnTo>
                        <a:pt x="162" y="134"/>
                      </a:lnTo>
                      <a:lnTo>
                        <a:pt x="162" y="134"/>
                      </a:lnTo>
                      <a:lnTo>
                        <a:pt x="162" y="134"/>
                      </a:lnTo>
                      <a:lnTo>
                        <a:pt x="163" y="134"/>
                      </a:lnTo>
                      <a:lnTo>
                        <a:pt x="163" y="134"/>
                      </a:lnTo>
                      <a:lnTo>
                        <a:pt x="163" y="134"/>
                      </a:lnTo>
                      <a:lnTo>
                        <a:pt x="163" y="134"/>
                      </a:lnTo>
                      <a:lnTo>
                        <a:pt x="163" y="133"/>
                      </a:lnTo>
                      <a:lnTo>
                        <a:pt x="162" y="133"/>
                      </a:lnTo>
                      <a:lnTo>
                        <a:pt x="163" y="133"/>
                      </a:lnTo>
                      <a:lnTo>
                        <a:pt x="163" y="133"/>
                      </a:lnTo>
                      <a:lnTo>
                        <a:pt x="163" y="133"/>
                      </a:lnTo>
                      <a:lnTo>
                        <a:pt x="163" y="133"/>
                      </a:lnTo>
                      <a:lnTo>
                        <a:pt x="163" y="133"/>
                      </a:lnTo>
                      <a:lnTo>
                        <a:pt x="163" y="134"/>
                      </a:lnTo>
                      <a:lnTo>
                        <a:pt x="164" y="134"/>
                      </a:lnTo>
                      <a:lnTo>
                        <a:pt x="163" y="134"/>
                      </a:lnTo>
                      <a:lnTo>
                        <a:pt x="164" y="134"/>
                      </a:lnTo>
                      <a:lnTo>
                        <a:pt x="164" y="134"/>
                      </a:lnTo>
                      <a:lnTo>
                        <a:pt x="164" y="135"/>
                      </a:lnTo>
                      <a:lnTo>
                        <a:pt x="164" y="135"/>
                      </a:lnTo>
                      <a:lnTo>
                        <a:pt x="165" y="135"/>
                      </a:lnTo>
                      <a:lnTo>
                        <a:pt x="165" y="135"/>
                      </a:lnTo>
                      <a:lnTo>
                        <a:pt x="166" y="135"/>
                      </a:lnTo>
                      <a:lnTo>
                        <a:pt x="166" y="135"/>
                      </a:lnTo>
                      <a:lnTo>
                        <a:pt x="166" y="135"/>
                      </a:lnTo>
                      <a:lnTo>
                        <a:pt x="166" y="135"/>
                      </a:lnTo>
                      <a:lnTo>
                        <a:pt x="166" y="136"/>
                      </a:lnTo>
                      <a:lnTo>
                        <a:pt x="166" y="135"/>
                      </a:lnTo>
                      <a:lnTo>
                        <a:pt x="166" y="136"/>
                      </a:lnTo>
                      <a:lnTo>
                        <a:pt x="166" y="135"/>
                      </a:lnTo>
                      <a:lnTo>
                        <a:pt x="166" y="136"/>
                      </a:lnTo>
                      <a:lnTo>
                        <a:pt x="166" y="135"/>
                      </a:lnTo>
                      <a:lnTo>
                        <a:pt x="166" y="136"/>
                      </a:lnTo>
                      <a:lnTo>
                        <a:pt x="167" y="136"/>
                      </a:lnTo>
                      <a:lnTo>
                        <a:pt x="167" y="136"/>
                      </a:lnTo>
                      <a:lnTo>
                        <a:pt x="167" y="137"/>
                      </a:lnTo>
                      <a:lnTo>
                        <a:pt x="167" y="137"/>
                      </a:lnTo>
                      <a:lnTo>
                        <a:pt x="166" y="137"/>
                      </a:lnTo>
                      <a:lnTo>
                        <a:pt x="167" y="137"/>
                      </a:lnTo>
                      <a:lnTo>
                        <a:pt x="167" y="137"/>
                      </a:lnTo>
                      <a:lnTo>
                        <a:pt x="167" y="138"/>
                      </a:lnTo>
                      <a:lnTo>
                        <a:pt x="168" y="138"/>
                      </a:lnTo>
                      <a:lnTo>
                        <a:pt x="168" y="138"/>
                      </a:lnTo>
                      <a:lnTo>
                        <a:pt x="168" y="138"/>
                      </a:lnTo>
                      <a:lnTo>
                        <a:pt x="168" y="138"/>
                      </a:lnTo>
                      <a:lnTo>
                        <a:pt x="168" y="137"/>
                      </a:lnTo>
                      <a:lnTo>
                        <a:pt x="169" y="137"/>
                      </a:lnTo>
                      <a:lnTo>
                        <a:pt x="169" y="138"/>
                      </a:lnTo>
                      <a:lnTo>
                        <a:pt x="169" y="137"/>
                      </a:lnTo>
                      <a:lnTo>
                        <a:pt x="170" y="137"/>
                      </a:lnTo>
                      <a:lnTo>
                        <a:pt x="169" y="137"/>
                      </a:lnTo>
                      <a:lnTo>
                        <a:pt x="170" y="137"/>
                      </a:lnTo>
                      <a:lnTo>
                        <a:pt x="170" y="138"/>
                      </a:lnTo>
                      <a:lnTo>
                        <a:pt x="170" y="137"/>
                      </a:lnTo>
                      <a:lnTo>
                        <a:pt x="170" y="138"/>
                      </a:lnTo>
                      <a:lnTo>
                        <a:pt x="170" y="138"/>
                      </a:lnTo>
                      <a:lnTo>
                        <a:pt x="170" y="138"/>
                      </a:lnTo>
                      <a:lnTo>
                        <a:pt x="170" y="138"/>
                      </a:lnTo>
                      <a:lnTo>
                        <a:pt x="170" y="138"/>
                      </a:lnTo>
                      <a:lnTo>
                        <a:pt x="170" y="138"/>
                      </a:lnTo>
                      <a:lnTo>
                        <a:pt x="170" y="138"/>
                      </a:lnTo>
                      <a:lnTo>
                        <a:pt x="171" y="138"/>
                      </a:lnTo>
                      <a:lnTo>
                        <a:pt x="171" y="138"/>
                      </a:lnTo>
                      <a:lnTo>
                        <a:pt x="171" y="139"/>
                      </a:lnTo>
                      <a:lnTo>
                        <a:pt x="171" y="138"/>
                      </a:lnTo>
                      <a:lnTo>
                        <a:pt x="171" y="139"/>
                      </a:lnTo>
                      <a:lnTo>
                        <a:pt x="171" y="138"/>
                      </a:lnTo>
                      <a:lnTo>
                        <a:pt x="172" y="138"/>
                      </a:lnTo>
                      <a:lnTo>
                        <a:pt x="172" y="139"/>
                      </a:lnTo>
                      <a:lnTo>
                        <a:pt x="172" y="138"/>
                      </a:lnTo>
                      <a:lnTo>
                        <a:pt x="172" y="139"/>
                      </a:lnTo>
                      <a:lnTo>
                        <a:pt x="172" y="140"/>
                      </a:lnTo>
                      <a:lnTo>
                        <a:pt x="173" y="140"/>
                      </a:lnTo>
                      <a:lnTo>
                        <a:pt x="172" y="140"/>
                      </a:lnTo>
                      <a:lnTo>
                        <a:pt x="173" y="140"/>
                      </a:lnTo>
                      <a:lnTo>
                        <a:pt x="173" y="140"/>
                      </a:lnTo>
                      <a:lnTo>
                        <a:pt x="173" y="141"/>
                      </a:lnTo>
                      <a:lnTo>
                        <a:pt x="172" y="141"/>
                      </a:lnTo>
                      <a:lnTo>
                        <a:pt x="172" y="141"/>
                      </a:lnTo>
                      <a:lnTo>
                        <a:pt x="173" y="141"/>
                      </a:lnTo>
                      <a:lnTo>
                        <a:pt x="172" y="141"/>
                      </a:lnTo>
                      <a:lnTo>
                        <a:pt x="173" y="141"/>
                      </a:lnTo>
                      <a:lnTo>
                        <a:pt x="172" y="141"/>
                      </a:lnTo>
                      <a:lnTo>
                        <a:pt x="172" y="142"/>
                      </a:lnTo>
                      <a:lnTo>
                        <a:pt x="172" y="142"/>
                      </a:lnTo>
                      <a:lnTo>
                        <a:pt x="172" y="142"/>
                      </a:lnTo>
                      <a:lnTo>
                        <a:pt x="172" y="142"/>
                      </a:lnTo>
                      <a:lnTo>
                        <a:pt x="172" y="142"/>
                      </a:lnTo>
                      <a:lnTo>
                        <a:pt x="172" y="142"/>
                      </a:lnTo>
                      <a:lnTo>
                        <a:pt x="172" y="142"/>
                      </a:lnTo>
                      <a:lnTo>
                        <a:pt x="172" y="142"/>
                      </a:lnTo>
                      <a:lnTo>
                        <a:pt x="173" y="142"/>
                      </a:lnTo>
                      <a:lnTo>
                        <a:pt x="173" y="142"/>
                      </a:lnTo>
                      <a:lnTo>
                        <a:pt x="173" y="142"/>
                      </a:lnTo>
                      <a:lnTo>
                        <a:pt x="173" y="143"/>
                      </a:lnTo>
                      <a:lnTo>
                        <a:pt x="173" y="142"/>
                      </a:lnTo>
                      <a:lnTo>
                        <a:pt x="173" y="143"/>
                      </a:lnTo>
                      <a:lnTo>
                        <a:pt x="173" y="144"/>
                      </a:lnTo>
                      <a:lnTo>
                        <a:pt x="173" y="144"/>
                      </a:lnTo>
                      <a:lnTo>
                        <a:pt x="173" y="145"/>
                      </a:lnTo>
                      <a:lnTo>
                        <a:pt x="173" y="145"/>
                      </a:lnTo>
                      <a:lnTo>
                        <a:pt x="173" y="145"/>
                      </a:lnTo>
                      <a:lnTo>
                        <a:pt x="173" y="145"/>
                      </a:lnTo>
                      <a:lnTo>
                        <a:pt x="173" y="145"/>
                      </a:lnTo>
                      <a:lnTo>
                        <a:pt x="173" y="145"/>
                      </a:lnTo>
                      <a:lnTo>
                        <a:pt x="173" y="145"/>
                      </a:lnTo>
                      <a:lnTo>
                        <a:pt x="174" y="145"/>
                      </a:lnTo>
                      <a:lnTo>
                        <a:pt x="174" y="146"/>
                      </a:lnTo>
                      <a:lnTo>
                        <a:pt x="174" y="146"/>
                      </a:lnTo>
                      <a:lnTo>
                        <a:pt x="174" y="145"/>
                      </a:lnTo>
                      <a:lnTo>
                        <a:pt x="174" y="146"/>
                      </a:lnTo>
                      <a:lnTo>
                        <a:pt x="174" y="145"/>
                      </a:lnTo>
                      <a:lnTo>
                        <a:pt x="175" y="145"/>
                      </a:lnTo>
                      <a:lnTo>
                        <a:pt x="175" y="146"/>
                      </a:lnTo>
                      <a:lnTo>
                        <a:pt x="175" y="146"/>
                      </a:lnTo>
                      <a:lnTo>
                        <a:pt x="174" y="146"/>
                      </a:lnTo>
                      <a:lnTo>
                        <a:pt x="175" y="146"/>
                      </a:lnTo>
                      <a:lnTo>
                        <a:pt x="175" y="147"/>
                      </a:lnTo>
                      <a:lnTo>
                        <a:pt x="175" y="147"/>
                      </a:lnTo>
                      <a:lnTo>
                        <a:pt x="175" y="147"/>
                      </a:lnTo>
                      <a:lnTo>
                        <a:pt x="175" y="148"/>
                      </a:lnTo>
                      <a:lnTo>
                        <a:pt x="175" y="148"/>
                      </a:lnTo>
                      <a:lnTo>
                        <a:pt x="175" y="149"/>
                      </a:lnTo>
                      <a:lnTo>
                        <a:pt x="174" y="149"/>
                      </a:lnTo>
                      <a:lnTo>
                        <a:pt x="174" y="148"/>
                      </a:lnTo>
                      <a:lnTo>
                        <a:pt x="174" y="148"/>
                      </a:lnTo>
                      <a:lnTo>
                        <a:pt x="174" y="148"/>
                      </a:lnTo>
                      <a:lnTo>
                        <a:pt x="173" y="148"/>
                      </a:lnTo>
                      <a:lnTo>
                        <a:pt x="173" y="147"/>
                      </a:lnTo>
                      <a:lnTo>
                        <a:pt x="173" y="147"/>
                      </a:lnTo>
                      <a:lnTo>
                        <a:pt x="173" y="146"/>
                      </a:lnTo>
                      <a:lnTo>
                        <a:pt x="172" y="146"/>
                      </a:lnTo>
                      <a:lnTo>
                        <a:pt x="172" y="147"/>
                      </a:lnTo>
                      <a:lnTo>
                        <a:pt x="171" y="147"/>
                      </a:lnTo>
                      <a:lnTo>
                        <a:pt x="171" y="147"/>
                      </a:lnTo>
                      <a:lnTo>
                        <a:pt x="170" y="147"/>
                      </a:lnTo>
                      <a:lnTo>
                        <a:pt x="170" y="146"/>
                      </a:lnTo>
                      <a:lnTo>
                        <a:pt x="170" y="146"/>
                      </a:lnTo>
                      <a:lnTo>
                        <a:pt x="169" y="146"/>
                      </a:lnTo>
                      <a:lnTo>
                        <a:pt x="169" y="147"/>
                      </a:lnTo>
                      <a:lnTo>
                        <a:pt x="168" y="146"/>
                      </a:lnTo>
                      <a:lnTo>
                        <a:pt x="168" y="147"/>
                      </a:lnTo>
                      <a:lnTo>
                        <a:pt x="168" y="146"/>
                      </a:lnTo>
                      <a:lnTo>
                        <a:pt x="169" y="147"/>
                      </a:lnTo>
                      <a:lnTo>
                        <a:pt x="169" y="146"/>
                      </a:lnTo>
                      <a:lnTo>
                        <a:pt x="170" y="146"/>
                      </a:lnTo>
                      <a:lnTo>
                        <a:pt x="170" y="146"/>
                      </a:lnTo>
                      <a:lnTo>
                        <a:pt x="170" y="147"/>
                      </a:lnTo>
                      <a:lnTo>
                        <a:pt x="171" y="147"/>
                      </a:lnTo>
                      <a:lnTo>
                        <a:pt x="171" y="147"/>
                      </a:lnTo>
                      <a:lnTo>
                        <a:pt x="172" y="147"/>
                      </a:lnTo>
                      <a:lnTo>
                        <a:pt x="172" y="146"/>
                      </a:lnTo>
                      <a:lnTo>
                        <a:pt x="173" y="146"/>
                      </a:lnTo>
                      <a:lnTo>
                        <a:pt x="173" y="147"/>
                      </a:lnTo>
                      <a:lnTo>
                        <a:pt x="173" y="147"/>
                      </a:lnTo>
                      <a:lnTo>
                        <a:pt x="173" y="148"/>
                      </a:lnTo>
                      <a:lnTo>
                        <a:pt x="174" y="148"/>
                      </a:lnTo>
                      <a:lnTo>
                        <a:pt x="174" y="148"/>
                      </a:lnTo>
                      <a:lnTo>
                        <a:pt x="174" y="149"/>
                      </a:lnTo>
                      <a:lnTo>
                        <a:pt x="174" y="149"/>
                      </a:lnTo>
                      <a:lnTo>
                        <a:pt x="174" y="150"/>
                      </a:lnTo>
                      <a:lnTo>
                        <a:pt x="174" y="151"/>
                      </a:lnTo>
                      <a:lnTo>
                        <a:pt x="174" y="151"/>
                      </a:lnTo>
                      <a:lnTo>
                        <a:pt x="174" y="151"/>
                      </a:lnTo>
                      <a:lnTo>
                        <a:pt x="174" y="152"/>
                      </a:lnTo>
                      <a:lnTo>
                        <a:pt x="173" y="152"/>
                      </a:lnTo>
                      <a:lnTo>
                        <a:pt x="173" y="152"/>
                      </a:lnTo>
                      <a:lnTo>
                        <a:pt x="173" y="152"/>
                      </a:lnTo>
                      <a:lnTo>
                        <a:pt x="172" y="152"/>
                      </a:lnTo>
                      <a:lnTo>
                        <a:pt x="172" y="153"/>
                      </a:lnTo>
                      <a:lnTo>
                        <a:pt x="172" y="152"/>
                      </a:lnTo>
                      <a:lnTo>
                        <a:pt x="172" y="153"/>
                      </a:lnTo>
                      <a:lnTo>
                        <a:pt x="172" y="152"/>
                      </a:lnTo>
                      <a:lnTo>
                        <a:pt x="172" y="153"/>
                      </a:lnTo>
                      <a:lnTo>
                        <a:pt x="171" y="153"/>
                      </a:lnTo>
                      <a:lnTo>
                        <a:pt x="171" y="153"/>
                      </a:lnTo>
                      <a:lnTo>
                        <a:pt x="171" y="153"/>
                      </a:lnTo>
                      <a:lnTo>
                        <a:pt x="171" y="153"/>
                      </a:lnTo>
                      <a:lnTo>
                        <a:pt x="171" y="154"/>
                      </a:lnTo>
                      <a:lnTo>
                        <a:pt x="171" y="153"/>
                      </a:lnTo>
                      <a:lnTo>
                        <a:pt x="171" y="154"/>
                      </a:lnTo>
                      <a:lnTo>
                        <a:pt x="170" y="154"/>
                      </a:lnTo>
                      <a:lnTo>
                        <a:pt x="170" y="155"/>
                      </a:lnTo>
                      <a:lnTo>
                        <a:pt x="170" y="155"/>
                      </a:lnTo>
                      <a:lnTo>
                        <a:pt x="170" y="155"/>
                      </a:lnTo>
                      <a:lnTo>
                        <a:pt x="169" y="155"/>
                      </a:lnTo>
                      <a:lnTo>
                        <a:pt x="169" y="156"/>
                      </a:lnTo>
                      <a:lnTo>
                        <a:pt x="169" y="155"/>
                      </a:lnTo>
                      <a:lnTo>
                        <a:pt x="169" y="156"/>
                      </a:lnTo>
                      <a:lnTo>
                        <a:pt x="168" y="156"/>
                      </a:lnTo>
                      <a:lnTo>
                        <a:pt x="168" y="156"/>
                      </a:lnTo>
                      <a:lnTo>
                        <a:pt x="168" y="156"/>
                      </a:lnTo>
                      <a:lnTo>
                        <a:pt x="168" y="156"/>
                      </a:lnTo>
                      <a:lnTo>
                        <a:pt x="168" y="156"/>
                      </a:lnTo>
                      <a:lnTo>
                        <a:pt x="168" y="157"/>
                      </a:lnTo>
                      <a:lnTo>
                        <a:pt x="167" y="157"/>
                      </a:lnTo>
                      <a:lnTo>
                        <a:pt x="167" y="157"/>
                      </a:lnTo>
                      <a:lnTo>
                        <a:pt x="167" y="157"/>
                      </a:lnTo>
                      <a:lnTo>
                        <a:pt x="167" y="157"/>
                      </a:lnTo>
                      <a:lnTo>
                        <a:pt x="167" y="157"/>
                      </a:lnTo>
                      <a:lnTo>
                        <a:pt x="167" y="157"/>
                      </a:lnTo>
                      <a:lnTo>
                        <a:pt x="167" y="157"/>
                      </a:lnTo>
                      <a:lnTo>
                        <a:pt x="166" y="157"/>
                      </a:lnTo>
                      <a:lnTo>
                        <a:pt x="166" y="157"/>
                      </a:lnTo>
                      <a:lnTo>
                        <a:pt x="166" y="157"/>
                      </a:lnTo>
                      <a:lnTo>
                        <a:pt x="166" y="157"/>
                      </a:lnTo>
                      <a:lnTo>
                        <a:pt x="166" y="158"/>
                      </a:lnTo>
                      <a:lnTo>
                        <a:pt x="165" y="158"/>
                      </a:lnTo>
                      <a:lnTo>
                        <a:pt x="165" y="159"/>
                      </a:lnTo>
                      <a:lnTo>
                        <a:pt x="164" y="159"/>
                      </a:lnTo>
                      <a:lnTo>
                        <a:pt x="164" y="159"/>
                      </a:lnTo>
                      <a:lnTo>
                        <a:pt x="164" y="159"/>
                      </a:lnTo>
                      <a:lnTo>
                        <a:pt x="164" y="159"/>
                      </a:lnTo>
                      <a:lnTo>
                        <a:pt x="163" y="159"/>
                      </a:lnTo>
                      <a:lnTo>
                        <a:pt x="163" y="159"/>
                      </a:lnTo>
                      <a:lnTo>
                        <a:pt x="162" y="159"/>
                      </a:lnTo>
                      <a:lnTo>
                        <a:pt x="162" y="160"/>
                      </a:lnTo>
                      <a:lnTo>
                        <a:pt x="162" y="160"/>
                      </a:lnTo>
                      <a:lnTo>
                        <a:pt x="161" y="160"/>
                      </a:lnTo>
                      <a:lnTo>
                        <a:pt x="160" y="160"/>
                      </a:lnTo>
                      <a:lnTo>
                        <a:pt x="160" y="160"/>
                      </a:lnTo>
                      <a:lnTo>
                        <a:pt x="159" y="160"/>
                      </a:lnTo>
                      <a:lnTo>
                        <a:pt x="159" y="160"/>
                      </a:lnTo>
                      <a:lnTo>
                        <a:pt x="158" y="160"/>
                      </a:lnTo>
                      <a:lnTo>
                        <a:pt x="157" y="161"/>
                      </a:lnTo>
                      <a:lnTo>
                        <a:pt x="157" y="161"/>
                      </a:lnTo>
                      <a:lnTo>
                        <a:pt x="156" y="161"/>
                      </a:lnTo>
                      <a:lnTo>
                        <a:pt x="156" y="161"/>
                      </a:lnTo>
                      <a:lnTo>
                        <a:pt x="155" y="161"/>
                      </a:lnTo>
                      <a:lnTo>
                        <a:pt x="155" y="161"/>
                      </a:lnTo>
                      <a:lnTo>
                        <a:pt x="155" y="162"/>
                      </a:lnTo>
                      <a:lnTo>
                        <a:pt x="154" y="162"/>
                      </a:lnTo>
                      <a:lnTo>
                        <a:pt x="153" y="162"/>
                      </a:lnTo>
                      <a:lnTo>
                        <a:pt x="153" y="162"/>
                      </a:lnTo>
                      <a:lnTo>
                        <a:pt x="152" y="162"/>
                      </a:lnTo>
                      <a:lnTo>
                        <a:pt x="152" y="162"/>
                      </a:lnTo>
                      <a:lnTo>
                        <a:pt x="151" y="162"/>
                      </a:lnTo>
                      <a:lnTo>
                        <a:pt x="152" y="162"/>
                      </a:lnTo>
                      <a:lnTo>
                        <a:pt x="151" y="162"/>
                      </a:lnTo>
                      <a:lnTo>
                        <a:pt x="151" y="162"/>
                      </a:lnTo>
                      <a:lnTo>
                        <a:pt x="150" y="162"/>
                      </a:lnTo>
                      <a:lnTo>
                        <a:pt x="149" y="162"/>
                      </a:lnTo>
                      <a:lnTo>
                        <a:pt x="149" y="162"/>
                      </a:lnTo>
                      <a:lnTo>
                        <a:pt x="148" y="162"/>
                      </a:lnTo>
                      <a:lnTo>
                        <a:pt x="148" y="162"/>
                      </a:lnTo>
                      <a:lnTo>
                        <a:pt x="147" y="162"/>
                      </a:lnTo>
                      <a:lnTo>
                        <a:pt x="147" y="161"/>
                      </a:lnTo>
                      <a:lnTo>
                        <a:pt x="147" y="161"/>
                      </a:lnTo>
                      <a:lnTo>
                        <a:pt x="146" y="161"/>
                      </a:lnTo>
                      <a:lnTo>
                        <a:pt x="145" y="161"/>
                      </a:lnTo>
                      <a:lnTo>
                        <a:pt x="145" y="161"/>
                      </a:lnTo>
                      <a:lnTo>
                        <a:pt x="145" y="160"/>
                      </a:lnTo>
                      <a:lnTo>
                        <a:pt x="144" y="160"/>
                      </a:lnTo>
                      <a:lnTo>
                        <a:pt x="144" y="160"/>
                      </a:lnTo>
                      <a:lnTo>
                        <a:pt x="144" y="160"/>
                      </a:lnTo>
                      <a:lnTo>
                        <a:pt x="143" y="160"/>
                      </a:lnTo>
                      <a:lnTo>
                        <a:pt x="142" y="160"/>
                      </a:lnTo>
                      <a:lnTo>
                        <a:pt x="142" y="159"/>
                      </a:lnTo>
                      <a:lnTo>
                        <a:pt x="141" y="159"/>
                      </a:lnTo>
                      <a:lnTo>
                        <a:pt x="141" y="159"/>
                      </a:lnTo>
                      <a:lnTo>
                        <a:pt x="140" y="159"/>
                      </a:lnTo>
                      <a:lnTo>
                        <a:pt x="139" y="159"/>
                      </a:lnTo>
                      <a:lnTo>
                        <a:pt x="139" y="158"/>
                      </a:lnTo>
                      <a:lnTo>
                        <a:pt x="139" y="159"/>
                      </a:lnTo>
                      <a:lnTo>
                        <a:pt x="138" y="159"/>
                      </a:lnTo>
                      <a:lnTo>
                        <a:pt x="138" y="158"/>
                      </a:lnTo>
                      <a:lnTo>
                        <a:pt x="138" y="159"/>
                      </a:lnTo>
                      <a:lnTo>
                        <a:pt x="138" y="158"/>
                      </a:lnTo>
                      <a:lnTo>
                        <a:pt x="138" y="158"/>
                      </a:lnTo>
                      <a:lnTo>
                        <a:pt x="137" y="157"/>
                      </a:lnTo>
                      <a:lnTo>
                        <a:pt x="138" y="157"/>
                      </a:lnTo>
                      <a:lnTo>
                        <a:pt x="137" y="157"/>
                      </a:lnTo>
                      <a:lnTo>
                        <a:pt x="137" y="157"/>
                      </a:lnTo>
                      <a:lnTo>
                        <a:pt x="137" y="157"/>
                      </a:lnTo>
                      <a:lnTo>
                        <a:pt x="137" y="157"/>
                      </a:lnTo>
                      <a:lnTo>
                        <a:pt x="137" y="157"/>
                      </a:lnTo>
                      <a:lnTo>
                        <a:pt x="137" y="158"/>
                      </a:lnTo>
                      <a:lnTo>
                        <a:pt x="138" y="158"/>
                      </a:lnTo>
                      <a:lnTo>
                        <a:pt x="137" y="158"/>
                      </a:lnTo>
                      <a:lnTo>
                        <a:pt x="138" y="158"/>
                      </a:lnTo>
                      <a:lnTo>
                        <a:pt x="138" y="158"/>
                      </a:lnTo>
                      <a:lnTo>
                        <a:pt x="138" y="159"/>
                      </a:lnTo>
                      <a:lnTo>
                        <a:pt x="139" y="159"/>
                      </a:lnTo>
                      <a:lnTo>
                        <a:pt x="140" y="159"/>
                      </a:lnTo>
                      <a:lnTo>
                        <a:pt x="139" y="159"/>
                      </a:lnTo>
                      <a:lnTo>
                        <a:pt x="138" y="159"/>
                      </a:lnTo>
                      <a:lnTo>
                        <a:pt x="138" y="159"/>
                      </a:lnTo>
                      <a:lnTo>
                        <a:pt x="137" y="159"/>
                      </a:lnTo>
                      <a:lnTo>
                        <a:pt x="137" y="159"/>
                      </a:lnTo>
                      <a:lnTo>
                        <a:pt x="136" y="159"/>
                      </a:lnTo>
                      <a:lnTo>
                        <a:pt x="136" y="159"/>
                      </a:lnTo>
                      <a:lnTo>
                        <a:pt x="135" y="159"/>
                      </a:lnTo>
                      <a:lnTo>
                        <a:pt x="134" y="158"/>
                      </a:lnTo>
                      <a:lnTo>
                        <a:pt x="134" y="158"/>
                      </a:lnTo>
                      <a:lnTo>
                        <a:pt x="133" y="158"/>
                      </a:lnTo>
                      <a:lnTo>
                        <a:pt x="132" y="158"/>
                      </a:lnTo>
                      <a:lnTo>
                        <a:pt x="132" y="157"/>
                      </a:lnTo>
                      <a:lnTo>
                        <a:pt x="131" y="157"/>
                      </a:lnTo>
                      <a:lnTo>
                        <a:pt x="131" y="157"/>
                      </a:lnTo>
                      <a:lnTo>
                        <a:pt x="130" y="157"/>
                      </a:lnTo>
                      <a:lnTo>
                        <a:pt x="130" y="157"/>
                      </a:lnTo>
                      <a:lnTo>
                        <a:pt x="129" y="157"/>
                      </a:lnTo>
                      <a:lnTo>
                        <a:pt x="129" y="157"/>
                      </a:lnTo>
                      <a:lnTo>
                        <a:pt x="129" y="157"/>
                      </a:lnTo>
                      <a:lnTo>
                        <a:pt x="128" y="157"/>
                      </a:lnTo>
                      <a:lnTo>
                        <a:pt x="127" y="157"/>
                      </a:lnTo>
                      <a:lnTo>
                        <a:pt x="127" y="157"/>
                      </a:lnTo>
                      <a:lnTo>
                        <a:pt x="127" y="156"/>
                      </a:lnTo>
                      <a:lnTo>
                        <a:pt x="126" y="156"/>
                      </a:lnTo>
                      <a:lnTo>
                        <a:pt x="126" y="156"/>
                      </a:lnTo>
                      <a:lnTo>
                        <a:pt x="126" y="156"/>
                      </a:lnTo>
                      <a:lnTo>
                        <a:pt x="126" y="156"/>
                      </a:lnTo>
                      <a:lnTo>
                        <a:pt x="126" y="156"/>
                      </a:lnTo>
                      <a:lnTo>
                        <a:pt x="125" y="156"/>
                      </a:lnTo>
                      <a:lnTo>
                        <a:pt x="125" y="155"/>
                      </a:lnTo>
                      <a:lnTo>
                        <a:pt x="125" y="156"/>
                      </a:lnTo>
                      <a:lnTo>
                        <a:pt x="125" y="155"/>
                      </a:lnTo>
                      <a:lnTo>
                        <a:pt x="124" y="155"/>
                      </a:lnTo>
                      <a:lnTo>
                        <a:pt x="124" y="155"/>
                      </a:lnTo>
                      <a:lnTo>
                        <a:pt x="123" y="155"/>
                      </a:lnTo>
                      <a:lnTo>
                        <a:pt x="123" y="154"/>
                      </a:lnTo>
                      <a:lnTo>
                        <a:pt x="123" y="154"/>
                      </a:lnTo>
                      <a:lnTo>
                        <a:pt x="122" y="154"/>
                      </a:lnTo>
                      <a:lnTo>
                        <a:pt x="122" y="154"/>
                      </a:lnTo>
                      <a:lnTo>
                        <a:pt x="122" y="155"/>
                      </a:lnTo>
                      <a:lnTo>
                        <a:pt x="121" y="155"/>
                      </a:lnTo>
                      <a:lnTo>
                        <a:pt x="122" y="155"/>
                      </a:lnTo>
                      <a:lnTo>
                        <a:pt x="121" y="155"/>
                      </a:lnTo>
                      <a:lnTo>
                        <a:pt x="121" y="155"/>
                      </a:lnTo>
                      <a:lnTo>
                        <a:pt x="121" y="155"/>
                      </a:lnTo>
                      <a:lnTo>
                        <a:pt x="120" y="155"/>
                      </a:lnTo>
                      <a:lnTo>
                        <a:pt x="119" y="155"/>
                      </a:lnTo>
                      <a:lnTo>
                        <a:pt x="119" y="155"/>
                      </a:lnTo>
                      <a:lnTo>
                        <a:pt x="119" y="154"/>
                      </a:lnTo>
                      <a:lnTo>
                        <a:pt x="119" y="154"/>
                      </a:lnTo>
                      <a:lnTo>
                        <a:pt x="119" y="153"/>
                      </a:lnTo>
                      <a:lnTo>
                        <a:pt x="119" y="154"/>
                      </a:lnTo>
                      <a:lnTo>
                        <a:pt x="120" y="154"/>
                      </a:lnTo>
                      <a:lnTo>
                        <a:pt x="120" y="153"/>
                      </a:lnTo>
                      <a:lnTo>
                        <a:pt x="120" y="154"/>
                      </a:lnTo>
                      <a:lnTo>
                        <a:pt x="121" y="154"/>
                      </a:lnTo>
                      <a:lnTo>
                        <a:pt x="120" y="153"/>
                      </a:lnTo>
                      <a:lnTo>
                        <a:pt x="119" y="153"/>
                      </a:lnTo>
                      <a:lnTo>
                        <a:pt x="119" y="153"/>
                      </a:lnTo>
                      <a:lnTo>
                        <a:pt x="119" y="153"/>
                      </a:lnTo>
                      <a:lnTo>
                        <a:pt x="119" y="153"/>
                      </a:lnTo>
                      <a:lnTo>
                        <a:pt x="119" y="153"/>
                      </a:lnTo>
                      <a:lnTo>
                        <a:pt x="119" y="153"/>
                      </a:lnTo>
                      <a:lnTo>
                        <a:pt x="119" y="153"/>
                      </a:lnTo>
                      <a:lnTo>
                        <a:pt x="119" y="153"/>
                      </a:lnTo>
                      <a:lnTo>
                        <a:pt x="118" y="153"/>
                      </a:lnTo>
                      <a:lnTo>
                        <a:pt x="118" y="153"/>
                      </a:lnTo>
                      <a:lnTo>
                        <a:pt x="118" y="153"/>
                      </a:lnTo>
                      <a:lnTo>
                        <a:pt x="118" y="153"/>
                      </a:lnTo>
                      <a:lnTo>
                        <a:pt x="118" y="153"/>
                      </a:lnTo>
                      <a:lnTo>
                        <a:pt x="118" y="153"/>
                      </a:lnTo>
                      <a:lnTo>
                        <a:pt x="118" y="153"/>
                      </a:lnTo>
                      <a:lnTo>
                        <a:pt x="118" y="153"/>
                      </a:lnTo>
                      <a:lnTo>
                        <a:pt x="118" y="153"/>
                      </a:lnTo>
                      <a:lnTo>
                        <a:pt x="118" y="153"/>
                      </a:lnTo>
                      <a:lnTo>
                        <a:pt x="118" y="153"/>
                      </a:lnTo>
                      <a:lnTo>
                        <a:pt x="117" y="153"/>
                      </a:lnTo>
                      <a:lnTo>
                        <a:pt x="118" y="153"/>
                      </a:lnTo>
                      <a:lnTo>
                        <a:pt x="117" y="153"/>
                      </a:lnTo>
                      <a:lnTo>
                        <a:pt x="117" y="153"/>
                      </a:lnTo>
                      <a:lnTo>
                        <a:pt x="116" y="153"/>
                      </a:lnTo>
                      <a:lnTo>
                        <a:pt x="117" y="153"/>
                      </a:lnTo>
                      <a:lnTo>
                        <a:pt x="117" y="152"/>
                      </a:lnTo>
                      <a:lnTo>
                        <a:pt x="118" y="152"/>
                      </a:lnTo>
                      <a:lnTo>
                        <a:pt x="117" y="152"/>
                      </a:lnTo>
                      <a:lnTo>
                        <a:pt x="117" y="152"/>
                      </a:lnTo>
                      <a:lnTo>
                        <a:pt x="117" y="153"/>
                      </a:lnTo>
                      <a:lnTo>
                        <a:pt x="116" y="153"/>
                      </a:lnTo>
                      <a:lnTo>
                        <a:pt x="116" y="152"/>
                      </a:lnTo>
                      <a:lnTo>
                        <a:pt x="116" y="152"/>
                      </a:lnTo>
                      <a:lnTo>
                        <a:pt x="116" y="152"/>
                      </a:lnTo>
                      <a:lnTo>
                        <a:pt x="116" y="152"/>
                      </a:lnTo>
                      <a:lnTo>
                        <a:pt x="116" y="152"/>
                      </a:lnTo>
                      <a:lnTo>
                        <a:pt x="116" y="152"/>
                      </a:lnTo>
                      <a:lnTo>
                        <a:pt x="116" y="152"/>
                      </a:lnTo>
                      <a:lnTo>
                        <a:pt x="116" y="153"/>
                      </a:lnTo>
                      <a:lnTo>
                        <a:pt x="116" y="153"/>
                      </a:lnTo>
                      <a:lnTo>
                        <a:pt x="116" y="153"/>
                      </a:lnTo>
                      <a:lnTo>
                        <a:pt x="116" y="153"/>
                      </a:lnTo>
                      <a:lnTo>
                        <a:pt x="115" y="153"/>
                      </a:lnTo>
                      <a:lnTo>
                        <a:pt x="115" y="152"/>
                      </a:lnTo>
                      <a:lnTo>
                        <a:pt x="115" y="153"/>
                      </a:lnTo>
                      <a:lnTo>
                        <a:pt x="115" y="152"/>
                      </a:lnTo>
                      <a:lnTo>
                        <a:pt x="115" y="153"/>
                      </a:lnTo>
                      <a:lnTo>
                        <a:pt x="115" y="152"/>
                      </a:lnTo>
                      <a:lnTo>
                        <a:pt x="115" y="153"/>
                      </a:lnTo>
                      <a:lnTo>
                        <a:pt x="115" y="152"/>
                      </a:lnTo>
                      <a:lnTo>
                        <a:pt x="115" y="153"/>
                      </a:lnTo>
                      <a:lnTo>
                        <a:pt x="115" y="152"/>
                      </a:lnTo>
                      <a:lnTo>
                        <a:pt x="114" y="152"/>
                      </a:lnTo>
                      <a:lnTo>
                        <a:pt x="115" y="152"/>
                      </a:lnTo>
                      <a:lnTo>
                        <a:pt x="114" y="152"/>
                      </a:lnTo>
                      <a:lnTo>
                        <a:pt x="115" y="152"/>
                      </a:lnTo>
                      <a:lnTo>
                        <a:pt x="114" y="152"/>
                      </a:lnTo>
                      <a:lnTo>
                        <a:pt x="115" y="152"/>
                      </a:lnTo>
                      <a:lnTo>
                        <a:pt x="114" y="152"/>
                      </a:lnTo>
                      <a:lnTo>
                        <a:pt x="114" y="152"/>
                      </a:lnTo>
                      <a:lnTo>
                        <a:pt x="115" y="152"/>
                      </a:lnTo>
                      <a:lnTo>
                        <a:pt x="114" y="152"/>
                      </a:lnTo>
                      <a:lnTo>
                        <a:pt x="114" y="152"/>
                      </a:lnTo>
                      <a:lnTo>
                        <a:pt x="114" y="152"/>
                      </a:lnTo>
                      <a:lnTo>
                        <a:pt x="114" y="152"/>
                      </a:lnTo>
                      <a:lnTo>
                        <a:pt x="114" y="151"/>
                      </a:lnTo>
                      <a:lnTo>
                        <a:pt x="113" y="151"/>
                      </a:lnTo>
                      <a:lnTo>
                        <a:pt x="114" y="151"/>
                      </a:lnTo>
                      <a:lnTo>
                        <a:pt x="113" y="151"/>
                      </a:lnTo>
                      <a:lnTo>
                        <a:pt x="113" y="151"/>
                      </a:lnTo>
                      <a:lnTo>
                        <a:pt x="113" y="151"/>
                      </a:lnTo>
                      <a:lnTo>
                        <a:pt x="112" y="151"/>
                      </a:lnTo>
                      <a:lnTo>
                        <a:pt x="113" y="152"/>
                      </a:lnTo>
                      <a:lnTo>
                        <a:pt x="112" y="152"/>
                      </a:lnTo>
                      <a:lnTo>
                        <a:pt x="112" y="151"/>
                      </a:lnTo>
                      <a:lnTo>
                        <a:pt x="112" y="152"/>
                      </a:lnTo>
                      <a:lnTo>
                        <a:pt x="113" y="152"/>
                      </a:lnTo>
                      <a:lnTo>
                        <a:pt x="112" y="152"/>
                      </a:lnTo>
                      <a:lnTo>
                        <a:pt x="113" y="152"/>
                      </a:lnTo>
                      <a:lnTo>
                        <a:pt x="112" y="152"/>
                      </a:lnTo>
                      <a:lnTo>
                        <a:pt x="113" y="152"/>
                      </a:lnTo>
                      <a:lnTo>
                        <a:pt x="113" y="152"/>
                      </a:lnTo>
                      <a:lnTo>
                        <a:pt x="112" y="152"/>
                      </a:lnTo>
                      <a:lnTo>
                        <a:pt x="112" y="152"/>
                      </a:lnTo>
                      <a:lnTo>
                        <a:pt x="112" y="152"/>
                      </a:lnTo>
                      <a:lnTo>
                        <a:pt x="113" y="152"/>
                      </a:lnTo>
                      <a:lnTo>
                        <a:pt x="112" y="152"/>
                      </a:lnTo>
                      <a:lnTo>
                        <a:pt x="113" y="152"/>
                      </a:lnTo>
                      <a:lnTo>
                        <a:pt x="113" y="153"/>
                      </a:lnTo>
                      <a:lnTo>
                        <a:pt x="112" y="152"/>
                      </a:lnTo>
                      <a:lnTo>
                        <a:pt x="112" y="152"/>
                      </a:lnTo>
                      <a:lnTo>
                        <a:pt x="112" y="152"/>
                      </a:lnTo>
                      <a:lnTo>
                        <a:pt x="112" y="152"/>
                      </a:lnTo>
                      <a:lnTo>
                        <a:pt x="111" y="152"/>
                      </a:lnTo>
                      <a:lnTo>
                        <a:pt x="111" y="152"/>
                      </a:lnTo>
                      <a:lnTo>
                        <a:pt x="110" y="152"/>
                      </a:lnTo>
                      <a:lnTo>
                        <a:pt x="110" y="151"/>
                      </a:lnTo>
                      <a:lnTo>
                        <a:pt x="110" y="151"/>
                      </a:lnTo>
                      <a:lnTo>
                        <a:pt x="109" y="151"/>
                      </a:lnTo>
                      <a:lnTo>
                        <a:pt x="109" y="151"/>
                      </a:lnTo>
                      <a:lnTo>
                        <a:pt x="108" y="151"/>
                      </a:lnTo>
                      <a:lnTo>
                        <a:pt x="108" y="150"/>
                      </a:lnTo>
                      <a:lnTo>
                        <a:pt x="108" y="150"/>
                      </a:lnTo>
                      <a:lnTo>
                        <a:pt x="107" y="150"/>
                      </a:lnTo>
                      <a:lnTo>
                        <a:pt x="107" y="149"/>
                      </a:lnTo>
                      <a:lnTo>
                        <a:pt x="107" y="149"/>
                      </a:lnTo>
                      <a:lnTo>
                        <a:pt x="107" y="149"/>
                      </a:lnTo>
                      <a:lnTo>
                        <a:pt x="106" y="148"/>
                      </a:lnTo>
                      <a:lnTo>
                        <a:pt x="106" y="148"/>
                      </a:lnTo>
                      <a:lnTo>
                        <a:pt x="107" y="148"/>
                      </a:lnTo>
                      <a:lnTo>
                        <a:pt x="107" y="148"/>
                      </a:lnTo>
                      <a:lnTo>
                        <a:pt x="108" y="148"/>
                      </a:lnTo>
                      <a:lnTo>
                        <a:pt x="107" y="148"/>
                      </a:lnTo>
                      <a:lnTo>
                        <a:pt x="107" y="148"/>
                      </a:lnTo>
                      <a:lnTo>
                        <a:pt x="106" y="148"/>
                      </a:lnTo>
                      <a:lnTo>
                        <a:pt x="106" y="148"/>
                      </a:lnTo>
                      <a:lnTo>
                        <a:pt x="106" y="147"/>
                      </a:lnTo>
                      <a:lnTo>
                        <a:pt x="105" y="147"/>
                      </a:lnTo>
                      <a:lnTo>
                        <a:pt x="104" y="147"/>
                      </a:lnTo>
                      <a:lnTo>
                        <a:pt x="104" y="147"/>
                      </a:lnTo>
                      <a:lnTo>
                        <a:pt x="103" y="147"/>
                      </a:lnTo>
                      <a:lnTo>
                        <a:pt x="103" y="146"/>
                      </a:lnTo>
                      <a:lnTo>
                        <a:pt x="103" y="146"/>
                      </a:lnTo>
                      <a:lnTo>
                        <a:pt x="102" y="146"/>
                      </a:lnTo>
                      <a:lnTo>
                        <a:pt x="102" y="147"/>
                      </a:lnTo>
                      <a:lnTo>
                        <a:pt x="102" y="146"/>
                      </a:lnTo>
                      <a:lnTo>
                        <a:pt x="102" y="147"/>
                      </a:lnTo>
                      <a:lnTo>
                        <a:pt x="101" y="146"/>
                      </a:lnTo>
                      <a:lnTo>
                        <a:pt x="101" y="146"/>
                      </a:lnTo>
                      <a:lnTo>
                        <a:pt x="101" y="147"/>
                      </a:lnTo>
                      <a:lnTo>
                        <a:pt x="101" y="147"/>
                      </a:lnTo>
                      <a:lnTo>
                        <a:pt x="101" y="147"/>
                      </a:lnTo>
                      <a:lnTo>
                        <a:pt x="101" y="147"/>
                      </a:lnTo>
                      <a:lnTo>
                        <a:pt x="102" y="147"/>
                      </a:lnTo>
                      <a:lnTo>
                        <a:pt x="102" y="148"/>
                      </a:lnTo>
                      <a:lnTo>
                        <a:pt x="102" y="147"/>
                      </a:lnTo>
                      <a:lnTo>
                        <a:pt x="103" y="147"/>
                      </a:lnTo>
                      <a:lnTo>
                        <a:pt x="102" y="148"/>
                      </a:lnTo>
                      <a:lnTo>
                        <a:pt x="103" y="148"/>
                      </a:lnTo>
                      <a:lnTo>
                        <a:pt x="102" y="148"/>
                      </a:lnTo>
                      <a:lnTo>
                        <a:pt x="103" y="148"/>
                      </a:lnTo>
                      <a:lnTo>
                        <a:pt x="103" y="148"/>
                      </a:lnTo>
                      <a:lnTo>
                        <a:pt x="103" y="148"/>
                      </a:lnTo>
                      <a:lnTo>
                        <a:pt x="104" y="148"/>
                      </a:lnTo>
                      <a:lnTo>
                        <a:pt x="104" y="148"/>
                      </a:lnTo>
                      <a:lnTo>
                        <a:pt x="104" y="149"/>
                      </a:lnTo>
                      <a:lnTo>
                        <a:pt x="104" y="149"/>
                      </a:lnTo>
                      <a:lnTo>
                        <a:pt x="104" y="149"/>
                      </a:lnTo>
                      <a:lnTo>
                        <a:pt x="104" y="149"/>
                      </a:lnTo>
                      <a:lnTo>
                        <a:pt x="104" y="149"/>
                      </a:lnTo>
                      <a:lnTo>
                        <a:pt x="103" y="149"/>
                      </a:lnTo>
                      <a:lnTo>
                        <a:pt x="104" y="149"/>
                      </a:lnTo>
                      <a:lnTo>
                        <a:pt x="104" y="149"/>
                      </a:lnTo>
                      <a:lnTo>
                        <a:pt x="104" y="150"/>
                      </a:lnTo>
                      <a:lnTo>
                        <a:pt x="104" y="150"/>
                      </a:lnTo>
                      <a:lnTo>
                        <a:pt x="104" y="149"/>
                      </a:lnTo>
                      <a:lnTo>
                        <a:pt x="104" y="150"/>
                      </a:lnTo>
                      <a:lnTo>
                        <a:pt x="104" y="149"/>
                      </a:lnTo>
                      <a:lnTo>
                        <a:pt x="104" y="150"/>
                      </a:lnTo>
                      <a:lnTo>
                        <a:pt x="104" y="149"/>
                      </a:lnTo>
                      <a:lnTo>
                        <a:pt x="104" y="150"/>
                      </a:lnTo>
                      <a:lnTo>
                        <a:pt x="104" y="151"/>
                      </a:lnTo>
                      <a:lnTo>
                        <a:pt x="104" y="150"/>
                      </a:lnTo>
                      <a:lnTo>
                        <a:pt x="104" y="151"/>
                      </a:lnTo>
                      <a:lnTo>
                        <a:pt x="104" y="150"/>
                      </a:lnTo>
                      <a:lnTo>
                        <a:pt x="104" y="151"/>
                      </a:lnTo>
                      <a:lnTo>
                        <a:pt x="104" y="150"/>
                      </a:lnTo>
                      <a:lnTo>
                        <a:pt x="103" y="150"/>
                      </a:lnTo>
                      <a:lnTo>
                        <a:pt x="103" y="151"/>
                      </a:lnTo>
                      <a:lnTo>
                        <a:pt x="104" y="151"/>
                      </a:lnTo>
                      <a:lnTo>
                        <a:pt x="104" y="151"/>
                      </a:lnTo>
                      <a:lnTo>
                        <a:pt x="105" y="151"/>
                      </a:lnTo>
                      <a:lnTo>
                        <a:pt x="105" y="151"/>
                      </a:lnTo>
                      <a:lnTo>
                        <a:pt x="106" y="151"/>
                      </a:lnTo>
                      <a:lnTo>
                        <a:pt x="106" y="152"/>
                      </a:lnTo>
                      <a:lnTo>
                        <a:pt x="106" y="152"/>
                      </a:lnTo>
                      <a:lnTo>
                        <a:pt x="107" y="152"/>
                      </a:lnTo>
                      <a:lnTo>
                        <a:pt x="107" y="152"/>
                      </a:lnTo>
                      <a:lnTo>
                        <a:pt x="108" y="152"/>
                      </a:lnTo>
                      <a:lnTo>
                        <a:pt x="107" y="152"/>
                      </a:lnTo>
                      <a:lnTo>
                        <a:pt x="107" y="152"/>
                      </a:lnTo>
                      <a:lnTo>
                        <a:pt x="107" y="152"/>
                      </a:lnTo>
                      <a:lnTo>
                        <a:pt x="107" y="153"/>
                      </a:lnTo>
                      <a:lnTo>
                        <a:pt x="107" y="153"/>
                      </a:lnTo>
                      <a:lnTo>
                        <a:pt x="107" y="152"/>
                      </a:lnTo>
                      <a:lnTo>
                        <a:pt x="106" y="152"/>
                      </a:lnTo>
                      <a:lnTo>
                        <a:pt x="107" y="152"/>
                      </a:lnTo>
                      <a:lnTo>
                        <a:pt x="106" y="152"/>
                      </a:lnTo>
                      <a:lnTo>
                        <a:pt x="107" y="152"/>
                      </a:lnTo>
                      <a:lnTo>
                        <a:pt x="106" y="152"/>
                      </a:lnTo>
                      <a:lnTo>
                        <a:pt x="106" y="152"/>
                      </a:lnTo>
                      <a:lnTo>
                        <a:pt x="106" y="152"/>
                      </a:lnTo>
                      <a:lnTo>
                        <a:pt x="106" y="153"/>
                      </a:lnTo>
                      <a:lnTo>
                        <a:pt x="107" y="153"/>
                      </a:lnTo>
                      <a:lnTo>
                        <a:pt x="107" y="153"/>
                      </a:lnTo>
                      <a:lnTo>
                        <a:pt x="107" y="153"/>
                      </a:lnTo>
                      <a:lnTo>
                        <a:pt x="107" y="153"/>
                      </a:lnTo>
                      <a:lnTo>
                        <a:pt x="108" y="153"/>
                      </a:lnTo>
                      <a:lnTo>
                        <a:pt x="108" y="153"/>
                      </a:lnTo>
                      <a:lnTo>
                        <a:pt x="108" y="153"/>
                      </a:lnTo>
                      <a:lnTo>
                        <a:pt x="108" y="153"/>
                      </a:lnTo>
                      <a:lnTo>
                        <a:pt x="108" y="153"/>
                      </a:lnTo>
                      <a:lnTo>
                        <a:pt x="109" y="153"/>
                      </a:lnTo>
                      <a:lnTo>
                        <a:pt x="108" y="153"/>
                      </a:lnTo>
                      <a:lnTo>
                        <a:pt x="108" y="153"/>
                      </a:lnTo>
                      <a:lnTo>
                        <a:pt x="109" y="153"/>
                      </a:lnTo>
                      <a:lnTo>
                        <a:pt x="109" y="153"/>
                      </a:lnTo>
                      <a:lnTo>
                        <a:pt x="109" y="153"/>
                      </a:lnTo>
                      <a:lnTo>
                        <a:pt x="110" y="153"/>
                      </a:lnTo>
                      <a:lnTo>
                        <a:pt x="110" y="153"/>
                      </a:lnTo>
                      <a:lnTo>
                        <a:pt x="110" y="153"/>
                      </a:lnTo>
                      <a:lnTo>
                        <a:pt x="110" y="153"/>
                      </a:lnTo>
                      <a:lnTo>
                        <a:pt x="111" y="153"/>
                      </a:lnTo>
                      <a:lnTo>
                        <a:pt x="110" y="153"/>
                      </a:lnTo>
                      <a:lnTo>
                        <a:pt x="110" y="154"/>
                      </a:lnTo>
                      <a:lnTo>
                        <a:pt x="111" y="154"/>
                      </a:lnTo>
                      <a:lnTo>
                        <a:pt x="110" y="154"/>
                      </a:lnTo>
                      <a:lnTo>
                        <a:pt x="110" y="153"/>
                      </a:lnTo>
                      <a:lnTo>
                        <a:pt x="110" y="153"/>
                      </a:lnTo>
                      <a:lnTo>
                        <a:pt x="110" y="154"/>
                      </a:lnTo>
                      <a:lnTo>
                        <a:pt x="110" y="153"/>
                      </a:lnTo>
                      <a:lnTo>
                        <a:pt x="109" y="153"/>
                      </a:lnTo>
                      <a:lnTo>
                        <a:pt x="109" y="154"/>
                      </a:lnTo>
                      <a:lnTo>
                        <a:pt x="108" y="154"/>
                      </a:lnTo>
                      <a:lnTo>
                        <a:pt x="108" y="155"/>
                      </a:lnTo>
                      <a:lnTo>
                        <a:pt x="109" y="155"/>
                      </a:lnTo>
                      <a:lnTo>
                        <a:pt x="108" y="155"/>
                      </a:lnTo>
                      <a:lnTo>
                        <a:pt x="108" y="155"/>
                      </a:lnTo>
                      <a:lnTo>
                        <a:pt x="108" y="154"/>
                      </a:lnTo>
                      <a:lnTo>
                        <a:pt x="108" y="155"/>
                      </a:lnTo>
                      <a:lnTo>
                        <a:pt x="108" y="154"/>
                      </a:lnTo>
                      <a:lnTo>
                        <a:pt x="107" y="155"/>
                      </a:lnTo>
                      <a:lnTo>
                        <a:pt x="107" y="154"/>
                      </a:lnTo>
                      <a:lnTo>
                        <a:pt x="107" y="155"/>
                      </a:lnTo>
                      <a:lnTo>
                        <a:pt x="107" y="154"/>
                      </a:lnTo>
                      <a:lnTo>
                        <a:pt x="107" y="154"/>
                      </a:lnTo>
                      <a:lnTo>
                        <a:pt x="107" y="155"/>
                      </a:lnTo>
                      <a:lnTo>
                        <a:pt x="107" y="154"/>
                      </a:lnTo>
                      <a:lnTo>
                        <a:pt x="107" y="155"/>
                      </a:lnTo>
                      <a:lnTo>
                        <a:pt x="107" y="154"/>
                      </a:lnTo>
                      <a:lnTo>
                        <a:pt x="107" y="155"/>
                      </a:lnTo>
                      <a:lnTo>
                        <a:pt x="107" y="155"/>
                      </a:lnTo>
                      <a:lnTo>
                        <a:pt x="108" y="155"/>
                      </a:lnTo>
                      <a:lnTo>
                        <a:pt x="107" y="155"/>
                      </a:lnTo>
                      <a:lnTo>
                        <a:pt x="108" y="155"/>
                      </a:lnTo>
                      <a:lnTo>
                        <a:pt x="108" y="155"/>
                      </a:lnTo>
                      <a:lnTo>
                        <a:pt x="109" y="155"/>
                      </a:lnTo>
                      <a:lnTo>
                        <a:pt x="109" y="155"/>
                      </a:lnTo>
                      <a:lnTo>
                        <a:pt x="109" y="155"/>
                      </a:lnTo>
                      <a:lnTo>
                        <a:pt x="109" y="155"/>
                      </a:lnTo>
                      <a:lnTo>
                        <a:pt x="110" y="155"/>
                      </a:lnTo>
                      <a:lnTo>
                        <a:pt x="109" y="155"/>
                      </a:lnTo>
                      <a:lnTo>
                        <a:pt x="108" y="155"/>
                      </a:lnTo>
                      <a:lnTo>
                        <a:pt x="109" y="155"/>
                      </a:lnTo>
                      <a:lnTo>
                        <a:pt x="108" y="155"/>
                      </a:lnTo>
                      <a:lnTo>
                        <a:pt x="108" y="155"/>
                      </a:lnTo>
                      <a:lnTo>
                        <a:pt x="107" y="155"/>
                      </a:lnTo>
                      <a:lnTo>
                        <a:pt x="108" y="155"/>
                      </a:lnTo>
                      <a:lnTo>
                        <a:pt x="108" y="156"/>
                      </a:lnTo>
                      <a:lnTo>
                        <a:pt x="108" y="156"/>
                      </a:lnTo>
                      <a:lnTo>
                        <a:pt x="109" y="156"/>
                      </a:lnTo>
                      <a:lnTo>
                        <a:pt x="109" y="155"/>
                      </a:lnTo>
                      <a:lnTo>
                        <a:pt x="109" y="156"/>
                      </a:lnTo>
                      <a:lnTo>
                        <a:pt x="109" y="155"/>
                      </a:lnTo>
                      <a:lnTo>
                        <a:pt x="110" y="155"/>
                      </a:lnTo>
                      <a:lnTo>
                        <a:pt x="110" y="155"/>
                      </a:lnTo>
                      <a:lnTo>
                        <a:pt x="110" y="155"/>
                      </a:lnTo>
                      <a:lnTo>
                        <a:pt x="110" y="155"/>
                      </a:lnTo>
                      <a:lnTo>
                        <a:pt x="110" y="156"/>
                      </a:lnTo>
                      <a:lnTo>
                        <a:pt x="111" y="156"/>
                      </a:lnTo>
                      <a:lnTo>
                        <a:pt x="111" y="156"/>
                      </a:lnTo>
                      <a:lnTo>
                        <a:pt x="111" y="156"/>
                      </a:lnTo>
                      <a:lnTo>
                        <a:pt x="112" y="156"/>
                      </a:lnTo>
                      <a:lnTo>
                        <a:pt x="112" y="156"/>
                      </a:lnTo>
                      <a:lnTo>
                        <a:pt x="112" y="156"/>
                      </a:lnTo>
                      <a:lnTo>
                        <a:pt x="112" y="156"/>
                      </a:lnTo>
                      <a:lnTo>
                        <a:pt x="112" y="156"/>
                      </a:lnTo>
                      <a:lnTo>
                        <a:pt x="112" y="156"/>
                      </a:lnTo>
                      <a:lnTo>
                        <a:pt x="113" y="156"/>
                      </a:lnTo>
                      <a:lnTo>
                        <a:pt x="113" y="156"/>
                      </a:lnTo>
                      <a:lnTo>
                        <a:pt x="112" y="156"/>
                      </a:lnTo>
                      <a:lnTo>
                        <a:pt x="113" y="156"/>
                      </a:lnTo>
                      <a:lnTo>
                        <a:pt x="113" y="157"/>
                      </a:lnTo>
                      <a:lnTo>
                        <a:pt x="114" y="157"/>
                      </a:lnTo>
                      <a:lnTo>
                        <a:pt x="113" y="157"/>
                      </a:lnTo>
                      <a:lnTo>
                        <a:pt x="112" y="157"/>
                      </a:lnTo>
                      <a:lnTo>
                        <a:pt x="112" y="157"/>
                      </a:lnTo>
                      <a:lnTo>
                        <a:pt x="112" y="157"/>
                      </a:lnTo>
                      <a:lnTo>
                        <a:pt x="112" y="157"/>
                      </a:lnTo>
                      <a:lnTo>
                        <a:pt x="112" y="157"/>
                      </a:lnTo>
                      <a:lnTo>
                        <a:pt x="112" y="157"/>
                      </a:lnTo>
                      <a:lnTo>
                        <a:pt x="113" y="157"/>
                      </a:lnTo>
                      <a:lnTo>
                        <a:pt x="112" y="157"/>
                      </a:lnTo>
                      <a:lnTo>
                        <a:pt x="113" y="157"/>
                      </a:lnTo>
                      <a:lnTo>
                        <a:pt x="114" y="158"/>
                      </a:lnTo>
                      <a:lnTo>
                        <a:pt x="113" y="158"/>
                      </a:lnTo>
                      <a:lnTo>
                        <a:pt x="112" y="158"/>
                      </a:lnTo>
                      <a:lnTo>
                        <a:pt x="112" y="158"/>
                      </a:lnTo>
                      <a:lnTo>
                        <a:pt x="111" y="158"/>
                      </a:lnTo>
                      <a:lnTo>
                        <a:pt x="111" y="158"/>
                      </a:lnTo>
                      <a:lnTo>
                        <a:pt x="110" y="158"/>
                      </a:lnTo>
                      <a:lnTo>
                        <a:pt x="110" y="159"/>
                      </a:lnTo>
                      <a:lnTo>
                        <a:pt x="110" y="159"/>
                      </a:lnTo>
                      <a:lnTo>
                        <a:pt x="109" y="159"/>
                      </a:lnTo>
                      <a:lnTo>
                        <a:pt x="108" y="159"/>
                      </a:lnTo>
                      <a:lnTo>
                        <a:pt x="108" y="159"/>
                      </a:lnTo>
                      <a:lnTo>
                        <a:pt x="108" y="159"/>
                      </a:lnTo>
                      <a:lnTo>
                        <a:pt x="108" y="159"/>
                      </a:lnTo>
                      <a:lnTo>
                        <a:pt x="108" y="159"/>
                      </a:lnTo>
                      <a:lnTo>
                        <a:pt x="109" y="159"/>
                      </a:lnTo>
                      <a:lnTo>
                        <a:pt x="110" y="159"/>
                      </a:lnTo>
                      <a:lnTo>
                        <a:pt x="110" y="159"/>
                      </a:lnTo>
                      <a:lnTo>
                        <a:pt x="111" y="159"/>
                      </a:lnTo>
                      <a:lnTo>
                        <a:pt x="110" y="159"/>
                      </a:lnTo>
                      <a:lnTo>
                        <a:pt x="111" y="159"/>
                      </a:lnTo>
                      <a:lnTo>
                        <a:pt x="111" y="158"/>
                      </a:lnTo>
                      <a:lnTo>
                        <a:pt x="111" y="159"/>
                      </a:lnTo>
                      <a:lnTo>
                        <a:pt x="111" y="158"/>
                      </a:lnTo>
                      <a:lnTo>
                        <a:pt x="111" y="159"/>
                      </a:lnTo>
                      <a:lnTo>
                        <a:pt x="111" y="158"/>
                      </a:lnTo>
                      <a:lnTo>
                        <a:pt x="112" y="158"/>
                      </a:lnTo>
                      <a:lnTo>
                        <a:pt x="111" y="159"/>
                      </a:lnTo>
                      <a:lnTo>
                        <a:pt x="112" y="159"/>
                      </a:lnTo>
                      <a:lnTo>
                        <a:pt x="112" y="158"/>
                      </a:lnTo>
                      <a:lnTo>
                        <a:pt x="112" y="158"/>
                      </a:lnTo>
                      <a:lnTo>
                        <a:pt x="113" y="158"/>
                      </a:lnTo>
                      <a:lnTo>
                        <a:pt x="113" y="159"/>
                      </a:lnTo>
                      <a:lnTo>
                        <a:pt x="112" y="159"/>
                      </a:lnTo>
                      <a:lnTo>
                        <a:pt x="113" y="158"/>
                      </a:lnTo>
                      <a:lnTo>
                        <a:pt x="112" y="159"/>
                      </a:lnTo>
                      <a:lnTo>
                        <a:pt x="113" y="159"/>
                      </a:lnTo>
                      <a:lnTo>
                        <a:pt x="112" y="159"/>
                      </a:lnTo>
                      <a:lnTo>
                        <a:pt x="113" y="159"/>
                      </a:lnTo>
                      <a:lnTo>
                        <a:pt x="114" y="159"/>
                      </a:lnTo>
                      <a:lnTo>
                        <a:pt x="114" y="159"/>
                      </a:lnTo>
                      <a:lnTo>
                        <a:pt x="115" y="159"/>
                      </a:lnTo>
                      <a:lnTo>
                        <a:pt x="114" y="159"/>
                      </a:lnTo>
                      <a:lnTo>
                        <a:pt x="115" y="159"/>
                      </a:lnTo>
                      <a:lnTo>
                        <a:pt x="115" y="159"/>
                      </a:lnTo>
                      <a:lnTo>
                        <a:pt x="115" y="159"/>
                      </a:lnTo>
                      <a:lnTo>
                        <a:pt x="115" y="159"/>
                      </a:lnTo>
                      <a:lnTo>
                        <a:pt x="115" y="159"/>
                      </a:lnTo>
                      <a:lnTo>
                        <a:pt x="115" y="160"/>
                      </a:lnTo>
                      <a:lnTo>
                        <a:pt x="115" y="160"/>
                      </a:lnTo>
                      <a:lnTo>
                        <a:pt x="115" y="160"/>
                      </a:lnTo>
                      <a:lnTo>
                        <a:pt x="115" y="159"/>
                      </a:lnTo>
                      <a:lnTo>
                        <a:pt x="116" y="159"/>
                      </a:lnTo>
                      <a:lnTo>
                        <a:pt x="116" y="159"/>
                      </a:lnTo>
                      <a:lnTo>
                        <a:pt x="117" y="159"/>
                      </a:lnTo>
                      <a:lnTo>
                        <a:pt x="117" y="160"/>
                      </a:lnTo>
                      <a:lnTo>
                        <a:pt x="118" y="160"/>
                      </a:lnTo>
                      <a:lnTo>
                        <a:pt x="117" y="160"/>
                      </a:lnTo>
                      <a:lnTo>
                        <a:pt x="117" y="160"/>
                      </a:lnTo>
                      <a:lnTo>
                        <a:pt x="118" y="160"/>
                      </a:lnTo>
                      <a:lnTo>
                        <a:pt x="118" y="160"/>
                      </a:lnTo>
                      <a:lnTo>
                        <a:pt x="118" y="160"/>
                      </a:lnTo>
                      <a:lnTo>
                        <a:pt x="118" y="160"/>
                      </a:lnTo>
                      <a:lnTo>
                        <a:pt x="119" y="160"/>
                      </a:lnTo>
                      <a:lnTo>
                        <a:pt x="119" y="161"/>
                      </a:lnTo>
                      <a:lnTo>
                        <a:pt x="119" y="162"/>
                      </a:lnTo>
                      <a:lnTo>
                        <a:pt x="118" y="162"/>
                      </a:lnTo>
                      <a:lnTo>
                        <a:pt x="119" y="162"/>
                      </a:lnTo>
                      <a:lnTo>
                        <a:pt x="119" y="162"/>
                      </a:lnTo>
                      <a:lnTo>
                        <a:pt x="119" y="162"/>
                      </a:lnTo>
                      <a:lnTo>
                        <a:pt x="119" y="161"/>
                      </a:lnTo>
                      <a:lnTo>
                        <a:pt x="119" y="161"/>
                      </a:lnTo>
                      <a:lnTo>
                        <a:pt x="120" y="162"/>
                      </a:lnTo>
                      <a:lnTo>
                        <a:pt x="121" y="162"/>
                      </a:lnTo>
                      <a:lnTo>
                        <a:pt x="121" y="162"/>
                      </a:lnTo>
                      <a:lnTo>
                        <a:pt x="121" y="162"/>
                      </a:lnTo>
                      <a:lnTo>
                        <a:pt x="121" y="162"/>
                      </a:lnTo>
                      <a:lnTo>
                        <a:pt x="121" y="162"/>
                      </a:lnTo>
                      <a:lnTo>
                        <a:pt x="121" y="163"/>
                      </a:lnTo>
                      <a:lnTo>
                        <a:pt x="122" y="163"/>
                      </a:lnTo>
                      <a:lnTo>
                        <a:pt x="122" y="163"/>
                      </a:lnTo>
                      <a:lnTo>
                        <a:pt x="121" y="163"/>
                      </a:lnTo>
                      <a:lnTo>
                        <a:pt x="122" y="163"/>
                      </a:lnTo>
                      <a:lnTo>
                        <a:pt x="121" y="163"/>
                      </a:lnTo>
                      <a:lnTo>
                        <a:pt x="121" y="164"/>
                      </a:lnTo>
                      <a:lnTo>
                        <a:pt x="121" y="163"/>
                      </a:lnTo>
                      <a:lnTo>
                        <a:pt x="122" y="163"/>
                      </a:lnTo>
                      <a:lnTo>
                        <a:pt x="121" y="163"/>
                      </a:lnTo>
                      <a:lnTo>
                        <a:pt x="122" y="163"/>
                      </a:lnTo>
                      <a:lnTo>
                        <a:pt x="121" y="163"/>
                      </a:lnTo>
                      <a:lnTo>
                        <a:pt x="122" y="163"/>
                      </a:lnTo>
                      <a:lnTo>
                        <a:pt x="121" y="164"/>
                      </a:lnTo>
                      <a:lnTo>
                        <a:pt x="122" y="164"/>
                      </a:lnTo>
                      <a:lnTo>
                        <a:pt x="121" y="164"/>
                      </a:lnTo>
                      <a:lnTo>
                        <a:pt x="122" y="164"/>
                      </a:lnTo>
                      <a:lnTo>
                        <a:pt x="122" y="164"/>
                      </a:lnTo>
                      <a:lnTo>
                        <a:pt x="122" y="164"/>
                      </a:lnTo>
                      <a:lnTo>
                        <a:pt x="122" y="164"/>
                      </a:lnTo>
                      <a:lnTo>
                        <a:pt x="122" y="164"/>
                      </a:lnTo>
                      <a:lnTo>
                        <a:pt x="122" y="164"/>
                      </a:lnTo>
                      <a:lnTo>
                        <a:pt x="123" y="164"/>
                      </a:lnTo>
                      <a:lnTo>
                        <a:pt x="123" y="164"/>
                      </a:lnTo>
                      <a:lnTo>
                        <a:pt x="122" y="164"/>
                      </a:lnTo>
                      <a:lnTo>
                        <a:pt x="123" y="164"/>
                      </a:lnTo>
                      <a:lnTo>
                        <a:pt x="122" y="164"/>
                      </a:lnTo>
                      <a:lnTo>
                        <a:pt x="122" y="165"/>
                      </a:lnTo>
                      <a:lnTo>
                        <a:pt x="122" y="164"/>
                      </a:lnTo>
                      <a:lnTo>
                        <a:pt x="123" y="165"/>
                      </a:lnTo>
                      <a:lnTo>
                        <a:pt x="122" y="165"/>
                      </a:lnTo>
                      <a:lnTo>
                        <a:pt x="123" y="165"/>
                      </a:lnTo>
                      <a:lnTo>
                        <a:pt x="122" y="165"/>
                      </a:lnTo>
                      <a:lnTo>
                        <a:pt x="123" y="165"/>
                      </a:lnTo>
                      <a:lnTo>
                        <a:pt x="122" y="165"/>
                      </a:lnTo>
                      <a:lnTo>
                        <a:pt x="123" y="165"/>
                      </a:lnTo>
                      <a:lnTo>
                        <a:pt x="123" y="165"/>
                      </a:lnTo>
                      <a:lnTo>
                        <a:pt x="123" y="165"/>
                      </a:lnTo>
                      <a:lnTo>
                        <a:pt x="123" y="165"/>
                      </a:lnTo>
                      <a:lnTo>
                        <a:pt x="123" y="165"/>
                      </a:lnTo>
                      <a:lnTo>
                        <a:pt x="123" y="165"/>
                      </a:lnTo>
                      <a:lnTo>
                        <a:pt x="123" y="165"/>
                      </a:lnTo>
                      <a:lnTo>
                        <a:pt x="123" y="165"/>
                      </a:lnTo>
                      <a:lnTo>
                        <a:pt x="123" y="165"/>
                      </a:lnTo>
                      <a:lnTo>
                        <a:pt x="123" y="165"/>
                      </a:lnTo>
                      <a:lnTo>
                        <a:pt x="123" y="166"/>
                      </a:lnTo>
                      <a:lnTo>
                        <a:pt x="123" y="165"/>
                      </a:lnTo>
                      <a:lnTo>
                        <a:pt x="123" y="166"/>
                      </a:lnTo>
                      <a:lnTo>
                        <a:pt x="123" y="166"/>
                      </a:lnTo>
                      <a:lnTo>
                        <a:pt x="124" y="166"/>
                      </a:lnTo>
                      <a:lnTo>
                        <a:pt x="124" y="166"/>
                      </a:lnTo>
                      <a:lnTo>
                        <a:pt x="123" y="166"/>
                      </a:lnTo>
                      <a:lnTo>
                        <a:pt x="124" y="166"/>
                      </a:lnTo>
                      <a:lnTo>
                        <a:pt x="123" y="166"/>
                      </a:lnTo>
                      <a:lnTo>
                        <a:pt x="124" y="166"/>
                      </a:lnTo>
                      <a:lnTo>
                        <a:pt x="123" y="166"/>
                      </a:lnTo>
                      <a:lnTo>
                        <a:pt x="123" y="166"/>
                      </a:lnTo>
                      <a:lnTo>
                        <a:pt x="123" y="166"/>
                      </a:lnTo>
                      <a:lnTo>
                        <a:pt x="123" y="166"/>
                      </a:lnTo>
                      <a:lnTo>
                        <a:pt x="123" y="166"/>
                      </a:lnTo>
                      <a:lnTo>
                        <a:pt x="123" y="166"/>
                      </a:lnTo>
                      <a:lnTo>
                        <a:pt x="123" y="166"/>
                      </a:lnTo>
                      <a:lnTo>
                        <a:pt x="123" y="166"/>
                      </a:lnTo>
                      <a:lnTo>
                        <a:pt x="123" y="166"/>
                      </a:lnTo>
                      <a:lnTo>
                        <a:pt x="124" y="166"/>
                      </a:lnTo>
                      <a:lnTo>
                        <a:pt x="123" y="166"/>
                      </a:lnTo>
                      <a:lnTo>
                        <a:pt x="123" y="167"/>
                      </a:lnTo>
                      <a:lnTo>
                        <a:pt x="124" y="167"/>
                      </a:lnTo>
                      <a:lnTo>
                        <a:pt x="123" y="167"/>
                      </a:lnTo>
                      <a:lnTo>
                        <a:pt x="123" y="167"/>
                      </a:lnTo>
                      <a:lnTo>
                        <a:pt x="123" y="166"/>
                      </a:lnTo>
                      <a:lnTo>
                        <a:pt x="122" y="166"/>
                      </a:lnTo>
                      <a:lnTo>
                        <a:pt x="122" y="166"/>
                      </a:lnTo>
                      <a:lnTo>
                        <a:pt x="122" y="166"/>
                      </a:lnTo>
                      <a:lnTo>
                        <a:pt x="121" y="166"/>
                      </a:lnTo>
                      <a:lnTo>
                        <a:pt x="122" y="166"/>
                      </a:lnTo>
                      <a:lnTo>
                        <a:pt x="121" y="166"/>
                      </a:lnTo>
                      <a:lnTo>
                        <a:pt x="122" y="165"/>
                      </a:lnTo>
                      <a:lnTo>
                        <a:pt x="121" y="165"/>
                      </a:lnTo>
                      <a:lnTo>
                        <a:pt x="121" y="166"/>
                      </a:lnTo>
                      <a:lnTo>
                        <a:pt x="122" y="166"/>
                      </a:lnTo>
                      <a:lnTo>
                        <a:pt x="121" y="166"/>
                      </a:lnTo>
                      <a:lnTo>
                        <a:pt x="122" y="166"/>
                      </a:lnTo>
                      <a:lnTo>
                        <a:pt x="121" y="166"/>
                      </a:lnTo>
                      <a:lnTo>
                        <a:pt x="122" y="166"/>
                      </a:lnTo>
                      <a:lnTo>
                        <a:pt x="121" y="166"/>
                      </a:lnTo>
                      <a:lnTo>
                        <a:pt x="121" y="166"/>
                      </a:lnTo>
                      <a:lnTo>
                        <a:pt x="122" y="166"/>
                      </a:lnTo>
                      <a:lnTo>
                        <a:pt x="121" y="166"/>
                      </a:lnTo>
                      <a:lnTo>
                        <a:pt x="122" y="166"/>
                      </a:lnTo>
                      <a:lnTo>
                        <a:pt x="121" y="166"/>
                      </a:lnTo>
                      <a:lnTo>
                        <a:pt x="122" y="166"/>
                      </a:lnTo>
                      <a:lnTo>
                        <a:pt x="122" y="167"/>
                      </a:lnTo>
                      <a:lnTo>
                        <a:pt x="122" y="167"/>
                      </a:lnTo>
                      <a:lnTo>
                        <a:pt x="122" y="167"/>
                      </a:lnTo>
                      <a:lnTo>
                        <a:pt x="122" y="167"/>
                      </a:lnTo>
                      <a:lnTo>
                        <a:pt x="122" y="167"/>
                      </a:lnTo>
                      <a:lnTo>
                        <a:pt x="122" y="167"/>
                      </a:lnTo>
                      <a:lnTo>
                        <a:pt x="122" y="168"/>
                      </a:lnTo>
                      <a:lnTo>
                        <a:pt x="122" y="167"/>
                      </a:lnTo>
                      <a:lnTo>
                        <a:pt x="122" y="168"/>
                      </a:lnTo>
                      <a:lnTo>
                        <a:pt x="122" y="167"/>
                      </a:lnTo>
                      <a:lnTo>
                        <a:pt x="122" y="168"/>
                      </a:lnTo>
                      <a:lnTo>
                        <a:pt x="122" y="168"/>
                      </a:lnTo>
                      <a:lnTo>
                        <a:pt x="122" y="168"/>
                      </a:lnTo>
                      <a:lnTo>
                        <a:pt x="122" y="168"/>
                      </a:lnTo>
                      <a:lnTo>
                        <a:pt x="122" y="168"/>
                      </a:lnTo>
                      <a:lnTo>
                        <a:pt x="122" y="168"/>
                      </a:lnTo>
                      <a:lnTo>
                        <a:pt x="122" y="168"/>
                      </a:lnTo>
                      <a:lnTo>
                        <a:pt x="122" y="168"/>
                      </a:lnTo>
                      <a:lnTo>
                        <a:pt x="122" y="168"/>
                      </a:lnTo>
                      <a:lnTo>
                        <a:pt x="122" y="169"/>
                      </a:lnTo>
                      <a:lnTo>
                        <a:pt x="122" y="168"/>
                      </a:lnTo>
                      <a:lnTo>
                        <a:pt x="122" y="169"/>
                      </a:lnTo>
                      <a:lnTo>
                        <a:pt x="122" y="169"/>
                      </a:lnTo>
                      <a:lnTo>
                        <a:pt x="122" y="169"/>
                      </a:lnTo>
                      <a:lnTo>
                        <a:pt x="121" y="169"/>
                      </a:lnTo>
                      <a:lnTo>
                        <a:pt x="121" y="170"/>
                      </a:lnTo>
                      <a:lnTo>
                        <a:pt x="121" y="170"/>
                      </a:lnTo>
                      <a:lnTo>
                        <a:pt x="122" y="170"/>
                      </a:lnTo>
                      <a:lnTo>
                        <a:pt x="121" y="170"/>
                      </a:lnTo>
                      <a:lnTo>
                        <a:pt x="122" y="170"/>
                      </a:lnTo>
                      <a:lnTo>
                        <a:pt x="121" y="170"/>
                      </a:lnTo>
                      <a:lnTo>
                        <a:pt x="122" y="170"/>
                      </a:lnTo>
                      <a:lnTo>
                        <a:pt x="121" y="170"/>
                      </a:lnTo>
                      <a:lnTo>
                        <a:pt x="121" y="170"/>
                      </a:lnTo>
                      <a:lnTo>
                        <a:pt x="120" y="170"/>
                      </a:lnTo>
                      <a:lnTo>
                        <a:pt x="119" y="170"/>
                      </a:lnTo>
                      <a:lnTo>
                        <a:pt x="120" y="170"/>
                      </a:lnTo>
                      <a:lnTo>
                        <a:pt x="120" y="171"/>
                      </a:lnTo>
                      <a:lnTo>
                        <a:pt x="119" y="171"/>
                      </a:lnTo>
                      <a:lnTo>
                        <a:pt x="119" y="171"/>
                      </a:lnTo>
                      <a:lnTo>
                        <a:pt x="119" y="171"/>
                      </a:lnTo>
                      <a:lnTo>
                        <a:pt x="119" y="171"/>
                      </a:lnTo>
                      <a:lnTo>
                        <a:pt x="119" y="171"/>
                      </a:lnTo>
                      <a:lnTo>
                        <a:pt x="119" y="171"/>
                      </a:lnTo>
                      <a:lnTo>
                        <a:pt x="119" y="171"/>
                      </a:lnTo>
                      <a:lnTo>
                        <a:pt x="119" y="171"/>
                      </a:lnTo>
                      <a:lnTo>
                        <a:pt x="119" y="171"/>
                      </a:lnTo>
                      <a:lnTo>
                        <a:pt x="119" y="171"/>
                      </a:lnTo>
                      <a:lnTo>
                        <a:pt x="118" y="171"/>
                      </a:lnTo>
                      <a:lnTo>
                        <a:pt x="118" y="171"/>
                      </a:lnTo>
                      <a:lnTo>
                        <a:pt x="118" y="171"/>
                      </a:lnTo>
                      <a:lnTo>
                        <a:pt x="118" y="171"/>
                      </a:lnTo>
                      <a:lnTo>
                        <a:pt x="118" y="171"/>
                      </a:lnTo>
                      <a:lnTo>
                        <a:pt x="119" y="171"/>
                      </a:lnTo>
                      <a:lnTo>
                        <a:pt x="119" y="171"/>
                      </a:lnTo>
                      <a:lnTo>
                        <a:pt x="120" y="171"/>
                      </a:lnTo>
                      <a:lnTo>
                        <a:pt x="119" y="171"/>
                      </a:lnTo>
                      <a:lnTo>
                        <a:pt x="120" y="171"/>
                      </a:lnTo>
                      <a:lnTo>
                        <a:pt x="120" y="172"/>
                      </a:lnTo>
                      <a:lnTo>
                        <a:pt x="120" y="171"/>
                      </a:lnTo>
                      <a:lnTo>
                        <a:pt x="120" y="172"/>
                      </a:lnTo>
                      <a:lnTo>
                        <a:pt x="119" y="172"/>
                      </a:lnTo>
                      <a:lnTo>
                        <a:pt x="120" y="172"/>
                      </a:lnTo>
                      <a:lnTo>
                        <a:pt x="119" y="172"/>
                      </a:lnTo>
                      <a:lnTo>
                        <a:pt x="120" y="172"/>
                      </a:lnTo>
                      <a:lnTo>
                        <a:pt x="120" y="173"/>
                      </a:lnTo>
                      <a:lnTo>
                        <a:pt x="119" y="173"/>
                      </a:lnTo>
                      <a:lnTo>
                        <a:pt x="120" y="173"/>
                      </a:lnTo>
                      <a:lnTo>
                        <a:pt x="119" y="173"/>
                      </a:lnTo>
                      <a:lnTo>
                        <a:pt x="120" y="173"/>
                      </a:lnTo>
                      <a:lnTo>
                        <a:pt x="120" y="173"/>
                      </a:lnTo>
                      <a:lnTo>
                        <a:pt x="120" y="173"/>
                      </a:lnTo>
                      <a:lnTo>
                        <a:pt x="120" y="173"/>
                      </a:lnTo>
                      <a:lnTo>
                        <a:pt x="121" y="173"/>
                      </a:lnTo>
                      <a:lnTo>
                        <a:pt x="120" y="173"/>
                      </a:lnTo>
                      <a:lnTo>
                        <a:pt x="121" y="173"/>
                      </a:lnTo>
                      <a:lnTo>
                        <a:pt x="120" y="173"/>
                      </a:lnTo>
                      <a:lnTo>
                        <a:pt x="121" y="173"/>
                      </a:lnTo>
                      <a:lnTo>
                        <a:pt x="121" y="173"/>
                      </a:lnTo>
                      <a:lnTo>
                        <a:pt x="121" y="173"/>
                      </a:lnTo>
                      <a:lnTo>
                        <a:pt x="121" y="173"/>
                      </a:lnTo>
                      <a:lnTo>
                        <a:pt x="121" y="174"/>
                      </a:lnTo>
                      <a:lnTo>
                        <a:pt x="121" y="174"/>
                      </a:lnTo>
                      <a:lnTo>
                        <a:pt x="121" y="174"/>
                      </a:lnTo>
                      <a:lnTo>
                        <a:pt x="122" y="174"/>
                      </a:lnTo>
                      <a:lnTo>
                        <a:pt x="121" y="174"/>
                      </a:lnTo>
                      <a:lnTo>
                        <a:pt x="121" y="174"/>
                      </a:lnTo>
                      <a:lnTo>
                        <a:pt x="121" y="174"/>
                      </a:lnTo>
                      <a:lnTo>
                        <a:pt x="121" y="174"/>
                      </a:lnTo>
                      <a:lnTo>
                        <a:pt x="122" y="174"/>
                      </a:lnTo>
                      <a:lnTo>
                        <a:pt x="121" y="174"/>
                      </a:lnTo>
                      <a:lnTo>
                        <a:pt x="122" y="174"/>
                      </a:lnTo>
                      <a:lnTo>
                        <a:pt x="121" y="174"/>
                      </a:lnTo>
                      <a:lnTo>
                        <a:pt x="121" y="174"/>
                      </a:lnTo>
                      <a:lnTo>
                        <a:pt x="120" y="174"/>
                      </a:lnTo>
                      <a:lnTo>
                        <a:pt x="121" y="174"/>
                      </a:lnTo>
                      <a:lnTo>
                        <a:pt x="121" y="174"/>
                      </a:lnTo>
                      <a:lnTo>
                        <a:pt x="121" y="174"/>
                      </a:lnTo>
                      <a:lnTo>
                        <a:pt x="121" y="174"/>
                      </a:lnTo>
                      <a:lnTo>
                        <a:pt x="121" y="175"/>
                      </a:lnTo>
                      <a:lnTo>
                        <a:pt x="121" y="174"/>
                      </a:lnTo>
                      <a:lnTo>
                        <a:pt x="121" y="175"/>
                      </a:lnTo>
                      <a:lnTo>
                        <a:pt x="122" y="175"/>
                      </a:lnTo>
                      <a:lnTo>
                        <a:pt x="121" y="175"/>
                      </a:lnTo>
                      <a:lnTo>
                        <a:pt x="122" y="175"/>
                      </a:lnTo>
                      <a:lnTo>
                        <a:pt x="122" y="175"/>
                      </a:lnTo>
                      <a:lnTo>
                        <a:pt x="122" y="175"/>
                      </a:lnTo>
                      <a:lnTo>
                        <a:pt x="122" y="175"/>
                      </a:lnTo>
                      <a:lnTo>
                        <a:pt x="122" y="175"/>
                      </a:lnTo>
                      <a:lnTo>
                        <a:pt x="122" y="175"/>
                      </a:lnTo>
                      <a:lnTo>
                        <a:pt x="122" y="175"/>
                      </a:lnTo>
                      <a:lnTo>
                        <a:pt x="122" y="175"/>
                      </a:lnTo>
                      <a:lnTo>
                        <a:pt x="122" y="175"/>
                      </a:lnTo>
                      <a:lnTo>
                        <a:pt x="122" y="176"/>
                      </a:lnTo>
                      <a:lnTo>
                        <a:pt x="122" y="177"/>
                      </a:lnTo>
                      <a:lnTo>
                        <a:pt x="122" y="176"/>
                      </a:lnTo>
                      <a:lnTo>
                        <a:pt x="123" y="176"/>
                      </a:lnTo>
                      <a:lnTo>
                        <a:pt x="122" y="176"/>
                      </a:lnTo>
                      <a:lnTo>
                        <a:pt x="122" y="177"/>
                      </a:lnTo>
                      <a:lnTo>
                        <a:pt x="122" y="177"/>
                      </a:lnTo>
                      <a:lnTo>
                        <a:pt x="121" y="177"/>
                      </a:lnTo>
                      <a:lnTo>
                        <a:pt x="121" y="177"/>
                      </a:lnTo>
                      <a:lnTo>
                        <a:pt x="121" y="177"/>
                      </a:lnTo>
                      <a:lnTo>
                        <a:pt x="120" y="177"/>
                      </a:lnTo>
                      <a:lnTo>
                        <a:pt x="121" y="177"/>
                      </a:lnTo>
                      <a:lnTo>
                        <a:pt x="120" y="177"/>
                      </a:lnTo>
                      <a:lnTo>
                        <a:pt x="119" y="177"/>
                      </a:lnTo>
                      <a:lnTo>
                        <a:pt x="119" y="177"/>
                      </a:lnTo>
                      <a:lnTo>
                        <a:pt x="118" y="177"/>
                      </a:lnTo>
                      <a:lnTo>
                        <a:pt x="118" y="177"/>
                      </a:lnTo>
                      <a:lnTo>
                        <a:pt x="117" y="177"/>
                      </a:lnTo>
                      <a:lnTo>
                        <a:pt x="118" y="177"/>
                      </a:lnTo>
                      <a:lnTo>
                        <a:pt x="117" y="177"/>
                      </a:lnTo>
                      <a:lnTo>
                        <a:pt x="116" y="177"/>
                      </a:lnTo>
                      <a:lnTo>
                        <a:pt x="116" y="177"/>
                      </a:lnTo>
                      <a:lnTo>
                        <a:pt x="116" y="177"/>
                      </a:lnTo>
                      <a:lnTo>
                        <a:pt x="115" y="177"/>
                      </a:lnTo>
                      <a:lnTo>
                        <a:pt x="115" y="176"/>
                      </a:lnTo>
                      <a:lnTo>
                        <a:pt x="114" y="176"/>
                      </a:lnTo>
                      <a:lnTo>
                        <a:pt x="114" y="176"/>
                      </a:lnTo>
                      <a:lnTo>
                        <a:pt x="113" y="176"/>
                      </a:lnTo>
                      <a:lnTo>
                        <a:pt x="114" y="176"/>
                      </a:lnTo>
                      <a:lnTo>
                        <a:pt x="114" y="176"/>
                      </a:lnTo>
                      <a:lnTo>
                        <a:pt x="115" y="176"/>
                      </a:lnTo>
                      <a:lnTo>
                        <a:pt x="115" y="177"/>
                      </a:lnTo>
                      <a:lnTo>
                        <a:pt x="116" y="177"/>
                      </a:lnTo>
                      <a:lnTo>
                        <a:pt x="116" y="177"/>
                      </a:lnTo>
                      <a:lnTo>
                        <a:pt x="116" y="177"/>
                      </a:lnTo>
                      <a:lnTo>
                        <a:pt x="117" y="177"/>
                      </a:lnTo>
                      <a:lnTo>
                        <a:pt x="118" y="177"/>
                      </a:lnTo>
                      <a:lnTo>
                        <a:pt x="118" y="178"/>
                      </a:lnTo>
                      <a:lnTo>
                        <a:pt x="117" y="178"/>
                      </a:lnTo>
                      <a:lnTo>
                        <a:pt x="117" y="177"/>
                      </a:lnTo>
                      <a:lnTo>
                        <a:pt x="117" y="178"/>
                      </a:lnTo>
                      <a:lnTo>
                        <a:pt x="118" y="178"/>
                      </a:lnTo>
                      <a:lnTo>
                        <a:pt x="118" y="177"/>
                      </a:lnTo>
                      <a:lnTo>
                        <a:pt x="118" y="178"/>
                      </a:lnTo>
                      <a:lnTo>
                        <a:pt x="118" y="177"/>
                      </a:lnTo>
                      <a:lnTo>
                        <a:pt x="118" y="178"/>
                      </a:lnTo>
                      <a:lnTo>
                        <a:pt x="118" y="177"/>
                      </a:lnTo>
                      <a:lnTo>
                        <a:pt x="118" y="178"/>
                      </a:lnTo>
                      <a:lnTo>
                        <a:pt x="118" y="177"/>
                      </a:lnTo>
                      <a:lnTo>
                        <a:pt x="119" y="177"/>
                      </a:lnTo>
                      <a:lnTo>
                        <a:pt x="119" y="177"/>
                      </a:lnTo>
                      <a:lnTo>
                        <a:pt x="120" y="177"/>
                      </a:lnTo>
                      <a:lnTo>
                        <a:pt x="121" y="177"/>
                      </a:lnTo>
                      <a:lnTo>
                        <a:pt x="121" y="177"/>
                      </a:lnTo>
                      <a:lnTo>
                        <a:pt x="121" y="177"/>
                      </a:lnTo>
                      <a:lnTo>
                        <a:pt x="122" y="177"/>
                      </a:lnTo>
                      <a:lnTo>
                        <a:pt x="122" y="177"/>
                      </a:lnTo>
                      <a:lnTo>
                        <a:pt x="122" y="177"/>
                      </a:lnTo>
                      <a:lnTo>
                        <a:pt x="122" y="177"/>
                      </a:lnTo>
                      <a:lnTo>
                        <a:pt x="123" y="177"/>
                      </a:lnTo>
                      <a:lnTo>
                        <a:pt x="123" y="178"/>
                      </a:lnTo>
                      <a:lnTo>
                        <a:pt x="122" y="178"/>
                      </a:lnTo>
                      <a:lnTo>
                        <a:pt x="123" y="178"/>
                      </a:lnTo>
                      <a:lnTo>
                        <a:pt x="122" y="178"/>
                      </a:lnTo>
                      <a:lnTo>
                        <a:pt x="123" y="178"/>
                      </a:lnTo>
                      <a:lnTo>
                        <a:pt x="123" y="177"/>
                      </a:lnTo>
                      <a:lnTo>
                        <a:pt x="123" y="178"/>
                      </a:lnTo>
                      <a:lnTo>
                        <a:pt x="123" y="178"/>
                      </a:lnTo>
                      <a:lnTo>
                        <a:pt x="123" y="178"/>
                      </a:lnTo>
                      <a:lnTo>
                        <a:pt x="123" y="178"/>
                      </a:lnTo>
                      <a:lnTo>
                        <a:pt x="123" y="178"/>
                      </a:lnTo>
                      <a:lnTo>
                        <a:pt x="123" y="178"/>
                      </a:lnTo>
                      <a:lnTo>
                        <a:pt x="123" y="178"/>
                      </a:lnTo>
                      <a:lnTo>
                        <a:pt x="123" y="179"/>
                      </a:lnTo>
                      <a:lnTo>
                        <a:pt x="123" y="179"/>
                      </a:lnTo>
                      <a:lnTo>
                        <a:pt x="123" y="179"/>
                      </a:lnTo>
                      <a:lnTo>
                        <a:pt x="122" y="179"/>
                      </a:lnTo>
                      <a:lnTo>
                        <a:pt x="122" y="179"/>
                      </a:lnTo>
                      <a:lnTo>
                        <a:pt x="122" y="180"/>
                      </a:lnTo>
                      <a:lnTo>
                        <a:pt x="122" y="179"/>
                      </a:lnTo>
                      <a:lnTo>
                        <a:pt x="122" y="180"/>
                      </a:lnTo>
                      <a:lnTo>
                        <a:pt x="122" y="179"/>
                      </a:lnTo>
                      <a:lnTo>
                        <a:pt x="122" y="179"/>
                      </a:lnTo>
                      <a:lnTo>
                        <a:pt x="122" y="180"/>
                      </a:lnTo>
                      <a:lnTo>
                        <a:pt x="123" y="180"/>
                      </a:lnTo>
                      <a:lnTo>
                        <a:pt x="123" y="181"/>
                      </a:lnTo>
                      <a:lnTo>
                        <a:pt x="123" y="181"/>
                      </a:lnTo>
                      <a:lnTo>
                        <a:pt x="123" y="181"/>
                      </a:lnTo>
                      <a:lnTo>
                        <a:pt x="123" y="181"/>
                      </a:lnTo>
                      <a:lnTo>
                        <a:pt x="123" y="181"/>
                      </a:lnTo>
                      <a:lnTo>
                        <a:pt x="124" y="181"/>
                      </a:lnTo>
                      <a:lnTo>
                        <a:pt x="123" y="181"/>
                      </a:lnTo>
                      <a:lnTo>
                        <a:pt x="124" y="181"/>
                      </a:lnTo>
                      <a:lnTo>
                        <a:pt x="124" y="182"/>
                      </a:lnTo>
                      <a:lnTo>
                        <a:pt x="123" y="182"/>
                      </a:lnTo>
                      <a:lnTo>
                        <a:pt x="123" y="182"/>
                      </a:lnTo>
                      <a:lnTo>
                        <a:pt x="123" y="182"/>
                      </a:lnTo>
                      <a:lnTo>
                        <a:pt x="122" y="182"/>
                      </a:lnTo>
                      <a:lnTo>
                        <a:pt x="122" y="182"/>
                      </a:lnTo>
                      <a:lnTo>
                        <a:pt x="122" y="183"/>
                      </a:lnTo>
                      <a:lnTo>
                        <a:pt x="122" y="182"/>
                      </a:lnTo>
                      <a:lnTo>
                        <a:pt x="122" y="182"/>
                      </a:lnTo>
                      <a:lnTo>
                        <a:pt x="122" y="182"/>
                      </a:lnTo>
                      <a:lnTo>
                        <a:pt x="122" y="183"/>
                      </a:lnTo>
                      <a:lnTo>
                        <a:pt x="122" y="182"/>
                      </a:lnTo>
                      <a:lnTo>
                        <a:pt x="122" y="183"/>
                      </a:lnTo>
                      <a:lnTo>
                        <a:pt x="122" y="183"/>
                      </a:lnTo>
                      <a:lnTo>
                        <a:pt x="123" y="183"/>
                      </a:lnTo>
                      <a:lnTo>
                        <a:pt x="122" y="183"/>
                      </a:lnTo>
                      <a:lnTo>
                        <a:pt x="123" y="183"/>
                      </a:lnTo>
                      <a:lnTo>
                        <a:pt x="122" y="183"/>
                      </a:lnTo>
                      <a:lnTo>
                        <a:pt x="123" y="183"/>
                      </a:lnTo>
                      <a:lnTo>
                        <a:pt x="123" y="184"/>
                      </a:lnTo>
                      <a:lnTo>
                        <a:pt x="123" y="183"/>
                      </a:lnTo>
                      <a:lnTo>
                        <a:pt x="123" y="183"/>
                      </a:lnTo>
                      <a:lnTo>
                        <a:pt x="124" y="183"/>
                      </a:lnTo>
                      <a:lnTo>
                        <a:pt x="123" y="183"/>
                      </a:lnTo>
                      <a:lnTo>
                        <a:pt x="124" y="183"/>
                      </a:lnTo>
                      <a:lnTo>
                        <a:pt x="124" y="184"/>
                      </a:lnTo>
                      <a:lnTo>
                        <a:pt x="124" y="184"/>
                      </a:lnTo>
                      <a:lnTo>
                        <a:pt x="123" y="184"/>
                      </a:lnTo>
                      <a:lnTo>
                        <a:pt x="124" y="184"/>
                      </a:lnTo>
                      <a:lnTo>
                        <a:pt x="125" y="184"/>
                      </a:lnTo>
                      <a:lnTo>
                        <a:pt x="125" y="184"/>
                      </a:lnTo>
                      <a:lnTo>
                        <a:pt x="125" y="185"/>
                      </a:lnTo>
                      <a:lnTo>
                        <a:pt x="125" y="185"/>
                      </a:lnTo>
                      <a:lnTo>
                        <a:pt x="126" y="185"/>
                      </a:lnTo>
                      <a:lnTo>
                        <a:pt x="126" y="185"/>
                      </a:lnTo>
                      <a:lnTo>
                        <a:pt x="126" y="185"/>
                      </a:lnTo>
                      <a:lnTo>
                        <a:pt x="126" y="185"/>
                      </a:lnTo>
                      <a:lnTo>
                        <a:pt x="126" y="185"/>
                      </a:lnTo>
                      <a:lnTo>
                        <a:pt x="126" y="184"/>
                      </a:lnTo>
                      <a:lnTo>
                        <a:pt x="126" y="185"/>
                      </a:lnTo>
                      <a:lnTo>
                        <a:pt x="126" y="184"/>
                      </a:lnTo>
                      <a:lnTo>
                        <a:pt x="126" y="185"/>
                      </a:lnTo>
                      <a:lnTo>
                        <a:pt x="126" y="185"/>
                      </a:lnTo>
                      <a:lnTo>
                        <a:pt x="127" y="185"/>
                      </a:lnTo>
                      <a:lnTo>
                        <a:pt x="126" y="185"/>
                      </a:lnTo>
                      <a:lnTo>
                        <a:pt x="126" y="186"/>
                      </a:lnTo>
                      <a:lnTo>
                        <a:pt x="127" y="186"/>
                      </a:lnTo>
                      <a:lnTo>
                        <a:pt x="127" y="186"/>
                      </a:lnTo>
                      <a:lnTo>
                        <a:pt x="127" y="185"/>
                      </a:lnTo>
                      <a:lnTo>
                        <a:pt x="128" y="186"/>
                      </a:lnTo>
                      <a:lnTo>
                        <a:pt x="128" y="185"/>
                      </a:lnTo>
                      <a:lnTo>
                        <a:pt x="129" y="185"/>
                      </a:lnTo>
                      <a:lnTo>
                        <a:pt x="129" y="185"/>
                      </a:lnTo>
                      <a:lnTo>
                        <a:pt x="129" y="185"/>
                      </a:lnTo>
                      <a:lnTo>
                        <a:pt x="129" y="185"/>
                      </a:lnTo>
                      <a:lnTo>
                        <a:pt x="129" y="185"/>
                      </a:lnTo>
                      <a:lnTo>
                        <a:pt x="130" y="185"/>
                      </a:lnTo>
                      <a:lnTo>
                        <a:pt x="130" y="185"/>
                      </a:lnTo>
                      <a:lnTo>
                        <a:pt x="130" y="185"/>
                      </a:lnTo>
                      <a:lnTo>
                        <a:pt x="130" y="185"/>
                      </a:lnTo>
                      <a:lnTo>
                        <a:pt x="130" y="185"/>
                      </a:lnTo>
                      <a:lnTo>
                        <a:pt x="131" y="185"/>
                      </a:lnTo>
                      <a:lnTo>
                        <a:pt x="130" y="185"/>
                      </a:lnTo>
                      <a:lnTo>
                        <a:pt x="131" y="186"/>
                      </a:lnTo>
                      <a:lnTo>
                        <a:pt x="131" y="185"/>
                      </a:lnTo>
                      <a:lnTo>
                        <a:pt x="131" y="186"/>
                      </a:lnTo>
                      <a:lnTo>
                        <a:pt x="131" y="186"/>
                      </a:lnTo>
                      <a:lnTo>
                        <a:pt x="131" y="186"/>
                      </a:lnTo>
                      <a:lnTo>
                        <a:pt x="131" y="186"/>
                      </a:lnTo>
                      <a:lnTo>
                        <a:pt x="131" y="186"/>
                      </a:lnTo>
                      <a:lnTo>
                        <a:pt x="131" y="187"/>
                      </a:lnTo>
                      <a:lnTo>
                        <a:pt x="132" y="188"/>
                      </a:lnTo>
                      <a:lnTo>
                        <a:pt x="132" y="187"/>
                      </a:lnTo>
                      <a:lnTo>
                        <a:pt x="132" y="188"/>
                      </a:lnTo>
                      <a:lnTo>
                        <a:pt x="132" y="187"/>
                      </a:lnTo>
                      <a:lnTo>
                        <a:pt x="133" y="187"/>
                      </a:lnTo>
                      <a:lnTo>
                        <a:pt x="133" y="188"/>
                      </a:lnTo>
                      <a:lnTo>
                        <a:pt x="133" y="188"/>
                      </a:lnTo>
                      <a:lnTo>
                        <a:pt x="134" y="188"/>
                      </a:lnTo>
                      <a:lnTo>
                        <a:pt x="134" y="188"/>
                      </a:lnTo>
                      <a:lnTo>
                        <a:pt x="133" y="188"/>
                      </a:lnTo>
                      <a:lnTo>
                        <a:pt x="133" y="189"/>
                      </a:lnTo>
                      <a:lnTo>
                        <a:pt x="134" y="189"/>
                      </a:lnTo>
                      <a:lnTo>
                        <a:pt x="134" y="189"/>
                      </a:lnTo>
                      <a:lnTo>
                        <a:pt x="134" y="190"/>
                      </a:lnTo>
                      <a:lnTo>
                        <a:pt x="134" y="190"/>
                      </a:lnTo>
                      <a:lnTo>
                        <a:pt x="134" y="190"/>
                      </a:lnTo>
                      <a:lnTo>
                        <a:pt x="134" y="190"/>
                      </a:lnTo>
                      <a:lnTo>
                        <a:pt x="134" y="190"/>
                      </a:lnTo>
                      <a:lnTo>
                        <a:pt x="134" y="190"/>
                      </a:lnTo>
                      <a:lnTo>
                        <a:pt x="135" y="190"/>
                      </a:lnTo>
                      <a:lnTo>
                        <a:pt x="136" y="190"/>
                      </a:lnTo>
                      <a:lnTo>
                        <a:pt x="136" y="190"/>
                      </a:lnTo>
                      <a:lnTo>
                        <a:pt x="136" y="190"/>
                      </a:lnTo>
                      <a:lnTo>
                        <a:pt x="137" y="190"/>
                      </a:lnTo>
                      <a:lnTo>
                        <a:pt x="137" y="190"/>
                      </a:lnTo>
                      <a:lnTo>
                        <a:pt x="137" y="191"/>
                      </a:lnTo>
                      <a:lnTo>
                        <a:pt x="138" y="191"/>
                      </a:lnTo>
                      <a:lnTo>
                        <a:pt x="138" y="191"/>
                      </a:lnTo>
                      <a:lnTo>
                        <a:pt x="139" y="191"/>
                      </a:lnTo>
                      <a:lnTo>
                        <a:pt x="140" y="191"/>
                      </a:lnTo>
                      <a:lnTo>
                        <a:pt x="140" y="191"/>
                      </a:lnTo>
                      <a:lnTo>
                        <a:pt x="140" y="192"/>
                      </a:lnTo>
                      <a:lnTo>
                        <a:pt x="141" y="192"/>
                      </a:lnTo>
                      <a:lnTo>
                        <a:pt x="141" y="191"/>
                      </a:lnTo>
                      <a:lnTo>
                        <a:pt x="141" y="192"/>
                      </a:lnTo>
                      <a:lnTo>
                        <a:pt x="141" y="191"/>
                      </a:lnTo>
                      <a:lnTo>
                        <a:pt x="141" y="191"/>
                      </a:lnTo>
                      <a:lnTo>
                        <a:pt x="141" y="192"/>
                      </a:lnTo>
                      <a:lnTo>
                        <a:pt x="142" y="192"/>
                      </a:lnTo>
                      <a:lnTo>
                        <a:pt x="142" y="192"/>
                      </a:lnTo>
                      <a:lnTo>
                        <a:pt x="142" y="192"/>
                      </a:lnTo>
                      <a:lnTo>
                        <a:pt x="142" y="193"/>
                      </a:lnTo>
                      <a:lnTo>
                        <a:pt x="143" y="193"/>
                      </a:lnTo>
                      <a:lnTo>
                        <a:pt x="144" y="193"/>
                      </a:lnTo>
                      <a:lnTo>
                        <a:pt x="143" y="193"/>
                      </a:lnTo>
                      <a:lnTo>
                        <a:pt x="144" y="193"/>
                      </a:lnTo>
                      <a:lnTo>
                        <a:pt x="144" y="193"/>
                      </a:lnTo>
                      <a:lnTo>
                        <a:pt x="144" y="192"/>
                      </a:lnTo>
                      <a:lnTo>
                        <a:pt x="145" y="192"/>
                      </a:lnTo>
                      <a:lnTo>
                        <a:pt x="144" y="192"/>
                      </a:lnTo>
                      <a:lnTo>
                        <a:pt x="145" y="192"/>
                      </a:lnTo>
                      <a:lnTo>
                        <a:pt x="145" y="192"/>
                      </a:lnTo>
                      <a:lnTo>
                        <a:pt x="145" y="192"/>
                      </a:lnTo>
                      <a:lnTo>
                        <a:pt x="145" y="192"/>
                      </a:lnTo>
                      <a:lnTo>
                        <a:pt x="145" y="192"/>
                      </a:lnTo>
                      <a:lnTo>
                        <a:pt x="145" y="192"/>
                      </a:lnTo>
                      <a:lnTo>
                        <a:pt x="145" y="192"/>
                      </a:lnTo>
                      <a:lnTo>
                        <a:pt x="145" y="192"/>
                      </a:lnTo>
                      <a:lnTo>
                        <a:pt x="145" y="192"/>
                      </a:lnTo>
                      <a:lnTo>
                        <a:pt x="145" y="191"/>
                      </a:lnTo>
                      <a:lnTo>
                        <a:pt x="146" y="191"/>
                      </a:lnTo>
                      <a:lnTo>
                        <a:pt x="147" y="191"/>
                      </a:lnTo>
                      <a:lnTo>
                        <a:pt x="147" y="191"/>
                      </a:lnTo>
                      <a:lnTo>
                        <a:pt x="148" y="191"/>
                      </a:lnTo>
                      <a:lnTo>
                        <a:pt x="148" y="191"/>
                      </a:lnTo>
                      <a:lnTo>
                        <a:pt x="149" y="191"/>
                      </a:lnTo>
                      <a:lnTo>
                        <a:pt x="149" y="191"/>
                      </a:lnTo>
                      <a:lnTo>
                        <a:pt x="149" y="192"/>
                      </a:lnTo>
                      <a:lnTo>
                        <a:pt x="150" y="192"/>
                      </a:lnTo>
                      <a:lnTo>
                        <a:pt x="150" y="192"/>
                      </a:lnTo>
                      <a:lnTo>
                        <a:pt x="151" y="192"/>
                      </a:lnTo>
                      <a:lnTo>
                        <a:pt x="151" y="192"/>
                      </a:lnTo>
                      <a:lnTo>
                        <a:pt x="152" y="192"/>
                      </a:lnTo>
                      <a:lnTo>
                        <a:pt x="152" y="192"/>
                      </a:lnTo>
                      <a:lnTo>
                        <a:pt x="152" y="193"/>
                      </a:lnTo>
                      <a:lnTo>
                        <a:pt x="152" y="193"/>
                      </a:lnTo>
                      <a:lnTo>
                        <a:pt x="152" y="194"/>
                      </a:lnTo>
                      <a:lnTo>
                        <a:pt x="153" y="194"/>
                      </a:lnTo>
                      <a:lnTo>
                        <a:pt x="153" y="194"/>
                      </a:lnTo>
                      <a:lnTo>
                        <a:pt x="153" y="194"/>
                      </a:lnTo>
                      <a:lnTo>
                        <a:pt x="154" y="194"/>
                      </a:lnTo>
                      <a:lnTo>
                        <a:pt x="154" y="195"/>
                      </a:lnTo>
                      <a:lnTo>
                        <a:pt x="153" y="195"/>
                      </a:lnTo>
                      <a:lnTo>
                        <a:pt x="154" y="195"/>
                      </a:lnTo>
                      <a:lnTo>
                        <a:pt x="155" y="195"/>
                      </a:lnTo>
                      <a:lnTo>
                        <a:pt x="155" y="195"/>
                      </a:lnTo>
                      <a:lnTo>
                        <a:pt x="155" y="196"/>
                      </a:lnTo>
                      <a:lnTo>
                        <a:pt x="156" y="196"/>
                      </a:lnTo>
                      <a:lnTo>
                        <a:pt x="156" y="195"/>
                      </a:lnTo>
                      <a:lnTo>
                        <a:pt x="156" y="196"/>
                      </a:lnTo>
                      <a:lnTo>
                        <a:pt x="156" y="196"/>
                      </a:lnTo>
                      <a:lnTo>
                        <a:pt x="156" y="196"/>
                      </a:lnTo>
                      <a:lnTo>
                        <a:pt x="156" y="197"/>
                      </a:lnTo>
                      <a:lnTo>
                        <a:pt x="156" y="197"/>
                      </a:lnTo>
                      <a:lnTo>
                        <a:pt x="157" y="198"/>
                      </a:lnTo>
                      <a:lnTo>
                        <a:pt x="157" y="199"/>
                      </a:lnTo>
                      <a:lnTo>
                        <a:pt x="157" y="199"/>
                      </a:lnTo>
                      <a:lnTo>
                        <a:pt x="157" y="200"/>
                      </a:lnTo>
                      <a:lnTo>
                        <a:pt x="157" y="200"/>
                      </a:lnTo>
                      <a:lnTo>
                        <a:pt x="157" y="200"/>
                      </a:lnTo>
                      <a:lnTo>
                        <a:pt x="157" y="200"/>
                      </a:lnTo>
                      <a:lnTo>
                        <a:pt x="157" y="200"/>
                      </a:lnTo>
                      <a:lnTo>
                        <a:pt x="157" y="201"/>
                      </a:lnTo>
                      <a:lnTo>
                        <a:pt x="157" y="201"/>
                      </a:lnTo>
                      <a:lnTo>
                        <a:pt x="158" y="201"/>
                      </a:lnTo>
                      <a:lnTo>
                        <a:pt x="158" y="202"/>
                      </a:lnTo>
                      <a:lnTo>
                        <a:pt x="158" y="203"/>
                      </a:lnTo>
                      <a:lnTo>
                        <a:pt x="159" y="203"/>
                      </a:lnTo>
                      <a:lnTo>
                        <a:pt x="158" y="203"/>
                      </a:lnTo>
                      <a:lnTo>
                        <a:pt x="158" y="203"/>
                      </a:lnTo>
                      <a:lnTo>
                        <a:pt x="159" y="203"/>
                      </a:lnTo>
                      <a:lnTo>
                        <a:pt x="159" y="204"/>
                      </a:lnTo>
                      <a:lnTo>
                        <a:pt x="159" y="204"/>
                      </a:lnTo>
                      <a:lnTo>
                        <a:pt x="160" y="204"/>
                      </a:lnTo>
                      <a:lnTo>
                        <a:pt x="160" y="204"/>
                      </a:lnTo>
                      <a:lnTo>
                        <a:pt x="161" y="204"/>
                      </a:lnTo>
                      <a:lnTo>
                        <a:pt x="161" y="204"/>
                      </a:lnTo>
                      <a:lnTo>
                        <a:pt x="162" y="204"/>
                      </a:lnTo>
                      <a:lnTo>
                        <a:pt x="162" y="205"/>
                      </a:lnTo>
                      <a:lnTo>
                        <a:pt x="162" y="205"/>
                      </a:lnTo>
                      <a:lnTo>
                        <a:pt x="162" y="205"/>
                      </a:lnTo>
                      <a:lnTo>
                        <a:pt x="163" y="205"/>
                      </a:lnTo>
                      <a:lnTo>
                        <a:pt x="163" y="206"/>
                      </a:lnTo>
                      <a:lnTo>
                        <a:pt x="163" y="206"/>
                      </a:lnTo>
                      <a:lnTo>
                        <a:pt x="163" y="207"/>
                      </a:lnTo>
                      <a:lnTo>
                        <a:pt x="163" y="207"/>
                      </a:lnTo>
                      <a:lnTo>
                        <a:pt x="163" y="208"/>
                      </a:lnTo>
                      <a:lnTo>
                        <a:pt x="163" y="208"/>
                      </a:lnTo>
                      <a:lnTo>
                        <a:pt x="163" y="209"/>
                      </a:lnTo>
                      <a:lnTo>
                        <a:pt x="163" y="210"/>
                      </a:lnTo>
                      <a:lnTo>
                        <a:pt x="163" y="210"/>
                      </a:lnTo>
                      <a:lnTo>
                        <a:pt x="162" y="210"/>
                      </a:lnTo>
                      <a:lnTo>
                        <a:pt x="163" y="210"/>
                      </a:lnTo>
                      <a:lnTo>
                        <a:pt x="163" y="211"/>
                      </a:lnTo>
                      <a:lnTo>
                        <a:pt x="162" y="211"/>
                      </a:lnTo>
                      <a:lnTo>
                        <a:pt x="162" y="211"/>
                      </a:lnTo>
                      <a:lnTo>
                        <a:pt x="162" y="211"/>
                      </a:lnTo>
                      <a:lnTo>
                        <a:pt x="162" y="212"/>
                      </a:lnTo>
                      <a:lnTo>
                        <a:pt x="161" y="212"/>
                      </a:lnTo>
                      <a:lnTo>
                        <a:pt x="160" y="212"/>
                      </a:lnTo>
                      <a:lnTo>
                        <a:pt x="160" y="213"/>
                      </a:lnTo>
                      <a:lnTo>
                        <a:pt x="160" y="214"/>
                      </a:lnTo>
                      <a:lnTo>
                        <a:pt x="159" y="214"/>
                      </a:lnTo>
                      <a:lnTo>
                        <a:pt x="159" y="214"/>
                      </a:lnTo>
                      <a:lnTo>
                        <a:pt x="159" y="214"/>
                      </a:lnTo>
                      <a:lnTo>
                        <a:pt x="159" y="215"/>
                      </a:lnTo>
                      <a:lnTo>
                        <a:pt x="158" y="215"/>
                      </a:lnTo>
                      <a:lnTo>
                        <a:pt x="157" y="215"/>
                      </a:lnTo>
                      <a:lnTo>
                        <a:pt x="157" y="215"/>
                      </a:lnTo>
                      <a:lnTo>
                        <a:pt x="156" y="215"/>
                      </a:lnTo>
                      <a:lnTo>
                        <a:pt x="156" y="215"/>
                      </a:lnTo>
                      <a:lnTo>
                        <a:pt x="156" y="215"/>
                      </a:lnTo>
                      <a:lnTo>
                        <a:pt x="156" y="215"/>
                      </a:lnTo>
                      <a:lnTo>
                        <a:pt x="156" y="215"/>
                      </a:lnTo>
                      <a:lnTo>
                        <a:pt x="156" y="216"/>
                      </a:lnTo>
                      <a:lnTo>
                        <a:pt x="156" y="216"/>
                      </a:lnTo>
                      <a:lnTo>
                        <a:pt x="156" y="216"/>
                      </a:lnTo>
                      <a:lnTo>
                        <a:pt x="156" y="217"/>
                      </a:lnTo>
                      <a:lnTo>
                        <a:pt x="156" y="217"/>
                      </a:lnTo>
                      <a:lnTo>
                        <a:pt x="156" y="217"/>
                      </a:lnTo>
                      <a:lnTo>
                        <a:pt x="157" y="217"/>
                      </a:lnTo>
                      <a:lnTo>
                        <a:pt x="157" y="218"/>
                      </a:lnTo>
                      <a:lnTo>
                        <a:pt x="157" y="218"/>
                      </a:lnTo>
                      <a:lnTo>
                        <a:pt x="157" y="219"/>
                      </a:lnTo>
                      <a:lnTo>
                        <a:pt x="157" y="219"/>
                      </a:lnTo>
                      <a:lnTo>
                        <a:pt x="157" y="219"/>
                      </a:lnTo>
                      <a:lnTo>
                        <a:pt x="157" y="220"/>
                      </a:lnTo>
                      <a:lnTo>
                        <a:pt x="158" y="220"/>
                      </a:lnTo>
                      <a:lnTo>
                        <a:pt x="158" y="221"/>
                      </a:lnTo>
                      <a:lnTo>
                        <a:pt x="157" y="221"/>
                      </a:lnTo>
                      <a:lnTo>
                        <a:pt x="158" y="221"/>
                      </a:lnTo>
                      <a:lnTo>
                        <a:pt x="159" y="221"/>
                      </a:lnTo>
                      <a:lnTo>
                        <a:pt x="159" y="221"/>
                      </a:lnTo>
                      <a:lnTo>
                        <a:pt x="159" y="221"/>
                      </a:lnTo>
                      <a:lnTo>
                        <a:pt x="158" y="221"/>
                      </a:lnTo>
                      <a:lnTo>
                        <a:pt x="158" y="220"/>
                      </a:lnTo>
                      <a:lnTo>
                        <a:pt x="157" y="220"/>
                      </a:lnTo>
                      <a:lnTo>
                        <a:pt x="158" y="220"/>
                      </a:lnTo>
                      <a:lnTo>
                        <a:pt x="157" y="219"/>
                      </a:lnTo>
                      <a:lnTo>
                        <a:pt x="157" y="219"/>
                      </a:lnTo>
                      <a:lnTo>
                        <a:pt x="157" y="219"/>
                      </a:lnTo>
                      <a:lnTo>
                        <a:pt x="157" y="218"/>
                      </a:lnTo>
                      <a:lnTo>
                        <a:pt x="157" y="218"/>
                      </a:lnTo>
                      <a:lnTo>
                        <a:pt x="157" y="217"/>
                      </a:lnTo>
                      <a:lnTo>
                        <a:pt x="156" y="217"/>
                      </a:lnTo>
                      <a:lnTo>
                        <a:pt x="156" y="217"/>
                      </a:lnTo>
                      <a:lnTo>
                        <a:pt x="156" y="217"/>
                      </a:lnTo>
                      <a:lnTo>
                        <a:pt x="156" y="216"/>
                      </a:lnTo>
                      <a:lnTo>
                        <a:pt x="156" y="216"/>
                      </a:lnTo>
                      <a:lnTo>
                        <a:pt x="156" y="216"/>
                      </a:lnTo>
                      <a:lnTo>
                        <a:pt x="156" y="215"/>
                      </a:lnTo>
                      <a:lnTo>
                        <a:pt x="156" y="215"/>
                      </a:lnTo>
                      <a:lnTo>
                        <a:pt x="157" y="215"/>
                      </a:lnTo>
                      <a:lnTo>
                        <a:pt x="156" y="215"/>
                      </a:lnTo>
                      <a:lnTo>
                        <a:pt x="157" y="215"/>
                      </a:lnTo>
                      <a:lnTo>
                        <a:pt x="156" y="215"/>
                      </a:lnTo>
                      <a:lnTo>
                        <a:pt x="157" y="215"/>
                      </a:lnTo>
                      <a:lnTo>
                        <a:pt x="157" y="215"/>
                      </a:lnTo>
                      <a:lnTo>
                        <a:pt x="158" y="215"/>
                      </a:lnTo>
                      <a:lnTo>
                        <a:pt x="159" y="215"/>
                      </a:lnTo>
                      <a:lnTo>
                        <a:pt x="159" y="214"/>
                      </a:lnTo>
                      <a:lnTo>
                        <a:pt x="159" y="214"/>
                      </a:lnTo>
                      <a:lnTo>
                        <a:pt x="160" y="214"/>
                      </a:lnTo>
                      <a:lnTo>
                        <a:pt x="160" y="213"/>
                      </a:lnTo>
                      <a:lnTo>
                        <a:pt x="160" y="213"/>
                      </a:lnTo>
                      <a:lnTo>
                        <a:pt x="160" y="212"/>
                      </a:lnTo>
                      <a:lnTo>
                        <a:pt x="161" y="212"/>
                      </a:lnTo>
                      <a:lnTo>
                        <a:pt x="162" y="212"/>
                      </a:lnTo>
                      <a:lnTo>
                        <a:pt x="162" y="211"/>
                      </a:lnTo>
                      <a:lnTo>
                        <a:pt x="162" y="211"/>
                      </a:lnTo>
                      <a:lnTo>
                        <a:pt x="162" y="211"/>
                      </a:lnTo>
                      <a:lnTo>
                        <a:pt x="162" y="211"/>
                      </a:lnTo>
                      <a:lnTo>
                        <a:pt x="162" y="211"/>
                      </a:lnTo>
                      <a:lnTo>
                        <a:pt x="162" y="211"/>
                      </a:lnTo>
                      <a:lnTo>
                        <a:pt x="163" y="211"/>
                      </a:lnTo>
                      <a:lnTo>
                        <a:pt x="163" y="211"/>
                      </a:lnTo>
                      <a:lnTo>
                        <a:pt x="163" y="212"/>
                      </a:lnTo>
                      <a:lnTo>
                        <a:pt x="163" y="212"/>
                      </a:lnTo>
                      <a:lnTo>
                        <a:pt x="164" y="212"/>
                      </a:lnTo>
                      <a:lnTo>
                        <a:pt x="164" y="212"/>
                      </a:lnTo>
                      <a:lnTo>
                        <a:pt x="165" y="212"/>
                      </a:lnTo>
                      <a:lnTo>
                        <a:pt x="164" y="212"/>
                      </a:lnTo>
                      <a:lnTo>
                        <a:pt x="164" y="212"/>
                      </a:lnTo>
                      <a:lnTo>
                        <a:pt x="163" y="212"/>
                      </a:lnTo>
                      <a:lnTo>
                        <a:pt x="163" y="212"/>
                      </a:lnTo>
                      <a:lnTo>
                        <a:pt x="163" y="211"/>
                      </a:lnTo>
                      <a:lnTo>
                        <a:pt x="163" y="211"/>
                      </a:lnTo>
                      <a:lnTo>
                        <a:pt x="163" y="210"/>
                      </a:lnTo>
                      <a:lnTo>
                        <a:pt x="163" y="210"/>
                      </a:lnTo>
                      <a:lnTo>
                        <a:pt x="163" y="209"/>
                      </a:lnTo>
                      <a:lnTo>
                        <a:pt x="163" y="208"/>
                      </a:lnTo>
                      <a:lnTo>
                        <a:pt x="163" y="208"/>
                      </a:lnTo>
                      <a:lnTo>
                        <a:pt x="164" y="207"/>
                      </a:lnTo>
                      <a:lnTo>
                        <a:pt x="163" y="207"/>
                      </a:lnTo>
                      <a:lnTo>
                        <a:pt x="164" y="207"/>
                      </a:lnTo>
                      <a:lnTo>
                        <a:pt x="163" y="207"/>
                      </a:lnTo>
                      <a:lnTo>
                        <a:pt x="163" y="206"/>
                      </a:lnTo>
                      <a:lnTo>
                        <a:pt x="163" y="206"/>
                      </a:lnTo>
                      <a:lnTo>
                        <a:pt x="163" y="205"/>
                      </a:lnTo>
                      <a:lnTo>
                        <a:pt x="162" y="205"/>
                      </a:lnTo>
                      <a:lnTo>
                        <a:pt x="162" y="205"/>
                      </a:lnTo>
                      <a:lnTo>
                        <a:pt x="163" y="205"/>
                      </a:lnTo>
                      <a:lnTo>
                        <a:pt x="162" y="205"/>
                      </a:lnTo>
                      <a:lnTo>
                        <a:pt x="162" y="205"/>
                      </a:lnTo>
                      <a:lnTo>
                        <a:pt x="162" y="204"/>
                      </a:lnTo>
                      <a:lnTo>
                        <a:pt x="161" y="204"/>
                      </a:lnTo>
                      <a:lnTo>
                        <a:pt x="161" y="204"/>
                      </a:lnTo>
                      <a:lnTo>
                        <a:pt x="160" y="204"/>
                      </a:lnTo>
                      <a:lnTo>
                        <a:pt x="160" y="204"/>
                      </a:lnTo>
                      <a:lnTo>
                        <a:pt x="159" y="204"/>
                      </a:lnTo>
                      <a:lnTo>
                        <a:pt x="159" y="204"/>
                      </a:lnTo>
                      <a:lnTo>
                        <a:pt x="159" y="203"/>
                      </a:lnTo>
                      <a:lnTo>
                        <a:pt x="159" y="203"/>
                      </a:lnTo>
                      <a:lnTo>
                        <a:pt x="158" y="203"/>
                      </a:lnTo>
                      <a:lnTo>
                        <a:pt x="159" y="202"/>
                      </a:lnTo>
                      <a:lnTo>
                        <a:pt x="158" y="202"/>
                      </a:lnTo>
                      <a:lnTo>
                        <a:pt x="158" y="201"/>
                      </a:lnTo>
                      <a:lnTo>
                        <a:pt x="157" y="201"/>
                      </a:lnTo>
                      <a:lnTo>
                        <a:pt x="157" y="201"/>
                      </a:lnTo>
                      <a:lnTo>
                        <a:pt x="157" y="200"/>
                      </a:lnTo>
                      <a:lnTo>
                        <a:pt x="157" y="200"/>
                      </a:lnTo>
                      <a:lnTo>
                        <a:pt x="157" y="200"/>
                      </a:lnTo>
                      <a:lnTo>
                        <a:pt x="157" y="200"/>
                      </a:lnTo>
                      <a:lnTo>
                        <a:pt x="157" y="199"/>
                      </a:lnTo>
                      <a:lnTo>
                        <a:pt x="157" y="199"/>
                      </a:lnTo>
                      <a:lnTo>
                        <a:pt x="157" y="199"/>
                      </a:lnTo>
                      <a:lnTo>
                        <a:pt x="157" y="199"/>
                      </a:lnTo>
                      <a:lnTo>
                        <a:pt x="157" y="198"/>
                      </a:lnTo>
                      <a:lnTo>
                        <a:pt x="157" y="197"/>
                      </a:lnTo>
                      <a:lnTo>
                        <a:pt x="156" y="197"/>
                      </a:lnTo>
                      <a:lnTo>
                        <a:pt x="156" y="197"/>
                      </a:lnTo>
                      <a:lnTo>
                        <a:pt x="156" y="196"/>
                      </a:lnTo>
                      <a:lnTo>
                        <a:pt x="156" y="196"/>
                      </a:lnTo>
                      <a:lnTo>
                        <a:pt x="156" y="196"/>
                      </a:lnTo>
                      <a:lnTo>
                        <a:pt x="156" y="196"/>
                      </a:lnTo>
                      <a:lnTo>
                        <a:pt x="156" y="196"/>
                      </a:lnTo>
                      <a:lnTo>
                        <a:pt x="156" y="195"/>
                      </a:lnTo>
                      <a:lnTo>
                        <a:pt x="156" y="195"/>
                      </a:lnTo>
                      <a:lnTo>
                        <a:pt x="156" y="194"/>
                      </a:lnTo>
                      <a:lnTo>
                        <a:pt x="156" y="194"/>
                      </a:lnTo>
                      <a:lnTo>
                        <a:pt x="156" y="194"/>
                      </a:lnTo>
                      <a:lnTo>
                        <a:pt x="155" y="194"/>
                      </a:lnTo>
                      <a:lnTo>
                        <a:pt x="155" y="194"/>
                      </a:lnTo>
                      <a:lnTo>
                        <a:pt x="155" y="193"/>
                      </a:lnTo>
                      <a:lnTo>
                        <a:pt x="155" y="194"/>
                      </a:lnTo>
                      <a:lnTo>
                        <a:pt x="154" y="194"/>
                      </a:lnTo>
                      <a:lnTo>
                        <a:pt x="154" y="194"/>
                      </a:lnTo>
                      <a:lnTo>
                        <a:pt x="153" y="194"/>
                      </a:lnTo>
                      <a:lnTo>
                        <a:pt x="153" y="194"/>
                      </a:lnTo>
                      <a:lnTo>
                        <a:pt x="153" y="194"/>
                      </a:lnTo>
                      <a:lnTo>
                        <a:pt x="152" y="194"/>
                      </a:lnTo>
                      <a:lnTo>
                        <a:pt x="153" y="193"/>
                      </a:lnTo>
                      <a:lnTo>
                        <a:pt x="152" y="193"/>
                      </a:lnTo>
                      <a:lnTo>
                        <a:pt x="152" y="193"/>
                      </a:lnTo>
                      <a:lnTo>
                        <a:pt x="152" y="192"/>
                      </a:lnTo>
                      <a:lnTo>
                        <a:pt x="152" y="192"/>
                      </a:lnTo>
                      <a:lnTo>
                        <a:pt x="151" y="192"/>
                      </a:lnTo>
                      <a:lnTo>
                        <a:pt x="151" y="192"/>
                      </a:lnTo>
                      <a:lnTo>
                        <a:pt x="150" y="192"/>
                      </a:lnTo>
                      <a:lnTo>
                        <a:pt x="150" y="192"/>
                      </a:lnTo>
                      <a:lnTo>
                        <a:pt x="149" y="192"/>
                      </a:lnTo>
                      <a:lnTo>
                        <a:pt x="149" y="191"/>
                      </a:lnTo>
                      <a:lnTo>
                        <a:pt x="149" y="191"/>
                      </a:lnTo>
                      <a:lnTo>
                        <a:pt x="148" y="191"/>
                      </a:lnTo>
                      <a:lnTo>
                        <a:pt x="148" y="190"/>
                      </a:lnTo>
                      <a:lnTo>
                        <a:pt x="148" y="190"/>
                      </a:lnTo>
                      <a:lnTo>
                        <a:pt x="149" y="190"/>
                      </a:lnTo>
                      <a:lnTo>
                        <a:pt x="149" y="189"/>
                      </a:lnTo>
                      <a:lnTo>
                        <a:pt x="148" y="189"/>
                      </a:lnTo>
                      <a:lnTo>
                        <a:pt x="148" y="189"/>
                      </a:lnTo>
                      <a:lnTo>
                        <a:pt x="148" y="188"/>
                      </a:lnTo>
                      <a:lnTo>
                        <a:pt x="148" y="188"/>
                      </a:lnTo>
                      <a:lnTo>
                        <a:pt x="148" y="188"/>
                      </a:lnTo>
                      <a:lnTo>
                        <a:pt x="148" y="188"/>
                      </a:lnTo>
                      <a:lnTo>
                        <a:pt x="148" y="188"/>
                      </a:lnTo>
                      <a:lnTo>
                        <a:pt x="147" y="188"/>
                      </a:lnTo>
                      <a:lnTo>
                        <a:pt x="147" y="187"/>
                      </a:lnTo>
                      <a:lnTo>
                        <a:pt x="147" y="186"/>
                      </a:lnTo>
                      <a:lnTo>
                        <a:pt x="148" y="186"/>
                      </a:lnTo>
                      <a:lnTo>
                        <a:pt x="148" y="186"/>
                      </a:lnTo>
                      <a:lnTo>
                        <a:pt x="148" y="186"/>
                      </a:lnTo>
                      <a:lnTo>
                        <a:pt x="148" y="186"/>
                      </a:lnTo>
                      <a:lnTo>
                        <a:pt x="147" y="186"/>
                      </a:lnTo>
                      <a:lnTo>
                        <a:pt x="147" y="185"/>
                      </a:lnTo>
                      <a:lnTo>
                        <a:pt x="148" y="185"/>
                      </a:lnTo>
                      <a:lnTo>
                        <a:pt x="147" y="185"/>
                      </a:lnTo>
                      <a:lnTo>
                        <a:pt x="147" y="185"/>
                      </a:lnTo>
                      <a:lnTo>
                        <a:pt x="147" y="185"/>
                      </a:lnTo>
                      <a:lnTo>
                        <a:pt x="147" y="184"/>
                      </a:lnTo>
                      <a:lnTo>
                        <a:pt x="146" y="184"/>
                      </a:lnTo>
                      <a:lnTo>
                        <a:pt x="145" y="184"/>
                      </a:lnTo>
                      <a:lnTo>
                        <a:pt x="145" y="185"/>
                      </a:lnTo>
                      <a:lnTo>
                        <a:pt x="145" y="185"/>
                      </a:lnTo>
                      <a:lnTo>
                        <a:pt x="145" y="185"/>
                      </a:lnTo>
                      <a:lnTo>
                        <a:pt x="145" y="185"/>
                      </a:lnTo>
                      <a:lnTo>
                        <a:pt x="144" y="185"/>
                      </a:lnTo>
                      <a:lnTo>
                        <a:pt x="144" y="185"/>
                      </a:lnTo>
                      <a:lnTo>
                        <a:pt x="143" y="185"/>
                      </a:lnTo>
                      <a:lnTo>
                        <a:pt x="143" y="185"/>
                      </a:lnTo>
                      <a:lnTo>
                        <a:pt x="142" y="185"/>
                      </a:lnTo>
                      <a:lnTo>
                        <a:pt x="142" y="185"/>
                      </a:lnTo>
                      <a:lnTo>
                        <a:pt x="141" y="185"/>
                      </a:lnTo>
                      <a:lnTo>
                        <a:pt x="141" y="185"/>
                      </a:lnTo>
                      <a:lnTo>
                        <a:pt x="141" y="184"/>
                      </a:lnTo>
                      <a:lnTo>
                        <a:pt x="141" y="184"/>
                      </a:lnTo>
                      <a:lnTo>
                        <a:pt x="141" y="184"/>
                      </a:lnTo>
                      <a:lnTo>
                        <a:pt x="141" y="184"/>
                      </a:lnTo>
                      <a:lnTo>
                        <a:pt x="140" y="184"/>
                      </a:lnTo>
                      <a:lnTo>
                        <a:pt x="140" y="183"/>
                      </a:lnTo>
                      <a:lnTo>
                        <a:pt x="140" y="182"/>
                      </a:lnTo>
                      <a:lnTo>
                        <a:pt x="139" y="182"/>
                      </a:lnTo>
                      <a:lnTo>
                        <a:pt x="139" y="182"/>
                      </a:lnTo>
                      <a:lnTo>
                        <a:pt x="138" y="182"/>
                      </a:lnTo>
                      <a:lnTo>
                        <a:pt x="138" y="181"/>
                      </a:lnTo>
                      <a:lnTo>
                        <a:pt x="138" y="181"/>
                      </a:lnTo>
                      <a:lnTo>
                        <a:pt x="138" y="180"/>
                      </a:lnTo>
                      <a:lnTo>
                        <a:pt x="137" y="180"/>
                      </a:lnTo>
                      <a:lnTo>
                        <a:pt x="137" y="180"/>
                      </a:lnTo>
                      <a:lnTo>
                        <a:pt x="136" y="180"/>
                      </a:lnTo>
                      <a:lnTo>
                        <a:pt x="136" y="179"/>
                      </a:lnTo>
                      <a:lnTo>
                        <a:pt x="136" y="179"/>
                      </a:lnTo>
                      <a:lnTo>
                        <a:pt x="137" y="179"/>
                      </a:lnTo>
                      <a:lnTo>
                        <a:pt x="136" y="179"/>
                      </a:lnTo>
                      <a:lnTo>
                        <a:pt x="136" y="178"/>
                      </a:lnTo>
                      <a:lnTo>
                        <a:pt x="136" y="178"/>
                      </a:lnTo>
                      <a:lnTo>
                        <a:pt x="136" y="178"/>
                      </a:lnTo>
                      <a:lnTo>
                        <a:pt x="136" y="177"/>
                      </a:lnTo>
                      <a:lnTo>
                        <a:pt x="136" y="177"/>
                      </a:lnTo>
                      <a:lnTo>
                        <a:pt x="137" y="178"/>
                      </a:lnTo>
                      <a:lnTo>
                        <a:pt x="137" y="178"/>
                      </a:lnTo>
                      <a:lnTo>
                        <a:pt x="137" y="177"/>
                      </a:lnTo>
                      <a:lnTo>
                        <a:pt x="138" y="177"/>
                      </a:lnTo>
                      <a:lnTo>
                        <a:pt x="138" y="177"/>
                      </a:lnTo>
                      <a:lnTo>
                        <a:pt x="138" y="176"/>
                      </a:lnTo>
                      <a:lnTo>
                        <a:pt x="139" y="176"/>
                      </a:lnTo>
                      <a:lnTo>
                        <a:pt x="138" y="176"/>
                      </a:lnTo>
                      <a:lnTo>
                        <a:pt x="139" y="175"/>
                      </a:lnTo>
                      <a:lnTo>
                        <a:pt x="139" y="175"/>
                      </a:lnTo>
                      <a:lnTo>
                        <a:pt x="138" y="175"/>
                      </a:lnTo>
                      <a:lnTo>
                        <a:pt x="138" y="174"/>
                      </a:lnTo>
                      <a:lnTo>
                        <a:pt x="139" y="174"/>
                      </a:lnTo>
                      <a:lnTo>
                        <a:pt x="140" y="174"/>
                      </a:lnTo>
                      <a:lnTo>
                        <a:pt x="140" y="174"/>
                      </a:lnTo>
                      <a:lnTo>
                        <a:pt x="140" y="174"/>
                      </a:lnTo>
                      <a:lnTo>
                        <a:pt x="141" y="174"/>
                      </a:lnTo>
                      <a:lnTo>
                        <a:pt x="141" y="174"/>
                      </a:lnTo>
                      <a:lnTo>
                        <a:pt x="141" y="174"/>
                      </a:lnTo>
                      <a:lnTo>
                        <a:pt x="141" y="174"/>
                      </a:lnTo>
                      <a:lnTo>
                        <a:pt x="141" y="174"/>
                      </a:lnTo>
                      <a:lnTo>
                        <a:pt x="142" y="174"/>
                      </a:lnTo>
                      <a:lnTo>
                        <a:pt x="142" y="175"/>
                      </a:lnTo>
                      <a:lnTo>
                        <a:pt x="143" y="175"/>
                      </a:lnTo>
                      <a:lnTo>
                        <a:pt x="144" y="175"/>
                      </a:lnTo>
                      <a:lnTo>
                        <a:pt x="144" y="175"/>
                      </a:lnTo>
                      <a:lnTo>
                        <a:pt x="145" y="175"/>
                      </a:lnTo>
                      <a:lnTo>
                        <a:pt x="145" y="175"/>
                      </a:lnTo>
                      <a:lnTo>
                        <a:pt x="145" y="176"/>
                      </a:lnTo>
                      <a:lnTo>
                        <a:pt x="146" y="176"/>
                      </a:lnTo>
                      <a:lnTo>
                        <a:pt x="145" y="177"/>
                      </a:lnTo>
                      <a:lnTo>
                        <a:pt x="146" y="177"/>
                      </a:lnTo>
                      <a:lnTo>
                        <a:pt x="146" y="177"/>
                      </a:lnTo>
                      <a:lnTo>
                        <a:pt x="147" y="177"/>
                      </a:lnTo>
                      <a:lnTo>
                        <a:pt x="147" y="178"/>
                      </a:lnTo>
                      <a:lnTo>
                        <a:pt x="148" y="178"/>
                      </a:lnTo>
                      <a:lnTo>
                        <a:pt x="148" y="178"/>
                      </a:lnTo>
                      <a:lnTo>
                        <a:pt x="149" y="178"/>
                      </a:lnTo>
                      <a:lnTo>
                        <a:pt x="149" y="178"/>
                      </a:lnTo>
                      <a:lnTo>
                        <a:pt x="150" y="178"/>
                      </a:lnTo>
                      <a:lnTo>
                        <a:pt x="151" y="178"/>
                      </a:lnTo>
                      <a:lnTo>
                        <a:pt x="151" y="178"/>
                      </a:lnTo>
                      <a:lnTo>
                        <a:pt x="151" y="179"/>
                      </a:lnTo>
                      <a:lnTo>
                        <a:pt x="151" y="179"/>
                      </a:lnTo>
                      <a:lnTo>
                        <a:pt x="151" y="179"/>
                      </a:lnTo>
                      <a:lnTo>
                        <a:pt x="151" y="179"/>
                      </a:lnTo>
                      <a:lnTo>
                        <a:pt x="151" y="179"/>
                      </a:lnTo>
                      <a:lnTo>
                        <a:pt x="150" y="179"/>
                      </a:lnTo>
                      <a:lnTo>
                        <a:pt x="150" y="179"/>
                      </a:lnTo>
                      <a:lnTo>
                        <a:pt x="149" y="179"/>
                      </a:lnTo>
                      <a:lnTo>
                        <a:pt x="149" y="179"/>
                      </a:lnTo>
                      <a:lnTo>
                        <a:pt x="149" y="179"/>
                      </a:lnTo>
                      <a:lnTo>
                        <a:pt x="148" y="179"/>
                      </a:lnTo>
                      <a:lnTo>
                        <a:pt x="148" y="180"/>
                      </a:lnTo>
                      <a:lnTo>
                        <a:pt x="149" y="180"/>
                      </a:lnTo>
                      <a:lnTo>
                        <a:pt x="149" y="181"/>
                      </a:lnTo>
                      <a:lnTo>
                        <a:pt x="149" y="181"/>
                      </a:lnTo>
                      <a:lnTo>
                        <a:pt x="148" y="181"/>
                      </a:lnTo>
                      <a:lnTo>
                        <a:pt x="148" y="182"/>
                      </a:lnTo>
                      <a:lnTo>
                        <a:pt x="148" y="182"/>
                      </a:lnTo>
                      <a:lnTo>
                        <a:pt x="148" y="182"/>
                      </a:lnTo>
                      <a:lnTo>
                        <a:pt x="148" y="181"/>
                      </a:lnTo>
                      <a:lnTo>
                        <a:pt x="149" y="181"/>
                      </a:lnTo>
                      <a:lnTo>
                        <a:pt x="149" y="181"/>
                      </a:lnTo>
                      <a:lnTo>
                        <a:pt x="149" y="181"/>
                      </a:lnTo>
                      <a:lnTo>
                        <a:pt x="149" y="181"/>
                      </a:lnTo>
                      <a:lnTo>
                        <a:pt x="149" y="181"/>
                      </a:lnTo>
                      <a:lnTo>
                        <a:pt x="149" y="181"/>
                      </a:lnTo>
                      <a:lnTo>
                        <a:pt x="149" y="180"/>
                      </a:lnTo>
                      <a:lnTo>
                        <a:pt x="150" y="180"/>
                      </a:lnTo>
                      <a:lnTo>
                        <a:pt x="151" y="180"/>
                      </a:lnTo>
                      <a:lnTo>
                        <a:pt x="151" y="179"/>
                      </a:lnTo>
                      <a:lnTo>
                        <a:pt x="152" y="179"/>
                      </a:lnTo>
                      <a:lnTo>
                        <a:pt x="152" y="180"/>
                      </a:lnTo>
                      <a:lnTo>
                        <a:pt x="152" y="179"/>
                      </a:lnTo>
                      <a:lnTo>
                        <a:pt x="152" y="180"/>
                      </a:lnTo>
                      <a:lnTo>
                        <a:pt x="152" y="179"/>
                      </a:lnTo>
                      <a:lnTo>
                        <a:pt x="151" y="179"/>
                      </a:lnTo>
                      <a:lnTo>
                        <a:pt x="152" y="179"/>
                      </a:lnTo>
                      <a:lnTo>
                        <a:pt x="152" y="179"/>
                      </a:lnTo>
                      <a:lnTo>
                        <a:pt x="153" y="179"/>
                      </a:lnTo>
                      <a:lnTo>
                        <a:pt x="153" y="179"/>
                      </a:lnTo>
                      <a:lnTo>
                        <a:pt x="154" y="179"/>
                      </a:lnTo>
                      <a:lnTo>
                        <a:pt x="155" y="179"/>
                      </a:lnTo>
                      <a:lnTo>
                        <a:pt x="155" y="179"/>
                      </a:lnTo>
                      <a:lnTo>
                        <a:pt x="155" y="180"/>
                      </a:lnTo>
                      <a:lnTo>
                        <a:pt x="156" y="180"/>
                      </a:lnTo>
                      <a:lnTo>
                        <a:pt x="156" y="180"/>
                      </a:lnTo>
                      <a:lnTo>
                        <a:pt x="156" y="181"/>
                      </a:lnTo>
                      <a:lnTo>
                        <a:pt x="156" y="180"/>
                      </a:lnTo>
                      <a:lnTo>
                        <a:pt x="156" y="180"/>
                      </a:lnTo>
                      <a:lnTo>
                        <a:pt x="156" y="181"/>
                      </a:lnTo>
                      <a:lnTo>
                        <a:pt x="156" y="180"/>
                      </a:lnTo>
                      <a:lnTo>
                        <a:pt x="156" y="181"/>
                      </a:lnTo>
                      <a:lnTo>
                        <a:pt x="157" y="181"/>
                      </a:lnTo>
                      <a:lnTo>
                        <a:pt x="157" y="181"/>
                      </a:lnTo>
                      <a:lnTo>
                        <a:pt x="158" y="181"/>
                      </a:lnTo>
                      <a:lnTo>
                        <a:pt x="159" y="181"/>
                      </a:lnTo>
                      <a:lnTo>
                        <a:pt x="159" y="182"/>
                      </a:lnTo>
                      <a:lnTo>
                        <a:pt x="160" y="182"/>
                      </a:lnTo>
                      <a:lnTo>
                        <a:pt x="160" y="182"/>
                      </a:lnTo>
                      <a:lnTo>
                        <a:pt x="160" y="182"/>
                      </a:lnTo>
                      <a:lnTo>
                        <a:pt x="160" y="183"/>
                      </a:lnTo>
                      <a:lnTo>
                        <a:pt x="160" y="182"/>
                      </a:lnTo>
                      <a:lnTo>
                        <a:pt x="161" y="182"/>
                      </a:lnTo>
                      <a:lnTo>
                        <a:pt x="160" y="182"/>
                      </a:lnTo>
                      <a:lnTo>
                        <a:pt x="161" y="182"/>
                      </a:lnTo>
                      <a:lnTo>
                        <a:pt x="160" y="182"/>
                      </a:lnTo>
                      <a:lnTo>
                        <a:pt x="161" y="182"/>
                      </a:lnTo>
                      <a:lnTo>
                        <a:pt x="162" y="182"/>
                      </a:lnTo>
                      <a:lnTo>
                        <a:pt x="162" y="182"/>
                      </a:lnTo>
                      <a:lnTo>
                        <a:pt x="162" y="182"/>
                      </a:lnTo>
                      <a:lnTo>
                        <a:pt x="162" y="182"/>
                      </a:lnTo>
                      <a:lnTo>
                        <a:pt x="162" y="182"/>
                      </a:lnTo>
                      <a:lnTo>
                        <a:pt x="162" y="182"/>
                      </a:lnTo>
                      <a:lnTo>
                        <a:pt x="162" y="183"/>
                      </a:lnTo>
                      <a:lnTo>
                        <a:pt x="162" y="182"/>
                      </a:lnTo>
                      <a:lnTo>
                        <a:pt x="162" y="182"/>
                      </a:lnTo>
                      <a:lnTo>
                        <a:pt x="163" y="182"/>
                      </a:lnTo>
                      <a:lnTo>
                        <a:pt x="163" y="182"/>
                      </a:lnTo>
                      <a:lnTo>
                        <a:pt x="163" y="182"/>
                      </a:lnTo>
                      <a:lnTo>
                        <a:pt x="163" y="182"/>
                      </a:lnTo>
                      <a:lnTo>
                        <a:pt x="164" y="182"/>
                      </a:lnTo>
                      <a:lnTo>
                        <a:pt x="163" y="182"/>
                      </a:lnTo>
                      <a:lnTo>
                        <a:pt x="163" y="181"/>
                      </a:lnTo>
                      <a:lnTo>
                        <a:pt x="163" y="182"/>
                      </a:lnTo>
                      <a:lnTo>
                        <a:pt x="164" y="182"/>
                      </a:lnTo>
                      <a:lnTo>
                        <a:pt x="164" y="181"/>
                      </a:lnTo>
                      <a:lnTo>
                        <a:pt x="164" y="181"/>
                      </a:lnTo>
                      <a:lnTo>
                        <a:pt x="164" y="182"/>
                      </a:lnTo>
                      <a:lnTo>
                        <a:pt x="165" y="182"/>
                      </a:lnTo>
                      <a:lnTo>
                        <a:pt x="164" y="182"/>
                      </a:lnTo>
                      <a:lnTo>
                        <a:pt x="164" y="181"/>
                      </a:lnTo>
                      <a:lnTo>
                        <a:pt x="165" y="182"/>
                      </a:lnTo>
                      <a:lnTo>
                        <a:pt x="164" y="182"/>
                      </a:lnTo>
                      <a:lnTo>
                        <a:pt x="165" y="182"/>
                      </a:lnTo>
                      <a:lnTo>
                        <a:pt x="165" y="182"/>
                      </a:lnTo>
                      <a:lnTo>
                        <a:pt x="166" y="182"/>
                      </a:lnTo>
                      <a:lnTo>
                        <a:pt x="166" y="182"/>
                      </a:lnTo>
                      <a:lnTo>
                        <a:pt x="166" y="183"/>
                      </a:lnTo>
                      <a:lnTo>
                        <a:pt x="166" y="184"/>
                      </a:lnTo>
                      <a:lnTo>
                        <a:pt x="166" y="183"/>
                      </a:lnTo>
                      <a:lnTo>
                        <a:pt x="166" y="182"/>
                      </a:lnTo>
                      <a:lnTo>
                        <a:pt x="167" y="182"/>
                      </a:lnTo>
                      <a:lnTo>
                        <a:pt x="167" y="183"/>
                      </a:lnTo>
                      <a:lnTo>
                        <a:pt x="167" y="183"/>
                      </a:lnTo>
                      <a:lnTo>
                        <a:pt x="167" y="184"/>
                      </a:lnTo>
                      <a:lnTo>
                        <a:pt x="168" y="184"/>
                      </a:lnTo>
                      <a:lnTo>
                        <a:pt x="168" y="184"/>
                      </a:lnTo>
                      <a:lnTo>
                        <a:pt x="168" y="184"/>
                      </a:lnTo>
                      <a:lnTo>
                        <a:pt x="167" y="184"/>
                      </a:lnTo>
                      <a:lnTo>
                        <a:pt x="167" y="183"/>
                      </a:lnTo>
                      <a:lnTo>
                        <a:pt x="167" y="182"/>
                      </a:lnTo>
                      <a:lnTo>
                        <a:pt x="167" y="183"/>
                      </a:lnTo>
                      <a:lnTo>
                        <a:pt x="168" y="183"/>
                      </a:lnTo>
                      <a:lnTo>
                        <a:pt x="168" y="183"/>
                      </a:lnTo>
                      <a:lnTo>
                        <a:pt x="169" y="183"/>
                      </a:lnTo>
                      <a:lnTo>
                        <a:pt x="169" y="184"/>
                      </a:lnTo>
                      <a:lnTo>
                        <a:pt x="170" y="184"/>
                      </a:lnTo>
                      <a:lnTo>
                        <a:pt x="169" y="184"/>
                      </a:lnTo>
                      <a:lnTo>
                        <a:pt x="170" y="184"/>
                      </a:lnTo>
                      <a:lnTo>
                        <a:pt x="169" y="184"/>
                      </a:lnTo>
                      <a:lnTo>
                        <a:pt x="170" y="184"/>
                      </a:lnTo>
                      <a:lnTo>
                        <a:pt x="170" y="184"/>
                      </a:lnTo>
                      <a:lnTo>
                        <a:pt x="171" y="184"/>
                      </a:lnTo>
                      <a:lnTo>
                        <a:pt x="171" y="184"/>
                      </a:lnTo>
                      <a:lnTo>
                        <a:pt x="171" y="185"/>
                      </a:lnTo>
                      <a:lnTo>
                        <a:pt x="171" y="185"/>
                      </a:lnTo>
                      <a:lnTo>
                        <a:pt x="171" y="185"/>
                      </a:lnTo>
                      <a:lnTo>
                        <a:pt x="172" y="185"/>
                      </a:lnTo>
                      <a:lnTo>
                        <a:pt x="173" y="185"/>
                      </a:lnTo>
                      <a:lnTo>
                        <a:pt x="172" y="185"/>
                      </a:lnTo>
                      <a:lnTo>
                        <a:pt x="172" y="185"/>
                      </a:lnTo>
                      <a:lnTo>
                        <a:pt x="173" y="185"/>
                      </a:lnTo>
                      <a:lnTo>
                        <a:pt x="173" y="185"/>
                      </a:lnTo>
                      <a:lnTo>
                        <a:pt x="173" y="185"/>
                      </a:lnTo>
                      <a:lnTo>
                        <a:pt x="174" y="185"/>
                      </a:lnTo>
                      <a:lnTo>
                        <a:pt x="174" y="185"/>
                      </a:lnTo>
                      <a:lnTo>
                        <a:pt x="174" y="186"/>
                      </a:lnTo>
                      <a:lnTo>
                        <a:pt x="174" y="185"/>
                      </a:lnTo>
                      <a:lnTo>
                        <a:pt x="174" y="185"/>
                      </a:lnTo>
                      <a:lnTo>
                        <a:pt x="174" y="185"/>
                      </a:lnTo>
                      <a:lnTo>
                        <a:pt x="175" y="185"/>
                      </a:lnTo>
                      <a:lnTo>
                        <a:pt x="175" y="185"/>
                      </a:lnTo>
                      <a:lnTo>
                        <a:pt x="175" y="185"/>
                      </a:lnTo>
                      <a:lnTo>
                        <a:pt x="175" y="185"/>
                      </a:lnTo>
                      <a:lnTo>
                        <a:pt x="176" y="185"/>
                      </a:lnTo>
                      <a:lnTo>
                        <a:pt x="176" y="186"/>
                      </a:lnTo>
                      <a:lnTo>
                        <a:pt x="177" y="186"/>
                      </a:lnTo>
                      <a:lnTo>
                        <a:pt x="177" y="186"/>
                      </a:lnTo>
                      <a:lnTo>
                        <a:pt x="177" y="186"/>
                      </a:lnTo>
                      <a:lnTo>
                        <a:pt x="178" y="187"/>
                      </a:lnTo>
                      <a:lnTo>
                        <a:pt x="177" y="187"/>
                      </a:lnTo>
                      <a:lnTo>
                        <a:pt x="178" y="187"/>
                      </a:lnTo>
                      <a:lnTo>
                        <a:pt x="178" y="188"/>
                      </a:lnTo>
                      <a:lnTo>
                        <a:pt x="178" y="187"/>
                      </a:lnTo>
                      <a:lnTo>
                        <a:pt x="177" y="187"/>
                      </a:lnTo>
                      <a:lnTo>
                        <a:pt x="178" y="187"/>
                      </a:lnTo>
                      <a:lnTo>
                        <a:pt x="178" y="187"/>
                      </a:lnTo>
                      <a:lnTo>
                        <a:pt x="179" y="187"/>
                      </a:lnTo>
                      <a:lnTo>
                        <a:pt x="179" y="187"/>
                      </a:lnTo>
                      <a:lnTo>
                        <a:pt x="179" y="188"/>
                      </a:lnTo>
                      <a:lnTo>
                        <a:pt x="179" y="188"/>
                      </a:lnTo>
                      <a:lnTo>
                        <a:pt x="178" y="188"/>
                      </a:lnTo>
                      <a:lnTo>
                        <a:pt x="178" y="188"/>
                      </a:lnTo>
                      <a:lnTo>
                        <a:pt x="178" y="189"/>
                      </a:lnTo>
                      <a:lnTo>
                        <a:pt x="178" y="189"/>
                      </a:lnTo>
                      <a:lnTo>
                        <a:pt x="178" y="189"/>
                      </a:lnTo>
                      <a:lnTo>
                        <a:pt x="178" y="190"/>
                      </a:lnTo>
                      <a:lnTo>
                        <a:pt x="178" y="190"/>
                      </a:lnTo>
                      <a:lnTo>
                        <a:pt x="178" y="191"/>
                      </a:lnTo>
                      <a:lnTo>
                        <a:pt x="177" y="191"/>
                      </a:lnTo>
                      <a:lnTo>
                        <a:pt x="177" y="192"/>
                      </a:lnTo>
                      <a:lnTo>
                        <a:pt x="177" y="192"/>
                      </a:lnTo>
                      <a:lnTo>
                        <a:pt x="176" y="192"/>
                      </a:lnTo>
                      <a:lnTo>
                        <a:pt x="176" y="193"/>
                      </a:lnTo>
                      <a:lnTo>
                        <a:pt x="175" y="193"/>
                      </a:lnTo>
                      <a:lnTo>
                        <a:pt x="175" y="193"/>
                      </a:lnTo>
                      <a:lnTo>
                        <a:pt x="176" y="194"/>
                      </a:lnTo>
                      <a:lnTo>
                        <a:pt x="176" y="194"/>
                      </a:lnTo>
                      <a:lnTo>
                        <a:pt x="177" y="194"/>
                      </a:lnTo>
                      <a:lnTo>
                        <a:pt x="177" y="194"/>
                      </a:lnTo>
                      <a:lnTo>
                        <a:pt x="178" y="194"/>
                      </a:lnTo>
                      <a:lnTo>
                        <a:pt x="178" y="194"/>
                      </a:lnTo>
                      <a:lnTo>
                        <a:pt x="178" y="195"/>
                      </a:lnTo>
                      <a:lnTo>
                        <a:pt x="179" y="195"/>
                      </a:lnTo>
                      <a:lnTo>
                        <a:pt x="179" y="196"/>
                      </a:lnTo>
                      <a:lnTo>
                        <a:pt x="179" y="196"/>
                      </a:lnTo>
                      <a:lnTo>
                        <a:pt x="179" y="196"/>
                      </a:lnTo>
                      <a:lnTo>
                        <a:pt x="179" y="196"/>
                      </a:lnTo>
                      <a:lnTo>
                        <a:pt x="179" y="197"/>
                      </a:lnTo>
                      <a:lnTo>
                        <a:pt x="178" y="197"/>
                      </a:lnTo>
                      <a:lnTo>
                        <a:pt x="178" y="197"/>
                      </a:lnTo>
                      <a:lnTo>
                        <a:pt x="178" y="197"/>
                      </a:lnTo>
                      <a:lnTo>
                        <a:pt x="178" y="197"/>
                      </a:lnTo>
                      <a:lnTo>
                        <a:pt x="177" y="197"/>
                      </a:lnTo>
                      <a:lnTo>
                        <a:pt x="177" y="197"/>
                      </a:lnTo>
                      <a:lnTo>
                        <a:pt x="177" y="197"/>
                      </a:lnTo>
                      <a:lnTo>
                        <a:pt x="178" y="197"/>
                      </a:lnTo>
                      <a:lnTo>
                        <a:pt x="178" y="197"/>
                      </a:lnTo>
                      <a:lnTo>
                        <a:pt x="178" y="197"/>
                      </a:lnTo>
                      <a:lnTo>
                        <a:pt x="178" y="197"/>
                      </a:lnTo>
                      <a:lnTo>
                        <a:pt x="178" y="197"/>
                      </a:lnTo>
                      <a:lnTo>
                        <a:pt x="178" y="197"/>
                      </a:lnTo>
                      <a:lnTo>
                        <a:pt x="178" y="197"/>
                      </a:lnTo>
                      <a:lnTo>
                        <a:pt x="178" y="197"/>
                      </a:lnTo>
                      <a:lnTo>
                        <a:pt x="178" y="197"/>
                      </a:lnTo>
                      <a:lnTo>
                        <a:pt x="179" y="197"/>
                      </a:lnTo>
                      <a:lnTo>
                        <a:pt x="179" y="196"/>
                      </a:lnTo>
                      <a:lnTo>
                        <a:pt x="179" y="196"/>
                      </a:lnTo>
                      <a:lnTo>
                        <a:pt x="179" y="196"/>
                      </a:lnTo>
                      <a:lnTo>
                        <a:pt x="179" y="197"/>
                      </a:lnTo>
                      <a:lnTo>
                        <a:pt x="179" y="197"/>
                      </a:lnTo>
                      <a:lnTo>
                        <a:pt x="179" y="198"/>
                      </a:lnTo>
                      <a:lnTo>
                        <a:pt x="179" y="198"/>
                      </a:lnTo>
                      <a:lnTo>
                        <a:pt x="179" y="198"/>
                      </a:lnTo>
                      <a:lnTo>
                        <a:pt x="179" y="198"/>
                      </a:lnTo>
                      <a:lnTo>
                        <a:pt x="179" y="199"/>
                      </a:lnTo>
                      <a:lnTo>
                        <a:pt x="180" y="199"/>
                      </a:lnTo>
                      <a:lnTo>
                        <a:pt x="180" y="199"/>
                      </a:lnTo>
                      <a:lnTo>
                        <a:pt x="180" y="199"/>
                      </a:lnTo>
                      <a:lnTo>
                        <a:pt x="181" y="199"/>
                      </a:lnTo>
                      <a:lnTo>
                        <a:pt x="180" y="199"/>
                      </a:lnTo>
                      <a:lnTo>
                        <a:pt x="181" y="199"/>
                      </a:lnTo>
                      <a:lnTo>
                        <a:pt x="181" y="200"/>
                      </a:lnTo>
                      <a:lnTo>
                        <a:pt x="180" y="200"/>
                      </a:lnTo>
                      <a:lnTo>
                        <a:pt x="180" y="200"/>
                      </a:lnTo>
                      <a:lnTo>
                        <a:pt x="180" y="201"/>
                      </a:lnTo>
                      <a:lnTo>
                        <a:pt x="181" y="201"/>
                      </a:lnTo>
                      <a:lnTo>
                        <a:pt x="180" y="201"/>
                      </a:lnTo>
                      <a:lnTo>
                        <a:pt x="181" y="202"/>
                      </a:lnTo>
                      <a:lnTo>
                        <a:pt x="181" y="203"/>
                      </a:lnTo>
                      <a:lnTo>
                        <a:pt x="180" y="203"/>
                      </a:lnTo>
                      <a:lnTo>
                        <a:pt x="180" y="202"/>
                      </a:lnTo>
                      <a:lnTo>
                        <a:pt x="180" y="203"/>
                      </a:lnTo>
                      <a:lnTo>
                        <a:pt x="181" y="203"/>
                      </a:lnTo>
                      <a:lnTo>
                        <a:pt x="181" y="202"/>
                      </a:lnTo>
                      <a:lnTo>
                        <a:pt x="181" y="203"/>
                      </a:lnTo>
                      <a:lnTo>
                        <a:pt x="181" y="202"/>
                      </a:lnTo>
                      <a:lnTo>
                        <a:pt x="181" y="203"/>
                      </a:lnTo>
                      <a:lnTo>
                        <a:pt x="182" y="203"/>
                      </a:lnTo>
                      <a:lnTo>
                        <a:pt x="182" y="203"/>
                      </a:lnTo>
                      <a:lnTo>
                        <a:pt x="183" y="203"/>
                      </a:lnTo>
                      <a:lnTo>
                        <a:pt x="183" y="203"/>
                      </a:lnTo>
                      <a:lnTo>
                        <a:pt x="182" y="203"/>
                      </a:lnTo>
                      <a:lnTo>
                        <a:pt x="183" y="203"/>
                      </a:lnTo>
                      <a:lnTo>
                        <a:pt x="183" y="203"/>
                      </a:lnTo>
                      <a:lnTo>
                        <a:pt x="182" y="203"/>
                      </a:lnTo>
                      <a:lnTo>
                        <a:pt x="183" y="203"/>
                      </a:lnTo>
                      <a:lnTo>
                        <a:pt x="182" y="203"/>
                      </a:lnTo>
                      <a:lnTo>
                        <a:pt x="183" y="203"/>
                      </a:lnTo>
                      <a:lnTo>
                        <a:pt x="183" y="203"/>
                      </a:lnTo>
                      <a:lnTo>
                        <a:pt x="184" y="203"/>
                      </a:lnTo>
                      <a:lnTo>
                        <a:pt x="185" y="203"/>
                      </a:lnTo>
                      <a:lnTo>
                        <a:pt x="185" y="203"/>
                      </a:lnTo>
                      <a:lnTo>
                        <a:pt x="185" y="203"/>
                      </a:lnTo>
                      <a:lnTo>
                        <a:pt x="185" y="204"/>
                      </a:lnTo>
                      <a:lnTo>
                        <a:pt x="185" y="204"/>
                      </a:lnTo>
                      <a:lnTo>
                        <a:pt x="185" y="204"/>
                      </a:lnTo>
                      <a:lnTo>
                        <a:pt x="185" y="204"/>
                      </a:lnTo>
                      <a:lnTo>
                        <a:pt x="184" y="204"/>
                      </a:lnTo>
                      <a:lnTo>
                        <a:pt x="185" y="204"/>
                      </a:lnTo>
                      <a:lnTo>
                        <a:pt x="185" y="204"/>
                      </a:lnTo>
                      <a:lnTo>
                        <a:pt x="185" y="204"/>
                      </a:lnTo>
                      <a:lnTo>
                        <a:pt x="185" y="204"/>
                      </a:lnTo>
                      <a:lnTo>
                        <a:pt x="185" y="204"/>
                      </a:lnTo>
                      <a:lnTo>
                        <a:pt x="185" y="204"/>
                      </a:lnTo>
                      <a:lnTo>
                        <a:pt x="185" y="204"/>
                      </a:lnTo>
                      <a:lnTo>
                        <a:pt x="185" y="205"/>
                      </a:lnTo>
                      <a:lnTo>
                        <a:pt x="185" y="205"/>
                      </a:lnTo>
                      <a:lnTo>
                        <a:pt x="185" y="205"/>
                      </a:lnTo>
                      <a:lnTo>
                        <a:pt x="185" y="205"/>
                      </a:lnTo>
                      <a:lnTo>
                        <a:pt x="185" y="205"/>
                      </a:lnTo>
                      <a:lnTo>
                        <a:pt x="185" y="205"/>
                      </a:lnTo>
                      <a:lnTo>
                        <a:pt x="185" y="205"/>
                      </a:lnTo>
                      <a:lnTo>
                        <a:pt x="185" y="204"/>
                      </a:lnTo>
                      <a:lnTo>
                        <a:pt x="185" y="204"/>
                      </a:lnTo>
                      <a:lnTo>
                        <a:pt x="185" y="204"/>
                      </a:lnTo>
                      <a:lnTo>
                        <a:pt x="185" y="204"/>
                      </a:lnTo>
                      <a:lnTo>
                        <a:pt x="185" y="204"/>
                      </a:lnTo>
                      <a:lnTo>
                        <a:pt x="185" y="205"/>
                      </a:lnTo>
                      <a:lnTo>
                        <a:pt x="185" y="204"/>
                      </a:lnTo>
                      <a:lnTo>
                        <a:pt x="185" y="205"/>
                      </a:lnTo>
                      <a:lnTo>
                        <a:pt x="186" y="205"/>
                      </a:lnTo>
                      <a:lnTo>
                        <a:pt x="186" y="205"/>
                      </a:lnTo>
                      <a:lnTo>
                        <a:pt x="187" y="205"/>
                      </a:lnTo>
                      <a:lnTo>
                        <a:pt x="186" y="205"/>
                      </a:lnTo>
                      <a:lnTo>
                        <a:pt x="187" y="205"/>
                      </a:lnTo>
                      <a:lnTo>
                        <a:pt x="186" y="205"/>
                      </a:lnTo>
                      <a:lnTo>
                        <a:pt x="186" y="205"/>
                      </a:lnTo>
                      <a:lnTo>
                        <a:pt x="186" y="205"/>
                      </a:lnTo>
                      <a:lnTo>
                        <a:pt x="187" y="205"/>
                      </a:lnTo>
                      <a:lnTo>
                        <a:pt x="187" y="206"/>
                      </a:lnTo>
                      <a:lnTo>
                        <a:pt x="186" y="206"/>
                      </a:lnTo>
                      <a:lnTo>
                        <a:pt x="186" y="207"/>
                      </a:lnTo>
                      <a:lnTo>
                        <a:pt x="186" y="206"/>
                      </a:lnTo>
                      <a:lnTo>
                        <a:pt x="186" y="207"/>
                      </a:lnTo>
                      <a:lnTo>
                        <a:pt x="186" y="206"/>
                      </a:lnTo>
                      <a:lnTo>
                        <a:pt x="186" y="207"/>
                      </a:lnTo>
                      <a:lnTo>
                        <a:pt x="187" y="207"/>
                      </a:lnTo>
                      <a:lnTo>
                        <a:pt x="188" y="207"/>
                      </a:lnTo>
                      <a:lnTo>
                        <a:pt x="188" y="207"/>
                      </a:lnTo>
                      <a:lnTo>
                        <a:pt x="188" y="208"/>
                      </a:lnTo>
                      <a:lnTo>
                        <a:pt x="188" y="208"/>
                      </a:lnTo>
                      <a:lnTo>
                        <a:pt x="188" y="208"/>
                      </a:lnTo>
                      <a:lnTo>
                        <a:pt x="188" y="208"/>
                      </a:lnTo>
                      <a:lnTo>
                        <a:pt x="188" y="208"/>
                      </a:lnTo>
                      <a:lnTo>
                        <a:pt x="188" y="208"/>
                      </a:lnTo>
                      <a:lnTo>
                        <a:pt x="188" y="209"/>
                      </a:lnTo>
                      <a:lnTo>
                        <a:pt x="187" y="209"/>
                      </a:lnTo>
                      <a:lnTo>
                        <a:pt x="188" y="209"/>
                      </a:lnTo>
                      <a:lnTo>
                        <a:pt x="188" y="210"/>
                      </a:lnTo>
                      <a:lnTo>
                        <a:pt x="187" y="210"/>
                      </a:lnTo>
                      <a:lnTo>
                        <a:pt x="188" y="210"/>
                      </a:lnTo>
                      <a:lnTo>
                        <a:pt x="187" y="210"/>
                      </a:lnTo>
                      <a:lnTo>
                        <a:pt x="187" y="209"/>
                      </a:lnTo>
                      <a:lnTo>
                        <a:pt x="186" y="209"/>
                      </a:lnTo>
                      <a:lnTo>
                        <a:pt x="186" y="210"/>
                      </a:lnTo>
                      <a:lnTo>
                        <a:pt x="186" y="210"/>
                      </a:lnTo>
                      <a:lnTo>
                        <a:pt x="186" y="210"/>
                      </a:lnTo>
                      <a:lnTo>
                        <a:pt x="186" y="210"/>
                      </a:lnTo>
                      <a:lnTo>
                        <a:pt x="186" y="210"/>
                      </a:lnTo>
                      <a:lnTo>
                        <a:pt x="186" y="210"/>
                      </a:lnTo>
                      <a:lnTo>
                        <a:pt x="186" y="210"/>
                      </a:lnTo>
                      <a:lnTo>
                        <a:pt x="186" y="210"/>
                      </a:lnTo>
                      <a:lnTo>
                        <a:pt x="186" y="210"/>
                      </a:lnTo>
                      <a:lnTo>
                        <a:pt x="187" y="210"/>
                      </a:lnTo>
                      <a:lnTo>
                        <a:pt x="188" y="210"/>
                      </a:lnTo>
                      <a:lnTo>
                        <a:pt x="187" y="210"/>
                      </a:lnTo>
                      <a:lnTo>
                        <a:pt x="187" y="211"/>
                      </a:lnTo>
                      <a:lnTo>
                        <a:pt x="188" y="211"/>
                      </a:lnTo>
                      <a:lnTo>
                        <a:pt x="188" y="211"/>
                      </a:lnTo>
                      <a:lnTo>
                        <a:pt x="188" y="212"/>
                      </a:lnTo>
                      <a:lnTo>
                        <a:pt x="188" y="211"/>
                      </a:lnTo>
                      <a:lnTo>
                        <a:pt x="188" y="211"/>
                      </a:lnTo>
                      <a:lnTo>
                        <a:pt x="188" y="212"/>
                      </a:lnTo>
                      <a:lnTo>
                        <a:pt x="188" y="212"/>
                      </a:lnTo>
                      <a:lnTo>
                        <a:pt x="188" y="212"/>
                      </a:lnTo>
                      <a:lnTo>
                        <a:pt x="188" y="212"/>
                      </a:lnTo>
                      <a:lnTo>
                        <a:pt x="188" y="212"/>
                      </a:lnTo>
                      <a:lnTo>
                        <a:pt x="188" y="212"/>
                      </a:lnTo>
                      <a:lnTo>
                        <a:pt x="188" y="212"/>
                      </a:lnTo>
                      <a:lnTo>
                        <a:pt x="188" y="212"/>
                      </a:lnTo>
                      <a:lnTo>
                        <a:pt x="189" y="212"/>
                      </a:lnTo>
                      <a:lnTo>
                        <a:pt x="189" y="213"/>
                      </a:lnTo>
                      <a:lnTo>
                        <a:pt x="189" y="213"/>
                      </a:lnTo>
                      <a:lnTo>
                        <a:pt x="189" y="214"/>
                      </a:lnTo>
                      <a:lnTo>
                        <a:pt x="189" y="213"/>
                      </a:lnTo>
                      <a:lnTo>
                        <a:pt x="189" y="213"/>
                      </a:lnTo>
                      <a:lnTo>
                        <a:pt x="189" y="213"/>
                      </a:lnTo>
                      <a:lnTo>
                        <a:pt x="189" y="214"/>
                      </a:lnTo>
                      <a:lnTo>
                        <a:pt x="189" y="214"/>
                      </a:lnTo>
                      <a:lnTo>
                        <a:pt x="189" y="214"/>
                      </a:lnTo>
                      <a:lnTo>
                        <a:pt x="189" y="214"/>
                      </a:lnTo>
                      <a:lnTo>
                        <a:pt x="188" y="214"/>
                      </a:lnTo>
                      <a:lnTo>
                        <a:pt x="189" y="214"/>
                      </a:lnTo>
                      <a:lnTo>
                        <a:pt x="188" y="214"/>
                      </a:lnTo>
                      <a:lnTo>
                        <a:pt x="188" y="213"/>
                      </a:lnTo>
                      <a:lnTo>
                        <a:pt x="187" y="213"/>
                      </a:lnTo>
                      <a:lnTo>
                        <a:pt x="187" y="214"/>
                      </a:lnTo>
                      <a:lnTo>
                        <a:pt x="188" y="214"/>
                      </a:lnTo>
                      <a:lnTo>
                        <a:pt x="188" y="214"/>
                      </a:lnTo>
                      <a:lnTo>
                        <a:pt x="188" y="214"/>
                      </a:lnTo>
                      <a:lnTo>
                        <a:pt x="188" y="215"/>
                      </a:lnTo>
                      <a:lnTo>
                        <a:pt x="188" y="215"/>
                      </a:lnTo>
                      <a:lnTo>
                        <a:pt x="187" y="215"/>
                      </a:lnTo>
                      <a:lnTo>
                        <a:pt x="186" y="215"/>
                      </a:lnTo>
                      <a:lnTo>
                        <a:pt x="186" y="215"/>
                      </a:lnTo>
                      <a:lnTo>
                        <a:pt x="187" y="215"/>
                      </a:lnTo>
                      <a:lnTo>
                        <a:pt x="188" y="215"/>
                      </a:lnTo>
                      <a:lnTo>
                        <a:pt x="187" y="215"/>
                      </a:lnTo>
                      <a:lnTo>
                        <a:pt x="188" y="215"/>
                      </a:lnTo>
                      <a:lnTo>
                        <a:pt x="187" y="215"/>
                      </a:lnTo>
                      <a:lnTo>
                        <a:pt x="187" y="215"/>
                      </a:lnTo>
                      <a:lnTo>
                        <a:pt x="188" y="215"/>
                      </a:lnTo>
                      <a:lnTo>
                        <a:pt x="188" y="216"/>
                      </a:lnTo>
                      <a:lnTo>
                        <a:pt x="187" y="216"/>
                      </a:lnTo>
                      <a:lnTo>
                        <a:pt x="187" y="215"/>
                      </a:lnTo>
                      <a:lnTo>
                        <a:pt x="186" y="216"/>
                      </a:lnTo>
                      <a:lnTo>
                        <a:pt x="187" y="215"/>
                      </a:lnTo>
                      <a:lnTo>
                        <a:pt x="187" y="216"/>
                      </a:lnTo>
                      <a:lnTo>
                        <a:pt x="186" y="216"/>
                      </a:lnTo>
                      <a:lnTo>
                        <a:pt x="187" y="216"/>
                      </a:lnTo>
                      <a:lnTo>
                        <a:pt x="186" y="216"/>
                      </a:lnTo>
                      <a:lnTo>
                        <a:pt x="187" y="216"/>
                      </a:lnTo>
                      <a:lnTo>
                        <a:pt x="186" y="216"/>
                      </a:lnTo>
                      <a:lnTo>
                        <a:pt x="186" y="216"/>
                      </a:lnTo>
                      <a:lnTo>
                        <a:pt x="186" y="217"/>
                      </a:lnTo>
                      <a:lnTo>
                        <a:pt x="186" y="217"/>
                      </a:lnTo>
                      <a:lnTo>
                        <a:pt x="186" y="218"/>
                      </a:lnTo>
                      <a:lnTo>
                        <a:pt x="185" y="218"/>
                      </a:lnTo>
                      <a:lnTo>
                        <a:pt x="185" y="218"/>
                      </a:lnTo>
                      <a:lnTo>
                        <a:pt x="185" y="219"/>
                      </a:lnTo>
                      <a:lnTo>
                        <a:pt x="185" y="219"/>
                      </a:lnTo>
                      <a:lnTo>
                        <a:pt x="185" y="219"/>
                      </a:lnTo>
                      <a:lnTo>
                        <a:pt x="185" y="220"/>
                      </a:lnTo>
                      <a:lnTo>
                        <a:pt x="185" y="221"/>
                      </a:lnTo>
                      <a:lnTo>
                        <a:pt x="185" y="220"/>
                      </a:lnTo>
                      <a:lnTo>
                        <a:pt x="185" y="221"/>
                      </a:lnTo>
                      <a:lnTo>
                        <a:pt x="185" y="220"/>
                      </a:lnTo>
                      <a:lnTo>
                        <a:pt x="185" y="221"/>
                      </a:lnTo>
                      <a:lnTo>
                        <a:pt x="185" y="221"/>
                      </a:lnTo>
                      <a:lnTo>
                        <a:pt x="185" y="221"/>
                      </a:lnTo>
                      <a:lnTo>
                        <a:pt x="185" y="221"/>
                      </a:lnTo>
                      <a:lnTo>
                        <a:pt x="185" y="221"/>
                      </a:lnTo>
                      <a:lnTo>
                        <a:pt x="184" y="221"/>
                      </a:lnTo>
                      <a:lnTo>
                        <a:pt x="184" y="221"/>
                      </a:lnTo>
                      <a:lnTo>
                        <a:pt x="184" y="221"/>
                      </a:lnTo>
                      <a:lnTo>
                        <a:pt x="184" y="221"/>
                      </a:lnTo>
                      <a:lnTo>
                        <a:pt x="184" y="221"/>
                      </a:lnTo>
                      <a:lnTo>
                        <a:pt x="184" y="221"/>
                      </a:lnTo>
                      <a:lnTo>
                        <a:pt x="185" y="221"/>
                      </a:lnTo>
                      <a:lnTo>
                        <a:pt x="184" y="221"/>
                      </a:lnTo>
                      <a:lnTo>
                        <a:pt x="184" y="221"/>
                      </a:lnTo>
                      <a:lnTo>
                        <a:pt x="185" y="221"/>
                      </a:lnTo>
                      <a:lnTo>
                        <a:pt x="185" y="221"/>
                      </a:lnTo>
                      <a:lnTo>
                        <a:pt x="185" y="221"/>
                      </a:lnTo>
                      <a:lnTo>
                        <a:pt x="185" y="222"/>
                      </a:lnTo>
                      <a:lnTo>
                        <a:pt x="186" y="222"/>
                      </a:lnTo>
                      <a:lnTo>
                        <a:pt x="185" y="222"/>
                      </a:lnTo>
                      <a:lnTo>
                        <a:pt x="185" y="222"/>
                      </a:lnTo>
                      <a:lnTo>
                        <a:pt x="185" y="222"/>
                      </a:lnTo>
                      <a:lnTo>
                        <a:pt x="185" y="222"/>
                      </a:lnTo>
                      <a:lnTo>
                        <a:pt x="185" y="222"/>
                      </a:lnTo>
                      <a:lnTo>
                        <a:pt x="185" y="222"/>
                      </a:lnTo>
                      <a:lnTo>
                        <a:pt x="185" y="222"/>
                      </a:lnTo>
                      <a:lnTo>
                        <a:pt x="185" y="222"/>
                      </a:lnTo>
                      <a:lnTo>
                        <a:pt x="184" y="222"/>
                      </a:lnTo>
                      <a:lnTo>
                        <a:pt x="185" y="222"/>
                      </a:lnTo>
                      <a:lnTo>
                        <a:pt x="184" y="222"/>
                      </a:lnTo>
                      <a:lnTo>
                        <a:pt x="185" y="222"/>
                      </a:lnTo>
                      <a:lnTo>
                        <a:pt x="185" y="222"/>
                      </a:lnTo>
                      <a:lnTo>
                        <a:pt x="185" y="222"/>
                      </a:lnTo>
                      <a:lnTo>
                        <a:pt x="185" y="223"/>
                      </a:lnTo>
                      <a:lnTo>
                        <a:pt x="185" y="222"/>
                      </a:lnTo>
                      <a:lnTo>
                        <a:pt x="185" y="223"/>
                      </a:lnTo>
                      <a:lnTo>
                        <a:pt x="185" y="223"/>
                      </a:lnTo>
                      <a:lnTo>
                        <a:pt x="184" y="223"/>
                      </a:lnTo>
                      <a:lnTo>
                        <a:pt x="183" y="223"/>
                      </a:lnTo>
                      <a:lnTo>
                        <a:pt x="183" y="224"/>
                      </a:lnTo>
                      <a:lnTo>
                        <a:pt x="184" y="224"/>
                      </a:lnTo>
                      <a:lnTo>
                        <a:pt x="184" y="225"/>
                      </a:lnTo>
                      <a:lnTo>
                        <a:pt x="185" y="225"/>
                      </a:lnTo>
                      <a:lnTo>
                        <a:pt x="184" y="225"/>
                      </a:lnTo>
                      <a:lnTo>
                        <a:pt x="184" y="225"/>
                      </a:lnTo>
                      <a:lnTo>
                        <a:pt x="184" y="225"/>
                      </a:lnTo>
                      <a:lnTo>
                        <a:pt x="183" y="225"/>
                      </a:lnTo>
                      <a:lnTo>
                        <a:pt x="183" y="225"/>
                      </a:lnTo>
                      <a:lnTo>
                        <a:pt x="184" y="225"/>
                      </a:lnTo>
                      <a:lnTo>
                        <a:pt x="183" y="225"/>
                      </a:lnTo>
                      <a:lnTo>
                        <a:pt x="183" y="226"/>
                      </a:lnTo>
                      <a:lnTo>
                        <a:pt x="183" y="226"/>
                      </a:lnTo>
                      <a:lnTo>
                        <a:pt x="183" y="227"/>
                      </a:lnTo>
                      <a:lnTo>
                        <a:pt x="183" y="227"/>
                      </a:lnTo>
                      <a:lnTo>
                        <a:pt x="183" y="227"/>
                      </a:lnTo>
                      <a:lnTo>
                        <a:pt x="183" y="227"/>
                      </a:lnTo>
                      <a:lnTo>
                        <a:pt x="182" y="227"/>
                      </a:lnTo>
                      <a:lnTo>
                        <a:pt x="182" y="227"/>
                      </a:lnTo>
                      <a:lnTo>
                        <a:pt x="182" y="228"/>
                      </a:lnTo>
                      <a:lnTo>
                        <a:pt x="181" y="228"/>
                      </a:lnTo>
                      <a:lnTo>
                        <a:pt x="181" y="229"/>
                      </a:lnTo>
                      <a:lnTo>
                        <a:pt x="181" y="229"/>
                      </a:lnTo>
                      <a:lnTo>
                        <a:pt x="180" y="229"/>
                      </a:lnTo>
                      <a:lnTo>
                        <a:pt x="180" y="228"/>
                      </a:lnTo>
                      <a:lnTo>
                        <a:pt x="180" y="227"/>
                      </a:lnTo>
                      <a:lnTo>
                        <a:pt x="180" y="228"/>
                      </a:lnTo>
                      <a:lnTo>
                        <a:pt x="180" y="229"/>
                      </a:lnTo>
                      <a:lnTo>
                        <a:pt x="181" y="229"/>
                      </a:lnTo>
                      <a:lnTo>
                        <a:pt x="181" y="229"/>
                      </a:lnTo>
                      <a:lnTo>
                        <a:pt x="181" y="229"/>
                      </a:lnTo>
                      <a:lnTo>
                        <a:pt x="182" y="229"/>
                      </a:lnTo>
                      <a:lnTo>
                        <a:pt x="182" y="230"/>
                      </a:lnTo>
                      <a:lnTo>
                        <a:pt x="181" y="230"/>
                      </a:lnTo>
                      <a:lnTo>
                        <a:pt x="182" y="230"/>
                      </a:lnTo>
                      <a:lnTo>
                        <a:pt x="182" y="230"/>
                      </a:lnTo>
                      <a:lnTo>
                        <a:pt x="182" y="230"/>
                      </a:lnTo>
                      <a:lnTo>
                        <a:pt x="182" y="230"/>
                      </a:lnTo>
                      <a:lnTo>
                        <a:pt x="181" y="230"/>
                      </a:lnTo>
                      <a:lnTo>
                        <a:pt x="182" y="230"/>
                      </a:lnTo>
                      <a:lnTo>
                        <a:pt x="182" y="230"/>
                      </a:lnTo>
                      <a:lnTo>
                        <a:pt x="181" y="230"/>
                      </a:lnTo>
                      <a:lnTo>
                        <a:pt x="182" y="230"/>
                      </a:lnTo>
                      <a:lnTo>
                        <a:pt x="182" y="229"/>
                      </a:lnTo>
                      <a:lnTo>
                        <a:pt x="181" y="229"/>
                      </a:lnTo>
                      <a:lnTo>
                        <a:pt x="181" y="229"/>
                      </a:lnTo>
                      <a:lnTo>
                        <a:pt x="182" y="229"/>
                      </a:lnTo>
                      <a:lnTo>
                        <a:pt x="181" y="228"/>
                      </a:lnTo>
                      <a:lnTo>
                        <a:pt x="182" y="228"/>
                      </a:lnTo>
                      <a:lnTo>
                        <a:pt x="182" y="227"/>
                      </a:lnTo>
                      <a:lnTo>
                        <a:pt x="182" y="227"/>
                      </a:lnTo>
                      <a:lnTo>
                        <a:pt x="183" y="227"/>
                      </a:lnTo>
                      <a:lnTo>
                        <a:pt x="183" y="227"/>
                      </a:lnTo>
                      <a:lnTo>
                        <a:pt x="183" y="227"/>
                      </a:lnTo>
                      <a:lnTo>
                        <a:pt x="183" y="227"/>
                      </a:lnTo>
                      <a:lnTo>
                        <a:pt x="183" y="227"/>
                      </a:lnTo>
                      <a:lnTo>
                        <a:pt x="183" y="226"/>
                      </a:lnTo>
                      <a:lnTo>
                        <a:pt x="183" y="226"/>
                      </a:lnTo>
                      <a:lnTo>
                        <a:pt x="183" y="225"/>
                      </a:lnTo>
                      <a:lnTo>
                        <a:pt x="183" y="226"/>
                      </a:lnTo>
                      <a:lnTo>
                        <a:pt x="183" y="225"/>
                      </a:lnTo>
                      <a:lnTo>
                        <a:pt x="184" y="225"/>
                      </a:lnTo>
                      <a:lnTo>
                        <a:pt x="183" y="225"/>
                      </a:lnTo>
                      <a:lnTo>
                        <a:pt x="183" y="225"/>
                      </a:lnTo>
                      <a:lnTo>
                        <a:pt x="184" y="225"/>
                      </a:lnTo>
                      <a:lnTo>
                        <a:pt x="184" y="225"/>
                      </a:lnTo>
                      <a:lnTo>
                        <a:pt x="185" y="225"/>
                      </a:lnTo>
                      <a:lnTo>
                        <a:pt x="184" y="225"/>
                      </a:lnTo>
                      <a:lnTo>
                        <a:pt x="184" y="224"/>
                      </a:lnTo>
                      <a:lnTo>
                        <a:pt x="183" y="224"/>
                      </a:lnTo>
                      <a:lnTo>
                        <a:pt x="183" y="223"/>
                      </a:lnTo>
                      <a:lnTo>
                        <a:pt x="184" y="223"/>
                      </a:lnTo>
                      <a:lnTo>
                        <a:pt x="185" y="223"/>
                      </a:lnTo>
                      <a:lnTo>
                        <a:pt x="185" y="223"/>
                      </a:lnTo>
                      <a:lnTo>
                        <a:pt x="185" y="223"/>
                      </a:lnTo>
                      <a:lnTo>
                        <a:pt x="185" y="223"/>
                      </a:lnTo>
                      <a:lnTo>
                        <a:pt x="185" y="223"/>
                      </a:lnTo>
                      <a:lnTo>
                        <a:pt x="185" y="223"/>
                      </a:lnTo>
                      <a:lnTo>
                        <a:pt x="185" y="223"/>
                      </a:lnTo>
                      <a:lnTo>
                        <a:pt x="185" y="224"/>
                      </a:lnTo>
                      <a:lnTo>
                        <a:pt x="185" y="224"/>
                      </a:lnTo>
                      <a:lnTo>
                        <a:pt x="185" y="224"/>
                      </a:lnTo>
                      <a:lnTo>
                        <a:pt x="185" y="225"/>
                      </a:lnTo>
                      <a:lnTo>
                        <a:pt x="185" y="225"/>
                      </a:lnTo>
                      <a:lnTo>
                        <a:pt x="185" y="226"/>
                      </a:lnTo>
                      <a:lnTo>
                        <a:pt x="185" y="226"/>
                      </a:lnTo>
                      <a:lnTo>
                        <a:pt x="185" y="226"/>
                      </a:lnTo>
                      <a:lnTo>
                        <a:pt x="185" y="226"/>
                      </a:lnTo>
                      <a:lnTo>
                        <a:pt x="185" y="226"/>
                      </a:lnTo>
                      <a:lnTo>
                        <a:pt x="185" y="225"/>
                      </a:lnTo>
                      <a:lnTo>
                        <a:pt x="185" y="225"/>
                      </a:lnTo>
                      <a:lnTo>
                        <a:pt x="185" y="224"/>
                      </a:lnTo>
                      <a:lnTo>
                        <a:pt x="185" y="224"/>
                      </a:lnTo>
                      <a:lnTo>
                        <a:pt x="186" y="224"/>
                      </a:lnTo>
                      <a:lnTo>
                        <a:pt x="186" y="225"/>
                      </a:lnTo>
                      <a:lnTo>
                        <a:pt x="186" y="225"/>
                      </a:lnTo>
                      <a:lnTo>
                        <a:pt x="186" y="225"/>
                      </a:lnTo>
                      <a:lnTo>
                        <a:pt x="186" y="226"/>
                      </a:lnTo>
                      <a:lnTo>
                        <a:pt x="187" y="226"/>
                      </a:lnTo>
                      <a:lnTo>
                        <a:pt x="187" y="226"/>
                      </a:lnTo>
                      <a:lnTo>
                        <a:pt x="187" y="227"/>
                      </a:lnTo>
                      <a:lnTo>
                        <a:pt x="188" y="227"/>
                      </a:lnTo>
                      <a:lnTo>
                        <a:pt x="187" y="226"/>
                      </a:lnTo>
                      <a:lnTo>
                        <a:pt x="187" y="226"/>
                      </a:lnTo>
                      <a:lnTo>
                        <a:pt x="186" y="226"/>
                      </a:lnTo>
                      <a:lnTo>
                        <a:pt x="186" y="225"/>
                      </a:lnTo>
                      <a:lnTo>
                        <a:pt x="186" y="225"/>
                      </a:lnTo>
                      <a:lnTo>
                        <a:pt x="186" y="225"/>
                      </a:lnTo>
                      <a:lnTo>
                        <a:pt x="186" y="224"/>
                      </a:lnTo>
                      <a:lnTo>
                        <a:pt x="185" y="224"/>
                      </a:lnTo>
                      <a:lnTo>
                        <a:pt x="185" y="224"/>
                      </a:lnTo>
                      <a:lnTo>
                        <a:pt x="185" y="223"/>
                      </a:lnTo>
                      <a:lnTo>
                        <a:pt x="185" y="223"/>
                      </a:lnTo>
                      <a:lnTo>
                        <a:pt x="185" y="223"/>
                      </a:lnTo>
                      <a:lnTo>
                        <a:pt x="185" y="222"/>
                      </a:lnTo>
                      <a:lnTo>
                        <a:pt x="185" y="222"/>
                      </a:lnTo>
                      <a:lnTo>
                        <a:pt x="185" y="222"/>
                      </a:lnTo>
                      <a:lnTo>
                        <a:pt x="185" y="222"/>
                      </a:lnTo>
                      <a:lnTo>
                        <a:pt x="185" y="222"/>
                      </a:lnTo>
                      <a:lnTo>
                        <a:pt x="186" y="222"/>
                      </a:lnTo>
                      <a:lnTo>
                        <a:pt x="186" y="222"/>
                      </a:lnTo>
                      <a:lnTo>
                        <a:pt x="186" y="222"/>
                      </a:lnTo>
                      <a:lnTo>
                        <a:pt x="186" y="222"/>
                      </a:lnTo>
                      <a:lnTo>
                        <a:pt x="186" y="222"/>
                      </a:lnTo>
                      <a:lnTo>
                        <a:pt x="185" y="222"/>
                      </a:lnTo>
                      <a:lnTo>
                        <a:pt x="185" y="221"/>
                      </a:lnTo>
                      <a:lnTo>
                        <a:pt x="185" y="221"/>
                      </a:lnTo>
                      <a:lnTo>
                        <a:pt x="185" y="221"/>
                      </a:lnTo>
                      <a:lnTo>
                        <a:pt x="185" y="221"/>
                      </a:lnTo>
                      <a:lnTo>
                        <a:pt x="185" y="221"/>
                      </a:lnTo>
                      <a:lnTo>
                        <a:pt x="185" y="221"/>
                      </a:lnTo>
                      <a:lnTo>
                        <a:pt x="185" y="221"/>
                      </a:lnTo>
                      <a:lnTo>
                        <a:pt x="185" y="221"/>
                      </a:lnTo>
                      <a:lnTo>
                        <a:pt x="185" y="221"/>
                      </a:lnTo>
                      <a:lnTo>
                        <a:pt x="185" y="220"/>
                      </a:lnTo>
                      <a:lnTo>
                        <a:pt x="185" y="219"/>
                      </a:lnTo>
                      <a:lnTo>
                        <a:pt x="185" y="219"/>
                      </a:lnTo>
                      <a:lnTo>
                        <a:pt x="185" y="219"/>
                      </a:lnTo>
                      <a:lnTo>
                        <a:pt x="185" y="218"/>
                      </a:lnTo>
                      <a:lnTo>
                        <a:pt x="185" y="218"/>
                      </a:lnTo>
                      <a:lnTo>
                        <a:pt x="186" y="218"/>
                      </a:lnTo>
                      <a:lnTo>
                        <a:pt x="186" y="217"/>
                      </a:lnTo>
                      <a:lnTo>
                        <a:pt x="186" y="217"/>
                      </a:lnTo>
                      <a:lnTo>
                        <a:pt x="186" y="216"/>
                      </a:lnTo>
                      <a:lnTo>
                        <a:pt x="187" y="216"/>
                      </a:lnTo>
                      <a:lnTo>
                        <a:pt x="186" y="216"/>
                      </a:lnTo>
                      <a:lnTo>
                        <a:pt x="187" y="216"/>
                      </a:lnTo>
                      <a:lnTo>
                        <a:pt x="188" y="216"/>
                      </a:lnTo>
                      <a:lnTo>
                        <a:pt x="188" y="215"/>
                      </a:lnTo>
                      <a:lnTo>
                        <a:pt x="188" y="216"/>
                      </a:lnTo>
                      <a:lnTo>
                        <a:pt x="187" y="216"/>
                      </a:lnTo>
                      <a:lnTo>
                        <a:pt x="188" y="216"/>
                      </a:lnTo>
                      <a:lnTo>
                        <a:pt x="187" y="216"/>
                      </a:lnTo>
                      <a:lnTo>
                        <a:pt x="188" y="216"/>
                      </a:lnTo>
                      <a:lnTo>
                        <a:pt x="188" y="215"/>
                      </a:lnTo>
                      <a:lnTo>
                        <a:pt x="188" y="215"/>
                      </a:lnTo>
                      <a:lnTo>
                        <a:pt x="187" y="215"/>
                      </a:lnTo>
                      <a:lnTo>
                        <a:pt x="188" y="215"/>
                      </a:lnTo>
                      <a:lnTo>
                        <a:pt x="188" y="215"/>
                      </a:lnTo>
                      <a:lnTo>
                        <a:pt x="188" y="214"/>
                      </a:lnTo>
                      <a:lnTo>
                        <a:pt x="188" y="214"/>
                      </a:lnTo>
                      <a:lnTo>
                        <a:pt x="188" y="213"/>
                      </a:lnTo>
                      <a:lnTo>
                        <a:pt x="188" y="214"/>
                      </a:lnTo>
                      <a:lnTo>
                        <a:pt x="188" y="213"/>
                      </a:lnTo>
                      <a:lnTo>
                        <a:pt x="188" y="214"/>
                      </a:lnTo>
                      <a:lnTo>
                        <a:pt x="188" y="213"/>
                      </a:lnTo>
                      <a:lnTo>
                        <a:pt x="188" y="214"/>
                      </a:lnTo>
                      <a:lnTo>
                        <a:pt x="188" y="214"/>
                      </a:lnTo>
                      <a:lnTo>
                        <a:pt x="189" y="214"/>
                      </a:lnTo>
                      <a:lnTo>
                        <a:pt x="189" y="214"/>
                      </a:lnTo>
                      <a:lnTo>
                        <a:pt x="189" y="213"/>
                      </a:lnTo>
                      <a:lnTo>
                        <a:pt x="189" y="213"/>
                      </a:lnTo>
                      <a:lnTo>
                        <a:pt x="189" y="212"/>
                      </a:lnTo>
                      <a:lnTo>
                        <a:pt x="189" y="213"/>
                      </a:lnTo>
                      <a:lnTo>
                        <a:pt x="189" y="212"/>
                      </a:lnTo>
                      <a:lnTo>
                        <a:pt x="189" y="213"/>
                      </a:lnTo>
                      <a:lnTo>
                        <a:pt x="189" y="212"/>
                      </a:lnTo>
                      <a:lnTo>
                        <a:pt x="189" y="212"/>
                      </a:lnTo>
                      <a:lnTo>
                        <a:pt x="188" y="212"/>
                      </a:lnTo>
                      <a:lnTo>
                        <a:pt x="189" y="212"/>
                      </a:lnTo>
                      <a:lnTo>
                        <a:pt x="188" y="212"/>
                      </a:lnTo>
                      <a:lnTo>
                        <a:pt x="189" y="212"/>
                      </a:lnTo>
                      <a:lnTo>
                        <a:pt x="188" y="212"/>
                      </a:lnTo>
                      <a:lnTo>
                        <a:pt x="188" y="211"/>
                      </a:lnTo>
                      <a:lnTo>
                        <a:pt x="189" y="211"/>
                      </a:lnTo>
                      <a:lnTo>
                        <a:pt x="189" y="212"/>
                      </a:lnTo>
                      <a:lnTo>
                        <a:pt x="189" y="211"/>
                      </a:lnTo>
                      <a:lnTo>
                        <a:pt x="189" y="211"/>
                      </a:lnTo>
                      <a:lnTo>
                        <a:pt x="189" y="211"/>
                      </a:lnTo>
                      <a:lnTo>
                        <a:pt x="188" y="211"/>
                      </a:lnTo>
                      <a:lnTo>
                        <a:pt x="188" y="211"/>
                      </a:lnTo>
                      <a:lnTo>
                        <a:pt x="188" y="211"/>
                      </a:lnTo>
                      <a:lnTo>
                        <a:pt x="187" y="211"/>
                      </a:lnTo>
                      <a:lnTo>
                        <a:pt x="188" y="211"/>
                      </a:lnTo>
                      <a:lnTo>
                        <a:pt x="188" y="210"/>
                      </a:lnTo>
                      <a:lnTo>
                        <a:pt x="188" y="211"/>
                      </a:lnTo>
                      <a:lnTo>
                        <a:pt x="188" y="210"/>
                      </a:lnTo>
                      <a:lnTo>
                        <a:pt x="187" y="210"/>
                      </a:lnTo>
                      <a:lnTo>
                        <a:pt x="187" y="210"/>
                      </a:lnTo>
                      <a:lnTo>
                        <a:pt x="186" y="210"/>
                      </a:lnTo>
                      <a:lnTo>
                        <a:pt x="187" y="210"/>
                      </a:lnTo>
                      <a:lnTo>
                        <a:pt x="187" y="209"/>
                      </a:lnTo>
                      <a:lnTo>
                        <a:pt x="187" y="210"/>
                      </a:lnTo>
                      <a:lnTo>
                        <a:pt x="187" y="209"/>
                      </a:lnTo>
                      <a:lnTo>
                        <a:pt x="187" y="210"/>
                      </a:lnTo>
                      <a:lnTo>
                        <a:pt x="188" y="210"/>
                      </a:lnTo>
                      <a:lnTo>
                        <a:pt x="188" y="209"/>
                      </a:lnTo>
                      <a:lnTo>
                        <a:pt x="188" y="209"/>
                      </a:lnTo>
                      <a:lnTo>
                        <a:pt x="188" y="208"/>
                      </a:lnTo>
                      <a:lnTo>
                        <a:pt x="188" y="208"/>
                      </a:lnTo>
                      <a:lnTo>
                        <a:pt x="188" y="208"/>
                      </a:lnTo>
                      <a:lnTo>
                        <a:pt x="188" y="208"/>
                      </a:lnTo>
                      <a:lnTo>
                        <a:pt x="188" y="207"/>
                      </a:lnTo>
                      <a:lnTo>
                        <a:pt x="188" y="207"/>
                      </a:lnTo>
                      <a:lnTo>
                        <a:pt x="187" y="207"/>
                      </a:lnTo>
                      <a:lnTo>
                        <a:pt x="187" y="206"/>
                      </a:lnTo>
                      <a:lnTo>
                        <a:pt x="188" y="206"/>
                      </a:lnTo>
                      <a:lnTo>
                        <a:pt x="187" y="206"/>
                      </a:lnTo>
                      <a:lnTo>
                        <a:pt x="188" y="206"/>
                      </a:lnTo>
                      <a:lnTo>
                        <a:pt x="187" y="206"/>
                      </a:lnTo>
                      <a:lnTo>
                        <a:pt x="188" y="206"/>
                      </a:lnTo>
                      <a:lnTo>
                        <a:pt x="188" y="206"/>
                      </a:lnTo>
                      <a:lnTo>
                        <a:pt x="188" y="206"/>
                      </a:lnTo>
                      <a:lnTo>
                        <a:pt x="188" y="206"/>
                      </a:lnTo>
                      <a:lnTo>
                        <a:pt x="189" y="206"/>
                      </a:lnTo>
                      <a:lnTo>
                        <a:pt x="189" y="207"/>
                      </a:lnTo>
                      <a:lnTo>
                        <a:pt x="189" y="207"/>
                      </a:lnTo>
                      <a:lnTo>
                        <a:pt x="190" y="207"/>
                      </a:lnTo>
                      <a:lnTo>
                        <a:pt x="190" y="207"/>
                      </a:lnTo>
                      <a:lnTo>
                        <a:pt x="190" y="207"/>
                      </a:lnTo>
                      <a:lnTo>
                        <a:pt x="190" y="208"/>
                      </a:lnTo>
                      <a:lnTo>
                        <a:pt x="190" y="207"/>
                      </a:lnTo>
                      <a:lnTo>
                        <a:pt x="190" y="208"/>
                      </a:lnTo>
                      <a:lnTo>
                        <a:pt x="190" y="207"/>
                      </a:lnTo>
                      <a:lnTo>
                        <a:pt x="190" y="208"/>
                      </a:lnTo>
                      <a:lnTo>
                        <a:pt x="191" y="208"/>
                      </a:lnTo>
                      <a:lnTo>
                        <a:pt x="192" y="208"/>
                      </a:lnTo>
                      <a:lnTo>
                        <a:pt x="192" y="208"/>
                      </a:lnTo>
                      <a:lnTo>
                        <a:pt x="192" y="208"/>
                      </a:lnTo>
                      <a:lnTo>
                        <a:pt x="193" y="209"/>
                      </a:lnTo>
                      <a:lnTo>
                        <a:pt x="193" y="209"/>
                      </a:lnTo>
                      <a:lnTo>
                        <a:pt x="193" y="209"/>
                      </a:lnTo>
                      <a:lnTo>
                        <a:pt x="193" y="209"/>
                      </a:lnTo>
                      <a:lnTo>
                        <a:pt x="193" y="210"/>
                      </a:lnTo>
                      <a:lnTo>
                        <a:pt x="194" y="210"/>
                      </a:lnTo>
                      <a:lnTo>
                        <a:pt x="193" y="210"/>
                      </a:lnTo>
                      <a:lnTo>
                        <a:pt x="194" y="210"/>
                      </a:lnTo>
                      <a:lnTo>
                        <a:pt x="193" y="210"/>
                      </a:lnTo>
                      <a:lnTo>
                        <a:pt x="194" y="210"/>
                      </a:lnTo>
                      <a:lnTo>
                        <a:pt x="193" y="210"/>
                      </a:lnTo>
                      <a:lnTo>
                        <a:pt x="193" y="210"/>
                      </a:lnTo>
                      <a:lnTo>
                        <a:pt x="193" y="210"/>
                      </a:lnTo>
                      <a:lnTo>
                        <a:pt x="194" y="210"/>
                      </a:lnTo>
                      <a:lnTo>
                        <a:pt x="194" y="210"/>
                      </a:lnTo>
                      <a:lnTo>
                        <a:pt x="194" y="210"/>
                      </a:lnTo>
                      <a:lnTo>
                        <a:pt x="194" y="210"/>
                      </a:lnTo>
                      <a:lnTo>
                        <a:pt x="194" y="210"/>
                      </a:lnTo>
                      <a:lnTo>
                        <a:pt x="194" y="210"/>
                      </a:lnTo>
                      <a:lnTo>
                        <a:pt x="195" y="211"/>
                      </a:lnTo>
                      <a:lnTo>
                        <a:pt x="196" y="211"/>
                      </a:lnTo>
                      <a:lnTo>
                        <a:pt x="195" y="211"/>
                      </a:lnTo>
                      <a:lnTo>
                        <a:pt x="196" y="211"/>
                      </a:lnTo>
                      <a:lnTo>
                        <a:pt x="196" y="211"/>
                      </a:lnTo>
                      <a:lnTo>
                        <a:pt x="197" y="211"/>
                      </a:lnTo>
                      <a:lnTo>
                        <a:pt x="197" y="211"/>
                      </a:lnTo>
                      <a:lnTo>
                        <a:pt x="197" y="212"/>
                      </a:lnTo>
                      <a:lnTo>
                        <a:pt x="197" y="211"/>
                      </a:lnTo>
                      <a:lnTo>
                        <a:pt x="197" y="212"/>
                      </a:lnTo>
                      <a:lnTo>
                        <a:pt x="197" y="211"/>
                      </a:lnTo>
                      <a:lnTo>
                        <a:pt x="197" y="211"/>
                      </a:lnTo>
                      <a:lnTo>
                        <a:pt x="197" y="211"/>
                      </a:lnTo>
                      <a:lnTo>
                        <a:pt x="198" y="211"/>
                      </a:lnTo>
                      <a:lnTo>
                        <a:pt x="198" y="212"/>
                      </a:lnTo>
                      <a:lnTo>
                        <a:pt x="199" y="212"/>
                      </a:lnTo>
                      <a:lnTo>
                        <a:pt x="199" y="212"/>
                      </a:lnTo>
                      <a:lnTo>
                        <a:pt x="200" y="212"/>
                      </a:lnTo>
                      <a:lnTo>
                        <a:pt x="200" y="212"/>
                      </a:lnTo>
                      <a:lnTo>
                        <a:pt x="200" y="212"/>
                      </a:lnTo>
                      <a:lnTo>
                        <a:pt x="200" y="212"/>
                      </a:lnTo>
                      <a:lnTo>
                        <a:pt x="200" y="212"/>
                      </a:lnTo>
                      <a:lnTo>
                        <a:pt x="200" y="212"/>
                      </a:lnTo>
                      <a:lnTo>
                        <a:pt x="201" y="212"/>
                      </a:lnTo>
                      <a:lnTo>
                        <a:pt x="201" y="212"/>
                      </a:lnTo>
                      <a:lnTo>
                        <a:pt x="202" y="212"/>
                      </a:lnTo>
                      <a:lnTo>
                        <a:pt x="202" y="212"/>
                      </a:lnTo>
                      <a:lnTo>
                        <a:pt x="203" y="212"/>
                      </a:lnTo>
                      <a:lnTo>
                        <a:pt x="203" y="213"/>
                      </a:lnTo>
                      <a:lnTo>
                        <a:pt x="203" y="212"/>
                      </a:lnTo>
                      <a:lnTo>
                        <a:pt x="203" y="213"/>
                      </a:lnTo>
                      <a:lnTo>
                        <a:pt x="203" y="212"/>
                      </a:lnTo>
                      <a:lnTo>
                        <a:pt x="202" y="212"/>
                      </a:lnTo>
                      <a:lnTo>
                        <a:pt x="201" y="212"/>
                      </a:lnTo>
                      <a:lnTo>
                        <a:pt x="201" y="212"/>
                      </a:lnTo>
                      <a:lnTo>
                        <a:pt x="200" y="212"/>
                      </a:lnTo>
                      <a:lnTo>
                        <a:pt x="200" y="212"/>
                      </a:lnTo>
                      <a:lnTo>
                        <a:pt x="199" y="212"/>
                      </a:lnTo>
                      <a:lnTo>
                        <a:pt x="199" y="212"/>
                      </a:lnTo>
                      <a:lnTo>
                        <a:pt x="198" y="212"/>
                      </a:lnTo>
                      <a:lnTo>
                        <a:pt x="197" y="211"/>
                      </a:lnTo>
                      <a:lnTo>
                        <a:pt x="197" y="211"/>
                      </a:lnTo>
                      <a:lnTo>
                        <a:pt x="196" y="211"/>
                      </a:lnTo>
                      <a:lnTo>
                        <a:pt x="196" y="211"/>
                      </a:lnTo>
                      <a:lnTo>
                        <a:pt x="196" y="211"/>
                      </a:lnTo>
                      <a:lnTo>
                        <a:pt x="196" y="210"/>
                      </a:lnTo>
                      <a:lnTo>
                        <a:pt x="195" y="210"/>
                      </a:lnTo>
                      <a:lnTo>
                        <a:pt x="194" y="210"/>
                      </a:lnTo>
                      <a:lnTo>
                        <a:pt x="194" y="210"/>
                      </a:lnTo>
                      <a:lnTo>
                        <a:pt x="195" y="210"/>
                      </a:lnTo>
                      <a:lnTo>
                        <a:pt x="196" y="210"/>
                      </a:lnTo>
                      <a:lnTo>
                        <a:pt x="195" y="210"/>
                      </a:lnTo>
                      <a:lnTo>
                        <a:pt x="196" y="210"/>
                      </a:lnTo>
                      <a:lnTo>
                        <a:pt x="195" y="210"/>
                      </a:lnTo>
                      <a:lnTo>
                        <a:pt x="196" y="210"/>
                      </a:lnTo>
                      <a:lnTo>
                        <a:pt x="195" y="210"/>
                      </a:lnTo>
                      <a:lnTo>
                        <a:pt x="196" y="210"/>
                      </a:lnTo>
                      <a:lnTo>
                        <a:pt x="195" y="210"/>
                      </a:lnTo>
                      <a:lnTo>
                        <a:pt x="194" y="210"/>
                      </a:lnTo>
                      <a:lnTo>
                        <a:pt x="194" y="209"/>
                      </a:lnTo>
                      <a:lnTo>
                        <a:pt x="193" y="209"/>
                      </a:lnTo>
                      <a:lnTo>
                        <a:pt x="193" y="208"/>
                      </a:lnTo>
                      <a:lnTo>
                        <a:pt x="193" y="208"/>
                      </a:lnTo>
                      <a:lnTo>
                        <a:pt x="193" y="208"/>
                      </a:lnTo>
                      <a:lnTo>
                        <a:pt x="193" y="208"/>
                      </a:lnTo>
                      <a:lnTo>
                        <a:pt x="193" y="208"/>
                      </a:lnTo>
                      <a:lnTo>
                        <a:pt x="192" y="208"/>
                      </a:lnTo>
                      <a:lnTo>
                        <a:pt x="192" y="208"/>
                      </a:lnTo>
                      <a:lnTo>
                        <a:pt x="192" y="208"/>
                      </a:lnTo>
                      <a:lnTo>
                        <a:pt x="192" y="208"/>
                      </a:lnTo>
                      <a:lnTo>
                        <a:pt x="191" y="207"/>
                      </a:lnTo>
                      <a:lnTo>
                        <a:pt x="190" y="207"/>
                      </a:lnTo>
                      <a:lnTo>
                        <a:pt x="190" y="207"/>
                      </a:lnTo>
                      <a:lnTo>
                        <a:pt x="190" y="207"/>
                      </a:lnTo>
                      <a:lnTo>
                        <a:pt x="190" y="206"/>
                      </a:lnTo>
                      <a:lnTo>
                        <a:pt x="190" y="207"/>
                      </a:lnTo>
                      <a:lnTo>
                        <a:pt x="190" y="206"/>
                      </a:lnTo>
                      <a:lnTo>
                        <a:pt x="189" y="206"/>
                      </a:lnTo>
                      <a:lnTo>
                        <a:pt x="189" y="205"/>
                      </a:lnTo>
                      <a:lnTo>
                        <a:pt x="188" y="205"/>
                      </a:lnTo>
                      <a:lnTo>
                        <a:pt x="188" y="205"/>
                      </a:lnTo>
                      <a:lnTo>
                        <a:pt x="188" y="205"/>
                      </a:lnTo>
                      <a:lnTo>
                        <a:pt x="188" y="205"/>
                      </a:lnTo>
                      <a:lnTo>
                        <a:pt x="187" y="205"/>
                      </a:lnTo>
                      <a:lnTo>
                        <a:pt x="187" y="205"/>
                      </a:lnTo>
                      <a:lnTo>
                        <a:pt x="186" y="205"/>
                      </a:lnTo>
                      <a:lnTo>
                        <a:pt x="187" y="205"/>
                      </a:lnTo>
                      <a:lnTo>
                        <a:pt x="186" y="205"/>
                      </a:lnTo>
                      <a:lnTo>
                        <a:pt x="186" y="205"/>
                      </a:lnTo>
                      <a:lnTo>
                        <a:pt x="185" y="204"/>
                      </a:lnTo>
                      <a:lnTo>
                        <a:pt x="185" y="204"/>
                      </a:lnTo>
                      <a:lnTo>
                        <a:pt x="185" y="203"/>
                      </a:lnTo>
                      <a:lnTo>
                        <a:pt x="186" y="203"/>
                      </a:lnTo>
                      <a:lnTo>
                        <a:pt x="186" y="204"/>
                      </a:lnTo>
                      <a:lnTo>
                        <a:pt x="186" y="203"/>
                      </a:lnTo>
                      <a:lnTo>
                        <a:pt x="186" y="204"/>
                      </a:lnTo>
                      <a:lnTo>
                        <a:pt x="186" y="203"/>
                      </a:lnTo>
                      <a:lnTo>
                        <a:pt x="186" y="204"/>
                      </a:lnTo>
                      <a:lnTo>
                        <a:pt x="186" y="204"/>
                      </a:lnTo>
                      <a:lnTo>
                        <a:pt x="186" y="203"/>
                      </a:lnTo>
                      <a:lnTo>
                        <a:pt x="186" y="203"/>
                      </a:lnTo>
                      <a:lnTo>
                        <a:pt x="186" y="204"/>
                      </a:lnTo>
                      <a:lnTo>
                        <a:pt x="187" y="203"/>
                      </a:lnTo>
                      <a:lnTo>
                        <a:pt x="187" y="204"/>
                      </a:lnTo>
                      <a:lnTo>
                        <a:pt x="188" y="204"/>
                      </a:lnTo>
                      <a:lnTo>
                        <a:pt x="187" y="204"/>
                      </a:lnTo>
                      <a:lnTo>
                        <a:pt x="188" y="204"/>
                      </a:lnTo>
                      <a:lnTo>
                        <a:pt x="188" y="204"/>
                      </a:lnTo>
                      <a:lnTo>
                        <a:pt x="188" y="204"/>
                      </a:lnTo>
                      <a:lnTo>
                        <a:pt x="188" y="204"/>
                      </a:lnTo>
                      <a:lnTo>
                        <a:pt x="188" y="204"/>
                      </a:lnTo>
                      <a:lnTo>
                        <a:pt x="189" y="204"/>
                      </a:lnTo>
                      <a:lnTo>
                        <a:pt x="188" y="204"/>
                      </a:lnTo>
                      <a:lnTo>
                        <a:pt x="188" y="204"/>
                      </a:lnTo>
                      <a:lnTo>
                        <a:pt x="188" y="204"/>
                      </a:lnTo>
                      <a:lnTo>
                        <a:pt x="188" y="204"/>
                      </a:lnTo>
                      <a:lnTo>
                        <a:pt x="188" y="204"/>
                      </a:lnTo>
                      <a:lnTo>
                        <a:pt x="188" y="204"/>
                      </a:lnTo>
                      <a:lnTo>
                        <a:pt x="188" y="204"/>
                      </a:lnTo>
                      <a:lnTo>
                        <a:pt x="188" y="204"/>
                      </a:lnTo>
                      <a:lnTo>
                        <a:pt x="188" y="204"/>
                      </a:lnTo>
                      <a:lnTo>
                        <a:pt x="188" y="204"/>
                      </a:lnTo>
                      <a:lnTo>
                        <a:pt x="188" y="204"/>
                      </a:lnTo>
                      <a:lnTo>
                        <a:pt x="188" y="204"/>
                      </a:lnTo>
                      <a:lnTo>
                        <a:pt x="188" y="204"/>
                      </a:lnTo>
                      <a:lnTo>
                        <a:pt x="188" y="204"/>
                      </a:lnTo>
                      <a:lnTo>
                        <a:pt x="188" y="204"/>
                      </a:lnTo>
                      <a:lnTo>
                        <a:pt x="188" y="204"/>
                      </a:lnTo>
                      <a:lnTo>
                        <a:pt x="188" y="204"/>
                      </a:lnTo>
                      <a:lnTo>
                        <a:pt x="188" y="204"/>
                      </a:lnTo>
                      <a:lnTo>
                        <a:pt x="187" y="204"/>
                      </a:lnTo>
                      <a:lnTo>
                        <a:pt x="188" y="204"/>
                      </a:lnTo>
                      <a:lnTo>
                        <a:pt x="187" y="204"/>
                      </a:lnTo>
                      <a:lnTo>
                        <a:pt x="187" y="203"/>
                      </a:lnTo>
                      <a:lnTo>
                        <a:pt x="186" y="203"/>
                      </a:lnTo>
                      <a:lnTo>
                        <a:pt x="186" y="203"/>
                      </a:lnTo>
                      <a:lnTo>
                        <a:pt x="185" y="203"/>
                      </a:lnTo>
                      <a:lnTo>
                        <a:pt x="185" y="203"/>
                      </a:lnTo>
                      <a:lnTo>
                        <a:pt x="184" y="203"/>
                      </a:lnTo>
                      <a:lnTo>
                        <a:pt x="183" y="203"/>
                      </a:lnTo>
                      <a:lnTo>
                        <a:pt x="183" y="203"/>
                      </a:lnTo>
                      <a:lnTo>
                        <a:pt x="182" y="203"/>
                      </a:lnTo>
                      <a:lnTo>
                        <a:pt x="182" y="202"/>
                      </a:lnTo>
                      <a:lnTo>
                        <a:pt x="182" y="203"/>
                      </a:lnTo>
                      <a:lnTo>
                        <a:pt x="182" y="202"/>
                      </a:lnTo>
                      <a:lnTo>
                        <a:pt x="181" y="202"/>
                      </a:lnTo>
                      <a:lnTo>
                        <a:pt x="181" y="202"/>
                      </a:lnTo>
                      <a:lnTo>
                        <a:pt x="181" y="201"/>
                      </a:lnTo>
                      <a:lnTo>
                        <a:pt x="181" y="202"/>
                      </a:lnTo>
                      <a:lnTo>
                        <a:pt x="181" y="201"/>
                      </a:lnTo>
                      <a:lnTo>
                        <a:pt x="181" y="201"/>
                      </a:lnTo>
                      <a:lnTo>
                        <a:pt x="181" y="200"/>
                      </a:lnTo>
                      <a:lnTo>
                        <a:pt x="180" y="200"/>
                      </a:lnTo>
                      <a:lnTo>
                        <a:pt x="181" y="200"/>
                      </a:lnTo>
                      <a:lnTo>
                        <a:pt x="181" y="200"/>
                      </a:lnTo>
                      <a:lnTo>
                        <a:pt x="181" y="200"/>
                      </a:lnTo>
                      <a:lnTo>
                        <a:pt x="181" y="200"/>
                      </a:lnTo>
                      <a:lnTo>
                        <a:pt x="181" y="200"/>
                      </a:lnTo>
                      <a:lnTo>
                        <a:pt x="181" y="199"/>
                      </a:lnTo>
                      <a:lnTo>
                        <a:pt x="181" y="199"/>
                      </a:lnTo>
                      <a:lnTo>
                        <a:pt x="181" y="199"/>
                      </a:lnTo>
                      <a:lnTo>
                        <a:pt x="181" y="199"/>
                      </a:lnTo>
                      <a:lnTo>
                        <a:pt x="180" y="199"/>
                      </a:lnTo>
                      <a:lnTo>
                        <a:pt x="180" y="198"/>
                      </a:lnTo>
                      <a:lnTo>
                        <a:pt x="179" y="198"/>
                      </a:lnTo>
                      <a:lnTo>
                        <a:pt x="179" y="197"/>
                      </a:lnTo>
                      <a:lnTo>
                        <a:pt x="179" y="197"/>
                      </a:lnTo>
                      <a:lnTo>
                        <a:pt x="179" y="197"/>
                      </a:lnTo>
                      <a:lnTo>
                        <a:pt x="179" y="196"/>
                      </a:lnTo>
                      <a:lnTo>
                        <a:pt x="179" y="196"/>
                      </a:lnTo>
                      <a:lnTo>
                        <a:pt x="180" y="196"/>
                      </a:lnTo>
                      <a:lnTo>
                        <a:pt x="180" y="196"/>
                      </a:lnTo>
                      <a:lnTo>
                        <a:pt x="179" y="196"/>
                      </a:lnTo>
                      <a:lnTo>
                        <a:pt x="180" y="196"/>
                      </a:lnTo>
                      <a:lnTo>
                        <a:pt x="179" y="196"/>
                      </a:lnTo>
                      <a:lnTo>
                        <a:pt x="180" y="196"/>
                      </a:lnTo>
                      <a:lnTo>
                        <a:pt x="180" y="196"/>
                      </a:lnTo>
                      <a:lnTo>
                        <a:pt x="179" y="196"/>
                      </a:lnTo>
                      <a:lnTo>
                        <a:pt x="179" y="195"/>
                      </a:lnTo>
                      <a:lnTo>
                        <a:pt x="179" y="195"/>
                      </a:lnTo>
                      <a:lnTo>
                        <a:pt x="178" y="195"/>
                      </a:lnTo>
                      <a:lnTo>
                        <a:pt x="178" y="194"/>
                      </a:lnTo>
                      <a:lnTo>
                        <a:pt x="178" y="194"/>
                      </a:lnTo>
                      <a:lnTo>
                        <a:pt x="177" y="194"/>
                      </a:lnTo>
                      <a:lnTo>
                        <a:pt x="177" y="194"/>
                      </a:lnTo>
                      <a:lnTo>
                        <a:pt x="177" y="194"/>
                      </a:lnTo>
                      <a:lnTo>
                        <a:pt x="176" y="194"/>
                      </a:lnTo>
                      <a:lnTo>
                        <a:pt x="176" y="193"/>
                      </a:lnTo>
                      <a:lnTo>
                        <a:pt x="175" y="193"/>
                      </a:lnTo>
                      <a:lnTo>
                        <a:pt x="176" y="193"/>
                      </a:lnTo>
                      <a:lnTo>
                        <a:pt x="176" y="192"/>
                      </a:lnTo>
                      <a:lnTo>
                        <a:pt x="177" y="192"/>
                      </a:lnTo>
                      <a:lnTo>
                        <a:pt x="177" y="192"/>
                      </a:lnTo>
                      <a:lnTo>
                        <a:pt x="177" y="192"/>
                      </a:lnTo>
                      <a:lnTo>
                        <a:pt x="178" y="192"/>
                      </a:lnTo>
                      <a:lnTo>
                        <a:pt x="177" y="191"/>
                      </a:lnTo>
                      <a:lnTo>
                        <a:pt x="178" y="191"/>
                      </a:lnTo>
                      <a:lnTo>
                        <a:pt x="178" y="190"/>
                      </a:lnTo>
                      <a:lnTo>
                        <a:pt x="178" y="190"/>
                      </a:lnTo>
                      <a:lnTo>
                        <a:pt x="178" y="189"/>
                      </a:lnTo>
                      <a:lnTo>
                        <a:pt x="178" y="189"/>
                      </a:lnTo>
                      <a:lnTo>
                        <a:pt x="178" y="189"/>
                      </a:lnTo>
                      <a:lnTo>
                        <a:pt x="178" y="188"/>
                      </a:lnTo>
                      <a:lnTo>
                        <a:pt x="179" y="188"/>
                      </a:lnTo>
                      <a:lnTo>
                        <a:pt x="179" y="188"/>
                      </a:lnTo>
                      <a:lnTo>
                        <a:pt x="180" y="188"/>
                      </a:lnTo>
                      <a:lnTo>
                        <a:pt x="181" y="188"/>
                      </a:lnTo>
                      <a:lnTo>
                        <a:pt x="181" y="188"/>
                      </a:lnTo>
                      <a:lnTo>
                        <a:pt x="182" y="188"/>
                      </a:lnTo>
                      <a:lnTo>
                        <a:pt x="182" y="188"/>
                      </a:lnTo>
                      <a:lnTo>
                        <a:pt x="182" y="188"/>
                      </a:lnTo>
                      <a:lnTo>
                        <a:pt x="183" y="188"/>
                      </a:lnTo>
                      <a:lnTo>
                        <a:pt x="183" y="187"/>
                      </a:lnTo>
                      <a:lnTo>
                        <a:pt x="183" y="187"/>
                      </a:lnTo>
                      <a:lnTo>
                        <a:pt x="184" y="187"/>
                      </a:lnTo>
                      <a:lnTo>
                        <a:pt x="185" y="187"/>
                      </a:lnTo>
                      <a:lnTo>
                        <a:pt x="185" y="187"/>
                      </a:lnTo>
                      <a:lnTo>
                        <a:pt x="186" y="187"/>
                      </a:lnTo>
                      <a:lnTo>
                        <a:pt x="186" y="186"/>
                      </a:lnTo>
                      <a:lnTo>
                        <a:pt x="186" y="187"/>
                      </a:lnTo>
                      <a:lnTo>
                        <a:pt x="186" y="186"/>
                      </a:lnTo>
                      <a:lnTo>
                        <a:pt x="186" y="186"/>
                      </a:lnTo>
                      <a:lnTo>
                        <a:pt x="187" y="186"/>
                      </a:lnTo>
                      <a:lnTo>
                        <a:pt x="188" y="186"/>
                      </a:lnTo>
                      <a:lnTo>
                        <a:pt x="188" y="186"/>
                      </a:lnTo>
                      <a:lnTo>
                        <a:pt x="189" y="185"/>
                      </a:lnTo>
                      <a:lnTo>
                        <a:pt x="189" y="186"/>
                      </a:lnTo>
                      <a:lnTo>
                        <a:pt x="189" y="185"/>
                      </a:lnTo>
                      <a:lnTo>
                        <a:pt x="189" y="185"/>
                      </a:lnTo>
                      <a:lnTo>
                        <a:pt x="189" y="185"/>
                      </a:lnTo>
                      <a:lnTo>
                        <a:pt x="190" y="185"/>
                      </a:lnTo>
                      <a:lnTo>
                        <a:pt x="190" y="184"/>
                      </a:lnTo>
                      <a:lnTo>
                        <a:pt x="190" y="185"/>
                      </a:lnTo>
                      <a:lnTo>
                        <a:pt x="190" y="184"/>
                      </a:lnTo>
                      <a:lnTo>
                        <a:pt x="190" y="184"/>
                      </a:lnTo>
                      <a:lnTo>
                        <a:pt x="190" y="184"/>
                      </a:lnTo>
                      <a:lnTo>
                        <a:pt x="190" y="183"/>
                      </a:lnTo>
                      <a:lnTo>
                        <a:pt x="190" y="182"/>
                      </a:lnTo>
                      <a:lnTo>
                        <a:pt x="191" y="182"/>
                      </a:lnTo>
                      <a:lnTo>
                        <a:pt x="190" y="182"/>
                      </a:lnTo>
                      <a:lnTo>
                        <a:pt x="191" y="182"/>
                      </a:lnTo>
                      <a:lnTo>
                        <a:pt x="190" y="182"/>
                      </a:lnTo>
                      <a:lnTo>
                        <a:pt x="191" y="182"/>
                      </a:lnTo>
                      <a:lnTo>
                        <a:pt x="192" y="181"/>
                      </a:lnTo>
                      <a:lnTo>
                        <a:pt x="192" y="181"/>
                      </a:lnTo>
                      <a:lnTo>
                        <a:pt x="192" y="180"/>
                      </a:lnTo>
                      <a:lnTo>
                        <a:pt x="192" y="180"/>
                      </a:lnTo>
                      <a:lnTo>
                        <a:pt x="193" y="180"/>
                      </a:lnTo>
                      <a:lnTo>
                        <a:pt x="193" y="180"/>
                      </a:lnTo>
                      <a:lnTo>
                        <a:pt x="194" y="180"/>
                      </a:lnTo>
                      <a:lnTo>
                        <a:pt x="194" y="180"/>
                      </a:lnTo>
                      <a:lnTo>
                        <a:pt x="194" y="181"/>
                      </a:lnTo>
                      <a:lnTo>
                        <a:pt x="195" y="181"/>
                      </a:lnTo>
                      <a:lnTo>
                        <a:pt x="195" y="181"/>
                      </a:lnTo>
                      <a:lnTo>
                        <a:pt x="196" y="181"/>
                      </a:lnTo>
                      <a:lnTo>
                        <a:pt x="196" y="182"/>
                      </a:lnTo>
                      <a:lnTo>
                        <a:pt x="196" y="182"/>
                      </a:lnTo>
                      <a:lnTo>
                        <a:pt x="196" y="182"/>
                      </a:lnTo>
                      <a:lnTo>
                        <a:pt x="197" y="182"/>
                      </a:lnTo>
                      <a:lnTo>
                        <a:pt x="197" y="183"/>
                      </a:lnTo>
                      <a:lnTo>
                        <a:pt x="197" y="183"/>
                      </a:lnTo>
                      <a:lnTo>
                        <a:pt x="197" y="183"/>
                      </a:lnTo>
                      <a:lnTo>
                        <a:pt x="197" y="184"/>
                      </a:lnTo>
                      <a:lnTo>
                        <a:pt x="197" y="183"/>
                      </a:lnTo>
                      <a:lnTo>
                        <a:pt x="197" y="184"/>
                      </a:lnTo>
                      <a:lnTo>
                        <a:pt x="198" y="184"/>
                      </a:lnTo>
                      <a:lnTo>
                        <a:pt x="198" y="183"/>
                      </a:lnTo>
                      <a:lnTo>
                        <a:pt x="197" y="183"/>
                      </a:lnTo>
                      <a:lnTo>
                        <a:pt x="197" y="184"/>
                      </a:lnTo>
                      <a:lnTo>
                        <a:pt x="197" y="183"/>
                      </a:lnTo>
                      <a:lnTo>
                        <a:pt x="197" y="184"/>
                      </a:lnTo>
                      <a:lnTo>
                        <a:pt x="197" y="183"/>
                      </a:lnTo>
                      <a:lnTo>
                        <a:pt x="197" y="182"/>
                      </a:lnTo>
                      <a:lnTo>
                        <a:pt x="197" y="182"/>
                      </a:lnTo>
                      <a:lnTo>
                        <a:pt x="196" y="182"/>
                      </a:lnTo>
                      <a:lnTo>
                        <a:pt x="196" y="182"/>
                      </a:lnTo>
                      <a:lnTo>
                        <a:pt x="196" y="182"/>
                      </a:lnTo>
                      <a:lnTo>
                        <a:pt x="196" y="181"/>
                      </a:lnTo>
                      <a:lnTo>
                        <a:pt x="195" y="181"/>
                      </a:lnTo>
                      <a:lnTo>
                        <a:pt x="195" y="181"/>
                      </a:lnTo>
                      <a:lnTo>
                        <a:pt x="194" y="180"/>
                      </a:lnTo>
                      <a:lnTo>
                        <a:pt x="194" y="180"/>
                      </a:lnTo>
                      <a:lnTo>
                        <a:pt x="193" y="180"/>
                      </a:lnTo>
                      <a:lnTo>
                        <a:pt x="194" y="180"/>
                      </a:lnTo>
                      <a:lnTo>
                        <a:pt x="193" y="180"/>
                      </a:lnTo>
                      <a:lnTo>
                        <a:pt x="193" y="180"/>
                      </a:lnTo>
                      <a:lnTo>
                        <a:pt x="192" y="180"/>
                      </a:lnTo>
                      <a:lnTo>
                        <a:pt x="192" y="180"/>
                      </a:lnTo>
                      <a:lnTo>
                        <a:pt x="192" y="181"/>
                      </a:lnTo>
                      <a:lnTo>
                        <a:pt x="192" y="181"/>
                      </a:lnTo>
                      <a:lnTo>
                        <a:pt x="191" y="181"/>
                      </a:lnTo>
                      <a:lnTo>
                        <a:pt x="192" y="181"/>
                      </a:lnTo>
                      <a:lnTo>
                        <a:pt x="191" y="181"/>
                      </a:lnTo>
                      <a:lnTo>
                        <a:pt x="191" y="182"/>
                      </a:lnTo>
                      <a:lnTo>
                        <a:pt x="190" y="182"/>
                      </a:lnTo>
                      <a:lnTo>
                        <a:pt x="190" y="182"/>
                      </a:lnTo>
                      <a:lnTo>
                        <a:pt x="190" y="183"/>
                      </a:lnTo>
                      <a:lnTo>
                        <a:pt x="190" y="183"/>
                      </a:lnTo>
                      <a:lnTo>
                        <a:pt x="190" y="184"/>
                      </a:lnTo>
                      <a:lnTo>
                        <a:pt x="190" y="184"/>
                      </a:lnTo>
                      <a:lnTo>
                        <a:pt x="189" y="184"/>
                      </a:lnTo>
                      <a:lnTo>
                        <a:pt x="190" y="184"/>
                      </a:lnTo>
                      <a:lnTo>
                        <a:pt x="190" y="185"/>
                      </a:lnTo>
                      <a:lnTo>
                        <a:pt x="189" y="185"/>
                      </a:lnTo>
                      <a:lnTo>
                        <a:pt x="189" y="185"/>
                      </a:lnTo>
                      <a:lnTo>
                        <a:pt x="189" y="185"/>
                      </a:lnTo>
                      <a:lnTo>
                        <a:pt x="188" y="186"/>
                      </a:lnTo>
                      <a:lnTo>
                        <a:pt x="188" y="186"/>
                      </a:lnTo>
                      <a:lnTo>
                        <a:pt x="188" y="186"/>
                      </a:lnTo>
                      <a:lnTo>
                        <a:pt x="187" y="186"/>
                      </a:lnTo>
                      <a:lnTo>
                        <a:pt x="186" y="186"/>
                      </a:lnTo>
                      <a:lnTo>
                        <a:pt x="186" y="186"/>
                      </a:lnTo>
                      <a:lnTo>
                        <a:pt x="185" y="186"/>
                      </a:lnTo>
                      <a:lnTo>
                        <a:pt x="185" y="187"/>
                      </a:lnTo>
                      <a:lnTo>
                        <a:pt x="185" y="187"/>
                      </a:lnTo>
                      <a:lnTo>
                        <a:pt x="184" y="187"/>
                      </a:lnTo>
                      <a:lnTo>
                        <a:pt x="183" y="187"/>
                      </a:lnTo>
                      <a:lnTo>
                        <a:pt x="183" y="187"/>
                      </a:lnTo>
                      <a:lnTo>
                        <a:pt x="183" y="188"/>
                      </a:lnTo>
                      <a:lnTo>
                        <a:pt x="182" y="188"/>
                      </a:lnTo>
                      <a:lnTo>
                        <a:pt x="182" y="188"/>
                      </a:lnTo>
                      <a:lnTo>
                        <a:pt x="181" y="188"/>
                      </a:lnTo>
                      <a:lnTo>
                        <a:pt x="181" y="188"/>
                      </a:lnTo>
                      <a:lnTo>
                        <a:pt x="180" y="188"/>
                      </a:lnTo>
                      <a:lnTo>
                        <a:pt x="179" y="188"/>
                      </a:lnTo>
                      <a:lnTo>
                        <a:pt x="179" y="188"/>
                      </a:lnTo>
                      <a:lnTo>
                        <a:pt x="179" y="187"/>
                      </a:lnTo>
                      <a:lnTo>
                        <a:pt x="179" y="186"/>
                      </a:lnTo>
                      <a:lnTo>
                        <a:pt x="179" y="186"/>
                      </a:lnTo>
                      <a:lnTo>
                        <a:pt x="179" y="186"/>
                      </a:lnTo>
                      <a:lnTo>
                        <a:pt x="179" y="185"/>
                      </a:lnTo>
                      <a:lnTo>
                        <a:pt x="178" y="185"/>
                      </a:lnTo>
                      <a:lnTo>
                        <a:pt x="178" y="185"/>
                      </a:lnTo>
                      <a:lnTo>
                        <a:pt x="178" y="186"/>
                      </a:lnTo>
                      <a:lnTo>
                        <a:pt x="177" y="186"/>
                      </a:lnTo>
                      <a:lnTo>
                        <a:pt x="177" y="185"/>
                      </a:lnTo>
                      <a:lnTo>
                        <a:pt x="176" y="185"/>
                      </a:lnTo>
                      <a:lnTo>
                        <a:pt x="175" y="185"/>
                      </a:lnTo>
                      <a:lnTo>
                        <a:pt x="175" y="185"/>
                      </a:lnTo>
                      <a:lnTo>
                        <a:pt x="174" y="185"/>
                      </a:lnTo>
                      <a:lnTo>
                        <a:pt x="174" y="185"/>
                      </a:lnTo>
                      <a:lnTo>
                        <a:pt x="173" y="185"/>
                      </a:lnTo>
                      <a:lnTo>
                        <a:pt x="173" y="185"/>
                      </a:lnTo>
                      <a:lnTo>
                        <a:pt x="173" y="185"/>
                      </a:lnTo>
                      <a:lnTo>
                        <a:pt x="172" y="184"/>
                      </a:lnTo>
                      <a:lnTo>
                        <a:pt x="171" y="184"/>
                      </a:lnTo>
                      <a:lnTo>
                        <a:pt x="171" y="184"/>
                      </a:lnTo>
                      <a:lnTo>
                        <a:pt x="171" y="184"/>
                      </a:lnTo>
                      <a:lnTo>
                        <a:pt x="171" y="184"/>
                      </a:lnTo>
                      <a:lnTo>
                        <a:pt x="171" y="184"/>
                      </a:lnTo>
                      <a:lnTo>
                        <a:pt x="171" y="184"/>
                      </a:lnTo>
                      <a:lnTo>
                        <a:pt x="171" y="184"/>
                      </a:lnTo>
                      <a:lnTo>
                        <a:pt x="171" y="184"/>
                      </a:lnTo>
                      <a:lnTo>
                        <a:pt x="171" y="184"/>
                      </a:lnTo>
                      <a:lnTo>
                        <a:pt x="170" y="184"/>
                      </a:lnTo>
                      <a:lnTo>
                        <a:pt x="170" y="184"/>
                      </a:lnTo>
                      <a:lnTo>
                        <a:pt x="170" y="183"/>
                      </a:lnTo>
                      <a:lnTo>
                        <a:pt x="169" y="183"/>
                      </a:lnTo>
                      <a:lnTo>
                        <a:pt x="168" y="183"/>
                      </a:lnTo>
                      <a:lnTo>
                        <a:pt x="168" y="182"/>
                      </a:lnTo>
                      <a:lnTo>
                        <a:pt x="168" y="182"/>
                      </a:lnTo>
                      <a:lnTo>
                        <a:pt x="168" y="182"/>
                      </a:lnTo>
                      <a:lnTo>
                        <a:pt x="168" y="182"/>
                      </a:lnTo>
                      <a:lnTo>
                        <a:pt x="169" y="182"/>
                      </a:lnTo>
                      <a:lnTo>
                        <a:pt x="170" y="182"/>
                      </a:lnTo>
                      <a:lnTo>
                        <a:pt x="169" y="182"/>
                      </a:lnTo>
                      <a:lnTo>
                        <a:pt x="169" y="181"/>
                      </a:lnTo>
                      <a:lnTo>
                        <a:pt x="170" y="181"/>
                      </a:lnTo>
                      <a:lnTo>
                        <a:pt x="170" y="181"/>
                      </a:lnTo>
                      <a:lnTo>
                        <a:pt x="170" y="181"/>
                      </a:lnTo>
                      <a:lnTo>
                        <a:pt x="171" y="181"/>
                      </a:lnTo>
                      <a:lnTo>
                        <a:pt x="171" y="181"/>
                      </a:lnTo>
                      <a:lnTo>
                        <a:pt x="171" y="181"/>
                      </a:lnTo>
                      <a:lnTo>
                        <a:pt x="172" y="181"/>
                      </a:lnTo>
                      <a:lnTo>
                        <a:pt x="171" y="181"/>
                      </a:lnTo>
                      <a:lnTo>
                        <a:pt x="171" y="181"/>
                      </a:lnTo>
                      <a:lnTo>
                        <a:pt x="171" y="181"/>
                      </a:lnTo>
                      <a:lnTo>
                        <a:pt x="170" y="181"/>
                      </a:lnTo>
                      <a:lnTo>
                        <a:pt x="171" y="181"/>
                      </a:lnTo>
                      <a:lnTo>
                        <a:pt x="170" y="181"/>
                      </a:lnTo>
                      <a:lnTo>
                        <a:pt x="170" y="181"/>
                      </a:lnTo>
                      <a:lnTo>
                        <a:pt x="169" y="181"/>
                      </a:lnTo>
                      <a:lnTo>
                        <a:pt x="169" y="180"/>
                      </a:lnTo>
                      <a:lnTo>
                        <a:pt x="168" y="180"/>
                      </a:lnTo>
                      <a:lnTo>
                        <a:pt x="168" y="179"/>
                      </a:lnTo>
                      <a:lnTo>
                        <a:pt x="168" y="180"/>
                      </a:lnTo>
                      <a:lnTo>
                        <a:pt x="168" y="179"/>
                      </a:lnTo>
                      <a:lnTo>
                        <a:pt x="168" y="179"/>
                      </a:lnTo>
                      <a:lnTo>
                        <a:pt x="168" y="179"/>
                      </a:lnTo>
                      <a:lnTo>
                        <a:pt x="168" y="179"/>
                      </a:lnTo>
                      <a:lnTo>
                        <a:pt x="167" y="179"/>
                      </a:lnTo>
                      <a:lnTo>
                        <a:pt x="167" y="179"/>
                      </a:lnTo>
                      <a:lnTo>
                        <a:pt x="167" y="178"/>
                      </a:lnTo>
                      <a:lnTo>
                        <a:pt x="167" y="178"/>
                      </a:lnTo>
                      <a:lnTo>
                        <a:pt x="167" y="179"/>
                      </a:lnTo>
                      <a:lnTo>
                        <a:pt x="167" y="178"/>
                      </a:lnTo>
                      <a:lnTo>
                        <a:pt x="167" y="178"/>
                      </a:lnTo>
                      <a:lnTo>
                        <a:pt x="167" y="177"/>
                      </a:lnTo>
                      <a:lnTo>
                        <a:pt x="167" y="177"/>
                      </a:lnTo>
                      <a:lnTo>
                        <a:pt x="167" y="177"/>
                      </a:lnTo>
                      <a:lnTo>
                        <a:pt x="166" y="177"/>
                      </a:lnTo>
                      <a:lnTo>
                        <a:pt x="167" y="176"/>
                      </a:lnTo>
                      <a:lnTo>
                        <a:pt x="166" y="176"/>
                      </a:lnTo>
                      <a:lnTo>
                        <a:pt x="166" y="175"/>
                      </a:lnTo>
                      <a:lnTo>
                        <a:pt x="166" y="176"/>
                      </a:lnTo>
                      <a:lnTo>
                        <a:pt x="166" y="175"/>
                      </a:lnTo>
                      <a:lnTo>
                        <a:pt x="165" y="175"/>
                      </a:lnTo>
                      <a:lnTo>
                        <a:pt x="165" y="175"/>
                      </a:lnTo>
                      <a:lnTo>
                        <a:pt x="164" y="175"/>
                      </a:lnTo>
                      <a:lnTo>
                        <a:pt x="164" y="174"/>
                      </a:lnTo>
                      <a:lnTo>
                        <a:pt x="164" y="174"/>
                      </a:lnTo>
                      <a:lnTo>
                        <a:pt x="164" y="174"/>
                      </a:lnTo>
                      <a:lnTo>
                        <a:pt x="164" y="173"/>
                      </a:lnTo>
                      <a:lnTo>
                        <a:pt x="163" y="173"/>
                      </a:lnTo>
                      <a:lnTo>
                        <a:pt x="163" y="173"/>
                      </a:lnTo>
                      <a:lnTo>
                        <a:pt x="163" y="173"/>
                      </a:lnTo>
                      <a:lnTo>
                        <a:pt x="163" y="172"/>
                      </a:lnTo>
                      <a:lnTo>
                        <a:pt x="162" y="172"/>
                      </a:lnTo>
                      <a:lnTo>
                        <a:pt x="162" y="171"/>
                      </a:lnTo>
                      <a:lnTo>
                        <a:pt x="162" y="171"/>
                      </a:lnTo>
                      <a:lnTo>
                        <a:pt x="162" y="170"/>
                      </a:lnTo>
                      <a:lnTo>
                        <a:pt x="162" y="170"/>
                      </a:lnTo>
                      <a:lnTo>
                        <a:pt x="162" y="169"/>
                      </a:lnTo>
                      <a:lnTo>
                        <a:pt x="162" y="168"/>
                      </a:lnTo>
                      <a:lnTo>
                        <a:pt x="163" y="168"/>
                      </a:lnTo>
                      <a:lnTo>
                        <a:pt x="163" y="168"/>
                      </a:lnTo>
                      <a:lnTo>
                        <a:pt x="163" y="167"/>
                      </a:lnTo>
                      <a:lnTo>
                        <a:pt x="164" y="167"/>
                      </a:lnTo>
                      <a:lnTo>
                        <a:pt x="164" y="167"/>
                      </a:lnTo>
                      <a:lnTo>
                        <a:pt x="165" y="167"/>
                      </a:lnTo>
                      <a:lnTo>
                        <a:pt x="165" y="167"/>
                      </a:lnTo>
                      <a:lnTo>
                        <a:pt x="166" y="167"/>
                      </a:lnTo>
                      <a:lnTo>
                        <a:pt x="166" y="167"/>
                      </a:lnTo>
                      <a:lnTo>
                        <a:pt x="166" y="167"/>
                      </a:lnTo>
                      <a:lnTo>
                        <a:pt x="166" y="167"/>
                      </a:lnTo>
                      <a:lnTo>
                        <a:pt x="167" y="167"/>
                      </a:lnTo>
                      <a:lnTo>
                        <a:pt x="167" y="167"/>
                      </a:lnTo>
                      <a:lnTo>
                        <a:pt x="167" y="167"/>
                      </a:lnTo>
                      <a:lnTo>
                        <a:pt x="166" y="167"/>
                      </a:lnTo>
                      <a:lnTo>
                        <a:pt x="166" y="167"/>
                      </a:lnTo>
                      <a:lnTo>
                        <a:pt x="166" y="166"/>
                      </a:lnTo>
                      <a:lnTo>
                        <a:pt x="167" y="166"/>
                      </a:lnTo>
                      <a:lnTo>
                        <a:pt x="167" y="166"/>
                      </a:lnTo>
                      <a:lnTo>
                        <a:pt x="167" y="166"/>
                      </a:lnTo>
                      <a:lnTo>
                        <a:pt x="168" y="165"/>
                      </a:lnTo>
                      <a:lnTo>
                        <a:pt x="168" y="164"/>
                      </a:lnTo>
                      <a:lnTo>
                        <a:pt x="168" y="164"/>
                      </a:lnTo>
                      <a:lnTo>
                        <a:pt x="169" y="164"/>
                      </a:lnTo>
                      <a:lnTo>
                        <a:pt x="169" y="163"/>
                      </a:lnTo>
                      <a:lnTo>
                        <a:pt x="170" y="163"/>
                      </a:lnTo>
                      <a:lnTo>
                        <a:pt x="170" y="163"/>
                      </a:lnTo>
                      <a:lnTo>
                        <a:pt x="170" y="163"/>
                      </a:lnTo>
                      <a:lnTo>
                        <a:pt x="171" y="163"/>
                      </a:lnTo>
                      <a:lnTo>
                        <a:pt x="171" y="163"/>
                      </a:lnTo>
                      <a:lnTo>
                        <a:pt x="172" y="162"/>
                      </a:lnTo>
                      <a:lnTo>
                        <a:pt x="173" y="162"/>
                      </a:lnTo>
                      <a:lnTo>
                        <a:pt x="174" y="162"/>
                      </a:lnTo>
                      <a:lnTo>
                        <a:pt x="174" y="162"/>
                      </a:lnTo>
                      <a:lnTo>
                        <a:pt x="174" y="162"/>
                      </a:lnTo>
                      <a:lnTo>
                        <a:pt x="174" y="162"/>
                      </a:lnTo>
                      <a:lnTo>
                        <a:pt x="174" y="162"/>
                      </a:lnTo>
                      <a:lnTo>
                        <a:pt x="174" y="162"/>
                      </a:lnTo>
                      <a:lnTo>
                        <a:pt x="174" y="162"/>
                      </a:lnTo>
                      <a:lnTo>
                        <a:pt x="175" y="162"/>
                      </a:lnTo>
                      <a:lnTo>
                        <a:pt x="175" y="162"/>
                      </a:lnTo>
                      <a:lnTo>
                        <a:pt x="176" y="161"/>
                      </a:lnTo>
                      <a:lnTo>
                        <a:pt x="177" y="161"/>
                      </a:lnTo>
                      <a:lnTo>
                        <a:pt x="177" y="160"/>
                      </a:lnTo>
                      <a:lnTo>
                        <a:pt x="177" y="160"/>
                      </a:lnTo>
                      <a:lnTo>
                        <a:pt x="177" y="161"/>
                      </a:lnTo>
                      <a:lnTo>
                        <a:pt x="178" y="161"/>
                      </a:lnTo>
                      <a:lnTo>
                        <a:pt x="178" y="160"/>
                      </a:lnTo>
                      <a:lnTo>
                        <a:pt x="178" y="161"/>
                      </a:lnTo>
                      <a:lnTo>
                        <a:pt x="178" y="161"/>
                      </a:lnTo>
                      <a:lnTo>
                        <a:pt x="178" y="161"/>
                      </a:lnTo>
                      <a:lnTo>
                        <a:pt x="178" y="161"/>
                      </a:lnTo>
                      <a:lnTo>
                        <a:pt x="178" y="161"/>
                      </a:lnTo>
                      <a:lnTo>
                        <a:pt x="178" y="162"/>
                      </a:lnTo>
                      <a:lnTo>
                        <a:pt x="178" y="161"/>
                      </a:lnTo>
                      <a:lnTo>
                        <a:pt x="178" y="161"/>
                      </a:lnTo>
                      <a:lnTo>
                        <a:pt x="178" y="161"/>
                      </a:lnTo>
                      <a:lnTo>
                        <a:pt x="178" y="161"/>
                      </a:lnTo>
                      <a:lnTo>
                        <a:pt x="178" y="161"/>
                      </a:lnTo>
                      <a:lnTo>
                        <a:pt x="178" y="160"/>
                      </a:lnTo>
                      <a:lnTo>
                        <a:pt x="178" y="161"/>
                      </a:lnTo>
                      <a:lnTo>
                        <a:pt x="177" y="160"/>
                      </a:lnTo>
                      <a:lnTo>
                        <a:pt x="177" y="160"/>
                      </a:lnTo>
                      <a:lnTo>
                        <a:pt x="178" y="160"/>
                      </a:lnTo>
                      <a:lnTo>
                        <a:pt x="178" y="159"/>
                      </a:lnTo>
                      <a:lnTo>
                        <a:pt x="178" y="159"/>
                      </a:lnTo>
                      <a:lnTo>
                        <a:pt x="178" y="159"/>
                      </a:lnTo>
                      <a:lnTo>
                        <a:pt x="179" y="159"/>
                      </a:lnTo>
                      <a:lnTo>
                        <a:pt x="179" y="158"/>
                      </a:lnTo>
                      <a:lnTo>
                        <a:pt x="179" y="158"/>
                      </a:lnTo>
                      <a:lnTo>
                        <a:pt x="180" y="158"/>
                      </a:lnTo>
                      <a:lnTo>
                        <a:pt x="180" y="157"/>
                      </a:lnTo>
                      <a:lnTo>
                        <a:pt x="179" y="157"/>
                      </a:lnTo>
                      <a:lnTo>
                        <a:pt x="179" y="158"/>
                      </a:lnTo>
                      <a:lnTo>
                        <a:pt x="180" y="157"/>
                      </a:lnTo>
                      <a:lnTo>
                        <a:pt x="180" y="157"/>
                      </a:lnTo>
                      <a:lnTo>
                        <a:pt x="181" y="156"/>
                      </a:lnTo>
                      <a:lnTo>
                        <a:pt x="181" y="156"/>
                      </a:lnTo>
                      <a:lnTo>
                        <a:pt x="182" y="155"/>
                      </a:lnTo>
                      <a:lnTo>
                        <a:pt x="182" y="155"/>
                      </a:lnTo>
                      <a:lnTo>
                        <a:pt x="183" y="155"/>
                      </a:lnTo>
                      <a:lnTo>
                        <a:pt x="183" y="156"/>
                      </a:lnTo>
                      <a:lnTo>
                        <a:pt x="183" y="156"/>
                      </a:lnTo>
                      <a:lnTo>
                        <a:pt x="184" y="156"/>
                      </a:lnTo>
                      <a:lnTo>
                        <a:pt x="184" y="156"/>
                      </a:lnTo>
                      <a:lnTo>
                        <a:pt x="185" y="156"/>
                      </a:lnTo>
                      <a:lnTo>
                        <a:pt x="185" y="156"/>
                      </a:lnTo>
                      <a:lnTo>
                        <a:pt x="185" y="157"/>
                      </a:lnTo>
                      <a:lnTo>
                        <a:pt x="185" y="157"/>
                      </a:lnTo>
                      <a:lnTo>
                        <a:pt x="184" y="157"/>
                      </a:lnTo>
                      <a:lnTo>
                        <a:pt x="185" y="157"/>
                      </a:lnTo>
                      <a:lnTo>
                        <a:pt x="184" y="157"/>
                      </a:lnTo>
                      <a:lnTo>
                        <a:pt x="185" y="157"/>
                      </a:lnTo>
                      <a:lnTo>
                        <a:pt x="185" y="157"/>
                      </a:lnTo>
                      <a:lnTo>
                        <a:pt x="185" y="157"/>
                      </a:lnTo>
                      <a:lnTo>
                        <a:pt x="186" y="157"/>
                      </a:lnTo>
                      <a:lnTo>
                        <a:pt x="186" y="157"/>
                      </a:lnTo>
                      <a:lnTo>
                        <a:pt x="187" y="157"/>
                      </a:lnTo>
                      <a:lnTo>
                        <a:pt x="188" y="157"/>
                      </a:lnTo>
                      <a:lnTo>
                        <a:pt x="188" y="157"/>
                      </a:lnTo>
                      <a:lnTo>
                        <a:pt x="189" y="157"/>
                      </a:lnTo>
                      <a:lnTo>
                        <a:pt x="189" y="157"/>
                      </a:lnTo>
                      <a:lnTo>
                        <a:pt x="190" y="157"/>
                      </a:lnTo>
                      <a:lnTo>
                        <a:pt x="189" y="157"/>
                      </a:lnTo>
                      <a:lnTo>
                        <a:pt x="190" y="157"/>
                      </a:lnTo>
                      <a:lnTo>
                        <a:pt x="190" y="157"/>
                      </a:lnTo>
                      <a:lnTo>
                        <a:pt x="191" y="157"/>
                      </a:lnTo>
                      <a:lnTo>
                        <a:pt x="191" y="157"/>
                      </a:lnTo>
                      <a:lnTo>
                        <a:pt x="191" y="158"/>
                      </a:lnTo>
                      <a:lnTo>
                        <a:pt x="192" y="158"/>
                      </a:lnTo>
                      <a:lnTo>
                        <a:pt x="192" y="158"/>
                      </a:lnTo>
                      <a:lnTo>
                        <a:pt x="193" y="158"/>
                      </a:lnTo>
                      <a:lnTo>
                        <a:pt x="193" y="159"/>
                      </a:lnTo>
                      <a:lnTo>
                        <a:pt x="193" y="158"/>
                      </a:lnTo>
                      <a:lnTo>
                        <a:pt x="193" y="159"/>
                      </a:lnTo>
                      <a:lnTo>
                        <a:pt x="193" y="159"/>
                      </a:lnTo>
                      <a:lnTo>
                        <a:pt x="194" y="159"/>
                      </a:lnTo>
                      <a:lnTo>
                        <a:pt x="193" y="159"/>
                      </a:lnTo>
                      <a:lnTo>
                        <a:pt x="193" y="160"/>
                      </a:lnTo>
                      <a:lnTo>
                        <a:pt x="193" y="159"/>
                      </a:lnTo>
                      <a:lnTo>
                        <a:pt x="193" y="160"/>
                      </a:lnTo>
                      <a:lnTo>
                        <a:pt x="193" y="160"/>
                      </a:lnTo>
                      <a:lnTo>
                        <a:pt x="192" y="160"/>
                      </a:lnTo>
                      <a:lnTo>
                        <a:pt x="192" y="160"/>
                      </a:lnTo>
                      <a:lnTo>
                        <a:pt x="192" y="160"/>
                      </a:lnTo>
                      <a:lnTo>
                        <a:pt x="192" y="160"/>
                      </a:lnTo>
                      <a:lnTo>
                        <a:pt x="192" y="160"/>
                      </a:lnTo>
                      <a:lnTo>
                        <a:pt x="192" y="161"/>
                      </a:lnTo>
                      <a:lnTo>
                        <a:pt x="191" y="161"/>
                      </a:lnTo>
                      <a:lnTo>
                        <a:pt x="190" y="161"/>
                      </a:lnTo>
                      <a:lnTo>
                        <a:pt x="191" y="161"/>
                      </a:lnTo>
                      <a:lnTo>
                        <a:pt x="191" y="162"/>
                      </a:lnTo>
                      <a:lnTo>
                        <a:pt x="191" y="161"/>
                      </a:lnTo>
                      <a:lnTo>
                        <a:pt x="191" y="162"/>
                      </a:lnTo>
                      <a:lnTo>
                        <a:pt x="191" y="162"/>
                      </a:lnTo>
                      <a:lnTo>
                        <a:pt x="192" y="162"/>
                      </a:lnTo>
                      <a:lnTo>
                        <a:pt x="192" y="163"/>
                      </a:lnTo>
                      <a:lnTo>
                        <a:pt x="192" y="163"/>
                      </a:lnTo>
                      <a:lnTo>
                        <a:pt x="192" y="164"/>
                      </a:lnTo>
                      <a:lnTo>
                        <a:pt x="192" y="164"/>
                      </a:lnTo>
                      <a:lnTo>
                        <a:pt x="192" y="164"/>
                      </a:lnTo>
                      <a:lnTo>
                        <a:pt x="192" y="165"/>
                      </a:lnTo>
                      <a:lnTo>
                        <a:pt x="191" y="165"/>
                      </a:lnTo>
                      <a:lnTo>
                        <a:pt x="191" y="166"/>
                      </a:lnTo>
                      <a:lnTo>
                        <a:pt x="192" y="166"/>
                      </a:lnTo>
                      <a:lnTo>
                        <a:pt x="191" y="166"/>
                      </a:lnTo>
                      <a:lnTo>
                        <a:pt x="191" y="165"/>
                      </a:lnTo>
                      <a:lnTo>
                        <a:pt x="192" y="165"/>
                      </a:lnTo>
                      <a:lnTo>
                        <a:pt x="192" y="164"/>
                      </a:lnTo>
                      <a:lnTo>
                        <a:pt x="192" y="164"/>
                      </a:lnTo>
                      <a:lnTo>
                        <a:pt x="192" y="164"/>
                      </a:lnTo>
                      <a:lnTo>
                        <a:pt x="192" y="164"/>
                      </a:lnTo>
                      <a:lnTo>
                        <a:pt x="193" y="164"/>
                      </a:lnTo>
                      <a:lnTo>
                        <a:pt x="193" y="165"/>
                      </a:lnTo>
                      <a:lnTo>
                        <a:pt x="192" y="166"/>
                      </a:lnTo>
                      <a:lnTo>
                        <a:pt x="192" y="166"/>
                      </a:lnTo>
                      <a:lnTo>
                        <a:pt x="192" y="167"/>
                      </a:lnTo>
                      <a:lnTo>
                        <a:pt x="192" y="166"/>
                      </a:lnTo>
                      <a:lnTo>
                        <a:pt x="192" y="167"/>
                      </a:lnTo>
                      <a:lnTo>
                        <a:pt x="193" y="167"/>
                      </a:lnTo>
                      <a:lnTo>
                        <a:pt x="193" y="167"/>
                      </a:lnTo>
                      <a:lnTo>
                        <a:pt x="193" y="168"/>
                      </a:lnTo>
                      <a:lnTo>
                        <a:pt x="193" y="168"/>
                      </a:lnTo>
                      <a:lnTo>
                        <a:pt x="193" y="168"/>
                      </a:lnTo>
                      <a:lnTo>
                        <a:pt x="194" y="169"/>
                      </a:lnTo>
                      <a:lnTo>
                        <a:pt x="194" y="170"/>
                      </a:lnTo>
                      <a:lnTo>
                        <a:pt x="194" y="170"/>
                      </a:lnTo>
                      <a:lnTo>
                        <a:pt x="194" y="170"/>
                      </a:lnTo>
                      <a:lnTo>
                        <a:pt x="194" y="169"/>
                      </a:lnTo>
                      <a:lnTo>
                        <a:pt x="193" y="168"/>
                      </a:lnTo>
                      <a:lnTo>
                        <a:pt x="193" y="168"/>
                      </a:lnTo>
                      <a:lnTo>
                        <a:pt x="193" y="168"/>
                      </a:lnTo>
                      <a:lnTo>
                        <a:pt x="193" y="167"/>
                      </a:lnTo>
                      <a:lnTo>
                        <a:pt x="193" y="167"/>
                      </a:lnTo>
                      <a:lnTo>
                        <a:pt x="192" y="167"/>
                      </a:lnTo>
                      <a:lnTo>
                        <a:pt x="192" y="166"/>
                      </a:lnTo>
                      <a:lnTo>
                        <a:pt x="193" y="166"/>
                      </a:lnTo>
                      <a:lnTo>
                        <a:pt x="192" y="166"/>
                      </a:lnTo>
                      <a:lnTo>
                        <a:pt x="192" y="166"/>
                      </a:lnTo>
                      <a:lnTo>
                        <a:pt x="193" y="165"/>
                      </a:lnTo>
                      <a:lnTo>
                        <a:pt x="193" y="164"/>
                      </a:lnTo>
                      <a:lnTo>
                        <a:pt x="192" y="164"/>
                      </a:lnTo>
                      <a:lnTo>
                        <a:pt x="192" y="164"/>
                      </a:lnTo>
                      <a:lnTo>
                        <a:pt x="192" y="163"/>
                      </a:lnTo>
                      <a:lnTo>
                        <a:pt x="192" y="163"/>
                      </a:lnTo>
                      <a:lnTo>
                        <a:pt x="192" y="162"/>
                      </a:lnTo>
                      <a:lnTo>
                        <a:pt x="192" y="162"/>
                      </a:lnTo>
                      <a:lnTo>
                        <a:pt x="191" y="162"/>
                      </a:lnTo>
                      <a:lnTo>
                        <a:pt x="191" y="162"/>
                      </a:lnTo>
                      <a:lnTo>
                        <a:pt x="192" y="162"/>
                      </a:lnTo>
                      <a:lnTo>
                        <a:pt x="192" y="161"/>
                      </a:lnTo>
                      <a:lnTo>
                        <a:pt x="192" y="160"/>
                      </a:lnTo>
                      <a:lnTo>
                        <a:pt x="193" y="160"/>
                      </a:lnTo>
                      <a:lnTo>
                        <a:pt x="193" y="160"/>
                      </a:lnTo>
                      <a:lnTo>
                        <a:pt x="194" y="160"/>
                      </a:lnTo>
                      <a:lnTo>
                        <a:pt x="194" y="160"/>
                      </a:lnTo>
                      <a:lnTo>
                        <a:pt x="194" y="160"/>
                      </a:lnTo>
                      <a:lnTo>
                        <a:pt x="194" y="160"/>
                      </a:lnTo>
                      <a:lnTo>
                        <a:pt x="195" y="160"/>
                      </a:lnTo>
                      <a:lnTo>
                        <a:pt x="196" y="160"/>
                      </a:lnTo>
                      <a:lnTo>
                        <a:pt x="196" y="160"/>
                      </a:lnTo>
                      <a:lnTo>
                        <a:pt x="196" y="161"/>
                      </a:lnTo>
                      <a:lnTo>
                        <a:pt x="196" y="162"/>
                      </a:lnTo>
                      <a:lnTo>
                        <a:pt x="197" y="162"/>
                      </a:lnTo>
                      <a:lnTo>
                        <a:pt x="197" y="162"/>
                      </a:lnTo>
                      <a:lnTo>
                        <a:pt x="196" y="162"/>
                      </a:lnTo>
                      <a:lnTo>
                        <a:pt x="197" y="163"/>
                      </a:lnTo>
                      <a:lnTo>
                        <a:pt x="196" y="163"/>
                      </a:lnTo>
                      <a:lnTo>
                        <a:pt x="197" y="163"/>
                      </a:lnTo>
                      <a:lnTo>
                        <a:pt x="197" y="163"/>
                      </a:lnTo>
                      <a:lnTo>
                        <a:pt x="197" y="163"/>
                      </a:lnTo>
                      <a:lnTo>
                        <a:pt x="197" y="164"/>
                      </a:lnTo>
                      <a:lnTo>
                        <a:pt x="197" y="164"/>
                      </a:lnTo>
                      <a:lnTo>
                        <a:pt x="198" y="165"/>
                      </a:lnTo>
                      <a:lnTo>
                        <a:pt x="198" y="166"/>
                      </a:lnTo>
                      <a:lnTo>
                        <a:pt x="198" y="166"/>
                      </a:lnTo>
                      <a:lnTo>
                        <a:pt x="198" y="167"/>
                      </a:lnTo>
                      <a:lnTo>
                        <a:pt x="199" y="167"/>
                      </a:lnTo>
                      <a:lnTo>
                        <a:pt x="199" y="167"/>
                      </a:lnTo>
                      <a:lnTo>
                        <a:pt x="199" y="167"/>
                      </a:lnTo>
                      <a:lnTo>
                        <a:pt x="199" y="168"/>
                      </a:lnTo>
                      <a:lnTo>
                        <a:pt x="200" y="168"/>
                      </a:lnTo>
                      <a:lnTo>
                        <a:pt x="199" y="168"/>
                      </a:lnTo>
                      <a:lnTo>
                        <a:pt x="199" y="167"/>
                      </a:lnTo>
                      <a:lnTo>
                        <a:pt x="200" y="168"/>
                      </a:lnTo>
                      <a:lnTo>
                        <a:pt x="200" y="168"/>
                      </a:lnTo>
                      <a:lnTo>
                        <a:pt x="200" y="168"/>
                      </a:lnTo>
                      <a:lnTo>
                        <a:pt x="200" y="168"/>
                      </a:lnTo>
                      <a:lnTo>
                        <a:pt x="201" y="168"/>
                      </a:lnTo>
                      <a:lnTo>
                        <a:pt x="200" y="168"/>
                      </a:lnTo>
                      <a:lnTo>
                        <a:pt x="201" y="168"/>
                      </a:lnTo>
                      <a:lnTo>
                        <a:pt x="201" y="168"/>
                      </a:lnTo>
                      <a:lnTo>
                        <a:pt x="201" y="168"/>
                      </a:lnTo>
                      <a:lnTo>
                        <a:pt x="201" y="169"/>
                      </a:lnTo>
                      <a:lnTo>
                        <a:pt x="202" y="169"/>
                      </a:lnTo>
                      <a:lnTo>
                        <a:pt x="203" y="169"/>
                      </a:lnTo>
                      <a:lnTo>
                        <a:pt x="203" y="169"/>
                      </a:lnTo>
                      <a:lnTo>
                        <a:pt x="203" y="169"/>
                      </a:lnTo>
                      <a:lnTo>
                        <a:pt x="203" y="169"/>
                      </a:lnTo>
                      <a:lnTo>
                        <a:pt x="204" y="169"/>
                      </a:lnTo>
                      <a:lnTo>
                        <a:pt x="204" y="170"/>
                      </a:lnTo>
                      <a:lnTo>
                        <a:pt x="203" y="170"/>
                      </a:lnTo>
                      <a:lnTo>
                        <a:pt x="203" y="169"/>
                      </a:lnTo>
                      <a:lnTo>
                        <a:pt x="203" y="170"/>
                      </a:lnTo>
                      <a:lnTo>
                        <a:pt x="204" y="170"/>
                      </a:lnTo>
                      <a:lnTo>
                        <a:pt x="204" y="170"/>
                      </a:lnTo>
                      <a:lnTo>
                        <a:pt x="204" y="171"/>
                      </a:lnTo>
                      <a:lnTo>
                        <a:pt x="205" y="171"/>
                      </a:lnTo>
                      <a:lnTo>
                        <a:pt x="205" y="171"/>
                      </a:lnTo>
                      <a:lnTo>
                        <a:pt x="205" y="172"/>
                      </a:lnTo>
                      <a:lnTo>
                        <a:pt x="205" y="172"/>
                      </a:lnTo>
                      <a:lnTo>
                        <a:pt x="206" y="172"/>
                      </a:lnTo>
                      <a:lnTo>
                        <a:pt x="205" y="173"/>
                      </a:lnTo>
                      <a:lnTo>
                        <a:pt x="206" y="173"/>
                      </a:lnTo>
                      <a:lnTo>
                        <a:pt x="206" y="173"/>
                      </a:lnTo>
                      <a:lnTo>
                        <a:pt x="207" y="173"/>
                      </a:lnTo>
                      <a:lnTo>
                        <a:pt x="207" y="174"/>
                      </a:lnTo>
                      <a:lnTo>
                        <a:pt x="208" y="174"/>
                      </a:lnTo>
                      <a:lnTo>
                        <a:pt x="208" y="174"/>
                      </a:lnTo>
                      <a:lnTo>
                        <a:pt x="208" y="174"/>
                      </a:lnTo>
                      <a:lnTo>
                        <a:pt x="208" y="174"/>
                      </a:lnTo>
                      <a:lnTo>
                        <a:pt x="208" y="174"/>
                      </a:lnTo>
                      <a:lnTo>
                        <a:pt x="209" y="174"/>
                      </a:lnTo>
                      <a:lnTo>
                        <a:pt x="209" y="175"/>
                      </a:lnTo>
                      <a:lnTo>
                        <a:pt x="209" y="175"/>
                      </a:lnTo>
                      <a:lnTo>
                        <a:pt x="209" y="175"/>
                      </a:lnTo>
                      <a:lnTo>
                        <a:pt x="209" y="176"/>
                      </a:lnTo>
                      <a:lnTo>
                        <a:pt x="209" y="175"/>
                      </a:lnTo>
                      <a:lnTo>
                        <a:pt x="209" y="175"/>
                      </a:lnTo>
                      <a:lnTo>
                        <a:pt x="209" y="174"/>
                      </a:lnTo>
                      <a:lnTo>
                        <a:pt x="209" y="175"/>
                      </a:lnTo>
                      <a:lnTo>
                        <a:pt x="209" y="174"/>
                      </a:lnTo>
                      <a:lnTo>
                        <a:pt x="209" y="174"/>
                      </a:lnTo>
                      <a:lnTo>
                        <a:pt x="208" y="174"/>
                      </a:lnTo>
                      <a:lnTo>
                        <a:pt x="208" y="174"/>
                      </a:lnTo>
                      <a:lnTo>
                        <a:pt x="208" y="174"/>
                      </a:lnTo>
                      <a:lnTo>
                        <a:pt x="207" y="174"/>
                      </a:lnTo>
                      <a:lnTo>
                        <a:pt x="207" y="173"/>
                      </a:lnTo>
                      <a:lnTo>
                        <a:pt x="207" y="173"/>
                      </a:lnTo>
                      <a:lnTo>
                        <a:pt x="206" y="173"/>
                      </a:lnTo>
                      <a:lnTo>
                        <a:pt x="206" y="173"/>
                      </a:lnTo>
                      <a:lnTo>
                        <a:pt x="206" y="172"/>
                      </a:lnTo>
                      <a:lnTo>
                        <a:pt x="205" y="172"/>
                      </a:lnTo>
                      <a:lnTo>
                        <a:pt x="206" y="172"/>
                      </a:lnTo>
                      <a:lnTo>
                        <a:pt x="205" y="172"/>
                      </a:lnTo>
                      <a:lnTo>
                        <a:pt x="205" y="172"/>
                      </a:lnTo>
                      <a:lnTo>
                        <a:pt x="205" y="171"/>
                      </a:lnTo>
                      <a:lnTo>
                        <a:pt x="205" y="171"/>
                      </a:lnTo>
                      <a:lnTo>
                        <a:pt x="205" y="170"/>
                      </a:lnTo>
                      <a:lnTo>
                        <a:pt x="204" y="170"/>
                      </a:lnTo>
                      <a:lnTo>
                        <a:pt x="205" y="170"/>
                      </a:lnTo>
                      <a:lnTo>
                        <a:pt x="204" y="170"/>
                      </a:lnTo>
                      <a:lnTo>
                        <a:pt x="204" y="170"/>
                      </a:lnTo>
                      <a:lnTo>
                        <a:pt x="204" y="170"/>
                      </a:lnTo>
                      <a:lnTo>
                        <a:pt x="204" y="170"/>
                      </a:lnTo>
                      <a:lnTo>
                        <a:pt x="204" y="170"/>
                      </a:lnTo>
                      <a:lnTo>
                        <a:pt x="204" y="169"/>
                      </a:lnTo>
                      <a:lnTo>
                        <a:pt x="203" y="169"/>
                      </a:lnTo>
                      <a:lnTo>
                        <a:pt x="203" y="169"/>
                      </a:lnTo>
                      <a:lnTo>
                        <a:pt x="202" y="169"/>
                      </a:lnTo>
                      <a:lnTo>
                        <a:pt x="201" y="169"/>
                      </a:lnTo>
                      <a:lnTo>
                        <a:pt x="201" y="168"/>
                      </a:lnTo>
                      <a:lnTo>
                        <a:pt x="201" y="168"/>
                      </a:lnTo>
                      <a:lnTo>
                        <a:pt x="201" y="167"/>
                      </a:lnTo>
                      <a:lnTo>
                        <a:pt x="201" y="167"/>
                      </a:lnTo>
                      <a:lnTo>
                        <a:pt x="202" y="167"/>
                      </a:lnTo>
                      <a:lnTo>
                        <a:pt x="202" y="167"/>
                      </a:lnTo>
                      <a:lnTo>
                        <a:pt x="203" y="167"/>
                      </a:lnTo>
                      <a:lnTo>
                        <a:pt x="203" y="167"/>
                      </a:lnTo>
                      <a:lnTo>
                        <a:pt x="203" y="167"/>
                      </a:lnTo>
                      <a:lnTo>
                        <a:pt x="202" y="167"/>
                      </a:lnTo>
                      <a:lnTo>
                        <a:pt x="202" y="166"/>
                      </a:lnTo>
                      <a:lnTo>
                        <a:pt x="202" y="166"/>
                      </a:lnTo>
                      <a:lnTo>
                        <a:pt x="203" y="166"/>
                      </a:lnTo>
                      <a:lnTo>
                        <a:pt x="203" y="166"/>
                      </a:lnTo>
                      <a:lnTo>
                        <a:pt x="203" y="166"/>
                      </a:lnTo>
                      <a:lnTo>
                        <a:pt x="204" y="166"/>
                      </a:lnTo>
                      <a:lnTo>
                        <a:pt x="204" y="166"/>
                      </a:lnTo>
                      <a:lnTo>
                        <a:pt x="204" y="166"/>
                      </a:lnTo>
                      <a:lnTo>
                        <a:pt x="203" y="166"/>
                      </a:lnTo>
                      <a:lnTo>
                        <a:pt x="203" y="166"/>
                      </a:lnTo>
                      <a:lnTo>
                        <a:pt x="203" y="166"/>
                      </a:lnTo>
                      <a:lnTo>
                        <a:pt x="203" y="166"/>
                      </a:lnTo>
                      <a:lnTo>
                        <a:pt x="202" y="165"/>
                      </a:lnTo>
                      <a:lnTo>
                        <a:pt x="202" y="166"/>
                      </a:lnTo>
                      <a:lnTo>
                        <a:pt x="202" y="166"/>
                      </a:lnTo>
                      <a:lnTo>
                        <a:pt x="202" y="167"/>
                      </a:lnTo>
                      <a:lnTo>
                        <a:pt x="203" y="167"/>
                      </a:lnTo>
                      <a:lnTo>
                        <a:pt x="202" y="167"/>
                      </a:lnTo>
                      <a:lnTo>
                        <a:pt x="202" y="167"/>
                      </a:lnTo>
                      <a:lnTo>
                        <a:pt x="201" y="167"/>
                      </a:lnTo>
                      <a:lnTo>
                        <a:pt x="201" y="167"/>
                      </a:lnTo>
                      <a:lnTo>
                        <a:pt x="201" y="168"/>
                      </a:lnTo>
                      <a:lnTo>
                        <a:pt x="201" y="168"/>
                      </a:lnTo>
                      <a:lnTo>
                        <a:pt x="201" y="168"/>
                      </a:lnTo>
                      <a:lnTo>
                        <a:pt x="200" y="168"/>
                      </a:lnTo>
                      <a:lnTo>
                        <a:pt x="200" y="168"/>
                      </a:lnTo>
                      <a:lnTo>
                        <a:pt x="200" y="167"/>
                      </a:lnTo>
                      <a:lnTo>
                        <a:pt x="199" y="167"/>
                      </a:lnTo>
                      <a:lnTo>
                        <a:pt x="200" y="167"/>
                      </a:lnTo>
                      <a:lnTo>
                        <a:pt x="199" y="167"/>
                      </a:lnTo>
                      <a:lnTo>
                        <a:pt x="199" y="167"/>
                      </a:lnTo>
                      <a:lnTo>
                        <a:pt x="199" y="167"/>
                      </a:lnTo>
                      <a:lnTo>
                        <a:pt x="199" y="167"/>
                      </a:lnTo>
                      <a:lnTo>
                        <a:pt x="199" y="167"/>
                      </a:lnTo>
                      <a:lnTo>
                        <a:pt x="199" y="167"/>
                      </a:lnTo>
                      <a:lnTo>
                        <a:pt x="199" y="167"/>
                      </a:lnTo>
                      <a:lnTo>
                        <a:pt x="199" y="166"/>
                      </a:lnTo>
                      <a:lnTo>
                        <a:pt x="199" y="167"/>
                      </a:lnTo>
                      <a:lnTo>
                        <a:pt x="199" y="166"/>
                      </a:lnTo>
                      <a:lnTo>
                        <a:pt x="199" y="166"/>
                      </a:lnTo>
                      <a:lnTo>
                        <a:pt x="199" y="166"/>
                      </a:lnTo>
                      <a:lnTo>
                        <a:pt x="199" y="166"/>
                      </a:lnTo>
                      <a:lnTo>
                        <a:pt x="198" y="166"/>
                      </a:lnTo>
                      <a:lnTo>
                        <a:pt x="198" y="165"/>
                      </a:lnTo>
                      <a:lnTo>
                        <a:pt x="199" y="165"/>
                      </a:lnTo>
                      <a:lnTo>
                        <a:pt x="199" y="166"/>
                      </a:lnTo>
                      <a:lnTo>
                        <a:pt x="199" y="165"/>
                      </a:lnTo>
                      <a:lnTo>
                        <a:pt x="198" y="165"/>
                      </a:lnTo>
                      <a:lnTo>
                        <a:pt x="198" y="164"/>
                      </a:lnTo>
                      <a:lnTo>
                        <a:pt x="198" y="164"/>
                      </a:lnTo>
                      <a:lnTo>
                        <a:pt x="197" y="164"/>
                      </a:lnTo>
                      <a:lnTo>
                        <a:pt x="198" y="164"/>
                      </a:lnTo>
                      <a:lnTo>
                        <a:pt x="197" y="164"/>
                      </a:lnTo>
                      <a:lnTo>
                        <a:pt x="197" y="163"/>
                      </a:lnTo>
                      <a:lnTo>
                        <a:pt x="197" y="163"/>
                      </a:lnTo>
                      <a:lnTo>
                        <a:pt x="197" y="162"/>
                      </a:lnTo>
                      <a:lnTo>
                        <a:pt x="197" y="162"/>
                      </a:lnTo>
                      <a:lnTo>
                        <a:pt x="197" y="162"/>
                      </a:lnTo>
                      <a:lnTo>
                        <a:pt x="197" y="161"/>
                      </a:lnTo>
                      <a:lnTo>
                        <a:pt x="197" y="162"/>
                      </a:lnTo>
                      <a:lnTo>
                        <a:pt x="197" y="161"/>
                      </a:lnTo>
                      <a:lnTo>
                        <a:pt x="197" y="160"/>
                      </a:lnTo>
                      <a:lnTo>
                        <a:pt x="197" y="160"/>
                      </a:lnTo>
                      <a:lnTo>
                        <a:pt x="197" y="160"/>
                      </a:lnTo>
                      <a:lnTo>
                        <a:pt x="197" y="160"/>
                      </a:lnTo>
                      <a:lnTo>
                        <a:pt x="197" y="160"/>
                      </a:lnTo>
                      <a:lnTo>
                        <a:pt x="197" y="159"/>
                      </a:lnTo>
                      <a:lnTo>
                        <a:pt x="197" y="159"/>
                      </a:lnTo>
                      <a:lnTo>
                        <a:pt x="197" y="159"/>
                      </a:lnTo>
                      <a:lnTo>
                        <a:pt x="197" y="159"/>
                      </a:lnTo>
                      <a:lnTo>
                        <a:pt x="197" y="159"/>
                      </a:lnTo>
                      <a:lnTo>
                        <a:pt x="197" y="158"/>
                      </a:lnTo>
                      <a:lnTo>
                        <a:pt x="197" y="157"/>
                      </a:lnTo>
                      <a:lnTo>
                        <a:pt x="198" y="157"/>
                      </a:lnTo>
                      <a:lnTo>
                        <a:pt x="198" y="157"/>
                      </a:lnTo>
                      <a:lnTo>
                        <a:pt x="198" y="156"/>
                      </a:lnTo>
                      <a:lnTo>
                        <a:pt x="199" y="156"/>
                      </a:lnTo>
                      <a:lnTo>
                        <a:pt x="199" y="156"/>
                      </a:lnTo>
                      <a:lnTo>
                        <a:pt x="199" y="156"/>
                      </a:lnTo>
                      <a:lnTo>
                        <a:pt x="199" y="155"/>
                      </a:lnTo>
                      <a:lnTo>
                        <a:pt x="199" y="155"/>
                      </a:lnTo>
                      <a:lnTo>
                        <a:pt x="200" y="154"/>
                      </a:lnTo>
                      <a:lnTo>
                        <a:pt x="200" y="153"/>
                      </a:lnTo>
                      <a:lnTo>
                        <a:pt x="200" y="153"/>
                      </a:lnTo>
                      <a:lnTo>
                        <a:pt x="201" y="153"/>
                      </a:lnTo>
                      <a:lnTo>
                        <a:pt x="201" y="154"/>
                      </a:lnTo>
                      <a:lnTo>
                        <a:pt x="201" y="153"/>
                      </a:lnTo>
                      <a:lnTo>
                        <a:pt x="201" y="153"/>
                      </a:lnTo>
                      <a:lnTo>
                        <a:pt x="201" y="153"/>
                      </a:lnTo>
                      <a:lnTo>
                        <a:pt x="201" y="153"/>
                      </a:lnTo>
                      <a:lnTo>
                        <a:pt x="200" y="153"/>
                      </a:lnTo>
                      <a:lnTo>
                        <a:pt x="200" y="153"/>
                      </a:lnTo>
                      <a:lnTo>
                        <a:pt x="199" y="152"/>
                      </a:lnTo>
                      <a:lnTo>
                        <a:pt x="199" y="152"/>
                      </a:lnTo>
                      <a:lnTo>
                        <a:pt x="200" y="151"/>
                      </a:lnTo>
                      <a:lnTo>
                        <a:pt x="200" y="151"/>
                      </a:lnTo>
                      <a:lnTo>
                        <a:pt x="200" y="151"/>
                      </a:lnTo>
                      <a:lnTo>
                        <a:pt x="200" y="151"/>
                      </a:lnTo>
                      <a:lnTo>
                        <a:pt x="200" y="151"/>
                      </a:lnTo>
                      <a:lnTo>
                        <a:pt x="200" y="151"/>
                      </a:lnTo>
                      <a:lnTo>
                        <a:pt x="200" y="151"/>
                      </a:lnTo>
                      <a:lnTo>
                        <a:pt x="200" y="151"/>
                      </a:lnTo>
                      <a:lnTo>
                        <a:pt x="200" y="151"/>
                      </a:lnTo>
                      <a:lnTo>
                        <a:pt x="200" y="150"/>
                      </a:lnTo>
                      <a:lnTo>
                        <a:pt x="200" y="151"/>
                      </a:lnTo>
                      <a:lnTo>
                        <a:pt x="200" y="150"/>
                      </a:lnTo>
                      <a:lnTo>
                        <a:pt x="200" y="150"/>
                      </a:lnTo>
                      <a:lnTo>
                        <a:pt x="200" y="149"/>
                      </a:lnTo>
                      <a:lnTo>
                        <a:pt x="200" y="149"/>
                      </a:lnTo>
                      <a:lnTo>
                        <a:pt x="200" y="149"/>
                      </a:lnTo>
                      <a:lnTo>
                        <a:pt x="200" y="149"/>
                      </a:lnTo>
                      <a:lnTo>
                        <a:pt x="200" y="149"/>
                      </a:lnTo>
                      <a:lnTo>
                        <a:pt x="199" y="149"/>
                      </a:lnTo>
                      <a:lnTo>
                        <a:pt x="199" y="148"/>
                      </a:lnTo>
                      <a:lnTo>
                        <a:pt x="199" y="148"/>
                      </a:lnTo>
                      <a:lnTo>
                        <a:pt x="199" y="148"/>
                      </a:lnTo>
                      <a:lnTo>
                        <a:pt x="199" y="148"/>
                      </a:lnTo>
                      <a:lnTo>
                        <a:pt x="200" y="147"/>
                      </a:lnTo>
                      <a:lnTo>
                        <a:pt x="199" y="147"/>
                      </a:lnTo>
                      <a:lnTo>
                        <a:pt x="199" y="148"/>
                      </a:lnTo>
                      <a:lnTo>
                        <a:pt x="199" y="148"/>
                      </a:lnTo>
                      <a:lnTo>
                        <a:pt x="198" y="148"/>
                      </a:lnTo>
                      <a:lnTo>
                        <a:pt x="198" y="147"/>
                      </a:lnTo>
                      <a:lnTo>
                        <a:pt x="197" y="147"/>
                      </a:lnTo>
                      <a:lnTo>
                        <a:pt x="198" y="147"/>
                      </a:lnTo>
                      <a:lnTo>
                        <a:pt x="197" y="147"/>
                      </a:lnTo>
                      <a:lnTo>
                        <a:pt x="197" y="146"/>
                      </a:lnTo>
                      <a:lnTo>
                        <a:pt x="198" y="146"/>
                      </a:lnTo>
                      <a:lnTo>
                        <a:pt x="197" y="146"/>
                      </a:lnTo>
                      <a:lnTo>
                        <a:pt x="197" y="147"/>
                      </a:lnTo>
                      <a:lnTo>
                        <a:pt x="197" y="146"/>
                      </a:lnTo>
                      <a:lnTo>
                        <a:pt x="197" y="146"/>
                      </a:lnTo>
                      <a:lnTo>
                        <a:pt x="196" y="146"/>
                      </a:lnTo>
                      <a:lnTo>
                        <a:pt x="196" y="146"/>
                      </a:lnTo>
                      <a:lnTo>
                        <a:pt x="195" y="146"/>
                      </a:lnTo>
                      <a:lnTo>
                        <a:pt x="194" y="146"/>
                      </a:lnTo>
                      <a:lnTo>
                        <a:pt x="194" y="145"/>
                      </a:lnTo>
                      <a:lnTo>
                        <a:pt x="194" y="145"/>
                      </a:lnTo>
                      <a:lnTo>
                        <a:pt x="194" y="144"/>
                      </a:lnTo>
                      <a:lnTo>
                        <a:pt x="194" y="144"/>
                      </a:lnTo>
                      <a:lnTo>
                        <a:pt x="195" y="144"/>
                      </a:lnTo>
                      <a:lnTo>
                        <a:pt x="195" y="143"/>
                      </a:lnTo>
                      <a:lnTo>
                        <a:pt x="195" y="142"/>
                      </a:lnTo>
                      <a:lnTo>
                        <a:pt x="196" y="142"/>
                      </a:lnTo>
                      <a:lnTo>
                        <a:pt x="196" y="141"/>
                      </a:lnTo>
                      <a:lnTo>
                        <a:pt x="196" y="141"/>
                      </a:lnTo>
                      <a:lnTo>
                        <a:pt x="197" y="140"/>
                      </a:lnTo>
                      <a:lnTo>
                        <a:pt x="197" y="140"/>
                      </a:lnTo>
                      <a:lnTo>
                        <a:pt x="197" y="140"/>
                      </a:lnTo>
                      <a:lnTo>
                        <a:pt x="197" y="139"/>
                      </a:lnTo>
                      <a:lnTo>
                        <a:pt x="197" y="140"/>
                      </a:lnTo>
                      <a:lnTo>
                        <a:pt x="197" y="140"/>
                      </a:lnTo>
                      <a:lnTo>
                        <a:pt x="197" y="140"/>
                      </a:lnTo>
                      <a:lnTo>
                        <a:pt x="197" y="140"/>
                      </a:lnTo>
                      <a:lnTo>
                        <a:pt x="197" y="140"/>
                      </a:lnTo>
                      <a:lnTo>
                        <a:pt x="197" y="140"/>
                      </a:lnTo>
                      <a:lnTo>
                        <a:pt x="197" y="140"/>
                      </a:lnTo>
                      <a:lnTo>
                        <a:pt x="197" y="139"/>
                      </a:lnTo>
                      <a:lnTo>
                        <a:pt x="198" y="139"/>
                      </a:lnTo>
                      <a:lnTo>
                        <a:pt x="198" y="140"/>
                      </a:lnTo>
                      <a:lnTo>
                        <a:pt x="198" y="139"/>
                      </a:lnTo>
                      <a:lnTo>
                        <a:pt x="198" y="140"/>
                      </a:lnTo>
                      <a:lnTo>
                        <a:pt x="198" y="139"/>
                      </a:lnTo>
                      <a:lnTo>
                        <a:pt x="197" y="139"/>
                      </a:lnTo>
                      <a:lnTo>
                        <a:pt x="197" y="139"/>
                      </a:lnTo>
                      <a:lnTo>
                        <a:pt x="197" y="138"/>
                      </a:lnTo>
                      <a:lnTo>
                        <a:pt x="197" y="138"/>
                      </a:lnTo>
                      <a:lnTo>
                        <a:pt x="197" y="137"/>
                      </a:lnTo>
                      <a:lnTo>
                        <a:pt x="197" y="137"/>
                      </a:lnTo>
                      <a:lnTo>
                        <a:pt x="197" y="137"/>
                      </a:lnTo>
                      <a:lnTo>
                        <a:pt x="197" y="137"/>
                      </a:lnTo>
                      <a:lnTo>
                        <a:pt x="197" y="136"/>
                      </a:lnTo>
                      <a:lnTo>
                        <a:pt x="198" y="136"/>
                      </a:lnTo>
                      <a:lnTo>
                        <a:pt x="199" y="136"/>
                      </a:lnTo>
                      <a:lnTo>
                        <a:pt x="198" y="136"/>
                      </a:lnTo>
                      <a:lnTo>
                        <a:pt x="199" y="136"/>
                      </a:lnTo>
                      <a:lnTo>
                        <a:pt x="199" y="136"/>
                      </a:lnTo>
                      <a:lnTo>
                        <a:pt x="200" y="136"/>
                      </a:lnTo>
                      <a:lnTo>
                        <a:pt x="199" y="136"/>
                      </a:lnTo>
                      <a:lnTo>
                        <a:pt x="199" y="135"/>
                      </a:lnTo>
                      <a:lnTo>
                        <a:pt x="199" y="136"/>
                      </a:lnTo>
                      <a:lnTo>
                        <a:pt x="199" y="136"/>
                      </a:lnTo>
                      <a:lnTo>
                        <a:pt x="199" y="135"/>
                      </a:lnTo>
                      <a:lnTo>
                        <a:pt x="199" y="136"/>
                      </a:lnTo>
                      <a:lnTo>
                        <a:pt x="199" y="135"/>
                      </a:lnTo>
                      <a:lnTo>
                        <a:pt x="199" y="136"/>
                      </a:lnTo>
                      <a:lnTo>
                        <a:pt x="199" y="135"/>
                      </a:lnTo>
                      <a:lnTo>
                        <a:pt x="198" y="135"/>
                      </a:lnTo>
                      <a:lnTo>
                        <a:pt x="198" y="136"/>
                      </a:lnTo>
                      <a:lnTo>
                        <a:pt x="197" y="136"/>
                      </a:lnTo>
                      <a:lnTo>
                        <a:pt x="197" y="135"/>
                      </a:lnTo>
                      <a:lnTo>
                        <a:pt x="197" y="135"/>
                      </a:lnTo>
                      <a:lnTo>
                        <a:pt x="198" y="135"/>
                      </a:lnTo>
                      <a:lnTo>
                        <a:pt x="197" y="135"/>
                      </a:lnTo>
                      <a:lnTo>
                        <a:pt x="197" y="134"/>
                      </a:lnTo>
                      <a:lnTo>
                        <a:pt x="198" y="134"/>
                      </a:lnTo>
                      <a:lnTo>
                        <a:pt x="199" y="134"/>
                      </a:lnTo>
                      <a:lnTo>
                        <a:pt x="199" y="134"/>
                      </a:lnTo>
                      <a:lnTo>
                        <a:pt x="199" y="134"/>
                      </a:lnTo>
                      <a:lnTo>
                        <a:pt x="199" y="134"/>
                      </a:lnTo>
                      <a:lnTo>
                        <a:pt x="199" y="134"/>
                      </a:lnTo>
                      <a:lnTo>
                        <a:pt x="198" y="134"/>
                      </a:lnTo>
                      <a:lnTo>
                        <a:pt x="197" y="134"/>
                      </a:lnTo>
                      <a:lnTo>
                        <a:pt x="198" y="134"/>
                      </a:lnTo>
                      <a:lnTo>
                        <a:pt x="198" y="134"/>
                      </a:lnTo>
                      <a:lnTo>
                        <a:pt x="197" y="134"/>
                      </a:lnTo>
                      <a:lnTo>
                        <a:pt x="197" y="134"/>
                      </a:lnTo>
                      <a:lnTo>
                        <a:pt x="198" y="134"/>
                      </a:lnTo>
                      <a:lnTo>
                        <a:pt x="198" y="133"/>
                      </a:lnTo>
                      <a:lnTo>
                        <a:pt x="198" y="133"/>
                      </a:lnTo>
                      <a:lnTo>
                        <a:pt x="198" y="132"/>
                      </a:lnTo>
                      <a:lnTo>
                        <a:pt x="198" y="131"/>
                      </a:lnTo>
                      <a:lnTo>
                        <a:pt x="198" y="131"/>
                      </a:lnTo>
                      <a:lnTo>
                        <a:pt x="198" y="130"/>
                      </a:lnTo>
                      <a:lnTo>
                        <a:pt x="197" y="130"/>
                      </a:lnTo>
                      <a:lnTo>
                        <a:pt x="197" y="130"/>
                      </a:lnTo>
                      <a:lnTo>
                        <a:pt x="196" y="129"/>
                      </a:lnTo>
                      <a:lnTo>
                        <a:pt x="196" y="129"/>
                      </a:lnTo>
                      <a:lnTo>
                        <a:pt x="195" y="129"/>
                      </a:lnTo>
                      <a:lnTo>
                        <a:pt x="194" y="128"/>
                      </a:lnTo>
                      <a:lnTo>
                        <a:pt x="194" y="128"/>
                      </a:lnTo>
                      <a:lnTo>
                        <a:pt x="194" y="127"/>
                      </a:lnTo>
                      <a:lnTo>
                        <a:pt x="193" y="127"/>
                      </a:lnTo>
                      <a:lnTo>
                        <a:pt x="193" y="127"/>
                      </a:lnTo>
                      <a:lnTo>
                        <a:pt x="193" y="127"/>
                      </a:lnTo>
                      <a:lnTo>
                        <a:pt x="192" y="127"/>
                      </a:lnTo>
                      <a:lnTo>
                        <a:pt x="192" y="126"/>
                      </a:lnTo>
                      <a:lnTo>
                        <a:pt x="191" y="126"/>
                      </a:lnTo>
                      <a:lnTo>
                        <a:pt x="191" y="126"/>
                      </a:lnTo>
                      <a:lnTo>
                        <a:pt x="190" y="126"/>
                      </a:lnTo>
                      <a:lnTo>
                        <a:pt x="190" y="125"/>
                      </a:lnTo>
                      <a:lnTo>
                        <a:pt x="191" y="125"/>
                      </a:lnTo>
                      <a:lnTo>
                        <a:pt x="192" y="125"/>
                      </a:lnTo>
                      <a:lnTo>
                        <a:pt x="192" y="125"/>
                      </a:lnTo>
                      <a:lnTo>
                        <a:pt x="193" y="125"/>
                      </a:lnTo>
                      <a:lnTo>
                        <a:pt x="193" y="126"/>
                      </a:lnTo>
                      <a:lnTo>
                        <a:pt x="193" y="126"/>
                      </a:lnTo>
                      <a:lnTo>
                        <a:pt x="194" y="126"/>
                      </a:lnTo>
                      <a:lnTo>
                        <a:pt x="194" y="126"/>
                      </a:lnTo>
                      <a:lnTo>
                        <a:pt x="195" y="126"/>
                      </a:lnTo>
                      <a:lnTo>
                        <a:pt x="196" y="127"/>
                      </a:lnTo>
                      <a:lnTo>
                        <a:pt x="196" y="127"/>
                      </a:lnTo>
                      <a:lnTo>
                        <a:pt x="197" y="127"/>
                      </a:lnTo>
                      <a:lnTo>
                        <a:pt x="197" y="127"/>
                      </a:lnTo>
                      <a:lnTo>
                        <a:pt x="198" y="127"/>
                      </a:lnTo>
                      <a:lnTo>
                        <a:pt x="199" y="127"/>
                      </a:lnTo>
                      <a:lnTo>
                        <a:pt x="199" y="127"/>
                      </a:lnTo>
                      <a:lnTo>
                        <a:pt x="200" y="127"/>
                      </a:lnTo>
                      <a:lnTo>
                        <a:pt x="200" y="127"/>
                      </a:lnTo>
                      <a:lnTo>
                        <a:pt x="201" y="127"/>
                      </a:lnTo>
                      <a:lnTo>
                        <a:pt x="201" y="127"/>
                      </a:lnTo>
                      <a:lnTo>
                        <a:pt x="202" y="127"/>
                      </a:lnTo>
                      <a:lnTo>
                        <a:pt x="203" y="127"/>
                      </a:lnTo>
                      <a:lnTo>
                        <a:pt x="203" y="127"/>
                      </a:lnTo>
                      <a:lnTo>
                        <a:pt x="204" y="127"/>
                      </a:lnTo>
                      <a:lnTo>
                        <a:pt x="204" y="127"/>
                      </a:lnTo>
                      <a:lnTo>
                        <a:pt x="205" y="127"/>
                      </a:lnTo>
                      <a:lnTo>
                        <a:pt x="205" y="127"/>
                      </a:lnTo>
                      <a:lnTo>
                        <a:pt x="207" y="127"/>
                      </a:lnTo>
                      <a:lnTo>
                        <a:pt x="208" y="127"/>
                      </a:lnTo>
                      <a:lnTo>
                        <a:pt x="208" y="127"/>
                      </a:lnTo>
                      <a:lnTo>
                        <a:pt x="209" y="127"/>
                      </a:lnTo>
                      <a:lnTo>
                        <a:pt x="209" y="127"/>
                      </a:lnTo>
                      <a:lnTo>
                        <a:pt x="210" y="127"/>
                      </a:lnTo>
                      <a:lnTo>
                        <a:pt x="210" y="128"/>
                      </a:lnTo>
                      <a:lnTo>
                        <a:pt x="211" y="128"/>
                      </a:lnTo>
                      <a:lnTo>
                        <a:pt x="211" y="128"/>
                      </a:lnTo>
                      <a:lnTo>
                        <a:pt x="212" y="128"/>
                      </a:lnTo>
                      <a:lnTo>
                        <a:pt x="212" y="129"/>
                      </a:lnTo>
                      <a:lnTo>
                        <a:pt x="212" y="129"/>
                      </a:lnTo>
                      <a:lnTo>
                        <a:pt x="212" y="128"/>
                      </a:lnTo>
                      <a:lnTo>
                        <a:pt x="212" y="129"/>
                      </a:lnTo>
                      <a:lnTo>
                        <a:pt x="211" y="129"/>
                      </a:lnTo>
                      <a:lnTo>
                        <a:pt x="212" y="129"/>
                      </a:lnTo>
                      <a:lnTo>
                        <a:pt x="211" y="129"/>
                      </a:lnTo>
                      <a:lnTo>
                        <a:pt x="212" y="129"/>
                      </a:lnTo>
                      <a:lnTo>
                        <a:pt x="212" y="129"/>
                      </a:lnTo>
                      <a:lnTo>
                        <a:pt x="212" y="129"/>
                      </a:lnTo>
                      <a:lnTo>
                        <a:pt x="212" y="130"/>
                      </a:lnTo>
                      <a:lnTo>
                        <a:pt x="212" y="130"/>
                      </a:lnTo>
                      <a:lnTo>
                        <a:pt x="213" y="130"/>
                      </a:lnTo>
                      <a:lnTo>
                        <a:pt x="214" y="130"/>
                      </a:lnTo>
                      <a:lnTo>
                        <a:pt x="214" y="131"/>
                      </a:lnTo>
                      <a:lnTo>
                        <a:pt x="214" y="131"/>
                      </a:lnTo>
                      <a:lnTo>
                        <a:pt x="214" y="131"/>
                      </a:lnTo>
                      <a:lnTo>
                        <a:pt x="215" y="131"/>
                      </a:lnTo>
                      <a:lnTo>
                        <a:pt x="215" y="132"/>
                      </a:lnTo>
                      <a:lnTo>
                        <a:pt x="215" y="132"/>
                      </a:lnTo>
                      <a:lnTo>
                        <a:pt x="215" y="131"/>
                      </a:lnTo>
                      <a:lnTo>
                        <a:pt x="215" y="132"/>
                      </a:lnTo>
                      <a:lnTo>
                        <a:pt x="216" y="132"/>
                      </a:lnTo>
                      <a:lnTo>
                        <a:pt x="216" y="133"/>
                      </a:lnTo>
                      <a:lnTo>
                        <a:pt x="216" y="133"/>
                      </a:lnTo>
                      <a:lnTo>
                        <a:pt x="216" y="133"/>
                      </a:lnTo>
                      <a:lnTo>
                        <a:pt x="217" y="133"/>
                      </a:lnTo>
                      <a:lnTo>
                        <a:pt x="216" y="133"/>
                      </a:lnTo>
                      <a:lnTo>
                        <a:pt x="216" y="133"/>
                      </a:lnTo>
                      <a:lnTo>
                        <a:pt x="215" y="133"/>
                      </a:lnTo>
                      <a:lnTo>
                        <a:pt x="216" y="133"/>
                      </a:lnTo>
                      <a:lnTo>
                        <a:pt x="216" y="133"/>
                      </a:lnTo>
                      <a:lnTo>
                        <a:pt x="216" y="134"/>
                      </a:lnTo>
                      <a:lnTo>
                        <a:pt x="216" y="134"/>
                      </a:lnTo>
                      <a:lnTo>
                        <a:pt x="217" y="134"/>
                      </a:lnTo>
                      <a:lnTo>
                        <a:pt x="217" y="135"/>
                      </a:lnTo>
                      <a:lnTo>
                        <a:pt x="218" y="135"/>
                      </a:lnTo>
                      <a:lnTo>
                        <a:pt x="218" y="136"/>
                      </a:lnTo>
                      <a:lnTo>
                        <a:pt x="218" y="136"/>
                      </a:lnTo>
                      <a:lnTo>
                        <a:pt x="218" y="136"/>
                      </a:lnTo>
                      <a:lnTo>
                        <a:pt x="218" y="137"/>
                      </a:lnTo>
                      <a:lnTo>
                        <a:pt x="218" y="137"/>
                      </a:lnTo>
                      <a:lnTo>
                        <a:pt x="218" y="137"/>
                      </a:lnTo>
                      <a:lnTo>
                        <a:pt x="218" y="137"/>
                      </a:lnTo>
                      <a:lnTo>
                        <a:pt x="218" y="137"/>
                      </a:lnTo>
                      <a:lnTo>
                        <a:pt x="218" y="137"/>
                      </a:lnTo>
                      <a:lnTo>
                        <a:pt x="217" y="137"/>
                      </a:lnTo>
                      <a:lnTo>
                        <a:pt x="216" y="137"/>
                      </a:lnTo>
                      <a:lnTo>
                        <a:pt x="216" y="137"/>
                      </a:lnTo>
                      <a:lnTo>
                        <a:pt x="215" y="137"/>
                      </a:lnTo>
                      <a:lnTo>
                        <a:pt x="215" y="137"/>
                      </a:lnTo>
                      <a:lnTo>
                        <a:pt x="215" y="137"/>
                      </a:lnTo>
                      <a:lnTo>
                        <a:pt x="215" y="137"/>
                      </a:lnTo>
                      <a:lnTo>
                        <a:pt x="214" y="137"/>
                      </a:lnTo>
                      <a:lnTo>
                        <a:pt x="213" y="138"/>
                      </a:lnTo>
                      <a:lnTo>
                        <a:pt x="212" y="138"/>
                      </a:lnTo>
                      <a:lnTo>
                        <a:pt x="212" y="137"/>
                      </a:lnTo>
                      <a:lnTo>
                        <a:pt x="212" y="138"/>
                      </a:lnTo>
                      <a:lnTo>
                        <a:pt x="211" y="138"/>
                      </a:lnTo>
                      <a:lnTo>
                        <a:pt x="211" y="138"/>
                      </a:lnTo>
                      <a:lnTo>
                        <a:pt x="210" y="138"/>
                      </a:lnTo>
                      <a:lnTo>
                        <a:pt x="210" y="138"/>
                      </a:lnTo>
                      <a:lnTo>
                        <a:pt x="209" y="138"/>
                      </a:lnTo>
                      <a:lnTo>
                        <a:pt x="209" y="138"/>
                      </a:lnTo>
                      <a:lnTo>
                        <a:pt x="209" y="138"/>
                      </a:lnTo>
                      <a:lnTo>
                        <a:pt x="208" y="138"/>
                      </a:lnTo>
                      <a:lnTo>
                        <a:pt x="208" y="138"/>
                      </a:lnTo>
                      <a:lnTo>
                        <a:pt x="207" y="138"/>
                      </a:lnTo>
                      <a:lnTo>
                        <a:pt x="207" y="139"/>
                      </a:lnTo>
                      <a:lnTo>
                        <a:pt x="207" y="139"/>
                      </a:lnTo>
                      <a:lnTo>
                        <a:pt x="206" y="139"/>
                      </a:lnTo>
                      <a:lnTo>
                        <a:pt x="207" y="139"/>
                      </a:lnTo>
                      <a:lnTo>
                        <a:pt x="206" y="139"/>
                      </a:lnTo>
                      <a:lnTo>
                        <a:pt x="207" y="139"/>
                      </a:lnTo>
                      <a:lnTo>
                        <a:pt x="207" y="139"/>
                      </a:lnTo>
                      <a:lnTo>
                        <a:pt x="207" y="140"/>
                      </a:lnTo>
                      <a:lnTo>
                        <a:pt x="207" y="140"/>
                      </a:lnTo>
                      <a:lnTo>
                        <a:pt x="207" y="140"/>
                      </a:lnTo>
                      <a:lnTo>
                        <a:pt x="207" y="141"/>
                      </a:lnTo>
                      <a:lnTo>
                        <a:pt x="206" y="141"/>
                      </a:lnTo>
                      <a:lnTo>
                        <a:pt x="205" y="141"/>
                      </a:lnTo>
                      <a:lnTo>
                        <a:pt x="205" y="141"/>
                      </a:lnTo>
                      <a:lnTo>
                        <a:pt x="204" y="141"/>
                      </a:lnTo>
                      <a:lnTo>
                        <a:pt x="204" y="142"/>
                      </a:lnTo>
                      <a:lnTo>
                        <a:pt x="204" y="142"/>
                      </a:lnTo>
                      <a:lnTo>
                        <a:pt x="204" y="142"/>
                      </a:lnTo>
                      <a:lnTo>
                        <a:pt x="204" y="143"/>
                      </a:lnTo>
                      <a:lnTo>
                        <a:pt x="204" y="144"/>
                      </a:lnTo>
                      <a:lnTo>
                        <a:pt x="204" y="144"/>
                      </a:lnTo>
                      <a:lnTo>
                        <a:pt x="203" y="144"/>
                      </a:lnTo>
                      <a:lnTo>
                        <a:pt x="204" y="144"/>
                      </a:lnTo>
                      <a:lnTo>
                        <a:pt x="203" y="144"/>
                      </a:lnTo>
                      <a:lnTo>
                        <a:pt x="204" y="144"/>
                      </a:lnTo>
                      <a:lnTo>
                        <a:pt x="204" y="144"/>
                      </a:lnTo>
                      <a:lnTo>
                        <a:pt x="204" y="145"/>
                      </a:lnTo>
                      <a:lnTo>
                        <a:pt x="205" y="145"/>
                      </a:lnTo>
                      <a:lnTo>
                        <a:pt x="205" y="145"/>
                      </a:lnTo>
                      <a:lnTo>
                        <a:pt x="205" y="145"/>
                      </a:lnTo>
                      <a:lnTo>
                        <a:pt x="206" y="145"/>
                      </a:lnTo>
                      <a:lnTo>
                        <a:pt x="207" y="145"/>
                      </a:lnTo>
                      <a:lnTo>
                        <a:pt x="207" y="146"/>
                      </a:lnTo>
                      <a:lnTo>
                        <a:pt x="208" y="146"/>
                      </a:lnTo>
                      <a:lnTo>
                        <a:pt x="208" y="146"/>
                      </a:lnTo>
                      <a:lnTo>
                        <a:pt x="209" y="146"/>
                      </a:lnTo>
                      <a:lnTo>
                        <a:pt x="209" y="147"/>
                      </a:lnTo>
                      <a:lnTo>
                        <a:pt x="209" y="148"/>
                      </a:lnTo>
                      <a:lnTo>
                        <a:pt x="209" y="148"/>
                      </a:lnTo>
                      <a:lnTo>
                        <a:pt x="209" y="148"/>
                      </a:lnTo>
                      <a:lnTo>
                        <a:pt x="208" y="148"/>
                      </a:lnTo>
                      <a:lnTo>
                        <a:pt x="208" y="148"/>
                      </a:lnTo>
                      <a:lnTo>
                        <a:pt x="208" y="148"/>
                      </a:lnTo>
                      <a:lnTo>
                        <a:pt x="209" y="148"/>
                      </a:lnTo>
                      <a:lnTo>
                        <a:pt x="209" y="148"/>
                      </a:lnTo>
                      <a:lnTo>
                        <a:pt x="209" y="148"/>
                      </a:lnTo>
                      <a:lnTo>
                        <a:pt x="210" y="148"/>
                      </a:lnTo>
                      <a:lnTo>
                        <a:pt x="210" y="149"/>
                      </a:lnTo>
                      <a:lnTo>
                        <a:pt x="211" y="149"/>
                      </a:lnTo>
                      <a:lnTo>
                        <a:pt x="211" y="150"/>
                      </a:lnTo>
                      <a:lnTo>
                        <a:pt x="211" y="150"/>
                      </a:lnTo>
                      <a:lnTo>
                        <a:pt x="211" y="151"/>
                      </a:lnTo>
                      <a:lnTo>
                        <a:pt x="212" y="151"/>
                      </a:lnTo>
                      <a:lnTo>
                        <a:pt x="212" y="151"/>
                      </a:lnTo>
                      <a:lnTo>
                        <a:pt x="212" y="151"/>
                      </a:lnTo>
                      <a:lnTo>
                        <a:pt x="212" y="151"/>
                      </a:lnTo>
                      <a:lnTo>
                        <a:pt x="212" y="152"/>
                      </a:lnTo>
                      <a:lnTo>
                        <a:pt x="211" y="152"/>
                      </a:lnTo>
                      <a:lnTo>
                        <a:pt x="211" y="152"/>
                      </a:lnTo>
                      <a:lnTo>
                        <a:pt x="212" y="152"/>
                      </a:lnTo>
                      <a:lnTo>
                        <a:pt x="211" y="152"/>
                      </a:lnTo>
                      <a:lnTo>
                        <a:pt x="211" y="153"/>
                      </a:lnTo>
                      <a:lnTo>
                        <a:pt x="211" y="153"/>
                      </a:lnTo>
                      <a:lnTo>
                        <a:pt x="211" y="153"/>
                      </a:lnTo>
                      <a:lnTo>
                        <a:pt x="211" y="152"/>
                      </a:lnTo>
                      <a:lnTo>
                        <a:pt x="212" y="152"/>
                      </a:lnTo>
                      <a:lnTo>
                        <a:pt x="211" y="152"/>
                      </a:lnTo>
                      <a:lnTo>
                        <a:pt x="211" y="152"/>
                      </a:lnTo>
                      <a:lnTo>
                        <a:pt x="212" y="152"/>
                      </a:lnTo>
                      <a:lnTo>
                        <a:pt x="212" y="151"/>
                      </a:lnTo>
                      <a:lnTo>
                        <a:pt x="212" y="151"/>
                      </a:lnTo>
                      <a:lnTo>
                        <a:pt x="213" y="151"/>
                      </a:lnTo>
                      <a:lnTo>
                        <a:pt x="214" y="151"/>
                      </a:lnTo>
                      <a:lnTo>
                        <a:pt x="214" y="151"/>
                      </a:lnTo>
                      <a:lnTo>
                        <a:pt x="215" y="151"/>
                      </a:lnTo>
                      <a:lnTo>
                        <a:pt x="215" y="151"/>
                      </a:lnTo>
                      <a:lnTo>
                        <a:pt x="216" y="151"/>
                      </a:lnTo>
                      <a:lnTo>
                        <a:pt x="216" y="151"/>
                      </a:lnTo>
                      <a:lnTo>
                        <a:pt x="217" y="151"/>
                      </a:lnTo>
                      <a:lnTo>
                        <a:pt x="217" y="151"/>
                      </a:lnTo>
                      <a:lnTo>
                        <a:pt x="216" y="151"/>
                      </a:lnTo>
                      <a:lnTo>
                        <a:pt x="216" y="152"/>
                      </a:lnTo>
                      <a:lnTo>
                        <a:pt x="216" y="152"/>
                      </a:lnTo>
                      <a:lnTo>
                        <a:pt x="215" y="152"/>
                      </a:lnTo>
                      <a:lnTo>
                        <a:pt x="215" y="152"/>
                      </a:lnTo>
                      <a:lnTo>
                        <a:pt x="216" y="152"/>
                      </a:lnTo>
                      <a:lnTo>
                        <a:pt x="216" y="153"/>
                      </a:lnTo>
                      <a:lnTo>
                        <a:pt x="215" y="153"/>
                      </a:lnTo>
                      <a:lnTo>
                        <a:pt x="216" y="153"/>
                      </a:lnTo>
                      <a:lnTo>
                        <a:pt x="216" y="153"/>
                      </a:lnTo>
                      <a:lnTo>
                        <a:pt x="216" y="153"/>
                      </a:lnTo>
                      <a:lnTo>
                        <a:pt x="216" y="153"/>
                      </a:lnTo>
                      <a:lnTo>
                        <a:pt x="216" y="154"/>
                      </a:lnTo>
                      <a:lnTo>
                        <a:pt x="216" y="154"/>
                      </a:lnTo>
                      <a:lnTo>
                        <a:pt x="216" y="154"/>
                      </a:lnTo>
                      <a:lnTo>
                        <a:pt x="216" y="154"/>
                      </a:lnTo>
                      <a:lnTo>
                        <a:pt x="216" y="154"/>
                      </a:lnTo>
                      <a:lnTo>
                        <a:pt x="216" y="153"/>
                      </a:lnTo>
                      <a:lnTo>
                        <a:pt x="216" y="153"/>
                      </a:lnTo>
                      <a:lnTo>
                        <a:pt x="216" y="153"/>
                      </a:lnTo>
                      <a:lnTo>
                        <a:pt x="216" y="153"/>
                      </a:lnTo>
                      <a:lnTo>
                        <a:pt x="215" y="153"/>
                      </a:lnTo>
                      <a:lnTo>
                        <a:pt x="216" y="153"/>
                      </a:lnTo>
                      <a:lnTo>
                        <a:pt x="216" y="152"/>
                      </a:lnTo>
                      <a:lnTo>
                        <a:pt x="215" y="152"/>
                      </a:lnTo>
                      <a:lnTo>
                        <a:pt x="216" y="152"/>
                      </a:lnTo>
                      <a:lnTo>
                        <a:pt x="216" y="152"/>
                      </a:lnTo>
                      <a:lnTo>
                        <a:pt x="216" y="152"/>
                      </a:lnTo>
                      <a:lnTo>
                        <a:pt x="217" y="151"/>
                      </a:lnTo>
                      <a:lnTo>
                        <a:pt x="216" y="151"/>
                      </a:lnTo>
                      <a:lnTo>
                        <a:pt x="217" y="151"/>
                      </a:lnTo>
                      <a:lnTo>
                        <a:pt x="216" y="151"/>
                      </a:lnTo>
                      <a:lnTo>
                        <a:pt x="217" y="151"/>
                      </a:lnTo>
                      <a:lnTo>
                        <a:pt x="218" y="151"/>
                      </a:lnTo>
                      <a:lnTo>
                        <a:pt x="218" y="151"/>
                      </a:lnTo>
                      <a:lnTo>
                        <a:pt x="219" y="151"/>
                      </a:lnTo>
                      <a:lnTo>
                        <a:pt x="219" y="151"/>
                      </a:lnTo>
                      <a:lnTo>
                        <a:pt x="219" y="151"/>
                      </a:lnTo>
                      <a:lnTo>
                        <a:pt x="220" y="151"/>
                      </a:lnTo>
                      <a:lnTo>
                        <a:pt x="219" y="151"/>
                      </a:lnTo>
                      <a:lnTo>
                        <a:pt x="220" y="151"/>
                      </a:lnTo>
                      <a:lnTo>
                        <a:pt x="219" y="151"/>
                      </a:lnTo>
                      <a:lnTo>
                        <a:pt x="220" y="151"/>
                      </a:lnTo>
                      <a:lnTo>
                        <a:pt x="219" y="151"/>
                      </a:lnTo>
                      <a:lnTo>
                        <a:pt x="220" y="151"/>
                      </a:lnTo>
                      <a:lnTo>
                        <a:pt x="219" y="151"/>
                      </a:lnTo>
                      <a:lnTo>
                        <a:pt x="219" y="152"/>
                      </a:lnTo>
                      <a:lnTo>
                        <a:pt x="220" y="151"/>
                      </a:lnTo>
                      <a:lnTo>
                        <a:pt x="220" y="152"/>
                      </a:lnTo>
                      <a:lnTo>
                        <a:pt x="220" y="151"/>
                      </a:lnTo>
                      <a:lnTo>
                        <a:pt x="219" y="151"/>
                      </a:lnTo>
                      <a:lnTo>
                        <a:pt x="220" y="151"/>
                      </a:lnTo>
                      <a:lnTo>
                        <a:pt x="219" y="151"/>
                      </a:lnTo>
                      <a:lnTo>
                        <a:pt x="220" y="151"/>
                      </a:lnTo>
                      <a:lnTo>
                        <a:pt x="219" y="151"/>
                      </a:lnTo>
                      <a:lnTo>
                        <a:pt x="220" y="151"/>
                      </a:lnTo>
                      <a:lnTo>
                        <a:pt x="220" y="151"/>
                      </a:lnTo>
                      <a:lnTo>
                        <a:pt x="220" y="151"/>
                      </a:lnTo>
                      <a:lnTo>
                        <a:pt x="221" y="151"/>
                      </a:lnTo>
                      <a:lnTo>
                        <a:pt x="222" y="151"/>
                      </a:lnTo>
                      <a:lnTo>
                        <a:pt x="222" y="150"/>
                      </a:lnTo>
                      <a:lnTo>
                        <a:pt x="223" y="150"/>
                      </a:lnTo>
                      <a:lnTo>
                        <a:pt x="223" y="150"/>
                      </a:lnTo>
                      <a:lnTo>
                        <a:pt x="224" y="150"/>
                      </a:lnTo>
                      <a:lnTo>
                        <a:pt x="224" y="150"/>
                      </a:lnTo>
                      <a:lnTo>
                        <a:pt x="225" y="150"/>
                      </a:lnTo>
                      <a:lnTo>
                        <a:pt x="225" y="151"/>
                      </a:lnTo>
                      <a:lnTo>
                        <a:pt x="224" y="151"/>
                      </a:lnTo>
                      <a:lnTo>
                        <a:pt x="225" y="151"/>
                      </a:lnTo>
                      <a:lnTo>
                        <a:pt x="226" y="151"/>
                      </a:lnTo>
                      <a:lnTo>
                        <a:pt x="226" y="151"/>
                      </a:lnTo>
                      <a:lnTo>
                        <a:pt x="226" y="151"/>
                      </a:lnTo>
                      <a:lnTo>
                        <a:pt x="226" y="151"/>
                      </a:lnTo>
                      <a:lnTo>
                        <a:pt x="226" y="152"/>
                      </a:lnTo>
                      <a:lnTo>
                        <a:pt x="226" y="152"/>
                      </a:lnTo>
                      <a:lnTo>
                        <a:pt x="226" y="152"/>
                      </a:lnTo>
                      <a:lnTo>
                        <a:pt x="227" y="152"/>
                      </a:lnTo>
                      <a:lnTo>
                        <a:pt x="227" y="152"/>
                      </a:lnTo>
                      <a:lnTo>
                        <a:pt x="226" y="152"/>
                      </a:lnTo>
                      <a:lnTo>
                        <a:pt x="227" y="152"/>
                      </a:lnTo>
                      <a:lnTo>
                        <a:pt x="227" y="152"/>
                      </a:lnTo>
                      <a:lnTo>
                        <a:pt x="227" y="152"/>
                      </a:lnTo>
                      <a:lnTo>
                        <a:pt x="227" y="153"/>
                      </a:lnTo>
                      <a:lnTo>
                        <a:pt x="227" y="153"/>
                      </a:lnTo>
                      <a:lnTo>
                        <a:pt x="228" y="153"/>
                      </a:lnTo>
                      <a:lnTo>
                        <a:pt x="227" y="153"/>
                      </a:lnTo>
                      <a:lnTo>
                        <a:pt x="227" y="153"/>
                      </a:lnTo>
                      <a:lnTo>
                        <a:pt x="227" y="153"/>
                      </a:lnTo>
                      <a:lnTo>
                        <a:pt x="228" y="153"/>
                      </a:lnTo>
                      <a:lnTo>
                        <a:pt x="227" y="153"/>
                      </a:lnTo>
                      <a:lnTo>
                        <a:pt x="227" y="153"/>
                      </a:lnTo>
                      <a:lnTo>
                        <a:pt x="227" y="152"/>
                      </a:lnTo>
                      <a:lnTo>
                        <a:pt x="227" y="152"/>
                      </a:lnTo>
                      <a:lnTo>
                        <a:pt x="227" y="152"/>
                      </a:lnTo>
                      <a:lnTo>
                        <a:pt x="226" y="152"/>
                      </a:lnTo>
                      <a:lnTo>
                        <a:pt x="227" y="152"/>
                      </a:lnTo>
                      <a:lnTo>
                        <a:pt x="227" y="152"/>
                      </a:lnTo>
                      <a:lnTo>
                        <a:pt x="226" y="152"/>
                      </a:lnTo>
                      <a:lnTo>
                        <a:pt x="226" y="152"/>
                      </a:lnTo>
                      <a:lnTo>
                        <a:pt x="226" y="151"/>
                      </a:lnTo>
                      <a:lnTo>
                        <a:pt x="226" y="151"/>
                      </a:lnTo>
                      <a:lnTo>
                        <a:pt x="226" y="151"/>
                      </a:lnTo>
                      <a:lnTo>
                        <a:pt x="226" y="151"/>
                      </a:lnTo>
                      <a:lnTo>
                        <a:pt x="225" y="151"/>
                      </a:lnTo>
                      <a:lnTo>
                        <a:pt x="225" y="150"/>
                      </a:lnTo>
                      <a:lnTo>
                        <a:pt x="225" y="149"/>
                      </a:lnTo>
                      <a:lnTo>
                        <a:pt x="226" y="149"/>
                      </a:lnTo>
                      <a:lnTo>
                        <a:pt x="226" y="149"/>
                      </a:lnTo>
                      <a:lnTo>
                        <a:pt x="226" y="149"/>
                      </a:lnTo>
                      <a:lnTo>
                        <a:pt x="226" y="148"/>
                      </a:lnTo>
                      <a:lnTo>
                        <a:pt x="226" y="148"/>
                      </a:lnTo>
                      <a:lnTo>
                        <a:pt x="226" y="147"/>
                      </a:lnTo>
                      <a:lnTo>
                        <a:pt x="226" y="146"/>
                      </a:lnTo>
                      <a:lnTo>
                        <a:pt x="227" y="146"/>
                      </a:lnTo>
                      <a:lnTo>
                        <a:pt x="227" y="147"/>
                      </a:lnTo>
                      <a:lnTo>
                        <a:pt x="227" y="146"/>
                      </a:lnTo>
                      <a:lnTo>
                        <a:pt x="227" y="147"/>
                      </a:lnTo>
                      <a:lnTo>
                        <a:pt x="227" y="147"/>
                      </a:lnTo>
                      <a:lnTo>
                        <a:pt x="227" y="147"/>
                      </a:lnTo>
                      <a:lnTo>
                        <a:pt x="227" y="146"/>
                      </a:lnTo>
                      <a:lnTo>
                        <a:pt x="227" y="147"/>
                      </a:lnTo>
                      <a:lnTo>
                        <a:pt x="227" y="146"/>
                      </a:lnTo>
                      <a:lnTo>
                        <a:pt x="226" y="146"/>
                      </a:lnTo>
                      <a:lnTo>
                        <a:pt x="226" y="146"/>
                      </a:lnTo>
                      <a:lnTo>
                        <a:pt x="226" y="146"/>
                      </a:lnTo>
                      <a:lnTo>
                        <a:pt x="226" y="146"/>
                      </a:lnTo>
                      <a:lnTo>
                        <a:pt x="226" y="145"/>
                      </a:lnTo>
                      <a:lnTo>
                        <a:pt x="227" y="145"/>
                      </a:lnTo>
                      <a:lnTo>
                        <a:pt x="227" y="145"/>
                      </a:lnTo>
                      <a:lnTo>
                        <a:pt x="226" y="145"/>
                      </a:lnTo>
                      <a:lnTo>
                        <a:pt x="226" y="144"/>
                      </a:lnTo>
                      <a:lnTo>
                        <a:pt x="227" y="144"/>
                      </a:lnTo>
                      <a:lnTo>
                        <a:pt x="227" y="144"/>
                      </a:lnTo>
                      <a:lnTo>
                        <a:pt x="227" y="144"/>
                      </a:lnTo>
                      <a:lnTo>
                        <a:pt x="226" y="144"/>
                      </a:lnTo>
                      <a:lnTo>
                        <a:pt x="227" y="144"/>
                      </a:lnTo>
                      <a:lnTo>
                        <a:pt x="227" y="144"/>
                      </a:lnTo>
                      <a:lnTo>
                        <a:pt x="227" y="144"/>
                      </a:lnTo>
                      <a:lnTo>
                        <a:pt x="228" y="144"/>
                      </a:lnTo>
                      <a:lnTo>
                        <a:pt x="227" y="144"/>
                      </a:lnTo>
                      <a:lnTo>
                        <a:pt x="227" y="144"/>
                      </a:lnTo>
                      <a:lnTo>
                        <a:pt x="227" y="143"/>
                      </a:lnTo>
                      <a:lnTo>
                        <a:pt x="228" y="143"/>
                      </a:lnTo>
                      <a:lnTo>
                        <a:pt x="227" y="143"/>
                      </a:lnTo>
                      <a:lnTo>
                        <a:pt x="228" y="142"/>
                      </a:lnTo>
                      <a:lnTo>
                        <a:pt x="228" y="142"/>
                      </a:lnTo>
                      <a:lnTo>
                        <a:pt x="229" y="142"/>
                      </a:lnTo>
                      <a:lnTo>
                        <a:pt x="228" y="142"/>
                      </a:lnTo>
                      <a:lnTo>
                        <a:pt x="227" y="142"/>
                      </a:lnTo>
                      <a:lnTo>
                        <a:pt x="227" y="141"/>
                      </a:lnTo>
                      <a:lnTo>
                        <a:pt x="227" y="141"/>
                      </a:lnTo>
                      <a:lnTo>
                        <a:pt x="227" y="141"/>
                      </a:lnTo>
                      <a:lnTo>
                        <a:pt x="227" y="140"/>
                      </a:lnTo>
                      <a:lnTo>
                        <a:pt x="228" y="140"/>
                      </a:lnTo>
                      <a:lnTo>
                        <a:pt x="229" y="140"/>
                      </a:lnTo>
                      <a:lnTo>
                        <a:pt x="229" y="140"/>
                      </a:lnTo>
                      <a:lnTo>
                        <a:pt x="229" y="140"/>
                      </a:lnTo>
                      <a:lnTo>
                        <a:pt x="229" y="141"/>
                      </a:lnTo>
                      <a:lnTo>
                        <a:pt x="229" y="140"/>
                      </a:lnTo>
                      <a:lnTo>
                        <a:pt x="230" y="140"/>
                      </a:lnTo>
                      <a:lnTo>
                        <a:pt x="230" y="140"/>
                      </a:lnTo>
                      <a:lnTo>
                        <a:pt x="231" y="140"/>
                      </a:lnTo>
                      <a:lnTo>
                        <a:pt x="231" y="140"/>
                      </a:lnTo>
                      <a:lnTo>
                        <a:pt x="232" y="140"/>
                      </a:lnTo>
                      <a:lnTo>
                        <a:pt x="233" y="140"/>
                      </a:lnTo>
                      <a:lnTo>
                        <a:pt x="233" y="139"/>
                      </a:lnTo>
                      <a:lnTo>
                        <a:pt x="234" y="139"/>
                      </a:lnTo>
                      <a:lnTo>
                        <a:pt x="234" y="139"/>
                      </a:lnTo>
                      <a:lnTo>
                        <a:pt x="234" y="139"/>
                      </a:lnTo>
                      <a:lnTo>
                        <a:pt x="234" y="139"/>
                      </a:lnTo>
                      <a:lnTo>
                        <a:pt x="235" y="139"/>
                      </a:lnTo>
                      <a:lnTo>
                        <a:pt x="234" y="139"/>
                      </a:lnTo>
                      <a:lnTo>
                        <a:pt x="235" y="139"/>
                      </a:lnTo>
                      <a:lnTo>
                        <a:pt x="235" y="139"/>
                      </a:lnTo>
                      <a:lnTo>
                        <a:pt x="235" y="140"/>
                      </a:lnTo>
                      <a:lnTo>
                        <a:pt x="236" y="140"/>
                      </a:lnTo>
                      <a:lnTo>
                        <a:pt x="237" y="140"/>
                      </a:lnTo>
                      <a:lnTo>
                        <a:pt x="236" y="140"/>
                      </a:lnTo>
                      <a:lnTo>
                        <a:pt x="236" y="140"/>
                      </a:lnTo>
                      <a:lnTo>
                        <a:pt x="235" y="140"/>
                      </a:lnTo>
                      <a:lnTo>
                        <a:pt x="236" y="140"/>
                      </a:lnTo>
                      <a:lnTo>
                        <a:pt x="235" y="140"/>
                      </a:lnTo>
                      <a:lnTo>
                        <a:pt x="236" y="140"/>
                      </a:lnTo>
                      <a:lnTo>
                        <a:pt x="236" y="140"/>
                      </a:lnTo>
                      <a:lnTo>
                        <a:pt x="236" y="140"/>
                      </a:lnTo>
                      <a:lnTo>
                        <a:pt x="237" y="140"/>
                      </a:lnTo>
                      <a:lnTo>
                        <a:pt x="237" y="141"/>
                      </a:lnTo>
                      <a:lnTo>
                        <a:pt x="237" y="140"/>
                      </a:lnTo>
                      <a:lnTo>
                        <a:pt x="237" y="141"/>
                      </a:lnTo>
                      <a:lnTo>
                        <a:pt x="237" y="141"/>
                      </a:lnTo>
                      <a:lnTo>
                        <a:pt x="237" y="140"/>
                      </a:lnTo>
                      <a:lnTo>
                        <a:pt x="237" y="140"/>
                      </a:lnTo>
                      <a:lnTo>
                        <a:pt x="237" y="141"/>
                      </a:lnTo>
                      <a:lnTo>
                        <a:pt x="237" y="140"/>
                      </a:lnTo>
                      <a:lnTo>
                        <a:pt x="237" y="141"/>
                      </a:lnTo>
                      <a:lnTo>
                        <a:pt x="237" y="141"/>
                      </a:lnTo>
                      <a:lnTo>
                        <a:pt x="237" y="141"/>
                      </a:lnTo>
                      <a:lnTo>
                        <a:pt x="237" y="141"/>
                      </a:lnTo>
                      <a:lnTo>
                        <a:pt x="237" y="141"/>
                      </a:lnTo>
                      <a:lnTo>
                        <a:pt x="237" y="141"/>
                      </a:lnTo>
                      <a:lnTo>
                        <a:pt x="237" y="141"/>
                      </a:lnTo>
                      <a:lnTo>
                        <a:pt x="237" y="141"/>
                      </a:lnTo>
                      <a:lnTo>
                        <a:pt x="237" y="141"/>
                      </a:lnTo>
                      <a:lnTo>
                        <a:pt x="238" y="141"/>
                      </a:lnTo>
                      <a:lnTo>
                        <a:pt x="238" y="141"/>
                      </a:lnTo>
                      <a:lnTo>
                        <a:pt x="238" y="141"/>
                      </a:lnTo>
                      <a:lnTo>
                        <a:pt x="237" y="141"/>
                      </a:lnTo>
                      <a:lnTo>
                        <a:pt x="237" y="141"/>
                      </a:lnTo>
                      <a:lnTo>
                        <a:pt x="237" y="141"/>
                      </a:lnTo>
                      <a:lnTo>
                        <a:pt x="237" y="141"/>
                      </a:lnTo>
                      <a:lnTo>
                        <a:pt x="237" y="141"/>
                      </a:lnTo>
                      <a:lnTo>
                        <a:pt x="237" y="141"/>
                      </a:lnTo>
                      <a:lnTo>
                        <a:pt x="237" y="141"/>
                      </a:lnTo>
                      <a:lnTo>
                        <a:pt x="237" y="141"/>
                      </a:lnTo>
                      <a:lnTo>
                        <a:pt x="237" y="140"/>
                      </a:lnTo>
                      <a:lnTo>
                        <a:pt x="237" y="140"/>
                      </a:lnTo>
                      <a:lnTo>
                        <a:pt x="237" y="140"/>
                      </a:lnTo>
                      <a:lnTo>
                        <a:pt x="237" y="140"/>
                      </a:lnTo>
                      <a:lnTo>
                        <a:pt x="237" y="140"/>
                      </a:lnTo>
                      <a:lnTo>
                        <a:pt x="237" y="140"/>
                      </a:lnTo>
                      <a:lnTo>
                        <a:pt x="237" y="140"/>
                      </a:lnTo>
                      <a:lnTo>
                        <a:pt x="236" y="140"/>
                      </a:lnTo>
                      <a:lnTo>
                        <a:pt x="236" y="139"/>
                      </a:lnTo>
                      <a:lnTo>
                        <a:pt x="235" y="139"/>
                      </a:lnTo>
                      <a:lnTo>
                        <a:pt x="235" y="138"/>
                      </a:lnTo>
                      <a:lnTo>
                        <a:pt x="235" y="138"/>
                      </a:lnTo>
                      <a:lnTo>
                        <a:pt x="234" y="138"/>
                      </a:lnTo>
                      <a:lnTo>
                        <a:pt x="234" y="139"/>
                      </a:lnTo>
                      <a:lnTo>
                        <a:pt x="234" y="138"/>
                      </a:lnTo>
                      <a:lnTo>
                        <a:pt x="235" y="138"/>
                      </a:lnTo>
                      <a:lnTo>
                        <a:pt x="234" y="138"/>
                      </a:lnTo>
                      <a:lnTo>
                        <a:pt x="235" y="138"/>
                      </a:lnTo>
                      <a:lnTo>
                        <a:pt x="235" y="137"/>
                      </a:lnTo>
                      <a:lnTo>
                        <a:pt x="234" y="137"/>
                      </a:lnTo>
                      <a:lnTo>
                        <a:pt x="234" y="137"/>
                      </a:lnTo>
                      <a:lnTo>
                        <a:pt x="234" y="137"/>
                      </a:lnTo>
                      <a:lnTo>
                        <a:pt x="234" y="137"/>
                      </a:lnTo>
                      <a:lnTo>
                        <a:pt x="234" y="136"/>
                      </a:lnTo>
                      <a:lnTo>
                        <a:pt x="234" y="137"/>
                      </a:lnTo>
                      <a:lnTo>
                        <a:pt x="234" y="136"/>
                      </a:lnTo>
                      <a:lnTo>
                        <a:pt x="233" y="136"/>
                      </a:lnTo>
                      <a:lnTo>
                        <a:pt x="233" y="135"/>
                      </a:lnTo>
                      <a:lnTo>
                        <a:pt x="233" y="136"/>
                      </a:lnTo>
                      <a:lnTo>
                        <a:pt x="234" y="136"/>
                      </a:lnTo>
                      <a:lnTo>
                        <a:pt x="234" y="137"/>
                      </a:lnTo>
                      <a:lnTo>
                        <a:pt x="235" y="137"/>
                      </a:lnTo>
                      <a:lnTo>
                        <a:pt x="235" y="137"/>
                      </a:lnTo>
                      <a:lnTo>
                        <a:pt x="236" y="137"/>
                      </a:lnTo>
                      <a:lnTo>
                        <a:pt x="237" y="137"/>
                      </a:lnTo>
                      <a:lnTo>
                        <a:pt x="237" y="137"/>
                      </a:lnTo>
                      <a:lnTo>
                        <a:pt x="238" y="137"/>
                      </a:lnTo>
                      <a:lnTo>
                        <a:pt x="240" y="136"/>
                      </a:lnTo>
                      <a:lnTo>
                        <a:pt x="240" y="135"/>
                      </a:lnTo>
                      <a:lnTo>
                        <a:pt x="241" y="135"/>
                      </a:lnTo>
                      <a:lnTo>
                        <a:pt x="241" y="135"/>
                      </a:lnTo>
                      <a:lnTo>
                        <a:pt x="243" y="134"/>
                      </a:lnTo>
                      <a:lnTo>
                        <a:pt x="244" y="134"/>
                      </a:lnTo>
                      <a:lnTo>
                        <a:pt x="244" y="134"/>
                      </a:lnTo>
                      <a:lnTo>
                        <a:pt x="245" y="133"/>
                      </a:lnTo>
                      <a:lnTo>
                        <a:pt x="245" y="134"/>
                      </a:lnTo>
                      <a:lnTo>
                        <a:pt x="244" y="134"/>
                      </a:lnTo>
                      <a:lnTo>
                        <a:pt x="244" y="134"/>
                      </a:lnTo>
                      <a:lnTo>
                        <a:pt x="244" y="134"/>
                      </a:lnTo>
                      <a:lnTo>
                        <a:pt x="243" y="134"/>
                      </a:lnTo>
                      <a:lnTo>
                        <a:pt x="243" y="135"/>
                      </a:lnTo>
                      <a:lnTo>
                        <a:pt x="243" y="134"/>
                      </a:lnTo>
                      <a:lnTo>
                        <a:pt x="243" y="135"/>
                      </a:lnTo>
                      <a:lnTo>
                        <a:pt x="244" y="135"/>
                      </a:lnTo>
                      <a:lnTo>
                        <a:pt x="244" y="134"/>
                      </a:lnTo>
                      <a:lnTo>
                        <a:pt x="244" y="134"/>
                      </a:lnTo>
                      <a:lnTo>
                        <a:pt x="244" y="134"/>
                      </a:lnTo>
                      <a:lnTo>
                        <a:pt x="245" y="134"/>
                      </a:lnTo>
                      <a:lnTo>
                        <a:pt x="245" y="134"/>
                      </a:lnTo>
                      <a:lnTo>
                        <a:pt x="245" y="134"/>
                      </a:lnTo>
                      <a:lnTo>
                        <a:pt x="245" y="133"/>
                      </a:lnTo>
                      <a:lnTo>
                        <a:pt x="245" y="134"/>
                      </a:lnTo>
                      <a:lnTo>
                        <a:pt x="245" y="133"/>
                      </a:lnTo>
                      <a:lnTo>
                        <a:pt x="245" y="133"/>
                      </a:lnTo>
                      <a:lnTo>
                        <a:pt x="245" y="133"/>
                      </a:lnTo>
                      <a:lnTo>
                        <a:pt x="246" y="133"/>
                      </a:lnTo>
                      <a:lnTo>
                        <a:pt x="247" y="132"/>
                      </a:lnTo>
                      <a:lnTo>
                        <a:pt x="248" y="131"/>
                      </a:lnTo>
                      <a:lnTo>
                        <a:pt x="248" y="131"/>
                      </a:lnTo>
                      <a:lnTo>
                        <a:pt x="249" y="130"/>
                      </a:lnTo>
                      <a:lnTo>
                        <a:pt x="250" y="130"/>
                      </a:lnTo>
                      <a:lnTo>
                        <a:pt x="250" y="130"/>
                      </a:lnTo>
                      <a:lnTo>
                        <a:pt x="250" y="130"/>
                      </a:lnTo>
                      <a:lnTo>
                        <a:pt x="250" y="129"/>
                      </a:lnTo>
                      <a:lnTo>
                        <a:pt x="251" y="129"/>
                      </a:lnTo>
                      <a:lnTo>
                        <a:pt x="251" y="130"/>
                      </a:lnTo>
                      <a:lnTo>
                        <a:pt x="252" y="130"/>
                      </a:lnTo>
                      <a:lnTo>
                        <a:pt x="252" y="130"/>
                      </a:lnTo>
                      <a:lnTo>
                        <a:pt x="253" y="130"/>
                      </a:lnTo>
                      <a:lnTo>
                        <a:pt x="253" y="130"/>
                      </a:lnTo>
                      <a:lnTo>
                        <a:pt x="253" y="129"/>
                      </a:lnTo>
                      <a:lnTo>
                        <a:pt x="254" y="129"/>
                      </a:lnTo>
                      <a:lnTo>
                        <a:pt x="255" y="129"/>
                      </a:lnTo>
                      <a:lnTo>
                        <a:pt x="255" y="129"/>
                      </a:lnTo>
                      <a:lnTo>
                        <a:pt x="255" y="129"/>
                      </a:lnTo>
                      <a:lnTo>
                        <a:pt x="256" y="129"/>
                      </a:lnTo>
                      <a:lnTo>
                        <a:pt x="256" y="129"/>
                      </a:lnTo>
                      <a:lnTo>
                        <a:pt x="257" y="129"/>
                      </a:lnTo>
                      <a:lnTo>
                        <a:pt x="257" y="129"/>
                      </a:lnTo>
                      <a:lnTo>
                        <a:pt x="257" y="129"/>
                      </a:lnTo>
                      <a:lnTo>
                        <a:pt x="257" y="128"/>
                      </a:lnTo>
                      <a:lnTo>
                        <a:pt x="257" y="128"/>
                      </a:lnTo>
                      <a:lnTo>
                        <a:pt x="257" y="129"/>
                      </a:lnTo>
                      <a:lnTo>
                        <a:pt x="257" y="128"/>
                      </a:lnTo>
                      <a:lnTo>
                        <a:pt x="257" y="129"/>
                      </a:lnTo>
                      <a:lnTo>
                        <a:pt x="256" y="129"/>
                      </a:lnTo>
                      <a:lnTo>
                        <a:pt x="256" y="128"/>
                      </a:lnTo>
                      <a:lnTo>
                        <a:pt x="257" y="128"/>
                      </a:lnTo>
                      <a:lnTo>
                        <a:pt x="257" y="127"/>
                      </a:lnTo>
                      <a:lnTo>
                        <a:pt x="257" y="127"/>
                      </a:lnTo>
                      <a:lnTo>
                        <a:pt x="258" y="127"/>
                      </a:lnTo>
                      <a:lnTo>
                        <a:pt x="259" y="127"/>
                      </a:lnTo>
                      <a:lnTo>
                        <a:pt x="259" y="127"/>
                      </a:lnTo>
                      <a:lnTo>
                        <a:pt x="260" y="127"/>
                      </a:lnTo>
                      <a:lnTo>
                        <a:pt x="260" y="127"/>
                      </a:lnTo>
                      <a:lnTo>
                        <a:pt x="260" y="127"/>
                      </a:lnTo>
                      <a:lnTo>
                        <a:pt x="261" y="127"/>
                      </a:lnTo>
                      <a:lnTo>
                        <a:pt x="262" y="126"/>
                      </a:lnTo>
                      <a:lnTo>
                        <a:pt x="263" y="126"/>
                      </a:lnTo>
                      <a:lnTo>
                        <a:pt x="263" y="127"/>
                      </a:lnTo>
                      <a:lnTo>
                        <a:pt x="263" y="126"/>
                      </a:lnTo>
                      <a:lnTo>
                        <a:pt x="263" y="127"/>
                      </a:lnTo>
                      <a:lnTo>
                        <a:pt x="262" y="127"/>
                      </a:lnTo>
                      <a:lnTo>
                        <a:pt x="263" y="127"/>
                      </a:lnTo>
                      <a:lnTo>
                        <a:pt x="262" y="127"/>
                      </a:lnTo>
                      <a:lnTo>
                        <a:pt x="261" y="127"/>
                      </a:lnTo>
                      <a:lnTo>
                        <a:pt x="261" y="127"/>
                      </a:lnTo>
                      <a:lnTo>
                        <a:pt x="261" y="127"/>
                      </a:lnTo>
                      <a:lnTo>
                        <a:pt x="260" y="127"/>
                      </a:lnTo>
                      <a:lnTo>
                        <a:pt x="261" y="127"/>
                      </a:lnTo>
                      <a:lnTo>
                        <a:pt x="261" y="128"/>
                      </a:lnTo>
                      <a:lnTo>
                        <a:pt x="261" y="127"/>
                      </a:lnTo>
                      <a:lnTo>
                        <a:pt x="261" y="127"/>
                      </a:lnTo>
                      <a:lnTo>
                        <a:pt x="262" y="127"/>
                      </a:lnTo>
                      <a:lnTo>
                        <a:pt x="262" y="128"/>
                      </a:lnTo>
                      <a:lnTo>
                        <a:pt x="263" y="128"/>
                      </a:lnTo>
                      <a:lnTo>
                        <a:pt x="262" y="128"/>
                      </a:lnTo>
                      <a:lnTo>
                        <a:pt x="263" y="128"/>
                      </a:lnTo>
                      <a:lnTo>
                        <a:pt x="263" y="128"/>
                      </a:lnTo>
                      <a:lnTo>
                        <a:pt x="263" y="128"/>
                      </a:lnTo>
                      <a:lnTo>
                        <a:pt x="263" y="129"/>
                      </a:lnTo>
                      <a:lnTo>
                        <a:pt x="263" y="129"/>
                      </a:lnTo>
                      <a:lnTo>
                        <a:pt x="262" y="129"/>
                      </a:lnTo>
                      <a:lnTo>
                        <a:pt x="261" y="129"/>
                      </a:lnTo>
                      <a:lnTo>
                        <a:pt x="262" y="129"/>
                      </a:lnTo>
                      <a:lnTo>
                        <a:pt x="261" y="129"/>
                      </a:lnTo>
                      <a:lnTo>
                        <a:pt x="261" y="130"/>
                      </a:lnTo>
                      <a:lnTo>
                        <a:pt x="262" y="130"/>
                      </a:lnTo>
                      <a:lnTo>
                        <a:pt x="263" y="130"/>
                      </a:lnTo>
                      <a:lnTo>
                        <a:pt x="263" y="130"/>
                      </a:lnTo>
                      <a:lnTo>
                        <a:pt x="263" y="130"/>
                      </a:lnTo>
                      <a:lnTo>
                        <a:pt x="263" y="130"/>
                      </a:lnTo>
                      <a:lnTo>
                        <a:pt x="263" y="131"/>
                      </a:lnTo>
                      <a:lnTo>
                        <a:pt x="263" y="130"/>
                      </a:lnTo>
                      <a:lnTo>
                        <a:pt x="263" y="130"/>
                      </a:lnTo>
                      <a:lnTo>
                        <a:pt x="263" y="130"/>
                      </a:lnTo>
                      <a:lnTo>
                        <a:pt x="263" y="130"/>
                      </a:lnTo>
                      <a:lnTo>
                        <a:pt x="263" y="130"/>
                      </a:lnTo>
                      <a:lnTo>
                        <a:pt x="263" y="130"/>
                      </a:lnTo>
                      <a:lnTo>
                        <a:pt x="263" y="130"/>
                      </a:lnTo>
                      <a:lnTo>
                        <a:pt x="264" y="130"/>
                      </a:lnTo>
                      <a:lnTo>
                        <a:pt x="264" y="130"/>
                      </a:lnTo>
                      <a:lnTo>
                        <a:pt x="265" y="129"/>
                      </a:lnTo>
                      <a:lnTo>
                        <a:pt x="265" y="130"/>
                      </a:lnTo>
                      <a:lnTo>
                        <a:pt x="265" y="129"/>
                      </a:lnTo>
                      <a:lnTo>
                        <a:pt x="266" y="129"/>
                      </a:lnTo>
                      <a:lnTo>
                        <a:pt x="266" y="129"/>
                      </a:lnTo>
                      <a:lnTo>
                        <a:pt x="266" y="129"/>
                      </a:lnTo>
                      <a:lnTo>
                        <a:pt x="266" y="128"/>
                      </a:lnTo>
                      <a:lnTo>
                        <a:pt x="267" y="128"/>
                      </a:lnTo>
                      <a:lnTo>
                        <a:pt x="266" y="128"/>
                      </a:lnTo>
                      <a:lnTo>
                        <a:pt x="267" y="128"/>
                      </a:lnTo>
                      <a:lnTo>
                        <a:pt x="267" y="127"/>
                      </a:lnTo>
                      <a:lnTo>
                        <a:pt x="266" y="128"/>
                      </a:lnTo>
                      <a:lnTo>
                        <a:pt x="266" y="127"/>
                      </a:lnTo>
                      <a:lnTo>
                        <a:pt x="266" y="127"/>
                      </a:lnTo>
                      <a:lnTo>
                        <a:pt x="265" y="127"/>
                      </a:lnTo>
                      <a:lnTo>
                        <a:pt x="265" y="127"/>
                      </a:lnTo>
                      <a:lnTo>
                        <a:pt x="265" y="126"/>
                      </a:lnTo>
                      <a:lnTo>
                        <a:pt x="264" y="126"/>
                      </a:lnTo>
                      <a:lnTo>
                        <a:pt x="264" y="126"/>
                      </a:lnTo>
                      <a:lnTo>
                        <a:pt x="264" y="126"/>
                      </a:lnTo>
                      <a:lnTo>
                        <a:pt x="264" y="126"/>
                      </a:lnTo>
                      <a:lnTo>
                        <a:pt x="265" y="126"/>
                      </a:lnTo>
                      <a:lnTo>
                        <a:pt x="266" y="126"/>
                      </a:lnTo>
                      <a:lnTo>
                        <a:pt x="265" y="126"/>
                      </a:lnTo>
                      <a:lnTo>
                        <a:pt x="264" y="126"/>
                      </a:lnTo>
                      <a:lnTo>
                        <a:pt x="265" y="126"/>
                      </a:lnTo>
                      <a:lnTo>
                        <a:pt x="264" y="126"/>
                      </a:lnTo>
                      <a:lnTo>
                        <a:pt x="264" y="126"/>
                      </a:lnTo>
                      <a:lnTo>
                        <a:pt x="264" y="126"/>
                      </a:lnTo>
                      <a:lnTo>
                        <a:pt x="263" y="126"/>
                      </a:lnTo>
                      <a:lnTo>
                        <a:pt x="263" y="126"/>
                      </a:lnTo>
                      <a:lnTo>
                        <a:pt x="264" y="125"/>
                      </a:lnTo>
                      <a:lnTo>
                        <a:pt x="265" y="125"/>
                      </a:lnTo>
                      <a:lnTo>
                        <a:pt x="266" y="124"/>
                      </a:lnTo>
                      <a:lnTo>
                        <a:pt x="267" y="124"/>
                      </a:lnTo>
                      <a:lnTo>
                        <a:pt x="268" y="123"/>
                      </a:lnTo>
                      <a:lnTo>
                        <a:pt x="269" y="123"/>
                      </a:lnTo>
                      <a:lnTo>
                        <a:pt x="269" y="124"/>
                      </a:lnTo>
                      <a:lnTo>
                        <a:pt x="268" y="124"/>
                      </a:lnTo>
                      <a:lnTo>
                        <a:pt x="269" y="124"/>
                      </a:lnTo>
                      <a:lnTo>
                        <a:pt x="268" y="124"/>
                      </a:lnTo>
                      <a:lnTo>
                        <a:pt x="268" y="124"/>
                      </a:lnTo>
                      <a:lnTo>
                        <a:pt x="268" y="124"/>
                      </a:lnTo>
                      <a:lnTo>
                        <a:pt x="267" y="124"/>
                      </a:lnTo>
                      <a:lnTo>
                        <a:pt x="267" y="125"/>
                      </a:lnTo>
                      <a:lnTo>
                        <a:pt x="268" y="125"/>
                      </a:lnTo>
                      <a:lnTo>
                        <a:pt x="268" y="125"/>
                      </a:lnTo>
                      <a:lnTo>
                        <a:pt x="268" y="126"/>
                      </a:lnTo>
                      <a:lnTo>
                        <a:pt x="269" y="126"/>
                      </a:lnTo>
                      <a:lnTo>
                        <a:pt x="269" y="126"/>
                      </a:lnTo>
                      <a:lnTo>
                        <a:pt x="270" y="126"/>
                      </a:lnTo>
                      <a:lnTo>
                        <a:pt x="270" y="126"/>
                      </a:lnTo>
                      <a:lnTo>
                        <a:pt x="270" y="126"/>
                      </a:lnTo>
                      <a:lnTo>
                        <a:pt x="270" y="126"/>
                      </a:lnTo>
                      <a:lnTo>
                        <a:pt x="270" y="126"/>
                      </a:lnTo>
                      <a:lnTo>
                        <a:pt x="271" y="126"/>
                      </a:lnTo>
                      <a:lnTo>
                        <a:pt x="271" y="125"/>
                      </a:lnTo>
                      <a:lnTo>
                        <a:pt x="270" y="125"/>
                      </a:lnTo>
                      <a:lnTo>
                        <a:pt x="270" y="126"/>
                      </a:lnTo>
                      <a:lnTo>
                        <a:pt x="270" y="126"/>
                      </a:lnTo>
                      <a:lnTo>
                        <a:pt x="269" y="126"/>
                      </a:lnTo>
                      <a:lnTo>
                        <a:pt x="270" y="125"/>
                      </a:lnTo>
                      <a:lnTo>
                        <a:pt x="269" y="125"/>
                      </a:lnTo>
                      <a:lnTo>
                        <a:pt x="270" y="125"/>
                      </a:lnTo>
                      <a:lnTo>
                        <a:pt x="269" y="125"/>
                      </a:lnTo>
                      <a:lnTo>
                        <a:pt x="270" y="125"/>
                      </a:lnTo>
                      <a:lnTo>
                        <a:pt x="269" y="125"/>
                      </a:lnTo>
                      <a:lnTo>
                        <a:pt x="270" y="125"/>
                      </a:lnTo>
                      <a:lnTo>
                        <a:pt x="269" y="125"/>
                      </a:lnTo>
                      <a:lnTo>
                        <a:pt x="269" y="124"/>
                      </a:lnTo>
                      <a:lnTo>
                        <a:pt x="268" y="124"/>
                      </a:lnTo>
                      <a:lnTo>
                        <a:pt x="269" y="124"/>
                      </a:lnTo>
                      <a:lnTo>
                        <a:pt x="270" y="124"/>
                      </a:lnTo>
                      <a:lnTo>
                        <a:pt x="270" y="125"/>
                      </a:lnTo>
                      <a:lnTo>
                        <a:pt x="270" y="125"/>
                      </a:lnTo>
                      <a:lnTo>
                        <a:pt x="270" y="124"/>
                      </a:lnTo>
                      <a:lnTo>
                        <a:pt x="270" y="124"/>
                      </a:lnTo>
                      <a:lnTo>
                        <a:pt x="270" y="124"/>
                      </a:lnTo>
                      <a:lnTo>
                        <a:pt x="270" y="124"/>
                      </a:lnTo>
                      <a:lnTo>
                        <a:pt x="270" y="124"/>
                      </a:lnTo>
                      <a:lnTo>
                        <a:pt x="270" y="124"/>
                      </a:lnTo>
                      <a:lnTo>
                        <a:pt x="270" y="124"/>
                      </a:lnTo>
                      <a:lnTo>
                        <a:pt x="270" y="124"/>
                      </a:lnTo>
                      <a:lnTo>
                        <a:pt x="270" y="124"/>
                      </a:lnTo>
                      <a:lnTo>
                        <a:pt x="270" y="123"/>
                      </a:lnTo>
                      <a:lnTo>
                        <a:pt x="270" y="124"/>
                      </a:lnTo>
                      <a:lnTo>
                        <a:pt x="270" y="123"/>
                      </a:lnTo>
                      <a:lnTo>
                        <a:pt x="269" y="123"/>
                      </a:lnTo>
                      <a:lnTo>
                        <a:pt x="269" y="123"/>
                      </a:lnTo>
                      <a:lnTo>
                        <a:pt x="271" y="122"/>
                      </a:lnTo>
                      <a:lnTo>
                        <a:pt x="272" y="122"/>
                      </a:lnTo>
                      <a:lnTo>
                        <a:pt x="272" y="122"/>
                      </a:lnTo>
                      <a:lnTo>
                        <a:pt x="274" y="122"/>
                      </a:lnTo>
                      <a:lnTo>
                        <a:pt x="275" y="121"/>
                      </a:lnTo>
                      <a:lnTo>
                        <a:pt x="275" y="121"/>
                      </a:lnTo>
                      <a:lnTo>
                        <a:pt x="276" y="121"/>
                      </a:lnTo>
                      <a:lnTo>
                        <a:pt x="276" y="120"/>
                      </a:lnTo>
                      <a:lnTo>
                        <a:pt x="277" y="120"/>
                      </a:lnTo>
                      <a:lnTo>
                        <a:pt x="278" y="120"/>
                      </a:lnTo>
                      <a:lnTo>
                        <a:pt x="278" y="120"/>
                      </a:lnTo>
                      <a:lnTo>
                        <a:pt x="279" y="120"/>
                      </a:lnTo>
                      <a:lnTo>
                        <a:pt x="279" y="120"/>
                      </a:lnTo>
                      <a:lnTo>
                        <a:pt x="280" y="120"/>
                      </a:lnTo>
                      <a:lnTo>
                        <a:pt x="281" y="120"/>
                      </a:lnTo>
                      <a:lnTo>
                        <a:pt x="281" y="120"/>
                      </a:lnTo>
                      <a:lnTo>
                        <a:pt x="281" y="121"/>
                      </a:lnTo>
                      <a:lnTo>
                        <a:pt x="280" y="120"/>
                      </a:lnTo>
                      <a:lnTo>
                        <a:pt x="280" y="121"/>
                      </a:lnTo>
                      <a:lnTo>
                        <a:pt x="279" y="121"/>
                      </a:lnTo>
                      <a:lnTo>
                        <a:pt x="279" y="121"/>
                      </a:lnTo>
                      <a:lnTo>
                        <a:pt x="278" y="121"/>
                      </a:lnTo>
                      <a:lnTo>
                        <a:pt x="278" y="121"/>
                      </a:lnTo>
                      <a:lnTo>
                        <a:pt x="277" y="121"/>
                      </a:lnTo>
                      <a:lnTo>
                        <a:pt x="277" y="122"/>
                      </a:lnTo>
                      <a:lnTo>
                        <a:pt x="276" y="122"/>
                      </a:lnTo>
                      <a:lnTo>
                        <a:pt x="275" y="122"/>
                      </a:lnTo>
                      <a:lnTo>
                        <a:pt x="275" y="122"/>
                      </a:lnTo>
                      <a:lnTo>
                        <a:pt x="274" y="122"/>
                      </a:lnTo>
                      <a:lnTo>
                        <a:pt x="274" y="122"/>
                      </a:lnTo>
                      <a:lnTo>
                        <a:pt x="273" y="122"/>
                      </a:lnTo>
                      <a:lnTo>
                        <a:pt x="273" y="122"/>
                      </a:lnTo>
                      <a:lnTo>
                        <a:pt x="273" y="122"/>
                      </a:lnTo>
                      <a:lnTo>
                        <a:pt x="274" y="122"/>
                      </a:lnTo>
                      <a:lnTo>
                        <a:pt x="274" y="122"/>
                      </a:lnTo>
                      <a:lnTo>
                        <a:pt x="273" y="122"/>
                      </a:lnTo>
                      <a:lnTo>
                        <a:pt x="274" y="122"/>
                      </a:lnTo>
                      <a:lnTo>
                        <a:pt x="274" y="123"/>
                      </a:lnTo>
                      <a:lnTo>
                        <a:pt x="274" y="123"/>
                      </a:lnTo>
                      <a:lnTo>
                        <a:pt x="274" y="122"/>
                      </a:lnTo>
                      <a:lnTo>
                        <a:pt x="274" y="123"/>
                      </a:lnTo>
                      <a:lnTo>
                        <a:pt x="274" y="122"/>
                      </a:lnTo>
                      <a:lnTo>
                        <a:pt x="274" y="123"/>
                      </a:lnTo>
                      <a:lnTo>
                        <a:pt x="274" y="122"/>
                      </a:lnTo>
                      <a:lnTo>
                        <a:pt x="274" y="122"/>
                      </a:lnTo>
                      <a:lnTo>
                        <a:pt x="274" y="122"/>
                      </a:lnTo>
                      <a:lnTo>
                        <a:pt x="275" y="122"/>
                      </a:lnTo>
                      <a:lnTo>
                        <a:pt x="275" y="122"/>
                      </a:lnTo>
                      <a:lnTo>
                        <a:pt x="276" y="122"/>
                      </a:lnTo>
                      <a:lnTo>
                        <a:pt x="276" y="123"/>
                      </a:lnTo>
                      <a:lnTo>
                        <a:pt x="276" y="123"/>
                      </a:lnTo>
                      <a:lnTo>
                        <a:pt x="276" y="123"/>
                      </a:lnTo>
                      <a:lnTo>
                        <a:pt x="276" y="123"/>
                      </a:lnTo>
                      <a:lnTo>
                        <a:pt x="275" y="123"/>
                      </a:lnTo>
                      <a:lnTo>
                        <a:pt x="275" y="124"/>
                      </a:lnTo>
                      <a:lnTo>
                        <a:pt x="275" y="124"/>
                      </a:lnTo>
                      <a:lnTo>
                        <a:pt x="275" y="125"/>
                      </a:lnTo>
                      <a:lnTo>
                        <a:pt x="275" y="125"/>
                      </a:lnTo>
                      <a:lnTo>
                        <a:pt x="274" y="125"/>
                      </a:lnTo>
                      <a:lnTo>
                        <a:pt x="274" y="126"/>
                      </a:lnTo>
                      <a:lnTo>
                        <a:pt x="274" y="126"/>
                      </a:lnTo>
                      <a:lnTo>
                        <a:pt x="275" y="126"/>
                      </a:lnTo>
                      <a:lnTo>
                        <a:pt x="275" y="127"/>
                      </a:lnTo>
                      <a:lnTo>
                        <a:pt x="275" y="127"/>
                      </a:lnTo>
                      <a:lnTo>
                        <a:pt x="276" y="127"/>
                      </a:lnTo>
                      <a:lnTo>
                        <a:pt x="275" y="127"/>
                      </a:lnTo>
                      <a:lnTo>
                        <a:pt x="276" y="127"/>
                      </a:lnTo>
                      <a:lnTo>
                        <a:pt x="276" y="127"/>
                      </a:lnTo>
                      <a:lnTo>
                        <a:pt x="276" y="128"/>
                      </a:lnTo>
                      <a:lnTo>
                        <a:pt x="276" y="129"/>
                      </a:lnTo>
                      <a:lnTo>
                        <a:pt x="276" y="129"/>
                      </a:lnTo>
                      <a:lnTo>
                        <a:pt x="275" y="129"/>
                      </a:lnTo>
                      <a:lnTo>
                        <a:pt x="275" y="129"/>
                      </a:lnTo>
                      <a:lnTo>
                        <a:pt x="275" y="130"/>
                      </a:lnTo>
                      <a:lnTo>
                        <a:pt x="275" y="130"/>
                      </a:lnTo>
                      <a:lnTo>
                        <a:pt x="275" y="130"/>
                      </a:lnTo>
                      <a:lnTo>
                        <a:pt x="274" y="130"/>
                      </a:lnTo>
                      <a:lnTo>
                        <a:pt x="274" y="129"/>
                      </a:lnTo>
                      <a:lnTo>
                        <a:pt x="274" y="129"/>
                      </a:lnTo>
                      <a:lnTo>
                        <a:pt x="274" y="129"/>
                      </a:lnTo>
                      <a:lnTo>
                        <a:pt x="274" y="129"/>
                      </a:lnTo>
                      <a:lnTo>
                        <a:pt x="273" y="129"/>
                      </a:lnTo>
                      <a:lnTo>
                        <a:pt x="274" y="129"/>
                      </a:lnTo>
                      <a:lnTo>
                        <a:pt x="273" y="129"/>
                      </a:lnTo>
                      <a:lnTo>
                        <a:pt x="274" y="129"/>
                      </a:lnTo>
                      <a:lnTo>
                        <a:pt x="274" y="130"/>
                      </a:lnTo>
                      <a:lnTo>
                        <a:pt x="274" y="129"/>
                      </a:lnTo>
                      <a:lnTo>
                        <a:pt x="274" y="130"/>
                      </a:lnTo>
                      <a:lnTo>
                        <a:pt x="274" y="130"/>
                      </a:lnTo>
                      <a:lnTo>
                        <a:pt x="274" y="130"/>
                      </a:lnTo>
                      <a:lnTo>
                        <a:pt x="273" y="130"/>
                      </a:lnTo>
                      <a:lnTo>
                        <a:pt x="274" y="130"/>
                      </a:lnTo>
                      <a:lnTo>
                        <a:pt x="273" y="130"/>
                      </a:lnTo>
                      <a:lnTo>
                        <a:pt x="273" y="129"/>
                      </a:lnTo>
                      <a:lnTo>
                        <a:pt x="273" y="130"/>
                      </a:lnTo>
                      <a:lnTo>
                        <a:pt x="274" y="130"/>
                      </a:lnTo>
                      <a:lnTo>
                        <a:pt x="273" y="130"/>
                      </a:lnTo>
                      <a:lnTo>
                        <a:pt x="272" y="130"/>
                      </a:lnTo>
                      <a:lnTo>
                        <a:pt x="272" y="129"/>
                      </a:lnTo>
                      <a:lnTo>
                        <a:pt x="272" y="130"/>
                      </a:lnTo>
                      <a:lnTo>
                        <a:pt x="272" y="129"/>
                      </a:lnTo>
                      <a:lnTo>
                        <a:pt x="272" y="129"/>
                      </a:lnTo>
                      <a:lnTo>
                        <a:pt x="272" y="129"/>
                      </a:lnTo>
                      <a:lnTo>
                        <a:pt x="272" y="129"/>
                      </a:lnTo>
                      <a:lnTo>
                        <a:pt x="272" y="129"/>
                      </a:lnTo>
                      <a:lnTo>
                        <a:pt x="272" y="129"/>
                      </a:lnTo>
                      <a:lnTo>
                        <a:pt x="272" y="130"/>
                      </a:lnTo>
                      <a:lnTo>
                        <a:pt x="271" y="130"/>
                      </a:lnTo>
                      <a:lnTo>
                        <a:pt x="271" y="130"/>
                      </a:lnTo>
                      <a:lnTo>
                        <a:pt x="271" y="130"/>
                      </a:lnTo>
                      <a:lnTo>
                        <a:pt x="271" y="130"/>
                      </a:lnTo>
                      <a:lnTo>
                        <a:pt x="271" y="130"/>
                      </a:lnTo>
                      <a:lnTo>
                        <a:pt x="270" y="130"/>
                      </a:lnTo>
                      <a:lnTo>
                        <a:pt x="270" y="131"/>
                      </a:lnTo>
                      <a:lnTo>
                        <a:pt x="270" y="131"/>
                      </a:lnTo>
                      <a:lnTo>
                        <a:pt x="270" y="131"/>
                      </a:lnTo>
                      <a:lnTo>
                        <a:pt x="270" y="131"/>
                      </a:lnTo>
                      <a:lnTo>
                        <a:pt x="270" y="131"/>
                      </a:lnTo>
                      <a:lnTo>
                        <a:pt x="270" y="132"/>
                      </a:lnTo>
                      <a:lnTo>
                        <a:pt x="270" y="132"/>
                      </a:lnTo>
                      <a:lnTo>
                        <a:pt x="270" y="132"/>
                      </a:lnTo>
                      <a:lnTo>
                        <a:pt x="270" y="132"/>
                      </a:lnTo>
                      <a:lnTo>
                        <a:pt x="270" y="133"/>
                      </a:lnTo>
                      <a:lnTo>
                        <a:pt x="270" y="133"/>
                      </a:lnTo>
                      <a:lnTo>
                        <a:pt x="269" y="133"/>
                      </a:lnTo>
                      <a:lnTo>
                        <a:pt x="270" y="133"/>
                      </a:lnTo>
                      <a:lnTo>
                        <a:pt x="269" y="133"/>
                      </a:lnTo>
                      <a:lnTo>
                        <a:pt x="269" y="133"/>
                      </a:lnTo>
                      <a:lnTo>
                        <a:pt x="268" y="133"/>
                      </a:lnTo>
                      <a:lnTo>
                        <a:pt x="268" y="134"/>
                      </a:lnTo>
                      <a:lnTo>
                        <a:pt x="268" y="133"/>
                      </a:lnTo>
                      <a:lnTo>
                        <a:pt x="269" y="133"/>
                      </a:lnTo>
                      <a:lnTo>
                        <a:pt x="268" y="133"/>
                      </a:lnTo>
                      <a:lnTo>
                        <a:pt x="268" y="134"/>
                      </a:lnTo>
                      <a:lnTo>
                        <a:pt x="268" y="134"/>
                      </a:lnTo>
                      <a:lnTo>
                        <a:pt x="268" y="134"/>
                      </a:lnTo>
                      <a:lnTo>
                        <a:pt x="268" y="134"/>
                      </a:lnTo>
                      <a:lnTo>
                        <a:pt x="268" y="135"/>
                      </a:lnTo>
                      <a:lnTo>
                        <a:pt x="268" y="135"/>
                      </a:lnTo>
                      <a:lnTo>
                        <a:pt x="268" y="135"/>
                      </a:lnTo>
                      <a:lnTo>
                        <a:pt x="268" y="135"/>
                      </a:lnTo>
                      <a:lnTo>
                        <a:pt x="268" y="135"/>
                      </a:lnTo>
                      <a:lnTo>
                        <a:pt x="268" y="135"/>
                      </a:lnTo>
                      <a:lnTo>
                        <a:pt x="267" y="135"/>
                      </a:lnTo>
                      <a:lnTo>
                        <a:pt x="267" y="135"/>
                      </a:lnTo>
                      <a:lnTo>
                        <a:pt x="267" y="135"/>
                      </a:lnTo>
                      <a:lnTo>
                        <a:pt x="266" y="135"/>
                      </a:lnTo>
                      <a:lnTo>
                        <a:pt x="266" y="136"/>
                      </a:lnTo>
                      <a:lnTo>
                        <a:pt x="266" y="136"/>
                      </a:lnTo>
                      <a:lnTo>
                        <a:pt x="266" y="137"/>
                      </a:lnTo>
                      <a:lnTo>
                        <a:pt x="265" y="137"/>
                      </a:lnTo>
                      <a:lnTo>
                        <a:pt x="266" y="137"/>
                      </a:lnTo>
                      <a:lnTo>
                        <a:pt x="265" y="137"/>
                      </a:lnTo>
                      <a:lnTo>
                        <a:pt x="264" y="137"/>
                      </a:lnTo>
                      <a:lnTo>
                        <a:pt x="265" y="137"/>
                      </a:lnTo>
                      <a:lnTo>
                        <a:pt x="265" y="137"/>
                      </a:lnTo>
                      <a:lnTo>
                        <a:pt x="264" y="137"/>
                      </a:lnTo>
                      <a:lnTo>
                        <a:pt x="264" y="137"/>
                      </a:lnTo>
                      <a:lnTo>
                        <a:pt x="263" y="137"/>
                      </a:lnTo>
                      <a:lnTo>
                        <a:pt x="263" y="138"/>
                      </a:lnTo>
                      <a:lnTo>
                        <a:pt x="263" y="138"/>
                      </a:lnTo>
                      <a:lnTo>
                        <a:pt x="263" y="138"/>
                      </a:lnTo>
                      <a:lnTo>
                        <a:pt x="263" y="138"/>
                      </a:lnTo>
                      <a:lnTo>
                        <a:pt x="263" y="138"/>
                      </a:lnTo>
                      <a:lnTo>
                        <a:pt x="263" y="138"/>
                      </a:lnTo>
                      <a:lnTo>
                        <a:pt x="263" y="138"/>
                      </a:lnTo>
                      <a:lnTo>
                        <a:pt x="264" y="138"/>
                      </a:lnTo>
                      <a:lnTo>
                        <a:pt x="264" y="138"/>
                      </a:lnTo>
                      <a:lnTo>
                        <a:pt x="265" y="138"/>
                      </a:lnTo>
                      <a:lnTo>
                        <a:pt x="265" y="137"/>
                      </a:lnTo>
                      <a:lnTo>
                        <a:pt x="266" y="137"/>
                      </a:lnTo>
                      <a:lnTo>
                        <a:pt x="266" y="137"/>
                      </a:lnTo>
                      <a:lnTo>
                        <a:pt x="266" y="137"/>
                      </a:lnTo>
                      <a:lnTo>
                        <a:pt x="266" y="137"/>
                      </a:lnTo>
                      <a:lnTo>
                        <a:pt x="266" y="137"/>
                      </a:lnTo>
                      <a:lnTo>
                        <a:pt x="267" y="137"/>
                      </a:lnTo>
                      <a:lnTo>
                        <a:pt x="267" y="137"/>
                      </a:lnTo>
                      <a:lnTo>
                        <a:pt x="268" y="137"/>
                      </a:lnTo>
                      <a:lnTo>
                        <a:pt x="268" y="136"/>
                      </a:lnTo>
                      <a:lnTo>
                        <a:pt x="268" y="136"/>
                      </a:lnTo>
                      <a:lnTo>
                        <a:pt x="269" y="136"/>
                      </a:lnTo>
                      <a:lnTo>
                        <a:pt x="269" y="135"/>
                      </a:lnTo>
                      <a:lnTo>
                        <a:pt x="268" y="135"/>
                      </a:lnTo>
                      <a:lnTo>
                        <a:pt x="268" y="136"/>
                      </a:lnTo>
                      <a:lnTo>
                        <a:pt x="268" y="135"/>
                      </a:lnTo>
                      <a:lnTo>
                        <a:pt x="268" y="135"/>
                      </a:lnTo>
                      <a:lnTo>
                        <a:pt x="268" y="135"/>
                      </a:lnTo>
                      <a:lnTo>
                        <a:pt x="268" y="135"/>
                      </a:lnTo>
                      <a:lnTo>
                        <a:pt x="269" y="135"/>
                      </a:lnTo>
                      <a:lnTo>
                        <a:pt x="270" y="135"/>
                      </a:lnTo>
                      <a:lnTo>
                        <a:pt x="270" y="135"/>
                      </a:lnTo>
                      <a:lnTo>
                        <a:pt x="270" y="136"/>
                      </a:lnTo>
                      <a:lnTo>
                        <a:pt x="270" y="135"/>
                      </a:lnTo>
                      <a:lnTo>
                        <a:pt x="271" y="135"/>
                      </a:lnTo>
                      <a:lnTo>
                        <a:pt x="270" y="136"/>
                      </a:lnTo>
                      <a:lnTo>
                        <a:pt x="270" y="136"/>
                      </a:lnTo>
                      <a:lnTo>
                        <a:pt x="270" y="137"/>
                      </a:lnTo>
                      <a:lnTo>
                        <a:pt x="269" y="137"/>
                      </a:lnTo>
                      <a:lnTo>
                        <a:pt x="268" y="137"/>
                      </a:lnTo>
                      <a:lnTo>
                        <a:pt x="268" y="137"/>
                      </a:lnTo>
                      <a:lnTo>
                        <a:pt x="268" y="137"/>
                      </a:lnTo>
                      <a:lnTo>
                        <a:pt x="269" y="137"/>
                      </a:lnTo>
                      <a:lnTo>
                        <a:pt x="269" y="137"/>
                      </a:lnTo>
                      <a:lnTo>
                        <a:pt x="270" y="137"/>
                      </a:lnTo>
                      <a:lnTo>
                        <a:pt x="269" y="137"/>
                      </a:lnTo>
                      <a:lnTo>
                        <a:pt x="269" y="137"/>
                      </a:lnTo>
                      <a:lnTo>
                        <a:pt x="269" y="137"/>
                      </a:lnTo>
                      <a:lnTo>
                        <a:pt x="270" y="137"/>
                      </a:lnTo>
                      <a:lnTo>
                        <a:pt x="270" y="137"/>
                      </a:lnTo>
                      <a:lnTo>
                        <a:pt x="269" y="137"/>
                      </a:lnTo>
                      <a:lnTo>
                        <a:pt x="268" y="137"/>
                      </a:lnTo>
                      <a:lnTo>
                        <a:pt x="268" y="137"/>
                      </a:lnTo>
                      <a:lnTo>
                        <a:pt x="268" y="138"/>
                      </a:lnTo>
                      <a:lnTo>
                        <a:pt x="267" y="138"/>
                      </a:lnTo>
                      <a:lnTo>
                        <a:pt x="267" y="138"/>
                      </a:lnTo>
                      <a:lnTo>
                        <a:pt x="267" y="138"/>
                      </a:lnTo>
                      <a:lnTo>
                        <a:pt x="267" y="137"/>
                      </a:lnTo>
                      <a:lnTo>
                        <a:pt x="268" y="137"/>
                      </a:lnTo>
                      <a:lnTo>
                        <a:pt x="267" y="137"/>
                      </a:lnTo>
                      <a:lnTo>
                        <a:pt x="267" y="138"/>
                      </a:lnTo>
                      <a:lnTo>
                        <a:pt x="267" y="138"/>
                      </a:lnTo>
                      <a:lnTo>
                        <a:pt x="266" y="138"/>
                      </a:lnTo>
                      <a:lnTo>
                        <a:pt x="266" y="138"/>
                      </a:lnTo>
                      <a:lnTo>
                        <a:pt x="266" y="138"/>
                      </a:lnTo>
                      <a:lnTo>
                        <a:pt x="266" y="138"/>
                      </a:lnTo>
                      <a:lnTo>
                        <a:pt x="265" y="138"/>
                      </a:lnTo>
                      <a:lnTo>
                        <a:pt x="265" y="139"/>
                      </a:lnTo>
                      <a:lnTo>
                        <a:pt x="264" y="139"/>
                      </a:lnTo>
                      <a:lnTo>
                        <a:pt x="264" y="139"/>
                      </a:lnTo>
                      <a:lnTo>
                        <a:pt x="263" y="139"/>
                      </a:lnTo>
                      <a:lnTo>
                        <a:pt x="263" y="140"/>
                      </a:lnTo>
                      <a:lnTo>
                        <a:pt x="263" y="140"/>
                      </a:lnTo>
                      <a:lnTo>
                        <a:pt x="262" y="140"/>
                      </a:lnTo>
                      <a:lnTo>
                        <a:pt x="262" y="140"/>
                      </a:lnTo>
                      <a:lnTo>
                        <a:pt x="261" y="140"/>
                      </a:lnTo>
                      <a:lnTo>
                        <a:pt x="261" y="140"/>
                      </a:lnTo>
                      <a:lnTo>
                        <a:pt x="261" y="141"/>
                      </a:lnTo>
                      <a:lnTo>
                        <a:pt x="260" y="141"/>
                      </a:lnTo>
                      <a:lnTo>
                        <a:pt x="260" y="141"/>
                      </a:lnTo>
                      <a:lnTo>
                        <a:pt x="260" y="141"/>
                      </a:lnTo>
                      <a:lnTo>
                        <a:pt x="260" y="142"/>
                      </a:lnTo>
                      <a:lnTo>
                        <a:pt x="259" y="142"/>
                      </a:lnTo>
                      <a:lnTo>
                        <a:pt x="259" y="142"/>
                      </a:lnTo>
                      <a:lnTo>
                        <a:pt x="259" y="142"/>
                      </a:lnTo>
                      <a:lnTo>
                        <a:pt x="259" y="142"/>
                      </a:lnTo>
                      <a:lnTo>
                        <a:pt x="259" y="142"/>
                      </a:lnTo>
                      <a:lnTo>
                        <a:pt x="259" y="143"/>
                      </a:lnTo>
                      <a:lnTo>
                        <a:pt x="259" y="143"/>
                      </a:lnTo>
                      <a:lnTo>
                        <a:pt x="259" y="142"/>
                      </a:lnTo>
                      <a:lnTo>
                        <a:pt x="259" y="143"/>
                      </a:lnTo>
                      <a:lnTo>
                        <a:pt x="259" y="143"/>
                      </a:lnTo>
                      <a:lnTo>
                        <a:pt x="258" y="143"/>
                      </a:lnTo>
                      <a:lnTo>
                        <a:pt x="259" y="143"/>
                      </a:lnTo>
                      <a:lnTo>
                        <a:pt x="258" y="143"/>
                      </a:lnTo>
                      <a:lnTo>
                        <a:pt x="257" y="144"/>
                      </a:lnTo>
                      <a:lnTo>
                        <a:pt x="258" y="144"/>
                      </a:lnTo>
                      <a:lnTo>
                        <a:pt x="258" y="144"/>
                      </a:lnTo>
                      <a:lnTo>
                        <a:pt x="258" y="144"/>
                      </a:lnTo>
                      <a:lnTo>
                        <a:pt x="258" y="144"/>
                      </a:lnTo>
                      <a:lnTo>
                        <a:pt x="258" y="144"/>
                      </a:lnTo>
                      <a:lnTo>
                        <a:pt x="258" y="144"/>
                      </a:lnTo>
                      <a:lnTo>
                        <a:pt x="257" y="144"/>
                      </a:lnTo>
                      <a:lnTo>
                        <a:pt x="258" y="144"/>
                      </a:lnTo>
                      <a:lnTo>
                        <a:pt x="257" y="144"/>
                      </a:lnTo>
                      <a:lnTo>
                        <a:pt x="257" y="145"/>
                      </a:lnTo>
                      <a:lnTo>
                        <a:pt x="257" y="145"/>
                      </a:lnTo>
                      <a:lnTo>
                        <a:pt x="258" y="145"/>
                      </a:lnTo>
                      <a:lnTo>
                        <a:pt x="258" y="146"/>
                      </a:lnTo>
                      <a:lnTo>
                        <a:pt x="258" y="145"/>
                      </a:lnTo>
                      <a:lnTo>
                        <a:pt x="258" y="146"/>
                      </a:lnTo>
                      <a:lnTo>
                        <a:pt x="259" y="146"/>
                      </a:lnTo>
                      <a:lnTo>
                        <a:pt x="258" y="146"/>
                      </a:lnTo>
                      <a:lnTo>
                        <a:pt x="259" y="146"/>
                      </a:lnTo>
                      <a:lnTo>
                        <a:pt x="258" y="146"/>
                      </a:lnTo>
                      <a:lnTo>
                        <a:pt x="259" y="146"/>
                      </a:lnTo>
                      <a:lnTo>
                        <a:pt x="259" y="146"/>
                      </a:lnTo>
                      <a:lnTo>
                        <a:pt x="259" y="146"/>
                      </a:lnTo>
                      <a:lnTo>
                        <a:pt x="259" y="146"/>
                      </a:lnTo>
                      <a:lnTo>
                        <a:pt x="259" y="146"/>
                      </a:lnTo>
                      <a:lnTo>
                        <a:pt x="259" y="146"/>
                      </a:lnTo>
                      <a:lnTo>
                        <a:pt x="259" y="146"/>
                      </a:lnTo>
                      <a:lnTo>
                        <a:pt x="259" y="146"/>
                      </a:lnTo>
                      <a:lnTo>
                        <a:pt x="259" y="146"/>
                      </a:lnTo>
                      <a:lnTo>
                        <a:pt x="259" y="145"/>
                      </a:lnTo>
                      <a:lnTo>
                        <a:pt x="259" y="145"/>
                      </a:lnTo>
                      <a:lnTo>
                        <a:pt x="260" y="145"/>
                      </a:lnTo>
                      <a:lnTo>
                        <a:pt x="260" y="145"/>
                      </a:lnTo>
                      <a:lnTo>
                        <a:pt x="260" y="145"/>
                      </a:lnTo>
                      <a:lnTo>
                        <a:pt x="260" y="145"/>
                      </a:lnTo>
                      <a:lnTo>
                        <a:pt x="260" y="145"/>
                      </a:lnTo>
                      <a:lnTo>
                        <a:pt x="259" y="145"/>
                      </a:lnTo>
                      <a:lnTo>
                        <a:pt x="259" y="145"/>
                      </a:lnTo>
                      <a:lnTo>
                        <a:pt x="259" y="145"/>
                      </a:lnTo>
                      <a:lnTo>
                        <a:pt x="259" y="145"/>
                      </a:lnTo>
                      <a:lnTo>
                        <a:pt x="259" y="145"/>
                      </a:lnTo>
                      <a:lnTo>
                        <a:pt x="259" y="145"/>
                      </a:lnTo>
                      <a:lnTo>
                        <a:pt x="259" y="145"/>
                      </a:lnTo>
                      <a:lnTo>
                        <a:pt x="259" y="145"/>
                      </a:lnTo>
                      <a:lnTo>
                        <a:pt x="259" y="145"/>
                      </a:lnTo>
                      <a:lnTo>
                        <a:pt x="259" y="145"/>
                      </a:lnTo>
                      <a:lnTo>
                        <a:pt x="259" y="145"/>
                      </a:lnTo>
                      <a:lnTo>
                        <a:pt x="259" y="145"/>
                      </a:lnTo>
                      <a:lnTo>
                        <a:pt x="259" y="145"/>
                      </a:lnTo>
                      <a:lnTo>
                        <a:pt x="259" y="145"/>
                      </a:lnTo>
                      <a:lnTo>
                        <a:pt x="259" y="145"/>
                      </a:lnTo>
                      <a:lnTo>
                        <a:pt x="259" y="145"/>
                      </a:lnTo>
                      <a:lnTo>
                        <a:pt x="259" y="145"/>
                      </a:lnTo>
                      <a:lnTo>
                        <a:pt x="259" y="145"/>
                      </a:lnTo>
                      <a:lnTo>
                        <a:pt x="259" y="144"/>
                      </a:lnTo>
                      <a:lnTo>
                        <a:pt x="259" y="144"/>
                      </a:lnTo>
                      <a:lnTo>
                        <a:pt x="259" y="145"/>
                      </a:lnTo>
                      <a:lnTo>
                        <a:pt x="259" y="144"/>
                      </a:lnTo>
                      <a:lnTo>
                        <a:pt x="259" y="144"/>
                      </a:lnTo>
                      <a:lnTo>
                        <a:pt x="259" y="144"/>
                      </a:lnTo>
                      <a:lnTo>
                        <a:pt x="259" y="144"/>
                      </a:lnTo>
                      <a:lnTo>
                        <a:pt x="259" y="144"/>
                      </a:lnTo>
                      <a:lnTo>
                        <a:pt x="259" y="144"/>
                      </a:lnTo>
                      <a:lnTo>
                        <a:pt x="259" y="144"/>
                      </a:lnTo>
                      <a:lnTo>
                        <a:pt x="259" y="144"/>
                      </a:lnTo>
                      <a:lnTo>
                        <a:pt x="259" y="144"/>
                      </a:lnTo>
                      <a:lnTo>
                        <a:pt x="259" y="144"/>
                      </a:lnTo>
                      <a:lnTo>
                        <a:pt x="259" y="144"/>
                      </a:lnTo>
                      <a:lnTo>
                        <a:pt x="259" y="143"/>
                      </a:lnTo>
                      <a:lnTo>
                        <a:pt x="259" y="142"/>
                      </a:lnTo>
                      <a:lnTo>
                        <a:pt x="259" y="143"/>
                      </a:lnTo>
                      <a:lnTo>
                        <a:pt x="259" y="144"/>
                      </a:lnTo>
                      <a:lnTo>
                        <a:pt x="260" y="144"/>
                      </a:lnTo>
                      <a:lnTo>
                        <a:pt x="260" y="144"/>
                      </a:lnTo>
                      <a:lnTo>
                        <a:pt x="260" y="144"/>
                      </a:lnTo>
                      <a:lnTo>
                        <a:pt x="261" y="144"/>
                      </a:lnTo>
                      <a:lnTo>
                        <a:pt x="261" y="145"/>
                      </a:lnTo>
                      <a:lnTo>
                        <a:pt x="261" y="145"/>
                      </a:lnTo>
                      <a:lnTo>
                        <a:pt x="261" y="145"/>
                      </a:lnTo>
                      <a:lnTo>
                        <a:pt x="260" y="145"/>
                      </a:lnTo>
                      <a:lnTo>
                        <a:pt x="260" y="145"/>
                      </a:lnTo>
                      <a:lnTo>
                        <a:pt x="261" y="145"/>
                      </a:lnTo>
                      <a:lnTo>
                        <a:pt x="261" y="145"/>
                      </a:lnTo>
                      <a:lnTo>
                        <a:pt x="261" y="145"/>
                      </a:lnTo>
                      <a:lnTo>
                        <a:pt x="261" y="146"/>
                      </a:lnTo>
                      <a:lnTo>
                        <a:pt x="261" y="146"/>
                      </a:lnTo>
                      <a:lnTo>
                        <a:pt x="261" y="146"/>
                      </a:lnTo>
                      <a:lnTo>
                        <a:pt x="261" y="147"/>
                      </a:lnTo>
                      <a:lnTo>
                        <a:pt x="261" y="147"/>
                      </a:lnTo>
                      <a:lnTo>
                        <a:pt x="260" y="147"/>
                      </a:lnTo>
                      <a:lnTo>
                        <a:pt x="261" y="147"/>
                      </a:lnTo>
                      <a:lnTo>
                        <a:pt x="261" y="148"/>
                      </a:lnTo>
                      <a:lnTo>
                        <a:pt x="261" y="148"/>
                      </a:lnTo>
                      <a:lnTo>
                        <a:pt x="262" y="148"/>
                      </a:lnTo>
                      <a:lnTo>
                        <a:pt x="261" y="148"/>
                      </a:lnTo>
                      <a:lnTo>
                        <a:pt x="261" y="149"/>
                      </a:lnTo>
                      <a:lnTo>
                        <a:pt x="262" y="149"/>
                      </a:lnTo>
                      <a:lnTo>
                        <a:pt x="262" y="149"/>
                      </a:lnTo>
                      <a:lnTo>
                        <a:pt x="262" y="150"/>
                      </a:lnTo>
                      <a:lnTo>
                        <a:pt x="262" y="149"/>
                      </a:lnTo>
                      <a:lnTo>
                        <a:pt x="263" y="149"/>
                      </a:lnTo>
                      <a:lnTo>
                        <a:pt x="263" y="150"/>
                      </a:lnTo>
                      <a:lnTo>
                        <a:pt x="263" y="150"/>
                      </a:lnTo>
                      <a:lnTo>
                        <a:pt x="263" y="151"/>
                      </a:lnTo>
                      <a:lnTo>
                        <a:pt x="263" y="151"/>
                      </a:lnTo>
                      <a:lnTo>
                        <a:pt x="263" y="151"/>
                      </a:lnTo>
                      <a:lnTo>
                        <a:pt x="263" y="152"/>
                      </a:lnTo>
                      <a:lnTo>
                        <a:pt x="263" y="151"/>
                      </a:lnTo>
                      <a:lnTo>
                        <a:pt x="263" y="151"/>
                      </a:lnTo>
                      <a:lnTo>
                        <a:pt x="263" y="152"/>
                      </a:lnTo>
                      <a:lnTo>
                        <a:pt x="263" y="152"/>
                      </a:lnTo>
                      <a:lnTo>
                        <a:pt x="263" y="152"/>
                      </a:lnTo>
                      <a:lnTo>
                        <a:pt x="263" y="152"/>
                      </a:lnTo>
                      <a:lnTo>
                        <a:pt x="263" y="153"/>
                      </a:lnTo>
                      <a:lnTo>
                        <a:pt x="263" y="153"/>
                      </a:lnTo>
                      <a:lnTo>
                        <a:pt x="263" y="153"/>
                      </a:lnTo>
                      <a:lnTo>
                        <a:pt x="263" y="153"/>
                      </a:lnTo>
                      <a:lnTo>
                        <a:pt x="263" y="153"/>
                      </a:lnTo>
                      <a:lnTo>
                        <a:pt x="263" y="152"/>
                      </a:lnTo>
                      <a:lnTo>
                        <a:pt x="263" y="153"/>
                      </a:lnTo>
                      <a:lnTo>
                        <a:pt x="263" y="153"/>
                      </a:lnTo>
                      <a:lnTo>
                        <a:pt x="264" y="153"/>
                      </a:lnTo>
                      <a:lnTo>
                        <a:pt x="264" y="154"/>
                      </a:lnTo>
                      <a:lnTo>
                        <a:pt x="264" y="154"/>
                      </a:lnTo>
                      <a:lnTo>
                        <a:pt x="264" y="155"/>
                      </a:lnTo>
                      <a:lnTo>
                        <a:pt x="264" y="155"/>
                      </a:lnTo>
                      <a:lnTo>
                        <a:pt x="264" y="155"/>
                      </a:lnTo>
                      <a:lnTo>
                        <a:pt x="264" y="155"/>
                      </a:lnTo>
                      <a:lnTo>
                        <a:pt x="264" y="156"/>
                      </a:lnTo>
                      <a:lnTo>
                        <a:pt x="263" y="156"/>
                      </a:lnTo>
                      <a:lnTo>
                        <a:pt x="263" y="156"/>
                      </a:lnTo>
                      <a:lnTo>
                        <a:pt x="264" y="156"/>
                      </a:lnTo>
                      <a:lnTo>
                        <a:pt x="264" y="157"/>
                      </a:lnTo>
                      <a:lnTo>
                        <a:pt x="264" y="157"/>
                      </a:lnTo>
                      <a:lnTo>
                        <a:pt x="264" y="158"/>
                      </a:lnTo>
                      <a:lnTo>
                        <a:pt x="264" y="158"/>
                      </a:lnTo>
                      <a:lnTo>
                        <a:pt x="264" y="159"/>
                      </a:lnTo>
                      <a:lnTo>
                        <a:pt x="264" y="159"/>
                      </a:lnTo>
                      <a:lnTo>
                        <a:pt x="264" y="159"/>
                      </a:lnTo>
                      <a:lnTo>
                        <a:pt x="264" y="159"/>
                      </a:lnTo>
                      <a:lnTo>
                        <a:pt x="264" y="159"/>
                      </a:lnTo>
                      <a:lnTo>
                        <a:pt x="264" y="159"/>
                      </a:lnTo>
                      <a:lnTo>
                        <a:pt x="264" y="160"/>
                      </a:lnTo>
                      <a:lnTo>
                        <a:pt x="264" y="160"/>
                      </a:lnTo>
                      <a:lnTo>
                        <a:pt x="264" y="161"/>
                      </a:lnTo>
                      <a:lnTo>
                        <a:pt x="264" y="162"/>
                      </a:lnTo>
                      <a:lnTo>
                        <a:pt x="264" y="162"/>
                      </a:lnTo>
                      <a:lnTo>
                        <a:pt x="264" y="162"/>
                      </a:lnTo>
                      <a:lnTo>
                        <a:pt x="264" y="162"/>
                      </a:lnTo>
                      <a:lnTo>
                        <a:pt x="264" y="162"/>
                      </a:lnTo>
                      <a:lnTo>
                        <a:pt x="264" y="162"/>
                      </a:lnTo>
                      <a:lnTo>
                        <a:pt x="264" y="162"/>
                      </a:lnTo>
                      <a:lnTo>
                        <a:pt x="264" y="163"/>
                      </a:lnTo>
                      <a:lnTo>
                        <a:pt x="264" y="163"/>
                      </a:lnTo>
                      <a:lnTo>
                        <a:pt x="264" y="164"/>
                      </a:lnTo>
                      <a:lnTo>
                        <a:pt x="263" y="164"/>
                      </a:lnTo>
                      <a:lnTo>
                        <a:pt x="263" y="164"/>
                      </a:lnTo>
                      <a:lnTo>
                        <a:pt x="263" y="164"/>
                      </a:lnTo>
                      <a:lnTo>
                        <a:pt x="263" y="164"/>
                      </a:lnTo>
                      <a:lnTo>
                        <a:pt x="262" y="164"/>
                      </a:lnTo>
                      <a:lnTo>
                        <a:pt x="263" y="164"/>
                      </a:lnTo>
                      <a:lnTo>
                        <a:pt x="263" y="164"/>
                      </a:lnTo>
                      <a:lnTo>
                        <a:pt x="262" y="164"/>
                      </a:lnTo>
                      <a:lnTo>
                        <a:pt x="263" y="164"/>
                      </a:lnTo>
                      <a:lnTo>
                        <a:pt x="263" y="164"/>
                      </a:lnTo>
                      <a:lnTo>
                        <a:pt x="263" y="164"/>
                      </a:lnTo>
                      <a:lnTo>
                        <a:pt x="263" y="164"/>
                      </a:lnTo>
                      <a:lnTo>
                        <a:pt x="263" y="164"/>
                      </a:lnTo>
                      <a:lnTo>
                        <a:pt x="263" y="164"/>
                      </a:lnTo>
                      <a:lnTo>
                        <a:pt x="263" y="164"/>
                      </a:lnTo>
                      <a:lnTo>
                        <a:pt x="263" y="164"/>
                      </a:lnTo>
                      <a:lnTo>
                        <a:pt x="263" y="164"/>
                      </a:lnTo>
                      <a:lnTo>
                        <a:pt x="263" y="164"/>
                      </a:lnTo>
                      <a:lnTo>
                        <a:pt x="263" y="164"/>
                      </a:lnTo>
                      <a:lnTo>
                        <a:pt x="262" y="164"/>
                      </a:lnTo>
                      <a:lnTo>
                        <a:pt x="262" y="165"/>
                      </a:lnTo>
                      <a:lnTo>
                        <a:pt x="262" y="164"/>
                      </a:lnTo>
                      <a:lnTo>
                        <a:pt x="263" y="164"/>
                      </a:lnTo>
                      <a:lnTo>
                        <a:pt x="262" y="165"/>
                      </a:lnTo>
                      <a:lnTo>
                        <a:pt x="262" y="166"/>
                      </a:lnTo>
                      <a:lnTo>
                        <a:pt x="261" y="166"/>
                      </a:lnTo>
                      <a:lnTo>
                        <a:pt x="261" y="166"/>
                      </a:lnTo>
                      <a:lnTo>
                        <a:pt x="262" y="166"/>
                      </a:lnTo>
                      <a:lnTo>
                        <a:pt x="262" y="166"/>
                      </a:lnTo>
                      <a:lnTo>
                        <a:pt x="262" y="167"/>
                      </a:lnTo>
                      <a:lnTo>
                        <a:pt x="261" y="167"/>
                      </a:lnTo>
                      <a:lnTo>
                        <a:pt x="262" y="167"/>
                      </a:lnTo>
                      <a:lnTo>
                        <a:pt x="261" y="167"/>
                      </a:lnTo>
                      <a:lnTo>
                        <a:pt x="261" y="168"/>
                      </a:lnTo>
                      <a:lnTo>
                        <a:pt x="261" y="168"/>
                      </a:lnTo>
                      <a:lnTo>
                        <a:pt x="261" y="169"/>
                      </a:lnTo>
                      <a:lnTo>
                        <a:pt x="261" y="169"/>
                      </a:lnTo>
                      <a:lnTo>
                        <a:pt x="261" y="169"/>
                      </a:lnTo>
                      <a:lnTo>
                        <a:pt x="261" y="170"/>
                      </a:lnTo>
                      <a:lnTo>
                        <a:pt x="261" y="169"/>
                      </a:lnTo>
                      <a:lnTo>
                        <a:pt x="260" y="169"/>
                      </a:lnTo>
                      <a:lnTo>
                        <a:pt x="261" y="169"/>
                      </a:lnTo>
                      <a:lnTo>
                        <a:pt x="261" y="170"/>
                      </a:lnTo>
                      <a:lnTo>
                        <a:pt x="261" y="170"/>
                      </a:lnTo>
                      <a:lnTo>
                        <a:pt x="261" y="170"/>
                      </a:lnTo>
                      <a:lnTo>
                        <a:pt x="261" y="170"/>
                      </a:lnTo>
                      <a:lnTo>
                        <a:pt x="261" y="170"/>
                      </a:lnTo>
                      <a:lnTo>
                        <a:pt x="261" y="170"/>
                      </a:lnTo>
                      <a:lnTo>
                        <a:pt x="261" y="170"/>
                      </a:lnTo>
                      <a:lnTo>
                        <a:pt x="260" y="170"/>
                      </a:lnTo>
                      <a:lnTo>
                        <a:pt x="261" y="170"/>
                      </a:lnTo>
                      <a:lnTo>
                        <a:pt x="261" y="170"/>
                      </a:lnTo>
                      <a:lnTo>
                        <a:pt x="260" y="170"/>
                      </a:lnTo>
                      <a:lnTo>
                        <a:pt x="261" y="170"/>
                      </a:lnTo>
                      <a:lnTo>
                        <a:pt x="260" y="170"/>
                      </a:lnTo>
                      <a:lnTo>
                        <a:pt x="260" y="170"/>
                      </a:lnTo>
                      <a:lnTo>
                        <a:pt x="260" y="170"/>
                      </a:lnTo>
                      <a:lnTo>
                        <a:pt x="260" y="170"/>
                      </a:lnTo>
                      <a:lnTo>
                        <a:pt x="259" y="170"/>
                      </a:lnTo>
                      <a:lnTo>
                        <a:pt x="259" y="171"/>
                      </a:lnTo>
                      <a:lnTo>
                        <a:pt x="259" y="170"/>
                      </a:lnTo>
                      <a:lnTo>
                        <a:pt x="259" y="170"/>
                      </a:lnTo>
                      <a:lnTo>
                        <a:pt x="258" y="170"/>
                      </a:lnTo>
                      <a:lnTo>
                        <a:pt x="257" y="170"/>
                      </a:lnTo>
                      <a:lnTo>
                        <a:pt x="257" y="170"/>
                      </a:lnTo>
                      <a:lnTo>
                        <a:pt x="257" y="170"/>
                      </a:lnTo>
                      <a:lnTo>
                        <a:pt x="257" y="170"/>
                      </a:lnTo>
                      <a:lnTo>
                        <a:pt x="256" y="170"/>
                      </a:lnTo>
                      <a:lnTo>
                        <a:pt x="256" y="170"/>
                      </a:lnTo>
                      <a:lnTo>
                        <a:pt x="256" y="170"/>
                      </a:lnTo>
                      <a:lnTo>
                        <a:pt x="256" y="170"/>
                      </a:lnTo>
                      <a:lnTo>
                        <a:pt x="256" y="170"/>
                      </a:lnTo>
                      <a:lnTo>
                        <a:pt x="256" y="170"/>
                      </a:lnTo>
                      <a:lnTo>
                        <a:pt x="255" y="170"/>
                      </a:lnTo>
                      <a:lnTo>
                        <a:pt x="255" y="170"/>
                      </a:lnTo>
                      <a:lnTo>
                        <a:pt x="255" y="170"/>
                      </a:lnTo>
                      <a:lnTo>
                        <a:pt x="255" y="170"/>
                      </a:lnTo>
                      <a:lnTo>
                        <a:pt x="254" y="170"/>
                      </a:lnTo>
                      <a:lnTo>
                        <a:pt x="253" y="170"/>
                      </a:lnTo>
                      <a:lnTo>
                        <a:pt x="254" y="170"/>
                      </a:lnTo>
                      <a:lnTo>
                        <a:pt x="253" y="170"/>
                      </a:lnTo>
                      <a:lnTo>
                        <a:pt x="253" y="170"/>
                      </a:lnTo>
                      <a:lnTo>
                        <a:pt x="252" y="170"/>
                      </a:lnTo>
                      <a:lnTo>
                        <a:pt x="252" y="170"/>
                      </a:lnTo>
                      <a:lnTo>
                        <a:pt x="252" y="170"/>
                      </a:lnTo>
                      <a:lnTo>
                        <a:pt x="252" y="170"/>
                      </a:lnTo>
                      <a:lnTo>
                        <a:pt x="253" y="170"/>
                      </a:lnTo>
                      <a:lnTo>
                        <a:pt x="253" y="170"/>
                      </a:lnTo>
                      <a:lnTo>
                        <a:pt x="253" y="170"/>
                      </a:lnTo>
                      <a:lnTo>
                        <a:pt x="253" y="170"/>
                      </a:lnTo>
                      <a:lnTo>
                        <a:pt x="254" y="170"/>
                      </a:lnTo>
                      <a:lnTo>
                        <a:pt x="253" y="170"/>
                      </a:lnTo>
                      <a:lnTo>
                        <a:pt x="253" y="170"/>
                      </a:lnTo>
                      <a:lnTo>
                        <a:pt x="254" y="170"/>
                      </a:lnTo>
                      <a:lnTo>
                        <a:pt x="255" y="170"/>
                      </a:lnTo>
                      <a:lnTo>
                        <a:pt x="255" y="170"/>
                      </a:lnTo>
                      <a:lnTo>
                        <a:pt x="255" y="170"/>
                      </a:lnTo>
                      <a:lnTo>
                        <a:pt x="255" y="170"/>
                      </a:lnTo>
                      <a:lnTo>
                        <a:pt x="256" y="170"/>
                      </a:lnTo>
                      <a:lnTo>
                        <a:pt x="256" y="170"/>
                      </a:lnTo>
                      <a:lnTo>
                        <a:pt x="256" y="170"/>
                      </a:lnTo>
                      <a:lnTo>
                        <a:pt x="256" y="170"/>
                      </a:lnTo>
                      <a:lnTo>
                        <a:pt x="256" y="170"/>
                      </a:lnTo>
                      <a:lnTo>
                        <a:pt x="257" y="170"/>
                      </a:lnTo>
                      <a:lnTo>
                        <a:pt x="257" y="170"/>
                      </a:lnTo>
                      <a:lnTo>
                        <a:pt x="257" y="170"/>
                      </a:lnTo>
                      <a:lnTo>
                        <a:pt x="257" y="170"/>
                      </a:lnTo>
                      <a:lnTo>
                        <a:pt x="258" y="170"/>
                      </a:lnTo>
                      <a:lnTo>
                        <a:pt x="258" y="170"/>
                      </a:lnTo>
                      <a:lnTo>
                        <a:pt x="259" y="170"/>
                      </a:lnTo>
                      <a:lnTo>
                        <a:pt x="259" y="171"/>
                      </a:lnTo>
                      <a:lnTo>
                        <a:pt x="259" y="170"/>
                      </a:lnTo>
                      <a:lnTo>
                        <a:pt x="260" y="170"/>
                      </a:lnTo>
                      <a:lnTo>
                        <a:pt x="260" y="170"/>
                      </a:lnTo>
                      <a:lnTo>
                        <a:pt x="260" y="170"/>
                      </a:lnTo>
                      <a:lnTo>
                        <a:pt x="260" y="170"/>
                      </a:lnTo>
                      <a:lnTo>
                        <a:pt x="260" y="170"/>
                      </a:lnTo>
                      <a:lnTo>
                        <a:pt x="261" y="170"/>
                      </a:lnTo>
                      <a:lnTo>
                        <a:pt x="260" y="170"/>
                      </a:lnTo>
                      <a:lnTo>
                        <a:pt x="261" y="170"/>
                      </a:lnTo>
                      <a:lnTo>
                        <a:pt x="261" y="170"/>
                      </a:lnTo>
                      <a:lnTo>
                        <a:pt x="261" y="170"/>
                      </a:lnTo>
                      <a:lnTo>
                        <a:pt x="261" y="170"/>
                      </a:lnTo>
                      <a:lnTo>
                        <a:pt x="261" y="171"/>
                      </a:lnTo>
                      <a:lnTo>
                        <a:pt x="261" y="171"/>
                      </a:lnTo>
                      <a:lnTo>
                        <a:pt x="261" y="171"/>
                      </a:lnTo>
                      <a:lnTo>
                        <a:pt x="262" y="171"/>
                      </a:lnTo>
                      <a:lnTo>
                        <a:pt x="263" y="171"/>
                      </a:lnTo>
                      <a:lnTo>
                        <a:pt x="263" y="171"/>
                      </a:lnTo>
                      <a:lnTo>
                        <a:pt x="264" y="171"/>
                      </a:lnTo>
                      <a:lnTo>
                        <a:pt x="264" y="171"/>
                      </a:lnTo>
                      <a:lnTo>
                        <a:pt x="265" y="171"/>
                      </a:lnTo>
                      <a:lnTo>
                        <a:pt x="266" y="171"/>
                      </a:lnTo>
                      <a:lnTo>
                        <a:pt x="266" y="171"/>
                      </a:lnTo>
                      <a:lnTo>
                        <a:pt x="267" y="171"/>
                      </a:lnTo>
                      <a:lnTo>
                        <a:pt x="266" y="171"/>
                      </a:lnTo>
                      <a:lnTo>
                        <a:pt x="267" y="171"/>
                      </a:lnTo>
                      <a:lnTo>
                        <a:pt x="267" y="172"/>
                      </a:lnTo>
                      <a:lnTo>
                        <a:pt x="266" y="172"/>
                      </a:lnTo>
                      <a:lnTo>
                        <a:pt x="266" y="172"/>
                      </a:lnTo>
                      <a:lnTo>
                        <a:pt x="266" y="173"/>
                      </a:lnTo>
                      <a:lnTo>
                        <a:pt x="266" y="172"/>
                      </a:lnTo>
                      <a:lnTo>
                        <a:pt x="266" y="172"/>
                      </a:lnTo>
                      <a:lnTo>
                        <a:pt x="267" y="172"/>
                      </a:lnTo>
                      <a:lnTo>
                        <a:pt x="267" y="171"/>
                      </a:lnTo>
                      <a:lnTo>
                        <a:pt x="267" y="172"/>
                      </a:lnTo>
                      <a:lnTo>
                        <a:pt x="267" y="171"/>
                      </a:lnTo>
                      <a:lnTo>
                        <a:pt x="267" y="172"/>
                      </a:lnTo>
                      <a:lnTo>
                        <a:pt x="267" y="172"/>
                      </a:lnTo>
                      <a:lnTo>
                        <a:pt x="267" y="171"/>
                      </a:lnTo>
                      <a:lnTo>
                        <a:pt x="267" y="172"/>
                      </a:lnTo>
                      <a:lnTo>
                        <a:pt x="267" y="171"/>
                      </a:lnTo>
                      <a:lnTo>
                        <a:pt x="267" y="172"/>
                      </a:lnTo>
                      <a:lnTo>
                        <a:pt x="267" y="173"/>
                      </a:lnTo>
                      <a:lnTo>
                        <a:pt x="268" y="173"/>
                      </a:lnTo>
                      <a:lnTo>
                        <a:pt x="268" y="173"/>
                      </a:lnTo>
                      <a:lnTo>
                        <a:pt x="269" y="173"/>
                      </a:lnTo>
                      <a:lnTo>
                        <a:pt x="270" y="173"/>
                      </a:lnTo>
                      <a:lnTo>
                        <a:pt x="270" y="173"/>
                      </a:lnTo>
                      <a:lnTo>
                        <a:pt x="270" y="173"/>
                      </a:lnTo>
                      <a:lnTo>
                        <a:pt x="270" y="173"/>
                      </a:lnTo>
                      <a:lnTo>
                        <a:pt x="271" y="173"/>
                      </a:lnTo>
                      <a:lnTo>
                        <a:pt x="271" y="173"/>
                      </a:lnTo>
                      <a:lnTo>
                        <a:pt x="271" y="173"/>
                      </a:lnTo>
                      <a:lnTo>
                        <a:pt x="271" y="173"/>
                      </a:lnTo>
                      <a:lnTo>
                        <a:pt x="272" y="173"/>
                      </a:lnTo>
                      <a:lnTo>
                        <a:pt x="272" y="173"/>
                      </a:lnTo>
                      <a:lnTo>
                        <a:pt x="272" y="173"/>
                      </a:lnTo>
                      <a:lnTo>
                        <a:pt x="273" y="173"/>
                      </a:lnTo>
                      <a:lnTo>
                        <a:pt x="274" y="173"/>
                      </a:lnTo>
                      <a:lnTo>
                        <a:pt x="274" y="174"/>
                      </a:lnTo>
                      <a:lnTo>
                        <a:pt x="274" y="174"/>
                      </a:lnTo>
                      <a:lnTo>
                        <a:pt x="275" y="174"/>
                      </a:lnTo>
                      <a:lnTo>
                        <a:pt x="275" y="175"/>
                      </a:lnTo>
                      <a:lnTo>
                        <a:pt x="275" y="175"/>
                      </a:lnTo>
                      <a:lnTo>
                        <a:pt x="275" y="175"/>
                      </a:lnTo>
                      <a:lnTo>
                        <a:pt x="276" y="175"/>
                      </a:lnTo>
                      <a:lnTo>
                        <a:pt x="276" y="176"/>
                      </a:lnTo>
                      <a:lnTo>
                        <a:pt x="275" y="176"/>
                      </a:lnTo>
                      <a:lnTo>
                        <a:pt x="276" y="176"/>
                      </a:lnTo>
                      <a:lnTo>
                        <a:pt x="275" y="176"/>
                      </a:lnTo>
                      <a:lnTo>
                        <a:pt x="275" y="177"/>
                      </a:lnTo>
                      <a:lnTo>
                        <a:pt x="275" y="177"/>
                      </a:lnTo>
                      <a:lnTo>
                        <a:pt x="275" y="178"/>
                      </a:lnTo>
                      <a:lnTo>
                        <a:pt x="275" y="178"/>
                      </a:lnTo>
                      <a:lnTo>
                        <a:pt x="275" y="179"/>
                      </a:lnTo>
                      <a:lnTo>
                        <a:pt x="274" y="179"/>
                      </a:lnTo>
                      <a:lnTo>
                        <a:pt x="274" y="179"/>
                      </a:lnTo>
                      <a:lnTo>
                        <a:pt x="273" y="179"/>
                      </a:lnTo>
                      <a:lnTo>
                        <a:pt x="273" y="179"/>
                      </a:lnTo>
                      <a:lnTo>
                        <a:pt x="272" y="179"/>
                      </a:lnTo>
                      <a:lnTo>
                        <a:pt x="272" y="179"/>
                      </a:lnTo>
                      <a:lnTo>
                        <a:pt x="271" y="180"/>
                      </a:lnTo>
                      <a:lnTo>
                        <a:pt x="271" y="181"/>
                      </a:lnTo>
                      <a:lnTo>
                        <a:pt x="271" y="181"/>
                      </a:lnTo>
                      <a:lnTo>
                        <a:pt x="271" y="181"/>
                      </a:lnTo>
                      <a:lnTo>
                        <a:pt x="271" y="181"/>
                      </a:lnTo>
                      <a:lnTo>
                        <a:pt x="271" y="182"/>
                      </a:lnTo>
                      <a:lnTo>
                        <a:pt x="272" y="182"/>
                      </a:lnTo>
                      <a:lnTo>
                        <a:pt x="271" y="182"/>
                      </a:lnTo>
                      <a:lnTo>
                        <a:pt x="271" y="183"/>
                      </a:lnTo>
                      <a:lnTo>
                        <a:pt x="271" y="184"/>
                      </a:lnTo>
                      <a:lnTo>
                        <a:pt x="271" y="184"/>
                      </a:lnTo>
                      <a:lnTo>
                        <a:pt x="272" y="184"/>
                      </a:lnTo>
                      <a:lnTo>
                        <a:pt x="272" y="184"/>
                      </a:lnTo>
                      <a:lnTo>
                        <a:pt x="272" y="185"/>
                      </a:lnTo>
                      <a:lnTo>
                        <a:pt x="273" y="185"/>
                      </a:lnTo>
                      <a:lnTo>
                        <a:pt x="273" y="184"/>
                      </a:lnTo>
                      <a:lnTo>
                        <a:pt x="274" y="184"/>
                      </a:lnTo>
                      <a:lnTo>
                        <a:pt x="274" y="185"/>
                      </a:lnTo>
                      <a:lnTo>
                        <a:pt x="274" y="185"/>
                      </a:lnTo>
                      <a:lnTo>
                        <a:pt x="274" y="185"/>
                      </a:lnTo>
                      <a:lnTo>
                        <a:pt x="274" y="185"/>
                      </a:lnTo>
                      <a:lnTo>
                        <a:pt x="273" y="185"/>
                      </a:lnTo>
                      <a:lnTo>
                        <a:pt x="273" y="186"/>
                      </a:lnTo>
                      <a:lnTo>
                        <a:pt x="274" y="186"/>
                      </a:lnTo>
                      <a:lnTo>
                        <a:pt x="273" y="186"/>
                      </a:lnTo>
                      <a:lnTo>
                        <a:pt x="273" y="187"/>
                      </a:lnTo>
                      <a:lnTo>
                        <a:pt x="273" y="188"/>
                      </a:lnTo>
                      <a:lnTo>
                        <a:pt x="272" y="188"/>
                      </a:lnTo>
                      <a:lnTo>
                        <a:pt x="272" y="188"/>
                      </a:lnTo>
                      <a:lnTo>
                        <a:pt x="272" y="188"/>
                      </a:lnTo>
                      <a:lnTo>
                        <a:pt x="272" y="188"/>
                      </a:lnTo>
                      <a:lnTo>
                        <a:pt x="272" y="189"/>
                      </a:lnTo>
                      <a:lnTo>
                        <a:pt x="273" y="189"/>
                      </a:lnTo>
                      <a:lnTo>
                        <a:pt x="272" y="189"/>
                      </a:lnTo>
                      <a:lnTo>
                        <a:pt x="272" y="189"/>
                      </a:lnTo>
                      <a:lnTo>
                        <a:pt x="273" y="189"/>
                      </a:lnTo>
                      <a:lnTo>
                        <a:pt x="274" y="189"/>
                      </a:lnTo>
                      <a:lnTo>
                        <a:pt x="274" y="190"/>
                      </a:lnTo>
                      <a:lnTo>
                        <a:pt x="274" y="190"/>
                      </a:lnTo>
                      <a:lnTo>
                        <a:pt x="274" y="190"/>
                      </a:lnTo>
                      <a:lnTo>
                        <a:pt x="274" y="191"/>
                      </a:lnTo>
                      <a:lnTo>
                        <a:pt x="275" y="191"/>
                      </a:lnTo>
                      <a:lnTo>
                        <a:pt x="274" y="191"/>
                      </a:lnTo>
                      <a:lnTo>
                        <a:pt x="275" y="191"/>
                      </a:lnTo>
                      <a:lnTo>
                        <a:pt x="274" y="191"/>
                      </a:lnTo>
                      <a:lnTo>
                        <a:pt x="275" y="191"/>
                      </a:lnTo>
                      <a:lnTo>
                        <a:pt x="274" y="191"/>
                      </a:lnTo>
                      <a:lnTo>
                        <a:pt x="274" y="190"/>
                      </a:lnTo>
                      <a:lnTo>
                        <a:pt x="274" y="190"/>
                      </a:lnTo>
                      <a:lnTo>
                        <a:pt x="274" y="190"/>
                      </a:lnTo>
                      <a:lnTo>
                        <a:pt x="274" y="189"/>
                      </a:lnTo>
                      <a:lnTo>
                        <a:pt x="273" y="189"/>
                      </a:lnTo>
                      <a:lnTo>
                        <a:pt x="272" y="189"/>
                      </a:lnTo>
                      <a:lnTo>
                        <a:pt x="272" y="189"/>
                      </a:lnTo>
                      <a:lnTo>
                        <a:pt x="273" y="189"/>
                      </a:lnTo>
                      <a:lnTo>
                        <a:pt x="272" y="189"/>
                      </a:lnTo>
                      <a:lnTo>
                        <a:pt x="272" y="188"/>
                      </a:lnTo>
                      <a:lnTo>
                        <a:pt x="272" y="188"/>
                      </a:lnTo>
                      <a:lnTo>
                        <a:pt x="272" y="188"/>
                      </a:lnTo>
                      <a:lnTo>
                        <a:pt x="272" y="188"/>
                      </a:lnTo>
                      <a:lnTo>
                        <a:pt x="273" y="188"/>
                      </a:lnTo>
                      <a:lnTo>
                        <a:pt x="273" y="187"/>
                      </a:lnTo>
                      <a:lnTo>
                        <a:pt x="273" y="186"/>
                      </a:lnTo>
                      <a:lnTo>
                        <a:pt x="274" y="186"/>
                      </a:lnTo>
                      <a:lnTo>
                        <a:pt x="274" y="186"/>
                      </a:lnTo>
                      <a:lnTo>
                        <a:pt x="273" y="185"/>
                      </a:lnTo>
                      <a:lnTo>
                        <a:pt x="274" y="185"/>
                      </a:lnTo>
                      <a:lnTo>
                        <a:pt x="274" y="185"/>
                      </a:lnTo>
                      <a:lnTo>
                        <a:pt x="274" y="185"/>
                      </a:lnTo>
                      <a:lnTo>
                        <a:pt x="274" y="184"/>
                      </a:lnTo>
                      <a:lnTo>
                        <a:pt x="273" y="184"/>
                      </a:lnTo>
                      <a:lnTo>
                        <a:pt x="272" y="185"/>
                      </a:lnTo>
                      <a:lnTo>
                        <a:pt x="272" y="184"/>
                      </a:lnTo>
                      <a:lnTo>
                        <a:pt x="272" y="184"/>
                      </a:lnTo>
                      <a:lnTo>
                        <a:pt x="271" y="184"/>
                      </a:lnTo>
                      <a:lnTo>
                        <a:pt x="271" y="184"/>
                      </a:lnTo>
                      <a:lnTo>
                        <a:pt x="271" y="183"/>
                      </a:lnTo>
                      <a:lnTo>
                        <a:pt x="271" y="182"/>
                      </a:lnTo>
                      <a:lnTo>
                        <a:pt x="272" y="182"/>
                      </a:lnTo>
                      <a:lnTo>
                        <a:pt x="272" y="182"/>
                      </a:lnTo>
                      <a:lnTo>
                        <a:pt x="271" y="182"/>
                      </a:lnTo>
                      <a:lnTo>
                        <a:pt x="271" y="181"/>
                      </a:lnTo>
                      <a:lnTo>
                        <a:pt x="271" y="181"/>
                      </a:lnTo>
                      <a:lnTo>
                        <a:pt x="271" y="181"/>
                      </a:lnTo>
                      <a:lnTo>
                        <a:pt x="271" y="181"/>
                      </a:lnTo>
                      <a:lnTo>
                        <a:pt x="271" y="180"/>
                      </a:lnTo>
                      <a:lnTo>
                        <a:pt x="272" y="180"/>
                      </a:lnTo>
                      <a:lnTo>
                        <a:pt x="272" y="179"/>
                      </a:lnTo>
                      <a:lnTo>
                        <a:pt x="272" y="179"/>
                      </a:lnTo>
                      <a:lnTo>
                        <a:pt x="273" y="179"/>
                      </a:lnTo>
                      <a:lnTo>
                        <a:pt x="273" y="179"/>
                      </a:lnTo>
                      <a:lnTo>
                        <a:pt x="274" y="179"/>
                      </a:lnTo>
                      <a:lnTo>
                        <a:pt x="274" y="179"/>
                      </a:lnTo>
                      <a:lnTo>
                        <a:pt x="275" y="179"/>
                      </a:lnTo>
                      <a:lnTo>
                        <a:pt x="275" y="178"/>
                      </a:lnTo>
                      <a:lnTo>
                        <a:pt x="275" y="178"/>
                      </a:lnTo>
                      <a:lnTo>
                        <a:pt x="275" y="177"/>
                      </a:lnTo>
                      <a:lnTo>
                        <a:pt x="275" y="177"/>
                      </a:lnTo>
                      <a:lnTo>
                        <a:pt x="275" y="177"/>
                      </a:lnTo>
                      <a:lnTo>
                        <a:pt x="275" y="176"/>
                      </a:lnTo>
                      <a:lnTo>
                        <a:pt x="276" y="176"/>
                      </a:lnTo>
                      <a:lnTo>
                        <a:pt x="276" y="175"/>
                      </a:lnTo>
                      <a:lnTo>
                        <a:pt x="276" y="175"/>
                      </a:lnTo>
                      <a:lnTo>
                        <a:pt x="275" y="175"/>
                      </a:lnTo>
                      <a:lnTo>
                        <a:pt x="275" y="174"/>
                      </a:lnTo>
                      <a:lnTo>
                        <a:pt x="274" y="174"/>
                      </a:lnTo>
                      <a:lnTo>
                        <a:pt x="274" y="174"/>
                      </a:lnTo>
                      <a:lnTo>
                        <a:pt x="274" y="174"/>
                      </a:lnTo>
                      <a:lnTo>
                        <a:pt x="274" y="173"/>
                      </a:lnTo>
                      <a:lnTo>
                        <a:pt x="273" y="173"/>
                      </a:lnTo>
                      <a:lnTo>
                        <a:pt x="272" y="173"/>
                      </a:lnTo>
                      <a:lnTo>
                        <a:pt x="272" y="173"/>
                      </a:lnTo>
                      <a:lnTo>
                        <a:pt x="272" y="173"/>
                      </a:lnTo>
                      <a:lnTo>
                        <a:pt x="271" y="173"/>
                      </a:lnTo>
                      <a:lnTo>
                        <a:pt x="271" y="173"/>
                      </a:lnTo>
                      <a:lnTo>
                        <a:pt x="270" y="173"/>
                      </a:lnTo>
                      <a:lnTo>
                        <a:pt x="270" y="172"/>
                      </a:lnTo>
                      <a:lnTo>
                        <a:pt x="271" y="173"/>
                      </a:lnTo>
                      <a:lnTo>
                        <a:pt x="271" y="172"/>
                      </a:lnTo>
                      <a:lnTo>
                        <a:pt x="270" y="172"/>
                      </a:lnTo>
                      <a:lnTo>
                        <a:pt x="270" y="173"/>
                      </a:lnTo>
                      <a:lnTo>
                        <a:pt x="269" y="173"/>
                      </a:lnTo>
                      <a:lnTo>
                        <a:pt x="268" y="173"/>
                      </a:lnTo>
                      <a:lnTo>
                        <a:pt x="269" y="173"/>
                      </a:lnTo>
                      <a:lnTo>
                        <a:pt x="268" y="173"/>
                      </a:lnTo>
                      <a:lnTo>
                        <a:pt x="268" y="173"/>
                      </a:lnTo>
                      <a:lnTo>
                        <a:pt x="268" y="172"/>
                      </a:lnTo>
                      <a:lnTo>
                        <a:pt x="268" y="171"/>
                      </a:lnTo>
                      <a:lnTo>
                        <a:pt x="269" y="171"/>
                      </a:lnTo>
                      <a:lnTo>
                        <a:pt x="270" y="171"/>
                      </a:lnTo>
                      <a:lnTo>
                        <a:pt x="270" y="171"/>
                      </a:lnTo>
                      <a:lnTo>
                        <a:pt x="271" y="171"/>
                      </a:lnTo>
                      <a:lnTo>
                        <a:pt x="271" y="172"/>
                      </a:lnTo>
                      <a:lnTo>
                        <a:pt x="272" y="172"/>
                      </a:lnTo>
                      <a:lnTo>
                        <a:pt x="272" y="171"/>
                      </a:lnTo>
                      <a:lnTo>
                        <a:pt x="272" y="172"/>
                      </a:lnTo>
                      <a:lnTo>
                        <a:pt x="272" y="171"/>
                      </a:lnTo>
                      <a:lnTo>
                        <a:pt x="272" y="171"/>
                      </a:lnTo>
                      <a:lnTo>
                        <a:pt x="272" y="171"/>
                      </a:lnTo>
                      <a:lnTo>
                        <a:pt x="272" y="172"/>
                      </a:lnTo>
                      <a:lnTo>
                        <a:pt x="272" y="171"/>
                      </a:lnTo>
                      <a:lnTo>
                        <a:pt x="272" y="171"/>
                      </a:lnTo>
                      <a:lnTo>
                        <a:pt x="273" y="171"/>
                      </a:lnTo>
                      <a:lnTo>
                        <a:pt x="274" y="171"/>
                      </a:lnTo>
                      <a:lnTo>
                        <a:pt x="274" y="170"/>
                      </a:lnTo>
                      <a:lnTo>
                        <a:pt x="275" y="170"/>
                      </a:lnTo>
                      <a:lnTo>
                        <a:pt x="275" y="170"/>
                      </a:lnTo>
                      <a:lnTo>
                        <a:pt x="276" y="170"/>
                      </a:lnTo>
                      <a:lnTo>
                        <a:pt x="276" y="170"/>
                      </a:lnTo>
                      <a:lnTo>
                        <a:pt x="276" y="170"/>
                      </a:lnTo>
                      <a:lnTo>
                        <a:pt x="277" y="170"/>
                      </a:lnTo>
                      <a:lnTo>
                        <a:pt x="278" y="170"/>
                      </a:lnTo>
                      <a:lnTo>
                        <a:pt x="278" y="170"/>
                      </a:lnTo>
                      <a:lnTo>
                        <a:pt x="279" y="170"/>
                      </a:lnTo>
                      <a:lnTo>
                        <a:pt x="279" y="170"/>
                      </a:lnTo>
                      <a:lnTo>
                        <a:pt x="279" y="170"/>
                      </a:lnTo>
                      <a:lnTo>
                        <a:pt x="280" y="169"/>
                      </a:lnTo>
                      <a:lnTo>
                        <a:pt x="280" y="170"/>
                      </a:lnTo>
                      <a:lnTo>
                        <a:pt x="280" y="169"/>
                      </a:lnTo>
                      <a:lnTo>
                        <a:pt x="281" y="169"/>
                      </a:lnTo>
                      <a:lnTo>
                        <a:pt x="281" y="169"/>
                      </a:lnTo>
                      <a:lnTo>
                        <a:pt x="281" y="168"/>
                      </a:lnTo>
                      <a:lnTo>
                        <a:pt x="281" y="169"/>
                      </a:lnTo>
                      <a:lnTo>
                        <a:pt x="281" y="168"/>
                      </a:lnTo>
                      <a:lnTo>
                        <a:pt x="281" y="169"/>
                      </a:lnTo>
                      <a:lnTo>
                        <a:pt x="280" y="169"/>
                      </a:lnTo>
                      <a:lnTo>
                        <a:pt x="281" y="169"/>
                      </a:lnTo>
                      <a:lnTo>
                        <a:pt x="280" y="169"/>
                      </a:lnTo>
                      <a:lnTo>
                        <a:pt x="279" y="170"/>
                      </a:lnTo>
                      <a:lnTo>
                        <a:pt x="279" y="169"/>
                      </a:lnTo>
                      <a:lnTo>
                        <a:pt x="280" y="169"/>
                      </a:lnTo>
                      <a:lnTo>
                        <a:pt x="279" y="169"/>
                      </a:lnTo>
                      <a:lnTo>
                        <a:pt x="279" y="170"/>
                      </a:lnTo>
                      <a:lnTo>
                        <a:pt x="279" y="169"/>
                      </a:lnTo>
                      <a:lnTo>
                        <a:pt x="280" y="169"/>
                      </a:lnTo>
                      <a:lnTo>
                        <a:pt x="280" y="168"/>
                      </a:lnTo>
                      <a:lnTo>
                        <a:pt x="281" y="168"/>
                      </a:lnTo>
                      <a:lnTo>
                        <a:pt x="281" y="167"/>
                      </a:lnTo>
                      <a:lnTo>
                        <a:pt x="281" y="168"/>
                      </a:lnTo>
                      <a:lnTo>
                        <a:pt x="281" y="167"/>
                      </a:lnTo>
                      <a:lnTo>
                        <a:pt x="281" y="167"/>
                      </a:lnTo>
                      <a:lnTo>
                        <a:pt x="281" y="167"/>
                      </a:lnTo>
                      <a:lnTo>
                        <a:pt x="282" y="167"/>
                      </a:lnTo>
                      <a:lnTo>
                        <a:pt x="282" y="167"/>
                      </a:lnTo>
                      <a:lnTo>
                        <a:pt x="283" y="167"/>
                      </a:lnTo>
                      <a:lnTo>
                        <a:pt x="283" y="166"/>
                      </a:lnTo>
                      <a:lnTo>
                        <a:pt x="284" y="166"/>
                      </a:lnTo>
                      <a:lnTo>
                        <a:pt x="284" y="165"/>
                      </a:lnTo>
                      <a:lnTo>
                        <a:pt x="285" y="165"/>
                      </a:lnTo>
                      <a:lnTo>
                        <a:pt x="285" y="164"/>
                      </a:lnTo>
                      <a:lnTo>
                        <a:pt x="285" y="164"/>
                      </a:lnTo>
                      <a:lnTo>
                        <a:pt x="286" y="164"/>
                      </a:lnTo>
                      <a:lnTo>
                        <a:pt x="286" y="164"/>
                      </a:lnTo>
                      <a:lnTo>
                        <a:pt x="286" y="164"/>
                      </a:lnTo>
                      <a:lnTo>
                        <a:pt x="286" y="163"/>
                      </a:lnTo>
                      <a:lnTo>
                        <a:pt x="286" y="163"/>
                      </a:lnTo>
                      <a:lnTo>
                        <a:pt x="286" y="163"/>
                      </a:lnTo>
                      <a:lnTo>
                        <a:pt x="286" y="163"/>
                      </a:lnTo>
                      <a:lnTo>
                        <a:pt x="286" y="163"/>
                      </a:lnTo>
                      <a:lnTo>
                        <a:pt x="286" y="162"/>
                      </a:lnTo>
                      <a:lnTo>
                        <a:pt x="286" y="162"/>
                      </a:lnTo>
                      <a:lnTo>
                        <a:pt x="286" y="162"/>
                      </a:lnTo>
                      <a:lnTo>
                        <a:pt x="286" y="161"/>
                      </a:lnTo>
                      <a:lnTo>
                        <a:pt x="287" y="161"/>
                      </a:lnTo>
                      <a:lnTo>
                        <a:pt x="287" y="160"/>
                      </a:lnTo>
                      <a:lnTo>
                        <a:pt x="287" y="160"/>
                      </a:lnTo>
                      <a:lnTo>
                        <a:pt x="288" y="160"/>
                      </a:lnTo>
                      <a:lnTo>
                        <a:pt x="288" y="160"/>
                      </a:lnTo>
                      <a:lnTo>
                        <a:pt x="288" y="160"/>
                      </a:lnTo>
                      <a:lnTo>
                        <a:pt x="287" y="160"/>
                      </a:lnTo>
                      <a:lnTo>
                        <a:pt x="288" y="160"/>
                      </a:lnTo>
                      <a:lnTo>
                        <a:pt x="287" y="160"/>
                      </a:lnTo>
                      <a:lnTo>
                        <a:pt x="288" y="160"/>
                      </a:lnTo>
                      <a:lnTo>
                        <a:pt x="289" y="160"/>
                      </a:lnTo>
                      <a:lnTo>
                        <a:pt x="289" y="159"/>
                      </a:lnTo>
                      <a:lnTo>
                        <a:pt x="289" y="159"/>
                      </a:lnTo>
                      <a:lnTo>
                        <a:pt x="290" y="159"/>
                      </a:lnTo>
                      <a:lnTo>
                        <a:pt x="290" y="159"/>
                      </a:lnTo>
                      <a:lnTo>
                        <a:pt x="291" y="159"/>
                      </a:lnTo>
                      <a:lnTo>
                        <a:pt x="292" y="159"/>
                      </a:lnTo>
                      <a:lnTo>
                        <a:pt x="292" y="158"/>
                      </a:lnTo>
                      <a:lnTo>
                        <a:pt x="292" y="159"/>
                      </a:lnTo>
                      <a:lnTo>
                        <a:pt x="292" y="158"/>
                      </a:lnTo>
                      <a:lnTo>
                        <a:pt x="292" y="158"/>
                      </a:lnTo>
                      <a:lnTo>
                        <a:pt x="293" y="158"/>
                      </a:lnTo>
                      <a:lnTo>
                        <a:pt x="293" y="159"/>
                      </a:lnTo>
                      <a:lnTo>
                        <a:pt x="293" y="158"/>
                      </a:lnTo>
                      <a:lnTo>
                        <a:pt x="293" y="158"/>
                      </a:lnTo>
                      <a:lnTo>
                        <a:pt x="293" y="158"/>
                      </a:lnTo>
                      <a:lnTo>
                        <a:pt x="292" y="158"/>
                      </a:lnTo>
                      <a:lnTo>
                        <a:pt x="293" y="158"/>
                      </a:lnTo>
                      <a:lnTo>
                        <a:pt x="292" y="158"/>
                      </a:lnTo>
                      <a:lnTo>
                        <a:pt x="293" y="158"/>
                      </a:lnTo>
                      <a:lnTo>
                        <a:pt x="293" y="158"/>
                      </a:lnTo>
                      <a:lnTo>
                        <a:pt x="294" y="158"/>
                      </a:lnTo>
                      <a:lnTo>
                        <a:pt x="293" y="158"/>
                      </a:lnTo>
                      <a:lnTo>
                        <a:pt x="294" y="158"/>
                      </a:lnTo>
                      <a:lnTo>
                        <a:pt x="294" y="158"/>
                      </a:lnTo>
                      <a:lnTo>
                        <a:pt x="295" y="158"/>
                      </a:lnTo>
                      <a:lnTo>
                        <a:pt x="294" y="158"/>
                      </a:lnTo>
                      <a:lnTo>
                        <a:pt x="295" y="158"/>
                      </a:lnTo>
                      <a:lnTo>
                        <a:pt x="296" y="158"/>
                      </a:lnTo>
                      <a:lnTo>
                        <a:pt x="296" y="158"/>
                      </a:lnTo>
                      <a:lnTo>
                        <a:pt x="296" y="159"/>
                      </a:lnTo>
                      <a:lnTo>
                        <a:pt x="296" y="159"/>
                      </a:lnTo>
                      <a:lnTo>
                        <a:pt x="297" y="159"/>
                      </a:lnTo>
                      <a:lnTo>
                        <a:pt x="297" y="160"/>
                      </a:lnTo>
                      <a:lnTo>
                        <a:pt x="297" y="160"/>
                      </a:lnTo>
                      <a:lnTo>
                        <a:pt x="297" y="160"/>
                      </a:lnTo>
                      <a:lnTo>
                        <a:pt x="298" y="160"/>
                      </a:lnTo>
                      <a:lnTo>
                        <a:pt x="298" y="160"/>
                      </a:lnTo>
                      <a:lnTo>
                        <a:pt x="298" y="161"/>
                      </a:lnTo>
                      <a:lnTo>
                        <a:pt x="298" y="162"/>
                      </a:lnTo>
                      <a:lnTo>
                        <a:pt x="298" y="161"/>
                      </a:lnTo>
                      <a:lnTo>
                        <a:pt x="298" y="162"/>
                      </a:lnTo>
                      <a:lnTo>
                        <a:pt x="298" y="162"/>
                      </a:lnTo>
                      <a:lnTo>
                        <a:pt x="298" y="162"/>
                      </a:lnTo>
                      <a:lnTo>
                        <a:pt x="298" y="163"/>
                      </a:lnTo>
                      <a:lnTo>
                        <a:pt x="298" y="162"/>
                      </a:lnTo>
                      <a:lnTo>
                        <a:pt x="299" y="163"/>
                      </a:lnTo>
                      <a:lnTo>
                        <a:pt x="300" y="163"/>
                      </a:lnTo>
                      <a:lnTo>
                        <a:pt x="300" y="163"/>
                      </a:lnTo>
                      <a:lnTo>
                        <a:pt x="300" y="163"/>
                      </a:lnTo>
                      <a:lnTo>
                        <a:pt x="300" y="163"/>
                      </a:lnTo>
                      <a:lnTo>
                        <a:pt x="299" y="163"/>
                      </a:lnTo>
                      <a:lnTo>
                        <a:pt x="299" y="164"/>
                      </a:lnTo>
                      <a:lnTo>
                        <a:pt x="299" y="164"/>
                      </a:lnTo>
                      <a:lnTo>
                        <a:pt x="298" y="164"/>
                      </a:lnTo>
                      <a:lnTo>
                        <a:pt x="298" y="165"/>
                      </a:lnTo>
                      <a:lnTo>
                        <a:pt x="298" y="166"/>
                      </a:lnTo>
                      <a:lnTo>
                        <a:pt x="298" y="166"/>
                      </a:lnTo>
                      <a:lnTo>
                        <a:pt x="298" y="166"/>
                      </a:lnTo>
                      <a:lnTo>
                        <a:pt x="298" y="167"/>
                      </a:lnTo>
                      <a:lnTo>
                        <a:pt x="298" y="166"/>
                      </a:lnTo>
                      <a:lnTo>
                        <a:pt x="298" y="167"/>
                      </a:lnTo>
                      <a:lnTo>
                        <a:pt x="299" y="167"/>
                      </a:lnTo>
                      <a:lnTo>
                        <a:pt x="298" y="167"/>
                      </a:lnTo>
                      <a:lnTo>
                        <a:pt x="299" y="167"/>
                      </a:lnTo>
                      <a:lnTo>
                        <a:pt x="300" y="167"/>
                      </a:lnTo>
                      <a:lnTo>
                        <a:pt x="299" y="167"/>
                      </a:lnTo>
                      <a:lnTo>
                        <a:pt x="299" y="168"/>
                      </a:lnTo>
                      <a:lnTo>
                        <a:pt x="300" y="168"/>
                      </a:lnTo>
                      <a:lnTo>
                        <a:pt x="300" y="168"/>
                      </a:lnTo>
                      <a:lnTo>
                        <a:pt x="300" y="168"/>
                      </a:lnTo>
                      <a:lnTo>
                        <a:pt x="300" y="168"/>
                      </a:lnTo>
                      <a:lnTo>
                        <a:pt x="300" y="168"/>
                      </a:lnTo>
                      <a:lnTo>
                        <a:pt x="301" y="169"/>
                      </a:lnTo>
                      <a:lnTo>
                        <a:pt x="301" y="170"/>
                      </a:lnTo>
                      <a:lnTo>
                        <a:pt x="301" y="169"/>
                      </a:lnTo>
                      <a:lnTo>
                        <a:pt x="301" y="170"/>
                      </a:lnTo>
                      <a:lnTo>
                        <a:pt x="301" y="170"/>
                      </a:lnTo>
                      <a:lnTo>
                        <a:pt x="301" y="170"/>
                      </a:lnTo>
                      <a:lnTo>
                        <a:pt x="301" y="170"/>
                      </a:lnTo>
                      <a:lnTo>
                        <a:pt x="301" y="171"/>
                      </a:lnTo>
                      <a:lnTo>
                        <a:pt x="301" y="171"/>
                      </a:lnTo>
                      <a:lnTo>
                        <a:pt x="301" y="172"/>
                      </a:lnTo>
                      <a:lnTo>
                        <a:pt x="301" y="173"/>
                      </a:lnTo>
                      <a:lnTo>
                        <a:pt x="301" y="173"/>
                      </a:lnTo>
                      <a:lnTo>
                        <a:pt x="301" y="174"/>
                      </a:lnTo>
                      <a:lnTo>
                        <a:pt x="300" y="174"/>
                      </a:lnTo>
                      <a:lnTo>
                        <a:pt x="301" y="174"/>
                      </a:lnTo>
                      <a:lnTo>
                        <a:pt x="301" y="174"/>
                      </a:lnTo>
                      <a:lnTo>
                        <a:pt x="301" y="174"/>
                      </a:lnTo>
                      <a:lnTo>
                        <a:pt x="301" y="174"/>
                      </a:lnTo>
                      <a:lnTo>
                        <a:pt x="301" y="175"/>
                      </a:lnTo>
                      <a:lnTo>
                        <a:pt x="302" y="175"/>
                      </a:lnTo>
                      <a:lnTo>
                        <a:pt x="302" y="175"/>
                      </a:lnTo>
                      <a:lnTo>
                        <a:pt x="302" y="174"/>
                      </a:lnTo>
                      <a:lnTo>
                        <a:pt x="302" y="175"/>
                      </a:lnTo>
                      <a:lnTo>
                        <a:pt x="302" y="174"/>
                      </a:lnTo>
                      <a:lnTo>
                        <a:pt x="303" y="174"/>
                      </a:lnTo>
                      <a:lnTo>
                        <a:pt x="303" y="175"/>
                      </a:lnTo>
                      <a:lnTo>
                        <a:pt x="303" y="175"/>
                      </a:lnTo>
                      <a:lnTo>
                        <a:pt x="302" y="175"/>
                      </a:lnTo>
                      <a:lnTo>
                        <a:pt x="302" y="176"/>
                      </a:lnTo>
                      <a:lnTo>
                        <a:pt x="303" y="176"/>
                      </a:lnTo>
                      <a:lnTo>
                        <a:pt x="304" y="176"/>
                      </a:lnTo>
                      <a:lnTo>
                        <a:pt x="304" y="176"/>
                      </a:lnTo>
                      <a:lnTo>
                        <a:pt x="304" y="177"/>
                      </a:lnTo>
                      <a:lnTo>
                        <a:pt x="305" y="177"/>
                      </a:lnTo>
                      <a:lnTo>
                        <a:pt x="305" y="177"/>
                      </a:lnTo>
                      <a:lnTo>
                        <a:pt x="305" y="177"/>
                      </a:lnTo>
                      <a:lnTo>
                        <a:pt x="305" y="177"/>
                      </a:lnTo>
                      <a:lnTo>
                        <a:pt x="305" y="178"/>
                      </a:lnTo>
                      <a:lnTo>
                        <a:pt x="306" y="178"/>
                      </a:lnTo>
                      <a:lnTo>
                        <a:pt x="306" y="178"/>
                      </a:lnTo>
                      <a:lnTo>
                        <a:pt x="307" y="178"/>
                      </a:lnTo>
                      <a:lnTo>
                        <a:pt x="306" y="178"/>
                      </a:lnTo>
                      <a:lnTo>
                        <a:pt x="307" y="178"/>
                      </a:lnTo>
                      <a:lnTo>
                        <a:pt x="307" y="178"/>
                      </a:lnTo>
                      <a:lnTo>
                        <a:pt x="307" y="178"/>
                      </a:lnTo>
                      <a:lnTo>
                        <a:pt x="307" y="178"/>
                      </a:lnTo>
                      <a:lnTo>
                        <a:pt x="307" y="179"/>
                      </a:lnTo>
                      <a:lnTo>
                        <a:pt x="308" y="179"/>
                      </a:lnTo>
                      <a:lnTo>
                        <a:pt x="308" y="179"/>
                      </a:lnTo>
                      <a:lnTo>
                        <a:pt x="308" y="180"/>
                      </a:lnTo>
                      <a:lnTo>
                        <a:pt x="308" y="181"/>
                      </a:lnTo>
                      <a:lnTo>
                        <a:pt x="308" y="181"/>
                      </a:lnTo>
                      <a:lnTo>
                        <a:pt x="308" y="181"/>
                      </a:lnTo>
                      <a:lnTo>
                        <a:pt x="308" y="181"/>
                      </a:lnTo>
                      <a:lnTo>
                        <a:pt x="307" y="181"/>
                      </a:lnTo>
                      <a:lnTo>
                        <a:pt x="307" y="182"/>
                      </a:lnTo>
                      <a:lnTo>
                        <a:pt x="307" y="182"/>
                      </a:lnTo>
                      <a:lnTo>
                        <a:pt x="307" y="183"/>
                      </a:lnTo>
                      <a:lnTo>
                        <a:pt x="307" y="184"/>
                      </a:lnTo>
                      <a:lnTo>
                        <a:pt x="307" y="184"/>
                      </a:lnTo>
                      <a:lnTo>
                        <a:pt x="307" y="183"/>
                      </a:lnTo>
                      <a:lnTo>
                        <a:pt x="306" y="183"/>
                      </a:lnTo>
                      <a:lnTo>
                        <a:pt x="306" y="184"/>
                      </a:lnTo>
                      <a:lnTo>
                        <a:pt x="307" y="184"/>
                      </a:lnTo>
                      <a:lnTo>
                        <a:pt x="307" y="184"/>
                      </a:lnTo>
                      <a:lnTo>
                        <a:pt x="307" y="185"/>
                      </a:lnTo>
                      <a:lnTo>
                        <a:pt x="307" y="185"/>
                      </a:lnTo>
                      <a:lnTo>
                        <a:pt x="306" y="185"/>
                      </a:lnTo>
                      <a:lnTo>
                        <a:pt x="306" y="185"/>
                      </a:lnTo>
                      <a:lnTo>
                        <a:pt x="306" y="185"/>
                      </a:lnTo>
                      <a:lnTo>
                        <a:pt x="307" y="185"/>
                      </a:lnTo>
                      <a:lnTo>
                        <a:pt x="307" y="186"/>
                      </a:lnTo>
                      <a:lnTo>
                        <a:pt x="306" y="185"/>
                      </a:lnTo>
                      <a:lnTo>
                        <a:pt x="305" y="185"/>
                      </a:lnTo>
                      <a:lnTo>
                        <a:pt x="305" y="186"/>
                      </a:lnTo>
                      <a:lnTo>
                        <a:pt x="306" y="186"/>
                      </a:lnTo>
                      <a:lnTo>
                        <a:pt x="306" y="186"/>
                      </a:lnTo>
                      <a:lnTo>
                        <a:pt x="305" y="186"/>
                      </a:lnTo>
                      <a:lnTo>
                        <a:pt x="305" y="186"/>
                      </a:lnTo>
                      <a:lnTo>
                        <a:pt x="305" y="187"/>
                      </a:lnTo>
                      <a:lnTo>
                        <a:pt x="304" y="187"/>
                      </a:lnTo>
                      <a:lnTo>
                        <a:pt x="304" y="188"/>
                      </a:lnTo>
                      <a:lnTo>
                        <a:pt x="305" y="188"/>
                      </a:lnTo>
                      <a:lnTo>
                        <a:pt x="305" y="188"/>
                      </a:lnTo>
                      <a:lnTo>
                        <a:pt x="306" y="188"/>
                      </a:lnTo>
                      <a:lnTo>
                        <a:pt x="306" y="188"/>
                      </a:lnTo>
                      <a:lnTo>
                        <a:pt x="305" y="188"/>
                      </a:lnTo>
                      <a:lnTo>
                        <a:pt x="305" y="188"/>
                      </a:lnTo>
                      <a:lnTo>
                        <a:pt x="305" y="188"/>
                      </a:lnTo>
                      <a:lnTo>
                        <a:pt x="305" y="189"/>
                      </a:lnTo>
                      <a:lnTo>
                        <a:pt x="306" y="189"/>
                      </a:lnTo>
                      <a:lnTo>
                        <a:pt x="306" y="189"/>
                      </a:lnTo>
                      <a:lnTo>
                        <a:pt x="305" y="189"/>
                      </a:lnTo>
                      <a:lnTo>
                        <a:pt x="305" y="190"/>
                      </a:lnTo>
                      <a:lnTo>
                        <a:pt x="305" y="190"/>
                      </a:lnTo>
                      <a:lnTo>
                        <a:pt x="305" y="191"/>
                      </a:lnTo>
                      <a:lnTo>
                        <a:pt x="304" y="191"/>
                      </a:lnTo>
                      <a:lnTo>
                        <a:pt x="304" y="191"/>
                      </a:lnTo>
                      <a:lnTo>
                        <a:pt x="303" y="191"/>
                      </a:lnTo>
                      <a:lnTo>
                        <a:pt x="303" y="192"/>
                      </a:lnTo>
                      <a:lnTo>
                        <a:pt x="303" y="191"/>
                      </a:lnTo>
                      <a:lnTo>
                        <a:pt x="303" y="192"/>
                      </a:lnTo>
                      <a:lnTo>
                        <a:pt x="302" y="192"/>
                      </a:lnTo>
                      <a:lnTo>
                        <a:pt x="302" y="192"/>
                      </a:lnTo>
                      <a:lnTo>
                        <a:pt x="301" y="192"/>
                      </a:lnTo>
                      <a:lnTo>
                        <a:pt x="301" y="192"/>
                      </a:lnTo>
                      <a:lnTo>
                        <a:pt x="301" y="191"/>
                      </a:lnTo>
                      <a:lnTo>
                        <a:pt x="301" y="192"/>
                      </a:lnTo>
                      <a:lnTo>
                        <a:pt x="300" y="192"/>
                      </a:lnTo>
                      <a:lnTo>
                        <a:pt x="300" y="191"/>
                      </a:lnTo>
                      <a:lnTo>
                        <a:pt x="300" y="191"/>
                      </a:lnTo>
                      <a:lnTo>
                        <a:pt x="300" y="192"/>
                      </a:lnTo>
                      <a:lnTo>
                        <a:pt x="300" y="191"/>
                      </a:lnTo>
                      <a:lnTo>
                        <a:pt x="300" y="191"/>
                      </a:lnTo>
                      <a:lnTo>
                        <a:pt x="300" y="192"/>
                      </a:lnTo>
                      <a:lnTo>
                        <a:pt x="300" y="192"/>
                      </a:lnTo>
                      <a:lnTo>
                        <a:pt x="299" y="192"/>
                      </a:lnTo>
                      <a:lnTo>
                        <a:pt x="299" y="192"/>
                      </a:lnTo>
                      <a:lnTo>
                        <a:pt x="298" y="192"/>
                      </a:lnTo>
                      <a:lnTo>
                        <a:pt x="298" y="193"/>
                      </a:lnTo>
                      <a:lnTo>
                        <a:pt x="298" y="193"/>
                      </a:lnTo>
                      <a:lnTo>
                        <a:pt x="298" y="194"/>
                      </a:lnTo>
                      <a:lnTo>
                        <a:pt x="298" y="194"/>
                      </a:lnTo>
                      <a:lnTo>
                        <a:pt x="298" y="194"/>
                      </a:lnTo>
                      <a:lnTo>
                        <a:pt x="298" y="194"/>
                      </a:lnTo>
                      <a:lnTo>
                        <a:pt x="298" y="195"/>
                      </a:lnTo>
                      <a:lnTo>
                        <a:pt x="297" y="195"/>
                      </a:lnTo>
                      <a:lnTo>
                        <a:pt x="297" y="196"/>
                      </a:lnTo>
                      <a:lnTo>
                        <a:pt x="297" y="196"/>
                      </a:lnTo>
                      <a:lnTo>
                        <a:pt x="296" y="196"/>
                      </a:lnTo>
                      <a:lnTo>
                        <a:pt x="296" y="196"/>
                      </a:lnTo>
                      <a:lnTo>
                        <a:pt x="296" y="197"/>
                      </a:lnTo>
                      <a:lnTo>
                        <a:pt x="297" y="197"/>
                      </a:lnTo>
                      <a:lnTo>
                        <a:pt x="297" y="197"/>
                      </a:lnTo>
                      <a:lnTo>
                        <a:pt x="297" y="197"/>
                      </a:lnTo>
                      <a:lnTo>
                        <a:pt x="297" y="198"/>
                      </a:lnTo>
                      <a:lnTo>
                        <a:pt x="297" y="198"/>
                      </a:lnTo>
                      <a:lnTo>
                        <a:pt x="297" y="197"/>
                      </a:lnTo>
                      <a:lnTo>
                        <a:pt x="296" y="197"/>
                      </a:lnTo>
                      <a:lnTo>
                        <a:pt x="296" y="198"/>
                      </a:lnTo>
                      <a:lnTo>
                        <a:pt x="296" y="197"/>
                      </a:lnTo>
                      <a:lnTo>
                        <a:pt x="296" y="198"/>
                      </a:lnTo>
                      <a:lnTo>
                        <a:pt x="296" y="199"/>
                      </a:lnTo>
                      <a:lnTo>
                        <a:pt x="297" y="199"/>
                      </a:lnTo>
                      <a:lnTo>
                        <a:pt x="297" y="199"/>
                      </a:lnTo>
                      <a:lnTo>
                        <a:pt x="296" y="199"/>
                      </a:lnTo>
                      <a:lnTo>
                        <a:pt x="296" y="199"/>
                      </a:lnTo>
                      <a:lnTo>
                        <a:pt x="295" y="199"/>
                      </a:lnTo>
                      <a:lnTo>
                        <a:pt x="295" y="200"/>
                      </a:lnTo>
                      <a:lnTo>
                        <a:pt x="294" y="200"/>
                      </a:lnTo>
                      <a:lnTo>
                        <a:pt x="294" y="200"/>
                      </a:lnTo>
                      <a:lnTo>
                        <a:pt x="294" y="200"/>
                      </a:lnTo>
                      <a:lnTo>
                        <a:pt x="294" y="201"/>
                      </a:lnTo>
                      <a:lnTo>
                        <a:pt x="293" y="201"/>
                      </a:lnTo>
                      <a:lnTo>
                        <a:pt x="293" y="201"/>
                      </a:lnTo>
                      <a:lnTo>
                        <a:pt x="293" y="200"/>
                      </a:lnTo>
                      <a:lnTo>
                        <a:pt x="293" y="201"/>
                      </a:lnTo>
                      <a:lnTo>
                        <a:pt x="293" y="200"/>
                      </a:lnTo>
                      <a:lnTo>
                        <a:pt x="292" y="200"/>
                      </a:lnTo>
                      <a:lnTo>
                        <a:pt x="292" y="200"/>
                      </a:lnTo>
                      <a:lnTo>
                        <a:pt x="292" y="201"/>
                      </a:lnTo>
                      <a:lnTo>
                        <a:pt x="292" y="201"/>
                      </a:lnTo>
                      <a:lnTo>
                        <a:pt x="292" y="201"/>
                      </a:lnTo>
                      <a:lnTo>
                        <a:pt x="293" y="201"/>
                      </a:lnTo>
                      <a:lnTo>
                        <a:pt x="292" y="201"/>
                      </a:lnTo>
                      <a:lnTo>
                        <a:pt x="293" y="202"/>
                      </a:lnTo>
                      <a:lnTo>
                        <a:pt x="292" y="202"/>
                      </a:lnTo>
                      <a:lnTo>
                        <a:pt x="293" y="202"/>
                      </a:lnTo>
                      <a:lnTo>
                        <a:pt x="292" y="202"/>
                      </a:lnTo>
                      <a:lnTo>
                        <a:pt x="292" y="203"/>
                      </a:lnTo>
                      <a:lnTo>
                        <a:pt x="293" y="203"/>
                      </a:lnTo>
                      <a:lnTo>
                        <a:pt x="293" y="203"/>
                      </a:lnTo>
                      <a:lnTo>
                        <a:pt x="293" y="203"/>
                      </a:lnTo>
                      <a:lnTo>
                        <a:pt x="293" y="204"/>
                      </a:lnTo>
                      <a:lnTo>
                        <a:pt x="294" y="204"/>
                      </a:lnTo>
                      <a:lnTo>
                        <a:pt x="294" y="204"/>
                      </a:lnTo>
                      <a:lnTo>
                        <a:pt x="294" y="204"/>
                      </a:lnTo>
                      <a:lnTo>
                        <a:pt x="294" y="205"/>
                      </a:lnTo>
                      <a:lnTo>
                        <a:pt x="294" y="205"/>
                      </a:lnTo>
                      <a:lnTo>
                        <a:pt x="295" y="205"/>
                      </a:lnTo>
                      <a:lnTo>
                        <a:pt x="294" y="206"/>
                      </a:lnTo>
                      <a:lnTo>
                        <a:pt x="294" y="207"/>
                      </a:lnTo>
                      <a:lnTo>
                        <a:pt x="294" y="207"/>
                      </a:lnTo>
                      <a:lnTo>
                        <a:pt x="295" y="207"/>
                      </a:lnTo>
                      <a:lnTo>
                        <a:pt x="296" y="207"/>
                      </a:lnTo>
                      <a:lnTo>
                        <a:pt x="296" y="207"/>
                      </a:lnTo>
                      <a:lnTo>
                        <a:pt x="296" y="208"/>
                      </a:lnTo>
                      <a:lnTo>
                        <a:pt x="297" y="208"/>
                      </a:lnTo>
                      <a:lnTo>
                        <a:pt x="297" y="208"/>
                      </a:lnTo>
                      <a:lnTo>
                        <a:pt x="297" y="208"/>
                      </a:lnTo>
                      <a:lnTo>
                        <a:pt x="298" y="208"/>
                      </a:lnTo>
                      <a:lnTo>
                        <a:pt x="298" y="209"/>
                      </a:lnTo>
                      <a:lnTo>
                        <a:pt x="298" y="210"/>
                      </a:lnTo>
                      <a:lnTo>
                        <a:pt x="298" y="209"/>
                      </a:lnTo>
                      <a:lnTo>
                        <a:pt x="298" y="208"/>
                      </a:lnTo>
                      <a:lnTo>
                        <a:pt x="297" y="208"/>
                      </a:lnTo>
                      <a:lnTo>
                        <a:pt x="297" y="208"/>
                      </a:lnTo>
                      <a:lnTo>
                        <a:pt x="297" y="208"/>
                      </a:lnTo>
                      <a:lnTo>
                        <a:pt x="296" y="208"/>
                      </a:lnTo>
                      <a:lnTo>
                        <a:pt x="296" y="207"/>
                      </a:lnTo>
                      <a:lnTo>
                        <a:pt x="296" y="207"/>
                      </a:lnTo>
                      <a:lnTo>
                        <a:pt x="295" y="207"/>
                      </a:lnTo>
                      <a:lnTo>
                        <a:pt x="294" y="207"/>
                      </a:lnTo>
                      <a:lnTo>
                        <a:pt x="294" y="207"/>
                      </a:lnTo>
                      <a:lnTo>
                        <a:pt x="294" y="206"/>
                      </a:lnTo>
                      <a:lnTo>
                        <a:pt x="295" y="205"/>
                      </a:lnTo>
                      <a:lnTo>
                        <a:pt x="294" y="205"/>
                      </a:lnTo>
                      <a:lnTo>
                        <a:pt x="294" y="205"/>
                      </a:lnTo>
                      <a:lnTo>
                        <a:pt x="294" y="204"/>
                      </a:lnTo>
                      <a:lnTo>
                        <a:pt x="294" y="204"/>
                      </a:lnTo>
                      <a:lnTo>
                        <a:pt x="294" y="204"/>
                      </a:lnTo>
                      <a:lnTo>
                        <a:pt x="294" y="203"/>
                      </a:lnTo>
                      <a:lnTo>
                        <a:pt x="293" y="203"/>
                      </a:lnTo>
                      <a:lnTo>
                        <a:pt x="293" y="203"/>
                      </a:lnTo>
                      <a:lnTo>
                        <a:pt x="293" y="203"/>
                      </a:lnTo>
                      <a:lnTo>
                        <a:pt x="293" y="203"/>
                      </a:lnTo>
                      <a:lnTo>
                        <a:pt x="293" y="203"/>
                      </a:lnTo>
                      <a:lnTo>
                        <a:pt x="293" y="203"/>
                      </a:lnTo>
                      <a:lnTo>
                        <a:pt x="293" y="203"/>
                      </a:lnTo>
                      <a:lnTo>
                        <a:pt x="292" y="203"/>
                      </a:lnTo>
                      <a:lnTo>
                        <a:pt x="292" y="202"/>
                      </a:lnTo>
                      <a:lnTo>
                        <a:pt x="293" y="202"/>
                      </a:lnTo>
                      <a:lnTo>
                        <a:pt x="293" y="201"/>
                      </a:lnTo>
                      <a:lnTo>
                        <a:pt x="292" y="201"/>
                      </a:lnTo>
                      <a:lnTo>
                        <a:pt x="292" y="201"/>
                      </a:lnTo>
                      <a:lnTo>
                        <a:pt x="292" y="200"/>
                      </a:lnTo>
                      <a:lnTo>
                        <a:pt x="292" y="200"/>
                      </a:lnTo>
                      <a:lnTo>
                        <a:pt x="293" y="200"/>
                      </a:lnTo>
                      <a:lnTo>
                        <a:pt x="293" y="201"/>
                      </a:lnTo>
                      <a:lnTo>
                        <a:pt x="293" y="201"/>
                      </a:lnTo>
                      <a:lnTo>
                        <a:pt x="294" y="201"/>
                      </a:lnTo>
                      <a:lnTo>
                        <a:pt x="294" y="200"/>
                      </a:lnTo>
                      <a:lnTo>
                        <a:pt x="294" y="200"/>
                      </a:lnTo>
                      <a:lnTo>
                        <a:pt x="294" y="200"/>
                      </a:lnTo>
                      <a:lnTo>
                        <a:pt x="295" y="200"/>
                      </a:lnTo>
                      <a:lnTo>
                        <a:pt x="295" y="200"/>
                      </a:lnTo>
                      <a:lnTo>
                        <a:pt x="296" y="200"/>
                      </a:lnTo>
                      <a:lnTo>
                        <a:pt x="295" y="199"/>
                      </a:lnTo>
                      <a:lnTo>
                        <a:pt x="296" y="199"/>
                      </a:lnTo>
                      <a:lnTo>
                        <a:pt x="296" y="199"/>
                      </a:lnTo>
                      <a:lnTo>
                        <a:pt x="297" y="199"/>
                      </a:lnTo>
                      <a:lnTo>
                        <a:pt x="297" y="199"/>
                      </a:lnTo>
                      <a:lnTo>
                        <a:pt x="296" y="199"/>
                      </a:lnTo>
                      <a:lnTo>
                        <a:pt x="296" y="198"/>
                      </a:lnTo>
                      <a:lnTo>
                        <a:pt x="296" y="197"/>
                      </a:lnTo>
                      <a:lnTo>
                        <a:pt x="297" y="197"/>
                      </a:lnTo>
                      <a:lnTo>
                        <a:pt x="297" y="198"/>
                      </a:lnTo>
                      <a:lnTo>
                        <a:pt x="297" y="198"/>
                      </a:lnTo>
                      <a:lnTo>
                        <a:pt x="297" y="197"/>
                      </a:lnTo>
                      <a:lnTo>
                        <a:pt x="297" y="197"/>
                      </a:lnTo>
                      <a:lnTo>
                        <a:pt x="297" y="197"/>
                      </a:lnTo>
                      <a:lnTo>
                        <a:pt x="296" y="197"/>
                      </a:lnTo>
                      <a:lnTo>
                        <a:pt x="296" y="196"/>
                      </a:lnTo>
                      <a:lnTo>
                        <a:pt x="296" y="196"/>
                      </a:lnTo>
                      <a:lnTo>
                        <a:pt x="297" y="196"/>
                      </a:lnTo>
                      <a:lnTo>
                        <a:pt x="297" y="196"/>
                      </a:lnTo>
                      <a:lnTo>
                        <a:pt x="297" y="195"/>
                      </a:lnTo>
                      <a:lnTo>
                        <a:pt x="298" y="195"/>
                      </a:lnTo>
                      <a:lnTo>
                        <a:pt x="298" y="194"/>
                      </a:lnTo>
                      <a:lnTo>
                        <a:pt x="298" y="194"/>
                      </a:lnTo>
                      <a:lnTo>
                        <a:pt x="298" y="194"/>
                      </a:lnTo>
                      <a:lnTo>
                        <a:pt x="298" y="194"/>
                      </a:lnTo>
                      <a:lnTo>
                        <a:pt x="298" y="194"/>
                      </a:lnTo>
                      <a:lnTo>
                        <a:pt x="298" y="194"/>
                      </a:lnTo>
                      <a:lnTo>
                        <a:pt x="298" y="193"/>
                      </a:lnTo>
                      <a:lnTo>
                        <a:pt x="298" y="193"/>
                      </a:lnTo>
                      <a:lnTo>
                        <a:pt x="298" y="192"/>
                      </a:lnTo>
                      <a:lnTo>
                        <a:pt x="299" y="192"/>
                      </a:lnTo>
                      <a:lnTo>
                        <a:pt x="299" y="192"/>
                      </a:lnTo>
                      <a:lnTo>
                        <a:pt x="300" y="192"/>
                      </a:lnTo>
                      <a:lnTo>
                        <a:pt x="300" y="192"/>
                      </a:lnTo>
                      <a:lnTo>
                        <a:pt x="301" y="192"/>
                      </a:lnTo>
                      <a:lnTo>
                        <a:pt x="301" y="192"/>
                      </a:lnTo>
                      <a:lnTo>
                        <a:pt x="302" y="192"/>
                      </a:lnTo>
                      <a:lnTo>
                        <a:pt x="302" y="192"/>
                      </a:lnTo>
                      <a:lnTo>
                        <a:pt x="302" y="192"/>
                      </a:lnTo>
                      <a:lnTo>
                        <a:pt x="302" y="192"/>
                      </a:lnTo>
                      <a:lnTo>
                        <a:pt x="302" y="192"/>
                      </a:lnTo>
                      <a:lnTo>
                        <a:pt x="303" y="192"/>
                      </a:lnTo>
                      <a:lnTo>
                        <a:pt x="302" y="192"/>
                      </a:lnTo>
                      <a:lnTo>
                        <a:pt x="302" y="192"/>
                      </a:lnTo>
                      <a:lnTo>
                        <a:pt x="303" y="192"/>
                      </a:lnTo>
                      <a:lnTo>
                        <a:pt x="303" y="191"/>
                      </a:lnTo>
                      <a:lnTo>
                        <a:pt x="304" y="191"/>
                      </a:lnTo>
                      <a:lnTo>
                        <a:pt x="304" y="191"/>
                      </a:lnTo>
                      <a:lnTo>
                        <a:pt x="305" y="191"/>
                      </a:lnTo>
                      <a:lnTo>
                        <a:pt x="305" y="191"/>
                      </a:lnTo>
                      <a:lnTo>
                        <a:pt x="305" y="190"/>
                      </a:lnTo>
                      <a:lnTo>
                        <a:pt x="305" y="190"/>
                      </a:lnTo>
                      <a:lnTo>
                        <a:pt x="305" y="190"/>
                      </a:lnTo>
                      <a:lnTo>
                        <a:pt x="305" y="190"/>
                      </a:lnTo>
                      <a:lnTo>
                        <a:pt x="305" y="189"/>
                      </a:lnTo>
                      <a:lnTo>
                        <a:pt x="306" y="189"/>
                      </a:lnTo>
                      <a:lnTo>
                        <a:pt x="306" y="189"/>
                      </a:lnTo>
                      <a:lnTo>
                        <a:pt x="305" y="188"/>
                      </a:lnTo>
                      <a:lnTo>
                        <a:pt x="305" y="188"/>
                      </a:lnTo>
                      <a:lnTo>
                        <a:pt x="305" y="188"/>
                      </a:lnTo>
                      <a:lnTo>
                        <a:pt x="306" y="188"/>
                      </a:lnTo>
                      <a:lnTo>
                        <a:pt x="306" y="188"/>
                      </a:lnTo>
                      <a:lnTo>
                        <a:pt x="305" y="188"/>
                      </a:lnTo>
                      <a:lnTo>
                        <a:pt x="305" y="188"/>
                      </a:lnTo>
                      <a:lnTo>
                        <a:pt x="304" y="188"/>
                      </a:lnTo>
                      <a:lnTo>
                        <a:pt x="304" y="187"/>
                      </a:lnTo>
                      <a:lnTo>
                        <a:pt x="305" y="187"/>
                      </a:lnTo>
                      <a:lnTo>
                        <a:pt x="305" y="186"/>
                      </a:lnTo>
                      <a:lnTo>
                        <a:pt x="306" y="186"/>
                      </a:lnTo>
                      <a:lnTo>
                        <a:pt x="306" y="186"/>
                      </a:lnTo>
                      <a:lnTo>
                        <a:pt x="306" y="185"/>
                      </a:lnTo>
                      <a:lnTo>
                        <a:pt x="306" y="186"/>
                      </a:lnTo>
                      <a:lnTo>
                        <a:pt x="307" y="186"/>
                      </a:lnTo>
                      <a:lnTo>
                        <a:pt x="307" y="185"/>
                      </a:lnTo>
                      <a:lnTo>
                        <a:pt x="307" y="185"/>
                      </a:lnTo>
                      <a:lnTo>
                        <a:pt x="306" y="185"/>
                      </a:lnTo>
                      <a:lnTo>
                        <a:pt x="307" y="185"/>
                      </a:lnTo>
                      <a:lnTo>
                        <a:pt x="307" y="185"/>
                      </a:lnTo>
                      <a:lnTo>
                        <a:pt x="307" y="184"/>
                      </a:lnTo>
                      <a:lnTo>
                        <a:pt x="307" y="184"/>
                      </a:lnTo>
                      <a:lnTo>
                        <a:pt x="307" y="183"/>
                      </a:lnTo>
                      <a:lnTo>
                        <a:pt x="307" y="184"/>
                      </a:lnTo>
                      <a:lnTo>
                        <a:pt x="307" y="184"/>
                      </a:lnTo>
                      <a:lnTo>
                        <a:pt x="308" y="183"/>
                      </a:lnTo>
                      <a:lnTo>
                        <a:pt x="307" y="183"/>
                      </a:lnTo>
                      <a:lnTo>
                        <a:pt x="307" y="182"/>
                      </a:lnTo>
                      <a:lnTo>
                        <a:pt x="307" y="182"/>
                      </a:lnTo>
                      <a:lnTo>
                        <a:pt x="307" y="181"/>
                      </a:lnTo>
                      <a:lnTo>
                        <a:pt x="308" y="181"/>
                      </a:lnTo>
                      <a:lnTo>
                        <a:pt x="308" y="181"/>
                      </a:lnTo>
                      <a:lnTo>
                        <a:pt x="308" y="180"/>
                      </a:lnTo>
                      <a:lnTo>
                        <a:pt x="308" y="181"/>
                      </a:lnTo>
                      <a:lnTo>
                        <a:pt x="308" y="180"/>
                      </a:lnTo>
                      <a:lnTo>
                        <a:pt x="308" y="179"/>
                      </a:lnTo>
                      <a:lnTo>
                        <a:pt x="308" y="179"/>
                      </a:lnTo>
                      <a:lnTo>
                        <a:pt x="308" y="179"/>
                      </a:lnTo>
                      <a:lnTo>
                        <a:pt x="308" y="178"/>
                      </a:lnTo>
                      <a:lnTo>
                        <a:pt x="307" y="178"/>
                      </a:lnTo>
                      <a:lnTo>
                        <a:pt x="307" y="178"/>
                      </a:lnTo>
                      <a:lnTo>
                        <a:pt x="306" y="178"/>
                      </a:lnTo>
                      <a:lnTo>
                        <a:pt x="306" y="178"/>
                      </a:lnTo>
                      <a:lnTo>
                        <a:pt x="306" y="177"/>
                      </a:lnTo>
                      <a:lnTo>
                        <a:pt x="305" y="177"/>
                      </a:lnTo>
                      <a:lnTo>
                        <a:pt x="305" y="177"/>
                      </a:lnTo>
                      <a:lnTo>
                        <a:pt x="305" y="177"/>
                      </a:lnTo>
                      <a:lnTo>
                        <a:pt x="305" y="177"/>
                      </a:lnTo>
                      <a:lnTo>
                        <a:pt x="304" y="177"/>
                      </a:lnTo>
                      <a:lnTo>
                        <a:pt x="304" y="176"/>
                      </a:lnTo>
                      <a:lnTo>
                        <a:pt x="305" y="176"/>
                      </a:lnTo>
                      <a:lnTo>
                        <a:pt x="304" y="176"/>
                      </a:lnTo>
                      <a:lnTo>
                        <a:pt x="304" y="176"/>
                      </a:lnTo>
                      <a:lnTo>
                        <a:pt x="303" y="176"/>
                      </a:lnTo>
                      <a:lnTo>
                        <a:pt x="302" y="176"/>
                      </a:lnTo>
                      <a:lnTo>
                        <a:pt x="302" y="175"/>
                      </a:lnTo>
                      <a:lnTo>
                        <a:pt x="303" y="175"/>
                      </a:lnTo>
                      <a:lnTo>
                        <a:pt x="303" y="175"/>
                      </a:lnTo>
                      <a:lnTo>
                        <a:pt x="303" y="175"/>
                      </a:lnTo>
                      <a:lnTo>
                        <a:pt x="303" y="175"/>
                      </a:lnTo>
                      <a:lnTo>
                        <a:pt x="303" y="174"/>
                      </a:lnTo>
                      <a:lnTo>
                        <a:pt x="303" y="175"/>
                      </a:lnTo>
                      <a:lnTo>
                        <a:pt x="303" y="174"/>
                      </a:lnTo>
                      <a:lnTo>
                        <a:pt x="303" y="175"/>
                      </a:lnTo>
                      <a:lnTo>
                        <a:pt x="303" y="174"/>
                      </a:lnTo>
                      <a:lnTo>
                        <a:pt x="302" y="174"/>
                      </a:lnTo>
                      <a:lnTo>
                        <a:pt x="302" y="174"/>
                      </a:lnTo>
                      <a:lnTo>
                        <a:pt x="302" y="175"/>
                      </a:lnTo>
                      <a:lnTo>
                        <a:pt x="302" y="174"/>
                      </a:lnTo>
                      <a:lnTo>
                        <a:pt x="302" y="175"/>
                      </a:lnTo>
                      <a:lnTo>
                        <a:pt x="301" y="175"/>
                      </a:lnTo>
                      <a:lnTo>
                        <a:pt x="301" y="174"/>
                      </a:lnTo>
                      <a:lnTo>
                        <a:pt x="301" y="174"/>
                      </a:lnTo>
                      <a:lnTo>
                        <a:pt x="301" y="174"/>
                      </a:lnTo>
                      <a:lnTo>
                        <a:pt x="301" y="174"/>
                      </a:lnTo>
                      <a:lnTo>
                        <a:pt x="301" y="173"/>
                      </a:lnTo>
                      <a:lnTo>
                        <a:pt x="301" y="173"/>
                      </a:lnTo>
                      <a:lnTo>
                        <a:pt x="301" y="174"/>
                      </a:lnTo>
                      <a:lnTo>
                        <a:pt x="301" y="173"/>
                      </a:lnTo>
                      <a:lnTo>
                        <a:pt x="301" y="174"/>
                      </a:lnTo>
                      <a:lnTo>
                        <a:pt x="301" y="173"/>
                      </a:lnTo>
                      <a:lnTo>
                        <a:pt x="301" y="173"/>
                      </a:lnTo>
                      <a:lnTo>
                        <a:pt x="301" y="172"/>
                      </a:lnTo>
                      <a:lnTo>
                        <a:pt x="301" y="171"/>
                      </a:lnTo>
                      <a:lnTo>
                        <a:pt x="301" y="171"/>
                      </a:lnTo>
                      <a:lnTo>
                        <a:pt x="301" y="171"/>
                      </a:lnTo>
                      <a:lnTo>
                        <a:pt x="301" y="171"/>
                      </a:lnTo>
                      <a:lnTo>
                        <a:pt x="301" y="171"/>
                      </a:lnTo>
                      <a:lnTo>
                        <a:pt x="301" y="171"/>
                      </a:lnTo>
                      <a:lnTo>
                        <a:pt x="301" y="170"/>
                      </a:lnTo>
                      <a:lnTo>
                        <a:pt x="301" y="170"/>
                      </a:lnTo>
                      <a:lnTo>
                        <a:pt x="301" y="170"/>
                      </a:lnTo>
                      <a:lnTo>
                        <a:pt x="301" y="170"/>
                      </a:lnTo>
                      <a:lnTo>
                        <a:pt x="301" y="170"/>
                      </a:lnTo>
                      <a:lnTo>
                        <a:pt x="301" y="170"/>
                      </a:lnTo>
                      <a:lnTo>
                        <a:pt x="302" y="170"/>
                      </a:lnTo>
                      <a:lnTo>
                        <a:pt x="301" y="170"/>
                      </a:lnTo>
                      <a:lnTo>
                        <a:pt x="301" y="169"/>
                      </a:lnTo>
                      <a:lnTo>
                        <a:pt x="301" y="168"/>
                      </a:lnTo>
                      <a:lnTo>
                        <a:pt x="301" y="168"/>
                      </a:lnTo>
                      <a:lnTo>
                        <a:pt x="301" y="168"/>
                      </a:lnTo>
                      <a:lnTo>
                        <a:pt x="301" y="168"/>
                      </a:lnTo>
                      <a:lnTo>
                        <a:pt x="301" y="168"/>
                      </a:lnTo>
                      <a:lnTo>
                        <a:pt x="300" y="168"/>
                      </a:lnTo>
                      <a:lnTo>
                        <a:pt x="300" y="168"/>
                      </a:lnTo>
                      <a:lnTo>
                        <a:pt x="300" y="167"/>
                      </a:lnTo>
                      <a:lnTo>
                        <a:pt x="299" y="167"/>
                      </a:lnTo>
                      <a:lnTo>
                        <a:pt x="300" y="167"/>
                      </a:lnTo>
                      <a:lnTo>
                        <a:pt x="299" y="167"/>
                      </a:lnTo>
                      <a:lnTo>
                        <a:pt x="300" y="167"/>
                      </a:lnTo>
                      <a:lnTo>
                        <a:pt x="300" y="168"/>
                      </a:lnTo>
                      <a:lnTo>
                        <a:pt x="300" y="167"/>
                      </a:lnTo>
                      <a:lnTo>
                        <a:pt x="300" y="167"/>
                      </a:lnTo>
                      <a:lnTo>
                        <a:pt x="300" y="167"/>
                      </a:lnTo>
                      <a:lnTo>
                        <a:pt x="299" y="167"/>
                      </a:lnTo>
                      <a:lnTo>
                        <a:pt x="298" y="167"/>
                      </a:lnTo>
                      <a:lnTo>
                        <a:pt x="299" y="167"/>
                      </a:lnTo>
                      <a:lnTo>
                        <a:pt x="298" y="167"/>
                      </a:lnTo>
                      <a:lnTo>
                        <a:pt x="298" y="166"/>
                      </a:lnTo>
                      <a:lnTo>
                        <a:pt x="298" y="166"/>
                      </a:lnTo>
                      <a:lnTo>
                        <a:pt x="298" y="165"/>
                      </a:lnTo>
                      <a:lnTo>
                        <a:pt x="299" y="165"/>
                      </a:lnTo>
                      <a:lnTo>
                        <a:pt x="299" y="164"/>
                      </a:lnTo>
                      <a:lnTo>
                        <a:pt x="299" y="165"/>
                      </a:lnTo>
                      <a:lnTo>
                        <a:pt x="298" y="165"/>
                      </a:lnTo>
                      <a:lnTo>
                        <a:pt x="299" y="165"/>
                      </a:lnTo>
                      <a:lnTo>
                        <a:pt x="299" y="164"/>
                      </a:lnTo>
                      <a:lnTo>
                        <a:pt x="300" y="164"/>
                      </a:lnTo>
                      <a:lnTo>
                        <a:pt x="300" y="164"/>
                      </a:lnTo>
                      <a:lnTo>
                        <a:pt x="300" y="163"/>
                      </a:lnTo>
                      <a:lnTo>
                        <a:pt x="300" y="163"/>
                      </a:lnTo>
                      <a:lnTo>
                        <a:pt x="301" y="163"/>
                      </a:lnTo>
                      <a:lnTo>
                        <a:pt x="301" y="164"/>
                      </a:lnTo>
                      <a:lnTo>
                        <a:pt x="302" y="164"/>
                      </a:lnTo>
                      <a:lnTo>
                        <a:pt x="302" y="164"/>
                      </a:lnTo>
                      <a:lnTo>
                        <a:pt x="302" y="164"/>
                      </a:lnTo>
                      <a:lnTo>
                        <a:pt x="302" y="164"/>
                      </a:lnTo>
                      <a:lnTo>
                        <a:pt x="303" y="164"/>
                      </a:lnTo>
                      <a:lnTo>
                        <a:pt x="304" y="164"/>
                      </a:lnTo>
                      <a:lnTo>
                        <a:pt x="304" y="163"/>
                      </a:lnTo>
                      <a:lnTo>
                        <a:pt x="304" y="163"/>
                      </a:lnTo>
                      <a:lnTo>
                        <a:pt x="305" y="163"/>
                      </a:lnTo>
                      <a:lnTo>
                        <a:pt x="305" y="163"/>
                      </a:lnTo>
                      <a:lnTo>
                        <a:pt x="306" y="163"/>
                      </a:lnTo>
                      <a:lnTo>
                        <a:pt x="307" y="163"/>
                      </a:lnTo>
                      <a:lnTo>
                        <a:pt x="307" y="163"/>
                      </a:lnTo>
                      <a:lnTo>
                        <a:pt x="307" y="163"/>
                      </a:lnTo>
                      <a:lnTo>
                        <a:pt x="307" y="163"/>
                      </a:lnTo>
                      <a:lnTo>
                        <a:pt x="307" y="163"/>
                      </a:lnTo>
                      <a:lnTo>
                        <a:pt x="308" y="163"/>
                      </a:lnTo>
                      <a:lnTo>
                        <a:pt x="308" y="163"/>
                      </a:lnTo>
                      <a:lnTo>
                        <a:pt x="309" y="163"/>
                      </a:lnTo>
                      <a:lnTo>
                        <a:pt x="309" y="163"/>
                      </a:lnTo>
                      <a:lnTo>
                        <a:pt x="308" y="163"/>
                      </a:lnTo>
                      <a:lnTo>
                        <a:pt x="308" y="164"/>
                      </a:lnTo>
                      <a:lnTo>
                        <a:pt x="309" y="163"/>
                      </a:lnTo>
                      <a:lnTo>
                        <a:pt x="309" y="163"/>
                      </a:lnTo>
                      <a:lnTo>
                        <a:pt x="309" y="163"/>
                      </a:lnTo>
                      <a:lnTo>
                        <a:pt x="309" y="162"/>
                      </a:lnTo>
                      <a:lnTo>
                        <a:pt x="310" y="162"/>
                      </a:lnTo>
                      <a:lnTo>
                        <a:pt x="309" y="162"/>
                      </a:lnTo>
                      <a:lnTo>
                        <a:pt x="309" y="161"/>
                      </a:lnTo>
                      <a:lnTo>
                        <a:pt x="310" y="161"/>
                      </a:lnTo>
                      <a:lnTo>
                        <a:pt x="310" y="160"/>
                      </a:lnTo>
                      <a:lnTo>
                        <a:pt x="310" y="161"/>
                      </a:lnTo>
                      <a:lnTo>
                        <a:pt x="311" y="160"/>
                      </a:lnTo>
                      <a:lnTo>
                        <a:pt x="311" y="160"/>
                      </a:lnTo>
                      <a:lnTo>
                        <a:pt x="311" y="160"/>
                      </a:lnTo>
                      <a:lnTo>
                        <a:pt x="311" y="160"/>
                      </a:lnTo>
                      <a:lnTo>
                        <a:pt x="311" y="160"/>
                      </a:lnTo>
                      <a:lnTo>
                        <a:pt x="312" y="159"/>
                      </a:lnTo>
                      <a:lnTo>
                        <a:pt x="312" y="159"/>
                      </a:lnTo>
                      <a:lnTo>
                        <a:pt x="313" y="159"/>
                      </a:lnTo>
                      <a:lnTo>
                        <a:pt x="313" y="159"/>
                      </a:lnTo>
                      <a:lnTo>
                        <a:pt x="313" y="158"/>
                      </a:lnTo>
                      <a:lnTo>
                        <a:pt x="313" y="158"/>
                      </a:lnTo>
                      <a:lnTo>
                        <a:pt x="314" y="158"/>
                      </a:lnTo>
                      <a:lnTo>
                        <a:pt x="313" y="158"/>
                      </a:lnTo>
                      <a:lnTo>
                        <a:pt x="314" y="158"/>
                      </a:lnTo>
                      <a:lnTo>
                        <a:pt x="314" y="157"/>
                      </a:lnTo>
                      <a:lnTo>
                        <a:pt x="315" y="157"/>
                      </a:lnTo>
                      <a:lnTo>
                        <a:pt x="315" y="157"/>
                      </a:lnTo>
                      <a:lnTo>
                        <a:pt x="316" y="157"/>
                      </a:lnTo>
                      <a:lnTo>
                        <a:pt x="315" y="157"/>
                      </a:lnTo>
                      <a:lnTo>
                        <a:pt x="316" y="157"/>
                      </a:lnTo>
                      <a:lnTo>
                        <a:pt x="316" y="157"/>
                      </a:lnTo>
                      <a:lnTo>
                        <a:pt x="317" y="157"/>
                      </a:lnTo>
                      <a:lnTo>
                        <a:pt x="318" y="156"/>
                      </a:lnTo>
                      <a:lnTo>
                        <a:pt x="318" y="156"/>
                      </a:lnTo>
                      <a:lnTo>
                        <a:pt x="318" y="155"/>
                      </a:lnTo>
                      <a:lnTo>
                        <a:pt x="318" y="155"/>
                      </a:lnTo>
                      <a:lnTo>
                        <a:pt x="318" y="155"/>
                      </a:lnTo>
                      <a:lnTo>
                        <a:pt x="319" y="155"/>
                      </a:lnTo>
                      <a:lnTo>
                        <a:pt x="319" y="155"/>
                      </a:lnTo>
                      <a:lnTo>
                        <a:pt x="320" y="155"/>
                      </a:lnTo>
                      <a:lnTo>
                        <a:pt x="320" y="155"/>
                      </a:lnTo>
                      <a:lnTo>
                        <a:pt x="320" y="155"/>
                      </a:lnTo>
                      <a:lnTo>
                        <a:pt x="321" y="155"/>
                      </a:lnTo>
                      <a:lnTo>
                        <a:pt x="321" y="156"/>
                      </a:lnTo>
                      <a:lnTo>
                        <a:pt x="322" y="156"/>
                      </a:lnTo>
                      <a:lnTo>
                        <a:pt x="322" y="156"/>
                      </a:lnTo>
                      <a:lnTo>
                        <a:pt x="322" y="156"/>
                      </a:lnTo>
                      <a:lnTo>
                        <a:pt x="322" y="156"/>
                      </a:lnTo>
                      <a:lnTo>
                        <a:pt x="322" y="156"/>
                      </a:lnTo>
                      <a:lnTo>
                        <a:pt x="322" y="157"/>
                      </a:lnTo>
                      <a:lnTo>
                        <a:pt x="322" y="157"/>
                      </a:lnTo>
                      <a:lnTo>
                        <a:pt x="322" y="158"/>
                      </a:lnTo>
                      <a:lnTo>
                        <a:pt x="323" y="158"/>
                      </a:lnTo>
                      <a:lnTo>
                        <a:pt x="323" y="159"/>
                      </a:lnTo>
                      <a:lnTo>
                        <a:pt x="323" y="159"/>
                      </a:lnTo>
                      <a:lnTo>
                        <a:pt x="323" y="159"/>
                      </a:lnTo>
                      <a:lnTo>
                        <a:pt x="323" y="158"/>
                      </a:lnTo>
                      <a:lnTo>
                        <a:pt x="323" y="159"/>
                      </a:lnTo>
                      <a:lnTo>
                        <a:pt x="324" y="159"/>
                      </a:lnTo>
                      <a:lnTo>
                        <a:pt x="323" y="159"/>
                      </a:lnTo>
                      <a:lnTo>
                        <a:pt x="324" y="160"/>
                      </a:lnTo>
                      <a:lnTo>
                        <a:pt x="324" y="160"/>
                      </a:lnTo>
                      <a:lnTo>
                        <a:pt x="324" y="160"/>
                      </a:lnTo>
                      <a:lnTo>
                        <a:pt x="324" y="160"/>
                      </a:lnTo>
                      <a:lnTo>
                        <a:pt x="323" y="160"/>
                      </a:lnTo>
                      <a:lnTo>
                        <a:pt x="323" y="161"/>
                      </a:lnTo>
                      <a:lnTo>
                        <a:pt x="324" y="161"/>
                      </a:lnTo>
                      <a:lnTo>
                        <a:pt x="323" y="161"/>
                      </a:lnTo>
                      <a:lnTo>
                        <a:pt x="323" y="162"/>
                      </a:lnTo>
                      <a:lnTo>
                        <a:pt x="323" y="162"/>
                      </a:lnTo>
                      <a:lnTo>
                        <a:pt x="323" y="162"/>
                      </a:lnTo>
                      <a:lnTo>
                        <a:pt x="322" y="162"/>
                      </a:lnTo>
                      <a:lnTo>
                        <a:pt x="322" y="162"/>
                      </a:lnTo>
                      <a:lnTo>
                        <a:pt x="323" y="162"/>
                      </a:lnTo>
                      <a:lnTo>
                        <a:pt x="323" y="162"/>
                      </a:lnTo>
                      <a:lnTo>
                        <a:pt x="323" y="162"/>
                      </a:lnTo>
                      <a:lnTo>
                        <a:pt x="323" y="163"/>
                      </a:lnTo>
                      <a:lnTo>
                        <a:pt x="322" y="163"/>
                      </a:lnTo>
                      <a:lnTo>
                        <a:pt x="322" y="163"/>
                      </a:lnTo>
                      <a:lnTo>
                        <a:pt x="322" y="163"/>
                      </a:lnTo>
                      <a:lnTo>
                        <a:pt x="322" y="164"/>
                      </a:lnTo>
                      <a:lnTo>
                        <a:pt x="321" y="164"/>
                      </a:lnTo>
                      <a:lnTo>
                        <a:pt x="320" y="164"/>
                      </a:lnTo>
                      <a:lnTo>
                        <a:pt x="320" y="164"/>
                      </a:lnTo>
                      <a:lnTo>
                        <a:pt x="320" y="164"/>
                      </a:lnTo>
                      <a:lnTo>
                        <a:pt x="319" y="165"/>
                      </a:lnTo>
                      <a:lnTo>
                        <a:pt x="319" y="166"/>
                      </a:lnTo>
                      <a:lnTo>
                        <a:pt x="319" y="166"/>
                      </a:lnTo>
                      <a:lnTo>
                        <a:pt x="318" y="166"/>
                      </a:lnTo>
                      <a:lnTo>
                        <a:pt x="318" y="166"/>
                      </a:lnTo>
                      <a:lnTo>
                        <a:pt x="318" y="166"/>
                      </a:lnTo>
                      <a:lnTo>
                        <a:pt x="318" y="166"/>
                      </a:lnTo>
                      <a:lnTo>
                        <a:pt x="318" y="166"/>
                      </a:lnTo>
                      <a:lnTo>
                        <a:pt x="318" y="167"/>
                      </a:lnTo>
                      <a:lnTo>
                        <a:pt x="318" y="167"/>
                      </a:lnTo>
                      <a:lnTo>
                        <a:pt x="318" y="166"/>
                      </a:lnTo>
                      <a:lnTo>
                        <a:pt x="318" y="166"/>
                      </a:lnTo>
                      <a:lnTo>
                        <a:pt x="318" y="166"/>
                      </a:lnTo>
                      <a:lnTo>
                        <a:pt x="318" y="166"/>
                      </a:lnTo>
                      <a:lnTo>
                        <a:pt x="318" y="166"/>
                      </a:lnTo>
                      <a:lnTo>
                        <a:pt x="319" y="166"/>
                      </a:lnTo>
                      <a:lnTo>
                        <a:pt x="319" y="166"/>
                      </a:lnTo>
                      <a:lnTo>
                        <a:pt x="319" y="165"/>
                      </a:lnTo>
                      <a:lnTo>
                        <a:pt x="319" y="164"/>
                      </a:lnTo>
                      <a:lnTo>
                        <a:pt x="320" y="164"/>
                      </a:lnTo>
                      <a:lnTo>
                        <a:pt x="320" y="164"/>
                      </a:lnTo>
                      <a:lnTo>
                        <a:pt x="320" y="164"/>
                      </a:lnTo>
                      <a:lnTo>
                        <a:pt x="321" y="164"/>
                      </a:lnTo>
                      <a:lnTo>
                        <a:pt x="322" y="164"/>
                      </a:lnTo>
                      <a:lnTo>
                        <a:pt x="322" y="163"/>
                      </a:lnTo>
                      <a:lnTo>
                        <a:pt x="322" y="163"/>
                      </a:lnTo>
                      <a:lnTo>
                        <a:pt x="322" y="163"/>
                      </a:lnTo>
                      <a:lnTo>
                        <a:pt x="323" y="162"/>
                      </a:lnTo>
                      <a:lnTo>
                        <a:pt x="323" y="162"/>
                      </a:lnTo>
                      <a:lnTo>
                        <a:pt x="323" y="162"/>
                      </a:lnTo>
                      <a:lnTo>
                        <a:pt x="322" y="162"/>
                      </a:lnTo>
                      <a:lnTo>
                        <a:pt x="322" y="162"/>
                      </a:lnTo>
                      <a:lnTo>
                        <a:pt x="323" y="162"/>
                      </a:lnTo>
                      <a:lnTo>
                        <a:pt x="323" y="162"/>
                      </a:lnTo>
                      <a:lnTo>
                        <a:pt x="323" y="162"/>
                      </a:lnTo>
                      <a:lnTo>
                        <a:pt x="323" y="162"/>
                      </a:lnTo>
                      <a:lnTo>
                        <a:pt x="323" y="161"/>
                      </a:lnTo>
                      <a:lnTo>
                        <a:pt x="324" y="161"/>
                      </a:lnTo>
                      <a:lnTo>
                        <a:pt x="323" y="161"/>
                      </a:lnTo>
                      <a:lnTo>
                        <a:pt x="324" y="161"/>
                      </a:lnTo>
                      <a:lnTo>
                        <a:pt x="324" y="160"/>
                      </a:lnTo>
                      <a:lnTo>
                        <a:pt x="324" y="160"/>
                      </a:lnTo>
                      <a:lnTo>
                        <a:pt x="324" y="160"/>
                      </a:lnTo>
                      <a:lnTo>
                        <a:pt x="324" y="160"/>
                      </a:lnTo>
                      <a:lnTo>
                        <a:pt x="323" y="159"/>
                      </a:lnTo>
                      <a:lnTo>
                        <a:pt x="324" y="159"/>
                      </a:lnTo>
                      <a:lnTo>
                        <a:pt x="324" y="159"/>
                      </a:lnTo>
                      <a:lnTo>
                        <a:pt x="324" y="159"/>
                      </a:lnTo>
                      <a:lnTo>
                        <a:pt x="324" y="159"/>
                      </a:lnTo>
                      <a:lnTo>
                        <a:pt x="324" y="158"/>
                      </a:lnTo>
                      <a:lnTo>
                        <a:pt x="324" y="158"/>
                      </a:lnTo>
                      <a:lnTo>
                        <a:pt x="324" y="157"/>
                      </a:lnTo>
                      <a:lnTo>
                        <a:pt x="325" y="157"/>
                      </a:lnTo>
                      <a:lnTo>
                        <a:pt x="326" y="157"/>
                      </a:lnTo>
                      <a:lnTo>
                        <a:pt x="326" y="157"/>
                      </a:lnTo>
                      <a:lnTo>
                        <a:pt x="327" y="157"/>
                      </a:lnTo>
                      <a:lnTo>
                        <a:pt x="327" y="157"/>
                      </a:lnTo>
                      <a:lnTo>
                        <a:pt x="327" y="157"/>
                      </a:lnTo>
                      <a:lnTo>
                        <a:pt x="328" y="157"/>
                      </a:lnTo>
                      <a:lnTo>
                        <a:pt x="328" y="156"/>
                      </a:lnTo>
                      <a:lnTo>
                        <a:pt x="328" y="156"/>
                      </a:lnTo>
                      <a:lnTo>
                        <a:pt x="328" y="156"/>
                      </a:lnTo>
                      <a:lnTo>
                        <a:pt x="329" y="155"/>
                      </a:lnTo>
                      <a:lnTo>
                        <a:pt x="330" y="156"/>
                      </a:lnTo>
                      <a:lnTo>
                        <a:pt x="330" y="156"/>
                      </a:lnTo>
                      <a:lnTo>
                        <a:pt x="331" y="156"/>
                      </a:lnTo>
                      <a:lnTo>
                        <a:pt x="331" y="156"/>
                      </a:lnTo>
                      <a:lnTo>
                        <a:pt x="332" y="156"/>
                      </a:lnTo>
                      <a:lnTo>
                        <a:pt x="333" y="156"/>
                      </a:lnTo>
                      <a:lnTo>
                        <a:pt x="333" y="156"/>
                      </a:lnTo>
                      <a:lnTo>
                        <a:pt x="333" y="155"/>
                      </a:lnTo>
                      <a:lnTo>
                        <a:pt x="334" y="156"/>
                      </a:lnTo>
                      <a:lnTo>
                        <a:pt x="334" y="156"/>
                      </a:lnTo>
                      <a:lnTo>
                        <a:pt x="335" y="156"/>
                      </a:lnTo>
                      <a:lnTo>
                        <a:pt x="335" y="156"/>
                      </a:lnTo>
                      <a:lnTo>
                        <a:pt x="335" y="155"/>
                      </a:lnTo>
                      <a:lnTo>
                        <a:pt x="336" y="155"/>
                      </a:lnTo>
                      <a:lnTo>
                        <a:pt x="337" y="155"/>
                      </a:lnTo>
                      <a:lnTo>
                        <a:pt x="337" y="155"/>
                      </a:lnTo>
                      <a:lnTo>
                        <a:pt x="338" y="155"/>
                      </a:lnTo>
                      <a:lnTo>
                        <a:pt x="338" y="155"/>
                      </a:lnTo>
                      <a:lnTo>
                        <a:pt x="339" y="155"/>
                      </a:lnTo>
                      <a:lnTo>
                        <a:pt x="339" y="156"/>
                      </a:lnTo>
                      <a:lnTo>
                        <a:pt x="339" y="156"/>
                      </a:lnTo>
                      <a:lnTo>
                        <a:pt x="340" y="156"/>
                      </a:lnTo>
                      <a:lnTo>
                        <a:pt x="341" y="156"/>
                      </a:lnTo>
                      <a:lnTo>
                        <a:pt x="341" y="156"/>
                      </a:lnTo>
                      <a:lnTo>
                        <a:pt x="341" y="156"/>
                      </a:lnTo>
                      <a:lnTo>
                        <a:pt x="341" y="156"/>
                      </a:lnTo>
                      <a:lnTo>
                        <a:pt x="341" y="156"/>
                      </a:lnTo>
                      <a:lnTo>
                        <a:pt x="340" y="156"/>
                      </a:lnTo>
                      <a:lnTo>
                        <a:pt x="339" y="156"/>
                      </a:lnTo>
                      <a:lnTo>
                        <a:pt x="339" y="155"/>
                      </a:lnTo>
                      <a:lnTo>
                        <a:pt x="339" y="156"/>
                      </a:lnTo>
                      <a:lnTo>
                        <a:pt x="340" y="156"/>
                      </a:lnTo>
                      <a:lnTo>
                        <a:pt x="340" y="155"/>
                      </a:lnTo>
                      <a:lnTo>
                        <a:pt x="341" y="156"/>
                      </a:lnTo>
                      <a:lnTo>
                        <a:pt x="341" y="155"/>
                      </a:lnTo>
                      <a:lnTo>
                        <a:pt x="341" y="155"/>
                      </a:lnTo>
                      <a:lnTo>
                        <a:pt x="342" y="155"/>
                      </a:lnTo>
                      <a:lnTo>
                        <a:pt x="342" y="155"/>
                      </a:lnTo>
                      <a:lnTo>
                        <a:pt x="342" y="155"/>
                      </a:lnTo>
                      <a:lnTo>
                        <a:pt x="343" y="155"/>
                      </a:lnTo>
                      <a:lnTo>
                        <a:pt x="343" y="155"/>
                      </a:lnTo>
                      <a:lnTo>
                        <a:pt x="344" y="155"/>
                      </a:lnTo>
                      <a:lnTo>
                        <a:pt x="345" y="155"/>
                      </a:lnTo>
                      <a:lnTo>
                        <a:pt x="345" y="154"/>
                      </a:lnTo>
                      <a:lnTo>
                        <a:pt x="345" y="154"/>
                      </a:lnTo>
                      <a:lnTo>
                        <a:pt x="346" y="154"/>
                      </a:lnTo>
                      <a:lnTo>
                        <a:pt x="346" y="153"/>
                      </a:lnTo>
                      <a:lnTo>
                        <a:pt x="346" y="153"/>
                      </a:lnTo>
                      <a:lnTo>
                        <a:pt x="346" y="153"/>
                      </a:lnTo>
                      <a:lnTo>
                        <a:pt x="347" y="153"/>
                      </a:lnTo>
                      <a:lnTo>
                        <a:pt x="348" y="153"/>
                      </a:lnTo>
                      <a:lnTo>
                        <a:pt x="347" y="153"/>
                      </a:lnTo>
                      <a:lnTo>
                        <a:pt x="347" y="152"/>
                      </a:lnTo>
                      <a:lnTo>
                        <a:pt x="348" y="152"/>
                      </a:lnTo>
                      <a:lnTo>
                        <a:pt x="348" y="152"/>
                      </a:lnTo>
                      <a:lnTo>
                        <a:pt x="348" y="152"/>
                      </a:lnTo>
                      <a:lnTo>
                        <a:pt x="349" y="152"/>
                      </a:lnTo>
                      <a:lnTo>
                        <a:pt x="349" y="151"/>
                      </a:lnTo>
                      <a:lnTo>
                        <a:pt x="348" y="151"/>
                      </a:lnTo>
                      <a:lnTo>
                        <a:pt x="348" y="151"/>
                      </a:lnTo>
                      <a:lnTo>
                        <a:pt x="349" y="151"/>
                      </a:lnTo>
                      <a:lnTo>
                        <a:pt x="348" y="151"/>
                      </a:lnTo>
                      <a:lnTo>
                        <a:pt x="348" y="150"/>
                      </a:lnTo>
                      <a:lnTo>
                        <a:pt x="349" y="149"/>
                      </a:lnTo>
                      <a:lnTo>
                        <a:pt x="348" y="149"/>
                      </a:lnTo>
                      <a:lnTo>
                        <a:pt x="349" y="149"/>
                      </a:lnTo>
                      <a:lnTo>
                        <a:pt x="349" y="148"/>
                      </a:lnTo>
                      <a:lnTo>
                        <a:pt x="349" y="148"/>
                      </a:lnTo>
                      <a:lnTo>
                        <a:pt x="350" y="148"/>
                      </a:lnTo>
                      <a:lnTo>
                        <a:pt x="350" y="148"/>
                      </a:lnTo>
                      <a:lnTo>
                        <a:pt x="349" y="148"/>
                      </a:lnTo>
                      <a:lnTo>
                        <a:pt x="350" y="148"/>
                      </a:lnTo>
                      <a:lnTo>
                        <a:pt x="350" y="148"/>
                      </a:lnTo>
                      <a:lnTo>
                        <a:pt x="351" y="148"/>
                      </a:lnTo>
                      <a:lnTo>
                        <a:pt x="351" y="148"/>
                      </a:lnTo>
                      <a:lnTo>
                        <a:pt x="352" y="148"/>
                      </a:lnTo>
                      <a:lnTo>
                        <a:pt x="352" y="148"/>
                      </a:lnTo>
                      <a:lnTo>
                        <a:pt x="353" y="148"/>
                      </a:lnTo>
                      <a:lnTo>
                        <a:pt x="353" y="148"/>
                      </a:lnTo>
                      <a:lnTo>
                        <a:pt x="353" y="148"/>
                      </a:lnTo>
                      <a:lnTo>
                        <a:pt x="352" y="148"/>
                      </a:lnTo>
                      <a:lnTo>
                        <a:pt x="352" y="148"/>
                      </a:lnTo>
                      <a:lnTo>
                        <a:pt x="351" y="148"/>
                      </a:lnTo>
                      <a:lnTo>
                        <a:pt x="351" y="148"/>
                      </a:lnTo>
                      <a:lnTo>
                        <a:pt x="350" y="148"/>
                      </a:lnTo>
                      <a:lnTo>
                        <a:pt x="350" y="148"/>
                      </a:lnTo>
                      <a:lnTo>
                        <a:pt x="349" y="148"/>
                      </a:lnTo>
                      <a:lnTo>
                        <a:pt x="349" y="148"/>
                      </a:lnTo>
                      <a:lnTo>
                        <a:pt x="349" y="148"/>
                      </a:lnTo>
                      <a:lnTo>
                        <a:pt x="349" y="149"/>
                      </a:lnTo>
                      <a:lnTo>
                        <a:pt x="348" y="149"/>
                      </a:lnTo>
                      <a:lnTo>
                        <a:pt x="348" y="149"/>
                      </a:lnTo>
                      <a:lnTo>
                        <a:pt x="348" y="150"/>
                      </a:lnTo>
                      <a:lnTo>
                        <a:pt x="348" y="151"/>
                      </a:lnTo>
                      <a:lnTo>
                        <a:pt x="349" y="151"/>
                      </a:lnTo>
                      <a:lnTo>
                        <a:pt x="348" y="151"/>
                      </a:lnTo>
                      <a:lnTo>
                        <a:pt x="348" y="151"/>
                      </a:lnTo>
                      <a:lnTo>
                        <a:pt x="349" y="151"/>
                      </a:lnTo>
                      <a:lnTo>
                        <a:pt x="349" y="152"/>
                      </a:lnTo>
                      <a:lnTo>
                        <a:pt x="348" y="152"/>
                      </a:lnTo>
                      <a:lnTo>
                        <a:pt x="348" y="152"/>
                      </a:lnTo>
                      <a:lnTo>
                        <a:pt x="348" y="152"/>
                      </a:lnTo>
                      <a:lnTo>
                        <a:pt x="347" y="152"/>
                      </a:lnTo>
                      <a:lnTo>
                        <a:pt x="347" y="153"/>
                      </a:lnTo>
                      <a:lnTo>
                        <a:pt x="348" y="153"/>
                      </a:lnTo>
                      <a:lnTo>
                        <a:pt x="347" y="153"/>
                      </a:lnTo>
                      <a:lnTo>
                        <a:pt x="346" y="153"/>
                      </a:lnTo>
                      <a:lnTo>
                        <a:pt x="346" y="153"/>
                      </a:lnTo>
                      <a:lnTo>
                        <a:pt x="346" y="153"/>
                      </a:lnTo>
                      <a:lnTo>
                        <a:pt x="346" y="154"/>
                      </a:lnTo>
                      <a:lnTo>
                        <a:pt x="345" y="154"/>
                      </a:lnTo>
                      <a:lnTo>
                        <a:pt x="345" y="154"/>
                      </a:lnTo>
                      <a:lnTo>
                        <a:pt x="345" y="155"/>
                      </a:lnTo>
                      <a:lnTo>
                        <a:pt x="344" y="155"/>
                      </a:lnTo>
                      <a:lnTo>
                        <a:pt x="343" y="155"/>
                      </a:lnTo>
                      <a:lnTo>
                        <a:pt x="343" y="155"/>
                      </a:lnTo>
                      <a:lnTo>
                        <a:pt x="342" y="155"/>
                      </a:lnTo>
                      <a:lnTo>
                        <a:pt x="342" y="155"/>
                      </a:lnTo>
                      <a:lnTo>
                        <a:pt x="342" y="155"/>
                      </a:lnTo>
                      <a:lnTo>
                        <a:pt x="341" y="155"/>
                      </a:lnTo>
                      <a:lnTo>
                        <a:pt x="341" y="155"/>
                      </a:lnTo>
                      <a:lnTo>
                        <a:pt x="340" y="155"/>
                      </a:lnTo>
                      <a:lnTo>
                        <a:pt x="340" y="156"/>
                      </a:lnTo>
                      <a:lnTo>
                        <a:pt x="339" y="155"/>
                      </a:lnTo>
                      <a:lnTo>
                        <a:pt x="339" y="156"/>
                      </a:lnTo>
                      <a:lnTo>
                        <a:pt x="339" y="155"/>
                      </a:lnTo>
                      <a:lnTo>
                        <a:pt x="339" y="155"/>
                      </a:lnTo>
                      <a:lnTo>
                        <a:pt x="338" y="155"/>
                      </a:lnTo>
                      <a:lnTo>
                        <a:pt x="339" y="155"/>
                      </a:lnTo>
                      <a:lnTo>
                        <a:pt x="338" y="155"/>
                      </a:lnTo>
                      <a:lnTo>
                        <a:pt x="338" y="155"/>
                      </a:lnTo>
                      <a:lnTo>
                        <a:pt x="337" y="155"/>
                      </a:lnTo>
                      <a:lnTo>
                        <a:pt x="337" y="155"/>
                      </a:lnTo>
                      <a:lnTo>
                        <a:pt x="336" y="155"/>
                      </a:lnTo>
                      <a:lnTo>
                        <a:pt x="335" y="155"/>
                      </a:lnTo>
                      <a:lnTo>
                        <a:pt x="335" y="156"/>
                      </a:lnTo>
                      <a:lnTo>
                        <a:pt x="335" y="156"/>
                      </a:lnTo>
                      <a:lnTo>
                        <a:pt x="334" y="155"/>
                      </a:lnTo>
                      <a:lnTo>
                        <a:pt x="334" y="155"/>
                      </a:lnTo>
                      <a:lnTo>
                        <a:pt x="333" y="155"/>
                      </a:lnTo>
                      <a:lnTo>
                        <a:pt x="333" y="155"/>
                      </a:lnTo>
                      <a:lnTo>
                        <a:pt x="333" y="156"/>
                      </a:lnTo>
                      <a:lnTo>
                        <a:pt x="333" y="156"/>
                      </a:lnTo>
                      <a:lnTo>
                        <a:pt x="332" y="156"/>
                      </a:lnTo>
                      <a:lnTo>
                        <a:pt x="331" y="156"/>
                      </a:lnTo>
                      <a:lnTo>
                        <a:pt x="331" y="156"/>
                      </a:lnTo>
                      <a:lnTo>
                        <a:pt x="331" y="156"/>
                      </a:lnTo>
                      <a:lnTo>
                        <a:pt x="330" y="156"/>
                      </a:lnTo>
                      <a:lnTo>
                        <a:pt x="330" y="156"/>
                      </a:lnTo>
                      <a:lnTo>
                        <a:pt x="330" y="155"/>
                      </a:lnTo>
                      <a:lnTo>
                        <a:pt x="329" y="155"/>
                      </a:lnTo>
                      <a:lnTo>
                        <a:pt x="330" y="155"/>
                      </a:lnTo>
                      <a:lnTo>
                        <a:pt x="330" y="156"/>
                      </a:lnTo>
                      <a:lnTo>
                        <a:pt x="330" y="155"/>
                      </a:lnTo>
                      <a:lnTo>
                        <a:pt x="329" y="155"/>
                      </a:lnTo>
                      <a:lnTo>
                        <a:pt x="328" y="155"/>
                      </a:lnTo>
                      <a:lnTo>
                        <a:pt x="328" y="156"/>
                      </a:lnTo>
                      <a:lnTo>
                        <a:pt x="328" y="156"/>
                      </a:lnTo>
                      <a:lnTo>
                        <a:pt x="328" y="157"/>
                      </a:lnTo>
                      <a:lnTo>
                        <a:pt x="327" y="157"/>
                      </a:lnTo>
                      <a:lnTo>
                        <a:pt x="327" y="157"/>
                      </a:lnTo>
                      <a:lnTo>
                        <a:pt x="326" y="157"/>
                      </a:lnTo>
                      <a:lnTo>
                        <a:pt x="327" y="157"/>
                      </a:lnTo>
                      <a:lnTo>
                        <a:pt x="326" y="157"/>
                      </a:lnTo>
                      <a:lnTo>
                        <a:pt x="326" y="157"/>
                      </a:lnTo>
                      <a:lnTo>
                        <a:pt x="326" y="157"/>
                      </a:lnTo>
                      <a:lnTo>
                        <a:pt x="325" y="157"/>
                      </a:lnTo>
                      <a:lnTo>
                        <a:pt x="326" y="157"/>
                      </a:lnTo>
                      <a:lnTo>
                        <a:pt x="326" y="157"/>
                      </a:lnTo>
                      <a:lnTo>
                        <a:pt x="327" y="157"/>
                      </a:lnTo>
                      <a:lnTo>
                        <a:pt x="327" y="157"/>
                      </a:lnTo>
                      <a:lnTo>
                        <a:pt x="327" y="157"/>
                      </a:lnTo>
                      <a:lnTo>
                        <a:pt x="327" y="157"/>
                      </a:lnTo>
                      <a:lnTo>
                        <a:pt x="326" y="157"/>
                      </a:lnTo>
                      <a:lnTo>
                        <a:pt x="326" y="157"/>
                      </a:lnTo>
                      <a:lnTo>
                        <a:pt x="325" y="157"/>
                      </a:lnTo>
                      <a:lnTo>
                        <a:pt x="324" y="157"/>
                      </a:lnTo>
                      <a:lnTo>
                        <a:pt x="324" y="158"/>
                      </a:lnTo>
                      <a:lnTo>
                        <a:pt x="324" y="158"/>
                      </a:lnTo>
                      <a:lnTo>
                        <a:pt x="323" y="158"/>
                      </a:lnTo>
                      <a:lnTo>
                        <a:pt x="323" y="158"/>
                      </a:lnTo>
                      <a:lnTo>
                        <a:pt x="322" y="158"/>
                      </a:lnTo>
                      <a:lnTo>
                        <a:pt x="322" y="157"/>
                      </a:lnTo>
                      <a:lnTo>
                        <a:pt x="322" y="158"/>
                      </a:lnTo>
                      <a:lnTo>
                        <a:pt x="322" y="157"/>
                      </a:lnTo>
                      <a:lnTo>
                        <a:pt x="322" y="158"/>
                      </a:lnTo>
                      <a:lnTo>
                        <a:pt x="322" y="157"/>
                      </a:lnTo>
                      <a:lnTo>
                        <a:pt x="322" y="157"/>
                      </a:lnTo>
                      <a:lnTo>
                        <a:pt x="322" y="156"/>
                      </a:lnTo>
                      <a:lnTo>
                        <a:pt x="322" y="156"/>
                      </a:lnTo>
                      <a:lnTo>
                        <a:pt x="322" y="156"/>
                      </a:lnTo>
                      <a:lnTo>
                        <a:pt x="321" y="155"/>
                      </a:lnTo>
                      <a:lnTo>
                        <a:pt x="320" y="155"/>
                      </a:lnTo>
                      <a:lnTo>
                        <a:pt x="320" y="155"/>
                      </a:lnTo>
                      <a:lnTo>
                        <a:pt x="319" y="155"/>
                      </a:lnTo>
                      <a:lnTo>
                        <a:pt x="319" y="154"/>
                      </a:lnTo>
                      <a:lnTo>
                        <a:pt x="319" y="155"/>
                      </a:lnTo>
                      <a:lnTo>
                        <a:pt x="318" y="155"/>
                      </a:lnTo>
                      <a:lnTo>
                        <a:pt x="318" y="155"/>
                      </a:lnTo>
                      <a:lnTo>
                        <a:pt x="318" y="155"/>
                      </a:lnTo>
                      <a:lnTo>
                        <a:pt x="318" y="156"/>
                      </a:lnTo>
                      <a:lnTo>
                        <a:pt x="318" y="156"/>
                      </a:lnTo>
                      <a:lnTo>
                        <a:pt x="317" y="156"/>
                      </a:lnTo>
                      <a:lnTo>
                        <a:pt x="316" y="157"/>
                      </a:lnTo>
                      <a:lnTo>
                        <a:pt x="316" y="157"/>
                      </a:lnTo>
                      <a:lnTo>
                        <a:pt x="315" y="157"/>
                      </a:lnTo>
                      <a:lnTo>
                        <a:pt x="315" y="157"/>
                      </a:lnTo>
                      <a:lnTo>
                        <a:pt x="315" y="157"/>
                      </a:lnTo>
                      <a:lnTo>
                        <a:pt x="315" y="157"/>
                      </a:lnTo>
                      <a:lnTo>
                        <a:pt x="315" y="157"/>
                      </a:lnTo>
                      <a:lnTo>
                        <a:pt x="314" y="157"/>
                      </a:lnTo>
                      <a:lnTo>
                        <a:pt x="314" y="158"/>
                      </a:lnTo>
                      <a:lnTo>
                        <a:pt x="313" y="158"/>
                      </a:lnTo>
                      <a:lnTo>
                        <a:pt x="313" y="158"/>
                      </a:lnTo>
                      <a:lnTo>
                        <a:pt x="313" y="158"/>
                      </a:lnTo>
                      <a:lnTo>
                        <a:pt x="313" y="158"/>
                      </a:lnTo>
                      <a:lnTo>
                        <a:pt x="313" y="159"/>
                      </a:lnTo>
                      <a:lnTo>
                        <a:pt x="313" y="159"/>
                      </a:lnTo>
                      <a:lnTo>
                        <a:pt x="312" y="159"/>
                      </a:lnTo>
                      <a:lnTo>
                        <a:pt x="312" y="159"/>
                      </a:lnTo>
                      <a:lnTo>
                        <a:pt x="312" y="159"/>
                      </a:lnTo>
                      <a:lnTo>
                        <a:pt x="311" y="159"/>
                      </a:lnTo>
                      <a:lnTo>
                        <a:pt x="312" y="159"/>
                      </a:lnTo>
                      <a:lnTo>
                        <a:pt x="312" y="159"/>
                      </a:lnTo>
                      <a:lnTo>
                        <a:pt x="312" y="159"/>
                      </a:lnTo>
                      <a:lnTo>
                        <a:pt x="311" y="159"/>
                      </a:lnTo>
                      <a:lnTo>
                        <a:pt x="311" y="160"/>
                      </a:lnTo>
                      <a:lnTo>
                        <a:pt x="311" y="160"/>
                      </a:lnTo>
                      <a:lnTo>
                        <a:pt x="311" y="160"/>
                      </a:lnTo>
                      <a:lnTo>
                        <a:pt x="310" y="160"/>
                      </a:lnTo>
                      <a:lnTo>
                        <a:pt x="310" y="161"/>
                      </a:lnTo>
                      <a:lnTo>
                        <a:pt x="309" y="161"/>
                      </a:lnTo>
                      <a:lnTo>
                        <a:pt x="309" y="162"/>
                      </a:lnTo>
                      <a:lnTo>
                        <a:pt x="309" y="162"/>
                      </a:lnTo>
                      <a:lnTo>
                        <a:pt x="309" y="163"/>
                      </a:lnTo>
                      <a:lnTo>
                        <a:pt x="309" y="163"/>
                      </a:lnTo>
                      <a:lnTo>
                        <a:pt x="308" y="163"/>
                      </a:lnTo>
                      <a:lnTo>
                        <a:pt x="308" y="163"/>
                      </a:lnTo>
                      <a:lnTo>
                        <a:pt x="307" y="163"/>
                      </a:lnTo>
                      <a:lnTo>
                        <a:pt x="307" y="163"/>
                      </a:lnTo>
                      <a:lnTo>
                        <a:pt x="306" y="163"/>
                      </a:lnTo>
                      <a:lnTo>
                        <a:pt x="306" y="163"/>
                      </a:lnTo>
                      <a:lnTo>
                        <a:pt x="305" y="163"/>
                      </a:lnTo>
                      <a:lnTo>
                        <a:pt x="305" y="163"/>
                      </a:lnTo>
                      <a:lnTo>
                        <a:pt x="305" y="163"/>
                      </a:lnTo>
                      <a:lnTo>
                        <a:pt x="304" y="163"/>
                      </a:lnTo>
                      <a:lnTo>
                        <a:pt x="304" y="163"/>
                      </a:lnTo>
                      <a:lnTo>
                        <a:pt x="303" y="163"/>
                      </a:lnTo>
                      <a:lnTo>
                        <a:pt x="304" y="163"/>
                      </a:lnTo>
                      <a:lnTo>
                        <a:pt x="304" y="163"/>
                      </a:lnTo>
                      <a:lnTo>
                        <a:pt x="303" y="163"/>
                      </a:lnTo>
                      <a:lnTo>
                        <a:pt x="302" y="163"/>
                      </a:lnTo>
                      <a:lnTo>
                        <a:pt x="302" y="162"/>
                      </a:lnTo>
                      <a:lnTo>
                        <a:pt x="302" y="162"/>
                      </a:lnTo>
                      <a:lnTo>
                        <a:pt x="302" y="162"/>
                      </a:lnTo>
                      <a:lnTo>
                        <a:pt x="302" y="162"/>
                      </a:lnTo>
                      <a:lnTo>
                        <a:pt x="302" y="161"/>
                      </a:lnTo>
                      <a:lnTo>
                        <a:pt x="302" y="160"/>
                      </a:lnTo>
                      <a:lnTo>
                        <a:pt x="303" y="160"/>
                      </a:lnTo>
                      <a:lnTo>
                        <a:pt x="303" y="160"/>
                      </a:lnTo>
                      <a:lnTo>
                        <a:pt x="303" y="159"/>
                      </a:lnTo>
                      <a:lnTo>
                        <a:pt x="302" y="159"/>
                      </a:lnTo>
                      <a:lnTo>
                        <a:pt x="303" y="159"/>
                      </a:lnTo>
                      <a:lnTo>
                        <a:pt x="303" y="159"/>
                      </a:lnTo>
                      <a:lnTo>
                        <a:pt x="303" y="158"/>
                      </a:lnTo>
                      <a:lnTo>
                        <a:pt x="304" y="158"/>
                      </a:lnTo>
                      <a:lnTo>
                        <a:pt x="304" y="157"/>
                      </a:lnTo>
                      <a:lnTo>
                        <a:pt x="303" y="157"/>
                      </a:lnTo>
                      <a:lnTo>
                        <a:pt x="302" y="157"/>
                      </a:lnTo>
                      <a:lnTo>
                        <a:pt x="302" y="157"/>
                      </a:lnTo>
                      <a:lnTo>
                        <a:pt x="302" y="157"/>
                      </a:lnTo>
                      <a:lnTo>
                        <a:pt x="302" y="157"/>
                      </a:lnTo>
                      <a:lnTo>
                        <a:pt x="302" y="157"/>
                      </a:lnTo>
                      <a:lnTo>
                        <a:pt x="303" y="157"/>
                      </a:lnTo>
                      <a:lnTo>
                        <a:pt x="304" y="157"/>
                      </a:lnTo>
                      <a:lnTo>
                        <a:pt x="304" y="158"/>
                      </a:lnTo>
                      <a:lnTo>
                        <a:pt x="303" y="158"/>
                      </a:lnTo>
                      <a:lnTo>
                        <a:pt x="303" y="159"/>
                      </a:lnTo>
                      <a:lnTo>
                        <a:pt x="303" y="159"/>
                      </a:lnTo>
                      <a:lnTo>
                        <a:pt x="302" y="159"/>
                      </a:lnTo>
                      <a:lnTo>
                        <a:pt x="303" y="159"/>
                      </a:lnTo>
                      <a:lnTo>
                        <a:pt x="303" y="160"/>
                      </a:lnTo>
                      <a:lnTo>
                        <a:pt x="303" y="160"/>
                      </a:lnTo>
                      <a:lnTo>
                        <a:pt x="302" y="160"/>
                      </a:lnTo>
                      <a:lnTo>
                        <a:pt x="302" y="161"/>
                      </a:lnTo>
                      <a:lnTo>
                        <a:pt x="302" y="162"/>
                      </a:lnTo>
                      <a:lnTo>
                        <a:pt x="302" y="162"/>
                      </a:lnTo>
                      <a:lnTo>
                        <a:pt x="302" y="162"/>
                      </a:lnTo>
                      <a:lnTo>
                        <a:pt x="302" y="163"/>
                      </a:lnTo>
                      <a:lnTo>
                        <a:pt x="303" y="163"/>
                      </a:lnTo>
                      <a:lnTo>
                        <a:pt x="304" y="163"/>
                      </a:lnTo>
                      <a:lnTo>
                        <a:pt x="304" y="163"/>
                      </a:lnTo>
                      <a:lnTo>
                        <a:pt x="303" y="163"/>
                      </a:lnTo>
                      <a:lnTo>
                        <a:pt x="303" y="164"/>
                      </a:lnTo>
                      <a:lnTo>
                        <a:pt x="302" y="164"/>
                      </a:lnTo>
                      <a:lnTo>
                        <a:pt x="302" y="164"/>
                      </a:lnTo>
                      <a:lnTo>
                        <a:pt x="301" y="164"/>
                      </a:lnTo>
                      <a:lnTo>
                        <a:pt x="301" y="163"/>
                      </a:lnTo>
                      <a:lnTo>
                        <a:pt x="301" y="163"/>
                      </a:lnTo>
                      <a:lnTo>
                        <a:pt x="301" y="163"/>
                      </a:lnTo>
                      <a:lnTo>
                        <a:pt x="301" y="163"/>
                      </a:lnTo>
                      <a:lnTo>
                        <a:pt x="300" y="163"/>
                      </a:lnTo>
                      <a:lnTo>
                        <a:pt x="300" y="163"/>
                      </a:lnTo>
                      <a:lnTo>
                        <a:pt x="300" y="163"/>
                      </a:lnTo>
                      <a:lnTo>
                        <a:pt x="300" y="162"/>
                      </a:lnTo>
                      <a:lnTo>
                        <a:pt x="300" y="162"/>
                      </a:lnTo>
                      <a:lnTo>
                        <a:pt x="299" y="162"/>
                      </a:lnTo>
                      <a:lnTo>
                        <a:pt x="298" y="162"/>
                      </a:lnTo>
                      <a:lnTo>
                        <a:pt x="298" y="161"/>
                      </a:lnTo>
                      <a:lnTo>
                        <a:pt x="298" y="160"/>
                      </a:lnTo>
                      <a:lnTo>
                        <a:pt x="298" y="160"/>
                      </a:lnTo>
                      <a:lnTo>
                        <a:pt x="298" y="160"/>
                      </a:lnTo>
                      <a:lnTo>
                        <a:pt x="297" y="160"/>
                      </a:lnTo>
                      <a:lnTo>
                        <a:pt x="297" y="160"/>
                      </a:lnTo>
                      <a:lnTo>
                        <a:pt x="297" y="159"/>
                      </a:lnTo>
                      <a:lnTo>
                        <a:pt x="297" y="159"/>
                      </a:lnTo>
                      <a:lnTo>
                        <a:pt x="297" y="159"/>
                      </a:lnTo>
                      <a:lnTo>
                        <a:pt x="297" y="159"/>
                      </a:lnTo>
                      <a:lnTo>
                        <a:pt x="297" y="158"/>
                      </a:lnTo>
                      <a:lnTo>
                        <a:pt x="296" y="157"/>
                      </a:lnTo>
                      <a:lnTo>
                        <a:pt x="296" y="157"/>
                      </a:lnTo>
                      <a:lnTo>
                        <a:pt x="295" y="157"/>
                      </a:lnTo>
                      <a:lnTo>
                        <a:pt x="294" y="157"/>
                      </a:lnTo>
                      <a:lnTo>
                        <a:pt x="294" y="157"/>
                      </a:lnTo>
                      <a:lnTo>
                        <a:pt x="293" y="157"/>
                      </a:lnTo>
                      <a:lnTo>
                        <a:pt x="293" y="157"/>
                      </a:lnTo>
                      <a:lnTo>
                        <a:pt x="292" y="157"/>
                      </a:lnTo>
                      <a:lnTo>
                        <a:pt x="292" y="158"/>
                      </a:lnTo>
                      <a:lnTo>
                        <a:pt x="291" y="158"/>
                      </a:lnTo>
                      <a:lnTo>
                        <a:pt x="290" y="158"/>
                      </a:lnTo>
                      <a:lnTo>
                        <a:pt x="290" y="159"/>
                      </a:lnTo>
                      <a:lnTo>
                        <a:pt x="289" y="159"/>
                      </a:lnTo>
                      <a:lnTo>
                        <a:pt x="289" y="159"/>
                      </a:lnTo>
                      <a:lnTo>
                        <a:pt x="288" y="160"/>
                      </a:lnTo>
                      <a:lnTo>
                        <a:pt x="287" y="160"/>
                      </a:lnTo>
                      <a:lnTo>
                        <a:pt x="287" y="160"/>
                      </a:lnTo>
                      <a:lnTo>
                        <a:pt x="286" y="160"/>
                      </a:lnTo>
                      <a:lnTo>
                        <a:pt x="287" y="160"/>
                      </a:lnTo>
                      <a:lnTo>
                        <a:pt x="286" y="160"/>
                      </a:lnTo>
                      <a:lnTo>
                        <a:pt x="286" y="160"/>
                      </a:lnTo>
                      <a:lnTo>
                        <a:pt x="286" y="160"/>
                      </a:lnTo>
                      <a:lnTo>
                        <a:pt x="286" y="161"/>
                      </a:lnTo>
                      <a:lnTo>
                        <a:pt x="286" y="162"/>
                      </a:lnTo>
                      <a:lnTo>
                        <a:pt x="286" y="162"/>
                      </a:lnTo>
                      <a:lnTo>
                        <a:pt x="286" y="163"/>
                      </a:lnTo>
                      <a:lnTo>
                        <a:pt x="286" y="163"/>
                      </a:lnTo>
                      <a:lnTo>
                        <a:pt x="285" y="164"/>
                      </a:lnTo>
                      <a:lnTo>
                        <a:pt x="285" y="164"/>
                      </a:lnTo>
                      <a:lnTo>
                        <a:pt x="285" y="164"/>
                      </a:lnTo>
                      <a:lnTo>
                        <a:pt x="284" y="164"/>
                      </a:lnTo>
                      <a:lnTo>
                        <a:pt x="283" y="165"/>
                      </a:lnTo>
                      <a:lnTo>
                        <a:pt x="283" y="166"/>
                      </a:lnTo>
                      <a:lnTo>
                        <a:pt x="283" y="166"/>
                      </a:lnTo>
                      <a:lnTo>
                        <a:pt x="283" y="166"/>
                      </a:lnTo>
                      <a:lnTo>
                        <a:pt x="283" y="167"/>
                      </a:lnTo>
                      <a:lnTo>
                        <a:pt x="283" y="166"/>
                      </a:lnTo>
                      <a:lnTo>
                        <a:pt x="282" y="166"/>
                      </a:lnTo>
                      <a:lnTo>
                        <a:pt x="283" y="166"/>
                      </a:lnTo>
                      <a:lnTo>
                        <a:pt x="282" y="166"/>
                      </a:lnTo>
                      <a:lnTo>
                        <a:pt x="283" y="166"/>
                      </a:lnTo>
                      <a:lnTo>
                        <a:pt x="282" y="166"/>
                      </a:lnTo>
                      <a:lnTo>
                        <a:pt x="282" y="167"/>
                      </a:lnTo>
                      <a:lnTo>
                        <a:pt x="282" y="167"/>
                      </a:lnTo>
                      <a:lnTo>
                        <a:pt x="281" y="167"/>
                      </a:lnTo>
                      <a:lnTo>
                        <a:pt x="281" y="167"/>
                      </a:lnTo>
                      <a:lnTo>
                        <a:pt x="280" y="167"/>
                      </a:lnTo>
                      <a:lnTo>
                        <a:pt x="280" y="168"/>
                      </a:lnTo>
                      <a:lnTo>
                        <a:pt x="280" y="168"/>
                      </a:lnTo>
                      <a:lnTo>
                        <a:pt x="279" y="168"/>
                      </a:lnTo>
                      <a:lnTo>
                        <a:pt x="279" y="169"/>
                      </a:lnTo>
                      <a:lnTo>
                        <a:pt x="279" y="170"/>
                      </a:lnTo>
                      <a:lnTo>
                        <a:pt x="279" y="170"/>
                      </a:lnTo>
                      <a:lnTo>
                        <a:pt x="278" y="170"/>
                      </a:lnTo>
                      <a:lnTo>
                        <a:pt x="278" y="170"/>
                      </a:lnTo>
                      <a:lnTo>
                        <a:pt x="276" y="170"/>
                      </a:lnTo>
                      <a:lnTo>
                        <a:pt x="276" y="170"/>
                      </a:lnTo>
                      <a:lnTo>
                        <a:pt x="275" y="170"/>
                      </a:lnTo>
                      <a:lnTo>
                        <a:pt x="275" y="170"/>
                      </a:lnTo>
                      <a:lnTo>
                        <a:pt x="275" y="170"/>
                      </a:lnTo>
                      <a:lnTo>
                        <a:pt x="275" y="170"/>
                      </a:lnTo>
                      <a:lnTo>
                        <a:pt x="275" y="170"/>
                      </a:lnTo>
                      <a:lnTo>
                        <a:pt x="275" y="170"/>
                      </a:lnTo>
                      <a:lnTo>
                        <a:pt x="275" y="170"/>
                      </a:lnTo>
                      <a:lnTo>
                        <a:pt x="275" y="170"/>
                      </a:lnTo>
                      <a:lnTo>
                        <a:pt x="275" y="170"/>
                      </a:lnTo>
                      <a:lnTo>
                        <a:pt x="275" y="170"/>
                      </a:lnTo>
                      <a:lnTo>
                        <a:pt x="274" y="170"/>
                      </a:lnTo>
                      <a:lnTo>
                        <a:pt x="274" y="170"/>
                      </a:lnTo>
                      <a:lnTo>
                        <a:pt x="274" y="170"/>
                      </a:lnTo>
                      <a:lnTo>
                        <a:pt x="273" y="170"/>
                      </a:lnTo>
                      <a:lnTo>
                        <a:pt x="273" y="171"/>
                      </a:lnTo>
                      <a:lnTo>
                        <a:pt x="272" y="171"/>
                      </a:lnTo>
                      <a:lnTo>
                        <a:pt x="272" y="171"/>
                      </a:lnTo>
                      <a:lnTo>
                        <a:pt x="272" y="171"/>
                      </a:lnTo>
                      <a:lnTo>
                        <a:pt x="271" y="171"/>
                      </a:lnTo>
                      <a:lnTo>
                        <a:pt x="271" y="171"/>
                      </a:lnTo>
                      <a:lnTo>
                        <a:pt x="270" y="171"/>
                      </a:lnTo>
                      <a:lnTo>
                        <a:pt x="270" y="171"/>
                      </a:lnTo>
                      <a:lnTo>
                        <a:pt x="270" y="171"/>
                      </a:lnTo>
                      <a:lnTo>
                        <a:pt x="270" y="171"/>
                      </a:lnTo>
                      <a:lnTo>
                        <a:pt x="269" y="171"/>
                      </a:lnTo>
                      <a:lnTo>
                        <a:pt x="268" y="171"/>
                      </a:lnTo>
                      <a:lnTo>
                        <a:pt x="268" y="171"/>
                      </a:lnTo>
                      <a:lnTo>
                        <a:pt x="267" y="171"/>
                      </a:lnTo>
                      <a:lnTo>
                        <a:pt x="267" y="171"/>
                      </a:lnTo>
                      <a:lnTo>
                        <a:pt x="266" y="171"/>
                      </a:lnTo>
                      <a:lnTo>
                        <a:pt x="266" y="171"/>
                      </a:lnTo>
                      <a:lnTo>
                        <a:pt x="265" y="171"/>
                      </a:lnTo>
                      <a:lnTo>
                        <a:pt x="264" y="170"/>
                      </a:lnTo>
                      <a:lnTo>
                        <a:pt x="264" y="170"/>
                      </a:lnTo>
                      <a:lnTo>
                        <a:pt x="263" y="170"/>
                      </a:lnTo>
                      <a:lnTo>
                        <a:pt x="263" y="170"/>
                      </a:lnTo>
                      <a:lnTo>
                        <a:pt x="262" y="170"/>
                      </a:lnTo>
                      <a:lnTo>
                        <a:pt x="261" y="170"/>
                      </a:lnTo>
                      <a:lnTo>
                        <a:pt x="261" y="170"/>
                      </a:lnTo>
                      <a:lnTo>
                        <a:pt x="261" y="169"/>
                      </a:lnTo>
                      <a:lnTo>
                        <a:pt x="262" y="169"/>
                      </a:lnTo>
                      <a:lnTo>
                        <a:pt x="262" y="168"/>
                      </a:lnTo>
                      <a:lnTo>
                        <a:pt x="262" y="168"/>
                      </a:lnTo>
                      <a:lnTo>
                        <a:pt x="262" y="167"/>
                      </a:lnTo>
                      <a:lnTo>
                        <a:pt x="262" y="167"/>
                      </a:lnTo>
                      <a:lnTo>
                        <a:pt x="263" y="167"/>
                      </a:lnTo>
                      <a:lnTo>
                        <a:pt x="262" y="167"/>
                      </a:lnTo>
                      <a:lnTo>
                        <a:pt x="262" y="166"/>
                      </a:lnTo>
                      <a:lnTo>
                        <a:pt x="263" y="166"/>
                      </a:lnTo>
                      <a:lnTo>
                        <a:pt x="263" y="165"/>
                      </a:lnTo>
                      <a:lnTo>
                        <a:pt x="263" y="166"/>
                      </a:lnTo>
                      <a:lnTo>
                        <a:pt x="263" y="165"/>
                      </a:lnTo>
                      <a:lnTo>
                        <a:pt x="263" y="165"/>
                      </a:lnTo>
                      <a:lnTo>
                        <a:pt x="263" y="165"/>
                      </a:lnTo>
                      <a:lnTo>
                        <a:pt x="263" y="164"/>
                      </a:lnTo>
                      <a:lnTo>
                        <a:pt x="263" y="164"/>
                      </a:lnTo>
                      <a:lnTo>
                        <a:pt x="263" y="164"/>
                      </a:lnTo>
                      <a:lnTo>
                        <a:pt x="264" y="164"/>
                      </a:lnTo>
                      <a:lnTo>
                        <a:pt x="264" y="164"/>
                      </a:lnTo>
                      <a:lnTo>
                        <a:pt x="264" y="163"/>
                      </a:lnTo>
                      <a:lnTo>
                        <a:pt x="265" y="163"/>
                      </a:lnTo>
                      <a:lnTo>
                        <a:pt x="265" y="163"/>
                      </a:lnTo>
                      <a:lnTo>
                        <a:pt x="266" y="163"/>
                      </a:lnTo>
                      <a:lnTo>
                        <a:pt x="266" y="162"/>
                      </a:lnTo>
                      <a:lnTo>
                        <a:pt x="265" y="162"/>
                      </a:lnTo>
                      <a:lnTo>
                        <a:pt x="265" y="162"/>
                      </a:lnTo>
                      <a:lnTo>
                        <a:pt x="265" y="161"/>
                      </a:lnTo>
                      <a:lnTo>
                        <a:pt x="265" y="160"/>
                      </a:lnTo>
                      <a:lnTo>
                        <a:pt x="265" y="160"/>
                      </a:lnTo>
                      <a:lnTo>
                        <a:pt x="265" y="159"/>
                      </a:lnTo>
                      <a:lnTo>
                        <a:pt x="265" y="159"/>
                      </a:lnTo>
                      <a:lnTo>
                        <a:pt x="265" y="158"/>
                      </a:lnTo>
                      <a:lnTo>
                        <a:pt x="266" y="158"/>
                      </a:lnTo>
                      <a:lnTo>
                        <a:pt x="265" y="158"/>
                      </a:lnTo>
                      <a:lnTo>
                        <a:pt x="265" y="157"/>
                      </a:lnTo>
                      <a:lnTo>
                        <a:pt x="265" y="158"/>
                      </a:lnTo>
                      <a:lnTo>
                        <a:pt x="265" y="157"/>
                      </a:lnTo>
                      <a:lnTo>
                        <a:pt x="265" y="157"/>
                      </a:lnTo>
                      <a:lnTo>
                        <a:pt x="265" y="156"/>
                      </a:lnTo>
                      <a:lnTo>
                        <a:pt x="264" y="156"/>
                      </a:lnTo>
                      <a:lnTo>
                        <a:pt x="265" y="156"/>
                      </a:lnTo>
                      <a:lnTo>
                        <a:pt x="265" y="156"/>
                      </a:lnTo>
                      <a:lnTo>
                        <a:pt x="265" y="156"/>
                      </a:lnTo>
                      <a:lnTo>
                        <a:pt x="264" y="156"/>
                      </a:lnTo>
                      <a:lnTo>
                        <a:pt x="264" y="155"/>
                      </a:lnTo>
                      <a:lnTo>
                        <a:pt x="264" y="155"/>
                      </a:lnTo>
                      <a:lnTo>
                        <a:pt x="265" y="155"/>
                      </a:lnTo>
                      <a:lnTo>
                        <a:pt x="264" y="155"/>
                      </a:lnTo>
                      <a:lnTo>
                        <a:pt x="265" y="154"/>
                      </a:lnTo>
                      <a:lnTo>
                        <a:pt x="264" y="153"/>
                      </a:lnTo>
                      <a:lnTo>
                        <a:pt x="264" y="153"/>
                      </a:lnTo>
                      <a:lnTo>
                        <a:pt x="264" y="153"/>
                      </a:lnTo>
                      <a:lnTo>
                        <a:pt x="264" y="152"/>
                      </a:lnTo>
                      <a:lnTo>
                        <a:pt x="264" y="152"/>
                      </a:lnTo>
                      <a:lnTo>
                        <a:pt x="265" y="153"/>
                      </a:lnTo>
                      <a:lnTo>
                        <a:pt x="265" y="152"/>
                      </a:lnTo>
                      <a:lnTo>
                        <a:pt x="266" y="152"/>
                      </a:lnTo>
                      <a:lnTo>
                        <a:pt x="265" y="152"/>
                      </a:lnTo>
                      <a:lnTo>
                        <a:pt x="265" y="153"/>
                      </a:lnTo>
                      <a:lnTo>
                        <a:pt x="264" y="152"/>
                      </a:lnTo>
                      <a:lnTo>
                        <a:pt x="264" y="152"/>
                      </a:lnTo>
                      <a:lnTo>
                        <a:pt x="264" y="152"/>
                      </a:lnTo>
                      <a:lnTo>
                        <a:pt x="264" y="152"/>
                      </a:lnTo>
                      <a:lnTo>
                        <a:pt x="264" y="152"/>
                      </a:lnTo>
                      <a:lnTo>
                        <a:pt x="264" y="152"/>
                      </a:lnTo>
                      <a:lnTo>
                        <a:pt x="264" y="152"/>
                      </a:lnTo>
                      <a:lnTo>
                        <a:pt x="264" y="151"/>
                      </a:lnTo>
                      <a:lnTo>
                        <a:pt x="264" y="151"/>
                      </a:lnTo>
                      <a:lnTo>
                        <a:pt x="264" y="150"/>
                      </a:lnTo>
                      <a:lnTo>
                        <a:pt x="264" y="149"/>
                      </a:lnTo>
                      <a:lnTo>
                        <a:pt x="264" y="149"/>
                      </a:lnTo>
                      <a:lnTo>
                        <a:pt x="264" y="149"/>
                      </a:lnTo>
                      <a:lnTo>
                        <a:pt x="264" y="149"/>
                      </a:lnTo>
                      <a:lnTo>
                        <a:pt x="264" y="149"/>
                      </a:lnTo>
                      <a:lnTo>
                        <a:pt x="264" y="149"/>
                      </a:lnTo>
                      <a:lnTo>
                        <a:pt x="264" y="148"/>
                      </a:lnTo>
                      <a:lnTo>
                        <a:pt x="264" y="148"/>
                      </a:lnTo>
                      <a:lnTo>
                        <a:pt x="264" y="148"/>
                      </a:lnTo>
                      <a:lnTo>
                        <a:pt x="264" y="148"/>
                      </a:lnTo>
                      <a:lnTo>
                        <a:pt x="264" y="148"/>
                      </a:lnTo>
                      <a:lnTo>
                        <a:pt x="264" y="148"/>
                      </a:lnTo>
                      <a:lnTo>
                        <a:pt x="264" y="148"/>
                      </a:lnTo>
                      <a:lnTo>
                        <a:pt x="264" y="148"/>
                      </a:lnTo>
                      <a:lnTo>
                        <a:pt x="264" y="148"/>
                      </a:lnTo>
                      <a:lnTo>
                        <a:pt x="264" y="148"/>
                      </a:lnTo>
                      <a:lnTo>
                        <a:pt x="265" y="148"/>
                      </a:lnTo>
                      <a:lnTo>
                        <a:pt x="266" y="148"/>
                      </a:lnTo>
                      <a:lnTo>
                        <a:pt x="265" y="148"/>
                      </a:lnTo>
                      <a:lnTo>
                        <a:pt x="265" y="148"/>
                      </a:lnTo>
                      <a:lnTo>
                        <a:pt x="264" y="148"/>
                      </a:lnTo>
                      <a:lnTo>
                        <a:pt x="265" y="148"/>
                      </a:lnTo>
                      <a:lnTo>
                        <a:pt x="264" y="148"/>
                      </a:lnTo>
                      <a:lnTo>
                        <a:pt x="265" y="148"/>
                      </a:lnTo>
                      <a:lnTo>
                        <a:pt x="264" y="148"/>
                      </a:lnTo>
                      <a:lnTo>
                        <a:pt x="264" y="148"/>
                      </a:lnTo>
                      <a:lnTo>
                        <a:pt x="264" y="147"/>
                      </a:lnTo>
                      <a:lnTo>
                        <a:pt x="264" y="146"/>
                      </a:lnTo>
                      <a:lnTo>
                        <a:pt x="264" y="147"/>
                      </a:lnTo>
                      <a:lnTo>
                        <a:pt x="263" y="147"/>
                      </a:lnTo>
                      <a:lnTo>
                        <a:pt x="263" y="146"/>
                      </a:lnTo>
                      <a:lnTo>
                        <a:pt x="263" y="146"/>
                      </a:lnTo>
                      <a:lnTo>
                        <a:pt x="263" y="146"/>
                      </a:lnTo>
                      <a:lnTo>
                        <a:pt x="263" y="145"/>
                      </a:lnTo>
                      <a:lnTo>
                        <a:pt x="262" y="145"/>
                      </a:lnTo>
                      <a:lnTo>
                        <a:pt x="261" y="145"/>
                      </a:lnTo>
                      <a:lnTo>
                        <a:pt x="261" y="144"/>
                      </a:lnTo>
                      <a:lnTo>
                        <a:pt x="262" y="144"/>
                      </a:lnTo>
                      <a:lnTo>
                        <a:pt x="262" y="144"/>
                      </a:lnTo>
                      <a:lnTo>
                        <a:pt x="262" y="143"/>
                      </a:lnTo>
                      <a:lnTo>
                        <a:pt x="263" y="143"/>
                      </a:lnTo>
                      <a:lnTo>
                        <a:pt x="263" y="142"/>
                      </a:lnTo>
                      <a:lnTo>
                        <a:pt x="262" y="142"/>
                      </a:lnTo>
                      <a:lnTo>
                        <a:pt x="262" y="142"/>
                      </a:lnTo>
                      <a:lnTo>
                        <a:pt x="261" y="142"/>
                      </a:lnTo>
                      <a:lnTo>
                        <a:pt x="262" y="142"/>
                      </a:lnTo>
                      <a:lnTo>
                        <a:pt x="262" y="141"/>
                      </a:lnTo>
                      <a:lnTo>
                        <a:pt x="261" y="141"/>
                      </a:lnTo>
                      <a:lnTo>
                        <a:pt x="261" y="141"/>
                      </a:lnTo>
                      <a:lnTo>
                        <a:pt x="261" y="140"/>
                      </a:lnTo>
                      <a:lnTo>
                        <a:pt x="262" y="140"/>
                      </a:lnTo>
                      <a:lnTo>
                        <a:pt x="261" y="140"/>
                      </a:lnTo>
                      <a:lnTo>
                        <a:pt x="261" y="141"/>
                      </a:lnTo>
                      <a:lnTo>
                        <a:pt x="261" y="140"/>
                      </a:lnTo>
                      <a:lnTo>
                        <a:pt x="262" y="140"/>
                      </a:lnTo>
                      <a:lnTo>
                        <a:pt x="261" y="140"/>
                      </a:lnTo>
                      <a:lnTo>
                        <a:pt x="262" y="141"/>
                      </a:lnTo>
                      <a:lnTo>
                        <a:pt x="261" y="141"/>
                      </a:lnTo>
                      <a:lnTo>
                        <a:pt x="262" y="141"/>
                      </a:lnTo>
                      <a:lnTo>
                        <a:pt x="262" y="140"/>
                      </a:lnTo>
                      <a:lnTo>
                        <a:pt x="263" y="140"/>
                      </a:lnTo>
                      <a:lnTo>
                        <a:pt x="263" y="140"/>
                      </a:lnTo>
                      <a:lnTo>
                        <a:pt x="263" y="141"/>
                      </a:lnTo>
                      <a:lnTo>
                        <a:pt x="264" y="141"/>
                      </a:lnTo>
                      <a:lnTo>
                        <a:pt x="264" y="140"/>
                      </a:lnTo>
                      <a:lnTo>
                        <a:pt x="264" y="140"/>
                      </a:lnTo>
                      <a:lnTo>
                        <a:pt x="265" y="140"/>
                      </a:lnTo>
                      <a:lnTo>
                        <a:pt x="265" y="140"/>
                      </a:lnTo>
                      <a:lnTo>
                        <a:pt x="265" y="140"/>
                      </a:lnTo>
                      <a:lnTo>
                        <a:pt x="266" y="140"/>
                      </a:lnTo>
                      <a:lnTo>
                        <a:pt x="266" y="140"/>
                      </a:lnTo>
                      <a:lnTo>
                        <a:pt x="267" y="140"/>
                      </a:lnTo>
                      <a:lnTo>
                        <a:pt x="266" y="140"/>
                      </a:lnTo>
                      <a:lnTo>
                        <a:pt x="267" y="140"/>
                      </a:lnTo>
                      <a:lnTo>
                        <a:pt x="267" y="140"/>
                      </a:lnTo>
                      <a:lnTo>
                        <a:pt x="268" y="140"/>
                      </a:lnTo>
                      <a:lnTo>
                        <a:pt x="268" y="140"/>
                      </a:lnTo>
                      <a:lnTo>
                        <a:pt x="269" y="140"/>
                      </a:lnTo>
                      <a:lnTo>
                        <a:pt x="268" y="140"/>
                      </a:lnTo>
                      <a:lnTo>
                        <a:pt x="268" y="140"/>
                      </a:lnTo>
                      <a:lnTo>
                        <a:pt x="267" y="140"/>
                      </a:lnTo>
                      <a:lnTo>
                        <a:pt x="267" y="140"/>
                      </a:lnTo>
                      <a:lnTo>
                        <a:pt x="267" y="140"/>
                      </a:lnTo>
                      <a:lnTo>
                        <a:pt x="267" y="140"/>
                      </a:lnTo>
                      <a:lnTo>
                        <a:pt x="266" y="140"/>
                      </a:lnTo>
                      <a:lnTo>
                        <a:pt x="266" y="140"/>
                      </a:lnTo>
                      <a:lnTo>
                        <a:pt x="267" y="140"/>
                      </a:lnTo>
                      <a:lnTo>
                        <a:pt x="266" y="140"/>
                      </a:lnTo>
                      <a:lnTo>
                        <a:pt x="266" y="140"/>
                      </a:lnTo>
                      <a:lnTo>
                        <a:pt x="265" y="140"/>
                      </a:lnTo>
                      <a:lnTo>
                        <a:pt x="265" y="141"/>
                      </a:lnTo>
                      <a:lnTo>
                        <a:pt x="264" y="141"/>
                      </a:lnTo>
                      <a:lnTo>
                        <a:pt x="264" y="141"/>
                      </a:lnTo>
                      <a:lnTo>
                        <a:pt x="264" y="141"/>
                      </a:lnTo>
                      <a:lnTo>
                        <a:pt x="264" y="141"/>
                      </a:lnTo>
                      <a:lnTo>
                        <a:pt x="264" y="141"/>
                      </a:lnTo>
                      <a:lnTo>
                        <a:pt x="264" y="141"/>
                      </a:lnTo>
                      <a:lnTo>
                        <a:pt x="264" y="141"/>
                      </a:lnTo>
                      <a:lnTo>
                        <a:pt x="264" y="141"/>
                      </a:lnTo>
                      <a:lnTo>
                        <a:pt x="264" y="141"/>
                      </a:lnTo>
                      <a:lnTo>
                        <a:pt x="264" y="141"/>
                      </a:lnTo>
                      <a:lnTo>
                        <a:pt x="264" y="141"/>
                      </a:lnTo>
                      <a:lnTo>
                        <a:pt x="265" y="141"/>
                      </a:lnTo>
                      <a:lnTo>
                        <a:pt x="265" y="141"/>
                      </a:lnTo>
                      <a:lnTo>
                        <a:pt x="266" y="141"/>
                      </a:lnTo>
                      <a:lnTo>
                        <a:pt x="265" y="141"/>
                      </a:lnTo>
                      <a:lnTo>
                        <a:pt x="265" y="142"/>
                      </a:lnTo>
                      <a:lnTo>
                        <a:pt x="265" y="141"/>
                      </a:lnTo>
                      <a:lnTo>
                        <a:pt x="264" y="141"/>
                      </a:lnTo>
                      <a:lnTo>
                        <a:pt x="264" y="142"/>
                      </a:lnTo>
                      <a:lnTo>
                        <a:pt x="265" y="142"/>
                      </a:lnTo>
                      <a:lnTo>
                        <a:pt x="264" y="142"/>
                      </a:lnTo>
                      <a:lnTo>
                        <a:pt x="265" y="142"/>
                      </a:lnTo>
                      <a:lnTo>
                        <a:pt x="265" y="141"/>
                      </a:lnTo>
                      <a:lnTo>
                        <a:pt x="265" y="142"/>
                      </a:lnTo>
                      <a:lnTo>
                        <a:pt x="265" y="141"/>
                      </a:lnTo>
                      <a:lnTo>
                        <a:pt x="266" y="141"/>
                      </a:lnTo>
                      <a:lnTo>
                        <a:pt x="266" y="141"/>
                      </a:lnTo>
                      <a:lnTo>
                        <a:pt x="266" y="141"/>
                      </a:lnTo>
                      <a:lnTo>
                        <a:pt x="266" y="141"/>
                      </a:lnTo>
                      <a:lnTo>
                        <a:pt x="267" y="141"/>
                      </a:lnTo>
                      <a:lnTo>
                        <a:pt x="266" y="141"/>
                      </a:lnTo>
                      <a:lnTo>
                        <a:pt x="266" y="141"/>
                      </a:lnTo>
                      <a:lnTo>
                        <a:pt x="266" y="141"/>
                      </a:lnTo>
                      <a:lnTo>
                        <a:pt x="266" y="141"/>
                      </a:lnTo>
                      <a:lnTo>
                        <a:pt x="265" y="141"/>
                      </a:lnTo>
                      <a:lnTo>
                        <a:pt x="265" y="140"/>
                      </a:lnTo>
                      <a:lnTo>
                        <a:pt x="266" y="140"/>
                      </a:lnTo>
                      <a:lnTo>
                        <a:pt x="266" y="140"/>
                      </a:lnTo>
                      <a:lnTo>
                        <a:pt x="267" y="140"/>
                      </a:lnTo>
                      <a:lnTo>
                        <a:pt x="267" y="140"/>
                      </a:lnTo>
                      <a:lnTo>
                        <a:pt x="267" y="140"/>
                      </a:lnTo>
                      <a:lnTo>
                        <a:pt x="268" y="140"/>
                      </a:lnTo>
                      <a:lnTo>
                        <a:pt x="267" y="140"/>
                      </a:lnTo>
                      <a:lnTo>
                        <a:pt x="268" y="140"/>
                      </a:lnTo>
                      <a:lnTo>
                        <a:pt x="268" y="140"/>
                      </a:lnTo>
                      <a:lnTo>
                        <a:pt x="267" y="140"/>
                      </a:lnTo>
                      <a:lnTo>
                        <a:pt x="267" y="141"/>
                      </a:lnTo>
                      <a:lnTo>
                        <a:pt x="267" y="141"/>
                      </a:lnTo>
                      <a:lnTo>
                        <a:pt x="267" y="140"/>
                      </a:lnTo>
                      <a:lnTo>
                        <a:pt x="267" y="141"/>
                      </a:lnTo>
                      <a:lnTo>
                        <a:pt x="267" y="140"/>
                      </a:lnTo>
                      <a:lnTo>
                        <a:pt x="267" y="141"/>
                      </a:lnTo>
                      <a:lnTo>
                        <a:pt x="267" y="140"/>
                      </a:lnTo>
                      <a:lnTo>
                        <a:pt x="267" y="141"/>
                      </a:lnTo>
                      <a:lnTo>
                        <a:pt x="267" y="140"/>
                      </a:lnTo>
                      <a:lnTo>
                        <a:pt x="267" y="141"/>
                      </a:lnTo>
                      <a:lnTo>
                        <a:pt x="267" y="141"/>
                      </a:lnTo>
                      <a:lnTo>
                        <a:pt x="267" y="140"/>
                      </a:lnTo>
                      <a:lnTo>
                        <a:pt x="267" y="141"/>
                      </a:lnTo>
                      <a:lnTo>
                        <a:pt x="267" y="140"/>
                      </a:lnTo>
                      <a:lnTo>
                        <a:pt x="267" y="141"/>
                      </a:lnTo>
                      <a:lnTo>
                        <a:pt x="267" y="140"/>
                      </a:lnTo>
                      <a:lnTo>
                        <a:pt x="268" y="140"/>
                      </a:lnTo>
                      <a:lnTo>
                        <a:pt x="268" y="140"/>
                      </a:lnTo>
                      <a:lnTo>
                        <a:pt x="268" y="140"/>
                      </a:lnTo>
                      <a:lnTo>
                        <a:pt x="268" y="140"/>
                      </a:lnTo>
                      <a:lnTo>
                        <a:pt x="268" y="140"/>
                      </a:lnTo>
                      <a:lnTo>
                        <a:pt x="268" y="140"/>
                      </a:lnTo>
                      <a:lnTo>
                        <a:pt x="268" y="140"/>
                      </a:lnTo>
                      <a:lnTo>
                        <a:pt x="268" y="140"/>
                      </a:lnTo>
                      <a:lnTo>
                        <a:pt x="268" y="140"/>
                      </a:lnTo>
                      <a:lnTo>
                        <a:pt x="268" y="140"/>
                      </a:lnTo>
                      <a:lnTo>
                        <a:pt x="268" y="140"/>
                      </a:lnTo>
                      <a:lnTo>
                        <a:pt x="269" y="140"/>
                      </a:lnTo>
                      <a:lnTo>
                        <a:pt x="268" y="140"/>
                      </a:lnTo>
                      <a:lnTo>
                        <a:pt x="269" y="140"/>
                      </a:lnTo>
                      <a:lnTo>
                        <a:pt x="268" y="140"/>
                      </a:lnTo>
                      <a:lnTo>
                        <a:pt x="269" y="140"/>
                      </a:lnTo>
                      <a:lnTo>
                        <a:pt x="269" y="139"/>
                      </a:lnTo>
                      <a:lnTo>
                        <a:pt x="270" y="139"/>
                      </a:lnTo>
                      <a:lnTo>
                        <a:pt x="270" y="138"/>
                      </a:lnTo>
                      <a:lnTo>
                        <a:pt x="270" y="138"/>
                      </a:lnTo>
                      <a:lnTo>
                        <a:pt x="270" y="138"/>
                      </a:lnTo>
                      <a:lnTo>
                        <a:pt x="271" y="138"/>
                      </a:lnTo>
                      <a:lnTo>
                        <a:pt x="271" y="138"/>
                      </a:lnTo>
                      <a:lnTo>
                        <a:pt x="272" y="138"/>
                      </a:lnTo>
                      <a:lnTo>
                        <a:pt x="272" y="138"/>
                      </a:lnTo>
                      <a:lnTo>
                        <a:pt x="272" y="137"/>
                      </a:lnTo>
                      <a:lnTo>
                        <a:pt x="272" y="138"/>
                      </a:lnTo>
                      <a:lnTo>
                        <a:pt x="272" y="137"/>
                      </a:lnTo>
                      <a:lnTo>
                        <a:pt x="273" y="137"/>
                      </a:lnTo>
                      <a:lnTo>
                        <a:pt x="273" y="137"/>
                      </a:lnTo>
                      <a:lnTo>
                        <a:pt x="274" y="137"/>
                      </a:lnTo>
                      <a:lnTo>
                        <a:pt x="273" y="137"/>
                      </a:lnTo>
                      <a:lnTo>
                        <a:pt x="274" y="137"/>
                      </a:lnTo>
                      <a:lnTo>
                        <a:pt x="273" y="137"/>
                      </a:lnTo>
                      <a:lnTo>
                        <a:pt x="273" y="137"/>
                      </a:lnTo>
                      <a:lnTo>
                        <a:pt x="274" y="137"/>
                      </a:lnTo>
                      <a:lnTo>
                        <a:pt x="273" y="137"/>
                      </a:lnTo>
                      <a:lnTo>
                        <a:pt x="274" y="137"/>
                      </a:lnTo>
                      <a:lnTo>
                        <a:pt x="273" y="137"/>
                      </a:lnTo>
                      <a:lnTo>
                        <a:pt x="273" y="137"/>
                      </a:lnTo>
                      <a:lnTo>
                        <a:pt x="274" y="137"/>
                      </a:lnTo>
                      <a:lnTo>
                        <a:pt x="274" y="137"/>
                      </a:lnTo>
                      <a:lnTo>
                        <a:pt x="274" y="136"/>
                      </a:lnTo>
                      <a:lnTo>
                        <a:pt x="275" y="136"/>
                      </a:lnTo>
                      <a:lnTo>
                        <a:pt x="275" y="135"/>
                      </a:lnTo>
                      <a:lnTo>
                        <a:pt x="275" y="136"/>
                      </a:lnTo>
                      <a:lnTo>
                        <a:pt x="275" y="135"/>
                      </a:lnTo>
                      <a:lnTo>
                        <a:pt x="275" y="135"/>
                      </a:lnTo>
                      <a:lnTo>
                        <a:pt x="275" y="135"/>
                      </a:lnTo>
                      <a:lnTo>
                        <a:pt x="276" y="135"/>
                      </a:lnTo>
                      <a:lnTo>
                        <a:pt x="276" y="135"/>
                      </a:lnTo>
                      <a:lnTo>
                        <a:pt x="276" y="135"/>
                      </a:lnTo>
                      <a:lnTo>
                        <a:pt x="276" y="135"/>
                      </a:lnTo>
                      <a:lnTo>
                        <a:pt x="276" y="134"/>
                      </a:lnTo>
                      <a:lnTo>
                        <a:pt x="277" y="134"/>
                      </a:lnTo>
                      <a:lnTo>
                        <a:pt x="277" y="134"/>
                      </a:lnTo>
                      <a:lnTo>
                        <a:pt x="278" y="134"/>
                      </a:lnTo>
                      <a:lnTo>
                        <a:pt x="278" y="133"/>
                      </a:lnTo>
                      <a:lnTo>
                        <a:pt x="278" y="134"/>
                      </a:lnTo>
                      <a:lnTo>
                        <a:pt x="278" y="133"/>
                      </a:lnTo>
                      <a:lnTo>
                        <a:pt x="278" y="133"/>
                      </a:lnTo>
                      <a:lnTo>
                        <a:pt x="278" y="133"/>
                      </a:lnTo>
                      <a:lnTo>
                        <a:pt x="278" y="133"/>
                      </a:lnTo>
                      <a:lnTo>
                        <a:pt x="278" y="132"/>
                      </a:lnTo>
                      <a:lnTo>
                        <a:pt x="278" y="131"/>
                      </a:lnTo>
                      <a:lnTo>
                        <a:pt x="279" y="131"/>
                      </a:lnTo>
                      <a:lnTo>
                        <a:pt x="279" y="131"/>
                      </a:lnTo>
                      <a:lnTo>
                        <a:pt x="279" y="131"/>
                      </a:lnTo>
                      <a:lnTo>
                        <a:pt x="280" y="131"/>
                      </a:lnTo>
                      <a:lnTo>
                        <a:pt x="280" y="130"/>
                      </a:lnTo>
                      <a:lnTo>
                        <a:pt x="281" y="130"/>
                      </a:lnTo>
                      <a:lnTo>
                        <a:pt x="281" y="130"/>
                      </a:lnTo>
                      <a:lnTo>
                        <a:pt x="281" y="131"/>
                      </a:lnTo>
                      <a:lnTo>
                        <a:pt x="281" y="131"/>
                      </a:lnTo>
                      <a:lnTo>
                        <a:pt x="282" y="131"/>
                      </a:lnTo>
                      <a:lnTo>
                        <a:pt x="282" y="132"/>
                      </a:lnTo>
                      <a:lnTo>
                        <a:pt x="282" y="131"/>
                      </a:lnTo>
                      <a:lnTo>
                        <a:pt x="282" y="132"/>
                      </a:lnTo>
                      <a:lnTo>
                        <a:pt x="282" y="132"/>
                      </a:lnTo>
                      <a:lnTo>
                        <a:pt x="282" y="133"/>
                      </a:lnTo>
                      <a:lnTo>
                        <a:pt x="283" y="133"/>
                      </a:lnTo>
                      <a:lnTo>
                        <a:pt x="283" y="133"/>
                      </a:lnTo>
                      <a:lnTo>
                        <a:pt x="283" y="133"/>
                      </a:lnTo>
                      <a:lnTo>
                        <a:pt x="283" y="133"/>
                      </a:lnTo>
                      <a:lnTo>
                        <a:pt x="283" y="132"/>
                      </a:lnTo>
                      <a:lnTo>
                        <a:pt x="284" y="132"/>
                      </a:lnTo>
                      <a:lnTo>
                        <a:pt x="283" y="132"/>
                      </a:lnTo>
                      <a:lnTo>
                        <a:pt x="284" y="132"/>
                      </a:lnTo>
                      <a:lnTo>
                        <a:pt x="284" y="131"/>
                      </a:lnTo>
                      <a:lnTo>
                        <a:pt x="283" y="131"/>
                      </a:lnTo>
                      <a:lnTo>
                        <a:pt x="284" y="131"/>
                      </a:lnTo>
                      <a:lnTo>
                        <a:pt x="285" y="131"/>
                      </a:lnTo>
                      <a:lnTo>
                        <a:pt x="284" y="131"/>
                      </a:lnTo>
                      <a:lnTo>
                        <a:pt x="284" y="131"/>
                      </a:lnTo>
                      <a:lnTo>
                        <a:pt x="284" y="130"/>
                      </a:lnTo>
                      <a:lnTo>
                        <a:pt x="283" y="130"/>
                      </a:lnTo>
                      <a:lnTo>
                        <a:pt x="284" y="130"/>
                      </a:lnTo>
                      <a:lnTo>
                        <a:pt x="283" y="130"/>
                      </a:lnTo>
                      <a:lnTo>
                        <a:pt x="284" y="130"/>
                      </a:lnTo>
                      <a:lnTo>
                        <a:pt x="284" y="130"/>
                      </a:lnTo>
                      <a:lnTo>
                        <a:pt x="284" y="130"/>
                      </a:lnTo>
                      <a:lnTo>
                        <a:pt x="284" y="130"/>
                      </a:lnTo>
                      <a:lnTo>
                        <a:pt x="284" y="129"/>
                      </a:lnTo>
                      <a:lnTo>
                        <a:pt x="285" y="129"/>
                      </a:lnTo>
                      <a:lnTo>
                        <a:pt x="285" y="129"/>
                      </a:lnTo>
                      <a:lnTo>
                        <a:pt x="285" y="129"/>
                      </a:lnTo>
                      <a:lnTo>
                        <a:pt x="286" y="128"/>
                      </a:lnTo>
                      <a:lnTo>
                        <a:pt x="286" y="128"/>
                      </a:lnTo>
                      <a:lnTo>
                        <a:pt x="287" y="128"/>
                      </a:lnTo>
                      <a:lnTo>
                        <a:pt x="286" y="128"/>
                      </a:lnTo>
                      <a:lnTo>
                        <a:pt x="286" y="127"/>
                      </a:lnTo>
                      <a:lnTo>
                        <a:pt x="287" y="127"/>
                      </a:lnTo>
                      <a:lnTo>
                        <a:pt x="287" y="127"/>
                      </a:lnTo>
                      <a:lnTo>
                        <a:pt x="287" y="127"/>
                      </a:lnTo>
                      <a:lnTo>
                        <a:pt x="288" y="127"/>
                      </a:lnTo>
                      <a:lnTo>
                        <a:pt x="289" y="127"/>
                      </a:lnTo>
                      <a:lnTo>
                        <a:pt x="289" y="127"/>
                      </a:lnTo>
                      <a:lnTo>
                        <a:pt x="290" y="127"/>
                      </a:lnTo>
                      <a:lnTo>
                        <a:pt x="290" y="127"/>
                      </a:lnTo>
                      <a:lnTo>
                        <a:pt x="290" y="126"/>
                      </a:lnTo>
                      <a:lnTo>
                        <a:pt x="291" y="126"/>
                      </a:lnTo>
                      <a:lnTo>
                        <a:pt x="292" y="126"/>
                      </a:lnTo>
                      <a:lnTo>
                        <a:pt x="292" y="126"/>
                      </a:lnTo>
                      <a:lnTo>
                        <a:pt x="292" y="126"/>
                      </a:lnTo>
                      <a:lnTo>
                        <a:pt x="292" y="126"/>
                      </a:lnTo>
                      <a:lnTo>
                        <a:pt x="292" y="126"/>
                      </a:lnTo>
                      <a:lnTo>
                        <a:pt x="293" y="126"/>
                      </a:lnTo>
                      <a:lnTo>
                        <a:pt x="293" y="126"/>
                      </a:lnTo>
                      <a:lnTo>
                        <a:pt x="294" y="126"/>
                      </a:lnTo>
                      <a:lnTo>
                        <a:pt x="294" y="126"/>
                      </a:lnTo>
                      <a:lnTo>
                        <a:pt x="294" y="126"/>
                      </a:lnTo>
                      <a:lnTo>
                        <a:pt x="295" y="126"/>
                      </a:lnTo>
                      <a:lnTo>
                        <a:pt x="296" y="126"/>
                      </a:lnTo>
                      <a:lnTo>
                        <a:pt x="296" y="126"/>
                      </a:lnTo>
                      <a:lnTo>
                        <a:pt x="296" y="126"/>
                      </a:lnTo>
                      <a:lnTo>
                        <a:pt x="296" y="126"/>
                      </a:lnTo>
                      <a:lnTo>
                        <a:pt x="297" y="126"/>
                      </a:lnTo>
                      <a:lnTo>
                        <a:pt x="297" y="126"/>
                      </a:lnTo>
                      <a:lnTo>
                        <a:pt x="297" y="126"/>
                      </a:lnTo>
                      <a:lnTo>
                        <a:pt x="297" y="126"/>
                      </a:lnTo>
                      <a:lnTo>
                        <a:pt x="297" y="126"/>
                      </a:lnTo>
                      <a:lnTo>
                        <a:pt x="297" y="126"/>
                      </a:lnTo>
                      <a:lnTo>
                        <a:pt x="297" y="126"/>
                      </a:lnTo>
                      <a:lnTo>
                        <a:pt x="297" y="126"/>
                      </a:lnTo>
                      <a:lnTo>
                        <a:pt x="297" y="126"/>
                      </a:lnTo>
                      <a:lnTo>
                        <a:pt x="297" y="127"/>
                      </a:lnTo>
                      <a:lnTo>
                        <a:pt x="297" y="127"/>
                      </a:lnTo>
                      <a:lnTo>
                        <a:pt x="297" y="127"/>
                      </a:lnTo>
                      <a:lnTo>
                        <a:pt x="297" y="127"/>
                      </a:lnTo>
                      <a:lnTo>
                        <a:pt x="297" y="127"/>
                      </a:lnTo>
                      <a:lnTo>
                        <a:pt x="298" y="127"/>
                      </a:lnTo>
                      <a:lnTo>
                        <a:pt x="298" y="128"/>
                      </a:lnTo>
                      <a:lnTo>
                        <a:pt x="298" y="128"/>
                      </a:lnTo>
                      <a:lnTo>
                        <a:pt x="298" y="128"/>
                      </a:lnTo>
                      <a:lnTo>
                        <a:pt x="298" y="129"/>
                      </a:lnTo>
                      <a:lnTo>
                        <a:pt x="298" y="129"/>
                      </a:lnTo>
                      <a:lnTo>
                        <a:pt x="299" y="129"/>
                      </a:lnTo>
                      <a:lnTo>
                        <a:pt x="298" y="129"/>
                      </a:lnTo>
                      <a:lnTo>
                        <a:pt x="299" y="129"/>
                      </a:lnTo>
                      <a:lnTo>
                        <a:pt x="299" y="129"/>
                      </a:lnTo>
                      <a:lnTo>
                        <a:pt x="300" y="129"/>
                      </a:lnTo>
                      <a:lnTo>
                        <a:pt x="300" y="130"/>
                      </a:lnTo>
                      <a:lnTo>
                        <a:pt x="300" y="130"/>
                      </a:lnTo>
                      <a:lnTo>
                        <a:pt x="300" y="129"/>
                      </a:lnTo>
                      <a:lnTo>
                        <a:pt x="300" y="130"/>
                      </a:lnTo>
                      <a:lnTo>
                        <a:pt x="300" y="130"/>
                      </a:lnTo>
                      <a:lnTo>
                        <a:pt x="301" y="130"/>
                      </a:lnTo>
                      <a:lnTo>
                        <a:pt x="301" y="130"/>
                      </a:lnTo>
                      <a:lnTo>
                        <a:pt x="301" y="131"/>
                      </a:lnTo>
                      <a:lnTo>
                        <a:pt x="302" y="131"/>
                      </a:lnTo>
                      <a:lnTo>
                        <a:pt x="302" y="131"/>
                      </a:lnTo>
                      <a:lnTo>
                        <a:pt x="302" y="131"/>
                      </a:lnTo>
                      <a:lnTo>
                        <a:pt x="302" y="131"/>
                      </a:lnTo>
                      <a:lnTo>
                        <a:pt x="302" y="131"/>
                      </a:lnTo>
                      <a:lnTo>
                        <a:pt x="302" y="132"/>
                      </a:lnTo>
                      <a:lnTo>
                        <a:pt x="303" y="132"/>
                      </a:lnTo>
                      <a:lnTo>
                        <a:pt x="303" y="133"/>
                      </a:lnTo>
                      <a:lnTo>
                        <a:pt x="303" y="133"/>
                      </a:lnTo>
                      <a:lnTo>
                        <a:pt x="302" y="133"/>
                      </a:lnTo>
                      <a:lnTo>
                        <a:pt x="303" y="133"/>
                      </a:lnTo>
                      <a:lnTo>
                        <a:pt x="302" y="133"/>
                      </a:lnTo>
                      <a:lnTo>
                        <a:pt x="302" y="133"/>
                      </a:lnTo>
                      <a:lnTo>
                        <a:pt x="301" y="133"/>
                      </a:lnTo>
                      <a:lnTo>
                        <a:pt x="301" y="133"/>
                      </a:lnTo>
                      <a:lnTo>
                        <a:pt x="301" y="133"/>
                      </a:lnTo>
                      <a:lnTo>
                        <a:pt x="301" y="133"/>
                      </a:lnTo>
                      <a:lnTo>
                        <a:pt x="300" y="133"/>
                      </a:lnTo>
                      <a:lnTo>
                        <a:pt x="300" y="133"/>
                      </a:lnTo>
                      <a:lnTo>
                        <a:pt x="300" y="133"/>
                      </a:lnTo>
                      <a:lnTo>
                        <a:pt x="300" y="133"/>
                      </a:lnTo>
                      <a:lnTo>
                        <a:pt x="300" y="132"/>
                      </a:lnTo>
                      <a:lnTo>
                        <a:pt x="300" y="132"/>
                      </a:lnTo>
                      <a:lnTo>
                        <a:pt x="300" y="133"/>
                      </a:lnTo>
                      <a:lnTo>
                        <a:pt x="300" y="132"/>
                      </a:lnTo>
                      <a:lnTo>
                        <a:pt x="299" y="133"/>
                      </a:lnTo>
                      <a:lnTo>
                        <a:pt x="299" y="132"/>
                      </a:lnTo>
                      <a:lnTo>
                        <a:pt x="299" y="133"/>
                      </a:lnTo>
                      <a:lnTo>
                        <a:pt x="298" y="133"/>
                      </a:lnTo>
                      <a:lnTo>
                        <a:pt x="298" y="133"/>
                      </a:lnTo>
                      <a:lnTo>
                        <a:pt x="297" y="133"/>
                      </a:lnTo>
                      <a:lnTo>
                        <a:pt x="297" y="132"/>
                      </a:lnTo>
                      <a:lnTo>
                        <a:pt x="297" y="133"/>
                      </a:lnTo>
                      <a:lnTo>
                        <a:pt x="297" y="132"/>
                      </a:lnTo>
                      <a:lnTo>
                        <a:pt x="297" y="132"/>
                      </a:lnTo>
                      <a:lnTo>
                        <a:pt x="297" y="133"/>
                      </a:lnTo>
                      <a:lnTo>
                        <a:pt x="296" y="132"/>
                      </a:lnTo>
                      <a:lnTo>
                        <a:pt x="297" y="132"/>
                      </a:lnTo>
                      <a:lnTo>
                        <a:pt x="297" y="133"/>
                      </a:lnTo>
                      <a:lnTo>
                        <a:pt x="297" y="132"/>
                      </a:lnTo>
                      <a:lnTo>
                        <a:pt x="297" y="133"/>
                      </a:lnTo>
                      <a:lnTo>
                        <a:pt x="297" y="132"/>
                      </a:lnTo>
                      <a:lnTo>
                        <a:pt x="297" y="132"/>
                      </a:lnTo>
                      <a:lnTo>
                        <a:pt x="297" y="133"/>
                      </a:lnTo>
                      <a:lnTo>
                        <a:pt x="297" y="132"/>
                      </a:lnTo>
                      <a:lnTo>
                        <a:pt x="297" y="133"/>
                      </a:lnTo>
                      <a:lnTo>
                        <a:pt x="298" y="133"/>
                      </a:lnTo>
                      <a:lnTo>
                        <a:pt x="298" y="133"/>
                      </a:lnTo>
                      <a:lnTo>
                        <a:pt x="299" y="133"/>
                      </a:lnTo>
                      <a:lnTo>
                        <a:pt x="300" y="133"/>
                      </a:lnTo>
                      <a:lnTo>
                        <a:pt x="300" y="132"/>
                      </a:lnTo>
                      <a:lnTo>
                        <a:pt x="300" y="132"/>
                      </a:lnTo>
                      <a:lnTo>
                        <a:pt x="300" y="133"/>
                      </a:lnTo>
                      <a:lnTo>
                        <a:pt x="300" y="133"/>
                      </a:lnTo>
                      <a:lnTo>
                        <a:pt x="300" y="133"/>
                      </a:lnTo>
                      <a:lnTo>
                        <a:pt x="300" y="133"/>
                      </a:lnTo>
                      <a:lnTo>
                        <a:pt x="301" y="133"/>
                      </a:lnTo>
                      <a:lnTo>
                        <a:pt x="301" y="133"/>
                      </a:lnTo>
                      <a:lnTo>
                        <a:pt x="301" y="133"/>
                      </a:lnTo>
                      <a:lnTo>
                        <a:pt x="301" y="133"/>
                      </a:lnTo>
                      <a:lnTo>
                        <a:pt x="302" y="133"/>
                      </a:lnTo>
                      <a:lnTo>
                        <a:pt x="302" y="133"/>
                      </a:lnTo>
                      <a:lnTo>
                        <a:pt x="302" y="134"/>
                      </a:lnTo>
                      <a:lnTo>
                        <a:pt x="302" y="133"/>
                      </a:lnTo>
                      <a:lnTo>
                        <a:pt x="302" y="134"/>
                      </a:lnTo>
                      <a:lnTo>
                        <a:pt x="303" y="134"/>
                      </a:lnTo>
                      <a:lnTo>
                        <a:pt x="302" y="134"/>
                      </a:lnTo>
                      <a:lnTo>
                        <a:pt x="303" y="134"/>
                      </a:lnTo>
                      <a:lnTo>
                        <a:pt x="302" y="134"/>
                      </a:lnTo>
                      <a:lnTo>
                        <a:pt x="302" y="133"/>
                      </a:lnTo>
                      <a:lnTo>
                        <a:pt x="303" y="133"/>
                      </a:lnTo>
                      <a:lnTo>
                        <a:pt x="302" y="133"/>
                      </a:lnTo>
                      <a:lnTo>
                        <a:pt x="303" y="133"/>
                      </a:lnTo>
                      <a:lnTo>
                        <a:pt x="303" y="133"/>
                      </a:lnTo>
                      <a:lnTo>
                        <a:pt x="303" y="133"/>
                      </a:lnTo>
                      <a:lnTo>
                        <a:pt x="303" y="133"/>
                      </a:lnTo>
                      <a:lnTo>
                        <a:pt x="303" y="132"/>
                      </a:lnTo>
                      <a:lnTo>
                        <a:pt x="302" y="132"/>
                      </a:lnTo>
                      <a:lnTo>
                        <a:pt x="302" y="131"/>
                      </a:lnTo>
                      <a:lnTo>
                        <a:pt x="302" y="131"/>
                      </a:lnTo>
                      <a:lnTo>
                        <a:pt x="302" y="131"/>
                      </a:lnTo>
                      <a:lnTo>
                        <a:pt x="302" y="131"/>
                      </a:lnTo>
                      <a:lnTo>
                        <a:pt x="302" y="131"/>
                      </a:lnTo>
                      <a:lnTo>
                        <a:pt x="301" y="131"/>
                      </a:lnTo>
                      <a:lnTo>
                        <a:pt x="301" y="130"/>
                      </a:lnTo>
                      <a:lnTo>
                        <a:pt x="301" y="130"/>
                      </a:lnTo>
                      <a:lnTo>
                        <a:pt x="301" y="130"/>
                      </a:lnTo>
                      <a:lnTo>
                        <a:pt x="300" y="130"/>
                      </a:lnTo>
                      <a:lnTo>
                        <a:pt x="300" y="129"/>
                      </a:lnTo>
                      <a:lnTo>
                        <a:pt x="300" y="129"/>
                      </a:lnTo>
                      <a:lnTo>
                        <a:pt x="299" y="129"/>
                      </a:lnTo>
                      <a:lnTo>
                        <a:pt x="299" y="129"/>
                      </a:lnTo>
                      <a:lnTo>
                        <a:pt x="298" y="129"/>
                      </a:lnTo>
                      <a:lnTo>
                        <a:pt x="298" y="129"/>
                      </a:lnTo>
                      <a:lnTo>
                        <a:pt x="298" y="128"/>
                      </a:lnTo>
                      <a:lnTo>
                        <a:pt x="298" y="128"/>
                      </a:lnTo>
                      <a:lnTo>
                        <a:pt x="298" y="128"/>
                      </a:lnTo>
                      <a:lnTo>
                        <a:pt x="298" y="127"/>
                      </a:lnTo>
                      <a:lnTo>
                        <a:pt x="297" y="127"/>
                      </a:lnTo>
                      <a:lnTo>
                        <a:pt x="297" y="127"/>
                      </a:lnTo>
                      <a:lnTo>
                        <a:pt x="297" y="127"/>
                      </a:lnTo>
                      <a:lnTo>
                        <a:pt x="297" y="127"/>
                      </a:lnTo>
                      <a:lnTo>
                        <a:pt x="297" y="127"/>
                      </a:lnTo>
                      <a:lnTo>
                        <a:pt x="297" y="127"/>
                      </a:lnTo>
                      <a:lnTo>
                        <a:pt x="297" y="127"/>
                      </a:lnTo>
                      <a:lnTo>
                        <a:pt x="297" y="127"/>
                      </a:lnTo>
                      <a:lnTo>
                        <a:pt x="297" y="126"/>
                      </a:lnTo>
                      <a:lnTo>
                        <a:pt x="297" y="127"/>
                      </a:lnTo>
                      <a:lnTo>
                        <a:pt x="297" y="126"/>
                      </a:lnTo>
                      <a:lnTo>
                        <a:pt x="297" y="126"/>
                      </a:lnTo>
                      <a:lnTo>
                        <a:pt x="298" y="126"/>
                      </a:lnTo>
                      <a:lnTo>
                        <a:pt x="297" y="126"/>
                      </a:lnTo>
                      <a:lnTo>
                        <a:pt x="298" y="126"/>
                      </a:lnTo>
                      <a:lnTo>
                        <a:pt x="298" y="126"/>
                      </a:lnTo>
                      <a:lnTo>
                        <a:pt x="298" y="126"/>
                      </a:lnTo>
                      <a:lnTo>
                        <a:pt x="298" y="126"/>
                      </a:lnTo>
                      <a:lnTo>
                        <a:pt x="298" y="126"/>
                      </a:lnTo>
                      <a:lnTo>
                        <a:pt x="299" y="126"/>
                      </a:lnTo>
                      <a:lnTo>
                        <a:pt x="298" y="126"/>
                      </a:lnTo>
                      <a:lnTo>
                        <a:pt x="299" y="126"/>
                      </a:lnTo>
                      <a:lnTo>
                        <a:pt x="298" y="126"/>
                      </a:lnTo>
                      <a:lnTo>
                        <a:pt x="298" y="127"/>
                      </a:lnTo>
                      <a:lnTo>
                        <a:pt x="298" y="126"/>
                      </a:lnTo>
                      <a:lnTo>
                        <a:pt x="298" y="127"/>
                      </a:lnTo>
                      <a:lnTo>
                        <a:pt x="299" y="127"/>
                      </a:lnTo>
                      <a:lnTo>
                        <a:pt x="299" y="126"/>
                      </a:lnTo>
                      <a:lnTo>
                        <a:pt x="299" y="127"/>
                      </a:lnTo>
                      <a:lnTo>
                        <a:pt x="299" y="126"/>
                      </a:lnTo>
                      <a:lnTo>
                        <a:pt x="299" y="127"/>
                      </a:lnTo>
                      <a:lnTo>
                        <a:pt x="300" y="127"/>
                      </a:lnTo>
                      <a:lnTo>
                        <a:pt x="299" y="127"/>
                      </a:lnTo>
                      <a:lnTo>
                        <a:pt x="300" y="127"/>
                      </a:lnTo>
                      <a:lnTo>
                        <a:pt x="299" y="127"/>
                      </a:lnTo>
                      <a:lnTo>
                        <a:pt x="300" y="127"/>
                      </a:lnTo>
                      <a:lnTo>
                        <a:pt x="299" y="127"/>
                      </a:lnTo>
                      <a:lnTo>
                        <a:pt x="300" y="127"/>
                      </a:lnTo>
                      <a:lnTo>
                        <a:pt x="300" y="127"/>
                      </a:lnTo>
                      <a:lnTo>
                        <a:pt x="301" y="127"/>
                      </a:lnTo>
                      <a:lnTo>
                        <a:pt x="301" y="127"/>
                      </a:lnTo>
                      <a:lnTo>
                        <a:pt x="301" y="127"/>
                      </a:lnTo>
                      <a:lnTo>
                        <a:pt x="302" y="127"/>
                      </a:lnTo>
                      <a:lnTo>
                        <a:pt x="302" y="127"/>
                      </a:lnTo>
                      <a:lnTo>
                        <a:pt x="302" y="127"/>
                      </a:lnTo>
                      <a:lnTo>
                        <a:pt x="302" y="127"/>
                      </a:lnTo>
                      <a:lnTo>
                        <a:pt x="303" y="127"/>
                      </a:lnTo>
                      <a:lnTo>
                        <a:pt x="304" y="127"/>
                      </a:lnTo>
                      <a:lnTo>
                        <a:pt x="304" y="127"/>
                      </a:lnTo>
                      <a:lnTo>
                        <a:pt x="303" y="127"/>
                      </a:lnTo>
                      <a:lnTo>
                        <a:pt x="304" y="127"/>
                      </a:lnTo>
                      <a:lnTo>
                        <a:pt x="304" y="127"/>
                      </a:lnTo>
                      <a:lnTo>
                        <a:pt x="304" y="127"/>
                      </a:lnTo>
                      <a:lnTo>
                        <a:pt x="304" y="127"/>
                      </a:lnTo>
                      <a:lnTo>
                        <a:pt x="304" y="127"/>
                      </a:lnTo>
                      <a:lnTo>
                        <a:pt x="304" y="126"/>
                      </a:lnTo>
                      <a:lnTo>
                        <a:pt x="305" y="126"/>
                      </a:lnTo>
                      <a:lnTo>
                        <a:pt x="304" y="126"/>
                      </a:lnTo>
                      <a:lnTo>
                        <a:pt x="305" y="126"/>
                      </a:lnTo>
                      <a:lnTo>
                        <a:pt x="304" y="126"/>
                      </a:lnTo>
                      <a:lnTo>
                        <a:pt x="305" y="126"/>
                      </a:lnTo>
                      <a:lnTo>
                        <a:pt x="304" y="126"/>
                      </a:lnTo>
                      <a:lnTo>
                        <a:pt x="305" y="126"/>
                      </a:lnTo>
                      <a:lnTo>
                        <a:pt x="304" y="126"/>
                      </a:lnTo>
                      <a:lnTo>
                        <a:pt x="305" y="126"/>
                      </a:lnTo>
                      <a:lnTo>
                        <a:pt x="305" y="126"/>
                      </a:lnTo>
                      <a:lnTo>
                        <a:pt x="305" y="125"/>
                      </a:lnTo>
                      <a:lnTo>
                        <a:pt x="305" y="125"/>
                      </a:lnTo>
                      <a:lnTo>
                        <a:pt x="306" y="124"/>
                      </a:lnTo>
                      <a:lnTo>
                        <a:pt x="306" y="124"/>
                      </a:lnTo>
                      <a:lnTo>
                        <a:pt x="307" y="124"/>
                      </a:lnTo>
                      <a:lnTo>
                        <a:pt x="307" y="124"/>
                      </a:lnTo>
                      <a:lnTo>
                        <a:pt x="308" y="124"/>
                      </a:lnTo>
                      <a:lnTo>
                        <a:pt x="308" y="124"/>
                      </a:lnTo>
                      <a:lnTo>
                        <a:pt x="308" y="124"/>
                      </a:lnTo>
                      <a:lnTo>
                        <a:pt x="308" y="124"/>
                      </a:lnTo>
                      <a:lnTo>
                        <a:pt x="308" y="125"/>
                      </a:lnTo>
                      <a:lnTo>
                        <a:pt x="307" y="125"/>
                      </a:lnTo>
                      <a:lnTo>
                        <a:pt x="308" y="125"/>
                      </a:lnTo>
                      <a:lnTo>
                        <a:pt x="308" y="124"/>
                      </a:lnTo>
                      <a:lnTo>
                        <a:pt x="308" y="124"/>
                      </a:lnTo>
                      <a:lnTo>
                        <a:pt x="308" y="124"/>
                      </a:lnTo>
                      <a:lnTo>
                        <a:pt x="309" y="124"/>
                      </a:lnTo>
                      <a:lnTo>
                        <a:pt x="309" y="123"/>
                      </a:lnTo>
                      <a:lnTo>
                        <a:pt x="308" y="123"/>
                      </a:lnTo>
                      <a:lnTo>
                        <a:pt x="308" y="123"/>
                      </a:lnTo>
                      <a:lnTo>
                        <a:pt x="309" y="123"/>
                      </a:lnTo>
                      <a:lnTo>
                        <a:pt x="309" y="123"/>
                      </a:lnTo>
                      <a:lnTo>
                        <a:pt x="310" y="123"/>
                      </a:lnTo>
                      <a:lnTo>
                        <a:pt x="311" y="122"/>
                      </a:lnTo>
                      <a:lnTo>
                        <a:pt x="311" y="122"/>
                      </a:lnTo>
                      <a:lnTo>
                        <a:pt x="312" y="122"/>
                      </a:lnTo>
                      <a:lnTo>
                        <a:pt x="312" y="122"/>
                      </a:lnTo>
                      <a:lnTo>
                        <a:pt x="312" y="122"/>
                      </a:lnTo>
                      <a:lnTo>
                        <a:pt x="313" y="122"/>
                      </a:lnTo>
                      <a:lnTo>
                        <a:pt x="313" y="122"/>
                      </a:lnTo>
                      <a:lnTo>
                        <a:pt x="314" y="121"/>
                      </a:lnTo>
                      <a:lnTo>
                        <a:pt x="315" y="121"/>
                      </a:lnTo>
                      <a:lnTo>
                        <a:pt x="316" y="120"/>
                      </a:lnTo>
                      <a:lnTo>
                        <a:pt x="316" y="120"/>
                      </a:lnTo>
                      <a:lnTo>
                        <a:pt x="317" y="120"/>
                      </a:lnTo>
                      <a:lnTo>
                        <a:pt x="318" y="120"/>
                      </a:lnTo>
                      <a:lnTo>
                        <a:pt x="318" y="120"/>
                      </a:lnTo>
                      <a:lnTo>
                        <a:pt x="319" y="120"/>
                      </a:lnTo>
                      <a:lnTo>
                        <a:pt x="319" y="120"/>
                      </a:lnTo>
                      <a:lnTo>
                        <a:pt x="319" y="120"/>
                      </a:lnTo>
                      <a:lnTo>
                        <a:pt x="319" y="121"/>
                      </a:lnTo>
                      <a:lnTo>
                        <a:pt x="319" y="121"/>
                      </a:lnTo>
                      <a:lnTo>
                        <a:pt x="318" y="121"/>
                      </a:lnTo>
                      <a:lnTo>
                        <a:pt x="318" y="121"/>
                      </a:lnTo>
                      <a:lnTo>
                        <a:pt x="317" y="121"/>
                      </a:lnTo>
                      <a:lnTo>
                        <a:pt x="317" y="122"/>
                      </a:lnTo>
                      <a:lnTo>
                        <a:pt x="316" y="121"/>
                      </a:lnTo>
                      <a:lnTo>
                        <a:pt x="316" y="122"/>
                      </a:lnTo>
                      <a:lnTo>
                        <a:pt x="316" y="121"/>
                      </a:lnTo>
                      <a:lnTo>
                        <a:pt x="316" y="122"/>
                      </a:lnTo>
                      <a:lnTo>
                        <a:pt x="317" y="122"/>
                      </a:lnTo>
                      <a:lnTo>
                        <a:pt x="316" y="122"/>
                      </a:lnTo>
                      <a:lnTo>
                        <a:pt x="317" y="122"/>
                      </a:lnTo>
                      <a:lnTo>
                        <a:pt x="318" y="122"/>
                      </a:lnTo>
                      <a:lnTo>
                        <a:pt x="318" y="122"/>
                      </a:lnTo>
                      <a:lnTo>
                        <a:pt x="319" y="122"/>
                      </a:lnTo>
                      <a:lnTo>
                        <a:pt x="319" y="123"/>
                      </a:lnTo>
                      <a:lnTo>
                        <a:pt x="319" y="123"/>
                      </a:lnTo>
                      <a:lnTo>
                        <a:pt x="319" y="123"/>
                      </a:lnTo>
                      <a:lnTo>
                        <a:pt x="320" y="123"/>
                      </a:lnTo>
                      <a:lnTo>
                        <a:pt x="319" y="123"/>
                      </a:lnTo>
                      <a:lnTo>
                        <a:pt x="319" y="123"/>
                      </a:lnTo>
                      <a:lnTo>
                        <a:pt x="319" y="123"/>
                      </a:lnTo>
                      <a:lnTo>
                        <a:pt x="319" y="123"/>
                      </a:lnTo>
                      <a:lnTo>
                        <a:pt x="319" y="123"/>
                      </a:lnTo>
                      <a:lnTo>
                        <a:pt x="320" y="123"/>
                      </a:lnTo>
                      <a:lnTo>
                        <a:pt x="320" y="123"/>
                      </a:lnTo>
                      <a:lnTo>
                        <a:pt x="320" y="124"/>
                      </a:lnTo>
                      <a:lnTo>
                        <a:pt x="320" y="124"/>
                      </a:lnTo>
                      <a:lnTo>
                        <a:pt x="320" y="125"/>
                      </a:lnTo>
                      <a:lnTo>
                        <a:pt x="320" y="124"/>
                      </a:lnTo>
                      <a:lnTo>
                        <a:pt x="320" y="124"/>
                      </a:lnTo>
                      <a:lnTo>
                        <a:pt x="320" y="124"/>
                      </a:lnTo>
                      <a:lnTo>
                        <a:pt x="320" y="125"/>
                      </a:lnTo>
                      <a:lnTo>
                        <a:pt x="320" y="125"/>
                      </a:lnTo>
                      <a:lnTo>
                        <a:pt x="319" y="125"/>
                      </a:lnTo>
                      <a:lnTo>
                        <a:pt x="319" y="124"/>
                      </a:lnTo>
                      <a:lnTo>
                        <a:pt x="319" y="125"/>
                      </a:lnTo>
                      <a:lnTo>
                        <a:pt x="319" y="125"/>
                      </a:lnTo>
                      <a:lnTo>
                        <a:pt x="318" y="125"/>
                      </a:lnTo>
                      <a:lnTo>
                        <a:pt x="319" y="125"/>
                      </a:lnTo>
                      <a:lnTo>
                        <a:pt x="318" y="125"/>
                      </a:lnTo>
                      <a:lnTo>
                        <a:pt x="318" y="125"/>
                      </a:lnTo>
                      <a:lnTo>
                        <a:pt x="318" y="126"/>
                      </a:lnTo>
                      <a:lnTo>
                        <a:pt x="318" y="125"/>
                      </a:lnTo>
                      <a:lnTo>
                        <a:pt x="318" y="126"/>
                      </a:lnTo>
                      <a:lnTo>
                        <a:pt x="318" y="125"/>
                      </a:lnTo>
                      <a:lnTo>
                        <a:pt x="318" y="126"/>
                      </a:lnTo>
                      <a:lnTo>
                        <a:pt x="318" y="125"/>
                      </a:lnTo>
                      <a:lnTo>
                        <a:pt x="318" y="126"/>
                      </a:lnTo>
                      <a:lnTo>
                        <a:pt x="318" y="126"/>
                      </a:lnTo>
                      <a:lnTo>
                        <a:pt x="318" y="126"/>
                      </a:lnTo>
                      <a:lnTo>
                        <a:pt x="318" y="126"/>
                      </a:lnTo>
                      <a:lnTo>
                        <a:pt x="318" y="126"/>
                      </a:lnTo>
                      <a:lnTo>
                        <a:pt x="318" y="126"/>
                      </a:lnTo>
                      <a:lnTo>
                        <a:pt x="317" y="126"/>
                      </a:lnTo>
                      <a:lnTo>
                        <a:pt x="318" y="126"/>
                      </a:lnTo>
                      <a:lnTo>
                        <a:pt x="317" y="126"/>
                      </a:lnTo>
                      <a:lnTo>
                        <a:pt x="318" y="126"/>
                      </a:lnTo>
                      <a:lnTo>
                        <a:pt x="317" y="126"/>
                      </a:lnTo>
                      <a:lnTo>
                        <a:pt x="318" y="126"/>
                      </a:lnTo>
                      <a:lnTo>
                        <a:pt x="317" y="126"/>
                      </a:lnTo>
                      <a:lnTo>
                        <a:pt x="318" y="126"/>
                      </a:lnTo>
                      <a:lnTo>
                        <a:pt x="317" y="126"/>
                      </a:lnTo>
                      <a:lnTo>
                        <a:pt x="318" y="126"/>
                      </a:lnTo>
                      <a:lnTo>
                        <a:pt x="318" y="126"/>
                      </a:lnTo>
                      <a:lnTo>
                        <a:pt x="317" y="126"/>
                      </a:lnTo>
                      <a:lnTo>
                        <a:pt x="318" y="126"/>
                      </a:lnTo>
                      <a:lnTo>
                        <a:pt x="317" y="126"/>
                      </a:lnTo>
                      <a:lnTo>
                        <a:pt x="318" y="126"/>
                      </a:lnTo>
                      <a:lnTo>
                        <a:pt x="317" y="126"/>
                      </a:lnTo>
                      <a:lnTo>
                        <a:pt x="317" y="127"/>
                      </a:lnTo>
                      <a:lnTo>
                        <a:pt x="317" y="126"/>
                      </a:lnTo>
                      <a:lnTo>
                        <a:pt x="316" y="126"/>
                      </a:lnTo>
                      <a:lnTo>
                        <a:pt x="316" y="126"/>
                      </a:lnTo>
                      <a:lnTo>
                        <a:pt x="316" y="126"/>
                      </a:lnTo>
                      <a:lnTo>
                        <a:pt x="317" y="126"/>
                      </a:lnTo>
                      <a:lnTo>
                        <a:pt x="316" y="126"/>
                      </a:lnTo>
                      <a:lnTo>
                        <a:pt x="317" y="126"/>
                      </a:lnTo>
                      <a:lnTo>
                        <a:pt x="316" y="126"/>
                      </a:lnTo>
                      <a:lnTo>
                        <a:pt x="316" y="126"/>
                      </a:lnTo>
                      <a:lnTo>
                        <a:pt x="316" y="126"/>
                      </a:lnTo>
                      <a:lnTo>
                        <a:pt x="316" y="126"/>
                      </a:lnTo>
                      <a:lnTo>
                        <a:pt x="316" y="126"/>
                      </a:lnTo>
                      <a:lnTo>
                        <a:pt x="316" y="126"/>
                      </a:lnTo>
                      <a:lnTo>
                        <a:pt x="316" y="126"/>
                      </a:lnTo>
                      <a:lnTo>
                        <a:pt x="316" y="126"/>
                      </a:lnTo>
                      <a:lnTo>
                        <a:pt x="316" y="126"/>
                      </a:lnTo>
                      <a:lnTo>
                        <a:pt x="316" y="126"/>
                      </a:lnTo>
                      <a:lnTo>
                        <a:pt x="316" y="126"/>
                      </a:lnTo>
                      <a:lnTo>
                        <a:pt x="315" y="126"/>
                      </a:lnTo>
                      <a:lnTo>
                        <a:pt x="316" y="126"/>
                      </a:lnTo>
                      <a:lnTo>
                        <a:pt x="316" y="126"/>
                      </a:lnTo>
                      <a:lnTo>
                        <a:pt x="316" y="126"/>
                      </a:lnTo>
                      <a:lnTo>
                        <a:pt x="316" y="127"/>
                      </a:lnTo>
                      <a:lnTo>
                        <a:pt x="316" y="126"/>
                      </a:lnTo>
                      <a:lnTo>
                        <a:pt x="316" y="127"/>
                      </a:lnTo>
                      <a:lnTo>
                        <a:pt x="316" y="126"/>
                      </a:lnTo>
                      <a:lnTo>
                        <a:pt x="316" y="127"/>
                      </a:lnTo>
                      <a:lnTo>
                        <a:pt x="317" y="127"/>
                      </a:lnTo>
                      <a:lnTo>
                        <a:pt x="317" y="126"/>
                      </a:lnTo>
                      <a:lnTo>
                        <a:pt x="317" y="127"/>
                      </a:lnTo>
                      <a:lnTo>
                        <a:pt x="317" y="126"/>
                      </a:lnTo>
                      <a:lnTo>
                        <a:pt x="317" y="127"/>
                      </a:lnTo>
                      <a:lnTo>
                        <a:pt x="317" y="126"/>
                      </a:lnTo>
                      <a:lnTo>
                        <a:pt x="318" y="126"/>
                      </a:lnTo>
                      <a:lnTo>
                        <a:pt x="317" y="127"/>
                      </a:lnTo>
                      <a:lnTo>
                        <a:pt x="318" y="126"/>
                      </a:lnTo>
                      <a:lnTo>
                        <a:pt x="318" y="127"/>
                      </a:lnTo>
                      <a:lnTo>
                        <a:pt x="318" y="127"/>
                      </a:lnTo>
                      <a:lnTo>
                        <a:pt x="318" y="127"/>
                      </a:lnTo>
                      <a:lnTo>
                        <a:pt x="318" y="128"/>
                      </a:lnTo>
                      <a:lnTo>
                        <a:pt x="318" y="128"/>
                      </a:lnTo>
                      <a:lnTo>
                        <a:pt x="318" y="128"/>
                      </a:lnTo>
                      <a:lnTo>
                        <a:pt x="318" y="128"/>
                      </a:lnTo>
                      <a:lnTo>
                        <a:pt x="318" y="129"/>
                      </a:lnTo>
                      <a:lnTo>
                        <a:pt x="317" y="129"/>
                      </a:lnTo>
                      <a:lnTo>
                        <a:pt x="318" y="129"/>
                      </a:lnTo>
                      <a:lnTo>
                        <a:pt x="317" y="129"/>
                      </a:lnTo>
                      <a:lnTo>
                        <a:pt x="318" y="129"/>
                      </a:lnTo>
                      <a:lnTo>
                        <a:pt x="318" y="129"/>
                      </a:lnTo>
                      <a:lnTo>
                        <a:pt x="318" y="129"/>
                      </a:lnTo>
                      <a:lnTo>
                        <a:pt x="319" y="129"/>
                      </a:lnTo>
                      <a:lnTo>
                        <a:pt x="319" y="129"/>
                      </a:lnTo>
                      <a:lnTo>
                        <a:pt x="320" y="129"/>
                      </a:lnTo>
                      <a:lnTo>
                        <a:pt x="320" y="130"/>
                      </a:lnTo>
                      <a:lnTo>
                        <a:pt x="321" y="130"/>
                      </a:lnTo>
                      <a:lnTo>
                        <a:pt x="322" y="130"/>
                      </a:lnTo>
                      <a:lnTo>
                        <a:pt x="322" y="130"/>
                      </a:lnTo>
                      <a:lnTo>
                        <a:pt x="322" y="130"/>
                      </a:lnTo>
                      <a:lnTo>
                        <a:pt x="322" y="130"/>
                      </a:lnTo>
                      <a:lnTo>
                        <a:pt x="322" y="130"/>
                      </a:lnTo>
                      <a:lnTo>
                        <a:pt x="323" y="130"/>
                      </a:lnTo>
                      <a:lnTo>
                        <a:pt x="322" y="130"/>
                      </a:lnTo>
                      <a:lnTo>
                        <a:pt x="322" y="130"/>
                      </a:lnTo>
                      <a:lnTo>
                        <a:pt x="323" y="130"/>
                      </a:lnTo>
                      <a:lnTo>
                        <a:pt x="322" y="130"/>
                      </a:lnTo>
                      <a:lnTo>
                        <a:pt x="323" y="130"/>
                      </a:lnTo>
                      <a:lnTo>
                        <a:pt x="322" y="130"/>
                      </a:lnTo>
                      <a:lnTo>
                        <a:pt x="323" y="130"/>
                      </a:lnTo>
                      <a:lnTo>
                        <a:pt x="322" y="130"/>
                      </a:lnTo>
                      <a:lnTo>
                        <a:pt x="323" y="130"/>
                      </a:lnTo>
                      <a:lnTo>
                        <a:pt x="323" y="130"/>
                      </a:lnTo>
                      <a:lnTo>
                        <a:pt x="324" y="130"/>
                      </a:lnTo>
                      <a:lnTo>
                        <a:pt x="324" y="129"/>
                      </a:lnTo>
                      <a:lnTo>
                        <a:pt x="324" y="130"/>
                      </a:lnTo>
                      <a:lnTo>
                        <a:pt x="324" y="129"/>
                      </a:lnTo>
                      <a:lnTo>
                        <a:pt x="324" y="129"/>
                      </a:lnTo>
                      <a:lnTo>
                        <a:pt x="324" y="129"/>
                      </a:lnTo>
                      <a:lnTo>
                        <a:pt x="324" y="129"/>
                      </a:lnTo>
                      <a:lnTo>
                        <a:pt x="324" y="129"/>
                      </a:lnTo>
                      <a:lnTo>
                        <a:pt x="324" y="128"/>
                      </a:lnTo>
                      <a:lnTo>
                        <a:pt x="324" y="127"/>
                      </a:lnTo>
                      <a:lnTo>
                        <a:pt x="324" y="127"/>
                      </a:lnTo>
                      <a:lnTo>
                        <a:pt x="324" y="126"/>
                      </a:lnTo>
                      <a:lnTo>
                        <a:pt x="324" y="127"/>
                      </a:lnTo>
                      <a:lnTo>
                        <a:pt x="323" y="126"/>
                      </a:lnTo>
                      <a:lnTo>
                        <a:pt x="323" y="126"/>
                      </a:lnTo>
                      <a:lnTo>
                        <a:pt x="323" y="125"/>
                      </a:lnTo>
                      <a:lnTo>
                        <a:pt x="324" y="124"/>
                      </a:lnTo>
                      <a:lnTo>
                        <a:pt x="325" y="124"/>
                      </a:lnTo>
                      <a:lnTo>
                        <a:pt x="325" y="125"/>
                      </a:lnTo>
                      <a:lnTo>
                        <a:pt x="326" y="125"/>
                      </a:lnTo>
                      <a:lnTo>
                        <a:pt x="326" y="125"/>
                      </a:lnTo>
                      <a:lnTo>
                        <a:pt x="327" y="125"/>
                      </a:lnTo>
                      <a:lnTo>
                        <a:pt x="327" y="125"/>
                      </a:lnTo>
                      <a:lnTo>
                        <a:pt x="328" y="125"/>
                      </a:lnTo>
                      <a:lnTo>
                        <a:pt x="328" y="124"/>
                      </a:lnTo>
                      <a:lnTo>
                        <a:pt x="328" y="124"/>
                      </a:lnTo>
                      <a:lnTo>
                        <a:pt x="329" y="124"/>
                      </a:lnTo>
                      <a:lnTo>
                        <a:pt x="329" y="125"/>
                      </a:lnTo>
                      <a:lnTo>
                        <a:pt x="329" y="124"/>
                      </a:lnTo>
                      <a:lnTo>
                        <a:pt x="330" y="124"/>
                      </a:lnTo>
                      <a:lnTo>
                        <a:pt x="330" y="123"/>
                      </a:lnTo>
                      <a:lnTo>
                        <a:pt x="331" y="123"/>
                      </a:lnTo>
                      <a:lnTo>
                        <a:pt x="331" y="124"/>
                      </a:lnTo>
                      <a:lnTo>
                        <a:pt x="331" y="124"/>
                      </a:lnTo>
                      <a:lnTo>
                        <a:pt x="331" y="124"/>
                      </a:lnTo>
                      <a:lnTo>
                        <a:pt x="331" y="125"/>
                      </a:lnTo>
                      <a:lnTo>
                        <a:pt x="331" y="124"/>
                      </a:lnTo>
                      <a:lnTo>
                        <a:pt x="331" y="125"/>
                      </a:lnTo>
                      <a:lnTo>
                        <a:pt x="332" y="125"/>
                      </a:lnTo>
                      <a:lnTo>
                        <a:pt x="332" y="124"/>
                      </a:lnTo>
                      <a:lnTo>
                        <a:pt x="331" y="124"/>
                      </a:lnTo>
                      <a:lnTo>
                        <a:pt x="331" y="124"/>
                      </a:lnTo>
                      <a:lnTo>
                        <a:pt x="331" y="124"/>
                      </a:lnTo>
                      <a:lnTo>
                        <a:pt x="331" y="123"/>
                      </a:lnTo>
                      <a:lnTo>
                        <a:pt x="331" y="123"/>
                      </a:lnTo>
                      <a:lnTo>
                        <a:pt x="331" y="123"/>
                      </a:lnTo>
                      <a:lnTo>
                        <a:pt x="331" y="123"/>
                      </a:lnTo>
                      <a:lnTo>
                        <a:pt x="331" y="123"/>
                      </a:lnTo>
                      <a:lnTo>
                        <a:pt x="331" y="123"/>
                      </a:lnTo>
                      <a:lnTo>
                        <a:pt x="331" y="123"/>
                      </a:lnTo>
                      <a:lnTo>
                        <a:pt x="331" y="123"/>
                      </a:lnTo>
                      <a:lnTo>
                        <a:pt x="331" y="122"/>
                      </a:lnTo>
                      <a:lnTo>
                        <a:pt x="332" y="122"/>
                      </a:lnTo>
                      <a:lnTo>
                        <a:pt x="333" y="122"/>
                      </a:lnTo>
                      <a:lnTo>
                        <a:pt x="332" y="122"/>
                      </a:lnTo>
                      <a:lnTo>
                        <a:pt x="333" y="122"/>
                      </a:lnTo>
                      <a:lnTo>
                        <a:pt x="333" y="123"/>
                      </a:lnTo>
                      <a:lnTo>
                        <a:pt x="333" y="122"/>
                      </a:lnTo>
                      <a:lnTo>
                        <a:pt x="333" y="123"/>
                      </a:lnTo>
                      <a:lnTo>
                        <a:pt x="333" y="123"/>
                      </a:lnTo>
                      <a:lnTo>
                        <a:pt x="333" y="123"/>
                      </a:lnTo>
                      <a:lnTo>
                        <a:pt x="333" y="123"/>
                      </a:lnTo>
                      <a:lnTo>
                        <a:pt x="333" y="123"/>
                      </a:lnTo>
                      <a:lnTo>
                        <a:pt x="333" y="123"/>
                      </a:lnTo>
                      <a:lnTo>
                        <a:pt x="333" y="123"/>
                      </a:lnTo>
                      <a:lnTo>
                        <a:pt x="333" y="123"/>
                      </a:lnTo>
                      <a:lnTo>
                        <a:pt x="333" y="122"/>
                      </a:lnTo>
                      <a:lnTo>
                        <a:pt x="333" y="123"/>
                      </a:lnTo>
                      <a:lnTo>
                        <a:pt x="334" y="123"/>
                      </a:lnTo>
                      <a:lnTo>
                        <a:pt x="334" y="123"/>
                      </a:lnTo>
                      <a:lnTo>
                        <a:pt x="334" y="123"/>
                      </a:lnTo>
                      <a:lnTo>
                        <a:pt x="334" y="124"/>
                      </a:lnTo>
                      <a:lnTo>
                        <a:pt x="335" y="124"/>
                      </a:lnTo>
                      <a:lnTo>
                        <a:pt x="335" y="124"/>
                      </a:lnTo>
                      <a:lnTo>
                        <a:pt x="335" y="124"/>
                      </a:lnTo>
                      <a:lnTo>
                        <a:pt x="335" y="124"/>
                      </a:lnTo>
                      <a:lnTo>
                        <a:pt x="335" y="124"/>
                      </a:lnTo>
                      <a:lnTo>
                        <a:pt x="335" y="124"/>
                      </a:lnTo>
                      <a:lnTo>
                        <a:pt x="335" y="124"/>
                      </a:lnTo>
                      <a:lnTo>
                        <a:pt x="335" y="124"/>
                      </a:lnTo>
                      <a:lnTo>
                        <a:pt x="335" y="125"/>
                      </a:lnTo>
                      <a:lnTo>
                        <a:pt x="335" y="124"/>
                      </a:lnTo>
                      <a:lnTo>
                        <a:pt x="335" y="124"/>
                      </a:lnTo>
                      <a:lnTo>
                        <a:pt x="335" y="124"/>
                      </a:lnTo>
                      <a:lnTo>
                        <a:pt x="335" y="124"/>
                      </a:lnTo>
                      <a:lnTo>
                        <a:pt x="335" y="124"/>
                      </a:lnTo>
                      <a:lnTo>
                        <a:pt x="335" y="124"/>
                      </a:lnTo>
                      <a:lnTo>
                        <a:pt x="335" y="124"/>
                      </a:lnTo>
                      <a:lnTo>
                        <a:pt x="335" y="124"/>
                      </a:lnTo>
                      <a:lnTo>
                        <a:pt x="335" y="124"/>
                      </a:lnTo>
                      <a:lnTo>
                        <a:pt x="334" y="124"/>
                      </a:lnTo>
                      <a:lnTo>
                        <a:pt x="334" y="123"/>
                      </a:lnTo>
                      <a:lnTo>
                        <a:pt x="335" y="123"/>
                      </a:lnTo>
                      <a:lnTo>
                        <a:pt x="335" y="123"/>
                      </a:lnTo>
                      <a:lnTo>
                        <a:pt x="335" y="123"/>
                      </a:lnTo>
                      <a:lnTo>
                        <a:pt x="335" y="123"/>
                      </a:lnTo>
                      <a:lnTo>
                        <a:pt x="335" y="124"/>
                      </a:lnTo>
                      <a:lnTo>
                        <a:pt x="336" y="124"/>
                      </a:lnTo>
                      <a:lnTo>
                        <a:pt x="336" y="124"/>
                      </a:lnTo>
                      <a:lnTo>
                        <a:pt x="336" y="124"/>
                      </a:lnTo>
                      <a:lnTo>
                        <a:pt x="336" y="124"/>
                      </a:lnTo>
                      <a:lnTo>
                        <a:pt x="336" y="124"/>
                      </a:lnTo>
                      <a:lnTo>
                        <a:pt x="336" y="124"/>
                      </a:lnTo>
                      <a:lnTo>
                        <a:pt x="336" y="125"/>
                      </a:lnTo>
                      <a:lnTo>
                        <a:pt x="336" y="126"/>
                      </a:lnTo>
                      <a:lnTo>
                        <a:pt x="337" y="126"/>
                      </a:lnTo>
                      <a:lnTo>
                        <a:pt x="336" y="126"/>
                      </a:lnTo>
                      <a:lnTo>
                        <a:pt x="336" y="126"/>
                      </a:lnTo>
                      <a:lnTo>
                        <a:pt x="337" y="126"/>
                      </a:lnTo>
                      <a:lnTo>
                        <a:pt x="337" y="126"/>
                      </a:lnTo>
                      <a:lnTo>
                        <a:pt x="337" y="127"/>
                      </a:lnTo>
                      <a:lnTo>
                        <a:pt x="337" y="127"/>
                      </a:lnTo>
                      <a:lnTo>
                        <a:pt x="337" y="128"/>
                      </a:lnTo>
                      <a:lnTo>
                        <a:pt x="338" y="128"/>
                      </a:lnTo>
                      <a:lnTo>
                        <a:pt x="338" y="128"/>
                      </a:lnTo>
                      <a:lnTo>
                        <a:pt x="338" y="129"/>
                      </a:lnTo>
                      <a:lnTo>
                        <a:pt x="338" y="128"/>
                      </a:lnTo>
                      <a:lnTo>
                        <a:pt x="339" y="128"/>
                      </a:lnTo>
                      <a:lnTo>
                        <a:pt x="338" y="128"/>
                      </a:lnTo>
                      <a:lnTo>
                        <a:pt x="338" y="128"/>
                      </a:lnTo>
                      <a:lnTo>
                        <a:pt x="337" y="128"/>
                      </a:lnTo>
                      <a:lnTo>
                        <a:pt x="337" y="127"/>
                      </a:lnTo>
                      <a:lnTo>
                        <a:pt x="337" y="127"/>
                      </a:lnTo>
                      <a:lnTo>
                        <a:pt x="337" y="126"/>
                      </a:lnTo>
                      <a:lnTo>
                        <a:pt x="337" y="126"/>
                      </a:lnTo>
                      <a:lnTo>
                        <a:pt x="337" y="126"/>
                      </a:lnTo>
                      <a:lnTo>
                        <a:pt x="336" y="125"/>
                      </a:lnTo>
                      <a:lnTo>
                        <a:pt x="336" y="124"/>
                      </a:lnTo>
                      <a:lnTo>
                        <a:pt x="336" y="125"/>
                      </a:lnTo>
                      <a:lnTo>
                        <a:pt x="336" y="124"/>
                      </a:lnTo>
                      <a:lnTo>
                        <a:pt x="336" y="125"/>
                      </a:lnTo>
                      <a:lnTo>
                        <a:pt x="337" y="125"/>
                      </a:lnTo>
                      <a:lnTo>
                        <a:pt x="337" y="124"/>
                      </a:lnTo>
                      <a:lnTo>
                        <a:pt x="336" y="124"/>
                      </a:lnTo>
                      <a:lnTo>
                        <a:pt x="336" y="124"/>
                      </a:lnTo>
                      <a:lnTo>
                        <a:pt x="335" y="124"/>
                      </a:lnTo>
                      <a:lnTo>
                        <a:pt x="336" y="124"/>
                      </a:lnTo>
                      <a:lnTo>
                        <a:pt x="337" y="124"/>
                      </a:lnTo>
                      <a:lnTo>
                        <a:pt x="337" y="124"/>
                      </a:lnTo>
                      <a:lnTo>
                        <a:pt x="337" y="124"/>
                      </a:lnTo>
                      <a:lnTo>
                        <a:pt x="336" y="124"/>
                      </a:lnTo>
                      <a:lnTo>
                        <a:pt x="337" y="124"/>
                      </a:lnTo>
                      <a:lnTo>
                        <a:pt x="337" y="124"/>
                      </a:lnTo>
                      <a:lnTo>
                        <a:pt x="337" y="124"/>
                      </a:lnTo>
                      <a:lnTo>
                        <a:pt x="336" y="124"/>
                      </a:lnTo>
                      <a:lnTo>
                        <a:pt x="336" y="123"/>
                      </a:lnTo>
                      <a:lnTo>
                        <a:pt x="335" y="123"/>
                      </a:lnTo>
                      <a:lnTo>
                        <a:pt x="335" y="123"/>
                      </a:lnTo>
                      <a:lnTo>
                        <a:pt x="334" y="123"/>
                      </a:lnTo>
                      <a:lnTo>
                        <a:pt x="335" y="123"/>
                      </a:lnTo>
                      <a:lnTo>
                        <a:pt x="334" y="123"/>
                      </a:lnTo>
                      <a:lnTo>
                        <a:pt x="334" y="123"/>
                      </a:lnTo>
                      <a:lnTo>
                        <a:pt x="334" y="122"/>
                      </a:lnTo>
                      <a:lnTo>
                        <a:pt x="334" y="122"/>
                      </a:lnTo>
                      <a:lnTo>
                        <a:pt x="334" y="122"/>
                      </a:lnTo>
                      <a:lnTo>
                        <a:pt x="335" y="122"/>
                      </a:lnTo>
                      <a:lnTo>
                        <a:pt x="335" y="122"/>
                      </a:lnTo>
                      <a:lnTo>
                        <a:pt x="335" y="122"/>
                      </a:lnTo>
                      <a:lnTo>
                        <a:pt x="334" y="122"/>
                      </a:lnTo>
                      <a:lnTo>
                        <a:pt x="334" y="122"/>
                      </a:lnTo>
                      <a:lnTo>
                        <a:pt x="334" y="122"/>
                      </a:lnTo>
                      <a:lnTo>
                        <a:pt x="334" y="122"/>
                      </a:lnTo>
                      <a:lnTo>
                        <a:pt x="334" y="122"/>
                      </a:lnTo>
                      <a:lnTo>
                        <a:pt x="334" y="122"/>
                      </a:lnTo>
                      <a:lnTo>
                        <a:pt x="333" y="122"/>
                      </a:lnTo>
                      <a:lnTo>
                        <a:pt x="333" y="122"/>
                      </a:lnTo>
                      <a:lnTo>
                        <a:pt x="333" y="122"/>
                      </a:lnTo>
                      <a:lnTo>
                        <a:pt x="332" y="122"/>
                      </a:lnTo>
                      <a:lnTo>
                        <a:pt x="333" y="122"/>
                      </a:lnTo>
                      <a:lnTo>
                        <a:pt x="333" y="121"/>
                      </a:lnTo>
                      <a:lnTo>
                        <a:pt x="333" y="120"/>
                      </a:lnTo>
                      <a:lnTo>
                        <a:pt x="333" y="120"/>
                      </a:lnTo>
                      <a:lnTo>
                        <a:pt x="333" y="120"/>
                      </a:lnTo>
                      <a:lnTo>
                        <a:pt x="333" y="120"/>
                      </a:lnTo>
                      <a:lnTo>
                        <a:pt x="333" y="121"/>
                      </a:lnTo>
                      <a:lnTo>
                        <a:pt x="333" y="120"/>
                      </a:lnTo>
                      <a:lnTo>
                        <a:pt x="334" y="120"/>
                      </a:lnTo>
                      <a:lnTo>
                        <a:pt x="334" y="121"/>
                      </a:lnTo>
                      <a:lnTo>
                        <a:pt x="334" y="121"/>
                      </a:lnTo>
                      <a:lnTo>
                        <a:pt x="334" y="121"/>
                      </a:lnTo>
                      <a:lnTo>
                        <a:pt x="334" y="120"/>
                      </a:lnTo>
                      <a:lnTo>
                        <a:pt x="333" y="120"/>
                      </a:lnTo>
                      <a:lnTo>
                        <a:pt x="333" y="120"/>
                      </a:lnTo>
                      <a:lnTo>
                        <a:pt x="333" y="120"/>
                      </a:lnTo>
                      <a:lnTo>
                        <a:pt x="333" y="119"/>
                      </a:lnTo>
                      <a:lnTo>
                        <a:pt x="332" y="119"/>
                      </a:lnTo>
                      <a:lnTo>
                        <a:pt x="332" y="119"/>
                      </a:lnTo>
                      <a:lnTo>
                        <a:pt x="332" y="118"/>
                      </a:lnTo>
                      <a:lnTo>
                        <a:pt x="331" y="118"/>
                      </a:lnTo>
                      <a:lnTo>
                        <a:pt x="331" y="118"/>
                      </a:lnTo>
                      <a:lnTo>
                        <a:pt x="331" y="118"/>
                      </a:lnTo>
                      <a:lnTo>
                        <a:pt x="331" y="118"/>
                      </a:lnTo>
                      <a:lnTo>
                        <a:pt x="331" y="118"/>
                      </a:lnTo>
                      <a:lnTo>
                        <a:pt x="331" y="118"/>
                      </a:lnTo>
                      <a:lnTo>
                        <a:pt x="330" y="118"/>
                      </a:lnTo>
                      <a:lnTo>
                        <a:pt x="331" y="118"/>
                      </a:lnTo>
                      <a:lnTo>
                        <a:pt x="331" y="119"/>
                      </a:lnTo>
                      <a:lnTo>
                        <a:pt x="331" y="118"/>
                      </a:lnTo>
                      <a:lnTo>
                        <a:pt x="331" y="119"/>
                      </a:lnTo>
                      <a:lnTo>
                        <a:pt x="330" y="119"/>
                      </a:lnTo>
                      <a:lnTo>
                        <a:pt x="331" y="119"/>
                      </a:lnTo>
                      <a:lnTo>
                        <a:pt x="330" y="119"/>
                      </a:lnTo>
                      <a:lnTo>
                        <a:pt x="331" y="119"/>
                      </a:lnTo>
                      <a:lnTo>
                        <a:pt x="331" y="119"/>
                      </a:lnTo>
                      <a:lnTo>
                        <a:pt x="331" y="119"/>
                      </a:lnTo>
                      <a:lnTo>
                        <a:pt x="331" y="119"/>
                      </a:lnTo>
                      <a:lnTo>
                        <a:pt x="331" y="119"/>
                      </a:lnTo>
                      <a:lnTo>
                        <a:pt x="331" y="119"/>
                      </a:lnTo>
                      <a:lnTo>
                        <a:pt x="330" y="119"/>
                      </a:lnTo>
                      <a:lnTo>
                        <a:pt x="330" y="119"/>
                      </a:lnTo>
                      <a:lnTo>
                        <a:pt x="330" y="118"/>
                      </a:lnTo>
                      <a:lnTo>
                        <a:pt x="330" y="117"/>
                      </a:lnTo>
                      <a:lnTo>
                        <a:pt x="330" y="118"/>
                      </a:lnTo>
                      <a:lnTo>
                        <a:pt x="330" y="118"/>
                      </a:lnTo>
                      <a:lnTo>
                        <a:pt x="331" y="118"/>
                      </a:lnTo>
                      <a:lnTo>
                        <a:pt x="330" y="118"/>
                      </a:lnTo>
                      <a:lnTo>
                        <a:pt x="330" y="117"/>
                      </a:lnTo>
                      <a:lnTo>
                        <a:pt x="330" y="117"/>
                      </a:lnTo>
                      <a:lnTo>
                        <a:pt x="330" y="117"/>
                      </a:lnTo>
                      <a:lnTo>
                        <a:pt x="330" y="117"/>
                      </a:lnTo>
                      <a:lnTo>
                        <a:pt x="330" y="116"/>
                      </a:lnTo>
                      <a:lnTo>
                        <a:pt x="329" y="116"/>
                      </a:lnTo>
                      <a:lnTo>
                        <a:pt x="329" y="116"/>
                      </a:lnTo>
                      <a:lnTo>
                        <a:pt x="328" y="115"/>
                      </a:lnTo>
                      <a:lnTo>
                        <a:pt x="329" y="115"/>
                      </a:lnTo>
                      <a:lnTo>
                        <a:pt x="328" y="115"/>
                      </a:lnTo>
                      <a:lnTo>
                        <a:pt x="328" y="115"/>
                      </a:lnTo>
                      <a:lnTo>
                        <a:pt x="328" y="115"/>
                      </a:lnTo>
                      <a:lnTo>
                        <a:pt x="328" y="115"/>
                      </a:lnTo>
                      <a:lnTo>
                        <a:pt x="328" y="115"/>
                      </a:lnTo>
                      <a:lnTo>
                        <a:pt x="328" y="114"/>
                      </a:lnTo>
                      <a:lnTo>
                        <a:pt x="327" y="114"/>
                      </a:lnTo>
                      <a:lnTo>
                        <a:pt x="327" y="114"/>
                      </a:lnTo>
                      <a:lnTo>
                        <a:pt x="327" y="114"/>
                      </a:lnTo>
                      <a:lnTo>
                        <a:pt x="327" y="113"/>
                      </a:lnTo>
                      <a:lnTo>
                        <a:pt x="327" y="112"/>
                      </a:lnTo>
                      <a:lnTo>
                        <a:pt x="326" y="112"/>
                      </a:lnTo>
                      <a:lnTo>
                        <a:pt x="326" y="112"/>
                      </a:lnTo>
                      <a:lnTo>
                        <a:pt x="327" y="112"/>
                      </a:lnTo>
                      <a:lnTo>
                        <a:pt x="326" y="112"/>
                      </a:lnTo>
                      <a:lnTo>
                        <a:pt x="327" y="112"/>
                      </a:lnTo>
                      <a:lnTo>
                        <a:pt x="326" y="112"/>
                      </a:lnTo>
                      <a:lnTo>
                        <a:pt x="327" y="111"/>
                      </a:lnTo>
                      <a:lnTo>
                        <a:pt x="326" y="111"/>
                      </a:lnTo>
                      <a:lnTo>
                        <a:pt x="327" y="111"/>
                      </a:lnTo>
                      <a:lnTo>
                        <a:pt x="327" y="111"/>
                      </a:lnTo>
                      <a:lnTo>
                        <a:pt x="328" y="111"/>
                      </a:lnTo>
                      <a:lnTo>
                        <a:pt x="328" y="111"/>
                      </a:lnTo>
                      <a:lnTo>
                        <a:pt x="328" y="111"/>
                      </a:lnTo>
                      <a:lnTo>
                        <a:pt x="329" y="111"/>
                      </a:lnTo>
                      <a:lnTo>
                        <a:pt x="330" y="111"/>
                      </a:lnTo>
                      <a:lnTo>
                        <a:pt x="330" y="111"/>
                      </a:lnTo>
                      <a:lnTo>
                        <a:pt x="330" y="111"/>
                      </a:lnTo>
                      <a:lnTo>
                        <a:pt x="330" y="111"/>
                      </a:lnTo>
                      <a:lnTo>
                        <a:pt x="331" y="111"/>
                      </a:lnTo>
                      <a:lnTo>
                        <a:pt x="331" y="112"/>
                      </a:lnTo>
                      <a:lnTo>
                        <a:pt x="330" y="111"/>
                      </a:lnTo>
                      <a:lnTo>
                        <a:pt x="331" y="112"/>
                      </a:lnTo>
                      <a:lnTo>
                        <a:pt x="331" y="112"/>
                      </a:lnTo>
                      <a:lnTo>
                        <a:pt x="331" y="112"/>
                      </a:lnTo>
                      <a:lnTo>
                        <a:pt x="332" y="112"/>
                      </a:lnTo>
                      <a:lnTo>
                        <a:pt x="332" y="113"/>
                      </a:lnTo>
                      <a:lnTo>
                        <a:pt x="333" y="113"/>
                      </a:lnTo>
                      <a:lnTo>
                        <a:pt x="333" y="114"/>
                      </a:lnTo>
                      <a:lnTo>
                        <a:pt x="333" y="114"/>
                      </a:lnTo>
                      <a:lnTo>
                        <a:pt x="334" y="114"/>
                      </a:lnTo>
                      <a:lnTo>
                        <a:pt x="334" y="114"/>
                      </a:lnTo>
                      <a:lnTo>
                        <a:pt x="334" y="114"/>
                      </a:lnTo>
                      <a:lnTo>
                        <a:pt x="334" y="114"/>
                      </a:lnTo>
                      <a:lnTo>
                        <a:pt x="335" y="114"/>
                      </a:lnTo>
                      <a:lnTo>
                        <a:pt x="335" y="114"/>
                      </a:lnTo>
                      <a:lnTo>
                        <a:pt x="335" y="114"/>
                      </a:lnTo>
                      <a:lnTo>
                        <a:pt x="335" y="114"/>
                      </a:lnTo>
                      <a:lnTo>
                        <a:pt x="335" y="114"/>
                      </a:lnTo>
                      <a:lnTo>
                        <a:pt x="336" y="114"/>
                      </a:lnTo>
                      <a:lnTo>
                        <a:pt x="337" y="114"/>
                      </a:lnTo>
                      <a:lnTo>
                        <a:pt x="337" y="115"/>
                      </a:lnTo>
                      <a:lnTo>
                        <a:pt x="337" y="115"/>
                      </a:lnTo>
                      <a:lnTo>
                        <a:pt x="337" y="116"/>
                      </a:lnTo>
                      <a:lnTo>
                        <a:pt x="337" y="116"/>
                      </a:lnTo>
                      <a:lnTo>
                        <a:pt x="337" y="116"/>
                      </a:lnTo>
                      <a:lnTo>
                        <a:pt x="337" y="117"/>
                      </a:lnTo>
                      <a:lnTo>
                        <a:pt x="338" y="117"/>
                      </a:lnTo>
                      <a:lnTo>
                        <a:pt x="338" y="116"/>
                      </a:lnTo>
                      <a:lnTo>
                        <a:pt x="338" y="117"/>
                      </a:lnTo>
                      <a:lnTo>
                        <a:pt x="338" y="116"/>
                      </a:lnTo>
                      <a:lnTo>
                        <a:pt x="338" y="116"/>
                      </a:lnTo>
                      <a:lnTo>
                        <a:pt x="338" y="116"/>
                      </a:lnTo>
                      <a:lnTo>
                        <a:pt x="338" y="116"/>
                      </a:lnTo>
                      <a:lnTo>
                        <a:pt x="339" y="116"/>
                      </a:lnTo>
                      <a:lnTo>
                        <a:pt x="338" y="116"/>
                      </a:lnTo>
                      <a:lnTo>
                        <a:pt x="339" y="116"/>
                      </a:lnTo>
                      <a:lnTo>
                        <a:pt x="339" y="116"/>
                      </a:lnTo>
                      <a:lnTo>
                        <a:pt x="340" y="116"/>
                      </a:lnTo>
                      <a:lnTo>
                        <a:pt x="340" y="117"/>
                      </a:lnTo>
                      <a:lnTo>
                        <a:pt x="339" y="117"/>
                      </a:lnTo>
                      <a:lnTo>
                        <a:pt x="340" y="117"/>
                      </a:lnTo>
                      <a:lnTo>
                        <a:pt x="339" y="117"/>
                      </a:lnTo>
                      <a:lnTo>
                        <a:pt x="340" y="117"/>
                      </a:lnTo>
                      <a:lnTo>
                        <a:pt x="340" y="118"/>
                      </a:lnTo>
                      <a:lnTo>
                        <a:pt x="341" y="118"/>
                      </a:lnTo>
                      <a:lnTo>
                        <a:pt x="340" y="118"/>
                      </a:lnTo>
                      <a:lnTo>
                        <a:pt x="340" y="117"/>
                      </a:lnTo>
                      <a:lnTo>
                        <a:pt x="339" y="117"/>
                      </a:lnTo>
                      <a:lnTo>
                        <a:pt x="340" y="117"/>
                      </a:lnTo>
                      <a:lnTo>
                        <a:pt x="340" y="116"/>
                      </a:lnTo>
                      <a:lnTo>
                        <a:pt x="339" y="116"/>
                      </a:lnTo>
                      <a:lnTo>
                        <a:pt x="339" y="116"/>
                      </a:lnTo>
                      <a:lnTo>
                        <a:pt x="338" y="116"/>
                      </a:lnTo>
                      <a:lnTo>
                        <a:pt x="338" y="116"/>
                      </a:lnTo>
                      <a:lnTo>
                        <a:pt x="338" y="117"/>
                      </a:lnTo>
                      <a:lnTo>
                        <a:pt x="338" y="116"/>
                      </a:lnTo>
                      <a:lnTo>
                        <a:pt x="338" y="117"/>
                      </a:lnTo>
                      <a:lnTo>
                        <a:pt x="337" y="117"/>
                      </a:lnTo>
                      <a:lnTo>
                        <a:pt x="337" y="116"/>
                      </a:lnTo>
                      <a:lnTo>
                        <a:pt x="337" y="116"/>
                      </a:lnTo>
                      <a:lnTo>
                        <a:pt x="337" y="116"/>
                      </a:lnTo>
                      <a:lnTo>
                        <a:pt x="337" y="115"/>
                      </a:lnTo>
                      <a:lnTo>
                        <a:pt x="337" y="115"/>
                      </a:lnTo>
                      <a:lnTo>
                        <a:pt x="337" y="114"/>
                      </a:lnTo>
                      <a:lnTo>
                        <a:pt x="337" y="115"/>
                      </a:lnTo>
                      <a:lnTo>
                        <a:pt x="337" y="114"/>
                      </a:lnTo>
                      <a:lnTo>
                        <a:pt x="337" y="115"/>
                      </a:lnTo>
                      <a:lnTo>
                        <a:pt x="337" y="114"/>
                      </a:lnTo>
                      <a:lnTo>
                        <a:pt x="337" y="114"/>
                      </a:lnTo>
                      <a:lnTo>
                        <a:pt x="337" y="114"/>
                      </a:lnTo>
                      <a:lnTo>
                        <a:pt x="336" y="114"/>
                      </a:lnTo>
                      <a:lnTo>
                        <a:pt x="335" y="114"/>
                      </a:lnTo>
                      <a:lnTo>
                        <a:pt x="335" y="114"/>
                      </a:lnTo>
                      <a:lnTo>
                        <a:pt x="336" y="114"/>
                      </a:lnTo>
                      <a:lnTo>
                        <a:pt x="335" y="114"/>
                      </a:lnTo>
                      <a:lnTo>
                        <a:pt x="335" y="114"/>
                      </a:lnTo>
                      <a:lnTo>
                        <a:pt x="335" y="114"/>
                      </a:lnTo>
                      <a:lnTo>
                        <a:pt x="335" y="114"/>
                      </a:lnTo>
                      <a:lnTo>
                        <a:pt x="334" y="114"/>
                      </a:lnTo>
                      <a:lnTo>
                        <a:pt x="334" y="114"/>
                      </a:lnTo>
                      <a:lnTo>
                        <a:pt x="333" y="114"/>
                      </a:lnTo>
                      <a:lnTo>
                        <a:pt x="333" y="114"/>
                      </a:lnTo>
                      <a:lnTo>
                        <a:pt x="333" y="113"/>
                      </a:lnTo>
                      <a:lnTo>
                        <a:pt x="333" y="113"/>
                      </a:lnTo>
                      <a:lnTo>
                        <a:pt x="332" y="113"/>
                      </a:lnTo>
                      <a:lnTo>
                        <a:pt x="332" y="112"/>
                      </a:lnTo>
                      <a:lnTo>
                        <a:pt x="331" y="112"/>
                      </a:lnTo>
                      <a:lnTo>
                        <a:pt x="331" y="112"/>
                      </a:lnTo>
                      <a:lnTo>
                        <a:pt x="331" y="112"/>
                      </a:lnTo>
                      <a:lnTo>
                        <a:pt x="331" y="111"/>
                      </a:lnTo>
                      <a:lnTo>
                        <a:pt x="331" y="112"/>
                      </a:lnTo>
                      <a:lnTo>
                        <a:pt x="331" y="111"/>
                      </a:lnTo>
                      <a:lnTo>
                        <a:pt x="331" y="112"/>
                      </a:lnTo>
                      <a:lnTo>
                        <a:pt x="331" y="111"/>
                      </a:lnTo>
                      <a:lnTo>
                        <a:pt x="331" y="111"/>
                      </a:lnTo>
                      <a:lnTo>
                        <a:pt x="331" y="111"/>
                      </a:lnTo>
                      <a:lnTo>
                        <a:pt x="331" y="111"/>
                      </a:lnTo>
                      <a:lnTo>
                        <a:pt x="330" y="111"/>
                      </a:lnTo>
                      <a:lnTo>
                        <a:pt x="330" y="110"/>
                      </a:lnTo>
                      <a:lnTo>
                        <a:pt x="331" y="110"/>
                      </a:lnTo>
                      <a:lnTo>
                        <a:pt x="331" y="109"/>
                      </a:lnTo>
                      <a:lnTo>
                        <a:pt x="331" y="109"/>
                      </a:lnTo>
                      <a:lnTo>
                        <a:pt x="330" y="109"/>
                      </a:lnTo>
                      <a:lnTo>
                        <a:pt x="331" y="109"/>
                      </a:lnTo>
                      <a:lnTo>
                        <a:pt x="331" y="108"/>
                      </a:lnTo>
                      <a:lnTo>
                        <a:pt x="331" y="108"/>
                      </a:lnTo>
                      <a:lnTo>
                        <a:pt x="332" y="108"/>
                      </a:lnTo>
                      <a:lnTo>
                        <a:pt x="333" y="108"/>
                      </a:lnTo>
                      <a:lnTo>
                        <a:pt x="333" y="108"/>
                      </a:lnTo>
                      <a:lnTo>
                        <a:pt x="334" y="108"/>
                      </a:lnTo>
                      <a:lnTo>
                        <a:pt x="334" y="108"/>
                      </a:lnTo>
                      <a:lnTo>
                        <a:pt x="334" y="108"/>
                      </a:lnTo>
                      <a:lnTo>
                        <a:pt x="334" y="109"/>
                      </a:lnTo>
                      <a:lnTo>
                        <a:pt x="334" y="108"/>
                      </a:lnTo>
                      <a:lnTo>
                        <a:pt x="334" y="108"/>
                      </a:lnTo>
                      <a:lnTo>
                        <a:pt x="334" y="109"/>
                      </a:lnTo>
                      <a:lnTo>
                        <a:pt x="335" y="108"/>
                      </a:lnTo>
                      <a:lnTo>
                        <a:pt x="335" y="109"/>
                      </a:lnTo>
                      <a:lnTo>
                        <a:pt x="335" y="108"/>
                      </a:lnTo>
                      <a:lnTo>
                        <a:pt x="335" y="109"/>
                      </a:lnTo>
                      <a:lnTo>
                        <a:pt x="335" y="109"/>
                      </a:lnTo>
                      <a:lnTo>
                        <a:pt x="336" y="109"/>
                      </a:lnTo>
                      <a:lnTo>
                        <a:pt x="336" y="109"/>
                      </a:lnTo>
                      <a:lnTo>
                        <a:pt x="337" y="109"/>
                      </a:lnTo>
                      <a:lnTo>
                        <a:pt x="337" y="109"/>
                      </a:lnTo>
                      <a:lnTo>
                        <a:pt x="338" y="109"/>
                      </a:lnTo>
                      <a:lnTo>
                        <a:pt x="337" y="109"/>
                      </a:lnTo>
                      <a:lnTo>
                        <a:pt x="338" y="109"/>
                      </a:lnTo>
                      <a:lnTo>
                        <a:pt x="337" y="109"/>
                      </a:lnTo>
                      <a:lnTo>
                        <a:pt x="337" y="109"/>
                      </a:lnTo>
                      <a:lnTo>
                        <a:pt x="337" y="109"/>
                      </a:lnTo>
                      <a:lnTo>
                        <a:pt x="337" y="109"/>
                      </a:lnTo>
                      <a:lnTo>
                        <a:pt x="337" y="109"/>
                      </a:lnTo>
                      <a:lnTo>
                        <a:pt x="338" y="109"/>
                      </a:lnTo>
                      <a:lnTo>
                        <a:pt x="338" y="109"/>
                      </a:lnTo>
                      <a:lnTo>
                        <a:pt x="338" y="109"/>
                      </a:lnTo>
                      <a:lnTo>
                        <a:pt x="338" y="109"/>
                      </a:lnTo>
                      <a:lnTo>
                        <a:pt x="338" y="109"/>
                      </a:lnTo>
                      <a:lnTo>
                        <a:pt x="338" y="109"/>
                      </a:lnTo>
                      <a:lnTo>
                        <a:pt x="339" y="109"/>
                      </a:lnTo>
                      <a:lnTo>
                        <a:pt x="339" y="109"/>
                      </a:lnTo>
                      <a:lnTo>
                        <a:pt x="340" y="109"/>
                      </a:lnTo>
                      <a:lnTo>
                        <a:pt x="341" y="109"/>
                      </a:lnTo>
                      <a:lnTo>
                        <a:pt x="341" y="110"/>
                      </a:lnTo>
                      <a:lnTo>
                        <a:pt x="342" y="110"/>
                      </a:lnTo>
                      <a:lnTo>
                        <a:pt x="343" y="110"/>
                      </a:lnTo>
                      <a:lnTo>
                        <a:pt x="343" y="110"/>
                      </a:lnTo>
                      <a:lnTo>
                        <a:pt x="344" y="110"/>
                      </a:lnTo>
                      <a:lnTo>
                        <a:pt x="345" y="110"/>
                      </a:lnTo>
                      <a:lnTo>
                        <a:pt x="345" y="110"/>
                      </a:lnTo>
                      <a:lnTo>
                        <a:pt x="346" y="110"/>
                      </a:lnTo>
                      <a:lnTo>
                        <a:pt x="346" y="110"/>
                      </a:lnTo>
                      <a:lnTo>
                        <a:pt x="346" y="111"/>
                      </a:lnTo>
                      <a:lnTo>
                        <a:pt x="345" y="111"/>
                      </a:lnTo>
                      <a:lnTo>
                        <a:pt x="345" y="111"/>
                      </a:lnTo>
                      <a:lnTo>
                        <a:pt x="345" y="111"/>
                      </a:lnTo>
                      <a:lnTo>
                        <a:pt x="346" y="111"/>
                      </a:lnTo>
                      <a:lnTo>
                        <a:pt x="346" y="111"/>
                      </a:lnTo>
                      <a:lnTo>
                        <a:pt x="346" y="110"/>
                      </a:lnTo>
                      <a:lnTo>
                        <a:pt x="347" y="110"/>
                      </a:lnTo>
                      <a:lnTo>
                        <a:pt x="348" y="110"/>
                      </a:lnTo>
                      <a:lnTo>
                        <a:pt x="349" y="111"/>
                      </a:lnTo>
                      <a:lnTo>
                        <a:pt x="348" y="111"/>
                      </a:lnTo>
                      <a:lnTo>
                        <a:pt x="349" y="111"/>
                      </a:lnTo>
                      <a:lnTo>
                        <a:pt x="348" y="111"/>
                      </a:lnTo>
                      <a:lnTo>
                        <a:pt x="349" y="111"/>
                      </a:lnTo>
                      <a:lnTo>
                        <a:pt x="348" y="111"/>
                      </a:lnTo>
                      <a:lnTo>
                        <a:pt x="349" y="111"/>
                      </a:lnTo>
                      <a:lnTo>
                        <a:pt x="348" y="111"/>
                      </a:lnTo>
                      <a:lnTo>
                        <a:pt x="348" y="111"/>
                      </a:lnTo>
                      <a:lnTo>
                        <a:pt x="348" y="111"/>
                      </a:lnTo>
                      <a:lnTo>
                        <a:pt x="348" y="111"/>
                      </a:lnTo>
                      <a:lnTo>
                        <a:pt x="348" y="111"/>
                      </a:lnTo>
                      <a:lnTo>
                        <a:pt x="348" y="111"/>
                      </a:lnTo>
                      <a:lnTo>
                        <a:pt x="348" y="111"/>
                      </a:lnTo>
                      <a:lnTo>
                        <a:pt x="349" y="111"/>
                      </a:lnTo>
                      <a:lnTo>
                        <a:pt x="350" y="111"/>
                      </a:lnTo>
                      <a:lnTo>
                        <a:pt x="349" y="111"/>
                      </a:lnTo>
                      <a:lnTo>
                        <a:pt x="349" y="111"/>
                      </a:lnTo>
                      <a:lnTo>
                        <a:pt x="350" y="111"/>
                      </a:lnTo>
                      <a:lnTo>
                        <a:pt x="349" y="111"/>
                      </a:lnTo>
                      <a:lnTo>
                        <a:pt x="349" y="111"/>
                      </a:lnTo>
                      <a:lnTo>
                        <a:pt x="350" y="111"/>
                      </a:lnTo>
                      <a:lnTo>
                        <a:pt x="349" y="111"/>
                      </a:lnTo>
                      <a:lnTo>
                        <a:pt x="350" y="111"/>
                      </a:lnTo>
                      <a:lnTo>
                        <a:pt x="350" y="111"/>
                      </a:lnTo>
                      <a:lnTo>
                        <a:pt x="353" y="111"/>
                      </a:lnTo>
                      <a:lnTo>
                        <a:pt x="355" y="112"/>
                      </a:lnTo>
                      <a:lnTo>
                        <a:pt x="356" y="112"/>
                      </a:lnTo>
                      <a:lnTo>
                        <a:pt x="356" y="112"/>
                      </a:lnTo>
                      <a:lnTo>
                        <a:pt x="359" y="113"/>
                      </a:lnTo>
                      <a:lnTo>
                        <a:pt x="359" y="113"/>
                      </a:lnTo>
                      <a:lnTo>
                        <a:pt x="360" y="114"/>
                      </a:lnTo>
                      <a:lnTo>
                        <a:pt x="360" y="114"/>
                      </a:lnTo>
                      <a:lnTo>
                        <a:pt x="361" y="114"/>
                      </a:lnTo>
                      <a:lnTo>
                        <a:pt x="361" y="115"/>
                      </a:lnTo>
                      <a:lnTo>
                        <a:pt x="363" y="115"/>
                      </a:lnTo>
                      <a:lnTo>
                        <a:pt x="363" y="115"/>
                      </a:lnTo>
                      <a:lnTo>
                        <a:pt x="364" y="116"/>
                      </a:lnTo>
                      <a:lnTo>
                        <a:pt x="365" y="116"/>
                      </a:lnTo>
                      <a:lnTo>
                        <a:pt x="364" y="116"/>
                      </a:lnTo>
                      <a:lnTo>
                        <a:pt x="364" y="116"/>
                      </a:lnTo>
                      <a:lnTo>
                        <a:pt x="363" y="116"/>
                      </a:lnTo>
                      <a:lnTo>
                        <a:pt x="364" y="116"/>
                      </a:lnTo>
                      <a:lnTo>
                        <a:pt x="363" y="116"/>
                      </a:lnTo>
                      <a:lnTo>
                        <a:pt x="364" y="116"/>
                      </a:lnTo>
                      <a:lnTo>
                        <a:pt x="363" y="116"/>
                      </a:lnTo>
                      <a:lnTo>
                        <a:pt x="363" y="116"/>
                      </a:lnTo>
                      <a:lnTo>
                        <a:pt x="363" y="116"/>
                      </a:lnTo>
                      <a:lnTo>
                        <a:pt x="362" y="116"/>
                      </a:lnTo>
                      <a:lnTo>
                        <a:pt x="362" y="116"/>
                      </a:lnTo>
                      <a:lnTo>
                        <a:pt x="362" y="116"/>
                      </a:lnTo>
                      <a:lnTo>
                        <a:pt x="362" y="116"/>
                      </a:lnTo>
                      <a:lnTo>
                        <a:pt x="361" y="116"/>
                      </a:lnTo>
                      <a:lnTo>
                        <a:pt x="361" y="116"/>
                      </a:lnTo>
                      <a:lnTo>
                        <a:pt x="361" y="116"/>
                      </a:lnTo>
                      <a:lnTo>
                        <a:pt x="361" y="116"/>
                      </a:lnTo>
                      <a:lnTo>
                        <a:pt x="361" y="116"/>
                      </a:lnTo>
                      <a:lnTo>
                        <a:pt x="362" y="116"/>
                      </a:lnTo>
                      <a:lnTo>
                        <a:pt x="362" y="116"/>
                      </a:lnTo>
                      <a:lnTo>
                        <a:pt x="363" y="116"/>
                      </a:lnTo>
                      <a:lnTo>
                        <a:pt x="363" y="116"/>
                      </a:lnTo>
                      <a:lnTo>
                        <a:pt x="363" y="116"/>
                      </a:lnTo>
                      <a:lnTo>
                        <a:pt x="363" y="117"/>
                      </a:lnTo>
                      <a:lnTo>
                        <a:pt x="363" y="116"/>
                      </a:lnTo>
                      <a:lnTo>
                        <a:pt x="363" y="117"/>
                      </a:lnTo>
                      <a:lnTo>
                        <a:pt x="363" y="117"/>
                      </a:lnTo>
                      <a:lnTo>
                        <a:pt x="362" y="117"/>
                      </a:lnTo>
                      <a:lnTo>
                        <a:pt x="363" y="117"/>
                      </a:lnTo>
                      <a:lnTo>
                        <a:pt x="363" y="117"/>
                      </a:lnTo>
                      <a:lnTo>
                        <a:pt x="363" y="118"/>
                      </a:lnTo>
                      <a:lnTo>
                        <a:pt x="362" y="118"/>
                      </a:lnTo>
                      <a:lnTo>
                        <a:pt x="361" y="118"/>
                      </a:lnTo>
                      <a:lnTo>
                        <a:pt x="361" y="118"/>
                      </a:lnTo>
                      <a:lnTo>
                        <a:pt x="361" y="118"/>
                      </a:lnTo>
                      <a:lnTo>
                        <a:pt x="361" y="118"/>
                      </a:lnTo>
                      <a:lnTo>
                        <a:pt x="361" y="118"/>
                      </a:lnTo>
                      <a:lnTo>
                        <a:pt x="362" y="118"/>
                      </a:lnTo>
                      <a:lnTo>
                        <a:pt x="363" y="118"/>
                      </a:lnTo>
                      <a:lnTo>
                        <a:pt x="363" y="117"/>
                      </a:lnTo>
                      <a:lnTo>
                        <a:pt x="363" y="118"/>
                      </a:lnTo>
                      <a:lnTo>
                        <a:pt x="363" y="118"/>
                      </a:lnTo>
                      <a:lnTo>
                        <a:pt x="363" y="118"/>
                      </a:lnTo>
                      <a:lnTo>
                        <a:pt x="362" y="118"/>
                      </a:lnTo>
                      <a:lnTo>
                        <a:pt x="362" y="119"/>
                      </a:lnTo>
                      <a:lnTo>
                        <a:pt x="361" y="119"/>
                      </a:lnTo>
                      <a:lnTo>
                        <a:pt x="361" y="119"/>
                      </a:lnTo>
                      <a:lnTo>
                        <a:pt x="361" y="119"/>
                      </a:lnTo>
                      <a:lnTo>
                        <a:pt x="361" y="120"/>
                      </a:lnTo>
                      <a:lnTo>
                        <a:pt x="360" y="120"/>
                      </a:lnTo>
                      <a:lnTo>
                        <a:pt x="360" y="120"/>
                      </a:lnTo>
                      <a:lnTo>
                        <a:pt x="361" y="120"/>
                      </a:lnTo>
                      <a:lnTo>
                        <a:pt x="360" y="120"/>
                      </a:lnTo>
                      <a:lnTo>
                        <a:pt x="360" y="121"/>
                      </a:lnTo>
                      <a:lnTo>
                        <a:pt x="360" y="121"/>
                      </a:lnTo>
                      <a:lnTo>
                        <a:pt x="360" y="122"/>
                      </a:lnTo>
                      <a:lnTo>
                        <a:pt x="360" y="121"/>
                      </a:lnTo>
                      <a:lnTo>
                        <a:pt x="360" y="121"/>
                      </a:lnTo>
                      <a:lnTo>
                        <a:pt x="361" y="121"/>
                      </a:lnTo>
                      <a:lnTo>
                        <a:pt x="360" y="121"/>
                      </a:lnTo>
                      <a:lnTo>
                        <a:pt x="360" y="120"/>
                      </a:lnTo>
                      <a:lnTo>
                        <a:pt x="361" y="120"/>
                      </a:lnTo>
                      <a:lnTo>
                        <a:pt x="361" y="120"/>
                      </a:lnTo>
                      <a:lnTo>
                        <a:pt x="361" y="121"/>
                      </a:lnTo>
                      <a:lnTo>
                        <a:pt x="361" y="120"/>
                      </a:lnTo>
                      <a:lnTo>
                        <a:pt x="361" y="121"/>
                      </a:lnTo>
                      <a:lnTo>
                        <a:pt x="362" y="121"/>
                      </a:lnTo>
                      <a:lnTo>
                        <a:pt x="361" y="121"/>
                      </a:lnTo>
                      <a:lnTo>
                        <a:pt x="362" y="121"/>
                      </a:lnTo>
                      <a:lnTo>
                        <a:pt x="362" y="122"/>
                      </a:lnTo>
                      <a:lnTo>
                        <a:pt x="361" y="122"/>
                      </a:lnTo>
                      <a:lnTo>
                        <a:pt x="361" y="122"/>
                      </a:lnTo>
                      <a:lnTo>
                        <a:pt x="362" y="122"/>
                      </a:lnTo>
                      <a:lnTo>
                        <a:pt x="363" y="122"/>
                      </a:lnTo>
                      <a:lnTo>
                        <a:pt x="363" y="122"/>
                      </a:lnTo>
                      <a:lnTo>
                        <a:pt x="363" y="122"/>
                      </a:lnTo>
                      <a:lnTo>
                        <a:pt x="363" y="122"/>
                      </a:lnTo>
                      <a:lnTo>
                        <a:pt x="363" y="122"/>
                      </a:lnTo>
                      <a:lnTo>
                        <a:pt x="363" y="122"/>
                      </a:lnTo>
                      <a:lnTo>
                        <a:pt x="364" y="122"/>
                      </a:lnTo>
                      <a:lnTo>
                        <a:pt x="364" y="122"/>
                      </a:lnTo>
                      <a:lnTo>
                        <a:pt x="364" y="123"/>
                      </a:lnTo>
                      <a:lnTo>
                        <a:pt x="365" y="123"/>
                      </a:lnTo>
                      <a:lnTo>
                        <a:pt x="365" y="123"/>
                      </a:lnTo>
                      <a:lnTo>
                        <a:pt x="365" y="123"/>
                      </a:lnTo>
                      <a:lnTo>
                        <a:pt x="366" y="123"/>
                      </a:lnTo>
                      <a:lnTo>
                        <a:pt x="366" y="123"/>
                      </a:lnTo>
                      <a:lnTo>
                        <a:pt x="367" y="123"/>
                      </a:lnTo>
                      <a:lnTo>
                        <a:pt x="367" y="123"/>
                      </a:lnTo>
                      <a:lnTo>
                        <a:pt x="367" y="123"/>
                      </a:lnTo>
                      <a:lnTo>
                        <a:pt x="367" y="123"/>
                      </a:lnTo>
                      <a:lnTo>
                        <a:pt x="367" y="123"/>
                      </a:lnTo>
                      <a:lnTo>
                        <a:pt x="367" y="123"/>
                      </a:lnTo>
                      <a:lnTo>
                        <a:pt x="368" y="123"/>
                      </a:lnTo>
                      <a:lnTo>
                        <a:pt x="368" y="123"/>
                      </a:lnTo>
                      <a:lnTo>
                        <a:pt x="368" y="123"/>
                      </a:lnTo>
                      <a:lnTo>
                        <a:pt x="368" y="123"/>
                      </a:lnTo>
                      <a:lnTo>
                        <a:pt x="368" y="123"/>
                      </a:lnTo>
                      <a:lnTo>
                        <a:pt x="368" y="123"/>
                      </a:lnTo>
                      <a:lnTo>
                        <a:pt x="368" y="124"/>
                      </a:lnTo>
                      <a:lnTo>
                        <a:pt x="368" y="124"/>
                      </a:lnTo>
                      <a:lnTo>
                        <a:pt x="368" y="124"/>
                      </a:lnTo>
                      <a:lnTo>
                        <a:pt x="368" y="124"/>
                      </a:lnTo>
                      <a:lnTo>
                        <a:pt x="368" y="124"/>
                      </a:lnTo>
                      <a:lnTo>
                        <a:pt x="368" y="125"/>
                      </a:lnTo>
                      <a:lnTo>
                        <a:pt x="368" y="126"/>
                      </a:lnTo>
                      <a:lnTo>
                        <a:pt x="369" y="126"/>
                      </a:lnTo>
                      <a:lnTo>
                        <a:pt x="369" y="126"/>
                      </a:lnTo>
                      <a:lnTo>
                        <a:pt x="369" y="126"/>
                      </a:lnTo>
                      <a:lnTo>
                        <a:pt x="370" y="126"/>
                      </a:lnTo>
                      <a:lnTo>
                        <a:pt x="370" y="127"/>
                      </a:lnTo>
                      <a:lnTo>
                        <a:pt x="369" y="127"/>
                      </a:lnTo>
                      <a:lnTo>
                        <a:pt x="369" y="128"/>
                      </a:lnTo>
                      <a:lnTo>
                        <a:pt x="369" y="128"/>
                      </a:lnTo>
                      <a:lnTo>
                        <a:pt x="369" y="128"/>
                      </a:lnTo>
                      <a:lnTo>
                        <a:pt x="369" y="128"/>
                      </a:lnTo>
                      <a:lnTo>
                        <a:pt x="369" y="129"/>
                      </a:lnTo>
                      <a:lnTo>
                        <a:pt x="368" y="129"/>
                      </a:lnTo>
                      <a:lnTo>
                        <a:pt x="369" y="129"/>
                      </a:lnTo>
                      <a:lnTo>
                        <a:pt x="368" y="129"/>
                      </a:lnTo>
                      <a:lnTo>
                        <a:pt x="368" y="129"/>
                      </a:lnTo>
                      <a:lnTo>
                        <a:pt x="368" y="130"/>
                      </a:lnTo>
                      <a:lnTo>
                        <a:pt x="368" y="129"/>
                      </a:lnTo>
                      <a:lnTo>
                        <a:pt x="368" y="130"/>
                      </a:lnTo>
                      <a:lnTo>
                        <a:pt x="368" y="130"/>
                      </a:lnTo>
                      <a:lnTo>
                        <a:pt x="368" y="130"/>
                      </a:lnTo>
                      <a:lnTo>
                        <a:pt x="368" y="131"/>
                      </a:lnTo>
                      <a:lnTo>
                        <a:pt x="367" y="131"/>
                      </a:lnTo>
                      <a:lnTo>
                        <a:pt x="367" y="131"/>
                      </a:lnTo>
                      <a:lnTo>
                        <a:pt x="367" y="132"/>
                      </a:lnTo>
                      <a:lnTo>
                        <a:pt x="367" y="133"/>
                      </a:lnTo>
                      <a:lnTo>
                        <a:pt x="367" y="133"/>
                      </a:lnTo>
                      <a:lnTo>
                        <a:pt x="368" y="133"/>
                      </a:lnTo>
                      <a:lnTo>
                        <a:pt x="368" y="134"/>
                      </a:lnTo>
                      <a:lnTo>
                        <a:pt x="367" y="134"/>
                      </a:lnTo>
                      <a:lnTo>
                        <a:pt x="368" y="134"/>
                      </a:lnTo>
                      <a:lnTo>
                        <a:pt x="368" y="134"/>
                      </a:lnTo>
                      <a:lnTo>
                        <a:pt x="367" y="134"/>
                      </a:lnTo>
                      <a:lnTo>
                        <a:pt x="368" y="134"/>
                      </a:lnTo>
                      <a:lnTo>
                        <a:pt x="367" y="134"/>
                      </a:lnTo>
                      <a:lnTo>
                        <a:pt x="368" y="134"/>
                      </a:lnTo>
                      <a:lnTo>
                        <a:pt x="368" y="135"/>
                      </a:lnTo>
                      <a:lnTo>
                        <a:pt x="368" y="135"/>
                      </a:lnTo>
                      <a:lnTo>
                        <a:pt x="368" y="135"/>
                      </a:lnTo>
                      <a:lnTo>
                        <a:pt x="368" y="136"/>
                      </a:lnTo>
                      <a:lnTo>
                        <a:pt x="368" y="135"/>
                      </a:lnTo>
                      <a:lnTo>
                        <a:pt x="369" y="135"/>
                      </a:lnTo>
                      <a:lnTo>
                        <a:pt x="369" y="135"/>
                      </a:lnTo>
                      <a:lnTo>
                        <a:pt x="370" y="135"/>
                      </a:lnTo>
                      <a:lnTo>
                        <a:pt x="371" y="135"/>
                      </a:lnTo>
                      <a:lnTo>
                        <a:pt x="371" y="135"/>
                      </a:lnTo>
                      <a:lnTo>
                        <a:pt x="372" y="135"/>
                      </a:lnTo>
                      <a:lnTo>
                        <a:pt x="372" y="135"/>
                      </a:lnTo>
                      <a:lnTo>
                        <a:pt x="372" y="135"/>
                      </a:lnTo>
                      <a:lnTo>
                        <a:pt x="373" y="135"/>
                      </a:lnTo>
                      <a:lnTo>
                        <a:pt x="374" y="135"/>
                      </a:lnTo>
                      <a:lnTo>
                        <a:pt x="373" y="136"/>
                      </a:lnTo>
                      <a:lnTo>
                        <a:pt x="374" y="136"/>
                      </a:lnTo>
                      <a:lnTo>
                        <a:pt x="374" y="137"/>
                      </a:lnTo>
                      <a:lnTo>
                        <a:pt x="374" y="137"/>
                      </a:lnTo>
                      <a:lnTo>
                        <a:pt x="373" y="137"/>
                      </a:lnTo>
                      <a:lnTo>
                        <a:pt x="374" y="137"/>
                      </a:lnTo>
                      <a:lnTo>
                        <a:pt x="374" y="138"/>
                      </a:lnTo>
                      <a:lnTo>
                        <a:pt x="374" y="138"/>
                      </a:lnTo>
                      <a:lnTo>
                        <a:pt x="375" y="138"/>
                      </a:lnTo>
                      <a:lnTo>
                        <a:pt x="375" y="138"/>
                      </a:lnTo>
                      <a:lnTo>
                        <a:pt x="375" y="138"/>
                      </a:lnTo>
                      <a:lnTo>
                        <a:pt x="375" y="139"/>
                      </a:lnTo>
                      <a:lnTo>
                        <a:pt x="374" y="140"/>
                      </a:lnTo>
                      <a:lnTo>
                        <a:pt x="374" y="140"/>
                      </a:lnTo>
                      <a:lnTo>
                        <a:pt x="374" y="139"/>
                      </a:lnTo>
                      <a:lnTo>
                        <a:pt x="373" y="139"/>
                      </a:lnTo>
                      <a:lnTo>
                        <a:pt x="372" y="139"/>
                      </a:lnTo>
                      <a:lnTo>
                        <a:pt x="372" y="140"/>
                      </a:lnTo>
                      <a:lnTo>
                        <a:pt x="372" y="139"/>
                      </a:lnTo>
                      <a:lnTo>
                        <a:pt x="371" y="140"/>
                      </a:lnTo>
                      <a:lnTo>
                        <a:pt x="371" y="140"/>
                      </a:lnTo>
                      <a:lnTo>
                        <a:pt x="372" y="140"/>
                      </a:lnTo>
                      <a:lnTo>
                        <a:pt x="371" y="140"/>
                      </a:lnTo>
                      <a:lnTo>
                        <a:pt x="371" y="141"/>
                      </a:lnTo>
                      <a:lnTo>
                        <a:pt x="371" y="141"/>
                      </a:lnTo>
                      <a:lnTo>
                        <a:pt x="372" y="141"/>
                      </a:lnTo>
                      <a:lnTo>
                        <a:pt x="372" y="141"/>
                      </a:lnTo>
                      <a:lnTo>
                        <a:pt x="373" y="141"/>
                      </a:lnTo>
                      <a:lnTo>
                        <a:pt x="374" y="141"/>
                      </a:lnTo>
                      <a:lnTo>
                        <a:pt x="374" y="142"/>
                      </a:lnTo>
                      <a:lnTo>
                        <a:pt x="373" y="142"/>
                      </a:lnTo>
                      <a:lnTo>
                        <a:pt x="373" y="143"/>
                      </a:lnTo>
                      <a:lnTo>
                        <a:pt x="372" y="143"/>
                      </a:lnTo>
                      <a:lnTo>
                        <a:pt x="372" y="143"/>
                      </a:lnTo>
                      <a:lnTo>
                        <a:pt x="371" y="143"/>
                      </a:lnTo>
                      <a:lnTo>
                        <a:pt x="371" y="143"/>
                      </a:lnTo>
                      <a:lnTo>
                        <a:pt x="371" y="144"/>
                      </a:lnTo>
                      <a:lnTo>
                        <a:pt x="371" y="144"/>
                      </a:lnTo>
                      <a:lnTo>
                        <a:pt x="370" y="144"/>
                      </a:lnTo>
                      <a:lnTo>
                        <a:pt x="369" y="144"/>
                      </a:lnTo>
                      <a:lnTo>
                        <a:pt x="369" y="145"/>
                      </a:lnTo>
                      <a:lnTo>
                        <a:pt x="369" y="145"/>
                      </a:lnTo>
                      <a:lnTo>
                        <a:pt x="369" y="145"/>
                      </a:lnTo>
                      <a:lnTo>
                        <a:pt x="368" y="146"/>
                      </a:lnTo>
                      <a:lnTo>
                        <a:pt x="368" y="145"/>
                      </a:lnTo>
                      <a:lnTo>
                        <a:pt x="368" y="145"/>
                      </a:lnTo>
                      <a:lnTo>
                        <a:pt x="367" y="146"/>
                      </a:lnTo>
                      <a:lnTo>
                        <a:pt x="367" y="146"/>
                      </a:lnTo>
                      <a:lnTo>
                        <a:pt x="367" y="146"/>
                      </a:lnTo>
                      <a:lnTo>
                        <a:pt x="366" y="146"/>
                      </a:lnTo>
                      <a:lnTo>
                        <a:pt x="367" y="146"/>
                      </a:lnTo>
                      <a:lnTo>
                        <a:pt x="367" y="147"/>
                      </a:lnTo>
                      <a:lnTo>
                        <a:pt x="367" y="148"/>
                      </a:lnTo>
                      <a:lnTo>
                        <a:pt x="366" y="148"/>
                      </a:lnTo>
                      <a:lnTo>
                        <a:pt x="365" y="148"/>
                      </a:lnTo>
                      <a:lnTo>
                        <a:pt x="365" y="149"/>
                      </a:lnTo>
                      <a:lnTo>
                        <a:pt x="366" y="149"/>
                      </a:lnTo>
                      <a:lnTo>
                        <a:pt x="366" y="150"/>
                      </a:lnTo>
                      <a:lnTo>
                        <a:pt x="365" y="150"/>
                      </a:lnTo>
                      <a:lnTo>
                        <a:pt x="365" y="151"/>
                      </a:lnTo>
                      <a:lnTo>
                        <a:pt x="365" y="151"/>
                      </a:lnTo>
                      <a:lnTo>
                        <a:pt x="364" y="151"/>
                      </a:lnTo>
                      <a:lnTo>
                        <a:pt x="364" y="151"/>
                      </a:lnTo>
                      <a:lnTo>
                        <a:pt x="364" y="151"/>
                      </a:lnTo>
                      <a:lnTo>
                        <a:pt x="363" y="151"/>
                      </a:lnTo>
                      <a:lnTo>
                        <a:pt x="363" y="151"/>
                      </a:lnTo>
                      <a:lnTo>
                        <a:pt x="362" y="151"/>
                      </a:lnTo>
                      <a:lnTo>
                        <a:pt x="361" y="151"/>
                      </a:lnTo>
                      <a:lnTo>
                        <a:pt x="361" y="152"/>
                      </a:lnTo>
                      <a:lnTo>
                        <a:pt x="361" y="152"/>
                      </a:lnTo>
                      <a:lnTo>
                        <a:pt x="361" y="152"/>
                      </a:lnTo>
                      <a:lnTo>
                        <a:pt x="361" y="153"/>
                      </a:lnTo>
                      <a:lnTo>
                        <a:pt x="361" y="152"/>
                      </a:lnTo>
                      <a:lnTo>
                        <a:pt x="360" y="152"/>
                      </a:lnTo>
                      <a:lnTo>
                        <a:pt x="360" y="153"/>
                      </a:lnTo>
                      <a:lnTo>
                        <a:pt x="359" y="153"/>
                      </a:lnTo>
                      <a:lnTo>
                        <a:pt x="359" y="153"/>
                      </a:lnTo>
                      <a:lnTo>
                        <a:pt x="359" y="153"/>
                      </a:lnTo>
                      <a:lnTo>
                        <a:pt x="358" y="153"/>
                      </a:lnTo>
                      <a:lnTo>
                        <a:pt x="357" y="153"/>
                      </a:lnTo>
                      <a:lnTo>
                        <a:pt x="357" y="153"/>
                      </a:lnTo>
                      <a:lnTo>
                        <a:pt x="356" y="154"/>
                      </a:lnTo>
                      <a:lnTo>
                        <a:pt x="356" y="155"/>
                      </a:lnTo>
                      <a:lnTo>
                        <a:pt x="356" y="155"/>
                      </a:lnTo>
                      <a:lnTo>
                        <a:pt x="355" y="155"/>
                      </a:lnTo>
                      <a:lnTo>
                        <a:pt x="354" y="155"/>
                      </a:lnTo>
                      <a:lnTo>
                        <a:pt x="354" y="155"/>
                      </a:lnTo>
                      <a:lnTo>
                        <a:pt x="353" y="156"/>
                      </a:lnTo>
                      <a:lnTo>
                        <a:pt x="353" y="156"/>
                      </a:lnTo>
                      <a:lnTo>
                        <a:pt x="353" y="156"/>
                      </a:lnTo>
                      <a:lnTo>
                        <a:pt x="353" y="156"/>
                      </a:lnTo>
                      <a:lnTo>
                        <a:pt x="352" y="156"/>
                      </a:lnTo>
                      <a:lnTo>
                        <a:pt x="352" y="156"/>
                      </a:lnTo>
                      <a:lnTo>
                        <a:pt x="352" y="156"/>
                      </a:lnTo>
                      <a:lnTo>
                        <a:pt x="352" y="157"/>
                      </a:lnTo>
                      <a:lnTo>
                        <a:pt x="351" y="157"/>
                      </a:lnTo>
                      <a:lnTo>
                        <a:pt x="351" y="157"/>
                      </a:lnTo>
                      <a:lnTo>
                        <a:pt x="350" y="158"/>
                      </a:lnTo>
                      <a:lnTo>
                        <a:pt x="350" y="159"/>
                      </a:lnTo>
                      <a:lnTo>
                        <a:pt x="351" y="159"/>
                      </a:lnTo>
                      <a:lnTo>
                        <a:pt x="351" y="159"/>
                      </a:lnTo>
                      <a:lnTo>
                        <a:pt x="350" y="159"/>
                      </a:lnTo>
                      <a:lnTo>
                        <a:pt x="350" y="159"/>
                      </a:lnTo>
                      <a:lnTo>
                        <a:pt x="350" y="159"/>
                      </a:lnTo>
                      <a:lnTo>
                        <a:pt x="350" y="159"/>
                      </a:lnTo>
                      <a:lnTo>
                        <a:pt x="349" y="160"/>
                      </a:lnTo>
                      <a:lnTo>
                        <a:pt x="349" y="160"/>
                      </a:lnTo>
                      <a:lnTo>
                        <a:pt x="349" y="160"/>
                      </a:lnTo>
                      <a:lnTo>
                        <a:pt x="349" y="161"/>
                      </a:lnTo>
                      <a:lnTo>
                        <a:pt x="348" y="161"/>
                      </a:lnTo>
                      <a:lnTo>
                        <a:pt x="348" y="162"/>
                      </a:lnTo>
                      <a:lnTo>
                        <a:pt x="348" y="162"/>
                      </a:lnTo>
                      <a:lnTo>
                        <a:pt x="348" y="162"/>
                      </a:lnTo>
                      <a:lnTo>
                        <a:pt x="347" y="162"/>
                      </a:lnTo>
                      <a:lnTo>
                        <a:pt x="347" y="163"/>
                      </a:lnTo>
                      <a:lnTo>
                        <a:pt x="348" y="163"/>
                      </a:lnTo>
                      <a:lnTo>
                        <a:pt x="348" y="163"/>
                      </a:lnTo>
                      <a:lnTo>
                        <a:pt x="348" y="163"/>
                      </a:lnTo>
                      <a:lnTo>
                        <a:pt x="348" y="163"/>
                      </a:lnTo>
                      <a:lnTo>
                        <a:pt x="347" y="163"/>
                      </a:lnTo>
                      <a:lnTo>
                        <a:pt x="347" y="164"/>
                      </a:lnTo>
                      <a:lnTo>
                        <a:pt x="348" y="164"/>
                      </a:lnTo>
                      <a:lnTo>
                        <a:pt x="348" y="164"/>
                      </a:lnTo>
                      <a:lnTo>
                        <a:pt x="347" y="164"/>
                      </a:lnTo>
                      <a:lnTo>
                        <a:pt x="346" y="164"/>
                      </a:lnTo>
                      <a:lnTo>
                        <a:pt x="346" y="164"/>
                      </a:lnTo>
                      <a:lnTo>
                        <a:pt x="345" y="164"/>
                      </a:lnTo>
                      <a:lnTo>
                        <a:pt x="345" y="164"/>
                      </a:lnTo>
                      <a:lnTo>
                        <a:pt x="345" y="165"/>
                      </a:lnTo>
                      <a:lnTo>
                        <a:pt x="344" y="165"/>
                      </a:lnTo>
                      <a:lnTo>
                        <a:pt x="343" y="165"/>
                      </a:lnTo>
                      <a:lnTo>
                        <a:pt x="343" y="166"/>
                      </a:lnTo>
                      <a:lnTo>
                        <a:pt x="343" y="166"/>
                      </a:lnTo>
                      <a:lnTo>
                        <a:pt x="342" y="166"/>
                      </a:lnTo>
                      <a:lnTo>
                        <a:pt x="342" y="166"/>
                      </a:lnTo>
                      <a:lnTo>
                        <a:pt x="342" y="166"/>
                      </a:lnTo>
                      <a:lnTo>
                        <a:pt x="341" y="166"/>
                      </a:lnTo>
                      <a:lnTo>
                        <a:pt x="341" y="166"/>
                      </a:lnTo>
                      <a:lnTo>
                        <a:pt x="341" y="167"/>
                      </a:lnTo>
                      <a:lnTo>
                        <a:pt x="340" y="167"/>
                      </a:lnTo>
                      <a:lnTo>
                        <a:pt x="339" y="167"/>
                      </a:lnTo>
                      <a:lnTo>
                        <a:pt x="339" y="167"/>
                      </a:lnTo>
                      <a:lnTo>
                        <a:pt x="339" y="167"/>
                      </a:lnTo>
                      <a:lnTo>
                        <a:pt x="339" y="168"/>
                      </a:lnTo>
                      <a:lnTo>
                        <a:pt x="338" y="168"/>
                      </a:lnTo>
                      <a:lnTo>
                        <a:pt x="338" y="168"/>
                      </a:lnTo>
                      <a:lnTo>
                        <a:pt x="338" y="168"/>
                      </a:lnTo>
                      <a:lnTo>
                        <a:pt x="337" y="169"/>
                      </a:lnTo>
                      <a:lnTo>
                        <a:pt x="337" y="170"/>
                      </a:lnTo>
                      <a:lnTo>
                        <a:pt x="337" y="170"/>
                      </a:lnTo>
                      <a:lnTo>
                        <a:pt x="337" y="171"/>
                      </a:lnTo>
                      <a:lnTo>
                        <a:pt x="336" y="171"/>
                      </a:lnTo>
                      <a:lnTo>
                        <a:pt x="335" y="171"/>
                      </a:lnTo>
                      <a:lnTo>
                        <a:pt x="335" y="172"/>
                      </a:lnTo>
                      <a:lnTo>
                        <a:pt x="335" y="173"/>
                      </a:lnTo>
                      <a:lnTo>
                        <a:pt x="335" y="173"/>
                      </a:lnTo>
                      <a:lnTo>
                        <a:pt x="335" y="174"/>
                      </a:lnTo>
                      <a:lnTo>
                        <a:pt x="334" y="174"/>
                      </a:lnTo>
                      <a:lnTo>
                        <a:pt x="334" y="174"/>
                      </a:lnTo>
                      <a:lnTo>
                        <a:pt x="334" y="175"/>
                      </a:lnTo>
                      <a:lnTo>
                        <a:pt x="333" y="175"/>
                      </a:lnTo>
                      <a:lnTo>
                        <a:pt x="333" y="175"/>
                      </a:lnTo>
                      <a:lnTo>
                        <a:pt x="333" y="176"/>
                      </a:lnTo>
                      <a:lnTo>
                        <a:pt x="332" y="176"/>
                      </a:lnTo>
                      <a:lnTo>
                        <a:pt x="331" y="176"/>
                      </a:lnTo>
                      <a:lnTo>
                        <a:pt x="331" y="176"/>
                      </a:lnTo>
                      <a:lnTo>
                        <a:pt x="331" y="177"/>
                      </a:lnTo>
                      <a:lnTo>
                        <a:pt x="331" y="177"/>
                      </a:lnTo>
                      <a:lnTo>
                        <a:pt x="330" y="177"/>
                      </a:lnTo>
                      <a:lnTo>
                        <a:pt x="330" y="178"/>
                      </a:lnTo>
                      <a:lnTo>
                        <a:pt x="329" y="177"/>
                      </a:lnTo>
                      <a:lnTo>
                        <a:pt x="328" y="176"/>
                      </a:lnTo>
                      <a:lnTo>
                        <a:pt x="328" y="175"/>
                      </a:lnTo>
                      <a:lnTo>
                        <a:pt x="328" y="175"/>
                      </a:lnTo>
                      <a:lnTo>
                        <a:pt x="327" y="175"/>
                      </a:lnTo>
                      <a:lnTo>
                        <a:pt x="326" y="175"/>
                      </a:lnTo>
                      <a:lnTo>
                        <a:pt x="326" y="175"/>
                      </a:lnTo>
                      <a:lnTo>
                        <a:pt x="325" y="176"/>
                      </a:lnTo>
                      <a:lnTo>
                        <a:pt x="325" y="177"/>
                      </a:lnTo>
                      <a:lnTo>
                        <a:pt x="324" y="177"/>
                      </a:lnTo>
                      <a:lnTo>
                        <a:pt x="324" y="177"/>
                      </a:lnTo>
                      <a:lnTo>
                        <a:pt x="324" y="178"/>
                      </a:lnTo>
                      <a:lnTo>
                        <a:pt x="323" y="178"/>
                      </a:lnTo>
                      <a:lnTo>
                        <a:pt x="323" y="178"/>
                      </a:lnTo>
                      <a:lnTo>
                        <a:pt x="322" y="179"/>
                      </a:lnTo>
                      <a:lnTo>
                        <a:pt x="322" y="179"/>
                      </a:lnTo>
                      <a:lnTo>
                        <a:pt x="322" y="179"/>
                      </a:lnTo>
                      <a:lnTo>
                        <a:pt x="322" y="180"/>
                      </a:lnTo>
                      <a:lnTo>
                        <a:pt x="322" y="180"/>
                      </a:lnTo>
                      <a:lnTo>
                        <a:pt x="323" y="181"/>
                      </a:lnTo>
                      <a:lnTo>
                        <a:pt x="323" y="181"/>
                      </a:lnTo>
                      <a:lnTo>
                        <a:pt x="322" y="181"/>
                      </a:lnTo>
                      <a:lnTo>
                        <a:pt x="322" y="181"/>
                      </a:lnTo>
                      <a:lnTo>
                        <a:pt x="322" y="182"/>
                      </a:lnTo>
                      <a:lnTo>
                        <a:pt x="321" y="182"/>
                      </a:lnTo>
                      <a:lnTo>
                        <a:pt x="320" y="183"/>
                      </a:lnTo>
                      <a:lnTo>
                        <a:pt x="321" y="184"/>
                      </a:lnTo>
                      <a:lnTo>
                        <a:pt x="322" y="184"/>
                      </a:lnTo>
                      <a:lnTo>
                        <a:pt x="322" y="185"/>
                      </a:lnTo>
                      <a:lnTo>
                        <a:pt x="322" y="185"/>
                      </a:lnTo>
                      <a:lnTo>
                        <a:pt x="322" y="186"/>
                      </a:lnTo>
                      <a:lnTo>
                        <a:pt x="322" y="186"/>
                      </a:lnTo>
                      <a:lnTo>
                        <a:pt x="322" y="187"/>
                      </a:lnTo>
                      <a:lnTo>
                        <a:pt x="322" y="188"/>
                      </a:lnTo>
                      <a:lnTo>
                        <a:pt x="323" y="188"/>
                      </a:lnTo>
                      <a:lnTo>
                        <a:pt x="323" y="188"/>
                      </a:lnTo>
                      <a:lnTo>
                        <a:pt x="323" y="189"/>
                      </a:lnTo>
                      <a:lnTo>
                        <a:pt x="323" y="190"/>
                      </a:lnTo>
                      <a:lnTo>
                        <a:pt x="322" y="190"/>
                      </a:lnTo>
                      <a:lnTo>
                        <a:pt x="321" y="191"/>
                      </a:lnTo>
                      <a:lnTo>
                        <a:pt x="322" y="192"/>
                      </a:lnTo>
                      <a:lnTo>
                        <a:pt x="321" y="192"/>
                      </a:lnTo>
                      <a:lnTo>
                        <a:pt x="321" y="193"/>
                      </a:lnTo>
                      <a:lnTo>
                        <a:pt x="321" y="193"/>
                      </a:lnTo>
                      <a:lnTo>
                        <a:pt x="321" y="194"/>
                      </a:lnTo>
                      <a:lnTo>
                        <a:pt x="320" y="196"/>
                      </a:lnTo>
                      <a:lnTo>
                        <a:pt x="320" y="197"/>
                      </a:lnTo>
                      <a:lnTo>
                        <a:pt x="319" y="198"/>
                      </a:lnTo>
                      <a:lnTo>
                        <a:pt x="320" y="199"/>
                      </a:lnTo>
                      <a:lnTo>
                        <a:pt x="319" y="199"/>
                      </a:lnTo>
                      <a:lnTo>
                        <a:pt x="319" y="199"/>
                      </a:lnTo>
                      <a:lnTo>
                        <a:pt x="319" y="200"/>
                      </a:lnTo>
                      <a:lnTo>
                        <a:pt x="320" y="200"/>
                      </a:lnTo>
                      <a:lnTo>
                        <a:pt x="319" y="200"/>
                      </a:lnTo>
                      <a:lnTo>
                        <a:pt x="319" y="201"/>
                      </a:lnTo>
                      <a:lnTo>
                        <a:pt x="319" y="201"/>
                      </a:lnTo>
                      <a:lnTo>
                        <a:pt x="319" y="202"/>
                      </a:lnTo>
                      <a:lnTo>
                        <a:pt x="319" y="202"/>
                      </a:lnTo>
                      <a:lnTo>
                        <a:pt x="318" y="203"/>
                      </a:lnTo>
                      <a:lnTo>
                        <a:pt x="319" y="203"/>
                      </a:lnTo>
                      <a:lnTo>
                        <a:pt x="319" y="203"/>
                      </a:lnTo>
                      <a:lnTo>
                        <a:pt x="319" y="204"/>
                      </a:lnTo>
                      <a:lnTo>
                        <a:pt x="320" y="204"/>
                      </a:lnTo>
                      <a:lnTo>
                        <a:pt x="320" y="204"/>
                      </a:lnTo>
                      <a:lnTo>
                        <a:pt x="320" y="205"/>
                      </a:lnTo>
                      <a:lnTo>
                        <a:pt x="320" y="206"/>
                      </a:lnTo>
                      <a:lnTo>
                        <a:pt x="320" y="207"/>
                      </a:lnTo>
                      <a:lnTo>
                        <a:pt x="320" y="207"/>
                      </a:lnTo>
                      <a:lnTo>
                        <a:pt x="320" y="208"/>
                      </a:lnTo>
                      <a:lnTo>
                        <a:pt x="320" y="209"/>
                      </a:lnTo>
                      <a:lnTo>
                        <a:pt x="321" y="209"/>
                      </a:lnTo>
                      <a:lnTo>
                        <a:pt x="322" y="210"/>
                      </a:lnTo>
                      <a:lnTo>
                        <a:pt x="322" y="210"/>
                      </a:lnTo>
                      <a:lnTo>
                        <a:pt x="322" y="211"/>
                      </a:lnTo>
                      <a:lnTo>
                        <a:pt x="322" y="211"/>
                      </a:lnTo>
                      <a:lnTo>
                        <a:pt x="322" y="212"/>
                      </a:lnTo>
                      <a:lnTo>
                        <a:pt x="321" y="212"/>
                      </a:lnTo>
                      <a:lnTo>
                        <a:pt x="321" y="213"/>
                      </a:lnTo>
                      <a:lnTo>
                        <a:pt x="320" y="214"/>
                      </a:lnTo>
                      <a:lnTo>
                        <a:pt x="320" y="214"/>
                      </a:lnTo>
                      <a:lnTo>
                        <a:pt x="320" y="215"/>
                      </a:lnTo>
                      <a:lnTo>
                        <a:pt x="320" y="215"/>
                      </a:lnTo>
                      <a:lnTo>
                        <a:pt x="320" y="216"/>
                      </a:lnTo>
                      <a:lnTo>
                        <a:pt x="320" y="216"/>
                      </a:lnTo>
                      <a:lnTo>
                        <a:pt x="320" y="217"/>
                      </a:lnTo>
                      <a:lnTo>
                        <a:pt x="320" y="218"/>
                      </a:lnTo>
                      <a:lnTo>
                        <a:pt x="320" y="218"/>
                      </a:lnTo>
                      <a:lnTo>
                        <a:pt x="320" y="218"/>
                      </a:lnTo>
                      <a:lnTo>
                        <a:pt x="319" y="218"/>
                      </a:lnTo>
                      <a:lnTo>
                        <a:pt x="319" y="219"/>
                      </a:lnTo>
                      <a:lnTo>
                        <a:pt x="320" y="219"/>
                      </a:lnTo>
                      <a:lnTo>
                        <a:pt x="320" y="220"/>
                      </a:lnTo>
                      <a:lnTo>
                        <a:pt x="319" y="221"/>
                      </a:lnTo>
                      <a:lnTo>
                        <a:pt x="319" y="221"/>
                      </a:lnTo>
                      <a:lnTo>
                        <a:pt x="320" y="222"/>
                      </a:lnTo>
                      <a:lnTo>
                        <a:pt x="320" y="222"/>
                      </a:lnTo>
                      <a:lnTo>
                        <a:pt x="320" y="223"/>
                      </a:lnTo>
                      <a:lnTo>
                        <a:pt x="320" y="223"/>
                      </a:lnTo>
                      <a:lnTo>
                        <a:pt x="320" y="223"/>
                      </a:lnTo>
                      <a:lnTo>
                        <a:pt x="320" y="224"/>
                      </a:lnTo>
                      <a:lnTo>
                        <a:pt x="320" y="225"/>
                      </a:lnTo>
                      <a:lnTo>
                        <a:pt x="319" y="225"/>
                      </a:lnTo>
                      <a:lnTo>
                        <a:pt x="319" y="225"/>
                      </a:lnTo>
                      <a:lnTo>
                        <a:pt x="319" y="226"/>
                      </a:lnTo>
                      <a:lnTo>
                        <a:pt x="319" y="226"/>
                      </a:lnTo>
                      <a:lnTo>
                        <a:pt x="319" y="227"/>
                      </a:lnTo>
                      <a:lnTo>
                        <a:pt x="319" y="227"/>
                      </a:lnTo>
                      <a:lnTo>
                        <a:pt x="319" y="227"/>
                      </a:lnTo>
                      <a:lnTo>
                        <a:pt x="319" y="228"/>
                      </a:lnTo>
                      <a:lnTo>
                        <a:pt x="319" y="229"/>
                      </a:lnTo>
                      <a:lnTo>
                        <a:pt x="319" y="229"/>
                      </a:lnTo>
                      <a:lnTo>
                        <a:pt x="319" y="230"/>
                      </a:lnTo>
                      <a:lnTo>
                        <a:pt x="320" y="230"/>
                      </a:lnTo>
                      <a:lnTo>
                        <a:pt x="320" y="230"/>
                      </a:lnTo>
                      <a:lnTo>
                        <a:pt x="320" y="230"/>
                      </a:lnTo>
                      <a:lnTo>
                        <a:pt x="320" y="231"/>
                      </a:lnTo>
                      <a:lnTo>
                        <a:pt x="320" y="232"/>
                      </a:lnTo>
                      <a:lnTo>
                        <a:pt x="320" y="232"/>
                      </a:lnTo>
                      <a:lnTo>
                        <a:pt x="320" y="233"/>
                      </a:lnTo>
                      <a:lnTo>
                        <a:pt x="320" y="233"/>
                      </a:lnTo>
                      <a:lnTo>
                        <a:pt x="320" y="234"/>
                      </a:lnTo>
                      <a:lnTo>
                        <a:pt x="320" y="235"/>
                      </a:lnTo>
                      <a:lnTo>
                        <a:pt x="320" y="236"/>
                      </a:lnTo>
                      <a:lnTo>
                        <a:pt x="319" y="236"/>
                      </a:lnTo>
                      <a:lnTo>
                        <a:pt x="319" y="236"/>
                      </a:lnTo>
                      <a:lnTo>
                        <a:pt x="319" y="237"/>
                      </a:lnTo>
                      <a:lnTo>
                        <a:pt x="318" y="237"/>
                      </a:lnTo>
                      <a:lnTo>
                        <a:pt x="318" y="238"/>
                      </a:lnTo>
                      <a:lnTo>
                        <a:pt x="318" y="238"/>
                      </a:lnTo>
                      <a:lnTo>
                        <a:pt x="318" y="239"/>
                      </a:lnTo>
                      <a:lnTo>
                        <a:pt x="318" y="240"/>
                      </a:lnTo>
                      <a:lnTo>
                        <a:pt x="318" y="240"/>
                      </a:lnTo>
                      <a:lnTo>
                        <a:pt x="318" y="241"/>
                      </a:lnTo>
                      <a:lnTo>
                        <a:pt x="317" y="241"/>
                      </a:lnTo>
                      <a:lnTo>
                        <a:pt x="317" y="242"/>
                      </a:lnTo>
                      <a:lnTo>
                        <a:pt x="316" y="243"/>
                      </a:lnTo>
                      <a:lnTo>
                        <a:pt x="316" y="243"/>
                      </a:lnTo>
                      <a:lnTo>
                        <a:pt x="317" y="243"/>
                      </a:lnTo>
                      <a:lnTo>
                        <a:pt x="316" y="244"/>
                      </a:lnTo>
                      <a:lnTo>
                        <a:pt x="316" y="243"/>
                      </a:lnTo>
                      <a:lnTo>
                        <a:pt x="315" y="244"/>
                      </a:lnTo>
                      <a:lnTo>
                        <a:pt x="315" y="245"/>
                      </a:lnTo>
                      <a:lnTo>
                        <a:pt x="314" y="245"/>
                      </a:lnTo>
                      <a:lnTo>
                        <a:pt x="313" y="247"/>
                      </a:lnTo>
                      <a:lnTo>
                        <a:pt x="313" y="247"/>
                      </a:lnTo>
                      <a:lnTo>
                        <a:pt x="312" y="247"/>
                      </a:lnTo>
                      <a:lnTo>
                        <a:pt x="312" y="248"/>
                      </a:lnTo>
                      <a:lnTo>
                        <a:pt x="312" y="249"/>
                      </a:lnTo>
                      <a:lnTo>
                        <a:pt x="311" y="249"/>
                      </a:lnTo>
                      <a:lnTo>
                        <a:pt x="312" y="249"/>
                      </a:lnTo>
                      <a:lnTo>
                        <a:pt x="312" y="249"/>
                      </a:lnTo>
                      <a:lnTo>
                        <a:pt x="313" y="250"/>
                      </a:lnTo>
                      <a:lnTo>
                        <a:pt x="313" y="251"/>
                      </a:lnTo>
                      <a:lnTo>
                        <a:pt x="313" y="251"/>
                      </a:lnTo>
                      <a:lnTo>
                        <a:pt x="314" y="252"/>
                      </a:lnTo>
                      <a:lnTo>
                        <a:pt x="315" y="252"/>
                      </a:lnTo>
                      <a:lnTo>
                        <a:pt x="315" y="252"/>
                      </a:lnTo>
                      <a:lnTo>
                        <a:pt x="316" y="252"/>
                      </a:lnTo>
                      <a:lnTo>
                        <a:pt x="317" y="252"/>
                      </a:lnTo>
                      <a:lnTo>
                        <a:pt x="317" y="253"/>
                      </a:lnTo>
                      <a:lnTo>
                        <a:pt x="318" y="254"/>
                      </a:lnTo>
                      <a:lnTo>
                        <a:pt x="318" y="254"/>
                      </a:lnTo>
                      <a:lnTo>
                        <a:pt x="318" y="255"/>
                      </a:lnTo>
                      <a:lnTo>
                        <a:pt x="318" y="255"/>
                      </a:lnTo>
                      <a:lnTo>
                        <a:pt x="318" y="256"/>
                      </a:lnTo>
                      <a:lnTo>
                        <a:pt x="318" y="256"/>
                      </a:lnTo>
                      <a:lnTo>
                        <a:pt x="318" y="257"/>
                      </a:lnTo>
                      <a:lnTo>
                        <a:pt x="318" y="257"/>
                      </a:lnTo>
                      <a:lnTo>
                        <a:pt x="317" y="257"/>
                      </a:lnTo>
                      <a:lnTo>
                        <a:pt x="317" y="258"/>
                      </a:lnTo>
                      <a:lnTo>
                        <a:pt x="318" y="258"/>
                      </a:lnTo>
                      <a:lnTo>
                        <a:pt x="318" y="259"/>
                      </a:lnTo>
                      <a:lnTo>
                        <a:pt x="318" y="259"/>
                      </a:lnTo>
                      <a:lnTo>
                        <a:pt x="318" y="259"/>
                      </a:lnTo>
                      <a:lnTo>
                        <a:pt x="319" y="259"/>
                      </a:lnTo>
                      <a:lnTo>
                        <a:pt x="319" y="259"/>
                      </a:lnTo>
                      <a:lnTo>
                        <a:pt x="320" y="259"/>
                      </a:lnTo>
                      <a:lnTo>
                        <a:pt x="320" y="260"/>
                      </a:lnTo>
                      <a:lnTo>
                        <a:pt x="320" y="260"/>
                      </a:lnTo>
                      <a:lnTo>
                        <a:pt x="320" y="262"/>
                      </a:lnTo>
                      <a:lnTo>
                        <a:pt x="320" y="263"/>
                      </a:lnTo>
                      <a:lnTo>
                        <a:pt x="319" y="263"/>
                      </a:lnTo>
                      <a:lnTo>
                        <a:pt x="319" y="263"/>
                      </a:lnTo>
                      <a:lnTo>
                        <a:pt x="318" y="264"/>
                      </a:lnTo>
                      <a:lnTo>
                        <a:pt x="318" y="265"/>
                      </a:lnTo>
                      <a:lnTo>
                        <a:pt x="317" y="266"/>
                      </a:lnTo>
                      <a:lnTo>
                        <a:pt x="316" y="266"/>
                      </a:lnTo>
                      <a:lnTo>
                        <a:pt x="316" y="266"/>
                      </a:lnTo>
                      <a:lnTo>
                        <a:pt x="315" y="266"/>
                      </a:lnTo>
                      <a:lnTo>
                        <a:pt x="315" y="266"/>
                      </a:lnTo>
                      <a:lnTo>
                        <a:pt x="315" y="266"/>
                      </a:lnTo>
                      <a:lnTo>
                        <a:pt x="314" y="267"/>
                      </a:lnTo>
                      <a:lnTo>
                        <a:pt x="314" y="267"/>
                      </a:lnTo>
                      <a:lnTo>
                        <a:pt x="314" y="268"/>
                      </a:lnTo>
                      <a:lnTo>
                        <a:pt x="313" y="268"/>
                      </a:lnTo>
                      <a:lnTo>
                        <a:pt x="313" y="269"/>
                      </a:lnTo>
                      <a:lnTo>
                        <a:pt x="314" y="269"/>
                      </a:lnTo>
                      <a:lnTo>
                        <a:pt x="314" y="270"/>
                      </a:lnTo>
                      <a:lnTo>
                        <a:pt x="315" y="270"/>
                      </a:lnTo>
                      <a:lnTo>
                        <a:pt x="315" y="270"/>
                      </a:lnTo>
                      <a:lnTo>
                        <a:pt x="316" y="270"/>
                      </a:lnTo>
                      <a:lnTo>
                        <a:pt x="316" y="271"/>
                      </a:lnTo>
                      <a:lnTo>
                        <a:pt x="316" y="271"/>
                      </a:lnTo>
                      <a:lnTo>
                        <a:pt x="315" y="272"/>
                      </a:lnTo>
                      <a:lnTo>
                        <a:pt x="313" y="274"/>
                      </a:lnTo>
                      <a:lnTo>
                        <a:pt x="312" y="274"/>
                      </a:lnTo>
                      <a:lnTo>
                        <a:pt x="312" y="273"/>
                      </a:lnTo>
                      <a:lnTo>
                        <a:pt x="310" y="272"/>
                      </a:lnTo>
                      <a:lnTo>
                        <a:pt x="309" y="273"/>
                      </a:lnTo>
                      <a:lnTo>
                        <a:pt x="309" y="273"/>
                      </a:lnTo>
                      <a:lnTo>
                        <a:pt x="309" y="273"/>
                      </a:lnTo>
                      <a:lnTo>
                        <a:pt x="309" y="274"/>
                      </a:lnTo>
                      <a:lnTo>
                        <a:pt x="308" y="274"/>
                      </a:lnTo>
                      <a:lnTo>
                        <a:pt x="308" y="275"/>
                      </a:lnTo>
                      <a:lnTo>
                        <a:pt x="309" y="275"/>
                      </a:lnTo>
                      <a:lnTo>
                        <a:pt x="308" y="277"/>
                      </a:lnTo>
                      <a:lnTo>
                        <a:pt x="308" y="277"/>
                      </a:lnTo>
                      <a:lnTo>
                        <a:pt x="309" y="277"/>
                      </a:lnTo>
                      <a:lnTo>
                        <a:pt x="309" y="278"/>
                      </a:lnTo>
                      <a:lnTo>
                        <a:pt x="309" y="278"/>
                      </a:lnTo>
                      <a:lnTo>
                        <a:pt x="308" y="278"/>
                      </a:lnTo>
                      <a:lnTo>
                        <a:pt x="309" y="278"/>
                      </a:lnTo>
                      <a:lnTo>
                        <a:pt x="309" y="279"/>
                      </a:lnTo>
                      <a:lnTo>
                        <a:pt x="309" y="279"/>
                      </a:lnTo>
                      <a:lnTo>
                        <a:pt x="309" y="280"/>
                      </a:lnTo>
                      <a:lnTo>
                        <a:pt x="309" y="280"/>
                      </a:lnTo>
                      <a:lnTo>
                        <a:pt x="309" y="280"/>
                      </a:lnTo>
                      <a:lnTo>
                        <a:pt x="309" y="280"/>
                      </a:lnTo>
                      <a:lnTo>
                        <a:pt x="309" y="280"/>
                      </a:lnTo>
                      <a:lnTo>
                        <a:pt x="308" y="280"/>
                      </a:lnTo>
                      <a:lnTo>
                        <a:pt x="309" y="280"/>
                      </a:lnTo>
                      <a:lnTo>
                        <a:pt x="309" y="280"/>
                      </a:lnTo>
                      <a:lnTo>
                        <a:pt x="308" y="280"/>
                      </a:lnTo>
                      <a:lnTo>
                        <a:pt x="308" y="280"/>
                      </a:lnTo>
                      <a:lnTo>
                        <a:pt x="308" y="280"/>
                      </a:lnTo>
                      <a:lnTo>
                        <a:pt x="307" y="281"/>
                      </a:lnTo>
                      <a:lnTo>
                        <a:pt x="307" y="281"/>
                      </a:lnTo>
                      <a:lnTo>
                        <a:pt x="307" y="282"/>
                      </a:lnTo>
                      <a:lnTo>
                        <a:pt x="306" y="282"/>
                      </a:lnTo>
                      <a:lnTo>
                        <a:pt x="305" y="282"/>
                      </a:lnTo>
                      <a:lnTo>
                        <a:pt x="305" y="282"/>
                      </a:lnTo>
                      <a:lnTo>
                        <a:pt x="304" y="282"/>
                      </a:lnTo>
                      <a:lnTo>
                        <a:pt x="304" y="282"/>
                      </a:lnTo>
                      <a:lnTo>
                        <a:pt x="304" y="282"/>
                      </a:lnTo>
                      <a:lnTo>
                        <a:pt x="303" y="282"/>
                      </a:lnTo>
                      <a:lnTo>
                        <a:pt x="302" y="282"/>
                      </a:lnTo>
                      <a:lnTo>
                        <a:pt x="302" y="283"/>
                      </a:lnTo>
                      <a:lnTo>
                        <a:pt x="303" y="284"/>
                      </a:lnTo>
                      <a:lnTo>
                        <a:pt x="303" y="284"/>
                      </a:lnTo>
                      <a:lnTo>
                        <a:pt x="303" y="285"/>
                      </a:lnTo>
                      <a:lnTo>
                        <a:pt x="304" y="285"/>
                      </a:lnTo>
                      <a:lnTo>
                        <a:pt x="304" y="285"/>
                      </a:lnTo>
                      <a:lnTo>
                        <a:pt x="304" y="285"/>
                      </a:lnTo>
                      <a:lnTo>
                        <a:pt x="304" y="286"/>
                      </a:lnTo>
                      <a:lnTo>
                        <a:pt x="304" y="286"/>
                      </a:lnTo>
                      <a:lnTo>
                        <a:pt x="304" y="286"/>
                      </a:lnTo>
                      <a:lnTo>
                        <a:pt x="304" y="286"/>
                      </a:lnTo>
                      <a:lnTo>
                        <a:pt x="304" y="287"/>
                      </a:lnTo>
                      <a:lnTo>
                        <a:pt x="304" y="288"/>
                      </a:lnTo>
                      <a:lnTo>
                        <a:pt x="303" y="288"/>
                      </a:lnTo>
                      <a:lnTo>
                        <a:pt x="303" y="289"/>
                      </a:lnTo>
                      <a:lnTo>
                        <a:pt x="304" y="289"/>
                      </a:lnTo>
                      <a:lnTo>
                        <a:pt x="304" y="289"/>
                      </a:lnTo>
                      <a:lnTo>
                        <a:pt x="304" y="289"/>
                      </a:lnTo>
                      <a:lnTo>
                        <a:pt x="304" y="290"/>
                      </a:lnTo>
                      <a:lnTo>
                        <a:pt x="304" y="290"/>
                      </a:lnTo>
                      <a:lnTo>
                        <a:pt x="304" y="290"/>
                      </a:lnTo>
                      <a:lnTo>
                        <a:pt x="304" y="291"/>
                      </a:lnTo>
                      <a:lnTo>
                        <a:pt x="305" y="291"/>
                      </a:lnTo>
                      <a:lnTo>
                        <a:pt x="305" y="291"/>
                      </a:lnTo>
                      <a:lnTo>
                        <a:pt x="304" y="292"/>
                      </a:lnTo>
                      <a:lnTo>
                        <a:pt x="305" y="292"/>
                      </a:lnTo>
                      <a:lnTo>
                        <a:pt x="305" y="292"/>
                      </a:lnTo>
                      <a:lnTo>
                        <a:pt x="305" y="292"/>
                      </a:lnTo>
                      <a:lnTo>
                        <a:pt x="306" y="292"/>
                      </a:lnTo>
                      <a:lnTo>
                        <a:pt x="306" y="292"/>
                      </a:lnTo>
                      <a:lnTo>
                        <a:pt x="307" y="292"/>
                      </a:lnTo>
                      <a:lnTo>
                        <a:pt x="307" y="292"/>
                      </a:lnTo>
                      <a:lnTo>
                        <a:pt x="308" y="292"/>
                      </a:lnTo>
                      <a:lnTo>
                        <a:pt x="308" y="292"/>
                      </a:lnTo>
                      <a:lnTo>
                        <a:pt x="309" y="292"/>
                      </a:lnTo>
                      <a:lnTo>
                        <a:pt x="309" y="292"/>
                      </a:lnTo>
                      <a:lnTo>
                        <a:pt x="309" y="292"/>
                      </a:lnTo>
                      <a:lnTo>
                        <a:pt x="310" y="292"/>
                      </a:lnTo>
                      <a:lnTo>
                        <a:pt x="311" y="292"/>
                      </a:lnTo>
                      <a:lnTo>
                        <a:pt x="311" y="292"/>
                      </a:lnTo>
                      <a:lnTo>
                        <a:pt x="311" y="292"/>
                      </a:lnTo>
                      <a:lnTo>
                        <a:pt x="311" y="292"/>
                      </a:lnTo>
                      <a:lnTo>
                        <a:pt x="312" y="292"/>
                      </a:lnTo>
                      <a:lnTo>
                        <a:pt x="312" y="292"/>
                      </a:lnTo>
                      <a:lnTo>
                        <a:pt x="311" y="292"/>
                      </a:lnTo>
                      <a:lnTo>
                        <a:pt x="312" y="292"/>
                      </a:lnTo>
                      <a:lnTo>
                        <a:pt x="312" y="292"/>
                      </a:lnTo>
                      <a:lnTo>
                        <a:pt x="313" y="292"/>
                      </a:lnTo>
                      <a:lnTo>
                        <a:pt x="313" y="291"/>
                      </a:lnTo>
                      <a:lnTo>
                        <a:pt x="313" y="291"/>
                      </a:lnTo>
                      <a:lnTo>
                        <a:pt x="313" y="292"/>
                      </a:lnTo>
                      <a:lnTo>
                        <a:pt x="314" y="292"/>
                      </a:lnTo>
                      <a:lnTo>
                        <a:pt x="315" y="292"/>
                      </a:lnTo>
                      <a:lnTo>
                        <a:pt x="315" y="292"/>
                      </a:lnTo>
                      <a:lnTo>
                        <a:pt x="315" y="292"/>
                      </a:lnTo>
                      <a:lnTo>
                        <a:pt x="316" y="292"/>
                      </a:lnTo>
                      <a:lnTo>
                        <a:pt x="316" y="293"/>
                      </a:lnTo>
                      <a:lnTo>
                        <a:pt x="316" y="293"/>
                      </a:lnTo>
                      <a:lnTo>
                        <a:pt x="316" y="292"/>
                      </a:lnTo>
                      <a:lnTo>
                        <a:pt x="317" y="292"/>
                      </a:lnTo>
                      <a:lnTo>
                        <a:pt x="317" y="291"/>
                      </a:lnTo>
                      <a:lnTo>
                        <a:pt x="317" y="292"/>
                      </a:lnTo>
                      <a:lnTo>
                        <a:pt x="318" y="292"/>
                      </a:lnTo>
                      <a:lnTo>
                        <a:pt x="318" y="292"/>
                      </a:lnTo>
                      <a:lnTo>
                        <a:pt x="319" y="292"/>
                      </a:lnTo>
                      <a:lnTo>
                        <a:pt x="319" y="291"/>
                      </a:lnTo>
                      <a:lnTo>
                        <a:pt x="319" y="292"/>
                      </a:lnTo>
                      <a:lnTo>
                        <a:pt x="319" y="291"/>
                      </a:lnTo>
                      <a:lnTo>
                        <a:pt x="319" y="292"/>
                      </a:lnTo>
                      <a:lnTo>
                        <a:pt x="319" y="292"/>
                      </a:lnTo>
                      <a:lnTo>
                        <a:pt x="319" y="293"/>
                      </a:lnTo>
                      <a:lnTo>
                        <a:pt x="319" y="293"/>
                      </a:lnTo>
                      <a:lnTo>
                        <a:pt x="318" y="293"/>
                      </a:lnTo>
                      <a:lnTo>
                        <a:pt x="318" y="293"/>
                      </a:lnTo>
                      <a:lnTo>
                        <a:pt x="318" y="294"/>
                      </a:lnTo>
                      <a:lnTo>
                        <a:pt x="319" y="294"/>
                      </a:lnTo>
                      <a:lnTo>
                        <a:pt x="319" y="295"/>
                      </a:lnTo>
                      <a:lnTo>
                        <a:pt x="318" y="295"/>
                      </a:lnTo>
                      <a:lnTo>
                        <a:pt x="318" y="295"/>
                      </a:lnTo>
                      <a:lnTo>
                        <a:pt x="319" y="295"/>
                      </a:lnTo>
                      <a:lnTo>
                        <a:pt x="318" y="296"/>
                      </a:lnTo>
                      <a:lnTo>
                        <a:pt x="318" y="296"/>
                      </a:lnTo>
                      <a:lnTo>
                        <a:pt x="318" y="296"/>
                      </a:lnTo>
                      <a:lnTo>
                        <a:pt x="319" y="296"/>
                      </a:lnTo>
                      <a:lnTo>
                        <a:pt x="319" y="296"/>
                      </a:lnTo>
                      <a:lnTo>
                        <a:pt x="319" y="297"/>
                      </a:lnTo>
                      <a:lnTo>
                        <a:pt x="319" y="297"/>
                      </a:lnTo>
                      <a:lnTo>
                        <a:pt x="319" y="297"/>
                      </a:lnTo>
                      <a:lnTo>
                        <a:pt x="319" y="297"/>
                      </a:lnTo>
                      <a:lnTo>
                        <a:pt x="319" y="298"/>
                      </a:lnTo>
                      <a:lnTo>
                        <a:pt x="319" y="298"/>
                      </a:lnTo>
                      <a:lnTo>
                        <a:pt x="319" y="299"/>
                      </a:lnTo>
                      <a:lnTo>
                        <a:pt x="319" y="298"/>
                      </a:lnTo>
                      <a:lnTo>
                        <a:pt x="320" y="298"/>
                      </a:lnTo>
                      <a:lnTo>
                        <a:pt x="320" y="298"/>
                      </a:lnTo>
                      <a:lnTo>
                        <a:pt x="320" y="299"/>
                      </a:lnTo>
                      <a:lnTo>
                        <a:pt x="321" y="299"/>
                      </a:lnTo>
                      <a:lnTo>
                        <a:pt x="322" y="299"/>
                      </a:lnTo>
                      <a:lnTo>
                        <a:pt x="322" y="298"/>
                      </a:lnTo>
                      <a:lnTo>
                        <a:pt x="322" y="299"/>
                      </a:lnTo>
                      <a:lnTo>
                        <a:pt x="322" y="299"/>
                      </a:lnTo>
                      <a:lnTo>
                        <a:pt x="322" y="299"/>
                      </a:lnTo>
                      <a:lnTo>
                        <a:pt x="322" y="299"/>
                      </a:lnTo>
                      <a:lnTo>
                        <a:pt x="321" y="299"/>
                      </a:lnTo>
                      <a:lnTo>
                        <a:pt x="321" y="300"/>
                      </a:lnTo>
                      <a:lnTo>
                        <a:pt x="320" y="300"/>
                      </a:lnTo>
                      <a:lnTo>
                        <a:pt x="320" y="300"/>
                      </a:lnTo>
                      <a:lnTo>
                        <a:pt x="319" y="300"/>
                      </a:lnTo>
                      <a:lnTo>
                        <a:pt x="319" y="300"/>
                      </a:lnTo>
                      <a:lnTo>
                        <a:pt x="318" y="300"/>
                      </a:lnTo>
                      <a:lnTo>
                        <a:pt x="318" y="300"/>
                      </a:lnTo>
                      <a:lnTo>
                        <a:pt x="318" y="301"/>
                      </a:lnTo>
                      <a:lnTo>
                        <a:pt x="318" y="302"/>
                      </a:lnTo>
                      <a:lnTo>
                        <a:pt x="318" y="302"/>
                      </a:lnTo>
                      <a:lnTo>
                        <a:pt x="318" y="302"/>
                      </a:lnTo>
                      <a:lnTo>
                        <a:pt x="318" y="302"/>
                      </a:lnTo>
                      <a:lnTo>
                        <a:pt x="318" y="302"/>
                      </a:lnTo>
                      <a:lnTo>
                        <a:pt x="317" y="302"/>
                      </a:lnTo>
                      <a:lnTo>
                        <a:pt x="317" y="303"/>
                      </a:lnTo>
                      <a:lnTo>
                        <a:pt x="316" y="303"/>
                      </a:lnTo>
                      <a:lnTo>
                        <a:pt x="316" y="302"/>
                      </a:lnTo>
                      <a:lnTo>
                        <a:pt x="316" y="302"/>
                      </a:lnTo>
                      <a:lnTo>
                        <a:pt x="316" y="302"/>
                      </a:lnTo>
                      <a:lnTo>
                        <a:pt x="315" y="302"/>
                      </a:lnTo>
                      <a:lnTo>
                        <a:pt x="315" y="302"/>
                      </a:lnTo>
                      <a:lnTo>
                        <a:pt x="316" y="302"/>
                      </a:lnTo>
                      <a:lnTo>
                        <a:pt x="316" y="302"/>
                      </a:lnTo>
                      <a:lnTo>
                        <a:pt x="316" y="303"/>
                      </a:lnTo>
                      <a:lnTo>
                        <a:pt x="316" y="303"/>
                      </a:lnTo>
                      <a:lnTo>
                        <a:pt x="316" y="302"/>
                      </a:lnTo>
                      <a:lnTo>
                        <a:pt x="315" y="302"/>
                      </a:lnTo>
                      <a:lnTo>
                        <a:pt x="315" y="302"/>
                      </a:lnTo>
                      <a:lnTo>
                        <a:pt x="314" y="303"/>
                      </a:lnTo>
                      <a:lnTo>
                        <a:pt x="315" y="303"/>
                      </a:lnTo>
                      <a:lnTo>
                        <a:pt x="315" y="304"/>
                      </a:lnTo>
                      <a:lnTo>
                        <a:pt x="314" y="304"/>
                      </a:lnTo>
                      <a:lnTo>
                        <a:pt x="314" y="303"/>
                      </a:lnTo>
                      <a:lnTo>
                        <a:pt x="313" y="303"/>
                      </a:lnTo>
                      <a:lnTo>
                        <a:pt x="313" y="304"/>
                      </a:lnTo>
                      <a:lnTo>
                        <a:pt x="314" y="304"/>
                      </a:lnTo>
                      <a:lnTo>
                        <a:pt x="314" y="304"/>
                      </a:lnTo>
                      <a:lnTo>
                        <a:pt x="315" y="304"/>
                      </a:lnTo>
                      <a:lnTo>
                        <a:pt x="315" y="305"/>
                      </a:lnTo>
                      <a:lnTo>
                        <a:pt x="315" y="305"/>
                      </a:lnTo>
                      <a:lnTo>
                        <a:pt x="315" y="305"/>
                      </a:lnTo>
                      <a:lnTo>
                        <a:pt x="315" y="306"/>
                      </a:lnTo>
                      <a:lnTo>
                        <a:pt x="315" y="306"/>
                      </a:lnTo>
                      <a:lnTo>
                        <a:pt x="315" y="306"/>
                      </a:lnTo>
                      <a:lnTo>
                        <a:pt x="314" y="306"/>
                      </a:lnTo>
                      <a:lnTo>
                        <a:pt x="313" y="306"/>
                      </a:lnTo>
                      <a:lnTo>
                        <a:pt x="313" y="306"/>
                      </a:lnTo>
                      <a:lnTo>
                        <a:pt x="313" y="306"/>
                      </a:lnTo>
                      <a:lnTo>
                        <a:pt x="312" y="306"/>
                      </a:lnTo>
                      <a:lnTo>
                        <a:pt x="312" y="305"/>
                      </a:lnTo>
                      <a:lnTo>
                        <a:pt x="312" y="304"/>
                      </a:lnTo>
                      <a:lnTo>
                        <a:pt x="312" y="304"/>
                      </a:lnTo>
                      <a:lnTo>
                        <a:pt x="311" y="304"/>
                      </a:lnTo>
                      <a:lnTo>
                        <a:pt x="311" y="304"/>
                      </a:lnTo>
                      <a:lnTo>
                        <a:pt x="310" y="304"/>
                      </a:lnTo>
                      <a:lnTo>
                        <a:pt x="310" y="304"/>
                      </a:lnTo>
                      <a:lnTo>
                        <a:pt x="309" y="304"/>
                      </a:lnTo>
                      <a:lnTo>
                        <a:pt x="310" y="304"/>
                      </a:lnTo>
                      <a:lnTo>
                        <a:pt x="310" y="305"/>
                      </a:lnTo>
                      <a:lnTo>
                        <a:pt x="310" y="304"/>
                      </a:lnTo>
                      <a:lnTo>
                        <a:pt x="310" y="305"/>
                      </a:lnTo>
                      <a:lnTo>
                        <a:pt x="310" y="306"/>
                      </a:lnTo>
                      <a:lnTo>
                        <a:pt x="309" y="306"/>
                      </a:lnTo>
                      <a:lnTo>
                        <a:pt x="309" y="306"/>
                      </a:lnTo>
                      <a:lnTo>
                        <a:pt x="310" y="306"/>
                      </a:lnTo>
                      <a:lnTo>
                        <a:pt x="309" y="306"/>
                      </a:lnTo>
                      <a:lnTo>
                        <a:pt x="309" y="307"/>
                      </a:lnTo>
                      <a:lnTo>
                        <a:pt x="309" y="307"/>
                      </a:lnTo>
                      <a:lnTo>
                        <a:pt x="308" y="307"/>
                      </a:lnTo>
                      <a:lnTo>
                        <a:pt x="308" y="306"/>
                      </a:lnTo>
                      <a:lnTo>
                        <a:pt x="309" y="306"/>
                      </a:lnTo>
                      <a:lnTo>
                        <a:pt x="309" y="306"/>
                      </a:lnTo>
                      <a:lnTo>
                        <a:pt x="309" y="305"/>
                      </a:lnTo>
                      <a:lnTo>
                        <a:pt x="309" y="304"/>
                      </a:lnTo>
                      <a:lnTo>
                        <a:pt x="308" y="304"/>
                      </a:lnTo>
                      <a:lnTo>
                        <a:pt x="309" y="304"/>
                      </a:lnTo>
                      <a:lnTo>
                        <a:pt x="309" y="304"/>
                      </a:lnTo>
                      <a:lnTo>
                        <a:pt x="308" y="304"/>
                      </a:lnTo>
                      <a:lnTo>
                        <a:pt x="309" y="304"/>
                      </a:lnTo>
                      <a:lnTo>
                        <a:pt x="309" y="304"/>
                      </a:lnTo>
                      <a:lnTo>
                        <a:pt x="309" y="303"/>
                      </a:lnTo>
                      <a:lnTo>
                        <a:pt x="310" y="303"/>
                      </a:lnTo>
                      <a:lnTo>
                        <a:pt x="309" y="303"/>
                      </a:lnTo>
                      <a:lnTo>
                        <a:pt x="309" y="303"/>
                      </a:lnTo>
                      <a:lnTo>
                        <a:pt x="309" y="302"/>
                      </a:lnTo>
                      <a:lnTo>
                        <a:pt x="308" y="302"/>
                      </a:lnTo>
                      <a:lnTo>
                        <a:pt x="308" y="302"/>
                      </a:lnTo>
                      <a:lnTo>
                        <a:pt x="307" y="302"/>
                      </a:lnTo>
                      <a:lnTo>
                        <a:pt x="306" y="302"/>
                      </a:lnTo>
                      <a:lnTo>
                        <a:pt x="305" y="302"/>
                      </a:lnTo>
                      <a:lnTo>
                        <a:pt x="305" y="302"/>
                      </a:lnTo>
                      <a:lnTo>
                        <a:pt x="304" y="302"/>
                      </a:lnTo>
                      <a:lnTo>
                        <a:pt x="304" y="302"/>
                      </a:lnTo>
                      <a:lnTo>
                        <a:pt x="304" y="302"/>
                      </a:lnTo>
                      <a:lnTo>
                        <a:pt x="303" y="302"/>
                      </a:lnTo>
                      <a:lnTo>
                        <a:pt x="303" y="303"/>
                      </a:lnTo>
                      <a:lnTo>
                        <a:pt x="302" y="303"/>
                      </a:lnTo>
                      <a:lnTo>
                        <a:pt x="302" y="303"/>
                      </a:lnTo>
                      <a:lnTo>
                        <a:pt x="302" y="303"/>
                      </a:lnTo>
                      <a:lnTo>
                        <a:pt x="302" y="303"/>
                      </a:lnTo>
                      <a:lnTo>
                        <a:pt x="302" y="304"/>
                      </a:lnTo>
                      <a:lnTo>
                        <a:pt x="302" y="304"/>
                      </a:lnTo>
                      <a:lnTo>
                        <a:pt x="302" y="305"/>
                      </a:lnTo>
                      <a:lnTo>
                        <a:pt x="302" y="306"/>
                      </a:lnTo>
                      <a:lnTo>
                        <a:pt x="302" y="306"/>
                      </a:lnTo>
                      <a:lnTo>
                        <a:pt x="302" y="306"/>
                      </a:lnTo>
                      <a:lnTo>
                        <a:pt x="302" y="306"/>
                      </a:lnTo>
                      <a:lnTo>
                        <a:pt x="302" y="306"/>
                      </a:lnTo>
                      <a:lnTo>
                        <a:pt x="302" y="307"/>
                      </a:lnTo>
                      <a:lnTo>
                        <a:pt x="302" y="307"/>
                      </a:lnTo>
                      <a:lnTo>
                        <a:pt x="302" y="308"/>
                      </a:lnTo>
                      <a:lnTo>
                        <a:pt x="302" y="308"/>
                      </a:lnTo>
                      <a:lnTo>
                        <a:pt x="303" y="309"/>
                      </a:lnTo>
                      <a:lnTo>
                        <a:pt x="304" y="309"/>
                      </a:lnTo>
                      <a:lnTo>
                        <a:pt x="304" y="309"/>
                      </a:lnTo>
                      <a:lnTo>
                        <a:pt x="304" y="310"/>
                      </a:lnTo>
                      <a:lnTo>
                        <a:pt x="305" y="310"/>
                      </a:lnTo>
                      <a:lnTo>
                        <a:pt x="304" y="310"/>
                      </a:lnTo>
                      <a:lnTo>
                        <a:pt x="305" y="310"/>
                      </a:lnTo>
                      <a:lnTo>
                        <a:pt x="305" y="310"/>
                      </a:lnTo>
                      <a:lnTo>
                        <a:pt x="305" y="310"/>
                      </a:lnTo>
                      <a:lnTo>
                        <a:pt x="306" y="311"/>
                      </a:lnTo>
                      <a:lnTo>
                        <a:pt x="307" y="311"/>
                      </a:lnTo>
                      <a:lnTo>
                        <a:pt x="307" y="311"/>
                      </a:lnTo>
                      <a:lnTo>
                        <a:pt x="307" y="312"/>
                      </a:lnTo>
                      <a:lnTo>
                        <a:pt x="307" y="312"/>
                      </a:lnTo>
                      <a:lnTo>
                        <a:pt x="308" y="313"/>
                      </a:lnTo>
                      <a:lnTo>
                        <a:pt x="308" y="313"/>
                      </a:lnTo>
                      <a:lnTo>
                        <a:pt x="308" y="313"/>
                      </a:lnTo>
                      <a:lnTo>
                        <a:pt x="309" y="313"/>
                      </a:lnTo>
                      <a:lnTo>
                        <a:pt x="309" y="313"/>
                      </a:lnTo>
                      <a:lnTo>
                        <a:pt x="310" y="312"/>
                      </a:lnTo>
                      <a:lnTo>
                        <a:pt x="311" y="312"/>
                      </a:lnTo>
                      <a:lnTo>
                        <a:pt x="311" y="311"/>
                      </a:lnTo>
                      <a:lnTo>
                        <a:pt x="312" y="311"/>
                      </a:lnTo>
                      <a:lnTo>
                        <a:pt x="312" y="311"/>
                      </a:lnTo>
                      <a:lnTo>
                        <a:pt x="313" y="312"/>
                      </a:lnTo>
                      <a:lnTo>
                        <a:pt x="313" y="313"/>
                      </a:lnTo>
                      <a:lnTo>
                        <a:pt x="313" y="313"/>
                      </a:lnTo>
                      <a:lnTo>
                        <a:pt x="315" y="312"/>
                      </a:lnTo>
                      <a:lnTo>
                        <a:pt x="315" y="311"/>
                      </a:lnTo>
                      <a:lnTo>
                        <a:pt x="315" y="311"/>
                      </a:lnTo>
                      <a:lnTo>
                        <a:pt x="316" y="311"/>
                      </a:lnTo>
                      <a:lnTo>
                        <a:pt x="316" y="311"/>
                      </a:lnTo>
                      <a:lnTo>
                        <a:pt x="316" y="311"/>
                      </a:lnTo>
                      <a:lnTo>
                        <a:pt x="317" y="310"/>
                      </a:lnTo>
                      <a:lnTo>
                        <a:pt x="318" y="310"/>
                      </a:lnTo>
                      <a:lnTo>
                        <a:pt x="318" y="310"/>
                      </a:lnTo>
                      <a:lnTo>
                        <a:pt x="319" y="310"/>
                      </a:lnTo>
                      <a:lnTo>
                        <a:pt x="319" y="311"/>
                      </a:lnTo>
                      <a:lnTo>
                        <a:pt x="319" y="310"/>
                      </a:lnTo>
                      <a:lnTo>
                        <a:pt x="319" y="310"/>
                      </a:lnTo>
                      <a:lnTo>
                        <a:pt x="320" y="309"/>
                      </a:lnTo>
                      <a:lnTo>
                        <a:pt x="320" y="309"/>
                      </a:lnTo>
                      <a:lnTo>
                        <a:pt x="320" y="308"/>
                      </a:lnTo>
                      <a:lnTo>
                        <a:pt x="321" y="308"/>
                      </a:lnTo>
                      <a:lnTo>
                        <a:pt x="321" y="308"/>
                      </a:lnTo>
                      <a:lnTo>
                        <a:pt x="321" y="307"/>
                      </a:lnTo>
                      <a:lnTo>
                        <a:pt x="322" y="307"/>
                      </a:lnTo>
                      <a:lnTo>
                        <a:pt x="322" y="307"/>
                      </a:lnTo>
                      <a:lnTo>
                        <a:pt x="322" y="307"/>
                      </a:lnTo>
                      <a:lnTo>
                        <a:pt x="322" y="307"/>
                      </a:lnTo>
                      <a:lnTo>
                        <a:pt x="323" y="307"/>
                      </a:lnTo>
                      <a:lnTo>
                        <a:pt x="323" y="307"/>
                      </a:lnTo>
                      <a:lnTo>
                        <a:pt x="323" y="308"/>
                      </a:lnTo>
                      <a:lnTo>
                        <a:pt x="324" y="308"/>
                      </a:lnTo>
                      <a:lnTo>
                        <a:pt x="324" y="307"/>
                      </a:lnTo>
                      <a:lnTo>
                        <a:pt x="324" y="307"/>
                      </a:lnTo>
                      <a:lnTo>
                        <a:pt x="324" y="308"/>
                      </a:lnTo>
                      <a:lnTo>
                        <a:pt x="324" y="308"/>
                      </a:lnTo>
                      <a:lnTo>
                        <a:pt x="324" y="308"/>
                      </a:lnTo>
                      <a:lnTo>
                        <a:pt x="324" y="309"/>
                      </a:lnTo>
                      <a:lnTo>
                        <a:pt x="324" y="309"/>
                      </a:lnTo>
                      <a:lnTo>
                        <a:pt x="324" y="310"/>
                      </a:lnTo>
                      <a:lnTo>
                        <a:pt x="324" y="310"/>
                      </a:lnTo>
                      <a:lnTo>
                        <a:pt x="323" y="311"/>
                      </a:lnTo>
                      <a:lnTo>
                        <a:pt x="323" y="311"/>
                      </a:lnTo>
                      <a:lnTo>
                        <a:pt x="322" y="311"/>
                      </a:lnTo>
                      <a:lnTo>
                        <a:pt x="322" y="312"/>
                      </a:lnTo>
                      <a:lnTo>
                        <a:pt x="322" y="313"/>
                      </a:lnTo>
                      <a:lnTo>
                        <a:pt x="323" y="313"/>
                      </a:lnTo>
                      <a:lnTo>
                        <a:pt x="323" y="313"/>
                      </a:lnTo>
                      <a:lnTo>
                        <a:pt x="323" y="314"/>
                      </a:lnTo>
                      <a:lnTo>
                        <a:pt x="322" y="314"/>
                      </a:lnTo>
                      <a:lnTo>
                        <a:pt x="323" y="314"/>
                      </a:lnTo>
                      <a:lnTo>
                        <a:pt x="323" y="315"/>
                      </a:lnTo>
                      <a:lnTo>
                        <a:pt x="323" y="315"/>
                      </a:lnTo>
                      <a:lnTo>
                        <a:pt x="323" y="315"/>
                      </a:lnTo>
                      <a:lnTo>
                        <a:pt x="322" y="316"/>
                      </a:lnTo>
                      <a:lnTo>
                        <a:pt x="322" y="317"/>
                      </a:lnTo>
                      <a:lnTo>
                        <a:pt x="322" y="316"/>
                      </a:lnTo>
                      <a:lnTo>
                        <a:pt x="322" y="316"/>
                      </a:lnTo>
                      <a:lnTo>
                        <a:pt x="321" y="316"/>
                      </a:lnTo>
                      <a:lnTo>
                        <a:pt x="320" y="316"/>
                      </a:lnTo>
                      <a:lnTo>
                        <a:pt x="320" y="316"/>
                      </a:lnTo>
                      <a:lnTo>
                        <a:pt x="319" y="316"/>
                      </a:lnTo>
                      <a:lnTo>
                        <a:pt x="319" y="317"/>
                      </a:lnTo>
                      <a:lnTo>
                        <a:pt x="319" y="317"/>
                      </a:lnTo>
                      <a:lnTo>
                        <a:pt x="318" y="318"/>
                      </a:lnTo>
                      <a:lnTo>
                        <a:pt x="318" y="318"/>
                      </a:lnTo>
                      <a:lnTo>
                        <a:pt x="318" y="318"/>
                      </a:lnTo>
                      <a:lnTo>
                        <a:pt x="318" y="319"/>
                      </a:lnTo>
                      <a:lnTo>
                        <a:pt x="318" y="318"/>
                      </a:lnTo>
                      <a:lnTo>
                        <a:pt x="317" y="318"/>
                      </a:lnTo>
                      <a:lnTo>
                        <a:pt x="317" y="319"/>
                      </a:lnTo>
                      <a:lnTo>
                        <a:pt x="316" y="318"/>
                      </a:lnTo>
                      <a:lnTo>
                        <a:pt x="316" y="319"/>
                      </a:lnTo>
                      <a:lnTo>
                        <a:pt x="316" y="319"/>
                      </a:lnTo>
                      <a:lnTo>
                        <a:pt x="316" y="319"/>
                      </a:lnTo>
                      <a:lnTo>
                        <a:pt x="316" y="319"/>
                      </a:lnTo>
                      <a:lnTo>
                        <a:pt x="316" y="320"/>
                      </a:lnTo>
                      <a:lnTo>
                        <a:pt x="316" y="321"/>
                      </a:lnTo>
                      <a:lnTo>
                        <a:pt x="316" y="321"/>
                      </a:lnTo>
                      <a:lnTo>
                        <a:pt x="316" y="321"/>
                      </a:lnTo>
                      <a:lnTo>
                        <a:pt x="316" y="322"/>
                      </a:lnTo>
                      <a:lnTo>
                        <a:pt x="316" y="322"/>
                      </a:lnTo>
                      <a:lnTo>
                        <a:pt x="315" y="323"/>
                      </a:lnTo>
                      <a:lnTo>
                        <a:pt x="315" y="324"/>
                      </a:lnTo>
                      <a:lnTo>
                        <a:pt x="316" y="324"/>
                      </a:lnTo>
                      <a:lnTo>
                        <a:pt x="316" y="324"/>
                      </a:lnTo>
                      <a:lnTo>
                        <a:pt x="316" y="326"/>
                      </a:lnTo>
                      <a:lnTo>
                        <a:pt x="316" y="326"/>
                      </a:lnTo>
                      <a:lnTo>
                        <a:pt x="316" y="327"/>
                      </a:lnTo>
                      <a:lnTo>
                        <a:pt x="316" y="328"/>
                      </a:lnTo>
                      <a:lnTo>
                        <a:pt x="316" y="329"/>
                      </a:lnTo>
                      <a:lnTo>
                        <a:pt x="316" y="330"/>
                      </a:lnTo>
                      <a:lnTo>
                        <a:pt x="316" y="330"/>
                      </a:lnTo>
                      <a:lnTo>
                        <a:pt x="315" y="330"/>
                      </a:lnTo>
                      <a:lnTo>
                        <a:pt x="316" y="331"/>
                      </a:lnTo>
                      <a:lnTo>
                        <a:pt x="315" y="331"/>
                      </a:lnTo>
                      <a:lnTo>
                        <a:pt x="315" y="332"/>
                      </a:lnTo>
                      <a:lnTo>
                        <a:pt x="315" y="332"/>
                      </a:lnTo>
                      <a:lnTo>
                        <a:pt x="315" y="332"/>
                      </a:lnTo>
                      <a:lnTo>
                        <a:pt x="315" y="333"/>
                      </a:lnTo>
                      <a:lnTo>
                        <a:pt x="315" y="333"/>
                      </a:lnTo>
                      <a:lnTo>
                        <a:pt x="315" y="334"/>
                      </a:lnTo>
                      <a:lnTo>
                        <a:pt x="315" y="334"/>
                      </a:lnTo>
                      <a:lnTo>
                        <a:pt x="315" y="334"/>
                      </a:lnTo>
                      <a:lnTo>
                        <a:pt x="315" y="334"/>
                      </a:lnTo>
                      <a:lnTo>
                        <a:pt x="315" y="334"/>
                      </a:lnTo>
                      <a:lnTo>
                        <a:pt x="315" y="334"/>
                      </a:lnTo>
                      <a:lnTo>
                        <a:pt x="315" y="334"/>
                      </a:lnTo>
                      <a:lnTo>
                        <a:pt x="315" y="335"/>
                      </a:lnTo>
                      <a:lnTo>
                        <a:pt x="315" y="335"/>
                      </a:lnTo>
                      <a:lnTo>
                        <a:pt x="315" y="336"/>
                      </a:lnTo>
                      <a:lnTo>
                        <a:pt x="315" y="336"/>
                      </a:lnTo>
                      <a:lnTo>
                        <a:pt x="315" y="336"/>
                      </a:lnTo>
                      <a:lnTo>
                        <a:pt x="315" y="337"/>
                      </a:lnTo>
                      <a:lnTo>
                        <a:pt x="315" y="337"/>
                      </a:lnTo>
                      <a:lnTo>
                        <a:pt x="315" y="337"/>
                      </a:lnTo>
                      <a:lnTo>
                        <a:pt x="316" y="337"/>
                      </a:lnTo>
                      <a:lnTo>
                        <a:pt x="316" y="337"/>
                      </a:lnTo>
                      <a:lnTo>
                        <a:pt x="316" y="337"/>
                      </a:lnTo>
                      <a:lnTo>
                        <a:pt x="316" y="337"/>
                      </a:lnTo>
                      <a:lnTo>
                        <a:pt x="317" y="337"/>
                      </a:lnTo>
                      <a:lnTo>
                        <a:pt x="316" y="337"/>
                      </a:lnTo>
                      <a:lnTo>
                        <a:pt x="317" y="337"/>
                      </a:lnTo>
                      <a:lnTo>
                        <a:pt x="317" y="338"/>
                      </a:lnTo>
                      <a:lnTo>
                        <a:pt x="318" y="339"/>
                      </a:lnTo>
                      <a:lnTo>
                        <a:pt x="318" y="339"/>
                      </a:lnTo>
                      <a:lnTo>
                        <a:pt x="318" y="339"/>
                      </a:lnTo>
                      <a:lnTo>
                        <a:pt x="319" y="339"/>
                      </a:lnTo>
                      <a:lnTo>
                        <a:pt x="319" y="338"/>
                      </a:lnTo>
                      <a:lnTo>
                        <a:pt x="318" y="337"/>
                      </a:lnTo>
                      <a:lnTo>
                        <a:pt x="319" y="337"/>
                      </a:lnTo>
                      <a:lnTo>
                        <a:pt x="319" y="337"/>
                      </a:lnTo>
                      <a:lnTo>
                        <a:pt x="319" y="336"/>
                      </a:lnTo>
                      <a:lnTo>
                        <a:pt x="319" y="337"/>
                      </a:lnTo>
                      <a:lnTo>
                        <a:pt x="319" y="336"/>
                      </a:lnTo>
                      <a:lnTo>
                        <a:pt x="319" y="337"/>
                      </a:lnTo>
                      <a:lnTo>
                        <a:pt x="319" y="336"/>
                      </a:lnTo>
                      <a:lnTo>
                        <a:pt x="319" y="337"/>
                      </a:lnTo>
                      <a:lnTo>
                        <a:pt x="320" y="337"/>
                      </a:lnTo>
                      <a:lnTo>
                        <a:pt x="320" y="336"/>
                      </a:lnTo>
                      <a:lnTo>
                        <a:pt x="320" y="337"/>
                      </a:lnTo>
                      <a:lnTo>
                        <a:pt x="320" y="337"/>
                      </a:lnTo>
                      <a:lnTo>
                        <a:pt x="321" y="337"/>
                      </a:lnTo>
                      <a:lnTo>
                        <a:pt x="321" y="337"/>
                      </a:lnTo>
                      <a:lnTo>
                        <a:pt x="322" y="337"/>
                      </a:lnTo>
                      <a:lnTo>
                        <a:pt x="322" y="337"/>
                      </a:lnTo>
                      <a:lnTo>
                        <a:pt x="322" y="337"/>
                      </a:lnTo>
                      <a:lnTo>
                        <a:pt x="323" y="337"/>
                      </a:lnTo>
                      <a:lnTo>
                        <a:pt x="323" y="337"/>
                      </a:lnTo>
                      <a:lnTo>
                        <a:pt x="323" y="336"/>
                      </a:lnTo>
                      <a:lnTo>
                        <a:pt x="323" y="337"/>
                      </a:lnTo>
                      <a:lnTo>
                        <a:pt x="324" y="337"/>
                      </a:lnTo>
                      <a:lnTo>
                        <a:pt x="324" y="337"/>
                      </a:lnTo>
                      <a:lnTo>
                        <a:pt x="324" y="337"/>
                      </a:lnTo>
                      <a:lnTo>
                        <a:pt x="325" y="337"/>
                      </a:lnTo>
                      <a:lnTo>
                        <a:pt x="326" y="337"/>
                      </a:lnTo>
                      <a:lnTo>
                        <a:pt x="326" y="337"/>
                      </a:lnTo>
                      <a:lnTo>
                        <a:pt x="326" y="338"/>
                      </a:lnTo>
                      <a:lnTo>
                        <a:pt x="326" y="339"/>
                      </a:lnTo>
                      <a:lnTo>
                        <a:pt x="326" y="339"/>
                      </a:lnTo>
                      <a:lnTo>
                        <a:pt x="326" y="339"/>
                      </a:lnTo>
                      <a:lnTo>
                        <a:pt x="326" y="340"/>
                      </a:lnTo>
                      <a:lnTo>
                        <a:pt x="325" y="340"/>
                      </a:lnTo>
                      <a:lnTo>
                        <a:pt x="325" y="340"/>
                      </a:lnTo>
                      <a:lnTo>
                        <a:pt x="324" y="340"/>
                      </a:lnTo>
                      <a:lnTo>
                        <a:pt x="324" y="341"/>
                      </a:lnTo>
                      <a:lnTo>
                        <a:pt x="324" y="341"/>
                      </a:lnTo>
                      <a:lnTo>
                        <a:pt x="324" y="341"/>
                      </a:lnTo>
                      <a:lnTo>
                        <a:pt x="324" y="342"/>
                      </a:lnTo>
                      <a:lnTo>
                        <a:pt x="324" y="342"/>
                      </a:lnTo>
                      <a:lnTo>
                        <a:pt x="325" y="343"/>
                      </a:lnTo>
                      <a:lnTo>
                        <a:pt x="324" y="343"/>
                      </a:lnTo>
                      <a:lnTo>
                        <a:pt x="325" y="343"/>
                      </a:lnTo>
                      <a:lnTo>
                        <a:pt x="326" y="344"/>
                      </a:lnTo>
                      <a:lnTo>
                        <a:pt x="325" y="344"/>
                      </a:lnTo>
                      <a:lnTo>
                        <a:pt x="326" y="344"/>
                      </a:lnTo>
                      <a:lnTo>
                        <a:pt x="326" y="344"/>
                      </a:lnTo>
                      <a:lnTo>
                        <a:pt x="326" y="344"/>
                      </a:lnTo>
                      <a:lnTo>
                        <a:pt x="326" y="343"/>
                      </a:lnTo>
                      <a:lnTo>
                        <a:pt x="326" y="344"/>
                      </a:lnTo>
                      <a:lnTo>
                        <a:pt x="327" y="344"/>
                      </a:lnTo>
                      <a:lnTo>
                        <a:pt x="328" y="345"/>
                      </a:lnTo>
                      <a:lnTo>
                        <a:pt x="328" y="345"/>
                      </a:lnTo>
                      <a:lnTo>
                        <a:pt x="329" y="345"/>
                      </a:lnTo>
                      <a:lnTo>
                        <a:pt x="328" y="345"/>
                      </a:lnTo>
                      <a:lnTo>
                        <a:pt x="328" y="345"/>
                      </a:lnTo>
                      <a:lnTo>
                        <a:pt x="328" y="345"/>
                      </a:lnTo>
                      <a:lnTo>
                        <a:pt x="328" y="346"/>
                      </a:lnTo>
                      <a:lnTo>
                        <a:pt x="327" y="346"/>
                      </a:lnTo>
                      <a:lnTo>
                        <a:pt x="328" y="346"/>
                      </a:lnTo>
                      <a:lnTo>
                        <a:pt x="328" y="347"/>
                      </a:lnTo>
                      <a:lnTo>
                        <a:pt x="329" y="347"/>
                      </a:lnTo>
                      <a:lnTo>
                        <a:pt x="332" y="347"/>
                      </a:lnTo>
                      <a:lnTo>
                        <a:pt x="332" y="347"/>
                      </a:lnTo>
                      <a:lnTo>
                        <a:pt x="332" y="348"/>
                      </a:lnTo>
                      <a:lnTo>
                        <a:pt x="333" y="348"/>
                      </a:lnTo>
                      <a:lnTo>
                        <a:pt x="333" y="348"/>
                      </a:lnTo>
                      <a:lnTo>
                        <a:pt x="333" y="349"/>
                      </a:lnTo>
                      <a:lnTo>
                        <a:pt x="333" y="349"/>
                      </a:lnTo>
                      <a:lnTo>
                        <a:pt x="334" y="349"/>
                      </a:lnTo>
                      <a:lnTo>
                        <a:pt x="334" y="349"/>
                      </a:lnTo>
                      <a:lnTo>
                        <a:pt x="335" y="349"/>
                      </a:lnTo>
                      <a:lnTo>
                        <a:pt x="335" y="349"/>
                      </a:lnTo>
                      <a:lnTo>
                        <a:pt x="336" y="349"/>
                      </a:lnTo>
                      <a:lnTo>
                        <a:pt x="336" y="350"/>
                      </a:lnTo>
                      <a:lnTo>
                        <a:pt x="336" y="349"/>
                      </a:lnTo>
                      <a:lnTo>
                        <a:pt x="336" y="350"/>
                      </a:lnTo>
                      <a:lnTo>
                        <a:pt x="337" y="350"/>
                      </a:lnTo>
                      <a:lnTo>
                        <a:pt x="337" y="350"/>
                      </a:lnTo>
                      <a:lnTo>
                        <a:pt x="338" y="351"/>
                      </a:lnTo>
                      <a:lnTo>
                        <a:pt x="337" y="351"/>
                      </a:lnTo>
                      <a:lnTo>
                        <a:pt x="337" y="354"/>
                      </a:lnTo>
                      <a:lnTo>
                        <a:pt x="337" y="355"/>
                      </a:lnTo>
                      <a:lnTo>
                        <a:pt x="337" y="356"/>
                      </a:lnTo>
                      <a:lnTo>
                        <a:pt x="333" y="358"/>
                      </a:lnTo>
                      <a:lnTo>
                        <a:pt x="331" y="358"/>
                      </a:lnTo>
                      <a:lnTo>
                        <a:pt x="331" y="358"/>
                      </a:lnTo>
                      <a:lnTo>
                        <a:pt x="330" y="358"/>
                      </a:lnTo>
                      <a:lnTo>
                        <a:pt x="330" y="358"/>
                      </a:lnTo>
                      <a:lnTo>
                        <a:pt x="329" y="358"/>
                      </a:lnTo>
                      <a:lnTo>
                        <a:pt x="328" y="358"/>
                      </a:lnTo>
                      <a:lnTo>
                        <a:pt x="328" y="358"/>
                      </a:lnTo>
                      <a:lnTo>
                        <a:pt x="327" y="358"/>
                      </a:lnTo>
                      <a:lnTo>
                        <a:pt x="327" y="358"/>
                      </a:lnTo>
                      <a:lnTo>
                        <a:pt x="326" y="356"/>
                      </a:lnTo>
                      <a:lnTo>
                        <a:pt x="325" y="356"/>
                      </a:lnTo>
                      <a:lnTo>
                        <a:pt x="324" y="356"/>
                      </a:lnTo>
                      <a:lnTo>
                        <a:pt x="324" y="357"/>
                      </a:lnTo>
                      <a:lnTo>
                        <a:pt x="324" y="358"/>
                      </a:lnTo>
                      <a:lnTo>
                        <a:pt x="324" y="358"/>
                      </a:lnTo>
                      <a:lnTo>
                        <a:pt x="324" y="359"/>
                      </a:lnTo>
                      <a:lnTo>
                        <a:pt x="323" y="360"/>
                      </a:lnTo>
                      <a:lnTo>
                        <a:pt x="323" y="360"/>
                      </a:lnTo>
                      <a:lnTo>
                        <a:pt x="322" y="360"/>
                      </a:lnTo>
                      <a:lnTo>
                        <a:pt x="321" y="360"/>
                      </a:lnTo>
                      <a:lnTo>
                        <a:pt x="320" y="360"/>
                      </a:lnTo>
                      <a:lnTo>
                        <a:pt x="320" y="359"/>
                      </a:lnTo>
                      <a:lnTo>
                        <a:pt x="321" y="359"/>
                      </a:lnTo>
                      <a:lnTo>
                        <a:pt x="321" y="359"/>
                      </a:lnTo>
                      <a:lnTo>
                        <a:pt x="320" y="359"/>
                      </a:lnTo>
                      <a:lnTo>
                        <a:pt x="320" y="359"/>
                      </a:lnTo>
                      <a:lnTo>
                        <a:pt x="319" y="358"/>
                      </a:lnTo>
                      <a:lnTo>
                        <a:pt x="319" y="359"/>
                      </a:lnTo>
                      <a:lnTo>
                        <a:pt x="319" y="358"/>
                      </a:lnTo>
                      <a:lnTo>
                        <a:pt x="318" y="358"/>
                      </a:lnTo>
                      <a:lnTo>
                        <a:pt x="318" y="358"/>
                      </a:lnTo>
                      <a:lnTo>
                        <a:pt x="317" y="358"/>
                      </a:lnTo>
                      <a:lnTo>
                        <a:pt x="316" y="358"/>
                      </a:lnTo>
                      <a:lnTo>
                        <a:pt x="316" y="358"/>
                      </a:lnTo>
                      <a:lnTo>
                        <a:pt x="315" y="358"/>
                      </a:lnTo>
                      <a:lnTo>
                        <a:pt x="316" y="358"/>
                      </a:lnTo>
                      <a:lnTo>
                        <a:pt x="315" y="358"/>
                      </a:lnTo>
                      <a:lnTo>
                        <a:pt x="315" y="357"/>
                      </a:lnTo>
                      <a:lnTo>
                        <a:pt x="315" y="357"/>
                      </a:lnTo>
                      <a:lnTo>
                        <a:pt x="315" y="356"/>
                      </a:lnTo>
                      <a:lnTo>
                        <a:pt x="315" y="357"/>
                      </a:lnTo>
                      <a:lnTo>
                        <a:pt x="315" y="356"/>
                      </a:lnTo>
                      <a:lnTo>
                        <a:pt x="314" y="356"/>
                      </a:lnTo>
                      <a:lnTo>
                        <a:pt x="314" y="356"/>
                      </a:lnTo>
                      <a:lnTo>
                        <a:pt x="313" y="356"/>
                      </a:lnTo>
                      <a:lnTo>
                        <a:pt x="313" y="355"/>
                      </a:lnTo>
                      <a:lnTo>
                        <a:pt x="313" y="355"/>
                      </a:lnTo>
                      <a:lnTo>
                        <a:pt x="314" y="354"/>
                      </a:lnTo>
                      <a:lnTo>
                        <a:pt x="313" y="354"/>
                      </a:lnTo>
                      <a:lnTo>
                        <a:pt x="313" y="354"/>
                      </a:lnTo>
                      <a:lnTo>
                        <a:pt x="313" y="354"/>
                      </a:lnTo>
                      <a:lnTo>
                        <a:pt x="313" y="353"/>
                      </a:lnTo>
                      <a:lnTo>
                        <a:pt x="312" y="354"/>
                      </a:lnTo>
                      <a:lnTo>
                        <a:pt x="312" y="354"/>
                      </a:lnTo>
                      <a:lnTo>
                        <a:pt x="312" y="353"/>
                      </a:lnTo>
                      <a:lnTo>
                        <a:pt x="311" y="352"/>
                      </a:lnTo>
                      <a:lnTo>
                        <a:pt x="311" y="352"/>
                      </a:lnTo>
                      <a:lnTo>
                        <a:pt x="311" y="352"/>
                      </a:lnTo>
                      <a:lnTo>
                        <a:pt x="311" y="352"/>
                      </a:lnTo>
                      <a:lnTo>
                        <a:pt x="310" y="353"/>
                      </a:lnTo>
                      <a:lnTo>
                        <a:pt x="311" y="353"/>
                      </a:lnTo>
                      <a:lnTo>
                        <a:pt x="310" y="353"/>
                      </a:lnTo>
                      <a:lnTo>
                        <a:pt x="310" y="354"/>
                      </a:lnTo>
                      <a:lnTo>
                        <a:pt x="309" y="354"/>
                      </a:lnTo>
                      <a:lnTo>
                        <a:pt x="309" y="353"/>
                      </a:lnTo>
                      <a:lnTo>
                        <a:pt x="309" y="353"/>
                      </a:lnTo>
                      <a:lnTo>
                        <a:pt x="308" y="353"/>
                      </a:lnTo>
                      <a:lnTo>
                        <a:pt x="308" y="353"/>
                      </a:lnTo>
                      <a:lnTo>
                        <a:pt x="307" y="353"/>
                      </a:lnTo>
                      <a:lnTo>
                        <a:pt x="307" y="352"/>
                      </a:lnTo>
                      <a:lnTo>
                        <a:pt x="307" y="352"/>
                      </a:lnTo>
                      <a:lnTo>
                        <a:pt x="307" y="354"/>
                      </a:lnTo>
                      <a:lnTo>
                        <a:pt x="307" y="355"/>
                      </a:lnTo>
                      <a:lnTo>
                        <a:pt x="307" y="355"/>
                      </a:lnTo>
                      <a:lnTo>
                        <a:pt x="306" y="355"/>
                      </a:lnTo>
                      <a:lnTo>
                        <a:pt x="305" y="355"/>
                      </a:lnTo>
                      <a:lnTo>
                        <a:pt x="305" y="355"/>
                      </a:lnTo>
                      <a:lnTo>
                        <a:pt x="305" y="356"/>
                      </a:lnTo>
                      <a:lnTo>
                        <a:pt x="304" y="356"/>
                      </a:lnTo>
                      <a:lnTo>
                        <a:pt x="304" y="355"/>
                      </a:lnTo>
                      <a:lnTo>
                        <a:pt x="304" y="355"/>
                      </a:lnTo>
                      <a:lnTo>
                        <a:pt x="303" y="355"/>
                      </a:lnTo>
                      <a:lnTo>
                        <a:pt x="303" y="355"/>
                      </a:lnTo>
                      <a:lnTo>
                        <a:pt x="303" y="354"/>
                      </a:lnTo>
                      <a:lnTo>
                        <a:pt x="302" y="354"/>
                      </a:lnTo>
                      <a:lnTo>
                        <a:pt x="302" y="354"/>
                      </a:lnTo>
                      <a:lnTo>
                        <a:pt x="302" y="353"/>
                      </a:lnTo>
                      <a:lnTo>
                        <a:pt x="301" y="354"/>
                      </a:lnTo>
                      <a:lnTo>
                        <a:pt x="300" y="354"/>
                      </a:lnTo>
                      <a:lnTo>
                        <a:pt x="300" y="353"/>
                      </a:lnTo>
                      <a:lnTo>
                        <a:pt x="300" y="354"/>
                      </a:lnTo>
                      <a:lnTo>
                        <a:pt x="299" y="353"/>
                      </a:lnTo>
                      <a:lnTo>
                        <a:pt x="298" y="353"/>
                      </a:lnTo>
                      <a:lnTo>
                        <a:pt x="298" y="354"/>
                      </a:lnTo>
                      <a:lnTo>
                        <a:pt x="298" y="355"/>
                      </a:lnTo>
                      <a:lnTo>
                        <a:pt x="298" y="354"/>
                      </a:lnTo>
                      <a:lnTo>
                        <a:pt x="297" y="354"/>
                      </a:lnTo>
                      <a:lnTo>
                        <a:pt x="297" y="354"/>
                      </a:lnTo>
                      <a:lnTo>
                        <a:pt x="297" y="354"/>
                      </a:lnTo>
                      <a:lnTo>
                        <a:pt x="297" y="353"/>
                      </a:lnTo>
                      <a:lnTo>
                        <a:pt x="296" y="354"/>
                      </a:lnTo>
                      <a:lnTo>
                        <a:pt x="296" y="355"/>
                      </a:lnTo>
                      <a:lnTo>
                        <a:pt x="296" y="355"/>
                      </a:lnTo>
                      <a:lnTo>
                        <a:pt x="296" y="355"/>
                      </a:lnTo>
                      <a:lnTo>
                        <a:pt x="295" y="355"/>
                      </a:lnTo>
                      <a:lnTo>
                        <a:pt x="294" y="355"/>
                      </a:lnTo>
                      <a:lnTo>
                        <a:pt x="294" y="355"/>
                      </a:lnTo>
                      <a:lnTo>
                        <a:pt x="294" y="355"/>
                      </a:lnTo>
                      <a:lnTo>
                        <a:pt x="294" y="356"/>
                      </a:lnTo>
                      <a:lnTo>
                        <a:pt x="294" y="356"/>
                      </a:lnTo>
                      <a:lnTo>
                        <a:pt x="294" y="357"/>
                      </a:lnTo>
                      <a:lnTo>
                        <a:pt x="293" y="358"/>
                      </a:lnTo>
                      <a:lnTo>
                        <a:pt x="293" y="358"/>
                      </a:lnTo>
                      <a:lnTo>
                        <a:pt x="292" y="358"/>
                      </a:lnTo>
                      <a:lnTo>
                        <a:pt x="292" y="359"/>
                      </a:lnTo>
                      <a:lnTo>
                        <a:pt x="292" y="359"/>
                      </a:lnTo>
                      <a:lnTo>
                        <a:pt x="291" y="359"/>
                      </a:lnTo>
                      <a:lnTo>
                        <a:pt x="291" y="359"/>
                      </a:lnTo>
                      <a:lnTo>
                        <a:pt x="290" y="359"/>
                      </a:lnTo>
                      <a:lnTo>
                        <a:pt x="290" y="359"/>
                      </a:lnTo>
                      <a:lnTo>
                        <a:pt x="289" y="359"/>
                      </a:lnTo>
                      <a:lnTo>
                        <a:pt x="289" y="359"/>
                      </a:lnTo>
                      <a:lnTo>
                        <a:pt x="289" y="358"/>
                      </a:lnTo>
                      <a:lnTo>
                        <a:pt x="288" y="358"/>
                      </a:lnTo>
                      <a:lnTo>
                        <a:pt x="287" y="358"/>
                      </a:lnTo>
                      <a:lnTo>
                        <a:pt x="287" y="358"/>
                      </a:lnTo>
                      <a:lnTo>
                        <a:pt x="286" y="356"/>
                      </a:lnTo>
                      <a:lnTo>
                        <a:pt x="285" y="356"/>
                      </a:lnTo>
                      <a:lnTo>
                        <a:pt x="285" y="356"/>
                      </a:lnTo>
                      <a:lnTo>
                        <a:pt x="286" y="356"/>
                      </a:lnTo>
                      <a:lnTo>
                        <a:pt x="286" y="355"/>
                      </a:lnTo>
                      <a:lnTo>
                        <a:pt x="285" y="355"/>
                      </a:lnTo>
                      <a:lnTo>
                        <a:pt x="285" y="355"/>
                      </a:lnTo>
                      <a:lnTo>
                        <a:pt x="284" y="355"/>
                      </a:lnTo>
                      <a:lnTo>
                        <a:pt x="284" y="355"/>
                      </a:lnTo>
                      <a:lnTo>
                        <a:pt x="283" y="355"/>
                      </a:lnTo>
                      <a:lnTo>
                        <a:pt x="284" y="355"/>
                      </a:lnTo>
                      <a:lnTo>
                        <a:pt x="283" y="355"/>
                      </a:lnTo>
                      <a:lnTo>
                        <a:pt x="283" y="354"/>
                      </a:lnTo>
                      <a:lnTo>
                        <a:pt x="282" y="354"/>
                      </a:lnTo>
                      <a:lnTo>
                        <a:pt x="282" y="354"/>
                      </a:lnTo>
                      <a:lnTo>
                        <a:pt x="282" y="354"/>
                      </a:lnTo>
                      <a:lnTo>
                        <a:pt x="282" y="354"/>
                      </a:lnTo>
                      <a:lnTo>
                        <a:pt x="281" y="354"/>
                      </a:lnTo>
                      <a:lnTo>
                        <a:pt x="281" y="355"/>
                      </a:lnTo>
                      <a:lnTo>
                        <a:pt x="281" y="355"/>
                      </a:lnTo>
                      <a:lnTo>
                        <a:pt x="281" y="355"/>
                      </a:lnTo>
                      <a:lnTo>
                        <a:pt x="281" y="355"/>
                      </a:lnTo>
                      <a:lnTo>
                        <a:pt x="281" y="355"/>
                      </a:lnTo>
                      <a:lnTo>
                        <a:pt x="281" y="355"/>
                      </a:lnTo>
                      <a:lnTo>
                        <a:pt x="281" y="355"/>
                      </a:lnTo>
                      <a:lnTo>
                        <a:pt x="281" y="355"/>
                      </a:lnTo>
                      <a:lnTo>
                        <a:pt x="282" y="355"/>
                      </a:lnTo>
                      <a:lnTo>
                        <a:pt x="282" y="355"/>
                      </a:lnTo>
                      <a:lnTo>
                        <a:pt x="282" y="356"/>
                      </a:lnTo>
                      <a:lnTo>
                        <a:pt x="282" y="356"/>
                      </a:lnTo>
                      <a:lnTo>
                        <a:pt x="282" y="357"/>
                      </a:lnTo>
                      <a:lnTo>
                        <a:pt x="282" y="358"/>
                      </a:lnTo>
                      <a:lnTo>
                        <a:pt x="282" y="358"/>
                      </a:lnTo>
                      <a:lnTo>
                        <a:pt x="282" y="359"/>
                      </a:lnTo>
                      <a:lnTo>
                        <a:pt x="282" y="359"/>
                      </a:lnTo>
                      <a:lnTo>
                        <a:pt x="282" y="359"/>
                      </a:lnTo>
                      <a:lnTo>
                        <a:pt x="282" y="360"/>
                      </a:lnTo>
                      <a:lnTo>
                        <a:pt x="281" y="360"/>
                      </a:lnTo>
                      <a:lnTo>
                        <a:pt x="281" y="359"/>
                      </a:lnTo>
                      <a:lnTo>
                        <a:pt x="281" y="360"/>
                      </a:lnTo>
                      <a:lnTo>
                        <a:pt x="281" y="360"/>
                      </a:lnTo>
                      <a:lnTo>
                        <a:pt x="281" y="359"/>
                      </a:lnTo>
                      <a:lnTo>
                        <a:pt x="280" y="359"/>
                      </a:lnTo>
                      <a:lnTo>
                        <a:pt x="280" y="358"/>
                      </a:lnTo>
                      <a:lnTo>
                        <a:pt x="280" y="358"/>
                      </a:lnTo>
                      <a:lnTo>
                        <a:pt x="280" y="357"/>
                      </a:lnTo>
                      <a:lnTo>
                        <a:pt x="281" y="357"/>
                      </a:lnTo>
                      <a:lnTo>
                        <a:pt x="281" y="356"/>
                      </a:lnTo>
                      <a:lnTo>
                        <a:pt x="281" y="356"/>
                      </a:lnTo>
                      <a:lnTo>
                        <a:pt x="280" y="356"/>
                      </a:lnTo>
                      <a:lnTo>
                        <a:pt x="279" y="356"/>
                      </a:lnTo>
                      <a:lnTo>
                        <a:pt x="279" y="355"/>
                      </a:lnTo>
                      <a:lnTo>
                        <a:pt x="279" y="355"/>
                      </a:lnTo>
                      <a:lnTo>
                        <a:pt x="279" y="355"/>
                      </a:lnTo>
                      <a:lnTo>
                        <a:pt x="278" y="355"/>
                      </a:lnTo>
                      <a:lnTo>
                        <a:pt x="278" y="354"/>
                      </a:lnTo>
                      <a:lnTo>
                        <a:pt x="278" y="354"/>
                      </a:lnTo>
                      <a:lnTo>
                        <a:pt x="278" y="354"/>
                      </a:lnTo>
                      <a:lnTo>
                        <a:pt x="278" y="354"/>
                      </a:lnTo>
                      <a:lnTo>
                        <a:pt x="278" y="354"/>
                      </a:lnTo>
                      <a:lnTo>
                        <a:pt x="278" y="354"/>
                      </a:lnTo>
                      <a:lnTo>
                        <a:pt x="278" y="354"/>
                      </a:lnTo>
                      <a:lnTo>
                        <a:pt x="278" y="353"/>
                      </a:lnTo>
                      <a:lnTo>
                        <a:pt x="277" y="353"/>
                      </a:lnTo>
                      <a:lnTo>
                        <a:pt x="277" y="352"/>
                      </a:lnTo>
                      <a:lnTo>
                        <a:pt x="276" y="352"/>
                      </a:lnTo>
                      <a:lnTo>
                        <a:pt x="276" y="352"/>
                      </a:lnTo>
                      <a:lnTo>
                        <a:pt x="275" y="352"/>
                      </a:lnTo>
                      <a:lnTo>
                        <a:pt x="275" y="352"/>
                      </a:lnTo>
                      <a:lnTo>
                        <a:pt x="274" y="352"/>
                      </a:lnTo>
                      <a:lnTo>
                        <a:pt x="274" y="351"/>
                      </a:lnTo>
                      <a:lnTo>
                        <a:pt x="274" y="352"/>
                      </a:lnTo>
                      <a:lnTo>
                        <a:pt x="274" y="351"/>
                      </a:lnTo>
                      <a:lnTo>
                        <a:pt x="274" y="352"/>
                      </a:lnTo>
                      <a:lnTo>
                        <a:pt x="274" y="351"/>
                      </a:lnTo>
                      <a:lnTo>
                        <a:pt x="274" y="352"/>
                      </a:lnTo>
                      <a:lnTo>
                        <a:pt x="274" y="351"/>
                      </a:lnTo>
                      <a:lnTo>
                        <a:pt x="274" y="352"/>
                      </a:lnTo>
                      <a:lnTo>
                        <a:pt x="274" y="351"/>
                      </a:lnTo>
                      <a:lnTo>
                        <a:pt x="274" y="351"/>
                      </a:lnTo>
                      <a:lnTo>
                        <a:pt x="274" y="351"/>
                      </a:lnTo>
                      <a:lnTo>
                        <a:pt x="274" y="351"/>
                      </a:lnTo>
                      <a:lnTo>
                        <a:pt x="274" y="351"/>
                      </a:lnTo>
                      <a:lnTo>
                        <a:pt x="274" y="351"/>
                      </a:lnTo>
                      <a:lnTo>
                        <a:pt x="273" y="351"/>
                      </a:lnTo>
                      <a:lnTo>
                        <a:pt x="274" y="351"/>
                      </a:lnTo>
                      <a:lnTo>
                        <a:pt x="274" y="350"/>
                      </a:lnTo>
                      <a:lnTo>
                        <a:pt x="274" y="351"/>
                      </a:lnTo>
                      <a:lnTo>
                        <a:pt x="274" y="350"/>
                      </a:lnTo>
                      <a:lnTo>
                        <a:pt x="273" y="350"/>
                      </a:lnTo>
                      <a:lnTo>
                        <a:pt x="274" y="350"/>
                      </a:lnTo>
                      <a:lnTo>
                        <a:pt x="273" y="350"/>
                      </a:lnTo>
                      <a:lnTo>
                        <a:pt x="274" y="350"/>
                      </a:lnTo>
                      <a:lnTo>
                        <a:pt x="274" y="350"/>
                      </a:lnTo>
                      <a:lnTo>
                        <a:pt x="274" y="350"/>
                      </a:lnTo>
                      <a:lnTo>
                        <a:pt x="274" y="350"/>
                      </a:lnTo>
                      <a:lnTo>
                        <a:pt x="273" y="350"/>
                      </a:lnTo>
                      <a:lnTo>
                        <a:pt x="273" y="349"/>
                      </a:lnTo>
                      <a:lnTo>
                        <a:pt x="272" y="349"/>
                      </a:lnTo>
                      <a:lnTo>
                        <a:pt x="272" y="349"/>
                      </a:lnTo>
                      <a:lnTo>
                        <a:pt x="271" y="348"/>
                      </a:lnTo>
                      <a:lnTo>
                        <a:pt x="271" y="348"/>
                      </a:lnTo>
                      <a:lnTo>
                        <a:pt x="270" y="348"/>
                      </a:lnTo>
                      <a:lnTo>
                        <a:pt x="270" y="348"/>
                      </a:lnTo>
                      <a:lnTo>
                        <a:pt x="270" y="348"/>
                      </a:lnTo>
                      <a:lnTo>
                        <a:pt x="270" y="348"/>
                      </a:lnTo>
                      <a:lnTo>
                        <a:pt x="269" y="348"/>
                      </a:lnTo>
                      <a:lnTo>
                        <a:pt x="268" y="348"/>
                      </a:lnTo>
                      <a:lnTo>
                        <a:pt x="268" y="348"/>
                      </a:lnTo>
                      <a:lnTo>
                        <a:pt x="268" y="349"/>
                      </a:lnTo>
                      <a:lnTo>
                        <a:pt x="268" y="349"/>
                      </a:lnTo>
                      <a:lnTo>
                        <a:pt x="268" y="349"/>
                      </a:lnTo>
                      <a:lnTo>
                        <a:pt x="268" y="348"/>
                      </a:lnTo>
                      <a:lnTo>
                        <a:pt x="267" y="348"/>
                      </a:lnTo>
                      <a:lnTo>
                        <a:pt x="268" y="348"/>
                      </a:lnTo>
                      <a:lnTo>
                        <a:pt x="267" y="348"/>
                      </a:lnTo>
                      <a:lnTo>
                        <a:pt x="267" y="348"/>
                      </a:lnTo>
                      <a:lnTo>
                        <a:pt x="267" y="348"/>
                      </a:lnTo>
                      <a:lnTo>
                        <a:pt x="267" y="348"/>
                      </a:lnTo>
                      <a:lnTo>
                        <a:pt x="267" y="348"/>
                      </a:lnTo>
                      <a:lnTo>
                        <a:pt x="267" y="348"/>
                      </a:lnTo>
                      <a:lnTo>
                        <a:pt x="266" y="348"/>
                      </a:lnTo>
                      <a:lnTo>
                        <a:pt x="266" y="349"/>
                      </a:lnTo>
                      <a:lnTo>
                        <a:pt x="266" y="348"/>
                      </a:lnTo>
                      <a:lnTo>
                        <a:pt x="266" y="349"/>
                      </a:lnTo>
                      <a:lnTo>
                        <a:pt x="266" y="348"/>
                      </a:lnTo>
                      <a:lnTo>
                        <a:pt x="266" y="349"/>
                      </a:lnTo>
                      <a:lnTo>
                        <a:pt x="265" y="349"/>
                      </a:lnTo>
                      <a:lnTo>
                        <a:pt x="266" y="348"/>
                      </a:lnTo>
                      <a:lnTo>
                        <a:pt x="265" y="348"/>
                      </a:lnTo>
                      <a:lnTo>
                        <a:pt x="265" y="349"/>
                      </a:lnTo>
                      <a:lnTo>
                        <a:pt x="265" y="348"/>
                      </a:lnTo>
                      <a:lnTo>
                        <a:pt x="264" y="348"/>
                      </a:lnTo>
                      <a:lnTo>
                        <a:pt x="264" y="348"/>
                      </a:lnTo>
                      <a:lnTo>
                        <a:pt x="264" y="347"/>
                      </a:lnTo>
                      <a:lnTo>
                        <a:pt x="264" y="347"/>
                      </a:lnTo>
                      <a:lnTo>
                        <a:pt x="264" y="347"/>
                      </a:lnTo>
                      <a:lnTo>
                        <a:pt x="264" y="346"/>
                      </a:lnTo>
                      <a:lnTo>
                        <a:pt x="263" y="345"/>
                      </a:lnTo>
                      <a:lnTo>
                        <a:pt x="264" y="345"/>
                      </a:lnTo>
                      <a:lnTo>
                        <a:pt x="263" y="345"/>
                      </a:lnTo>
                      <a:lnTo>
                        <a:pt x="263" y="345"/>
                      </a:lnTo>
                      <a:lnTo>
                        <a:pt x="263" y="345"/>
                      </a:lnTo>
                      <a:lnTo>
                        <a:pt x="262" y="345"/>
                      </a:lnTo>
                      <a:lnTo>
                        <a:pt x="262" y="346"/>
                      </a:lnTo>
                      <a:lnTo>
                        <a:pt x="261" y="346"/>
                      </a:lnTo>
                      <a:lnTo>
                        <a:pt x="261" y="347"/>
                      </a:lnTo>
                      <a:lnTo>
                        <a:pt x="261" y="346"/>
                      </a:lnTo>
                      <a:lnTo>
                        <a:pt x="260" y="346"/>
                      </a:lnTo>
                      <a:lnTo>
                        <a:pt x="260" y="346"/>
                      </a:lnTo>
                      <a:lnTo>
                        <a:pt x="259" y="346"/>
                      </a:lnTo>
                      <a:lnTo>
                        <a:pt x="259" y="347"/>
                      </a:lnTo>
                      <a:lnTo>
                        <a:pt x="259" y="347"/>
                      </a:lnTo>
                      <a:lnTo>
                        <a:pt x="259" y="347"/>
                      </a:lnTo>
                      <a:lnTo>
                        <a:pt x="259" y="348"/>
                      </a:lnTo>
                      <a:lnTo>
                        <a:pt x="258" y="348"/>
                      </a:lnTo>
                      <a:lnTo>
                        <a:pt x="259" y="349"/>
                      </a:lnTo>
                      <a:lnTo>
                        <a:pt x="257" y="349"/>
                      </a:lnTo>
                      <a:lnTo>
                        <a:pt x="257" y="348"/>
                      </a:lnTo>
                      <a:lnTo>
                        <a:pt x="257" y="348"/>
                      </a:lnTo>
                      <a:lnTo>
                        <a:pt x="257" y="348"/>
                      </a:lnTo>
                      <a:lnTo>
                        <a:pt x="257" y="348"/>
                      </a:lnTo>
                      <a:lnTo>
                        <a:pt x="256" y="348"/>
                      </a:lnTo>
                      <a:lnTo>
                        <a:pt x="256" y="348"/>
                      </a:lnTo>
                      <a:lnTo>
                        <a:pt x="255" y="348"/>
                      </a:lnTo>
                      <a:lnTo>
                        <a:pt x="255" y="348"/>
                      </a:lnTo>
                      <a:lnTo>
                        <a:pt x="256" y="348"/>
                      </a:lnTo>
                      <a:lnTo>
                        <a:pt x="256" y="347"/>
                      </a:lnTo>
                      <a:lnTo>
                        <a:pt x="255" y="347"/>
                      </a:lnTo>
                      <a:lnTo>
                        <a:pt x="255" y="346"/>
                      </a:lnTo>
                      <a:lnTo>
                        <a:pt x="254" y="346"/>
                      </a:lnTo>
                      <a:lnTo>
                        <a:pt x="253" y="346"/>
                      </a:lnTo>
                      <a:lnTo>
                        <a:pt x="253" y="346"/>
                      </a:lnTo>
                      <a:lnTo>
                        <a:pt x="252" y="346"/>
                      </a:lnTo>
                      <a:lnTo>
                        <a:pt x="252" y="346"/>
                      </a:lnTo>
                      <a:lnTo>
                        <a:pt x="252" y="345"/>
                      </a:lnTo>
                      <a:lnTo>
                        <a:pt x="251" y="345"/>
                      </a:lnTo>
                      <a:lnTo>
                        <a:pt x="250" y="345"/>
                      </a:lnTo>
                      <a:lnTo>
                        <a:pt x="250" y="345"/>
                      </a:lnTo>
                      <a:lnTo>
                        <a:pt x="250" y="346"/>
                      </a:lnTo>
                      <a:lnTo>
                        <a:pt x="251" y="346"/>
                      </a:lnTo>
                      <a:lnTo>
                        <a:pt x="251" y="347"/>
                      </a:lnTo>
                      <a:lnTo>
                        <a:pt x="251" y="347"/>
                      </a:lnTo>
                      <a:lnTo>
                        <a:pt x="250" y="347"/>
                      </a:lnTo>
                      <a:lnTo>
                        <a:pt x="250" y="347"/>
                      </a:lnTo>
                      <a:lnTo>
                        <a:pt x="250" y="347"/>
                      </a:lnTo>
                      <a:lnTo>
                        <a:pt x="250" y="347"/>
                      </a:lnTo>
                      <a:lnTo>
                        <a:pt x="249" y="347"/>
                      </a:lnTo>
                      <a:lnTo>
                        <a:pt x="249" y="347"/>
                      </a:lnTo>
                      <a:lnTo>
                        <a:pt x="249" y="347"/>
                      </a:lnTo>
                      <a:lnTo>
                        <a:pt x="249" y="348"/>
                      </a:lnTo>
                      <a:lnTo>
                        <a:pt x="249" y="349"/>
                      </a:lnTo>
                      <a:lnTo>
                        <a:pt x="248" y="349"/>
                      </a:lnTo>
                      <a:lnTo>
                        <a:pt x="248" y="349"/>
                      </a:lnTo>
                      <a:lnTo>
                        <a:pt x="248" y="350"/>
                      </a:lnTo>
                      <a:lnTo>
                        <a:pt x="247" y="350"/>
                      </a:lnTo>
                      <a:lnTo>
                        <a:pt x="248" y="350"/>
                      </a:lnTo>
                      <a:lnTo>
                        <a:pt x="247" y="351"/>
                      </a:lnTo>
                      <a:lnTo>
                        <a:pt x="246" y="351"/>
                      </a:lnTo>
                      <a:lnTo>
                        <a:pt x="245" y="351"/>
                      </a:lnTo>
                      <a:lnTo>
                        <a:pt x="244" y="351"/>
                      </a:lnTo>
                      <a:lnTo>
                        <a:pt x="244" y="352"/>
                      </a:lnTo>
                      <a:lnTo>
                        <a:pt x="244" y="352"/>
                      </a:lnTo>
                      <a:lnTo>
                        <a:pt x="242" y="353"/>
                      </a:lnTo>
                      <a:lnTo>
                        <a:pt x="241" y="353"/>
                      </a:lnTo>
                      <a:lnTo>
                        <a:pt x="240" y="353"/>
                      </a:lnTo>
                      <a:lnTo>
                        <a:pt x="240" y="353"/>
                      </a:lnTo>
                      <a:lnTo>
                        <a:pt x="240" y="354"/>
                      </a:lnTo>
                      <a:lnTo>
                        <a:pt x="240" y="354"/>
                      </a:lnTo>
                      <a:lnTo>
                        <a:pt x="239" y="354"/>
                      </a:lnTo>
                      <a:lnTo>
                        <a:pt x="240" y="354"/>
                      </a:lnTo>
                      <a:lnTo>
                        <a:pt x="240" y="355"/>
                      </a:lnTo>
                      <a:lnTo>
                        <a:pt x="240" y="355"/>
                      </a:lnTo>
                      <a:lnTo>
                        <a:pt x="240" y="355"/>
                      </a:lnTo>
                      <a:lnTo>
                        <a:pt x="240" y="356"/>
                      </a:lnTo>
                      <a:lnTo>
                        <a:pt x="240" y="356"/>
                      </a:lnTo>
                      <a:lnTo>
                        <a:pt x="238" y="356"/>
                      </a:lnTo>
                      <a:lnTo>
                        <a:pt x="237" y="357"/>
                      </a:lnTo>
                      <a:lnTo>
                        <a:pt x="237" y="358"/>
                      </a:lnTo>
                      <a:lnTo>
                        <a:pt x="237" y="358"/>
                      </a:lnTo>
                      <a:lnTo>
                        <a:pt x="236" y="358"/>
                      </a:lnTo>
                      <a:lnTo>
                        <a:pt x="235" y="359"/>
                      </a:lnTo>
                      <a:lnTo>
                        <a:pt x="235" y="359"/>
                      </a:lnTo>
                      <a:lnTo>
                        <a:pt x="234" y="359"/>
                      </a:lnTo>
                      <a:lnTo>
                        <a:pt x="234" y="359"/>
                      </a:lnTo>
                      <a:lnTo>
                        <a:pt x="234" y="358"/>
                      </a:lnTo>
                      <a:lnTo>
                        <a:pt x="233" y="358"/>
                      </a:lnTo>
                      <a:lnTo>
                        <a:pt x="233" y="359"/>
                      </a:lnTo>
                      <a:lnTo>
                        <a:pt x="234" y="359"/>
                      </a:lnTo>
                      <a:lnTo>
                        <a:pt x="234" y="359"/>
                      </a:lnTo>
                      <a:lnTo>
                        <a:pt x="234" y="360"/>
                      </a:lnTo>
                      <a:lnTo>
                        <a:pt x="234" y="361"/>
                      </a:lnTo>
                      <a:lnTo>
                        <a:pt x="234" y="362"/>
                      </a:lnTo>
                      <a:lnTo>
                        <a:pt x="234" y="363"/>
                      </a:lnTo>
                      <a:lnTo>
                        <a:pt x="234" y="363"/>
                      </a:lnTo>
                      <a:lnTo>
                        <a:pt x="235" y="363"/>
                      </a:lnTo>
                      <a:lnTo>
                        <a:pt x="235" y="364"/>
                      </a:lnTo>
                      <a:lnTo>
                        <a:pt x="234" y="365"/>
                      </a:lnTo>
                      <a:lnTo>
                        <a:pt x="235" y="365"/>
                      </a:lnTo>
                      <a:lnTo>
                        <a:pt x="235" y="365"/>
                      </a:lnTo>
                      <a:lnTo>
                        <a:pt x="235" y="366"/>
                      </a:lnTo>
                      <a:lnTo>
                        <a:pt x="234" y="367"/>
                      </a:lnTo>
                      <a:lnTo>
                        <a:pt x="234" y="367"/>
                      </a:lnTo>
                      <a:lnTo>
                        <a:pt x="232" y="368"/>
                      </a:lnTo>
                      <a:lnTo>
                        <a:pt x="232" y="369"/>
                      </a:lnTo>
                      <a:lnTo>
                        <a:pt x="231" y="368"/>
                      </a:lnTo>
                      <a:lnTo>
                        <a:pt x="231" y="368"/>
                      </a:lnTo>
                      <a:lnTo>
                        <a:pt x="231" y="367"/>
                      </a:lnTo>
                      <a:lnTo>
                        <a:pt x="231" y="368"/>
                      </a:lnTo>
                      <a:lnTo>
                        <a:pt x="230" y="368"/>
                      </a:lnTo>
                      <a:lnTo>
                        <a:pt x="230" y="367"/>
                      </a:lnTo>
                      <a:lnTo>
                        <a:pt x="230" y="367"/>
                      </a:lnTo>
                      <a:lnTo>
                        <a:pt x="230" y="367"/>
                      </a:lnTo>
                      <a:lnTo>
                        <a:pt x="230" y="366"/>
                      </a:lnTo>
                      <a:lnTo>
                        <a:pt x="229" y="366"/>
                      </a:lnTo>
                      <a:lnTo>
                        <a:pt x="229" y="366"/>
                      </a:lnTo>
                      <a:lnTo>
                        <a:pt x="229" y="365"/>
                      </a:lnTo>
                      <a:lnTo>
                        <a:pt x="229" y="365"/>
                      </a:lnTo>
                      <a:lnTo>
                        <a:pt x="229" y="364"/>
                      </a:lnTo>
                      <a:lnTo>
                        <a:pt x="228" y="364"/>
                      </a:lnTo>
                      <a:lnTo>
                        <a:pt x="228" y="363"/>
                      </a:lnTo>
                      <a:lnTo>
                        <a:pt x="227" y="363"/>
                      </a:lnTo>
                      <a:lnTo>
                        <a:pt x="227" y="363"/>
                      </a:lnTo>
                      <a:lnTo>
                        <a:pt x="227" y="362"/>
                      </a:lnTo>
                      <a:lnTo>
                        <a:pt x="227" y="362"/>
                      </a:lnTo>
                      <a:lnTo>
                        <a:pt x="226" y="362"/>
                      </a:lnTo>
                      <a:lnTo>
                        <a:pt x="226" y="362"/>
                      </a:lnTo>
                      <a:lnTo>
                        <a:pt x="226" y="362"/>
                      </a:lnTo>
                      <a:lnTo>
                        <a:pt x="226" y="361"/>
                      </a:lnTo>
                      <a:lnTo>
                        <a:pt x="225" y="361"/>
                      </a:lnTo>
                      <a:lnTo>
                        <a:pt x="225" y="361"/>
                      </a:lnTo>
                      <a:lnTo>
                        <a:pt x="226" y="361"/>
                      </a:lnTo>
                      <a:lnTo>
                        <a:pt x="225" y="361"/>
                      </a:lnTo>
                      <a:lnTo>
                        <a:pt x="224" y="361"/>
                      </a:lnTo>
                      <a:lnTo>
                        <a:pt x="224" y="361"/>
                      </a:lnTo>
                      <a:lnTo>
                        <a:pt x="224" y="361"/>
                      </a:lnTo>
                      <a:lnTo>
                        <a:pt x="224" y="362"/>
                      </a:lnTo>
                      <a:lnTo>
                        <a:pt x="223" y="362"/>
                      </a:lnTo>
                      <a:lnTo>
                        <a:pt x="223" y="362"/>
                      </a:lnTo>
                      <a:lnTo>
                        <a:pt x="223" y="363"/>
                      </a:lnTo>
                      <a:lnTo>
                        <a:pt x="223" y="363"/>
                      </a:lnTo>
                      <a:lnTo>
                        <a:pt x="222" y="364"/>
                      </a:lnTo>
                      <a:lnTo>
                        <a:pt x="223" y="365"/>
                      </a:lnTo>
                      <a:lnTo>
                        <a:pt x="223" y="365"/>
                      </a:lnTo>
                      <a:lnTo>
                        <a:pt x="222" y="367"/>
                      </a:lnTo>
                      <a:lnTo>
                        <a:pt x="221" y="367"/>
                      </a:lnTo>
                      <a:lnTo>
                        <a:pt x="220" y="367"/>
                      </a:lnTo>
                      <a:lnTo>
                        <a:pt x="219" y="367"/>
                      </a:lnTo>
                      <a:lnTo>
                        <a:pt x="219" y="368"/>
                      </a:lnTo>
                      <a:lnTo>
                        <a:pt x="219" y="369"/>
                      </a:lnTo>
                      <a:lnTo>
                        <a:pt x="219" y="369"/>
                      </a:lnTo>
                      <a:lnTo>
                        <a:pt x="219" y="370"/>
                      </a:lnTo>
                      <a:lnTo>
                        <a:pt x="219" y="372"/>
                      </a:lnTo>
                      <a:lnTo>
                        <a:pt x="219" y="373"/>
                      </a:lnTo>
                      <a:lnTo>
                        <a:pt x="219" y="374"/>
                      </a:lnTo>
                      <a:lnTo>
                        <a:pt x="219" y="374"/>
                      </a:lnTo>
                      <a:lnTo>
                        <a:pt x="219" y="374"/>
                      </a:lnTo>
                      <a:lnTo>
                        <a:pt x="220" y="374"/>
                      </a:lnTo>
                      <a:lnTo>
                        <a:pt x="220" y="375"/>
                      </a:lnTo>
                      <a:lnTo>
                        <a:pt x="220" y="376"/>
                      </a:lnTo>
                      <a:lnTo>
                        <a:pt x="220" y="376"/>
                      </a:lnTo>
                      <a:lnTo>
                        <a:pt x="220" y="377"/>
                      </a:lnTo>
                      <a:lnTo>
                        <a:pt x="220" y="378"/>
                      </a:lnTo>
                      <a:lnTo>
                        <a:pt x="219" y="378"/>
                      </a:lnTo>
                      <a:lnTo>
                        <a:pt x="219" y="378"/>
                      </a:lnTo>
                      <a:lnTo>
                        <a:pt x="218" y="381"/>
                      </a:lnTo>
                      <a:lnTo>
                        <a:pt x="217" y="382"/>
                      </a:lnTo>
                      <a:lnTo>
                        <a:pt x="216" y="385"/>
                      </a:lnTo>
                      <a:lnTo>
                        <a:pt x="217" y="385"/>
                      </a:lnTo>
                      <a:lnTo>
                        <a:pt x="218" y="385"/>
                      </a:lnTo>
                      <a:lnTo>
                        <a:pt x="218" y="385"/>
                      </a:lnTo>
                      <a:lnTo>
                        <a:pt x="219" y="385"/>
                      </a:lnTo>
                      <a:lnTo>
                        <a:pt x="219" y="386"/>
                      </a:lnTo>
                      <a:lnTo>
                        <a:pt x="220" y="386"/>
                      </a:lnTo>
                      <a:lnTo>
                        <a:pt x="220" y="386"/>
                      </a:lnTo>
                      <a:lnTo>
                        <a:pt x="221" y="387"/>
                      </a:lnTo>
                      <a:lnTo>
                        <a:pt x="221" y="387"/>
                      </a:lnTo>
                      <a:lnTo>
                        <a:pt x="221" y="388"/>
                      </a:lnTo>
                      <a:lnTo>
                        <a:pt x="221" y="388"/>
                      </a:lnTo>
                      <a:lnTo>
                        <a:pt x="222" y="389"/>
                      </a:lnTo>
                      <a:lnTo>
                        <a:pt x="222" y="389"/>
                      </a:lnTo>
                      <a:lnTo>
                        <a:pt x="222" y="389"/>
                      </a:lnTo>
                      <a:lnTo>
                        <a:pt x="220" y="389"/>
                      </a:lnTo>
                      <a:lnTo>
                        <a:pt x="221" y="391"/>
                      </a:lnTo>
                      <a:lnTo>
                        <a:pt x="222" y="391"/>
                      </a:lnTo>
                      <a:lnTo>
                        <a:pt x="221" y="392"/>
                      </a:lnTo>
                      <a:lnTo>
                        <a:pt x="222" y="392"/>
                      </a:lnTo>
                      <a:lnTo>
                        <a:pt x="222" y="392"/>
                      </a:lnTo>
                      <a:lnTo>
                        <a:pt x="223" y="393"/>
                      </a:lnTo>
                      <a:lnTo>
                        <a:pt x="223" y="394"/>
                      </a:lnTo>
                      <a:lnTo>
                        <a:pt x="223" y="392"/>
                      </a:lnTo>
                      <a:lnTo>
                        <a:pt x="223" y="392"/>
                      </a:lnTo>
                      <a:lnTo>
                        <a:pt x="224" y="392"/>
                      </a:lnTo>
                      <a:lnTo>
                        <a:pt x="225" y="392"/>
                      </a:lnTo>
                      <a:lnTo>
                        <a:pt x="226" y="392"/>
                      </a:lnTo>
                      <a:lnTo>
                        <a:pt x="226" y="392"/>
                      </a:lnTo>
                      <a:lnTo>
                        <a:pt x="228" y="392"/>
                      </a:lnTo>
                      <a:lnTo>
                        <a:pt x="229" y="392"/>
                      </a:lnTo>
                      <a:lnTo>
                        <a:pt x="229" y="393"/>
                      </a:lnTo>
                      <a:lnTo>
                        <a:pt x="230" y="393"/>
                      </a:lnTo>
                      <a:lnTo>
                        <a:pt x="232" y="396"/>
                      </a:lnTo>
                      <a:lnTo>
                        <a:pt x="233" y="396"/>
                      </a:lnTo>
                      <a:lnTo>
                        <a:pt x="233" y="398"/>
                      </a:lnTo>
                      <a:lnTo>
                        <a:pt x="234" y="399"/>
                      </a:lnTo>
                      <a:lnTo>
                        <a:pt x="234" y="400"/>
                      </a:lnTo>
                      <a:lnTo>
                        <a:pt x="235" y="403"/>
                      </a:lnTo>
                      <a:lnTo>
                        <a:pt x="236" y="403"/>
                      </a:lnTo>
                      <a:lnTo>
                        <a:pt x="236" y="403"/>
                      </a:lnTo>
                      <a:lnTo>
                        <a:pt x="237" y="404"/>
                      </a:lnTo>
                      <a:lnTo>
                        <a:pt x="235" y="404"/>
                      </a:lnTo>
                      <a:lnTo>
                        <a:pt x="234" y="404"/>
                      </a:lnTo>
                      <a:lnTo>
                        <a:pt x="234" y="404"/>
                      </a:lnTo>
                      <a:lnTo>
                        <a:pt x="233" y="404"/>
                      </a:lnTo>
                      <a:lnTo>
                        <a:pt x="233" y="404"/>
                      </a:lnTo>
                      <a:lnTo>
                        <a:pt x="233" y="404"/>
                      </a:lnTo>
                      <a:lnTo>
                        <a:pt x="233" y="405"/>
                      </a:lnTo>
                      <a:lnTo>
                        <a:pt x="232" y="405"/>
                      </a:lnTo>
                      <a:lnTo>
                        <a:pt x="233" y="405"/>
                      </a:lnTo>
                      <a:lnTo>
                        <a:pt x="233" y="406"/>
                      </a:lnTo>
                      <a:lnTo>
                        <a:pt x="233" y="406"/>
                      </a:lnTo>
                      <a:lnTo>
                        <a:pt x="233" y="406"/>
                      </a:lnTo>
                      <a:lnTo>
                        <a:pt x="233" y="406"/>
                      </a:lnTo>
                      <a:lnTo>
                        <a:pt x="234" y="406"/>
                      </a:lnTo>
                      <a:lnTo>
                        <a:pt x="234" y="406"/>
                      </a:lnTo>
                      <a:lnTo>
                        <a:pt x="235" y="407"/>
                      </a:lnTo>
                      <a:lnTo>
                        <a:pt x="235" y="407"/>
                      </a:lnTo>
                      <a:lnTo>
                        <a:pt x="235" y="407"/>
                      </a:lnTo>
                      <a:lnTo>
                        <a:pt x="236" y="407"/>
                      </a:lnTo>
                      <a:lnTo>
                        <a:pt x="236" y="408"/>
                      </a:lnTo>
                      <a:lnTo>
                        <a:pt x="237" y="408"/>
                      </a:lnTo>
                      <a:lnTo>
                        <a:pt x="237" y="408"/>
                      </a:lnTo>
                      <a:lnTo>
                        <a:pt x="237" y="409"/>
                      </a:lnTo>
                      <a:lnTo>
                        <a:pt x="238" y="409"/>
                      </a:lnTo>
                      <a:lnTo>
                        <a:pt x="238" y="409"/>
                      </a:lnTo>
                      <a:lnTo>
                        <a:pt x="238" y="409"/>
                      </a:lnTo>
                      <a:lnTo>
                        <a:pt x="238" y="410"/>
                      </a:lnTo>
                      <a:lnTo>
                        <a:pt x="238" y="410"/>
                      </a:lnTo>
                      <a:lnTo>
                        <a:pt x="239" y="410"/>
                      </a:lnTo>
                      <a:lnTo>
                        <a:pt x="239" y="411"/>
                      </a:lnTo>
                      <a:lnTo>
                        <a:pt x="238" y="411"/>
                      </a:lnTo>
                      <a:lnTo>
                        <a:pt x="238" y="410"/>
                      </a:lnTo>
                      <a:lnTo>
                        <a:pt x="238" y="411"/>
                      </a:lnTo>
                      <a:lnTo>
                        <a:pt x="238" y="411"/>
                      </a:lnTo>
                      <a:lnTo>
                        <a:pt x="238" y="411"/>
                      </a:lnTo>
                      <a:lnTo>
                        <a:pt x="238" y="411"/>
                      </a:lnTo>
                      <a:lnTo>
                        <a:pt x="238" y="411"/>
                      </a:lnTo>
                      <a:lnTo>
                        <a:pt x="238" y="411"/>
                      </a:lnTo>
                      <a:lnTo>
                        <a:pt x="238" y="412"/>
                      </a:lnTo>
                      <a:lnTo>
                        <a:pt x="238" y="413"/>
                      </a:lnTo>
                      <a:lnTo>
                        <a:pt x="238" y="413"/>
                      </a:lnTo>
                      <a:lnTo>
                        <a:pt x="238" y="412"/>
                      </a:lnTo>
                      <a:lnTo>
                        <a:pt x="238" y="413"/>
                      </a:lnTo>
                      <a:lnTo>
                        <a:pt x="237" y="413"/>
                      </a:lnTo>
                      <a:lnTo>
                        <a:pt x="238" y="413"/>
                      </a:lnTo>
                      <a:lnTo>
                        <a:pt x="238" y="412"/>
                      </a:lnTo>
                      <a:lnTo>
                        <a:pt x="237" y="412"/>
                      </a:lnTo>
                      <a:lnTo>
                        <a:pt x="237" y="411"/>
                      </a:lnTo>
                      <a:lnTo>
                        <a:pt x="237" y="412"/>
                      </a:lnTo>
                      <a:lnTo>
                        <a:pt x="237" y="411"/>
                      </a:lnTo>
                      <a:lnTo>
                        <a:pt x="237" y="411"/>
                      </a:lnTo>
                      <a:lnTo>
                        <a:pt x="237" y="411"/>
                      </a:lnTo>
                      <a:lnTo>
                        <a:pt x="237" y="411"/>
                      </a:lnTo>
                      <a:lnTo>
                        <a:pt x="237" y="411"/>
                      </a:lnTo>
                      <a:lnTo>
                        <a:pt x="237" y="411"/>
                      </a:lnTo>
                      <a:lnTo>
                        <a:pt x="237" y="411"/>
                      </a:lnTo>
                      <a:lnTo>
                        <a:pt x="237" y="411"/>
                      </a:lnTo>
                      <a:lnTo>
                        <a:pt x="237" y="411"/>
                      </a:lnTo>
                      <a:lnTo>
                        <a:pt x="237" y="411"/>
                      </a:lnTo>
                      <a:lnTo>
                        <a:pt x="237" y="412"/>
                      </a:lnTo>
                      <a:lnTo>
                        <a:pt x="237" y="411"/>
                      </a:lnTo>
                      <a:lnTo>
                        <a:pt x="236" y="411"/>
                      </a:lnTo>
                      <a:lnTo>
                        <a:pt x="237" y="411"/>
                      </a:lnTo>
                      <a:lnTo>
                        <a:pt x="236" y="411"/>
                      </a:lnTo>
                      <a:lnTo>
                        <a:pt x="237" y="411"/>
                      </a:lnTo>
                      <a:lnTo>
                        <a:pt x="236" y="411"/>
                      </a:lnTo>
                      <a:lnTo>
                        <a:pt x="237" y="411"/>
                      </a:lnTo>
                      <a:lnTo>
                        <a:pt x="236" y="411"/>
                      </a:lnTo>
                      <a:lnTo>
                        <a:pt x="236" y="412"/>
                      </a:lnTo>
                      <a:lnTo>
                        <a:pt x="237" y="412"/>
                      </a:lnTo>
                      <a:lnTo>
                        <a:pt x="236" y="412"/>
                      </a:lnTo>
                      <a:lnTo>
                        <a:pt x="236" y="411"/>
                      </a:lnTo>
                      <a:lnTo>
                        <a:pt x="236" y="412"/>
                      </a:lnTo>
                      <a:lnTo>
                        <a:pt x="236" y="411"/>
                      </a:lnTo>
                      <a:lnTo>
                        <a:pt x="235" y="411"/>
                      </a:lnTo>
                      <a:lnTo>
                        <a:pt x="236" y="411"/>
                      </a:lnTo>
                      <a:lnTo>
                        <a:pt x="236" y="412"/>
                      </a:lnTo>
                      <a:lnTo>
                        <a:pt x="236" y="411"/>
                      </a:lnTo>
                      <a:lnTo>
                        <a:pt x="235" y="412"/>
                      </a:lnTo>
                      <a:lnTo>
                        <a:pt x="236" y="412"/>
                      </a:lnTo>
                      <a:lnTo>
                        <a:pt x="236" y="413"/>
                      </a:lnTo>
                      <a:lnTo>
                        <a:pt x="236" y="412"/>
                      </a:lnTo>
                      <a:lnTo>
                        <a:pt x="236" y="413"/>
                      </a:lnTo>
                      <a:lnTo>
                        <a:pt x="236" y="412"/>
                      </a:lnTo>
                      <a:lnTo>
                        <a:pt x="237" y="412"/>
                      </a:lnTo>
                      <a:lnTo>
                        <a:pt x="236" y="412"/>
                      </a:lnTo>
                      <a:lnTo>
                        <a:pt x="237" y="412"/>
                      </a:lnTo>
                      <a:lnTo>
                        <a:pt x="237" y="413"/>
                      </a:lnTo>
                      <a:lnTo>
                        <a:pt x="237" y="412"/>
                      </a:lnTo>
                      <a:lnTo>
                        <a:pt x="237" y="413"/>
                      </a:lnTo>
                      <a:lnTo>
                        <a:pt x="237" y="412"/>
                      </a:lnTo>
                      <a:lnTo>
                        <a:pt x="236" y="413"/>
                      </a:lnTo>
                      <a:lnTo>
                        <a:pt x="237" y="413"/>
                      </a:lnTo>
                      <a:lnTo>
                        <a:pt x="236" y="413"/>
                      </a:lnTo>
                      <a:lnTo>
                        <a:pt x="237" y="413"/>
                      </a:lnTo>
                      <a:lnTo>
                        <a:pt x="236" y="413"/>
                      </a:lnTo>
                      <a:lnTo>
                        <a:pt x="237" y="413"/>
                      </a:lnTo>
                      <a:lnTo>
                        <a:pt x="237" y="413"/>
                      </a:lnTo>
                      <a:lnTo>
                        <a:pt x="237" y="413"/>
                      </a:lnTo>
                      <a:lnTo>
                        <a:pt x="237" y="413"/>
                      </a:lnTo>
                      <a:lnTo>
                        <a:pt x="237" y="414"/>
                      </a:lnTo>
                      <a:lnTo>
                        <a:pt x="237" y="413"/>
                      </a:lnTo>
                      <a:lnTo>
                        <a:pt x="237" y="413"/>
                      </a:lnTo>
                      <a:lnTo>
                        <a:pt x="236" y="413"/>
                      </a:lnTo>
                      <a:lnTo>
                        <a:pt x="236" y="412"/>
                      </a:lnTo>
                      <a:lnTo>
                        <a:pt x="235" y="412"/>
                      </a:lnTo>
                      <a:lnTo>
                        <a:pt x="236" y="412"/>
                      </a:lnTo>
                      <a:lnTo>
                        <a:pt x="235" y="412"/>
                      </a:lnTo>
                      <a:lnTo>
                        <a:pt x="235" y="413"/>
                      </a:lnTo>
                      <a:lnTo>
                        <a:pt x="235" y="412"/>
                      </a:lnTo>
                      <a:lnTo>
                        <a:pt x="235" y="413"/>
                      </a:lnTo>
                      <a:lnTo>
                        <a:pt x="235" y="412"/>
                      </a:lnTo>
                      <a:lnTo>
                        <a:pt x="235" y="413"/>
                      </a:lnTo>
                      <a:lnTo>
                        <a:pt x="235" y="412"/>
                      </a:lnTo>
                      <a:lnTo>
                        <a:pt x="235" y="413"/>
                      </a:lnTo>
                      <a:lnTo>
                        <a:pt x="236" y="413"/>
                      </a:lnTo>
                      <a:lnTo>
                        <a:pt x="235" y="413"/>
                      </a:lnTo>
                      <a:lnTo>
                        <a:pt x="236" y="413"/>
                      </a:lnTo>
                      <a:lnTo>
                        <a:pt x="236" y="413"/>
                      </a:lnTo>
                      <a:lnTo>
                        <a:pt x="237" y="413"/>
                      </a:lnTo>
                      <a:lnTo>
                        <a:pt x="236" y="413"/>
                      </a:lnTo>
                      <a:lnTo>
                        <a:pt x="236" y="413"/>
                      </a:lnTo>
                      <a:lnTo>
                        <a:pt x="236" y="413"/>
                      </a:lnTo>
                      <a:lnTo>
                        <a:pt x="236" y="413"/>
                      </a:lnTo>
                      <a:lnTo>
                        <a:pt x="236" y="413"/>
                      </a:lnTo>
                      <a:lnTo>
                        <a:pt x="235" y="413"/>
                      </a:lnTo>
                      <a:lnTo>
                        <a:pt x="236" y="413"/>
                      </a:lnTo>
                      <a:lnTo>
                        <a:pt x="236" y="414"/>
                      </a:lnTo>
                      <a:lnTo>
                        <a:pt x="235" y="414"/>
                      </a:lnTo>
                      <a:lnTo>
                        <a:pt x="236" y="414"/>
                      </a:lnTo>
                      <a:lnTo>
                        <a:pt x="235" y="414"/>
                      </a:lnTo>
                      <a:lnTo>
                        <a:pt x="235" y="413"/>
                      </a:lnTo>
                      <a:lnTo>
                        <a:pt x="235" y="414"/>
                      </a:lnTo>
                      <a:lnTo>
                        <a:pt x="235" y="413"/>
                      </a:lnTo>
                      <a:lnTo>
                        <a:pt x="235" y="414"/>
                      </a:lnTo>
                      <a:lnTo>
                        <a:pt x="235" y="414"/>
                      </a:lnTo>
                      <a:lnTo>
                        <a:pt x="235" y="414"/>
                      </a:lnTo>
                      <a:lnTo>
                        <a:pt x="235" y="414"/>
                      </a:lnTo>
                      <a:lnTo>
                        <a:pt x="235" y="414"/>
                      </a:lnTo>
                      <a:lnTo>
                        <a:pt x="235" y="415"/>
                      </a:lnTo>
                      <a:lnTo>
                        <a:pt x="235" y="415"/>
                      </a:lnTo>
                      <a:lnTo>
                        <a:pt x="235" y="415"/>
                      </a:lnTo>
                      <a:lnTo>
                        <a:pt x="235" y="415"/>
                      </a:lnTo>
                      <a:lnTo>
                        <a:pt x="235" y="415"/>
                      </a:lnTo>
                      <a:lnTo>
                        <a:pt x="235" y="415"/>
                      </a:lnTo>
                      <a:lnTo>
                        <a:pt x="235" y="415"/>
                      </a:lnTo>
                      <a:lnTo>
                        <a:pt x="235" y="415"/>
                      </a:lnTo>
                      <a:lnTo>
                        <a:pt x="235" y="415"/>
                      </a:lnTo>
                      <a:lnTo>
                        <a:pt x="235" y="414"/>
                      </a:lnTo>
                      <a:lnTo>
                        <a:pt x="235" y="414"/>
                      </a:lnTo>
                      <a:lnTo>
                        <a:pt x="235" y="414"/>
                      </a:lnTo>
                      <a:lnTo>
                        <a:pt x="235" y="414"/>
                      </a:lnTo>
                      <a:lnTo>
                        <a:pt x="234" y="414"/>
                      </a:lnTo>
                      <a:lnTo>
                        <a:pt x="234" y="414"/>
                      </a:lnTo>
                      <a:lnTo>
                        <a:pt x="234" y="414"/>
                      </a:lnTo>
                      <a:lnTo>
                        <a:pt x="234" y="414"/>
                      </a:lnTo>
                      <a:lnTo>
                        <a:pt x="234" y="415"/>
                      </a:lnTo>
                      <a:lnTo>
                        <a:pt x="235" y="415"/>
                      </a:lnTo>
                      <a:lnTo>
                        <a:pt x="234" y="415"/>
                      </a:lnTo>
                      <a:lnTo>
                        <a:pt x="234" y="415"/>
                      </a:lnTo>
                      <a:lnTo>
                        <a:pt x="234" y="415"/>
                      </a:lnTo>
                      <a:lnTo>
                        <a:pt x="234" y="415"/>
                      </a:lnTo>
                      <a:lnTo>
                        <a:pt x="234" y="416"/>
                      </a:lnTo>
                      <a:lnTo>
                        <a:pt x="234" y="417"/>
                      </a:lnTo>
                      <a:lnTo>
                        <a:pt x="234" y="416"/>
                      </a:lnTo>
                      <a:lnTo>
                        <a:pt x="234" y="417"/>
                      </a:lnTo>
                      <a:lnTo>
                        <a:pt x="234" y="416"/>
                      </a:lnTo>
                      <a:lnTo>
                        <a:pt x="234" y="417"/>
                      </a:lnTo>
                      <a:lnTo>
                        <a:pt x="234" y="416"/>
                      </a:lnTo>
                      <a:lnTo>
                        <a:pt x="234" y="417"/>
                      </a:lnTo>
                      <a:lnTo>
                        <a:pt x="235" y="417"/>
                      </a:lnTo>
                      <a:lnTo>
                        <a:pt x="234" y="417"/>
                      </a:lnTo>
                      <a:lnTo>
                        <a:pt x="235" y="417"/>
                      </a:lnTo>
                      <a:lnTo>
                        <a:pt x="235" y="416"/>
                      </a:lnTo>
                      <a:lnTo>
                        <a:pt x="234" y="416"/>
                      </a:lnTo>
                      <a:lnTo>
                        <a:pt x="235" y="416"/>
                      </a:lnTo>
                      <a:lnTo>
                        <a:pt x="235" y="415"/>
                      </a:lnTo>
                      <a:lnTo>
                        <a:pt x="235" y="416"/>
                      </a:lnTo>
                      <a:lnTo>
                        <a:pt x="235" y="415"/>
                      </a:lnTo>
                      <a:lnTo>
                        <a:pt x="235" y="416"/>
                      </a:lnTo>
                      <a:lnTo>
                        <a:pt x="235" y="415"/>
                      </a:lnTo>
                      <a:lnTo>
                        <a:pt x="235" y="415"/>
                      </a:lnTo>
                      <a:lnTo>
                        <a:pt x="235" y="416"/>
                      </a:lnTo>
                      <a:lnTo>
                        <a:pt x="235" y="415"/>
                      </a:lnTo>
                      <a:lnTo>
                        <a:pt x="235" y="416"/>
                      </a:lnTo>
                      <a:lnTo>
                        <a:pt x="235" y="415"/>
                      </a:lnTo>
                      <a:lnTo>
                        <a:pt x="235" y="416"/>
                      </a:lnTo>
                      <a:lnTo>
                        <a:pt x="235" y="416"/>
                      </a:lnTo>
                      <a:lnTo>
                        <a:pt x="235" y="416"/>
                      </a:lnTo>
                      <a:lnTo>
                        <a:pt x="235" y="415"/>
                      </a:lnTo>
                      <a:lnTo>
                        <a:pt x="235" y="416"/>
                      </a:lnTo>
                      <a:lnTo>
                        <a:pt x="235" y="415"/>
                      </a:lnTo>
                      <a:lnTo>
                        <a:pt x="235" y="416"/>
                      </a:lnTo>
                      <a:lnTo>
                        <a:pt x="235" y="416"/>
                      </a:lnTo>
                      <a:lnTo>
                        <a:pt x="235" y="416"/>
                      </a:lnTo>
                      <a:lnTo>
                        <a:pt x="235" y="416"/>
                      </a:lnTo>
                      <a:lnTo>
                        <a:pt x="235" y="415"/>
                      </a:lnTo>
                      <a:lnTo>
                        <a:pt x="235" y="416"/>
                      </a:lnTo>
                      <a:lnTo>
                        <a:pt x="235" y="415"/>
                      </a:lnTo>
                      <a:lnTo>
                        <a:pt x="235" y="416"/>
                      </a:lnTo>
                      <a:lnTo>
                        <a:pt x="235" y="415"/>
                      </a:lnTo>
                      <a:lnTo>
                        <a:pt x="235" y="416"/>
                      </a:lnTo>
                      <a:lnTo>
                        <a:pt x="235" y="415"/>
                      </a:lnTo>
                      <a:lnTo>
                        <a:pt x="235" y="416"/>
                      </a:lnTo>
                      <a:lnTo>
                        <a:pt x="235" y="416"/>
                      </a:lnTo>
                      <a:lnTo>
                        <a:pt x="235" y="416"/>
                      </a:lnTo>
                      <a:lnTo>
                        <a:pt x="235" y="417"/>
                      </a:lnTo>
                      <a:lnTo>
                        <a:pt x="234" y="417"/>
                      </a:lnTo>
                      <a:lnTo>
                        <a:pt x="234" y="417"/>
                      </a:lnTo>
                      <a:lnTo>
                        <a:pt x="234" y="417"/>
                      </a:lnTo>
                      <a:lnTo>
                        <a:pt x="234" y="417"/>
                      </a:lnTo>
                      <a:lnTo>
                        <a:pt x="234" y="417"/>
                      </a:lnTo>
                      <a:lnTo>
                        <a:pt x="234" y="417"/>
                      </a:lnTo>
                      <a:lnTo>
                        <a:pt x="234" y="417"/>
                      </a:lnTo>
                      <a:lnTo>
                        <a:pt x="234" y="417"/>
                      </a:lnTo>
                      <a:lnTo>
                        <a:pt x="233" y="417"/>
                      </a:lnTo>
                      <a:lnTo>
                        <a:pt x="234" y="417"/>
                      </a:lnTo>
                      <a:lnTo>
                        <a:pt x="233" y="417"/>
                      </a:lnTo>
                      <a:lnTo>
                        <a:pt x="234" y="417"/>
                      </a:lnTo>
                      <a:lnTo>
                        <a:pt x="233" y="417"/>
                      </a:lnTo>
                      <a:lnTo>
                        <a:pt x="233" y="417"/>
                      </a:lnTo>
                      <a:lnTo>
                        <a:pt x="233" y="417"/>
                      </a:lnTo>
                      <a:lnTo>
                        <a:pt x="233" y="417"/>
                      </a:lnTo>
                      <a:lnTo>
                        <a:pt x="233" y="417"/>
                      </a:lnTo>
                      <a:lnTo>
                        <a:pt x="233" y="417"/>
                      </a:lnTo>
                      <a:lnTo>
                        <a:pt x="233" y="417"/>
                      </a:lnTo>
                      <a:lnTo>
                        <a:pt x="233" y="417"/>
                      </a:lnTo>
                      <a:lnTo>
                        <a:pt x="233" y="417"/>
                      </a:lnTo>
                      <a:lnTo>
                        <a:pt x="233" y="417"/>
                      </a:lnTo>
                      <a:lnTo>
                        <a:pt x="233" y="417"/>
                      </a:lnTo>
                      <a:lnTo>
                        <a:pt x="233" y="416"/>
                      </a:lnTo>
                      <a:lnTo>
                        <a:pt x="233" y="416"/>
                      </a:lnTo>
                      <a:lnTo>
                        <a:pt x="233" y="417"/>
                      </a:lnTo>
                      <a:lnTo>
                        <a:pt x="233" y="416"/>
                      </a:lnTo>
                      <a:lnTo>
                        <a:pt x="233" y="416"/>
                      </a:lnTo>
                      <a:lnTo>
                        <a:pt x="233" y="417"/>
                      </a:lnTo>
                      <a:lnTo>
                        <a:pt x="233" y="416"/>
                      </a:lnTo>
                      <a:lnTo>
                        <a:pt x="233" y="417"/>
                      </a:lnTo>
                      <a:lnTo>
                        <a:pt x="233" y="417"/>
                      </a:lnTo>
                      <a:lnTo>
                        <a:pt x="232" y="417"/>
                      </a:lnTo>
                      <a:lnTo>
                        <a:pt x="232" y="418"/>
                      </a:lnTo>
                      <a:lnTo>
                        <a:pt x="231" y="418"/>
                      </a:lnTo>
                      <a:lnTo>
                        <a:pt x="231" y="418"/>
                      </a:lnTo>
                      <a:lnTo>
                        <a:pt x="231" y="418"/>
                      </a:lnTo>
                      <a:lnTo>
                        <a:pt x="231" y="418"/>
                      </a:lnTo>
                      <a:lnTo>
                        <a:pt x="231" y="418"/>
                      </a:lnTo>
                      <a:lnTo>
                        <a:pt x="231" y="418"/>
                      </a:lnTo>
                      <a:lnTo>
                        <a:pt x="231" y="418"/>
                      </a:lnTo>
                      <a:lnTo>
                        <a:pt x="231" y="417"/>
                      </a:lnTo>
                      <a:lnTo>
                        <a:pt x="231" y="417"/>
                      </a:lnTo>
                      <a:lnTo>
                        <a:pt x="231" y="417"/>
                      </a:lnTo>
                      <a:lnTo>
                        <a:pt x="231" y="417"/>
                      </a:lnTo>
                      <a:lnTo>
                        <a:pt x="231" y="417"/>
                      </a:lnTo>
                      <a:lnTo>
                        <a:pt x="231" y="416"/>
                      </a:lnTo>
                      <a:lnTo>
                        <a:pt x="231" y="415"/>
                      </a:lnTo>
                      <a:lnTo>
                        <a:pt x="230" y="415"/>
                      </a:lnTo>
                      <a:lnTo>
                        <a:pt x="230" y="416"/>
                      </a:lnTo>
                      <a:lnTo>
                        <a:pt x="231" y="416"/>
                      </a:lnTo>
                      <a:lnTo>
                        <a:pt x="230" y="416"/>
                      </a:lnTo>
                      <a:lnTo>
                        <a:pt x="231" y="416"/>
                      </a:lnTo>
                      <a:lnTo>
                        <a:pt x="230" y="416"/>
                      </a:lnTo>
                      <a:lnTo>
                        <a:pt x="230" y="415"/>
                      </a:lnTo>
                      <a:lnTo>
                        <a:pt x="230" y="416"/>
                      </a:lnTo>
                      <a:lnTo>
                        <a:pt x="230" y="415"/>
                      </a:lnTo>
                      <a:lnTo>
                        <a:pt x="230" y="416"/>
                      </a:lnTo>
                      <a:lnTo>
                        <a:pt x="230" y="416"/>
                      </a:lnTo>
                      <a:lnTo>
                        <a:pt x="230" y="417"/>
                      </a:lnTo>
                      <a:lnTo>
                        <a:pt x="229" y="417"/>
                      </a:lnTo>
                      <a:lnTo>
                        <a:pt x="230" y="417"/>
                      </a:lnTo>
                      <a:lnTo>
                        <a:pt x="229" y="417"/>
                      </a:lnTo>
                      <a:lnTo>
                        <a:pt x="230" y="417"/>
                      </a:lnTo>
                      <a:lnTo>
                        <a:pt x="229" y="417"/>
                      </a:lnTo>
                      <a:lnTo>
                        <a:pt x="229" y="417"/>
                      </a:lnTo>
                      <a:lnTo>
                        <a:pt x="230" y="417"/>
                      </a:lnTo>
                      <a:lnTo>
                        <a:pt x="230" y="418"/>
                      </a:lnTo>
                      <a:lnTo>
                        <a:pt x="230" y="417"/>
                      </a:lnTo>
                      <a:lnTo>
                        <a:pt x="230" y="418"/>
                      </a:lnTo>
                      <a:lnTo>
                        <a:pt x="229" y="418"/>
                      </a:lnTo>
                      <a:lnTo>
                        <a:pt x="230" y="418"/>
                      </a:lnTo>
                      <a:lnTo>
                        <a:pt x="230" y="418"/>
                      </a:lnTo>
                      <a:lnTo>
                        <a:pt x="230" y="418"/>
                      </a:lnTo>
                      <a:lnTo>
                        <a:pt x="230" y="418"/>
                      </a:lnTo>
                      <a:lnTo>
                        <a:pt x="230" y="418"/>
                      </a:lnTo>
                      <a:lnTo>
                        <a:pt x="230" y="419"/>
                      </a:lnTo>
                      <a:lnTo>
                        <a:pt x="230" y="419"/>
                      </a:lnTo>
                      <a:lnTo>
                        <a:pt x="230" y="420"/>
                      </a:lnTo>
                      <a:lnTo>
                        <a:pt x="230" y="419"/>
                      </a:lnTo>
                      <a:lnTo>
                        <a:pt x="230" y="420"/>
                      </a:lnTo>
                      <a:lnTo>
                        <a:pt x="230" y="420"/>
                      </a:lnTo>
                      <a:lnTo>
                        <a:pt x="230" y="420"/>
                      </a:lnTo>
                      <a:lnTo>
                        <a:pt x="230" y="420"/>
                      </a:lnTo>
                      <a:lnTo>
                        <a:pt x="230" y="420"/>
                      </a:lnTo>
                      <a:lnTo>
                        <a:pt x="230" y="420"/>
                      </a:lnTo>
                      <a:lnTo>
                        <a:pt x="230" y="419"/>
                      </a:lnTo>
                      <a:lnTo>
                        <a:pt x="230" y="420"/>
                      </a:lnTo>
                      <a:lnTo>
                        <a:pt x="231" y="420"/>
                      </a:lnTo>
                      <a:lnTo>
                        <a:pt x="230" y="420"/>
                      </a:lnTo>
                      <a:lnTo>
                        <a:pt x="231" y="420"/>
                      </a:lnTo>
                      <a:lnTo>
                        <a:pt x="230" y="420"/>
                      </a:lnTo>
                      <a:lnTo>
                        <a:pt x="230" y="420"/>
                      </a:lnTo>
                      <a:lnTo>
                        <a:pt x="230" y="420"/>
                      </a:lnTo>
                      <a:lnTo>
                        <a:pt x="230" y="420"/>
                      </a:lnTo>
                      <a:lnTo>
                        <a:pt x="230" y="420"/>
                      </a:lnTo>
                      <a:lnTo>
                        <a:pt x="230" y="420"/>
                      </a:lnTo>
                      <a:lnTo>
                        <a:pt x="229" y="420"/>
                      </a:lnTo>
                      <a:lnTo>
                        <a:pt x="230" y="420"/>
                      </a:lnTo>
                      <a:lnTo>
                        <a:pt x="229" y="420"/>
                      </a:lnTo>
                      <a:lnTo>
                        <a:pt x="230" y="420"/>
                      </a:lnTo>
                      <a:lnTo>
                        <a:pt x="229" y="420"/>
                      </a:lnTo>
                      <a:lnTo>
                        <a:pt x="230" y="420"/>
                      </a:lnTo>
                      <a:lnTo>
                        <a:pt x="229" y="420"/>
                      </a:lnTo>
                      <a:lnTo>
                        <a:pt x="230" y="420"/>
                      </a:lnTo>
                      <a:lnTo>
                        <a:pt x="229" y="420"/>
                      </a:lnTo>
                      <a:lnTo>
                        <a:pt x="229" y="419"/>
                      </a:lnTo>
                      <a:lnTo>
                        <a:pt x="229" y="420"/>
                      </a:lnTo>
                      <a:lnTo>
                        <a:pt x="229" y="419"/>
                      </a:lnTo>
                      <a:lnTo>
                        <a:pt x="230" y="420"/>
                      </a:lnTo>
                      <a:lnTo>
                        <a:pt x="230" y="419"/>
                      </a:lnTo>
                      <a:lnTo>
                        <a:pt x="229" y="419"/>
                      </a:lnTo>
                      <a:lnTo>
                        <a:pt x="229" y="418"/>
                      </a:lnTo>
                      <a:lnTo>
                        <a:pt x="229" y="419"/>
                      </a:lnTo>
                      <a:lnTo>
                        <a:pt x="229" y="418"/>
                      </a:lnTo>
                      <a:lnTo>
                        <a:pt x="229" y="419"/>
                      </a:lnTo>
                      <a:lnTo>
                        <a:pt x="229" y="418"/>
                      </a:lnTo>
                      <a:lnTo>
                        <a:pt x="229" y="419"/>
                      </a:lnTo>
                      <a:lnTo>
                        <a:pt x="229" y="418"/>
                      </a:lnTo>
                      <a:lnTo>
                        <a:pt x="229" y="419"/>
                      </a:lnTo>
                      <a:lnTo>
                        <a:pt x="229" y="418"/>
                      </a:lnTo>
                      <a:lnTo>
                        <a:pt x="229" y="418"/>
                      </a:lnTo>
                      <a:lnTo>
                        <a:pt x="229" y="418"/>
                      </a:lnTo>
                      <a:lnTo>
                        <a:pt x="229" y="418"/>
                      </a:lnTo>
                      <a:lnTo>
                        <a:pt x="229" y="417"/>
                      </a:lnTo>
                      <a:lnTo>
                        <a:pt x="229" y="418"/>
                      </a:lnTo>
                      <a:lnTo>
                        <a:pt x="229" y="418"/>
                      </a:lnTo>
                      <a:lnTo>
                        <a:pt x="229" y="418"/>
                      </a:lnTo>
                      <a:lnTo>
                        <a:pt x="229" y="418"/>
                      </a:lnTo>
                      <a:lnTo>
                        <a:pt x="229" y="417"/>
                      </a:lnTo>
                      <a:lnTo>
                        <a:pt x="229" y="417"/>
                      </a:lnTo>
                      <a:lnTo>
                        <a:pt x="229" y="417"/>
                      </a:lnTo>
                      <a:lnTo>
                        <a:pt x="229" y="417"/>
                      </a:lnTo>
                      <a:lnTo>
                        <a:pt x="229" y="417"/>
                      </a:lnTo>
                      <a:lnTo>
                        <a:pt x="229" y="417"/>
                      </a:lnTo>
                      <a:lnTo>
                        <a:pt x="229" y="417"/>
                      </a:lnTo>
                      <a:lnTo>
                        <a:pt x="229" y="417"/>
                      </a:lnTo>
                      <a:lnTo>
                        <a:pt x="229" y="417"/>
                      </a:lnTo>
                      <a:lnTo>
                        <a:pt x="229" y="417"/>
                      </a:lnTo>
                      <a:lnTo>
                        <a:pt x="229" y="417"/>
                      </a:lnTo>
                      <a:lnTo>
                        <a:pt x="229" y="417"/>
                      </a:lnTo>
                      <a:lnTo>
                        <a:pt x="229" y="417"/>
                      </a:lnTo>
                      <a:lnTo>
                        <a:pt x="229" y="417"/>
                      </a:lnTo>
                      <a:lnTo>
                        <a:pt x="229" y="417"/>
                      </a:lnTo>
                      <a:lnTo>
                        <a:pt x="229" y="417"/>
                      </a:lnTo>
                      <a:lnTo>
                        <a:pt x="229" y="417"/>
                      </a:lnTo>
                      <a:lnTo>
                        <a:pt x="229" y="417"/>
                      </a:lnTo>
                      <a:lnTo>
                        <a:pt x="229" y="417"/>
                      </a:lnTo>
                      <a:lnTo>
                        <a:pt x="229" y="417"/>
                      </a:lnTo>
                      <a:lnTo>
                        <a:pt x="229" y="416"/>
                      </a:lnTo>
                      <a:lnTo>
                        <a:pt x="229" y="417"/>
                      </a:lnTo>
                      <a:lnTo>
                        <a:pt x="229" y="416"/>
                      </a:lnTo>
                      <a:lnTo>
                        <a:pt x="229" y="417"/>
                      </a:lnTo>
                      <a:lnTo>
                        <a:pt x="229" y="417"/>
                      </a:lnTo>
                      <a:lnTo>
                        <a:pt x="229" y="417"/>
                      </a:lnTo>
                      <a:lnTo>
                        <a:pt x="228" y="417"/>
                      </a:lnTo>
                      <a:lnTo>
                        <a:pt x="229" y="417"/>
                      </a:lnTo>
                      <a:lnTo>
                        <a:pt x="229" y="417"/>
                      </a:lnTo>
                      <a:lnTo>
                        <a:pt x="228" y="417"/>
                      </a:lnTo>
                      <a:lnTo>
                        <a:pt x="229" y="417"/>
                      </a:lnTo>
                      <a:lnTo>
                        <a:pt x="229" y="418"/>
                      </a:lnTo>
                      <a:lnTo>
                        <a:pt x="229" y="417"/>
                      </a:lnTo>
                      <a:lnTo>
                        <a:pt x="229" y="418"/>
                      </a:lnTo>
                      <a:lnTo>
                        <a:pt x="229" y="418"/>
                      </a:lnTo>
                      <a:lnTo>
                        <a:pt x="229" y="419"/>
                      </a:lnTo>
                      <a:lnTo>
                        <a:pt x="229" y="420"/>
                      </a:lnTo>
                      <a:lnTo>
                        <a:pt x="229" y="420"/>
                      </a:lnTo>
                      <a:lnTo>
                        <a:pt x="228" y="420"/>
                      </a:lnTo>
                      <a:lnTo>
                        <a:pt x="229" y="420"/>
                      </a:lnTo>
                      <a:lnTo>
                        <a:pt x="228" y="420"/>
                      </a:lnTo>
                      <a:lnTo>
                        <a:pt x="229" y="420"/>
                      </a:lnTo>
                      <a:lnTo>
                        <a:pt x="228" y="420"/>
                      </a:lnTo>
                      <a:lnTo>
                        <a:pt x="229" y="420"/>
                      </a:lnTo>
                      <a:lnTo>
                        <a:pt x="228" y="420"/>
                      </a:lnTo>
                      <a:lnTo>
                        <a:pt x="227" y="420"/>
                      </a:lnTo>
                      <a:lnTo>
                        <a:pt x="227" y="420"/>
                      </a:lnTo>
                      <a:lnTo>
                        <a:pt x="227" y="419"/>
                      </a:lnTo>
                      <a:lnTo>
                        <a:pt x="227" y="419"/>
                      </a:lnTo>
                      <a:lnTo>
                        <a:pt x="227" y="418"/>
                      </a:lnTo>
                      <a:lnTo>
                        <a:pt x="227" y="418"/>
                      </a:lnTo>
                      <a:lnTo>
                        <a:pt x="227" y="419"/>
                      </a:lnTo>
                      <a:lnTo>
                        <a:pt x="227" y="418"/>
                      </a:lnTo>
                      <a:lnTo>
                        <a:pt x="227" y="418"/>
                      </a:lnTo>
                      <a:lnTo>
                        <a:pt x="227" y="418"/>
                      </a:lnTo>
                      <a:lnTo>
                        <a:pt x="227" y="418"/>
                      </a:lnTo>
                      <a:lnTo>
                        <a:pt x="227" y="418"/>
                      </a:lnTo>
                      <a:lnTo>
                        <a:pt x="227" y="417"/>
                      </a:lnTo>
                      <a:lnTo>
                        <a:pt x="227" y="418"/>
                      </a:lnTo>
                      <a:lnTo>
                        <a:pt x="227" y="417"/>
                      </a:lnTo>
                      <a:lnTo>
                        <a:pt x="226" y="417"/>
                      </a:lnTo>
                      <a:lnTo>
                        <a:pt x="227" y="417"/>
                      </a:lnTo>
                      <a:lnTo>
                        <a:pt x="226" y="417"/>
                      </a:lnTo>
                      <a:lnTo>
                        <a:pt x="227" y="417"/>
                      </a:lnTo>
                      <a:lnTo>
                        <a:pt x="227" y="417"/>
                      </a:lnTo>
                      <a:lnTo>
                        <a:pt x="226" y="417"/>
                      </a:lnTo>
                      <a:lnTo>
                        <a:pt x="226" y="417"/>
                      </a:lnTo>
                      <a:lnTo>
                        <a:pt x="226" y="417"/>
                      </a:lnTo>
                      <a:lnTo>
                        <a:pt x="226" y="417"/>
                      </a:lnTo>
                      <a:lnTo>
                        <a:pt x="226" y="417"/>
                      </a:lnTo>
                      <a:lnTo>
                        <a:pt x="226" y="417"/>
                      </a:lnTo>
                      <a:lnTo>
                        <a:pt x="226" y="417"/>
                      </a:lnTo>
                      <a:lnTo>
                        <a:pt x="226" y="417"/>
                      </a:lnTo>
                      <a:lnTo>
                        <a:pt x="226" y="417"/>
                      </a:lnTo>
                      <a:lnTo>
                        <a:pt x="226" y="418"/>
                      </a:lnTo>
                      <a:lnTo>
                        <a:pt x="226" y="417"/>
                      </a:lnTo>
                      <a:lnTo>
                        <a:pt x="226" y="418"/>
                      </a:lnTo>
                      <a:lnTo>
                        <a:pt x="227" y="418"/>
                      </a:lnTo>
                      <a:lnTo>
                        <a:pt x="226" y="418"/>
                      </a:lnTo>
                      <a:lnTo>
                        <a:pt x="226" y="418"/>
                      </a:lnTo>
                      <a:lnTo>
                        <a:pt x="227" y="418"/>
                      </a:lnTo>
                      <a:lnTo>
                        <a:pt x="226" y="418"/>
                      </a:lnTo>
                      <a:lnTo>
                        <a:pt x="226" y="419"/>
                      </a:lnTo>
                      <a:lnTo>
                        <a:pt x="226" y="418"/>
                      </a:lnTo>
                      <a:lnTo>
                        <a:pt x="226" y="418"/>
                      </a:lnTo>
                      <a:lnTo>
                        <a:pt x="226" y="417"/>
                      </a:lnTo>
                      <a:lnTo>
                        <a:pt x="226" y="417"/>
                      </a:lnTo>
                      <a:lnTo>
                        <a:pt x="226" y="416"/>
                      </a:lnTo>
                      <a:lnTo>
                        <a:pt x="226" y="415"/>
                      </a:lnTo>
                      <a:lnTo>
                        <a:pt x="226" y="415"/>
                      </a:lnTo>
                      <a:lnTo>
                        <a:pt x="226" y="415"/>
                      </a:lnTo>
                      <a:lnTo>
                        <a:pt x="226" y="415"/>
                      </a:lnTo>
                      <a:lnTo>
                        <a:pt x="226" y="416"/>
                      </a:lnTo>
                      <a:lnTo>
                        <a:pt x="226" y="415"/>
                      </a:lnTo>
                      <a:lnTo>
                        <a:pt x="226" y="415"/>
                      </a:lnTo>
                      <a:lnTo>
                        <a:pt x="226" y="414"/>
                      </a:lnTo>
                      <a:lnTo>
                        <a:pt x="226" y="414"/>
                      </a:lnTo>
                      <a:lnTo>
                        <a:pt x="226" y="414"/>
                      </a:lnTo>
                      <a:lnTo>
                        <a:pt x="226" y="414"/>
                      </a:lnTo>
                      <a:lnTo>
                        <a:pt x="226" y="414"/>
                      </a:lnTo>
                      <a:lnTo>
                        <a:pt x="225" y="414"/>
                      </a:lnTo>
                      <a:lnTo>
                        <a:pt x="225" y="414"/>
                      </a:lnTo>
                      <a:lnTo>
                        <a:pt x="226" y="414"/>
                      </a:lnTo>
                      <a:lnTo>
                        <a:pt x="226" y="413"/>
                      </a:lnTo>
                      <a:lnTo>
                        <a:pt x="226" y="413"/>
                      </a:lnTo>
                      <a:lnTo>
                        <a:pt x="226" y="413"/>
                      </a:lnTo>
                      <a:lnTo>
                        <a:pt x="226" y="412"/>
                      </a:lnTo>
                      <a:lnTo>
                        <a:pt x="226" y="411"/>
                      </a:lnTo>
                      <a:lnTo>
                        <a:pt x="227" y="411"/>
                      </a:lnTo>
                      <a:lnTo>
                        <a:pt x="226" y="411"/>
                      </a:lnTo>
                      <a:lnTo>
                        <a:pt x="227" y="411"/>
                      </a:lnTo>
                      <a:lnTo>
                        <a:pt x="227" y="411"/>
                      </a:lnTo>
                      <a:lnTo>
                        <a:pt x="227" y="411"/>
                      </a:lnTo>
                      <a:lnTo>
                        <a:pt x="226" y="411"/>
                      </a:lnTo>
                      <a:lnTo>
                        <a:pt x="226" y="412"/>
                      </a:lnTo>
                      <a:lnTo>
                        <a:pt x="226" y="413"/>
                      </a:lnTo>
                      <a:lnTo>
                        <a:pt x="226" y="413"/>
                      </a:lnTo>
                      <a:lnTo>
                        <a:pt x="225" y="413"/>
                      </a:lnTo>
                      <a:lnTo>
                        <a:pt x="226" y="413"/>
                      </a:lnTo>
                      <a:lnTo>
                        <a:pt x="226" y="414"/>
                      </a:lnTo>
                      <a:lnTo>
                        <a:pt x="225" y="414"/>
                      </a:lnTo>
                      <a:lnTo>
                        <a:pt x="225" y="414"/>
                      </a:lnTo>
                      <a:lnTo>
                        <a:pt x="224" y="414"/>
                      </a:lnTo>
                      <a:lnTo>
                        <a:pt x="225" y="414"/>
                      </a:lnTo>
                      <a:lnTo>
                        <a:pt x="226" y="414"/>
                      </a:lnTo>
                      <a:lnTo>
                        <a:pt x="225" y="414"/>
                      </a:lnTo>
                      <a:lnTo>
                        <a:pt x="225" y="415"/>
                      </a:lnTo>
                      <a:lnTo>
                        <a:pt x="225" y="414"/>
                      </a:lnTo>
                      <a:lnTo>
                        <a:pt x="224" y="414"/>
                      </a:lnTo>
                      <a:lnTo>
                        <a:pt x="224" y="415"/>
                      </a:lnTo>
                      <a:lnTo>
                        <a:pt x="225" y="415"/>
                      </a:lnTo>
                      <a:lnTo>
                        <a:pt x="226" y="416"/>
                      </a:lnTo>
                      <a:lnTo>
                        <a:pt x="226" y="417"/>
                      </a:lnTo>
                      <a:lnTo>
                        <a:pt x="226" y="417"/>
                      </a:lnTo>
                      <a:lnTo>
                        <a:pt x="226" y="417"/>
                      </a:lnTo>
                      <a:lnTo>
                        <a:pt x="226" y="418"/>
                      </a:lnTo>
                      <a:lnTo>
                        <a:pt x="226" y="418"/>
                      </a:lnTo>
                      <a:lnTo>
                        <a:pt x="226" y="419"/>
                      </a:lnTo>
                      <a:lnTo>
                        <a:pt x="227" y="420"/>
                      </a:lnTo>
                      <a:lnTo>
                        <a:pt x="226" y="420"/>
                      </a:lnTo>
                      <a:lnTo>
                        <a:pt x="227" y="420"/>
                      </a:lnTo>
                      <a:lnTo>
                        <a:pt x="226" y="420"/>
                      </a:lnTo>
                      <a:lnTo>
                        <a:pt x="226" y="420"/>
                      </a:lnTo>
                      <a:lnTo>
                        <a:pt x="227" y="420"/>
                      </a:lnTo>
                      <a:lnTo>
                        <a:pt x="226" y="420"/>
                      </a:lnTo>
                      <a:lnTo>
                        <a:pt x="226" y="419"/>
                      </a:lnTo>
                      <a:lnTo>
                        <a:pt x="226" y="418"/>
                      </a:lnTo>
                      <a:lnTo>
                        <a:pt x="226" y="418"/>
                      </a:lnTo>
                      <a:lnTo>
                        <a:pt x="226" y="418"/>
                      </a:lnTo>
                      <a:lnTo>
                        <a:pt x="226" y="418"/>
                      </a:lnTo>
                      <a:lnTo>
                        <a:pt x="226" y="418"/>
                      </a:lnTo>
                      <a:lnTo>
                        <a:pt x="226" y="418"/>
                      </a:lnTo>
                      <a:lnTo>
                        <a:pt x="226" y="418"/>
                      </a:lnTo>
                      <a:lnTo>
                        <a:pt x="226" y="417"/>
                      </a:lnTo>
                      <a:lnTo>
                        <a:pt x="226" y="417"/>
                      </a:lnTo>
                      <a:lnTo>
                        <a:pt x="226" y="417"/>
                      </a:lnTo>
                      <a:lnTo>
                        <a:pt x="226" y="417"/>
                      </a:lnTo>
                      <a:lnTo>
                        <a:pt x="226" y="417"/>
                      </a:lnTo>
                      <a:lnTo>
                        <a:pt x="226" y="417"/>
                      </a:lnTo>
                      <a:lnTo>
                        <a:pt x="226" y="417"/>
                      </a:lnTo>
                      <a:lnTo>
                        <a:pt x="226" y="417"/>
                      </a:lnTo>
                      <a:lnTo>
                        <a:pt x="226" y="417"/>
                      </a:lnTo>
                      <a:lnTo>
                        <a:pt x="226" y="417"/>
                      </a:lnTo>
                      <a:lnTo>
                        <a:pt x="226" y="417"/>
                      </a:lnTo>
                      <a:lnTo>
                        <a:pt x="226" y="418"/>
                      </a:lnTo>
                      <a:lnTo>
                        <a:pt x="226" y="418"/>
                      </a:lnTo>
                      <a:lnTo>
                        <a:pt x="226" y="418"/>
                      </a:lnTo>
                      <a:lnTo>
                        <a:pt x="226" y="418"/>
                      </a:lnTo>
                      <a:lnTo>
                        <a:pt x="226" y="419"/>
                      </a:lnTo>
                      <a:lnTo>
                        <a:pt x="226" y="418"/>
                      </a:lnTo>
                      <a:lnTo>
                        <a:pt x="226" y="419"/>
                      </a:lnTo>
                      <a:lnTo>
                        <a:pt x="226" y="418"/>
                      </a:lnTo>
                      <a:lnTo>
                        <a:pt x="225" y="418"/>
                      </a:lnTo>
                      <a:lnTo>
                        <a:pt x="226" y="418"/>
                      </a:lnTo>
                      <a:lnTo>
                        <a:pt x="225" y="418"/>
                      </a:lnTo>
                      <a:lnTo>
                        <a:pt x="226" y="418"/>
                      </a:lnTo>
                      <a:lnTo>
                        <a:pt x="225" y="418"/>
                      </a:lnTo>
                      <a:lnTo>
                        <a:pt x="225" y="419"/>
                      </a:lnTo>
                      <a:lnTo>
                        <a:pt x="225" y="418"/>
                      </a:lnTo>
                      <a:lnTo>
                        <a:pt x="225" y="419"/>
                      </a:lnTo>
                      <a:lnTo>
                        <a:pt x="225" y="420"/>
                      </a:lnTo>
                      <a:lnTo>
                        <a:pt x="225" y="419"/>
                      </a:lnTo>
                      <a:lnTo>
                        <a:pt x="225" y="420"/>
                      </a:lnTo>
                      <a:lnTo>
                        <a:pt x="225" y="419"/>
                      </a:lnTo>
                      <a:lnTo>
                        <a:pt x="224" y="419"/>
                      </a:lnTo>
                      <a:lnTo>
                        <a:pt x="225" y="419"/>
                      </a:lnTo>
                      <a:lnTo>
                        <a:pt x="224" y="420"/>
                      </a:lnTo>
                      <a:lnTo>
                        <a:pt x="224" y="419"/>
                      </a:lnTo>
                      <a:lnTo>
                        <a:pt x="224" y="420"/>
                      </a:lnTo>
                      <a:lnTo>
                        <a:pt x="224" y="419"/>
                      </a:lnTo>
                      <a:lnTo>
                        <a:pt x="224" y="420"/>
                      </a:lnTo>
                      <a:lnTo>
                        <a:pt x="224" y="420"/>
                      </a:lnTo>
                      <a:lnTo>
                        <a:pt x="224" y="420"/>
                      </a:lnTo>
                      <a:lnTo>
                        <a:pt x="224" y="420"/>
                      </a:lnTo>
                      <a:lnTo>
                        <a:pt x="224" y="420"/>
                      </a:lnTo>
                      <a:lnTo>
                        <a:pt x="224" y="421"/>
                      </a:lnTo>
                      <a:lnTo>
                        <a:pt x="224" y="420"/>
                      </a:lnTo>
                      <a:lnTo>
                        <a:pt x="224" y="421"/>
                      </a:lnTo>
                      <a:lnTo>
                        <a:pt x="224" y="421"/>
                      </a:lnTo>
                      <a:lnTo>
                        <a:pt x="224" y="422"/>
                      </a:lnTo>
                      <a:lnTo>
                        <a:pt x="224" y="422"/>
                      </a:lnTo>
                      <a:lnTo>
                        <a:pt x="223" y="422"/>
                      </a:lnTo>
                      <a:lnTo>
                        <a:pt x="223" y="422"/>
                      </a:lnTo>
                      <a:lnTo>
                        <a:pt x="223" y="422"/>
                      </a:lnTo>
                      <a:lnTo>
                        <a:pt x="223" y="423"/>
                      </a:lnTo>
                      <a:lnTo>
                        <a:pt x="223" y="422"/>
                      </a:lnTo>
                      <a:lnTo>
                        <a:pt x="223" y="423"/>
                      </a:lnTo>
                      <a:lnTo>
                        <a:pt x="223" y="423"/>
                      </a:lnTo>
                      <a:lnTo>
                        <a:pt x="223" y="423"/>
                      </a:lnTo>
                      <a:lnTo>
                        <a:pt x="223" y="423"/>
                      </a:lnTo>
                      <a:lnTo>
                        <a:pt x="223" y="422"/>
                      </a:lnTo>
                      <a:lnTo>
                        <a:pt x="223" y="423"/>
                      </a:lnTo>
                      <a:lnTo>
                        <a:pt x="223" y="424"/>
                      </a:lnTo>
                      <a:lnTo>
                        <a:pt x="223" y="423"/>
                      </a:lnTo>
                      <a:lnTo>
                        <a:pt x="223" y="424"/>
                      </a:lnTo>
                      <a:lnTo>
                        <a:pt x="223" y="424"/>
                      </a:lnTo>
                      <a:lnTo>
                        <a:pt x="222" y="424"/>
                      </a:lnTo>
                      <a:lnTo>
                        <a:pt x="222" y="425"/>
                      </a:lnTo>
                      <a:lnTo>
                        <a:pt x="222" y="425"/>
                      </a:lnTo>
                      <a:lnTo>
                        <a:pt x="222" y="426"/>
                      </a:lnTo>
                      <a:lnTo>
                        <a:pt x="222" y="426"/>
                      </a:lnTo>
                      <a:lnTo>
                        <a:pt x="222" y="426"/>
                      </a:lnTo>
                      <a:lnTo>
                        <a:pt x="222" y="426"/>
                      </a:lnTo>
                      <a:lnTo>
                        <a:pt x="222" y="426"/>
                      </a:lnTo>
                      <a:lnTo>
                        <a:pt x="222" y="427"/>
                      </a:lnTo>
                      <a:lnTo>
                        <a:pt x="222" y="428"/>
                      </a:lnTo>
                      <a:lnTo>
                        <a:pt x="222" y="427"/>
                      </a:lnTo>
                      <a:lnTo>
                        <a:pt x="221" y="427"/>
                      </a:lnTo>
                      <a:lnTo>
                        <a:pt x="221" y="426"/>
                      </a:lnTo>
                      <a:lnTo>
                        <a:pt x="220" y="426"/>
                      </a:lnTo>
                      <a:lnTo>
                        <a:pt x="220" y="427"/>
                      </a:lnTo>
                      <a:lnTo>
                        <a:pt x="220" y="427"/>
                      </a:lnTo>
                      <a:lnTo>
                        <a:pt x="220" y="427"/>
                      </a:lnTo>
                      <a:lnTo>
                        <a:pt x="221" y="427"/>
                      </a:lnTo>
                      <a:lnTo>
                        <a:pt x="221" y="428"/>
                      </a:lnTo>
                      <a:lnTo>
                        <a:pt x="221" y="428"/>
                      </a:lnTo>
                      <a:lnTo>
                        <a:pt x="220" y="428"/>
                      </a:lnTo>
                      <a:lnTo>
                        <a:pt x="220" y="428"/>
                      </a:lnTo>
                      <a:lnTo>
                        <a:pt x="220" y="428"/>
                      </a:lnTo>
                      <a:lnTo>
                        <a:pt x="220" y="428"/>
                      </a:lnTo>
                      <a:lnTo>
                        <a:pt x="220" y="428"/>
                      </a:lnTo>
                      <a:lnTo>
                        <a:pt x="220" y="428"/>
                      </a:lnTo>
                      <a:lnTo>
                        <a:pt x="219" y="428"/>
                      </a:lnTo>
                      <a:lnTo>
                        <a:pt x="219" y="428"/>
                      </a:lnTo>
                      <a:lnTo>
                        <a:pt x="219" y="428"/>
                      </a:lnTo>
                      <a:lnTo>
                        <a:pt x="219" y="428"/>
                      </a:lnTo>
                      <a:lnTo>
                        <a:pt x="219" y="428"/>
                      </a:lnTo>
                      <a:lnTo>
                        <a:pt x="219" y="428"/>
                      </a:lnTo>
                      <a:lnTo>
                        <a:pt x="219" y="429"/>
                      </a:lnTo>
                      <a:lnTo>
                        <a:pt x="219" y="429"/>
                      </a:lnTo>
                      <a:lnTo>
                        <a:pt x="219" y="429"/>
                      </a:lnTo>
                      <a:lnTo>
                        <a:pt x="219" y="429"/>
                      </a:lnTo>
                      <a:lnTo>
                        <a:pt x="219" y="429"/>
                      </a:lnTo>
                      <a:lnTo>
                        <a:pt x="219" y="430"/>
                      </a:lnTo>
                      <a:lnTo>
                        <a:pt x="220" y="430"/>
                      </a:lnTo>
                      <a:lnTo>
                        <a:pt x="219" y="430"/>
                      </a:lnTo>
                      <a:lnTo>
                        <a:pt x="220" y="430"/>
                      </a:lnTo>
                      <a:lnTo>
                        <a:pt x="219" y="430"/>
                      </a:lnTo>
                      <a:lnTo>
                        <a:pt x="220" y="430"/>
                      </a:lnTo>
                      <a:lnTo>
                        <a:pt x="219" y="430"/>
                      </a:lnTo>
                      <a:lnTo>
                        <a:pt x="219" y="430"/>
                      </a:lnTo>
                      <a:lnTo>
                        <a:pt x="218" y="430"/>
                      </a:lnTo>
                      <a:lnTo>
                        <a:pt x="218" y="429"/>
                      </a:lnTo>
                      <a:lnTo>
                        <a:pt x="218" y="430"/>
                      </a:lnTo>
                      <a:lnTo>
                        <a:pt x="219" y="430"/>
                      </a:lnTo>
                      <a:lnTo>
                        <a:pt x="219" y="431"/>
                      </a:lnTo>
                      <a:lnTo>
                        <a:pt x="219" y="431"/>
                      </a:lnTo>
                      <a:lnTo>
                        <a:pt x="219" y="431"/>
                      </a:lnTo>
                      <a:lnTo>
                        <a:pt x="219" y="431"/>
                      </a:lnTo>
                      <a:lnTo>
                        <a:pt x="219" y="430"/>
                      </a:lnTo>
                      <a:lnTo>
                        <a:pt x="219" y="431"/>
                      </a:lnTo>
                      <a:lnTo>
                        <a:pt x="220" y="431"/>
                      </a:lnTo>
                      <a:lnTo>
                        <a:pt x="220" y="431"/>
                      </a:lnTo>
                      <a:lnTo>
                        <a:pt x="220" y="431"/>
                      </a:lnTo>
                      <a:lnTo>
                        <a:pt x="220" y="432"/>
                      </a:lnTo>
                      <a:lnTo>
                        <a:pt x="221" y="432"/>
                      </a:lnTo>
                      <a:lnTo>
                        <a:pt x="221" y="433"/>
                      </a:lnTo>
                      <a:lnTo>
                        <a:pt x="221" y="432"/>
                      </a:lnTo>
                      <a:lnTo>
                        <a:pt x="221" y="433"/>
                      </a:lnTo>
                      <a:lnTo>
                        <a:pt x="222" y="433"/>
                      </a:lnTo>
                      <a:lnTo>
                        <a:pt x="221" y="433"/>
                      </a:lnTo>
                      <a:lnTo>
                        <a:pt x="222" y="433"/>
                      </a:lnTo>
                      <a:lnTo>
                        <a:pt x="222" y="433"/>
                      </a:lnTo>
                      <a:lnTo>
                        <a:pt x="222" y="433"/>
                      </a:lnTo>
                      <a:lnTo>
                        <a:pt x="222" y="434"/>
                      </a:lnTo>
                      <a:lnTo>
                        <a:pt x="223" y="434"/>
                      </a:lnTo>
                      <a:lnTo>
                        <a:pt x="223" y="435"/>
                      </a:lnTo>
                      <a:lnTo>
                        <a:pt x="223" y="435"/>
                      </a:lnTo>
                      <a:lnTo>
                        <a:pt x="223" y="435"/>
                      </a:lnTo>
                      <a:lnTo>
                        <a:pt x="223" y="436"/>
                      </a:lnTo>
                      <a:lnTo>
                        <a:pt x="223" y="436"/>
                      </a:lnTo>
                      <a:lnTo>
                        <a:pt x="224" y="436"/>
                      </a:lnTo>
                      <a:lnTo>
                        <a:pt x="224" y="437"/>
                      </a:lnTo>
                      <a:lnTo>
                        <a:pt x="224" y="437"/>
                      </a:lnTo>
                      <a:lnTo>
                        <a:pt x="224" y="437"/>
                      </a:lnTo>
                      <a:lnTo>
                        <a:pt x="224" y="437"/>
                      </a:lnTo>
                      <a:lnTo>
                        <a:pt x="224" y="437"/>
                      </a:lnTo>
                      <a:lnTo>
                        <a:pt x="224" y="437"/>
                      </a:lnTo>
                      <a:lnTo>
                        <a:pt x="224" y="437"/>
                      </a:lnTo>
                      <a:lnTo>
                        <a:pt x="224" y="437"/>
                      </a:lnTo>
                      <a:lnTo>
                        <a:pt x="224" y="437"/>
                      </a:lnTo>
                      <a:lnTo>
                        <a:pt x="224" y="437"/>
                      </a:lnTo>
                      <a:lnTo>
                        <a:pt x="225" y="437"/>
                      </a:lnTo>
                      <a:lnTo>
                        <a:pt x="226" y="436"/>
                      </a:lnTo>
                      <a:lnTo>
                        <a:pt x="226" y="436"/>
                      </a:lnTo>
                      <a:lnTo>
                        <a:pt x="226" y="437"/>
                      </a:lnTo>
                      <a:lnTo>
                        <a:pt x="226" y="437"/>
                      </a:lnTo>
                      <a:lnTo>
                        <a:pt x="226" y="437"/>
                      </a:lnTo>
                      <a:lnTo>
                        <a:pt x="226" y="438"/>
                      </a:lnTo>
                      <a:lnTo>
                        <a:pt x="225" y="438"/>
                      </a:lnTo>
                      <a:lnTo>
                        <a:pt x="225" y="439"/>
                      </a:lnTo>
                      <a:lnTo>
                        <a:pt x="225" y="439"/>
                      </a:lnTo>
                      <a:lnTo>
                        <a:pt x="224" y="440"/>
                      </a:lnTo>
                      <a:lnTo>
                        <a:pt x="225" y="439"/>
                      </a:lnTo>
                      <a:lnTo>
                        <a:pt x="224" y="440"/>
                      </a:lnTo>
                      <a:lnTo>
                        <a:pt x="225" y="440"/>
                      </a:lnTo>
                      <a:lnTo>
                        <a:pt x="224" y="440"/>
                      </a:lnTo>
                      <a:lnTo>
                        <a:pt x="225" y="440"/>
                      </a:lnTo>
                      <a:lnTo>
                        <a:pt x="224" y="440"/>
                      </a:lnTo>
                      <a:lnTo>
                        <a:pt x="224" y="441"/>
                      </a:lnTo>
                      <a:lnTo>
                        <a:pt x="224" y="442"/>
                      </a:lnTo>
                      <a:lnTo>
                        <a:pt x="224" y="443"/>
                      </a:lnTo>
                      <a:lnTo>
                        <a:pt x="224" y="443"/>
                      </a:lnTo>
                      <a:lnTo>
                        <a:pt x="225" y="443"/>
                      </a:lnTo>
                      <a:lnTo>
                        <a:pt x="224" y="443"/>
                      </a:lnTo>
                      <a:lnTo>
                        <a:pt x="225" y="443"/>
                      </a:lnTo>
                      <a:lnTo>
                        <a:pt x="224" y="443"/>
                      </a:lnTo>
                      <a:lnTo>
                        <a:pt x="225" y="443"/>
                      </a:lnTo>
                      <a:lnTo>
                        <a:pt x="224" y="443"/>
                      </a:lnTo>
                      <a:lnTo>
                        <a:pt x="225" y="443"/>
                      </a:lnTo>
                      <a:lnTo>
                        <a:pt x="224" y="444"/>
                      </a:lnTo>
                      <a:lnTo>
                        <a:pt x="224" y="444"/>
                      </a:lnTo>
                      <a:lnTo>
                        <a:pt x="224" y="445"/>
                      </a:lnTo>
                      <a:lnTo>
                        <a:pt x="224" y="446"/>
                      </a:lnTo>
                      <a:lnTo>
                        <a:pt x="224" y="447"/>
                      </a:lnTo>
                      <a:lnTo>
                        <a:pt x="224" y="447"/>
                      </a:lnTo>
                      <a:lnTo>
                        <a:pt x="225" y="447"/>
                      </a:lnTo>
                      <a:lnTo>
                        <a:pt x="225" y="448"/>
                      </a:lnTo>
                      <a:lnTo>
                        <a:pt x="226" y="448"/>
                      </a:lnTo>
                      <a:lnTo>
                        <a:pt x="226" y="448"/>
                      </a:lnTo>
                      <a:lnTo>
                        <a:pt x="226" y="449"/>
                      </a:lnTo>
                      <a:lnTo>
                        <a:pt x="226" y="450"/>
                      </a:lnTo>
                      <a:lnTo>
                        <a:pt x="226" y="450"/>
                      </a:lnTo>
                      <a:lnTo>
                        <a:pt x="226" y="451"/>
                      </a:lnTo>
                      <a:lnTo>
                        <a:pt x="227" y="451"/>
                      </a:lnTo>
                      <a:lnTo>
                        <a:pt x="227" y="451"/>
                      </a:lnTo>
                      <a:lnTo>
                        <a:pt x="227" y="451"/>
                      </a:lnTo>
                      <a:lnTo>
                        <a:pt x="227" y="451"/>
                      </a:lnTo>
                      <a:lnTo>
                        <a:pt x="227" y="451"/>
                      </a:lnTo>
                      <a:lnTo>
                        <a:pt x="227" y="452"/>
                      </a:lnTo>
                      <a:lnTo>
                        <a:pt x="228" y="453"/>
                      </a:lnTo>
                      <a:lnTo>
                        <a:pt x="228" y="453"/>
                      </a:lnTo>
                      <a:lnTo>
                        <a:pt x="229" y="453"/>
                      </a:lnTo>
                      <a:lnTo>
                        <a:pt x="229" y="454"/>
                      </a:lnTo>
                      <a:lnTo>
                        <a:pt x="229" y="454"/>
                      </a:lnTo>
                      <a:lnTo>
                        <a:pt x="230" y="455"/>
                      </a:lnTo>
                      <a:lnTo>
                        <a:pt x="230" y="455"/>
                      </a:lnTo>
                      <a:lnTo>
                        <a:pt x="230" y="456"/>
                      </a:lnTo>
                      <a:lnTo>
                        <a:pt x="230" y="457"/>
                      </a:lnTo>
                      <a:lnTo>
                        <a:pt x="231" y="457"/>
                      </a:lnTo>
                      <a:lnTo>
                        <a:pt x="231" y="457"/>
                      </a:lnTo>
                      <a:lnTo>
                        <a:pt x="231" y="458"/>
                      </a:lnTo>
                      <a:lnTo>
                        <a:pt x="231" y="458"/>
                      </a:lnTo>
                      <a:lnTo>
                        <a:pt x="231" y="458"/>
                      </a:lnTo>
                      <a:lnTo>
                        <a:pt x="231" y="459"/>
                      </a:lnTo>
                      <a:lnTo>
                        <a:pt x="232" y="459"/>
                      </a:lnTo>
                      <a:lnTo>
                        <a:pt x="233" y="459"/>
                      </a:lnTo>
                      <a:lnTo>
                        <a:pt x="233" y="459"/>
                      </a:lnTo>
                      <a:lnTo>
                        <a:pt x="233" y="459"/>
                      </a:lnTo>
                      <a:lnTo>
                        <a:pt x="233" y="460"/>
                      </a:lnTo>
                      <a:lnTo>
                        <a:pt x="233" y="460"/>
                      </a:lnTo>
                      <a:lnTo>
                        <a:pt x="233" y="461"/>
                      </a:lnTo>
                      <a:lnTo>
                        <a:pt x="232" y="461"/>
                      </a:lnTo>
                      <a:lnTo>
                        <a:pt x="232" y="461"/>
                      </a:lnTo>
                      <a:lnTo>
                        <a:pt x="232" y="462"/>
                      </a:lnTo>
                      <a:lnTo>
                        <a:pt x="231" y="462"/>
                      </a:lnTo>
                      <a:lnTo>
                        <a:pt x="231" y="462"/>
                      </a:lnTo>
                      <a:lnTo>
                        <a:pt x="231" y="462"/>
                      </a:lnTo>
                      <a:lnTo>
                        <a:pt x="231" y="463"/>
                      </a:lnTo>
                      <a:lnTo>
                        <a:pt x="230" y="463"/>
                      </a:lnTo>
                      <a:lnTo>
                        <a:pt x="230" y="464"/>
                      </a:lnTo>
                      <a:lnTo>
                        <a:pt x="229" y="464"/>
                      </a:lnTo>
                      <a:lnTo>
                        <a:pt x="229" y="464"/>
                      </a:lnTo>
                      <a:lnTo>
                        <a:pt x="229" y="464"/>
                      </a:lnTo>
                      <a:lnTo>
                        <a:pt x="229" y="464"/>
                      </a:lnTo>
                      <a:lnTo>
                        <a:pt x="229" y="464"/>
                      </a:lnTo>
                      <a:lnTo>
                        <a:pt x="229" y="465"/>
                      </a:lnTo>
                      <a:lnTo>
                        <a:pt x="228" y="465"/>
                      </a:lnTo>
                      <a:lnTo>
                        <a:pt x="227" y="466"/>
                      </a:lnTo>
                      <a:lnTo>
                        <a:pt x="227" y="466"/>
                      </a:lnTo>
                      <a:lnTo>
                        <a:pt x="227" y="466"/>
                      </a:lnTo>
                      <a:lnTo>
                        <a:pt x="227" y="467"/>
                      </a:lnTo>
                      <a:lnTo>
                        <a:pt x="226" y="467"/>
                      </a:lnTo>
                      <a:lnTo>
                        <a:pt x="226" y="466"/>
                      </a:lnTo>
                      <a:lnTo>
                        <a:pt x="226" y="466"/>
                      </a:lnTo>
                      <a:lnTo>
                        <a:pt x="225" y="466"/>
                      </a:lnTo>
                      <a:lnTo>
                        <a:pt x="225" y="467"/>
                      </a:lnTo>
                      <a:lnTo>
                        <a:pt x="224" y="467"/>
                      </a:lnTo>
                      <a:lnTo>
                        <a:pt x="224" y="466"/>
                      </a:lnTo>
                      <a:lnTo>
                        <a:pt x="224" y="466"/>
                      </a:lnTo>
                      <a:lnTo>
                        <a:pt x="224" y="466"/>
                      </a:lnTo>
                      <a:lnTo>
                        <a:pt x="223" y="466"/>
                      </a:lnTo>
                      <a:lnTo>
                        <a:pt x="223" y="466"/>
                      </a:lnTo>
                      <a:lnTo>
                        <a:pt x="223" y="465"/>
                      </a:lnTo>
                      <a:lnTo>
                        <a:pt x="222" y="465"/>
                      </a:lnTo>
                      <a:lnTo>
                        <a:pt x="222" y="465"/>
                      </a:lnTo>
                      <a:lnTo>
                        <a:pt x="222" y="464"/>
                      </a:lnTo>
                      <a:lnTo>
                        <a:pt x="222" y="464"/>
                      </a:lnTo>
                      <a:lnTo>
                        <a:pt x="222" y="464"/>
                      </a:lnTo>
                      <a:lnTo>
                        <a:pt x="222" y="463"/>
                      </a:lnTo>
                      <a:lnTo>
                        <a:pt x="221" y="463"/>
                      </a:lnTo>
                      <a:lnTo>
                        <a:pt x="221" y="462"/>
                      </a:lnTo>
                      <a:lnTo>
                        <a:pt x="221" y="463"/>
                      </a:lnTo>
                      <a:lnTo>
                        <a:pt x="220" y="463"/>
                      </a:lnTo>
                      <a:lnTo>
                        <a:pt x="220" y="462"/>
                      </a:lnTo>
                      <a:lnTo>
                        <a:pt x="220" y="462"/>
                      </a:lnTo>
                      <a:lnTo>
                        <a:pt x="220" y="462"/>
                      </a:lnTo>
                      <a:lnTo>
                        <a:pt x="220" y="461"/>
                      </a:lnTo>
                      <a:lnTo>
                        <a:pt x="220" y="461"/>
                      </a:lnTo>
                      <a:lnTo>
                        <a:pt x="219" y="461"/>
                      </a:lnTo>
                      <a:lnTo>
                        <a:pt x="219" y="461"/>
                      </a:lnTo>
                      <a:lnTo>
                        <a:pt x="219" y="461"/>
                      </a:lnTo>
                      <a:lnTo>
                        <a:pt x="219" y="461"/>
                      </a:lnTo>
                      <a:lnTo>
                        <a:pt x="219" y="460"/>
                      </a:lnTo>
                      <a:lnTo>
                        <a:pt x="218" y="459"/>
                      </a:lnTo>
                      <a:lnTo>
                        <a:pt x="218" y="460"/>
                      </a:lnTo>
                      <a:lnTo>
                        <a:pt x="218" y="459"/>
                      </a:lnTo>
                      <a:lnTo>
                        <a:pt x="218" y="459"/>
                      </a:lnTo>
                      <a:lnTo>
                        <a:pt x="217" y="459"/>
                      </a:lnTo>
                      <a:lnTo>
                        <a:pt x="217" y="460"/>
                      </a:lnTo>
                      <a:lnTo>
                        <a:pt x="216" y="459"/>
                      </a:lnTo>
                      <a:lnTo>
                        <a:pt x="217" y="459"/>
                      </a:lnTo>
                      <a:lnTo>
                        <a:pt x="216" y="459"/>
                      </a:lnTo>
                      <a:lnTo>
                        <a:pt x="216" y="459"/>
                      </a:lnTo>
                      <a:lnTo>
                        <a:pt x="216" y="459"/>
                      </a:lnTo>
                      <a:lnTo>
                        <a:pt x="216" y="459"/>
                      </a:lnTo>
                      <a:lnTo>
                        <a:pt x="216" y="459"/>
                      </a:lnTo>
                      <a:lnTo>
                        <a:pt x="215" y="459"/>
                      </a:lnTo>
                      <a:lnTo>
                        <a:pt x="215" y="458"/>
                      </a:lnTo>
                      <a:lnTo>
                        <a:pt x="215" y="459"/>
                      </a:lnTo>
                      <a:lnTo>
                        <a:pt x="215" y="458"/>
                      </a:lnTo>
                      <a:lnTo>
                        <a:pt x="215" y="458"/>
                      </a:lnTo>
                      <a:lnTo>
                        <a:pt x="215" y="459"/>
                      </a:lnTo>
                      <a:lnTo>
                        <a:pt x="215" y="458"/>
                      </a:lnTo>
                      <a:lnTo>
                        <a:pt x="214" y="458"/>
                      </a:lnTo>
                      <a:lnTo>
                        <a:pt x="214" y="458"/>
                      </a:lnTo>
                      <a:lnTo>
                        <a:pt x="214" y="458"/>
                      </a:lnTo>
                      <a:lnTo>
                        <a:pt x="213" y="458"/>
                      </a:lnTo>
                      <a:lnTo>
                        <a:pt x="213" y="458"/>
                      </a:lnTo>
                      <a:lnTo>
                        <a:pt x="213" y="458"/>
                      </a:lnTo>
                      <a:lnTo>
                        <a:pt x="213" y="457"/>
                      </a:lnTo>
                      <a:lnTo>
                        <a:pt x="213" y="458"/>
                      </a:lnTo>
                      <a:lnTo>
                        <a:pt x="212" y="458"/>
                      </a:lnTo>
                      <a:lnTo>
                        <a:pt x="212" y="457"/>
                      </a:lnTo>
                      <a:lnTo>
                        <a:pt x="212" y="458"/>
                      </a:lnTo>
                      <a:lnTo>
                        <a:pt x="212" y="457"/>
                      </a:lnTo>
                      <a:lnTo>
                        <a:pt x="212" y="457"/>
                      </a:lnTo>
                      <a:lnTo>
                        <a:pt x="211" y="457"/>
                      </a:lnTo>
                      <a:lnTo>
                        <a:pt x="211" y="457"/>
                      </a:lnTo>
                      <a:lnTo>
                        <a:pt x="210" y="457"/>
                      </a:lnTo>
                      <a:lnTo>
                        <a:pt x="210" y="456"/>
                      </a:lnTo>
                      <a:lnTo>
                        <a:pt x="209" y="456"/>
                      </a:lnTo>
                      <a:lnTo>
                        <a:pt x="209" y="455"/>
                      </a:lnTo>
                      <a:lnTo>
                        <a:pt x="209" y="455"/>
                      </a:lnTo>
                      <a:lnTo>
                        <a:pt x="209" y="455"/>
                      </a:lnTo>
                      <a:lnTo>
                        <a:pt x="210" y="455"/>
                      </a:lnTo>
                      <a:lnTo>
                        <a:pt x="210" y="454"/>
                      </a:lnTo>
                      <a:lnTo>
                        <a:pt x="210" y="454"/>
                      </a:lnTo>
                      <a:lnTo>
                        <a:pt x="210" y="453"/>
                      </a:lnTo>
                      <a:lnTo>
                        <a:pt x="211" y="453"/>
                      </a:lnTo>
                      <a:lnTo>
                        <a:pt x="211" y="453"/>
                      </a:lnTo>
                      <a:lnTo>
                        <a:pt x="210" y="453"/>
                      </a:lnTo>
                      <a:lnTo>
                        <a:pt x="209" y="452"/>
                      </a:lnTo>
                      <a:lnTo>
                        <a:pt x="209" y="453"/>
                      </a:lnTo>
                      <a:lnTo>
                        <a:pt x="209" y="452"/>
                      </a:lnTo>
                      <a:lnTo>
                        <a:pt x="209" y="452"/>
                      </a:lnTo>
                      <a:lnTo>
                        <a:pt x="208" y="452"/>
                      </a:lnTo>
                      <a:lnTo>
                        <a:pt x="208" y="452"/>
                      </a:lnTo>
                      <a:lnTo>
                        <a:pt x="207" y="452"/>
                      </a:lnTo>
                      <a:lnTo>
                        <a:pt x="207" y="452"/>
                      </a:lnTo>
                      <a:lnTo>
                        <a:pt x="207" y="451"/>
                      </a:lnTo>
                      <a:lnTo>
                        <a:pt x="207" y="451"/>
                      </a:lnTo>
                      <a:lnTo>
                        <a:pt x="207" y="451"/>
                      </a:lnTo>
                      <a:lnTo>
                        <a:pt x="206" y="451"/>
                      </a:lnTo>
                      <a:lnTo>
                        <a:pt x="206" y="450"/>
                      </a:lnTo>
                      <a:lnTo>
                        <a:pt x="205" y="450"/>
                      </a:lnTo>
                      <a:lnTo>
                        <a:pt x="205" y="450"/>
                      </a:lnTo>
                      <a:lnTo>
                        <a:pt x="204" y="450"/>
                      </a:lnTo>
                      <a:lnTo>
                        <a:pt x="204" y="450"/>
                      </a:lnTo>
                      <a:lnTo>
                        <a:pt x="204" y="450"/>
                      </a:lnTo>
                      <a:lnTo>
                        <a:pt x="203" y="450"/>
                      </a:lnTo>
                      <a:lnTo>
                        <a:pt x="203" y="450"/>
                      </a:lnTo>
                      <a:lnTo>
                        <a:pt x="203" y="451"/>
                      </a:lnTo>
                      <a:lnTo>
                        <a:pt x="203" y="451"/>
                      </a:lnTo>
                      <a:lnTo>
                        <a:pt x="203" y="451"/>
                      </a:lnTo>
                      <a:lnTo>
                        <a:pt x="203" y="451"/>
                      </a:lnTo>
                      <a:lnTo>
                        <a:pt x="203" y="450"/>
                      </a:lnTo>
                      <a:lnTo>
                        <a:pt x="202" y="450"/>
                      </a:lnTo>
                      <a:lnTo>
                        <a:pt x="202" y="450"/>
                      </a:lnTo>
                      <a:lnTo>
                        <a:pt x="201" y="450"/>
                      </a:lnTo>
                      <a:lnTo>
                        <a:pt x="201" y="450"/>
                      </a:lnTo>
                      <a:lnTo>
                        <a:pt x="201" y="449"/>
                      </a:lnTo>
                      <a:lnTo>
                        <a:pt x="201" y="450"/>
                      </a:lnTo>
                      <a:lnTo>
                        <a:pt x="200" y="450"/>
                      </a:lnTo>
                      <a:lnTo>
                        <a:pt x="200" y="450"/>
                      </a:lnTo>
                      <a:lnTo>
                        <a:pt x="200" y="450"/>
                      </a:lnTo>
                      <a:lnTo>
                        <a:pt x="200" y="450"/>
                      </a:lnTo>
                      <a:lnTo>
                        <a:pt x="199" y="450"/>
                      </a:lnTo>
                      <a:lnTo>
                        <a:pt x="199" y="450"/>
                      </a:lnTo>
                      <a:lnTo>
                        <a:pt x="199" y="450"/>
                      </a:lnTo>
                      <a:lnTo>
                        <a:pt x="198" y="450"/>
                      </a:lnTo>
                      <a:lnTo>
                        <a:pt x="198" y="451"/>
                      </a:lnTo>
                      <a:lnTo>
                        <a:pt x="197" y="451"/>
                      </a:lnTo>
                      <a:lnTo>
                        <a:pt x="197" y="451"/>
                      </a:lnTo>
                      <a:lnTo>
                        <a:pt x="197" y="451"/>
                      </a:lnTo>
                      <a:lnTo>
                        <a:pt x="197" y="451"/>
                      </a:lnTo>
                      <a:lnTo>
                        <a:pt x="197" y="451"/>
                      </a:lnTo>
                      <a:lnTo>
                        <a:pt x="196" y="451"/>
                      </a:lnTo>
                      <a:lnTo>
                        <a:pt x="196" y="452"/>
                      </a:lnTo>
                      <a:lnTo>
                        <a:pt x="196" y="452"/>
                      </a:lnTo>
                      <a:lnTo>
                        <a:pt x="196" y="451"/>
                      </a:lnTo>
                      <a:lnTo>
                        <a:pt x="195" y="451"/>
                      </a:lnTo>
                      <a:lnTo>
                        <a:pt x="194" y="451"/>
                      </a:lnTo>
                      <a:lnTo>
                        <a:pt x="194" y="451"/>
                      </a:lnTo>
                      <a:lnTo>
                        <a:pt x="194" y="451"/>
                      </a:lnTo>
                      <a:lnTo>
                        <a:pt x="194" y="451"/>
                      </a:lnTo>
                      <a:lnTo>
                        <a:pt x="194" y="450"/>
                      </a:lnTo>
                      <a:lnTo>
                        <a:pt x="194" y="450"/>
                      </a:lnTo>
                      <a:lnTo>
                        <a:pt x="194" y="449"/>
                      </a:lnTo>
                      <a:lnTo>
                        <a:pt x="194" y="449"/>
                      </a:lnTo>
                      <a:lnTo>
                        <a:pt x="193" y="449"/>
                      </a:lnTo>
                      <a:lnTo>
                        <a:pt x="193" y="448"/>
                      </a:lnTo>
                      <a:lnTo>
                        <a:pt x="193" y="449"/>
                      </a:lnTo>
                      <a:lnTo>
                        <a:pt x="193" y="448"/>
                      </a:lnTo>
                      <a:lnTo>
                        <a:pt x="193" y="448"/>
                      </a:lnTo>
                      <a:lnTo>
                        <a:pt x="193" y="448"/>
                      </a:lnTo>
                      <a:lnTo>
                        <a:pt x="192" y="448"/>
                      </a:lnTo>
                      <a:lnTo>
                        <a:pt x="192" y="448"/>
                      </a:lnTo>
                      <a:lnTo>
                        <a:pt x="191" y="448"/>
                      </a:lnTo>
                      <a:lnTo>
                        <a:pt x="190" y="448"/>
                      </a:lnTo>
                      <a:lnTo>
                        <a:pt x="190" y="447"/>
                      </a:lnTo>
                      <a:lnTo>
                        <a:pt x="190" y="447"/>
                      </a:lnTo>
                      <a:lnTo>
                        <a:pt x="189" y="447"/>
                      </a:lnTo>
                      <a:lnTo>
                        <a:pt x="189" y="447"/>
                      </a:lnTo>
                      <a:lnTo>
                        <a:pt x="189" y="447"/>
                      </a:lnTo>
                      <a:lnTo>
                        <a:pt x="189" y="446"/>
                      </a:lnTo>
                      <a:lnTo>
                        <a:pt x="188" y="446"/>
                      </a:lnTo>
                      <a:lnTo>
                        <a:pt x="188" y="446"/>
                      </a:lnTo>
                      <a:lnTo>
                        <a:pt x="189" y="446"/>
                      </a:lnTo>
                      <a:lnTo>
                        <a:pt x="188" y="446"/>
                      </a:lnTo>
                      <a:lnTo>
                        <a:pt x="188" y="445"/>
                      </a:lnTo>
                      <a:lnTo>
                        <a:pt x="188" y="445"/>
                      </a:lnTo>
                      <a:lnTo>
                        <a:pt x="188" y="446"/>
                      </a:lnTo>
                      <a:lnTo>
                        <a:pt x="188" y="445"/>
                      </a:lnTo>
                      <a:lnTo>
                        <a:pt x="187" y="445"/>
                      </a:lnTo>
                      <a:lnTo>
                        <a:pt x="187" y="444"/>
                      </a:lnTo>
                      <a:lnTo>
                        <a:pt x="187" y="445"/>
                      </a:lnTo>
                      <a:lnTo>
                        <a:pt x="186" y="445"/>
                      </a:lnTo>
                      <a:lnTo>
                        <a:pt x="186" y="444"/>
                      </a:lnTo>
                      <a:lnTo>
                        <a:pt x="186" y="444"/>
                      </a:lnTo>
                      <a:lnTo>
                        <a:pt x="186" y="445"/>
                      </a:lnTo>
                      <a:lnTo>
                        <a:pt x="186" y="444"/>
                      </a:lnTo>
                      <a:lnTo>
                        <a:pt x="186" y="445"/>
                      </a:lnTo>
                      <a:lnTo>
                        <a:pt x="185" y="445"/>
                      </a:lnTo>
                      <a:lnTo>
                        <a:pt x="185" y="445"/>
                      </a:lnTo>
                      <a:lnTo>
                        <a:pt x="185" y="444"/>
                      </a:lnTo>
                      <a:lnTo>
                        <a:pt x="184" y="444"/>
                      </a:lnTo>
                      <a:lnTo>
                        <a:pt x="183" y="444"/>
                      </a:lnTo>
                      <a:lnTo>
                        <a:pt x="183" y="444"/>
                      </a:lnTo>
                      <a:lnTo>
                        <a:pt x="184" y="444"/>
                      </a:lnTo>
                      <a:lnTo>
                        <a:pt x="183" y="444"/>
                      </a:lnTo>
                      <a:lnTo>
                        <a:pt x="183" y="444"/>
                      </a:lnTo>
                      <a:lnTo>
                        <a:pt x="183" y="444"/>
                      </a:lnTo>
                      <a:lnTo>
                        <a:pt x="182" y="444"/>
                      </a:lnTo>
                      <a:lnTo>
                        <a:pt x="182" y="444"/>
                      </a:lnTo>
                      <a:lnTo>
                        <a:pt x="182" y="444"/>
                      </a:lnTo>
                      <a:lnTo>
                        <a:pt x="182" y="444"/>
                      </a:lnTo>
                      <a:lnTo>
                        <a:pt x="181" y="444"/>
                      </a:lnTo>
                      <a:lnTo>
                        <a:pt x="181" y="444"/>
                      </a:lnTo>
                      <a:lnTo>
                        <a:pt x="180" y="444"/>
                      </a:lnTo>
                      <a:lnTo>
                        <a:pt x="179" y="444"/>
                      </a:lnTo>
                      <a:lnTo>
                        <a:pt x="179" y="444"/>
                      </a:lnTo>
                      <a:lnTo>
                        <a:pt x="179" y="444"/>
                      </a:lnTo>
                      <a:lnTo>
                        <a:pt x="179" y="444"/>
                      </a:lnTo>
                      <a:lnTo>
                        <a:pt x="178" y="444"/>
                      </a:lnTo>
                      <a:lnTo>
                        <a:pt x="178" y="444"/>
                      </a:lnTo>
                      <a:lnTo>
                        <a:pt x="178" y="444"/>
                      </a:lnTo>
                      <a:lnTo>
                        <a:pt x="178" y="444"/>
                      </a:lnTo>
                      <a:lnTo>
                        <a:pt x="178" y="444"/>
                      </a:lnTo>
                      <a:lnTo>
                        <a:pt x="177" y="444"/>
                      </a:lnTo>
                      <a:lnTo>
                        <a:pt x="177" y="444"/>
                      </a:lnTo>
                      <a:lnTo>
                        <a:pt x="177" y="444"/>
                      </a:lnTo>
                      <a:lnTo>
                        <a:pt x="177" y="444"/>
                      </a:lnTo>
                      <a:lnTo>
                        <a:pt x="176" y="443"/>
                      </a:lnTo>
                      <a:lnTo>
                        <a:pt x="175" y="443"/>
                      </a:lnTo>
                      <a:lnTo>
                        <a:pt x="175" y="443"/>
                      </a:lnTo>
                      <a:lnTo>
                        <a:pt x="175" y="443"/>
                      </a:lnTo>
                      <a:lnTo>
                        <a:pt x="174" y="443"/>
                      </a:lnTo>
                      <a:lnTo>
                        <a:pt x="174" y="443"/>
                      </a:lnTo>
                      <a:lnTo>
                        <a:pt x="174" y="442"/>
                      </a:lnTo>
                      <a:lnTo>
                        <a:pt x="173" y="442"/>
                      </a:lnTo>
                      <a:lnTo>
                        <a:pt x="173" y="442"/>
                      </a:lnTo>
                      <a:lnTo>
                        <a:pt x="172" y="442"/>
                      </a:lnTo>
                      <a:lnTo>
                        <a:pt x="171" y="442"/>
                      </a:lnTo>
                      <a:lnTo>
                        <a:pt x="171" y="442"/>
                      </a:lnTo>
                      <a:lnTo>
                        <a:pt x="171" y="441"/>
                      </a:lnTo>
                      <a:lnTo>
                        <a:pt x="171" y="441"/>
                      </a:lnTo>
                      <a:lnTo>
                        <a:pt x="170" y="441"/>
                      </a:lnTo>
                      <a:lnTo>
                        <a:pt x="170" y="441"/>
                      </a:lnTo>
                      <a:lnTo>
                        <a:pt x="170" y="440"/>
                      </a:lnTo>
                      <a:lnTo>
                        <a:pt x="169" y="440"/>
                      </a:lnTo>
                      <a:lnTo>
                        <a:pt x="169" y="441"/>
                      </a:lnTo>
                      <a:lnTo>
                        <a:pt x="168" y="441"/>
                      </a:lnTo>
                      <a:lnTo>
                        <a:pt x="168" y="441"/>
                      </a:lnTo>
                      <a:lnTo>
                        <a:pt x="168" y="440"/>
                      </a:lnTo>
                      <a:lnTo>
                        <a:pt x="167" y="440"/>
                      </a:lnTo>
                      <a:lnTo>
                        <a:pt x="167" y="440"/>
                      </a:lnTo>
                      <a:lnTo>
                        <a:pt x="166" y="440"/>
                      </a:lnTo>
                      <a:lnTo>
                        <a:pt x="166" y="440"/>
                      </a:lnTo>
                      <a:lnTo>
                        <a:pt x="165" y="440"/>
                      </a:lnTo>
                      <a:lnTo>
                        <a:pt x="165" y="441"/>
                      </a:lnTo>
                      <a:lnTo>
                        <a:pt x="164" y="441"/>
                      </a:lnTo>
                      <a:lnTo>
                        <a:pt x="164" y="442"/>
                      </a:lnTo>
                      <a:lnTo>
                        <a:pt x="164" y="442"/>
                      </a:lnTo>
                      <a:lnTo>
                        <a:pt x="164" y="442"/>
                      </a:lnTo>
                      <a:lnTo>
                        <a:pt x="163" y="442"/>
                      </a:lnTo>
                      <a:lnTo>
                        <a:pt x="163" y="442"/>
                      </a:lnTo>
                      <a:lnTo>
                        <a:pt x="163" y="441"/>
                      </a:lnTo>
                      <a:lnTo>
                        <a:pt x="163" y="441"/>
                      </a:lnTo>
                      <a:lnTo>
                        <a:pt x="163" y="440"/>
                      </a:lnTo>
                      <a:lnTo>
                        <a:pt x="162" y="440"/>
                      </a:lnTo>
                      <a:lnTo>
                        <a:pt x="162" y="440"/>
                      </a:lnTo>
                      <a:lnTo>
                        <a:pt x="162" y="440"/>
                      </a:lnTo>
                      <a:lnTo>
                        <a:pt x="162" y="439"/>
                      </a:lnTo>
                      <a:lnTo>
                        <a:pt x="161" y="439"/>
                      </a:lnTo>
                      <a:lnTo>
                        <a:pt x="161" y="439"/>
                      </a:lnTo>
                      <a:lnTo>
                        <a:pt x="160" y="439"/>
                      </a:lnTo>
                      <a:lnTo>
                        <a:pt x="160" y="438"/>
                      </a:lnTo>
                      <a:lnTo>
                        <a:pt x="160" y="438"/>
                      </a:lnTo>
                      <a:lnTo>
                        <a:pt x="160" y="437"/>
                      </a:lnTo>
                      <a:lnTo>
                        <a:pt x="159" y="437"/>
                      </a:lnTo>
                      <a:lnTo>
                        <a:pt x="159" y="437"/>
                      </a:lnTo>
                      <a:lnTo>
                        <a:pt x="159" y="436"/>
                      </a:lnTo>
                      <a:lnTo>
                        <a:pt x="158" y="436"/>
                      </a:lnTo>
                      <a:lnTo>
                        <a:pt x="157" y="436"/>
                      </a:lnTo>
                      <a:lnTo>
                        <a:pt x="157" y="435"/>
                      </a:lnTo>
                      <a:lnTo>
                        <a:pt x="157" y="435"/>
                      </a:lnTo>
                      <a:lnTo>
                        <a:pt x="157" y="435"/>
                      </a:lnTo>
                      <a:lnTo>
                        <a:pt x="156" y="435"/>
                      </a:lnTo>
                      <a:lnTo>
                        <a:pt x="156" y="434"/>
                      </a:lnTo>
                      <a:lnTo>
                        <a:pt x="156" y="433"/>
                      </a:lnTo>
                      <a:lnTo>
                        <a:pt x="156" y="433"/>
                      </a:lnTo>
                      <a:lnTo>
                        <a:pt x="155" y="433"/>
                      </a:lnTo>
                      <a:lnTo>
                        <a:pt x="155" y="433"/>
                      </a:lnTo>
                      <a:lnTo>
                        <a:pt x="155" y="433"/>
                      </a:lnTo>
                      <a:lnTo>
                        <a:pt x="155" y="432"/>
                      </a:lnTo>
                      <a:lnTo>
                        <a:pt x="154" y="432"/>
                      </a:lnTo>
                      <a:lnTo>
                        <a:pt x="153" y="432"/>
                      </a:lnTo>
                      <a:lnTo>
                        <a:pt x="153" y="432"/>
                      </a:lnTo>
                      <a:lnTo>
                        <a:pt x="153" y="432"/>
                      </a:lnTo>
                      <a:lnTo>
                        <a:pt x="152" y="432"/>
                      </a:lnTo>
                      <a:lnTo>
                        <a:pt x="152" y="431"/>
                      </a:lnTo>
                      <a:lnTo>
                        <a:pt x="152" y="432"/>
                      </a:lnTo>
                      <a:lnTo>
                        <a:pt x="152" y="431"/>
                      </a:lnTo>
                      <a:lnTo>
                        <a:pt x="151" y="431"/>
                      </a:lnTo>
                      <a:lnTo>
                        <a:pt x="151" y="431"/>
                      </a:lnTo>
                      <a:lnTo>
                        <a:pt x="151" y="431"/>
                      </a:lnTo>
                      <a:lnTo>
                        <a:pt x="150" y="431"/>
                      </a:lnTo>
                      <a:lnTo>
                        <a:pt x="149" y="431"/>
                      </a:lnTo>
                      <a:lnTo>
                        <a:pt x="149" y="430"/>
                      </a:lnTo>
                      <a:lnTo>
                        <a:pt x="149" y="430"/>
                      </a:lnTo>
                      <a:lnTo>
                        <a:pt x="149" y="429"/>
                      </a:lnTo>
                      <a:lnTo>
                        <a:pt x="148" y="429"/>
                      </a:lnTo>
                      <a:lnTo>
                        <a:pt x="149" y="429"/>
                      </a:lnTo>
                      <a:lnTo>
                        <a:pt x="149" y="429"/>
                      </a:lnTo>
                      <a:lnTo>
                        <a:pt x="148" y="429"/>
                      </a:lnTo>
                      <a:lnTo>
                        <a:pt x="148" y="429"/>
                      </a:lnTo>
                      <a:lnTo>
                        <a:pt x="147" y="428"/>
                      </a:lnTo>
                      <a:lnTo>
                        <a:pt x="148" y="428"/>
                      </a:lnTo>
                      <a:lnTo>
                        <a:pt x="147" y="428"/>
                      </a:lnTo>
                      <a:lnTo>
                        <a:pt x="147" y="428"/>
                      </a:lnTo>
                      <a:lnTo>
                        <a:pt x="147" y="427"/>
                      </a:lnTo>
                      <a:lnTo>
                        <a:pt x="147" y="428"/>
                      </a:lnTo>
                      <a:lnTo>
                        <a:pt x="146" y="428"/>
                      </a:lnTo>
                      <a:lnTo>
                        <a:pt x="145" y="428"/>
                      </a:lnTo>
                      <a:lnTo>
                        <a:pt x="145" y="428"/>
                      </a:lnTo>
                      <a:lnTo>
                        <a:pt x="145" y="428"/>
                      </a:lnTo>
                      <a:lnTo>
                        <a:pt x="144" y="428"/>
                      </a:lnTo>
                      <a:lnTo>
                        <a:pt x="144" y="428"/>
                      </a:lnTo>
                      <a:lnTo>
                        <a:pt x="144" y="427"/>
                      </a:lnTo>
                      <a:lnTo>
                        <a:pt x="143" y="427"/>
                      </a:lnTo>
                      <a:lnTo>
                        <a:pt x="143" y="426"/>
                      </a:lnTo>
                      <a:lnTo>
                        <a:pt x="143" y="426"/>
                      </a:lnTo>
                      <a:lnTo>
                        <a:pt x="142" y="426"/>
                      </a:lnTo>
                      <a:lnTo>
                        <a:pt x="142" y="425"/>
                      </a:lnTo>
                      <a:lnTo>
                        <a:pt x="142" y="425"/>
                      </a:lnTo>
                      <a:lnTo>
                        <a:pt x="142" y="424"/>
                      </a:lnTo>
                      <a:lnTo>
                        <a:pt x="141" y="424"/>
                      </a:lnTo>
                      <a:lnTo>
                        <a:pt x="141" y="424"/>
                      </a:lnTo>
                      <a:lnTo>
                        <a:pt x="141" y="424"/>
                      </a:lnTo>
                      <a:lnTo>
                        <a:pt x="140" y="424"/>
                      </a:lnTo>
                      <a:lnTo>
                        <a:pt x="140" y="423"/>
                      </a:lnTo>
                      <a:lnTo>
                        <a:pt x="140" y="423"/>
                      </a:lnTo>
                      <a:lnTo>
                        <a:pt x="139" y="423"/>
                      </a:lnTo>
                      <a:lnTo>
                        <a:pt x="138" y="423"/>
                      </a:lnTo>
                      <a:lnTo>
                        <a:pt x="138" y="423"/>
                      </a:lnTo>
                      <a:lnTo>
                        <a:pt x="138" y="422"/>
                      </a:lnTo>
                      <a:lnTo>
                        <a:pt x="137" y="422"/>
                      </a:lnTo>
                      <a:lnTo>
                        <a:pt x="137" y="422"/>
                      </a:lnTo>
                      <a:lnTo>
                        <a:pt x="137" y="422"/>
                      </a:lnTo>
                      <a:lnTo>
                        <a:pt x="137" y="422"/>
                      </a:lnTo>
                      <a:lnTo>
                        <a:pt x="137" y="421"/>
                      </a:lnTo>
                      <a:lnTo>
                        <a:pt x="138" y="421"/>
                      </a:lnTo>
                      <a:lnTo>
                        <a:pt x="138" y="422"/>
                      </a:lnTo>
                      <a:lnTo>
                        <a:pt x="138" y="421"/>
                      </a:lnTo>
                      <a:lnTo>
                        <a:pt x="138" y="421"/>
                      </a:lnTo>
                      <a:lnTo>
                        <a:pt x="139" y="421"/>
                      </a:lnTo>
                      <a:lnTo>
                        <a:pt x="140" y="421"/>
                      </a:lnTo>
                      <a:lnTo>
                        <a:pt x="140" y="421"/>
                      </a:lnTo>
                      <a:lnTo>
                        <a:pt x="140" y="421"/>
                      </a:lnTo>
                      <a:lnTo>
                        <a:pt x="140" y="420"/>
                      </a:lnTo>
                      <a:lnTo>
                        <a:pt x="140" y="420"/>
                      </a:lnTo>
                      <a:lnTo>
                        <a:pt x="139" y="421"/>
                      </a:lnTo>
                      <a:lnTo>
                        <a:pt x="138" y="421"/>
                      </a:lnTo>
                      <a:lnTo>
                        <a:pt x="138" y="420"/>
                      </a:lnTo>
                      <a:lnTo>
                        <a:pt x="138" y="420"/>
                      </a:lnTo>
                      <a:lnTo>
                        <a:pt x="138" y="420"/>
                      </a:lnTo>
                      <a:lnTo>
                        <a:pt x="138" y="420"/>
                      </a:lnTo>
                      <a:lnTo>
                        <a:pt x="138" y="420"/>
                      </a:lnTo>
                      <a:lnTo>
                        <a:pt x="138" y="420"/>
                      </a:lnTo>
                      <a:lnTo>
                        <a:pt x="139" y="420"/>
                      </a:lnTo>
                      <a:lnTo>
                        <a:pt x="139" y="420"/>
                      </a:lnTo>
                      <a:lnTo>
                        <a:pt x="139" y="420"/>
                      </a:lnTo>
                      <a:lnTo>
                        <a:pt x="139" y="420"/>
                      </a:lnTo>
                      <a:lnTo>
                        <a:pt x="138" y="420"/>
                      </a:lnTo>
                      <a:lnTo>
                        <a:pt x="138" y="420"/>
                      </a:lnTo>
                      <a:lnTo>
                        <a:pt x="138" y="420"/>
                      </a:lnTo>
                      <a:lnTo>
                        <a:pt x="137" y="420"/>
                      </a:lnTo>
                      <a:lnTo>
                        <a:pt x="137" y="421"/>
                      </a:lnTo>
                      <a:lnTo>
                        <a:pt x="137" y="420"/>
                      </a:lnTo>
                      <a:lnTo>
                        <a:pt x="137" y="421"/>
                      </a:lnTo>
                      <a:lnTo>
                        <a:pt x="137" y="421"/>
                      </a:lnTo>
                      <a:lnTo>
                        <a:pt x="137" y="421"/>
                      </a:lnTo>
                      <a:lnTo>
                        <a:pt x="137" y="420"/>
                      </a:lnTo>
                      <a:lnTo>
                        <a:pt x="138" y="420"/>
                      </a:lnTo>
                      <a:lnTo>
                        <a:pt x="138" y="420"/>
                      </a:lnTo>
                      <a:lnTo>
                        <a:pt x="138" y="419"/>
                      </a:lnTo>
                      <a:lnTo>
                        <a:pt x="139" y="419"/>
                      </a:lnTo>
                      <a:lnTo>
                        <a:pt x="140" y="419"/>
                      </a:lnTo>
                      <a:lnTo>
                        <a:pt x="140" y="420"/>
                      </a:lnTo>
                      <a:lnTo>
                        <a:pt x="140" y="420"/>
                      </a:lnTo>
                      <a:lnTo>
                        <a:pt x="141" y="420"/>
                      </a:lnTo>
                      <a:lnTo>
                        <a:pt x="141" y="420"/>
                      </a:lnTo>
                      <a:lnTo>
                        <a:pt x="142" y="420"/>
                      </a:lnTo>
                      <a:lnTo>
                        <a:pt x="142" y="420"/>
                      </a:lnTo>
                      <a:lnTo>
                        <a:pt x="143" y="420"/>
                      </a:lnTo>
                      <a:lnTo>
                        <a:pt x="143" y="421"/>
                      </a:lnTo>
                      <a:lnTo>
                        <a:pt x="143" y="420"/>
                      </a:lnTo>
                      <a:lnTo>
                        <a:pt x="144" y="420"/>
                      </a:lnTo>
                      <a:lnTo>
                        <a:pt x="144" y="420"/>
                      </a:lnTo>
                      <a:lnTo>
                        <a:pt x="145" y="420"/>
                      </a:lnTo>
                      <a:lnTo>
                        <a:pt x="145" y="419"/>
                      </a:lnTo>
                      <a:lnTo>
                        <a:pt x="145" y="418"/>
                      </a:lnTo>
                      <a:lnTo>
                        <a:pt x="145" y="418"/>
                      </a:lnTo>
                      <a:lnTo>
                        <a:pt x="145" y="417"/>
                      </a:lnTo>
                      <a:lnTo>
                        <a:pt x="145" y="417"/>
                      </a:lnTo>
                      <a:lnTo>
                        <a:pt x="145" y="416"/>
                      </a:lnTo>
                      <a:lnTo>
                        <a:pt x="146" y="416"/>
                      </a:lnTo>
                      <a:lnTo>
                        <a:pt x="146" y="415"/>
                      </a:lnTo>
                      <a:lnTo>
                        <a:pt x="147" y="415"/>
                      </a:lnTo>
                      <a:lnTo>
                        <a:pt x="147" y="415"/>
                      </a:lnTo>
                      <a:lnTo>
                        <a:pt x="147" y="414"/>
                      </a:lnTo>
                      <a:lnTo>
                        <a:pt x="147" y="414"/>
                      </a:lnTo>
                      <a:lnTo>
                        <a:pt x="148" y="413"/>
                      </a:lnTo>
                      <a:lnTo>
                        <a:pt x="148" y="413"/>
                      </a:lnTo>
                      <a:lnTo>
                        <a:pt x="148" y="412"/>
                      </a:lnTo>
                      <a:lnTo>
                        <a:pt x="148" y="412"/>
                      </a:lnTo>
                      <a:lnTo>
                        <a:pt x="149" y="412"/>
                      </a:lnTo>
                      <a:lnTo>
                        <a:pt x="149" y="413"/>
                      </a:lnTo>
                      <a:lnTo>
                        <a:pt x="149" y="413"/>
                      </a:lnTo>
                      <a:lnTo>
                        <a:pt x="149" y="413"/>
                      </a:lnTo>
                      <a:lnTo>
                        <a:pt x="149" y="413"/>
                      </a:lnTo>
                      <a:lnTo>
                        <a:pt x="149" y="412"/>
                      </a:lnTo>
                      <a:lnTo>
                        <a:pt x="149" y="411"/>
                      </a:lnTo>
                      <a:lnTo>
                        <a:pt x="150" y="411"/>
                      </a:lnTo>
                      <a:lnTo>
                        <a:pt x="150" y="410"/>
                      </a:lnTo>
                      <a:lnTo>
                        <a:pt x="150" y="410"/>
                      </a:lnTo>
                      <a:lnTo>
                        <a:pt x="151" y="410"/>
                      </a:lnTo>
                      <a:lnTo>
                        <a:pt x="150" y="410"/>
                      </a:lnTo>
                      <a:lnTo>
                        <a:pt x="150" y="410"/>
                      </a:lnTo>
                      <a:lnTo>
                        <a:pt x="150" y="411"/>
                      </a:lnTo>
                      <a:lnTo>
                        <a:pt x="151" y="411"/>
                      </a:lnTo>
                      <a:lnTo>
                        <a:pt x="150" y="411"/>
                      </a:lnTo>
                      <a:lnTo>
                        <a:pt x="151" y="411"/>
                      </a:lnTo>
                      <a:lnTo>
                        <a:pt x="151" y="411"/>
                      </a:lnTo>
                      <a:lnTo>
                        <a:pt x="151" y="411"/>
                      </a:lnTo>
                      <a:lnTo>
                        <a:pt x="151" y="412"/>
                      </a:lnTo>
                      <a:lnTo>
                        <a:pt x="152" y="412"/>
                      </a:lnTo>
                      <a:lnTo>
                        <a:pt x="152" y="412"/>
                      </a:lnTo>
                      <a:lnTo>
                        <a:pt x="153" y="412"/>
                      </a:lnTo>
                      <a:lnTo>
                        <a:pt x="153" y="411"/>
                      </a:lnTo>
                      <a:lnTo>
                        <a:pt x="152" y="411"/>
                      </a:lnTo>
                      <a:lnTo>
                        <a:pt x="152" y="411"/>
                      </a:lnTo>
                      <a:lnTo>
                        <a:pt x="152" y="411"/>
                      </a:lnTo>
                      <a:lnTo>
                        <a:pt x="151" y="411"/>
                      </a:lnTo>
                      <a:lnTo>
                        <a:pt x="151" y="410"/>
                      </a:lnTo>
                      <a:lnTo>
                        <a:pt x="151" y="410"/>
                      </a:lnTo>
                      <a:lnTo>
                        <a:pt x="151" y="410"/>
                      </a:lnTo>
                      <a:lnTo>
                        <a:pt x="150" y="410"/>
                      </a:lnTo>
                      <a:lnTo>
                        <a:pt x="150" y="409"/>
                      </a:lnTo>
                      <a:lnTo>
                        <a:pt x="149" y="409"/>
                      </a:lnTo>
                      <a:lnTo>
                        <a:pt x="149" y="408"/>
                      </a:lnTo>
                      <a:lnTo>
                        <a:pt x="148" y="408"/>
                      </a:lnTo>
                      <a:lnTo>
                        <a:pt x="148" y="408"/>
                      </a:lnTo>
                      <a:lnTo>
                        <a:pt x="148" y="408"/>
                      </a:lnTo>
                      <a:lnTo>
                        <a:pt x="148" y="409"/>
                      </a:lnTo>
                      <a:lnTo>
                        <a:pt x="148" y="409"/>
                      </a:lnTo>
                      <a:lnTo>
                        <a:pt x="148" y="408"/>
                      </a:lnTo>
                      <a:lnTo>
                        <a:pt x="147" y="408"/>
                      </a:lnTo>
                      <a:lnTo>
                        <a:pt x="147" y="407"/>
                      </a:lnTo>
                      <a:lnTo>
                        <a:pt x="147" y="407"/>
                      </a:lnTo>
                      <a:lnTo>
                        <a:pt x="147" y="406"/>
                      </a:lnTo>
                      <a:lnTo>
                        <a:pt x="147" y="406"/>
                      </a:lnTo>
                      <a:lnTo>
                        <a:pt x="146" y="405"/>
                      </a:lnTo>
                      <a:lnTo>
                        <a:pt x="146" y="404"/>
                      </a:lnTo>
                      <a:lnTo>
                        <a:pt x="147" y="405"/>
                      </a:lnTo>
                      <a:lnTo>
                        <a:pt x="147" y="405"/>
                      </a:lnTo>
                      <a:lnTo>
                        <a:pt x="147" y="406"/>
                      </a:lnTo>
                      <a:lnTo>
                        <a:pt x="148" y="406"/>
                      </a:lnTo>
                      <a:lnTo>
                        <a:pt x="148" y="406"/>
                      </a:lnTo>
                      <a:lnTo>
                        <a:pt x="148" y="405"/>
                      </a:lnTo>
                      <a:lnTo>
                        <a:pt x="149" y="405"/>
                      </a:lnTo>
                      <a:lnTo>
                        <a:pt x="149" y="404"/>
                      </a:lnTo>
                      <a:lnTo>
                        <a:pt x="149" y="404"/>
                      </a:lnTo>
                      <a:lnTo>
                        <a:pt x="150" y="404"/>
                      </a:lnTo>
                      <a:lnTo>
                        <a:pt x="151" y="404"/>
                      </a:lnTo>
                      <a:lnTo>
                        <a:pt x="151" y="404"/>
                      </a:lnTo>
                      <a:lnTo>
                        <a:pt x="151" y="404"/>
                      </a:lnTo>
                      <a:lnTo>
                        <a:pt x="151" y="405"/>
                      </a:lnTo>
                      <a:lnTo>
                        <a:pt x="151" y="405"/>
                      </a:lnTo>
                      <a:lnTo>
                        <a:pt x="152" y="405"/>
                      </a:lnTo>
                      <a:lnTo>
                        <a:pt x="152" y="405"/>
                      </a:lnTo>
                      <a:lnTo>
                        <a:pt x="153" y="405"/>
                      </a:lnTo>
                      <a:lnTo>
                        <a:pt x="153" y="404"/>
                      </a:lnTo>
                      <a:lnTo>
                        <a:pt x="152" y="404"/>
                      </a:lnTo>
                      <a:lnTo>
                        <a:pt x="152" y="404"/>
                      </a:lnTo>
                      <a:lnTo>
                        <a:pt x="152" y="404"/>
                      </a:lnTo>
                      <a:lnTo>
                        <a:pt x="151" y="404"/>
                      </a:lnTo>
                      <a:lnTo>
                        <a:pt x="151" y="404"/>
                      </a:lnTo>
                      <a:lnTo>
                        <a:pt x="151" y="404"/>
                      </a:lnTo>
                      <a:lnTo>
                        <a:pt x="151" y="403"/>
                      </a:lnTo>
                      <a:lnTo>
                        <a:pt x="152" y="403"/>
                      </a:lnTo>
                      <a:lnTo>
                        <a:pt x="152" y="403"/>
                      </a:lnTo>
                      <a:lnTo>
                        <a:pt x="152" y="403"/>
                      </a:lnTo>
                      <a:lnTo>
                        <a:pt x="153" y="403"/>
                      </a:lnTo>
                      <a:lnTo>
                        <a:pt x="153" y="403"/>
                      </a:lnTo>
                      <a:lnTo>
                        <a:pt x="154" y="403"/>
                      </a:lnTo>
                      <a:lnTo>
                        <a:pt x="154" y="402"/>
                      </a:lnTo>
                      <a:lnTo>
                        <a:pt x="155" y="402"/>
                      </a:lnTo>
                      <a:lnTo>
                        <a:pt x="155" y="402"/>
                      </a:lnTo>
                      <a:lnTo>
                        <a:pt x="155" y="402"/>
                      </a:lnTo>
                      <a:lnTo>
                        <a:pt x="156" y="402"/>
                      </a:lnTo>
                      <a:lnTo>
                        <a:pt x="156" y="401"/>
                      </a:lnTo>
                      <a:lnTo>
                        <a:pt x="157" y="401"/>
                      </a:lnTo>
                      <a:lnTo>
                        <a:pt x="157" y="400"/>
                      </a:lnTo>
                      <a:lnTo>
                        <a:pt x="157" y="401"/>
                      </a:lnTo>
                      <a:lnTo>
                        <a:pt x="157" y="401"/>
                      </a:lnTo>
                      <a:lnTo>
                        <a:pt x="158" y="401"/>
                      </a:lnTo>
                      <a:lnTo>
                        <a:pt x="159" y="401"/>
                      </a:lnTo>
                      <a:lnTo>
                        <a:pt x="159" y="400"/>
                      </a:lnTo>
                      <a:lnTo>
                        <a:pt x="159" y="400"/>
                      </a:lnTo>
                      <a:lnTo>
                        <a:pt x="159" y="400"/>
                      </a:lnTo>
                      <a:lnTo>
                        <a:pt x="160" y="400"/>
                      </a:lnTo>
                      <a:lnTo>
                        <a:pt x="160" y="399"/>
                      </a:lnTo>
                      <a:lnTo>
                        <a:pt x="160" y="399"/>
                      </a:lnTo>
                      <a:lnTo>
                        <a:pt x="160" y="400"/>
                      </a:lnTo>
                      <a:lnTo>
                        <a:pt x="160" y="399"/>
                      </a:lnTo>
                      <a:lnTo>
                        <a:pt x="161" y="399"/>
                      </a:lnTo>
                      <a:lnTo>
                        <a:pt x="161" y="400"/>
                      </a:lnTo>
                      <a:lnTo>
                        <a:pt x="162" y="400"/>
                      </a:lnTo>
                      <a:lnTo>
                        <a:pt x="161" y="400"/>
                      </a:lnTo>
                      <a:lnTo>
                        <a:pt x="161" y="399"/>
                      </a:lnTo>
                      <a:lnTo>
                        <a:pt x="161" y="400"/>
                      </a:lnTo>
                      <a:lnTo>
                        <a:pt x="161" y="399"/>
                      </a:lnTo>
                      <a:lnTo>
                        <a:pt x="160" y="399"/>
                      </a:lnTo>
                      <a:lnTo>
                        <a:pt x="161" y="399"/>
                      </a:lnTo>
                      <a:lnTo>
                        <a:pt x="162" y="399"/>
                      </a:lnTo>
                      <a:lnTo>
                        <a:pt x="162" y="399"/>
                      </a:lnTo>
                      <a:lnTo>
                        <a:pt x="163" y="399"/>
                      </a:lnTo>
                      <a:lnTo>
                        <a:pt x="163" y="398"/>
                      </a:lnTo>
                      <a:lnTo>
                        <a:pt x="163" y="398"/>
                      </a:lnTo>
                      <a:lnTo>
                        <a:pt x="163" y="399"/>
                      </a:lnTo>
                      <a:lnTo>
                        <a:pt x="164" y="399"/>
                      </a:lnTo>
                      <a:lnTo>
                        <a:pt x="164" y="398"/>
                      </a:lnTo>
                      <a:lnTo>
                        <a:pt x="164" y="399"/>
                      </a:lnTo>
                      <a:lnTo>
                        <a:pt x="164" y="399"/>
                      </a:lnTo>
                      <a:lnTo>
                        <a:pt x="164" y="398"/>
                      </a:lnTo>
                      <a:lnTo>
                        <a:pt x="164" y="399"/>
                      </a:lnTo>
                      <a:lnTo>
                        <a:pt x="165" y="399"/>
                      </a:lnTo>
                      <a:lnTo>
                        <a:pt x="165" y="398"/>
                      </a:lnTo>
                      <a:lnTo>
                        <a:pt x="166" y="398"/>
                      </a:lnTo>
                      <a:lnTo>
                        <a:pt x="166" y="399"/>
                      </a:lnTo>
                      <a:lnTo>
                        <a:pt x="166" y="399"/>
                      </a:lnTo>
                      <a:lnTo>
                        <a:pt x="166" y="398"/>
                      </a:lnTo>
                      <a:lnTo>
                        <a:pt x="167" y="398"/>
                      </a:lnTo>
                      <a:lnTo>
                        <a:pt x="167" y="398"/>
                      </a:lnTo>
                      <a:lnTo>
                        <a:pt x="167" y="398"/>
                      </a:lnTo>
                      <a:lnTo>
                        <a:pt x="167" y="397"/>
                      </a:lnTo>
                      <a:lnTo>
                        <a:pt x="167" y="398"/>
                      </a:lnTo>
                      <a:lnTo>
                        <a:pt x="167" y="398"/>
                      </a:lnTo>
                      <a:lnTo>
                        <a:pt x="166" y="398"/>
                      </a:lnTo>
                      <a:lnTo>
                        <a:pt x="166" y="399"/>
                      </a:lnTo>
                      <a:lnTo>
                        <a:pt x="166" y="399"/>
                      </a:lnTo>
                      <a:lnTo>
                        <a:pt x="166" y="398"/>
                      </a:lnTo>
                      <a:lnTo>
                        <a:pt x="165" y="398"/>
                      </a:lnTo>
                      <a:lnTo>
                        <a:pt x="165" y="399"/>
                      </a:lnTo>
                      <a:lnTo>
                        <a:pt x="164" y="399"/>
                      </a:lnTo>
                      <a:lnTo>
                        <a:pt x="164" y="398"/>
                      </a:lnTo>
                      <a:lnTo>
                        <a:pt x="164" y="398"/>
                      </a:lnTo>
                      <a:lnTo>
                        <a:pt x="164" y="399"/>
                      </a:lnTo>
                      <a:lnTo>
                        <a:pt x="163" y="399"/>
                      </a:lnTo>
                      <a:lnTo>
                        <a:pt x="163" y="398"/>
                      </a:lnTo>
                      <a:lnTo>
                        <a:pt x="164" y="398"/>
                      </a:lnTo>
                      <a:lnTo>
                        <a:pt x="164" y="398"/>
                      </a:lnTo>
                      <a:lnTo>
                        <a:pt x="164" y="398"/>
                      </a:lnTo>
                      <a:lnTo>
                        <a:pt x="163" y="398"/>
                      </a:lnTo>
                      <a:lnTo>
                        <a:pt x="163" y="398"/>
                      </a:lnTo>
                      <a:lnTo>
                        <a:pt x="163" y="399"/>
                      </a:lnTo>
                      <a:lnTo>
                        <a:pt x="162" y="399"/>
                      </a:lnTo>
                      <a:lnTo>
                        <a:pt x="162" y="399"/>
                      </a:lnTo>
                      <a:lnTo>
                        <a:pt x="161" y="399"/>
                      </a:lnTo>
                      <a:lnTo>
                        <a:pt x="160" y="399"/>
                      </a:lnTo>
                      <a:lnTo>
                        <a:pt x="160" y="399"/>
                      </a:lnTo>
                      <a:lnTo>
                        <a:pt x="159" y="399"/>
                      </a:lnTo>
                      <a:lnTo>
                        <a:pt x="159" y="399"/>
                      </a:lnTo>
                      <a:lnTo>
                        <a:pt x="159" y="399"/>
                      </a:lnTo>
                      <a:lnTo>
                        <a:pt x="158" y="399"/>
                      </a:lnTo>
                      <a:lnTo>
                        <a:pt x="158" y="398"/>
                      </a:lnTo>
                      <a:lnTo>
                        <a:pt x="158" y="399"/>
                      </a:lnTo>
                      <a:lnTo>
                        <a:pt x="158" y="398"/>
                      </a:lnTo>
                      <a:lnTo>
                        <a:pt x="159" y="398"/>
                      </a:lnTo>
                      <a:lnTo>
                        <a:pt x="159" y="398"/>
                      </a:lnTo>
                      <a:lnTo>
                        <a:pt x="160" y="398"/>
                      </a:lnTo>
                      <a:lnTo>
                        <a:pt x="160" y="398"/>
                      </a:lnTo>
                      <a:lnTo>
                        <a:pt x="160" y="399"/>
                      </a:lnTo>
                      <a:lnTo>
                        <a:pt x="161" y="399"/>
                      </a:lnTo>
                      <a:lnTo>
                        <a:pt x="160" y="399"/>
                      </a:lnTo>
                      <a:lnTo>
                        <a:pt x="160" y="398"/>
                      </a:lnTo>
                      <a:lnTo>
                        <a:pt x="159" y="398"/>
                      </a:lnTo>
                      <a:lnTo>
                        <a:pt x="159" y="398"/>
                      </a:lnTo>
                      <a:lnTo>
                        <a:pt x="158" y="398"/>
                      </a:lnTo>
                      <a:lnTo>
                        <a:pt x="157" y="398"/>
                      </a:lnTo>
                      <a:lnTo>
                        <a:pt x="157" y="398"/>
                      </a:lnTo>
                      <a:lnTo>
                        <a:pt x="157" y="398"/>
                      </a:lnTo>
                      <a:lnTo>
                        <a:pt x="157" y="398"/>
                      </a:lnTo>
                      <a:lnTo>
                        <a:pt x="156" y="398"/>
                      </a:lnTo>
                      <a:lnTo>
                        <a:pt x="156" y="398"/>
                      </a:lnTo>
                      <a:lnTo>
                        <a:pt x="156" y="399"/>
                      </a:lnTo>
                      <a:lnTo>
                        <a:pt x="155" y="399"/>
                      </a:lnTo>
                      <a:lnTo>
                        <a:pt x="155" y="399"/>
                      </a:lnTo>
                      <a:lnTo>
                        <a:pt x="155" y="399"/>
                      </a:lnTo>
                      <a:lnTo>
                        <a:pt x="154" y="399"/>
                      </a:lnTo>
                      <a:lnTo>
                        <a:pt x="153" y="399"/>
                      </a:lnTo>
                      <a:lnTo>
                        <a:pt x="153" y="399"/>
                      </a:lnTo>
                      <a:lnTo>
                        <a:pt x="152" y="400"/>
                      </a:lnTo>
                      <a:lnTo>
                        <a:pt x="153" y="400"/>
                      </a:lnTo>
                      <a:lnTo>
                        <a:pt x="152" y="400"/>
                      </a:lnTo>
                      <a:lnTo>
                        <a:pt x="152" y="399"/>
                      </a:lnTo>
                      <a:lnTo>
                        <a:pt x="152" y="399"/>
                      </a:lnTo>
                      <a:lnTo>
                        <a:pt x="152" y="399"/>
                      </a:lnTo>
                      <a:lnTo>
                        <a:pt x="152" y="399"/>
                      </a:lnTo>
                      <a:lnTo>
                        <a:pt x="152" y="399"/>
                      </a:lnTo>
                      <a:lnTo>
                        <a:pt x="151" y="399"/>
                      </a:lnTo>
                      <a:lnTo>
                        <a:pt x="151" y="400"/>
                      </a:lnTo>
                      <a:lnTo>
                        <a:pt x="151" y="399"/>
                      </a:lnTo>
                      <a:lnTo>
                        <a:pt x="151" y="400"/>
                      </a:lnTo>
                      <a:lnTo>
                        <a:pt x="151" y="399"/>
                      </a:lnTo>
                      <a:lnTo>
                        <a:pt x="151" y="400"/>
                      </a:lnTo>
                      <a:lnTo>
                        <a:pt x="151" y="399"/>
                      </a:lnTo>
                      <a:lnTo>
                        <a:pt x="151" y="400"/>
                      </a:lnTo>
                      <a:lnTo>
                        <a:pt x="150" y="400"/>
                      </a:lnTo>
                      <a:lnTo>
                        <a:pt x="150" y="399"/>
                      </a:lnTo>
                      <a:lnTo>
                        <a:pt x="150" y="399"/>
                      </a:lnTo>
                      <a:lnTo>
                        <a:pt x="151" y="398"/>
                      </a:lnTo>
                      <a:lnTo>
                        <a:pt x="151" y="398"/>
                      </a:lnTo>
                      <a:lnTo>
                        <a:pt x="150" y="398"/>
                      </a:lnTo>
                      <a:lnTo>
                        <a:pt x="150" y="397"/>
                      </a:lnTo>
                      <a:lnTo>
                        <a:pt x="151" y="397"/>
                      </a:lnTo>
                      <a:lnTo>
                        <a:pt x="151" y="396"/>
                      </a:lnTo>
                      <a:lnTo>
                        <a:pt x="151" y="396"/>
                      </a:lnTo>
                      <a:lnTo>
                        <a:pt x="151" y="395"/>
                      </a:lnTo>
                      <a:lnTo>
                        <a:pt x="151" y="395"/>
                      </a:lnTo>
                      <a:lnTo>
                        <a:pt x="151" y="395"/>
                      </a:lnTo>
                      <a:lnTo>
                        <a:pt x="151" y="394"/>
                      </a:lnTo>
                      <a:lnTo>
                        <a:pt x="152" y="394"/>
                      </a:lnTo>
                      <a:lnTo>
                        <a:pt x="152" y="394"/>
                      </a:lnTo>
                      <a:lnTo>
                        <a:pt x="153" y="394"/>
                      </a:lnTo>
                      <a:lnTo>
                        <a:pt x="153" y="394"/>
                      </a:lnTo>
                      <a:lnTo>
                        <a:pt x="153" y="393"/>
                      </a:lnTo>
                      <a:lnTo>
                        <a:pt x="154" y="393"/>
                      </a:lnTo>
                      <a:lnTo>
                        <a:pt x="154" y="394"/>
                      </a:lnTo>
                      <a:lnTo>
                        <a:pt x="154" y="393"/>
                      </a:lnTo>
                      <a:lnTo>
                        <a:pt x="155" y="392"/>
                      </a:lnTo>
                      <a:lnTo>
                        <a:pt x="155" y="392"/>
                      </a:lnTo>
                      <a:lnTo>
                        <a:pt x="155" y="391"/>
                      </a:lnTo>
                      <a:lnTo>
                        <a:pt x="155" y="391"/>
                      </a:lnTo>
                      <a:lnTo>
                        <a:pt x="156" y="391"/>
                      </a:lnTo>
                      <a:lnTo>
                        <a:pt x="156" y="391"/>
                      </a:lnTo>
                      <a:lnTo>
                        <a:pt x="157" y="391"/>
                      </a:lnTo>
                      <a:lnTo>
                        <a:pt x="157" y="391"/>
                      </a:lnTo>
                      <a:lnTo>
                        <a:pt x="158" y="391"/>
                      </a:lnTo>
                      <a:lnTo>
                        <a:pt x="159" y="391"/>
                      </a:lnTo>
                      <a:lnTo>
                        <a:pt x="159" y="391"/>
                      </a:lnTo>
                      <a:lnTo>
                        <a:pt x="159" y="392"/>
                      </a:lnTo>
                      <a:lnTo>
                        <a:pt x="159" y="391"/>
                      </a:lnTo>
                      <a:lnTo>
                        <a:pt x="160" y="391"/>
                      </a:lnTo>
                      <a:lnTo>
                        <a:pt x="160" y="392"/>
                      </a:lnTo>
                      <a:lnTo>
                        <a:pt x="161" y="391"/>
                      </a:lnTo>
                      <a:lnTo>
                        <a:pt x="162" y="392"/>
                      </a:lnTo>
                      <a:lnTo>
                        <a:pt x="162" y="392"/>
                      </a:lnTo>
                      <a:lnTo>
                        <a:pt x="162" y="391"/>
                      </a:lnTo>
                      <a:lnTo>
                        <a:pt x="163" y="391"/>
                      </a:lnTo>
                      <a:lnTo>
                        <a:pt x="163" y="391"/>
                      </a:lnTo>
                      <a:lnTo>
                        <a:pt x="163" y="390"/>
                      </a:lnTo>
                      <a:lnTo>
                        <a:pt x="163" y="389"/>
                      </a:lnTo>
                      <a:lnTo>
                        <a:pt x="162" y="389"/>
                      </a:lnTo>
                      <a:lnTo>
                        <a:pt x="162" y="389"/>
                      </a:lnTo>
                      <a:lnTo>
                        <a:pt x="163" y="389"/>
                      </a:lnTo>
                      <a:lnTo>
                        <a:pt x="163" y="389"/>
                      </a:lnTo>
                      <a:lnTo>
                        <a:pt x="163" y="389"/>
                      </a:lnTo>
                      <a:lnTo>
                        <a:pt x="163" y="388"/>
                      </a:lnTo>
                      <a:lnTo>
                        <a:pt x="163" y="388"/>
                      </a:lnTo>
                      <a:lnTo>
                        <a:pt x="164" y="388"/>
                      </a:lnTo>
                      <a:lnTo>
                        <a:pt x="164" y="387"/>
                      </a:lnTo>
                      <a:lnTo>
                        <a:pt x="164" y="387"/>
                      </a:lnTo>
                      <a:lnTo>
                        <a:pt x="164" y="387"/>
                      </a:lnTo>
                      <a:lnTo>
                        <a:pt x="164" y="386"/>
                      </a:lnTo>
                      <a:lnTo>
                        <a:pt x="163" y="386"/>
                      </a:lnTo>
                      <a:lnTo>
                        <a:pt x="163" y="386"/>
                      </a:lnTo>
                      <a:lnTo>
                        <a:pt x="163" y="385"/>
                      </a:lnTo>
                      <a:lnTo>
                        <a:pt x="163" y="385"/>
                      </a:lnTo>
                      <a:lnTo>
                        <a:pt x="164" y="385"/>
                      </a:lnTo>
                      <a:lnTo>
                        <a:pt x="164" y="385"/>
                      </a:lnTo>
                      <a:lnTo>
                        <a:pt x="163" y="385"/>
                      </a:lnTo>
                      <a:lnTo>
                        <a:pt x="163" y="385"/>
                      </a:lnTo>
                      <a:lnTo>
                        <a:pt x="163" y="384"/>
                      </a:lnTo>
                      <a:lnTo>
                        <a:pt x="163" y="384"/>
                      </a:lnTo>
                      <a:lnTo>
                        <a:pt x="163" y="384"/>
                      </a:lnTo>
                      <a:lnTo>
                        <a:pt x="163" y="384"/>
                      </a:lnTo>
                      <a:lnTo>
                        <a:pt x="163" y="383"/>
                      </a:lnTo>
                      <a:lnTo>
                        <a:pt x="163" y="383"/>
                      </a:lnTo>
                      <a:lnTo>
                        <a:pt x="162" y="383"/>
                      </a:lnTo>
                      <a:lnTo>
                        <a:pt x="162" y="383"/>
                      </a:lnTo>
                      <a:lnTo>
                        <a:pt x="162" y="382"/>
                      </a:lnTo>
                      <a:lnTo>
                        <a:pt x="162" y="381"/>
                      </a:lnTo>
                      <a:lnTo>
                        <a:pt x="162" y="381"/>
                      </a:lnTo>
                      <a:lnTo>
                        <a:pt x="162" y="381"/>
                      </a:lnTo>
                      <a:lnTo>
                        <a:pt x="162" y="381"/>
                      </a:lnTo>
                      <a:lnTo>
                        <a:pt x="162" y="381"/>
                      </a:lnTo>
                      <a:lnTo>
                        <a:pt x="162" y="381"/>
                      </a:lnTo>
                      <a:lnTo>
                        <a:pt x="162" y="381"/>
                      </a:lnTo>
                      <a:lnTo>
                        <a:pt x="162" y="381"/>
                      </a:lnTo>
                      <a:lnTo>
                        <a:pt x="162" y="380"/>
                      </a:lnTo>
                      <a:lnTo>
                        <a:pt x="163" y="380"/>
                      </a:lnTo>
                      <a:lnTo>
                        <a:pt x="163" y="380"/>
                      </a:lnTo>
                      <a:lnTo>
                        <a:pt x="163" y="380"/>
                      </a:lnTo>
                      <a:lnTo>
                        <a:pt x="164" y="380"/>
                      </a:lnTo>
                      <a:lnTo>
                        <a:pt x="164" y="380"/>
                      </a:lnTo>
                      <a:lnTo>
                        <a:pt x="165" y="380"/>
                      </a:lnTo>
                      <a:lnTo>
                        <a:pt x="164" y="379"/>
                      </a:lnTo>
                      <a:lnTo>
                        <a:pt x="164" y="379"/>
                      </a:lnTo>
                      <a:lnTo>
                        <a:pt x="164" y="380"/>
                      </a:lnTo>
                      <a:lnTo>
                        <a:pt x="164" y="379"/>
                      </a:lnTo>
                      <a:lnTo>
                        <a:pt x="163" y="379"/>
                      </a:lnTo>
                      <a:lnTo>
                        <a:pt x="163" y="379"/>
                      </a:lnTo>
                      <a:lnTo>
                        <a:pt x="162" y="379"/>
                      </a:lnTo>
                      <a:lnTo>
                        <a:pt x="162" y="378"/>
                      </a:lnTo>
                      <a:lnTo>
                        <a:pt x="163" y="378"/>
                      </a:lnTo>
                      <a:lnTo>
                        <a:pt x="162" y="378"/>
                      </a:lnTo>
                      <a:lnTo>
                        <a:pt x="162" y="378"/>
                      </a:lnTo>
                      <a:lnTo>
                        <a:pt x="162" y="378"/>
                      </a:lnTo>
                      <a:lnTo>
                        <a:pt x="162" y="377"/>
                      </a:lnTo>
                      <a:lnTo>
                        <a:pt x="162" y="377"/>
                      </a:lnTo>
                      <a:lnTo>
                        <a:pt x="163" y="377"/>
                      </a:lnTo>
                      <a:lnTo>
                        <a:pt x="163" y="377"/>
                      </a:lnTo>
                      <a:lnTo>
                        <a:pt x="164" y="377"/>
                      </a:lnTo>
                      <a:lnTo>
                        <a:pt x="164" y="377"/>
                      </a:lnTo>
                      <a:lnTo>
                        <a:pt x="164" y="376"/>
                      </a:lnTo>
                      <a:lnTo>
                        <a:pt x="164" y="376"/>
                      </a:lnTo>
                      <a:lnTo>
                        <a:pt x="165" y="376"/>
                      </a:lnTo>
                      <a:lnTo>
                        <a:pt x="165" y="375"/>
                      </a:lnTo>
                      <a:lnTo>
                        <a:pt x="166" y="375"/>
                      </a:lnTo>
                      <a:lnTo>
                        <a:pt x="166" y="374"/>
                      </a:lnTo>
                      <a:lnTo>
                        <a:pt x="166" y="374"/>
                      </a:lnTo>
                      <a:lnTo>
                        <a:pt x="166" y="373"/>
                      </a:lnTo>
                      <a:lnTo>
                        <a:pt x="165" y="373"/>
                      </a:lnTo>
                      <a:lnTo>
                        <a:pt x="164" y="373"/>
                      </a:lnTo>
                      <a:lnTo>
                        <a:pt x="164" y="372"/>
                      </a:lnTo>
                      <a:lnTo>
                        <a:pt x="164" y="372"/>
                      </a:lnTo>
                      <a:lnTo>
                        <a:pt x="165" y="372"/>
                      </a:lnTo>
                      <a:lnTo>
                        <a:pt x="166" y="371"/>
                      </a:lnTo>
                      <a:lnTo>
                        <a:pt x="165" y="371"/>
                      </a:lnTo>
                      <a:lnTo>
                        <a:pt x="164" y="371"/>
                      </a:lnTo>
                      <a:lnTo>
                        <a:pt x="164" y="371"/>
                      </a:lnTo>
                      <a:lnTo>
                        <a:pt x="163" y="372"/>
                      </a:lnTo>
                      <a:lnTo>
                        <a:pt x="163" y="372"/>
                      </a:lnTo>
                      <a:lnTo>
                        <a:pt x="162" y="371"/>
                      </a:lnTo>
                      <a:lnTo>
                        <a:pt x="162" y="371"/>
                      </a:lnTo>
                      <a:lnTo>
                        <a:pt x="161" y="370"/>
                      </a:lnTo>
                      <a:lnTo>
                        <a:pt x="161" y="370"/>
                      </a:lnTo>
                      <a:lnTo>
                        <a:pt x="161" y="369"/>
                      </a:lnTo>
                      <a:lnTo>
                        <a:pt x="160" y="369"/>
                      </a:lnTo>
                      <a:lnTo>
                        <a:pt x="160" y="369"/>
                      </a:lnTo>
                      <a:lnTo>
                        <a:pt x="159" y="369"/>
                      </a:lnTo>
                      <a:lnTo>
                        <a:pt x="159" y="369"/>
                      </a:lnTo>
                      <a:lnTo>
                        <a:pt x="158" y="369"/>
                      </a:lnTo>
                      <a:lnTo>
                        <a:pt x="158" y="368"/>
                      </a:lnTo>
                      <a:lnTo>
                        <a:pt x="157" y="367"/>
                      </a:lnTo>
                      <a:lnTo>
                        <a:pt x="157" y="368"/>
                      </a:lnTo>
                      <a:lnTo>
                        <a:pt x="156" y="368"/>
                      </a:lnTo>
                      <a:lnTo>
                        <a:pt x="156" y="369"/>
                      </a:lnTo>
                      <a:lnTo>
                        <a:pt x="155" y="369"/>
                      </a:lnTo>
                      <a:lnTo>
                        <a:pt x="155" y="368"/>
                      </a:lnTo>
                      <a:lnTo>
                        <a:pt x="155" y="367"/>
                      </a:lnTo>
                      <a:lnTo>
                        <a:pt x="155" y="367"/>
                      </a:lnTo>
                      <a:lnTo>
                        <a:pt x="154" y="367"/>
                      </a:lnTo>
                      <a:lnTo>
                        <a:pt x="154" y="367"/>
                      </a:lnTo>
                      <a:lnTo>
                        <a:pt x="153" y="367"/>
                      </a:lnTo>
                      <a:lnTo>
                        <a:pt x="153" y="366"/>
                      </a:lnTo>
                      <a:lnTo>
                        <a:pt x="154" y="366"/>
                      </a:lnTo>
                      <a:lnTo>
                        <a:pt x="153" y="366"/>
                      </a:lnTo>
                      <a:lnTo>
                        <a:pt x="153" y="367"/>
                      </a:lnTo>
                      <a:lnTo>
                        <a:pt x="153" y="366"/>
                      </a:lnTo>
                      <a:lnTo>
                        <a:pt x="152" y="367"/>
                      </a:lnTo>
                      <a:lnTo>
                        <a:pt x="152" y="366"/>
                      </a:lnTo>
                      <a:lnTo>
                        <a:pt x="152" y="366"/>
                      </a:lnTo>
                      <a:lnTo>
                        <a:pt x="151" y="366"/>
                      </a:lnTo>
                      <a:lnTo>
                        <a:pt x="151" y="366"/>
                      </a:lnTo>
                      <a:lnTo>
                        <a:pt x="151" y="365"/>
                      </a:lnTo>
                      <a:lnTo>
                        <a:pt x="150" y="365"/>
                      </a:lnTo>
                      <a:lnTo>
                        <a:pt x="149" y="365"/>
                      </a:lnTo>
                      <a:lnTo>
                        <a:pt x="149" y="366"/>
                      </a:lnTo>
                      <a:lnTo>
                        <a:pt x="150" y="366"/>
                      </a:lnTo>
                      <a:lnTo>
                        <a:pt x="149" y="366"/>
                      </a:lnTo>
                      <a:lnTo>
                        <a:pt x="149" y="367"/>
                      </a:lnTo>
                      <a:lnTo>
                        <a:pt x="149" y="367"/>
                      </a:lnTo>
                      <a:lnTo>
                        <a:pt x="148" y="367"/>
                      </a:lnTo>
                      <a:lnTo>
                        <a:pt x="148" y="367"/>
                      </a:lnTo>
                      <a:lnTo>
                        <a:pt x="148" y="367"/>
                      </a:lnTo>
                      <a:lnTo>
                        <a:pt x="148" y="366"/>
                      </a:lnTo>
                      <a:lnTo>
                        <a:pt x="148" y="366"/>
                      </a:lnTo>
                      <a:lnTo>
                        <a:pt x="148" y="366"/>
                      </a:lnTo>
                      <a:lnTo>
                        <a:pt x="147" y="366"/>
                      </a:lnTo>
                      <a:lnTo>
                        <a:pt x="147" y="365"/>
                      </a:lnTo>
                      <a:lnTo>
                        <a:pt x="146" y="365"/>
                      </a:lnTo>
                      <a:lnTo>
                        <a:pt x="145" y="365"/>
                      </a:lnTo>
                      <a:lnTo>
                        <a:pt x="145" y="364"/>
                      </a:lnTo>
                      <a:lnTo>
                        <a:pt x="145" y="364"/>
                      </a:lnTo>
                      <a:lnTo>
                        <a:pt x="145" y="363"/>
                      </a:lnTo>
                      <a:lnTo>
                        <a:pt x="145" y="363"/>
                      </a:lnTo>
                      <a:lnTo>
                        <a:pt x="145" y="362"/>
                      </a:lnTo>
                      <a:lnTo>
                        <a:pt x="145" y="362"/>
                      </a:lnTo>
                      <a:lnTo>
                        <a:pt x="144" y="362"/>
                      </a:lnTo>
                      <a:lnTo>
                        <a:pt x="144" y="362"/>
                      </a:lnTo>
                      <a:lnTo>
                        <a:pt x="144" y="362"/>
                      </a:lnTo>
                      <a:lnTo>
                        <a:pt x="144" y="361"/>
                      </a:lnTo>
                      <a:lnTo>
                        <a:pt x="144" y="361"/>
                      </a:lnTo>
                      <a:lnTo>
                        <a:pt x="144" y="361"/>
                      </a:lnTo>
                      <a:lnTo>
                        <a:pt x="144" y="361"/>
                      </a:lnTo>
                      <a:lnTo>
                        <a:pt x="143" y="361"/>
                      </a:lnTo>
                      <a:lnTo>
                        <a:pt x="142" y="361"/>
                      </a:lnTo>
                      <a:lnTo>
                        <a:pt x="142" y="362"/>
                      </a:lnTo>
                      <a:lnTo>
                        <a:pt x="142" y="362"/>
                      </a:lnTo>
                      <a:lnTo>
                        <a:pt x="141" y="362"/>
                      </a:lnTo>
                      <a:lnTo>
                        <a:pt x="141" y="362"/>
                      </a:lnTo>
                      <a:lnTo>
                        <a:pt x="141" y="362"/>
                      </a:lnTo>
                      <a:lnTo>
                        <a:pt x="140" y="362"/>
                      </a:lnTo>
                      <a:lnTo>
                        <a:pt x="140" y="362"/>
                      </a:lnTo>
                      <a:lnTo>
                        <a:pt x="139" y="362"/>
                      </a:lnTo>
                      <a:lnTo>
                        <a:pt x="138" y="362"/>
                      </a:lnTo>
                      <a:lnTo>
                        <a:pt x="138" y="363"/>
                      </a:lnTo>
                      <a:lnTo>
                        <a:pt x="138" y="363"/>
                      </a:lnTo>
                      <a:lnTo>
                        <a:pt x="137" y="363"/>
                      </a:lnTo>
                      <a:lnTo>
                        <a:pt x="137" y="363"/>
                      </a:lnTo>
                      <a:lnTo>
                        <a:pt x="137" y="363"/>
                      </a:lnTo>
                      <a:lnTo>
                        <a:pt x="137" y="363"/>
                      </a:lnTo>
                      <a:lnTo>
                        <a:pt x="136" y="363"/>
                      </a:lnTo>
                      <a:lnTo>
                        <a:pt x="136" y="362"/>
                      </a:lnTo>
                      <a:lnTo>
                        <a:pt x="136" y="362"/>
                      </a:lnTo>
                      <a:lnTo>
                        <a:pt x="135" y="362"/>
                      </a:lnTo>
                      <a:lnTo>
                        <a:pt x="135" y="363"/>
                      </a:lnTo>
                      <a:lnTo>
                        <a:pt x="134" y="363"/>
                      </a:lnTo>
                      <a:lnTo>
                        <a:pt x="134" y="362"/>
                      </a:lnTo>
                      <a:lnTo>
                        <a:pt x="134" y="362"/>
                      </a:lnTo>
                      <a:lnTo>
                        <a:pt x="133" y="361"/>
                      </a:lnTo>
                      <a:lnTo>
                        <a:pt x="133" y="361"/>
                      </a:lnTo>
                      <a:lnTo>
                        <a:pt x="133" y="361"/>
                      </a:lnTo>
                      <a:lnTo>
                        <a:pt x="133" y="361"/>
                      </a:lnTo>
                      <a:lnTo>
                        <a:pt x="132" y="361"/>
                      </a:lnTo>
                      <a:lnTo>
                        <a:pt x="131" y="361"/>
                      </a:lnTo>
                      <a:lnTo>
                        <a:pt x="131" y="361"/>
                      </a:lnTo>
                      <a:lnTo>
                        <a:pt x="130" y="361"/>
                      </a:lnTo>
                      <a:lnTo>
                        <a:pt x="130" y="362"/>
                      </a:lnTo>
                      <a:lnTo>
                        <a:pt x="130" y="362"/>
                      </a:lnTo>
                      <a:lnTo>
                        <a:pt x="129" y="362"/>
                      </a:lnTo>
                      <a:lnTo>
                        <a:pt x="129" y="362"/>
                      </a:lnTo>
                      <a:lnTo>
                        <a:pt x="129" y="362"/>
                      </a:lnTo>
                      <a:lnTo>
                        <a:pt x="129" y="362"/>
                      </a:lnTo>
                      <a:lnTo>
                        <a:pt x="129" y="361"/>
                      </a:lnTo>
                      <a:lnTo>
                        <a:pt x="129" y="361"/>
                      </a:lnTo>
                      <a:lnTo>
                        <a:pt x="128" y="361"/>
                      </a:lnTo>
                      <a:lnTo>
                        <a:pt x="127" y="360"/>
                      </a:lnTo>
                      <a:lnTo>
                        <a:pt x="127" y="359"/>
                      </a:lnTo>
                      <a:lnTo>
                        <a:pt x="127" y="359"/>
                      </a:lnTo>
                      <a:lnTo>
                        <a:pt x="127" y="359"/>
                      </a:lnTo>
                      <a:lnTo>
                        <a:pt x="127" y="359"/>
                      </a:lnTo>
                      <a:lnTo>
                        <a:pt x="127" y="359"/>
                      </a:lnTo>
                      <a:lnTo>
                        <a:pt x="127" y="358"/>
                      </a:lnTo>
                      <a:lnTo>
                        <a:pt x="127" y="358"/>
                      </a:lnTo>
                      <a:lnTo>
                        <a:pt x="128" y="358"/>
                      </a:lnTo>
                      <a:lnTo>
                        <a:pt x="127" y="358"/>
                      </a:lnTo>
                      <a:lnTo>
                        <a:pt x="127" y="358"/>
                      </a:lnTo>
                      <a:lnTo>
                        <a:pt x="127" y="357"/>
                      </a:lnTo>
                      <a:lnTo>
                        <a:pt x="128" y="357"/>
                      </a:lnTo>
                      <a:lnTo>
                        <a:pt x="127" y="357"/>
                      </a:lnTo>
                      <a:lnTo>
                        <a:pt x="127" y="356"/>
                      </a:lnTo>
                      <a:lnTo>
                        <a:pt x="127" y="356"/>
                      </a:lnTo>
                      <a:lnTo>
                        <a:pt x="127" y="356"/>
                      </a:lnTo>
                      <a:lnTo>
                        <a:pt x="127" y="355"/>
                      </a:lnTo>
                      <a:lnTo>
                        <a:pt x="127" y="355"/>
                      </a:lnTo>
                      <a:lnTo>
                        <a:pt x="127" y="355"/>
                      </a:lnTo>
                      <a:lnTo>
                        <a:pt x="127" y="355"/>
                      </a:lnTo>
                      <a:lnTo>
                        <a:pt x="127" y="354"/>
                      </a:lnTo>
                      <a:lnTo>
                        <a:pt x="127" y="354"/>
                      </a:lnTo>
                      <a:lnTo>
                        <a:pt x="127" y="354"/>
                      </a:lnTo>
                      <a:lnTo>
                        <a:pt x="127" y="354"/>
                      </a:lnTo>
                      <a:lnTo>
                        <a:pt x="126" y="354"/>
                      </a:lnTo>
                      <a:lnTo>
                        <a:pt x="126" y="354"/>
                      </a:lnTo>
                      <a:lnTo>
                        <a:pt x="125" y="354"/>
                      </a:lnTo>
                      <a:lnTo>
                        <a:pt x="125" y="353"/>
                      </a:lnTo>
                      <a:lnTo>
                        <a:pt x="125" y="352"/>
                      </a:lnTo>
                      <a:lnTo>
                        <a:pt x="125" y="352"/>
                      </a:lnTo>
                      <a:lnTo>
                        <a:pt x="125" y="351"/>
                      </a:lnTo>
                      <a:lnTo>
                        <a:pt x="125" y="351"/>
                      </a:lnTo>
                      <a:lnTo>
                        <a:pt x="125" y="352"/>
                      </a:lnTo>
                      <a:lnTo>
                        <a:pt x="124" y="352"/>
                      </a:lnTo>
                      <a:lnTo>
                        <a:pt x="124" y="351"/>
                      </a:lnTo>
                      <a:lnTo>
                        <a:pt x="123" y="352"/>
                      </a:lnTo>
                      <a:lnTo>
                        <a:pt x="123" y="352"/>
                      </a:lnTo>
                      <a:lnTo>
                        <a:pt x="123" y="352"/>
                      </a:lnTo>
                      <a:lnTo>
                        <a:pt x="122" y="352"/>
                      </a:lnTo>
                      <a:lnTo>
                        <a:pt x="122" y="352"/>
                      </a:lnTo>
                      <a:lnTo>
                        <a:pt x="122" y="352"/>
                      </a:lnTo>
                      <a:lnTo>
                        <a:pt x="122" y="352"/>
                      </a:lnTo>
                      <a:lnTo>
                        <a:pt x="122" y="352"/>
                      </a:lnTo>
                      <a:lnTo>
                        <a:pt x="122" y="352"/>
                      </a:lnTo>
                      <a:lnTo>
                        <a:pt x="122" y="352"/>
                      </a:lnTo>
                      <a:lnTo>
                        <a:pt x="121" y="352"/>
                      </a:lnTo>
                      <a:lnTo>
                        <a:pt x="121" y="351"/>
                      </a:lnTo>
                      <a:lnTo>
                        <a:pt x="121" y="351"/>
                      </a:lnTo>
                      <a:lnTo>
                        <a:pt x="120" y="351"/>
                      </a:lnTo>
                      <a:lnTo>
                        <a:pt x="119" y="351"/>
                      </a:lnTo>
                      <a:lnTo>
                        <a:pt x="119" y="351"/>
                      </a:lnTo>
                      <a:lnTo>
                        <a:pt x="118" y="351"/>
                      </a:lnTo>
                      <a:lnTo>
                        <a:pt x="118" y="351"/>
                      </a:lnTo>
                      <a:lnTo>
                        <a:pt x="118" y="351"/>
                      </a:lnTo>
                      <a:lnTo>
                        <a:pt x="118" y="351"/>
                      </a:lnTo>
                      <a:lnTo>
                        <a:pt x="118" y="350"/>
                      </a:lnTo>
                      <a:lnTo>
                        <a:pt x="119" y="350"/>
                      </a:lnTo>
                      <a:lnTo>
                        <a:pt x="118" y="350"/>
                      </a:lnTo>
                      <a:lnTo>
                        <a:pt x="118" y="350"/>
                      </a:lnTo>
                      <a:lnTo>
                        <a:pt x="118" y="350"/>
                      </a:lnTo>
                      <a:lnTo>
                        <a:pt x="118" y="349"/>
                      </a:lnTo>
                      <a:lnTo>
                        <a:pt x="118" y="349"/>
                      </a:lnTo>
                      <a:lnTo>
                        <a:pt x="118" y="348"/>
                      </a:lnTo>
                      <a:lnTo>
                        <a:pt x="118" y="348"/>
                      </a:lnTo>
                      <a:lnTo>
                        <a:pt x="118" y="347"/>
                      </a:lnTo>
                      <a:lnTo>
                        <a:pt x="118" y="347"/>
                      </a:lnTo>
                      <a:lnTo>
                        <a:pt x="117" y="347"/>
                      </a:lnTo>
                      <a:lnTo>
                        <a:pt x="116" y="347"/>
                      </a:lnTo>
                      <a:lnTo>
                        <a:pt x="116" y="346"/>
                      </a:lnTo>
                      <a:lnTo>
                        <a:pt x="117" y="346"/>
                      </a:lnTo>
                      <a:lnTo>
                        <a:pt x="118" y="346"/>
                      </a:lnTo>
                      <a:lnTo>
                        <a:pt x="118" y="346"/>
                      </a:lnTo>
                      <a:lnTo>
                        <a:pt x="118" y="345"/>
                      </a:lnTo>
                      <a:lnTo>
                        <a:pt x="119" y="345"/>
                      </a:lnTo>
                      <a:lnTo>
                        <a:pt x="119" y="345"/>
                      </a:lnTo>
                      <a:lnTo>
                        <a:pt x="119" y="345"/>
                      </a:lnTo>
                      <a:lnTo>
                        <a:pt x="119" y="344"/>
                      </a:lnTo>
                      <a:lnTo>
                        <a:pt x="119" y="344"/>
                      </a:lnTo>
                      <a:lnTo>
                        <a:pt x="119" y="344"/>
                      </a:lnTo>
                      <a:lnTo>
                        <a:pt x="118" y="344"/>
                      </a:lnTo>
                      <a:lnTo>
                        <a:pt x="118" y="343"/>
                      </a:lnTo>
                      <a:lnTo>
                        <a:pt x="118" y="343"/>
                      </a:lnTo>
                      <a:lnTo>
                        <a:pt x="118" y="343"/>
                      </a:lnTo>
                      <a:lnTo>
                        <a:pt x="117" y="343"/>
                      </a:lnTo>
                      <a:lnTo>
                        <a:pt x="117" y="342"/>
                      </a:lnTo>
                      <a:lnTo>
                        <a:pt x="116" y="342"/>
                      </a:lnTo>
                      <a:lnTo>
                        <a:pt x="116" y="341"/>
                      </a:lnTo>
                      <a:lnTo>
                        <a:pt x="116" y="341"/>
                      </a:lnTo>
                      <a:lnTo>
                        <a:pt x="117" y="341"/>
                      </a:lnTo>
                      <a:lnTo>
                        <a:pt x="116" y="340"/>
                      </a:lnTo>
                      <a:lnTo>
                        <a:pt x="116" y="340"/>
                      </a:lnTo>
                      <a:lnTo>
                        <a:pt x="116" y="340"/>
                      </a:lnTo>
                      <a:lnTo>
                        <a:pt x="115" y="340"/>
                      </a:lnTo>
                      <a:lnTo>
                        <a:pt x="115" y="339"/>
                      </a:lnTo>
                      <a:lnTo>
                        <a:pt x="115" y="339"/>
                      </a:lnTo>
                      <a:lnTo>
                        <a:pt x="115" y="339"/>
                      </a:lnTo>
                      <a:lnTo>
                        <a:pt x="115" y="338"/>
                      </a:lnTo>
                      <a:lnTo>
                        <a:pt x="114" y="338"/>
                      </a:lnTo>
                      <a:lnTo>
                        <a:pt x="114" y="338"/>
                      </a:lnTo>
                      <a:lnTo>
                        <a:pt x="113" y="338"/>
                      </a:lnTo>
                      <a:lnTo>
                        <a:pt x="113" y="339"/>
                      </a:lnTo>
                      <a:lnTo>
                        <a:pt x="112" y="339"/>
                      </a:lnTo>
                      <a:lnTo>
                        <a:pt x="112" y="339"/>
                      </a:lnTo>
                      <a:lnTo>
                        <a:pt x="112" y="338"/>
                      </a:lnTo>
                      <a:lnTo>
                        <a:pt x="111" y="338"/>
                      </a:lnTo>
                      <a:lnTo>
                        <a:pt x="111" y="338"/>
                      </a:lnTo>
                      <a:lnTo>
                        <a:pt x="110" y="338"/>
                      </a:lnTo>
                      <a:lnTo>
                        <a:pt x="110" y="338"/>
                      </a:lnTo>
                      <a:lnTo>
                        <a:pt x="109" y="338"/>
                      </a:lnTo>
                      <a:lnTo>
                        <a:pt x="110" y="338"/>
                      </a:lnTo>
                      <a:lnTo>
                        <a:pt x="109" y="338"/>
                      </a:lnTo>
                      <a:lnTo>
                        <a:pt x="109" y="339"/>
                      </a:lnTo>
                      <a:lnTo>
                        <a:pt x="108" y="339"/>
                      </a:lnTo>
                      <a:lnTo>
                        <a:pt x="108" y="339"/>
                      </a:lnTo>
                      <a:lnTo>
                        <a:pt x="108" y="339"/>
                      </a:lnTo>
                      <a:lnTo>
                        <a:pt x="107" y="339"/>
                      </a:lnTo>
                      <a:lnTo>
                        <a:pt x="107" y="339"/>
                      </a:lnTo>
                      <a:lnTo>
                        <a:pt x="107" y="339"/>
                      </a:lnTo>
                      <a:lnTo>
                        <a:pt x="107" y="339"/>
                      </a:lnTo>
                      <a:lnTo>
                        <a:pt x="106" y="339"/>
                      </a:lnTo>
                      <a:lnTo>
                        <a:pt x="106" y="339"/>
                      </a:lnTo>
                      <a:lnTo>
                        <a:pt x="105" y="339"/>
                      </a:lnTo>
                      <a:lnTo>
                        <a:pt x="104" y="339"/>
                      </a:lnTo>
                      <a:lnTo>
                        <a:pt x="104" y="339"/>
                      </a:lnTo>
                      <a:lnTo>
                        <a:pt x="103" y="339"/>
                      </a:lnTo>
                      <a:lnTo>
                        <a:pt x="103" y="338"/>
                      </a:lnTo>
                      <a:lnTo>
                        <a:pt x="103" y="338"/>
                      </a:lnTo>
                      <a:lnTo>
                        <a:pt x="103" y="339"/>
                      </a:lnTo>
                      <a:lnTo>
                        <a:pt x="103" y="339"/>
                      </a:lnTo>
                      <a:lnTo>
                        <a:pt x="103" y="339"/>
                      </a:lnTo>
                      <a:lnTo>
                        <a:pt x="103" y="340"/>
                      </a:lnTo>
                      <a:lnTo>
                        <a:pt x="103" y="339"/>
                      </a:lnTo>
                      <a:lnTo>
                        <a:pt x="103" y="340"/>
                      </a:lnTo>
                      <a:lnTo>
                        <a:pt x="103" y="339"/>
                      </a:lnTo>
                      <a:lnTo>
                        <a:pt x="103" y="340"/>
                      </a:lnTo>
                      <a:lnTo>
                        <a:pt x="103" y="340"/>
                      </a:lnTo>
                      <a:lnTo>
                        <a:pt x="103" y="341"/>
                      </a:lnTo>
                      <a:lnTo>
                        <a:pt x="102" y="341"/>
                      </a:lnTo>
                      <a:lnTo>
                        <a:pt x="102" y="341"/>
                      </a:lnTo>
                      <a:lnTo>
                        <a:pt x="101" y="341"/>
                      </a:lnTo>
                      <a:lnTo>
                        <a:pt x="101" y="341"/>
                      </a:lnTo>
                      <a:lnTo>
                        <a:pt x="101" y="342"/>
                      </a:lnTo>
                      <a:lnTo>
                        <a:pt x="100" y="342"/>
                      </a:lnTo>
                      <a:lnTo>
                        <a:pt x="100" y="341"/>
                      </a:lnTo>
                      <a:lnTo>
                        <a:pt x="100" y="341"/>
                      </a:lnTo>
                      <a:lnTo>
                        <a:pt x="99" y="342"/>
                      </a:lnTo>
                      <a:lnTo>
                        <a:pt x="99" y="341"/>
                      </a:lnTo>
                      <a:lnTo>
                        <a:pt x="99" y="342"/>
                      </a:lnTo>
                      <a:lnTo>
                        <a:pt x="99" y="341"/>
                      </a:lnTo>
                      <a:lnTo>
                        <a:pt x="100" y="341"/>
                      </a:lnTo>
                      <a:lnTo>
                        <a:pt x="99" y="341"/>
                      </a:lnTo>
                      <a:lnTo>
                        <a:pt x="99" y="341"/>
                      </a:lnTo>
                      <a:lnTo>
                        <a:pt x="99" y="341"/>
                      </a:lnTo>
                      <a:lnTo>
                        <a:pt x="98" y="341"/>
                      </a:lnTo>
                      <a:lnTo>
                        <a:pt x="98" y="340"/>
                      </a:lnTo>
                      <a:lnTo>
                        <a:pt x="97" y="340"/>
                      </a:lnTo>
                      <a:lnTo>
                        <a:pt x="97" y="340"/>
                      </a:lnTo>
                      <a:lnTo>
                        <a:pt x="97" y="339"/>
                      </a:lnTo>
                      <a:lnTo>
                        <a:pt x="97" y="339"/>
                      </a:lnTo>
                      <a:lnTo>
                        <a:pt x="97" y="339"/>
                      </a:lnTo>
                      <a:lnTo>
                        <a:pt x="97" y="338"/>
                      </a:lnTo>
                      <a:lnTo>
                        <a:pt x="97" y="337"/>
                      </a:lnTo>
                      <a:lnTo>
                        <a:pt x="97" y="337"/>
                      </a:lnTo>
                      <a:lnTo>
                        <a:pt x="96" y="337"/>
                      </a:lnTo>
                      <a:lnTo>
                        <a:pt x="96" y="336"/>
                      </a:lnTo>
                      <a:lnTo>
                        <a:pt x="97" y="336"/>
                      </a:lnTo>
                      <a:lnTo>
                        <a:pt x="96" y="336"/>
                      </a:lnTo>
                      <a:lnTo>
                        <a:pt x="97" y="336"/>
                      </a:lnTo>
                      <a:lnTo>
                        <a:pt x="97" y="336"/>
                      </a:lnTo>
                      <a:lnTo>
                        <a:pt x="97" y="336"/>
                      </a:lnTo>
                      <a:lnTo>
                        <a:pt x="97" y="336"/>
                      </a:lnTo>
                      <a:lnTo>
                        <a:pt x="97" y="335"/>
                      </a:lnTo>
                      <a:lnTo>
                        <a:pt x="96" y="335"/>
                      </a:lnTo>
                      <a:lnTo>
                        <a:pt x="96" y="334"/>
                      </a:lnTo>
                      <a:lnTo>
                        <a:pt x="96" y="334"/>
                      </a:lnTo>
                      <a:lnTo>
                        <a:pt x="96" y="334"/>
                      </a:lnTo>
                      <a:lnTo>
                        <a:pt x="96" y="333"/>
                      </a:lnTo>
                      <a:lnTo>
                        <a:pt x="97" y="333"/>
                      </a:lnTo>
                      <a:lnTo>
                        <a:pt x="97" y="333"/>
                      </a:lnTo>
                      <a:lnTo>
                        <a:pt x="96" y="333"/>
                      </a:lnTo>
                      <a:lnTo>
                        <a:pt x="96" y="332"/>
                      </a:lnTo>
                      <a:lnTo>
                        <a:pt x="96" y="332"/>
                      </a:lnTo>
                      <a:lnTo>
                        <a:pt x="96" y="332"/>
                      </a:lnTo>
                      <a:lnTo>
                        <a:pt x="95" y="332"/>
                      </a:lnTo>
                      <a:lnTo>
                        <a:pt x="95" y="331"/>
                      </a:lnTo>
                      <a:lnTo>
                        <a:pt x="95" y="330"/>
                      </a:lnTo>
                      <a:lnTo>
                        <a:pt x="95" y="330"/>
                      </a:lnTo>
                      <a:lnTo>
                        <a:pt x="94" y="330"/>
                      </a:lnTo>
                      <a:lnTo>
                        <a:pt x="95" y="330"/>
                      </a:lnTo>
                      <a:lnTo>
                        <a:pt x="95" y="329"/>
                      </a:lnTo>
                      <a:lnTo>
                        <a:pt x="95" y="329"/>
                      </a:lnTo>
                      <a:lnTo>
                        <a:pt x="95" y="329"/>
                      </a:lnTo>
                      <a:lnTo>
                        <a:pt x="95" y="329"/>
                      </a:lnTo>
                      <a:lnTo>
                        <a:pt x="95" y="328"/>
                      </a:lnTo>
                      <a:lnTo>
                        <a:pt x="95" y="328"/>
                      </a:lnTo>
                      <a:lnTo>
                        <a:pt x="96" y="328"/>
                      </a:lnTo>
                      <a:lnTo>
                        <a:pt x="96" y="328"/>
                      </a:lnTo>
                      <a:lnTo>
                        <a:pt x="97" y="328"/>
                      </a:lnTo>
                      <a:lnTo>
                        <a:pt x="97" y="328"/>
                      </a:lnTo>
                      <a:lnTo>
                        <a:pt x="97" y="328"/>
                      </a:lnTo>
                      <a:lnTo>
                        <a:pt x="98" y="328"/>
                      </a:lnTo>
                      <a:lnTo>
                        <a:pt x="99" y="329"/>
                      </a:lnTo>
                      <a:lnTo>
                        <a:pt x="99" y="329"/>
                      </a:lnTo>
                      <a:lnTo>
                        <a:pt x="99" y="329"/>
                      </a:lnTo>
                      <a:lnTo>
                        <a:pt x="100" y="329"/>
                      </a:lnTo>
                      <a:lnTo>
                        <a:pt x="100" y="329"/>
                      </a:lnTo>
                      <a:lnTo>
                        <a:pt x="101" y="329"/>
                      </a:lnTo>
                      <a:lnTo>
                        <a:pt x="101" y="329"/>
                      </a:lnTo>
                      <a:lnTo>
                        <a:pt x="101" y="329"/>
                      </a:lnTo>
                      <a:lnTo>
                        <a:pt x="101" y="329"/>
                      </a:lnTo>
                      <a:lnTo>
                        <a:pt x="102" y="329"/>
                      </a:lnTo>
                      <a:lnTo>
                        <a:pt x="103" y="329"/>
                      </a:lnTo>
                      <a:lnTo>
                        <a:pt x="103" y="328"/>
                      </a:lnTo>
                      <a:lnTo>
                        <a:pt x="103" y="328"/>
                      </a:lnTo>
                      <a:lnTo>
                        <a:pt x="103" y="328"/>
                      </a:lnTo>
                      <a:lnTo>
                        <a:pt x="104" y="327"/>
                      </a:lnTo>
                      <a:lnTo>
                        <a:pt x="104" y="326"/>
                      </a:lnTo>
                      <a:lnTo>
                        <a:pt x="104" y="326"/>
                      </a:lnTo>
                      <a:lnTo>
                        <a:pt x="104" y="327"/>
                      </a:lnTo>
                      <a:lnTo>
                        <a:pt x="104" y="326"/>
                      </a:lnTo>
                      <a:lnTo>
                        <a:pt x="105" y="326"/>
                      </a:lnTo>
                      <a:lnTo>
                        <a:pt x="106" y="326"/>
                      </a:lnTo>
                      <a:lnTo>
                        <a:pt x="106" y="326"/>
                      </a:lnTo>
                      <a:lnTo>
                        <a:pt x="106" y="326"/>
                      </a:lnTo>
                      <a:lnTo>
                        <a:pt x="106" y="326"/>
                      </a:lnTo>
                      <a:lnTo>
                        <a:pt x="106" y="325"/>
                      </a:lnTo>
                      <a:lnTo>
                        <a:pt x="106" y="325"/>
                      </a:lnTo>
                      <a:lnTo>
                        <a:pt x="106" y="325"/>
                      </a:lnTo>
                      <a:lnTo>
                        <a:pt x="105" y="325"/>
                      </a:lnTo>
                      <a:lnTo>
                        <a:pt x="105" y="324"/>
                      </a:lnTo>
                      <a:lnTo>
                        <a:pt x="105" y="325"/>
                      </a:lnTo>
                      <a:lnTo>
                        <a:pt x="105" y="324"/>
                      </a:lnTo>
                      <a:lnTo>
                        <a:pt x="104" y="324"/>
                      </a:lnTo>
                      <a:lnTo>
                        <a:pt x="104" y="324"/>
                      </a:lnTo>
                      <a:lnTo>
                        <a:pt x="104" y="324"/>
                      </a:lnTo>
                      <a:lnTo>
                        <a:pt x="103" y="323"/>
                      </a:lnTo>
                      <a:lnTo>
                        <a:pt x="103" y="322"/>
                      </a:lnTo>
                      <a:lnTo>
                        <a:pt x="104" y="322"/>
                      </a:lnTo>
                      <a:lnTo>
                        <a:pt x="104" y="322"/>
                      </a:lnTo>
                      <a:lnTo>
                        <a:pt x="104" y="321"/>
                      </a:lnTo>
                      <a:lnTo>
                        <a:pt x="103" y="321"/>
                      </a:lnTo>
                      <a:lnTo>
                        <a:pt x="103" y="321"/>
                      </a:lnTo>
                      <a:lnTo>
                        <a:pt x="103" y="322"/>
                      </a:lnTo>
                      <a:lnTo>
                        <a:pt x="103" y="321"/>
                      </a:lnTo>
                      <a:lnTo>
                        <a:pt x="102" y="321"/>
                      </a:lnTo>
                      <a:lnTo>
                        <a:pt x="102" y="321"/>
                      </a:lnTo>
                      <a:lnTo>
                        <a:pt x="102" y="321"/>
                      </a:lnTo>
                      <a:lnTo>
                        <a:pt x="101" y="321"/>
                      </a:lnTo>
                      <a:lnTo>
                        <a:pt x="101" y="321"/>
                      </a:lnTo>
                      <a:lnTo>
                        <a:pt x="101" y="321"/>
                      </a:lnTo>
                      <a:lnTo>
                        <a:pt x="101" y="320"/>
                      </a:lnTo>
                      <a:lnTo>
                        <a:pt x="101" y="321"/>
                      </a:lnTo>
                      <a:lnTo>
                        <a:pt x="100" y="321"/>
                      </a:lnTo>
                      <a:lnTo>
                        <a:pt x="100" y="321"/>
                      </a:lnTo>
                      <a:lnTo>
                        <a:pt x="99" y="321"/>
                      </a:lnTo>
                      <a:lnTo>
                        <a:pt x="99" y="321"/>
                      </a:lnTo>
                      <a:lnTo>
                        <a:pt x="98" y="321"/>
                      </a:lnTo>
                      <a:lnTo>
                        <a:pt x="98" y="320"/>
                      </a:lnTo>
                      <a:lnTo>
                        <a:pt x="99" y="320"/>
                      </a:lnTo>
                      <a:lnTo>
                        <a:pt x="99" y="319"/>
                      </a:lnTo>
                      <a:lnTo>
                        <a:pt x="99" y="319"/>
                      </a:lnTo>
                      <a:lnTo>
                        <a:pt x="99" y="318"/>
                      </a:lnTo>
                      <a:lnTo>
                        <a:pt x="99" y="318"/>
                      </a:lnTo>
                      <a:lnTo>
                        <a:pt x="99" y="318"/>
                      </a:lnTo>
                      <a:lnTo>
                        <a:pt x="99" y="318"/>
                      </a:lnTo>
                      <a:lnTo>
                        <a:pt x="99" y="318"/>
                      </a:lnTo>
                      <a:lnTo>
                        <a:pt x="99" y="317"/>
                      </a:lnTo>
                      <a:lnTo>
                        <a:pt x="99" y="317"/>
                      </a:lnTo>
                      <a:lnTo>
                        <a:pt x="98" y="317"/>
                      </a:lnTo>
                      <a:lnTo>
                        <a:pt x="98" y="317"/>
                      </a:lnTo>
                      <a:lnTo>
                        <a:pt x="97" y="317"/>
                      </a:lnTo>
                      <a:lnTo>
                        <a:pt x="97" y="317"/>
                      </a:lnTo>
                      <a:lnTo>
                        <a:pt x="96" y="317"/>
                      </a:lnTo>
                      <a:lnTo>
                        <a:pt x="96" y="316"/>
                      </a:lnTo>
                      <a:lnTo>
                        <a:pt x="96" y="316"/>
                      </a:lnTo>
                      <a:lnTo>
                        <a:pt x="96" y="315"/>
                      </a:lnTo>
                      <a:lnTo>
                        <a:pt x="95" y="315"/>
                      </a:lnTo>
                      <a:lnTo>
                        <a:pt x="95" y="315"/>
                      </a:lnTo>
                      <a:lnTo>
                        <a:pt x="95" y="315"/>
                      </a:lnTo>
                      <a:lnTo>
                        <a:pt x="95" y="315"/>
                      </a:lnTo>
                      <a:lnTo>
                        <a:pt x="95" y="315"/>
                      </a:lnTo>
                      <a:lnTo>
                        <a:pt x="95" y="314"/>
                      </a:lnTo>
                      <a:lnTo>
                        <a:pt x="94" y="314"/>
                      </a:lnTo>
                      <a:lnTo>
                        <a:pt x="95" y="314"/>
                      </a:lnTo>
                      <a:lnTo>
                        <a:pt x="94" y="314"/>
                      </a:lnTo>
                      <a:lnTo>
                        <a:pt x="94" y="313"/>
                      </a:lnTo>
                      <a:lnTo>
                        <a:pt x="94" y="313"/>
                      </a:lnTo>
                      <a:lnTo>
                        <a:pt x="93" y="313"/>
                      </a:lnTo>
                      <a:lnTo>
                        <a:pt x="93" y="312"/>
                      </a:lnTo>
                      <a:lnTo>
                        <a:pt x="93" y="313"/>
                      </a:lnTo>
                      <a:lnTo>
                        <a:pt x="93" y="312"/>
                      </a:lnTo>
                      <a:lnTo>
                        <a:pt x="93" y="311"/>
                      </a:lnTo>
                      <a:lnTo>
                        <a:pt x="93" y="311"/>
                      </a:lnTo>
                      <a:lnTo>
                        <a:pt x="93" y="311"/>
                      </a:lnTo>
                      <a:lnTo>
                        <a:pt x="93" y="310"/>
                      </a:lnTo>
                      <a:lnTo>
                        <a:pt x="93" y="310"/>
                      </a:lnTo>
                      <a:lnTo>
                        <a:pt x="93" y="310"/>
                      </a:lnTo>
                      <a:lnTo>
                        <a:pt x="93" y="310"/>
                      </a:lnTo>
                      <a:lnTo>
                        <a:pt x="93" y="310"/>
                      </a:lnTo>
                      <a:lnTo>
                        <a:pt x="92" y="310"/>
                      </a:lnTo>
                      <a:lnTo>
                        <a:pt x="92" y="310"/>
                      </a:lnTo>
                      <a:lnTo>
                        <a:pt x="92" y="309"/>
                      </a:lnTo>
                      <a:lnTo>
                        <a:pt x="92" y="309"/>
                      </a:lnTo>
                      <a:lnTo>
                        <a:pt x="92" y="310"/>
                      </a:lnTo>
                      <a:lnTo>
                        <a:pt x="92" y="309"/>
                      </a:lnTo>
                      <a:lnTo>
                        <a:pt x="91" y="309"/>
                      </a:lnTo>
                      <a:lnTo>
                        <a:pt x="91" y="308"/>
                      </a:lnTo>
                      <a:lnTo>
                        <a:pt x="90" y="308"/>
                      </a:lnTo>
                      <a:lnTo>
                        <a:pt x="90" y="308"/>
                      </a:lnTo>
                      <a:lnTo>
                        <a:pt x="90" y="308"/>
                      </a:lnTo>
                      <a:lnTo>
                        <a:pt x="90" y="307"/>
                      </a:lnTo>
                      <a:lnTo>
                        <a:pt x="90" y="307"/>
                      </a:lnTo>
                      <a:lnTo>
                        <a:pt x="90" y="307"/>
                      </a:lnTo>
                      <a:lnTo>
                        <a:pt x="90" y="306"/>
                      </a:lnTo>
                      <a:lnTo>
                        <a:pt x="91" y="306"/>
                      </a:lnTo>
                      <a:lnTo>
                        <a:pt x="92" y="306"/>
                      </a:lnTo>
                      <a:lnTo>
                        <a:pt x="92" y="306"/>
                      </a:lnTo>
                      <a:lnTo>
                        <a:pt x="91" y="306"/>
                      </a:lnTo>
                      <a:lnTo>
                        <a:pt x="92" y="306"/>
                      </a:lnTo>
                      <a:lnTo>
                        <a:pt x="92" y="305"/>
                      </a:lnTo>
                      <a:lnTo>
                        <a:pt x="92" y="305"/>
                      </a:lnTo>
                      <a:lnTo>
                        <a:pt x="92" y="304"/>
                      </a:lnTo>
                      <a:lnTo>
                        <a:pt x="92" y="304"/>
                      </a:lnTo>
                      <a:lnTo>
                        <a:pt x="92" y="304"/>
                      </a:lnTo>
                      <a:lnTo>
                        <a:pt x="92" y="304"/>
                      </a:lnTo>
                      <a:lnTo>
                        <a:pt x="92" y="303"/>
                      </a:lnTo>
                      <a:lnTo>
                        <a:pt x="91" y="303"/>
                      </a:lnTo>
                      <a:lnTo>
                        <a:pt x="91" y="303"/>
                      </a:lnTo>
                      <a:lnTo>
                        <a:pt x="90" y="302"/>
                      </a:lnTo>
                      <a:lnTo>
                        <a:pt x="90" y="302"/>
                      </a:lnTo>
                      <a:lnTo>
                        <a:pt x="91" y="302"/>
                      </a:lnTo>
                      <a:lnTo>
                        <a:pt x="91" y="301"/>
                      </a:lnTo>
                      <a:lnTo>
                        <a:pt x="91" y="300"/>
                      </a:lnTo>
                      <a:lnTo>
                        <a:pt x="91" y="300"/>
                      </a:lnTo>
                      <a:lnTo>
                        <a:pt x="92" y="300"/>
                      </a:lnTo>
                      <a:lnTo>
                        <a:pt x="92" y="299"/>
                      </a:lnTo>
                      <a:lnTo>
                        <a:pt x="91" y="299"/>
                      </a:lnTo>
                      <a:lnTo>
                        <a:pt x="92" y="299"/>
                      </a:lnTo>
                      <a:lnTo>
                        <a:pt x="92" y="299"/>
                      </a:lnTo>
                      <a:lnTo>
                        <a:pt x="91" y="299"/>
                      </a:lnTo>
                      <a:lnTo>
                        <a:pt x="92" y="299"/>
                      </a:lnTo>
                      <a:lnTo>
                        <a:pt x="91" y="298"/>
                      </a:lnTo>
                      <a:lnTo>
                        <a:pt x="90" y="298"/>
                      </a:lnTo>
                      <a:lnTo>
                        <a:pt x="90" y="299"/>
                      </a:lnTo>
                      <a:lnTo>
                        <a:pt x="90" y="299"/>
                      </a:lnTo>
                      <a:lnTo>
                        <a:pt x="90" y="298"/>
                      </a:lnTo>
                      <a:lnTo>
                        <a:pt x="90" y="297"/>
                      </a:lnTo>
                      <a:lnTo>
                        <a:pt x="89" y="297"/>
                      </a:lnTo>
                      <a:lnTo>
                        <a:pt x="89" y="298"/>
                      </a:lnTo>
                      <a:lnTo>
                        <a:pt x="89" y="297"/>
                      </a:lnTo>
                      <a:lnTo>
                        <a:pt x="89" y="297"/>
                      </a:lnTo>
                      <a:lnTo>
                        <a:pt x="89" y="297"/>
                      </a:lnTo>
                      <a:lnTo>
                        <a:pt x="89" y="296"/>
                      </a:lnTo>
                      <a:lnTo>
                        <a:pt x="88" y="296"/>
                      </a:lnTo>
                      <a:lnTo>
                        <a:pt x="88" y="296"/>
                      </a:lnTo>
                      <a:lnTo>
                        <a:pt x="88" y="296"/>
                      </a:lnTo>
                      <a:lnTo>
                        <a:pt x="88" y="296"/>
                      </a:lnTo>
                      <a:lnTo>
                        <a:pt x="87" y="296"/>
                      </a:lnTo>
                      <a:lnTo>
                        <a:pt x="86" y="296"/>
                      </a:lnTo>
                      <a:lnTo>
                        <a:pt x="86" y="295"/>
                      </a:lnTo>
                      <a:lnTo>
                        <a:pt x="86" y="295"/>
                      </a:lnTo>
                      <a:lnTo>
                        <a:pt x="85" y="295"/>
                      </a:lnTo>
                      <a:lnTo>
                        <a:pt x="85" y="295"/>
                      </a:lnTo>
                      <a:lnTo>
                        <a:pt x="85" y="296"/>
                      </a:lnTo>
                      <a:lnTo>
                        <a:pt x="85" y="295"/>
                      </a:lnTo>
                      <a:lnTo>
                        <a:pt x="84" y="295"/>
                      </a:lnTo>
                      <a:lnTo>
                        <a:pt x="84" y="295"/>
                      </a:lnTo>
                      <a:lnTo>
                        <a:pt x="83" y="295"/>
                      </a:lnTo>
                      <a:lnTo>
                        <a:pt x="83" y="296"/>
                      </a:lnTo>
                      <a:lnTo>
                        <a:pt x="82" y="296"/>
                      </a:lnTo>
                      <a:lnTo>
                        <a:pt x="82" y="296"/>
                      </a:lnTo>
                      <a:lnTo>
                        <a:pt x="82" y="296"/>
                      </a:lnTo>
                      <a:lnTo>
                        <a:pt x="82" y="296"/>
                      </a:lnTo>
                      <a:lnTo>
                        <a:pt x="81" y="296"/>
                      </a:lnTo>
                      <a:lnTo>
                        <a:pt x="81" y="296"/>
                      </a:lnTo>
                      <a:lnTo>
                        <a:pt x="81" y="296"/>
                      </a:lnTo>
                      <a:lnTo>
                        <a:pt x="81" y="297"/>
                      </a:lnTo>
                      <a:lnTo>
                        <a:pt x="80" y="297"/>
                      </a:lnTo>
                      <a:lnTo>
                        <a:pt x="80" y="297"/>
                      </a:lnTo>
                      <a:lnTo>
                        <a:pt x="79" y="296"/>
                      </a:lnTo>
                      <a:lnTo>
                        <a:pt x="79" y="296"/>
                      </a:lnTo>
                      <a:lnTo>
                        <a:pt x="79" y="295"/>
                      </a:lnTo>
                      <a:lnTo>
                        <a:pt x="79" y="295"/>
                      </a:lnTo>
                      <a:lnTo>
                        <a:pt x="80" y="295"/>
                      </a:lnTo>
                      <a:lnTo>
                        <a:pt x="80" y="294"/>
                      </a:lnTo>
                      <a:lnTo>
                        <a:pt x="79" y="294"/>
                      </a:lnTo>
                      <a:lnTo>
                        <a:pt x="80" y="294"/>
                      </a:lnTo>
                      <a:lnTo>
                        <a:pt x="79" y="294"/>
                      </a:lnTo>
                      <a:lnTo>
                        <a:pt x="78" y="294"/>
                      </a:lnTo>
                      <a:lnTo>
                        <a:pt x="78" y="293"/>
                      </a:lnTo>
                      <a:lnTo>
                        <a:pt x="78" y="293"/>
                      </a:lnTo>
                      <a:lnTo>
                        <a:pt x="77" y="293"/>
                      </a:lnTo>
                      <a:lnTo>
                        <a:pt x="77" y="293"/>
                      </a:lnTo>
                      <a:lnTo>
                        <a:pt x="77" y="293"/>
                      </a:lnTo>
                      <a:lnTo>
                        <a:pt x="77" y="293"/>
                      </a:lnTo>
                      <a:lnTo>
                        <a:pt x="77" y="293"/>
                      </a:lnTo>
                      <a:lnTo>
                        <a:pt x="76" y="293"/>
                      </a:lnTo>
                      <a:lnTo>
                        <a:pt x="76" y="293"/>
                      </a:lnTo>
                      <a:lnTo>
                        <a:pt x="75" y="293"/>
                      </a:lnTo>
                      <a:lnTo>
                        <a:pt x="75" y="293"/>
                      </a:lnTo>
                      <a:lnTo>
                        <a:pt x="74" y="293"/>
                      </a:lnTo>
                      <a:lnTo>
                        <a:pt x="74" y="294"/>
                      </a:lnTo>
                      <a:lnTo>
                        <a:pt x="74" y="293"/>
                      </a:lnTo>
                      <a:lnTo>
                        <a:pt x="74" y="294"/>
                      </a:lnTo>
                      <a:lnTo>
                        <a:pt x="74" y="293"/>
                      </a:lnTo>
                      <a:lnTo>
                        <a:pt x="74" y="294"/>
                      </a:lnTo>
                      <a:lnTo>
                        <a:pt x="74" y="293"/>
                      </a:lnTo>
                      <a:lnTo>
                        <a:pt x="73" y="293"/>
                      </a:lnTo>
                      <a:lnTo>
                        <a:pt x="73" y="293"/>
                      </a:lnTo>
                      <a:lnTo>
                        <a:pt x="73" y="292"/>
                      </a:lnTo>
                      <a:lnTo>
                        <a:pt x="73" y="292"/>
                      </a:lnTo>
                      <a:lnTo>
                        <a:pt x="73" y="292"/>
                      </a:lnTo>
                      <a:lnTo>
                        <a:pt x="72" y="292"/>
                      </a:lnTo>
                      <a:lnTo>
                        <a:pt x="72" y="292"/>
                      </a:lnTo>
                      <a:lnTo>
                        <a:pt x="71" y="292"/>
                      </a:lnTo>
                      <a:lnTo>
                        <a:pt x="71" y="292"/>
                      </a:lnTo>
                      <a:lnTo>
                        <a:pt x="71" y="293"/>
                      </a:lnTo>
                      <a:lnTo>
                        <a:pt x="70" y="292"/>
                      </a:lnTo>
                      <a:lnTo>
                        <a:pt x="70" y="293"/>
                      </a:lnTo>
                      <a:lnTo>
                        <a:pt x="70" y="292"/>
                      </a:lnTo>
                      <a:lnTo>
                        <a:pt x="70" y="292"/>
                      </a:lnTo>
                      <a:lnTo>
                        <a:pt x="70" y="292"/>
                      </a:lnTo>
                      <a:lnTo>
                        <a:pt x="69" y="292"/>
                      </a:lnTo>
                      <a:lnTo>
                        <a:pt x="69" y="291"/>
                      </a:lnTo>
                      <a:lnTo>
                        <a:pt x="69" y="291"/>
                      </a:lnTo>
                      <a:lnTo>
                        <a:pt x="70" y="291"/>
                      </a:lnTo>
                      <a:lnTo>
                        <a:pt x="69" y="291"/>
                      </a:lnTo>
                      <a:lnTo>
                        <a:pt x="70" y="291"/>
                      </a:lnTo>
                      <a:lnTo>
                        <a:pt x="70" y="290"/>
                      </a:lnTo>
                      <a:lnTo>
                        <a:pt x="70" y="289"/>
                      </a:lnTo>
                      <a:lnTo>
                        <a:pt x="69" y="289"/>
                      </a:lnTo>
                      <a:lnTo>
                        <a:pt x="69" y="289"/>
                      </a:lnTo>
                      <a:lnTo>
                        <a:pt x="69" y="288"/>
                      </a:lnTo>
                      <a:lnTo>
                        <a:pt x="69" y="288"/>
                      </a:lnTo>
                      <a:lnTo>
                        <a:pt x="69" y="287"/>
                      </a:lnTo>
                      <a:lnTo>
                        <a:pt x="69" y="287"/>
                      </a:lnTo>
                      <a:lnTo>
                        <a:pt x="69" y="287"/>
                      </a:lnTo>
                      <a:lnTo>
                        <a:pt x="69" y="286"/>
                      </a:lnTo>
                      <a:lnTo>
                        <a:pt x="69" y="286"/>
                      </a:lnTo>
                      <a:lnTo>
                        <a:pt x="69" y="286"/>
                      </a:lnTo>
                      <a:lnTo>
                        <a:pt x="69" y="286"/>
                      </a:lnTo>
                      <a:lnTo>
                        <a:pt x="68" y="286"/>
                      </a:lnTo>
                      <a:lnTo>
                        <a:pt x="68" y="285"/>
                      </a:lnTo>
                      <a:lnTo>
                        <a:pt x="68" y="285"/>
                      </a:lnTo>
                      <a:lnTo>
                        <a:pt x="67" y="285"/>
                      </a:lnTo>
                      <a:lnTo>
                        <a:pt x="67" y="284"/>
                      </a:lnTo>
                      <a:lnTo>
                        <a:pt x="67" y="284"/>
                      </a:lnTo>
                      <a:lnTo>
                        <a:pt x="67" y="284"/>
                      </a:lnTo>
                      <a:lnTo>
                        <a:pt x="67" y="284"/>
                      </a:lnTo>
                      <a:lnTo>
                        <a:pt x="67" y="283"/>
                      </a:lnTo>
                      <a:lnTo>
                        <a:pt x="67" y="284"/>
                      </a:lnTo>
                      <a:lnTo>
                        <a:pt x="67" y="283"/>
                      </a:lnTo>
                      <a:lnTo>
                        <a:pt x="67" y="283"/>
                      </a:lnTo>
                      <a:lnTo>
                        <a:pt x="67" y="282"/>
                      </a:lnTo>
                      <a:lnTo>
                        <a:pt x="66" y="282"/>
                      </a:lnTo>
                      <a:lnTo>
                        <a:pt x="66" y="282"/>
                      </a:lnTo>
                      <a:lnTo>
                        <a:pt x="66" y="283"/>
                      </a:lnTo>
                      <a:lnTo>
                        <a:pt x="66" y="282"/>
                      </a:lnTo>
                      <a:lnTo>
                        <a:pt x="66" y="283"/>
                      </a:lnTo>
                      <a:lnTo>
                        <a:pt x="65" y="283"/>
                      </a:lnTo>
                      <a:lnTo>
                        <a:pt x="65" y="282"/>
                      </a:lnTo>
                      <a:lnTo>
                        <a:pt x="65" y="282"/>
                      </a:lnTo>
                      <a:lnTo>
                        <a:pt x="66" y="282"/>
                      </a:lnTo>
                      <a:lnTo>
                        <a:pt x="66" y="281"/>
                      </a:lnTo>
                      <a:lnTo>
                        <a:pt x="66" y="281"/>
                      </a:lnTo>
                      <a:lnTo>
                        <a:pt x="66" y="280"/>
                      </a:lnTo>
                      <a:lnTo>
                        <a:pt x="66" y="280"/>
                      </a:lnTo>
                      <a:lnTo>
                        <a:pt x="66" y="279"/>
                      </a:lnTo>
                      <a:lnTo>
                        <a:pt x="66" y="279"/>
                      </a:lnTo>
                      <a:lnTo>
                        <a:pt x="66" y="278"/>
                      </a:lnTo>
                      <a:lnTo>
                        <a:pt x="66" y="278"/>
                      </a:lnTo>
                      <a:lnTo>
                        <a:pt x="67" y="278"/>
                      </a:lnTo>
                      <a:lnTo>
                        <a:pt x="67" y="277"/>
                      </a:lnTo>
                      <a:lnTo>
                        <a:pt x="66" y="277"/>
                      </a:lnTo>
                      <a:lnTo>
                        <a:pt x="66" y="277"/>
                      </a:lnTo>
                      <a:lnTo>
                        <a:pt x="66" y="276"/>
                      </a:lnTo>
                      <a:lnTo>
                        <a:pt x="65" y="276"/>
                      </a:lnTo>
                      <a:lnTo>
                        <a:pt x="64" y="276"/>
                      </a:lnTo>
                      <a:lnTo>
                        <a:pt x="64" y="275"/>
                      </a:lnTo>
                      <a:lnTo>
                        <a:pt x="64" y="275"/>
                      </a:lnTo>
                      <a:lnTo>
                        <a:pt x="64" y="275"/>
                      </a:lnTo>
                      <a:lnTo>
                        <a:pt x="64" y="274"/>
                      </a:lnTo>
                      <a:lnTo>
                        <a:pt x="64" y="274"/>
                      </a:lnTo>
                      <a:lnTo>
                        <a:pt x="64" y="274"/>
                      </a:lnTo>
                      <a:lnTo>
                        <a:pt x="63" y="274"/>
                      </a:lnTo>
                      <a:lnTo>
                        <a:pt x="63" y="274"/>
                      </a:lnTo>
                      <a:lnTo>
                        <a:pt x="62" y="274"/>
                      </a:lnTo>
                      <a:lnTo>
                        <a:pt x="63" y="273"/>
                      </a:lnTo>
                      <a:lnTo>
                        <a:pt x="63" y="273"/>
                      </a:lnTo>
                      <a:lnTo>
                        <a:pt x="63" y="272"/>
                      </a:lnTo>
                      <a:lnTo>
                        <a:pt x="63" y="272"/>
                      </a:lnTo>
                      <a:lnTo>
                        <a:pt x="64" y="272"/>
                      </a:lnTo>
                      <a:lnTo>
                        <a:pt x="64" y="271"/>
                      </a:lnTo>
                      <a:lnTo>
                        <a:pt x="64" y="271"/>
                      </a:lnTo>
                      <a:lnTo>
                        <a:pt x="64" y="270"/>
                      </a:lnTo>
                      <a:lnTo>
                        <a:pt x="64" y="270"/>
                      </a:lnTo>
                      <a:lnTo>
                        <a:pt x="65" y="270"/>
                      </a:lnTo>
                      <a:lnTo>
                        <a:pt x="66" y="270"/>
                      </a:lnTo>
                      <a:lnTo>
                        <a:pt x="66" y="270"/>
                      </a:lnTo>
                      <a:lnTo>
                        <a:pt x="66" y="270"/>
                      </a:lnTo>
                      <a:lnTo>
                        <a:pt x="66" y="270"/>
                      </a:lnTo>
                      <a:lnTo>
                        <a:pt x="66" y="269"/>
                      </a:lnTo>
                      <a:lnTo>
                        <a:pt x="65" y="269"/>
                      </a:lnTo>
                      <a:lnTo>
                        <a:pt x="65" y="269"/>
                      </a:lnTo>
                      <a:lnTo>
                        <a:pt x="65" y="268"/>
                      </a:lnTo>
                      <a:lnTo>
                        <a:pt x="65" y="269"/>
                      </a:lnTo>
                      <a:lnTo>
                        <a:pt x="65" y="268"/>
                      </a:lnTo>
                      <a:lnTo>
                        <a:pt x="64" y="268"/>
                      </a:lnTo>
                      <a:lnTo>
                        <a:pt x="64" y="267"/>
                      </a:lnTo>
                      <a:lnTo>
                        <a:pt x="65" y="267"/>
                      </a:lnTo>
                      <a:lnTo>
                        <a:pt x="64" y="267"/>
                      </a:lnTo>
                      <a:lnTo>
                        <a:pt x="64" y="266"/>
                      </a:lnTo>
                      <a:lnTo>
                        <a:pt x="64" y="264"/>
                      </a:lnTo>
                      <a:lnTo>
                        <a:pt x="64" y="264"/>
                      </a:lnTo>
                      <a:lnTo>
                        <a:pt x="64" y="263"/>
                      </a:lnTo>
                      <a:lnTo>
                        <a:pt x="64" y="262"/>
                      </a:lnTo>
                      <a:lnTo>
                        <a:pt x="63" y="260"/>
                      </a:lnTo>
                      <a:lnTo>
                        <a:pt x="63" y="259"/>
                      </a:lnTo>
                      <a:lnTo>
                        <a:pt x="63" y="258"/>
                      </a:lnTo>
                      <a:lnTo>
                        <a:pt x="63" y="258"/>
                      </a:lnTo>
                      <a:lnTo>
                        <a:pt x="64" y="257"/>
                      </a:lnTo>
                      <a:lnTo>
                        <a:pt x="66" y="256"/>
                      </a:lnTo>
                      <a:lnTo>
                        <a:pt x="66" y="255"/>
                      </a:lnTo>
                      <a:lnTo>
                        <a:pt x="66" y="255"/>
                      </a:lnTo>
                      <a:lnTo>
                        <a:pt x="66" y="255"/>
                      </a:lnTo>
                      <a:lnTo>
                        <a:pt x="66" y="254"/>
                      </a:lnTo>
                      <a:lnTo>
                        <a:pt x="66" y="254"/>
                      </a:lnTo>
                      <a:lnTo>
                        <a:pt x="67" y="254"/>
                      </a:lnTo>
                      <a:lnTo>
                        <a:pt x="67" y="253"/>
                      </a:lnTo>
                      <a:lnTo>
                        <a:pt x="67" y="252"/>
                      </a:lnTo>
                      <a:lnTo>
                        <a:pt x="67" y="252"/>
                      </a:lnTo>
                      <a:lnTo>
                        <a:pt x="67" y="252"/>
                      </a:lnTo>
                      <a:lnTo>
                        <a:pt x="68" y="252"/>
                      </a:lnTo>
                      <a:lnTo>
                        <a:pt x="69" y="252"/>
                      </a:lnTo>
                      <a:lnTo>
                        <a:pt x="69" y="252"/>
                      </a:lnTo>
                      <a:lnTo>
                        <a:pt x="69" y="251"/>
                      </a:lnTo>
                      <a:lnTo>
                        <a:pt x="70" y="251"/>
                      </a:lnTo>
                      <a:lnTo>
                        <a:pt x="70" y="251"/>
                      </a:lnTo>
                      <a:lnTo>
                        <a:pt x="69" y="251"/>
                      </a:lnTo>
                      <a:lnTo>
                        <a:pt x="70" y="251"/>
                      </a:lnTo>
                      <a:lnTo>
                        <a:pt x="69" y="251"/>
                      </a:lnTo>
                      <a:lnTo>
                        <a:pt x="69" y="250"/>
                      </a:lnTo>
                      <a:lnTo>
                        <a:pt x="69" y="250"/>
                      </a:lnTo>
                      <a:lnTo>
                        <a:pt x="69" y="249"/>
                      </a:lnTo>
                      <a:lnTo>
                        <a:pt x="68" y="249"/>
                      </a:lnTo>
                      <a:lnTo>
                        <a:pt x="69" y="249"/>
                      </a:lnTo>
                      <a:lnTo>
                        <a:pt x="69" y="248"/>
                      </a:lnTo>
                      <a:lnTo>
                        <a:pt x="69" y="248"/>
                      </a:lnTo>
                      <a:lnTo>
                        <a:pt x="68" y="248"/>
                      </a:lnTo>
                      <a:lnTo>
                        <a:pt x="68" y="247"/>
                      </a:lnTo>
                      <a:lnTo>
                        <a:pt x="68" y="247"/>
                      </a:lnTo>
                      <a:lnTo>
                        <a:pt x="68" y="246"/>
                      </a:lnTo>
                      <a:lnTo>
                        <a:pt x="69" y="246"/>
                      </a:lnTo>
                      <a:lnTo>
                        <a:pt x="69" y="245"/>
                      </a:lnTo>
                      <a:lnTo>
                        <a:pt x="69" y="246"/>
                      </a:lnTo>
                      <a:lnTo>
                        <a:pt x="69" y="245"/>
                      </a:lnTo>
                      <a:lnTo>
                        <a:pt x="69" y="245"/>
                      </a:lnTo>
                      <a:lnTo>
                        <a:pt x="69" y="246"/>
                      </a:lnTo>
                      <a:lnTo>
                        <a:pt x="70" y="246"/>
                      </a:lnTo>
                      <a:lnTo>
                        <a:pt x="70" y="247"/>
                      </a:lnTo>
                      <a:lnTo>
                        <a:pt x="70" y="247"/>
                      </a:lnTo>
                      <a:lnTo>
                        <a:pt x="70" y="247"/>
                      </a:lnTo>
                      <a:lnTo>
                        <a:pt x="70" y="247"/>
                      </a:lnTo>
                      <a:lnTo>
                        <a:pt x="69" y="247"/>
                      </a:lnTo>
                      <a:lnTo>
                        <a:pt x="69" y="248"/>
                      </a:lnTo>
                      <a:lnTo>
                        <a:pt x="69" y="248"/>
                      </a:lnTo>
                      <a:lnTo>
                        <a:pt x="70" y="248"/>
                      </a:lnTo>
                      <a:lnTo>
                        <a:pt x="69" y="248"/>
                      </a:lnTo>
                      <a:lnTo>
                        <a:pt x="69" y="248"/>
                      </a:lnTo>
                      <a:lnTo>
                        <a:pt x="69" y="247"/>
                      </a:lnTo>
                      <a:lnTo>
                        <a:pt x="70" y="247"/>
                      </a:lnTo>
                      <a:lnTo>
                        <a:pt x="70" y="247"/>
                      </a:lnTo>
                      <a:lnTo>
                        <a:pt x="70" y="247"/>
                      </a:lnTo>
                      <a:lnTo>
                        <a:pt x="70" y="247"/>
                      </a:lnTo>
                      <a:lnTo>
                        <a:pt x="71" y="247"/>
                      </a:lnTo>
                      <a:lnTo>
                        <a:pt x="71" y="247"/>
                      </a:lnTo>
                      <a:lnTo>
                        <a:pt x="71" y="247"/>
                      </a:lnTo>
                      <a:lnTo>
                        <a:pt x="71" y="246"/>
                      </a:lnTo>
                      <a:lnTo>
                        <a:pt x="71" y="245"/>
                      </a:lnTo>
                      <a:lnTo>
                        <a:pt x="71" y="245"/>
                      </a:lnTo>
                      <a:lnTo>
                        <a:pt x="72" y="245"/>
                      </a:lnTo>
                      <a:lnTo>
                        <a:pt x="73" y="245"/>
                      </a:lnTo>
                      <a:lnTo>
                        <a:pt x="73" y="245"/>
                      </a:lnTo>
                      <a:lnTo>
                        <a:pt x="73" y="245"/>
                      </a:lnTo>
                      <a:lnTo>
                        <a:pt x="74" y="245"/>
                      </a:lnTo>
                      <a:lnTo>
                        <a:pt x="74" y="245"/>
                      </a:lnTo>
                      <a:lnTo>
                        <a:pt x="75" y="245"/>
                      </a:lnTo>
                      <a:lnTo>
                        <a:pt x="75" y="245"/>
                      </a:lnTo>
                      <a:lnTo>
                        <a:pt x="75" y="245"/>
                      </a:lnTo>
                      <a:lnTo>
                        <a:pt x="75" y="245"/>
                      </a:lnTo>
                      <a:lnTo>
                        <a:pt x="75" y="245"/>
                      </a:lnTo>
                      <a:lnTo>
                        <a:pt x="75" y="245"/>
                      </a:lnTo>
                      <a:lnTo>
                        <a:pt x="75" y="245"/>
                      </a:lnTo>
                      <a:lnTo>
                        <a:pt x="76" y="245"/>
                      </a:lnTo>
                      <a:lnTo>
                        <a:pt x="76" y="244"/>
                      </a:lnTo>
                      <a:lnTo>
                        <a:pt x="76" y="244"/>
                      </a:lnTo>
                      <a:lnTo>
                        <a:pt x="75" y="244"/>
                      </a:lnTo>
                      <a:lnTo>
                        <a:pt x="76" y="244"/>
                      </a:lnTo>
                      <a:lnTo>
                        <a:pt x="76" y="243"/>
                      </a:lnTo>
                      <a:lnTo>
                        <a:pt x="77" y="243"/>
                      </a:lnTo>
                      <a:lnTo>
                        <a:pt x="77" y="243"/>
                      </a:lnTo>
                      <a:lnTo>
                        <a:pt x="77" y="243"/>
                      </a:lnTo>
                      <a:lnTo>
                        <a:pt x="77" y="243"/>
                      </a:lnTo>
                      <a:lnTo>
                        <a:pt x="78" y="243"/>
                      </a:lnTo>
                      <a:lnTo>
                        <a:pt x="77" y="243"/>
                      </a:lnTo>
                      <a:lnTo>
                        <a:pt x="78" y="243"/>
                      </a:lnTo>
                      <a:lnTo>
                        <a:pt x="78" y="243"/>
                      </a:lnTo>
                      <a:lnTo>
                        <a:pt x="78" y="243"/>
                      </a:lnTo>
                      <a:lnTo>
                        <a:pt x="79" y="243"/>
                      </a:lnTo>
                      <a:lnTo>
                        <a:pt x="80" y="243"/>
                      </a:lnTo>
                      <a:lnTo>
                        <a:pt x="80" y="243"/>
                      </a:lnTo>
                      <a:lnTo>
                        <a:pt x="81" y="243"/>
                      </a:lnTo>
                      <a:lnTo>
                        <a:pt x="81" y="244"/>
                      </a:lnTo>
                      <a:lnTo>
                        <a:pt x="81" y="244"/>
                      </a:lnTo>
                      <a:lnTo>
                        <a:pt x="81" y="243"/>
                      </a:lnTo>
                      <a:lnTo>
                        <a:pt x="81" y="244"/>
                      </a:lnTo>
                      <a:lnTo>
                        <a:pt x="82" y="244"/>
                      </a:lnTo>
                      <a:lnTo>
                        <a:pt x="82" y="244"/>
                      </a:lnTo>
                      <a:lnTo>
                        <a:pt x="83" y="244"/>
                      </a:lnTo>
                      <a:lnTo>
                        <a:pt x="83" y="244"/>
                      </a:lnTo>
                      <a:lnTo>
                        <a:pt x="84" y="244"/>
                      </a:lnTo>
                      <a:lnTo>
                        <a:pt x="84" y="244"/>
                      </a:lnTo>
                      <a:lnTo>
                        <a:pt x="85" y="244"/>
                      </a:lnTo>
                      <a:lnTo>
                        <a:pt x="85" y="244"/>
                      </a:lnTo>
                      <a:lnTo>
                        <a:pt x="85" y="244"/>
                      </a:lnTo>
                      <a:lnTo>
                        <a:pt x="85" y="244"/>
                      </a:lnTo>
                      <a:lnTo>
                        <a:pt x="85" y="244"/>
                      </a:lnTo>
                      <a:lnTo>
                        <a:pt x="85" y="244"/>
                      </a:lnTo>
                      <a:lnTo>
                        <a:pt x="85" y="244"/>
                      </a:lnTo>
                      <a:lnTo>
                        <a:pt x="86" y="244"/>
                      </a:lnTo>
                      <a:lnTo>
                        <a:pt x="85" y="244"/>
                      </a:lnTo>
                      <a:lnTo>
                        <a:pt x="86" y="244"/>
                      </a:lnTo>
                      <a:lnTo>
                        <a:pt x="86" y="244"/>
                      </a:lnTo>
                      <a:lnTo>
                        <a:pt x="86" y="243"/>
                      </a:lnTo>
                      <a:lnTo>
                        <a:pt x="87" y="243"/>
                      </a:lnTo>
                      <a:lnTo>
                        <a:pt x="87" y="244"/>
                      </a:lnTo>
                      <a:lnTo>
                        <a:pt x="88" y="244"/>
                      </a:lnTo>
                      <a:lnTo>
                        <a:pt x="88" y="244"/>
                      </a:lnTo>
                      <a:lnTo>
                        <a:pt x="88" y="245"/>
                      </a:lnTo>
                      <a:lnTo>
                        <a:pt x="88" y="245"/>
                      </a:lnTo>
                      <a:lnTo>
                        <a:pt x="89" y="245"/>
                      </a:lnTo>
                      <a:lnTo>
                        <a:pt x="89" y="245"/>
                      </a:lnTo>
                      <a:lnTo>
                        <a:pt x="89" y="245"/>
                      </a:lnTo>
                      <a:lnTo>
                        <a:pt x="90" y="245"/>
                      </a:lnTo>
                      <a:lnTo>
                        <a:pt x="89" y="245"/>
                      </a:lnTo>
                      <a:lnTo>
                        <a:pt x="89" y="245"/>
                      </a:lnTo>
                      <a:lnTo>
                        <a:pt x="89" y="245"/>
                      </a:lnTo>
                      <a:lnTo>
                        <a:pt x="88" y="245"/>
                      </a:lnTo>
                      <a:lnTo>
                        <a:pt x="88" y="245"/>
                      </a:lnTo>
                      <a:lnTo>
                        <a:pt x="88" y="244"/>
                      </a:lnTo>
                      <a:lnTo>
                        <a:pt x="88" y="244"/>
                      </a:lnTo>
                      <a:lnTo>
                        <a:pt x="87" y="244"/>
                      </a:lnTo>
                      <a:lnTo>
                        <a:pt x="87" y="243"/>
                      </a:lnTo>
                      <a:lnTo>
                        <a:pt x="86" y="243"/>
                      </a:lnTo>
                      <a:lnTo>
                        <a:pt x="86" y="243"/>
                      </a:lnTo>
                      <a:lnTo>
                        <a:pt x="85" y="243"/>
                      </a:lnTo>
                      <a:lnTo>
                        <a:pt x="85" y="243"/>
                      </a:lnTo>
                      <a:lnTo>
                        <a:pt x="85" y="243"/>
                      </a:lnTo>
                      <a:lnTo>
                        <a:pt x="85" y="243"/>
                      </a:lnTo>
                      <a:lnTo>
                        <a:pt x="85" y="243"/>
                      </a:lnTo>
                      <a:lnTo>
                        <a:pt x="85" y="243"/>
                      </a:lnTo>
                      <a:lnTo>
                        <a:pt x="84" y="243"/>
                      </a:lnTo>
                      <a:lnTo>
                        <a:pt x="84" y="243"/>
                      </a:lnTo>
                      <a:lnTo>
                        <a:pt x="84" y="243"/>
                      </a:lnTo>
                      <a:lnTo>
                        <a:pt x="84" y="243"/>
                      </a:lnTo>
                      <a:lnTo>
                        <a:pt x="84" y="242"/>
                      </a:lnTo>
                      <a:lnTo>
                        <a:pt x="84" y="243"/>
                      </a:lnTo>
                      <a:lnTo>
                        <a:pt x="84" y="242"/>
                      </a:lnTo>
                      <a:lnTo>
                        <a:pt x="84" y="241"/>
                      </a:lnTo>
                      <a:lnTo>
                        <a:pt x="83" y="241"/>
                      </a:lnTo>
                      <a:lnTo>
                        <a:pt x="84" y="241"/>
                      </a:lnTo>
                      <a:lnTo>
                        <a:pt x="83" y="241"/>
                      </a:lnTo>
                      <a:lnTo>
                        <a:pt x="84" y="241"/>
                      </a:lnTo>
                      <a:lnTo>
                        <a:pt x="84" y="241"/>
                      </a:lnTo>
                      <a:lnTo>
                        <a:pt x="83" y="241"/>
                      </a:lnTo>
                      <a:lnTo>
                        <a:pt x="82" y="241"/>
                      </a:lnTo>
                      <a:lnTo>
                        <a:pt x="82" y="240"/>
                      </a:lnTo>
                      <a:lnTo>
                        <a:pt x="82" y="240"/>
                      </a:lnTo>
                      <a:lnTo>
                        <a:pt x="81" y="240"/>
                      </a:lnTo>
                      <a:lnTo>
                        <a:pt x="81" y="240"/>
                      </a:lnTo>
                      <a:lnTo>
                        <a:pt x="80" y="240"/>
                      </a:lnTo>
                      <a:lnTo>
                        <a:pt x="80" y="240"/>
                      </a:lnTo>
                      <a:lnTo>
                        <a:pt x="80" y="241"/>
                      </a:lnTo>
                      <a:lnTo>
                        <a:pt x="79" y="241"/>
                      </a:lnTo>
                      <a:lnTo>
                        <a:pt x="78" y="241"/>
                      </a:lnTo>
                      <a:lnTo>
                        <a:pt x="78" y="241"/>
                      </a:lnTo>
                      <a:lnTo>
                        <a:pt x="77" y="240"/>
                      </a:lnTo>
                      <a:lnTo>
                        <a:pt x="77" y="241"/>
                      </a:lnTo>
                      <a:lnTo>
                        <a:pt x="77" y="240"/>
                      </a:lnTo>
                      <a:lnTo>
                        <a:pt x="76" y="240"/>
                      </a:lnTo>
                      <a:lnTo>
                        <a:pt x="75" y="240"/>
                      </a:lnTo>
                      <a:lnTo>
                        <a:pt x="75" y="240"/>
                      </a:lnTo>
                      <a:lnTo>
                        <a:pt x="76" y="240"/>
                      </a:lnTo>
                      <a:lnTo>
                        <a:pt x="75" y="240"/>
                      </a:lnTo>
                      <a:lnTo>
                        <a:pt x="75" y="239"/>
                      </a:lnTo>
                      <a:lnTo>
                        <a:pt x="75" y="240"/>
                      </a:lnTo>
                      <a:lnTo>
                        <a:pt x="75" y="239"/>
                      </a:lnTo>
                      <a:lnTo>
                        <a:pt x="75" y="239"/>
                      </a:lnTo>
                      <a:lnTo>
                        <a:pt x="74" y="239"/>
                      </a:lnTo>
                      <a:lnTo>
                        <a:pt x="74" y="238"/>
                      </a:lnTo>
                      <a:lnTo>
                        <a:pt x="74" y="238"/>
                      </a:lnTo>
                      <a:lnTo>
                        <a:pt x="74" y="238"/>
                      </a:lnTo>
                      <a:lnTo>
                        <a:pt x="74" y="238"/>
                      </a:lnTo>
                      <a:lnTo>
                        <a:pt x="73" y="238"/>
                      </a:lnTo>
                      <a:lnTo>
                        <a:pt x="73" y="238"/>
                      </a:lnTo>
                      <a:lnTo>
                        <a:pt x="73" y="238"/>
                      </a:lnTo>
                      <a:lnTo>
                        <a:pt x="73" y="237"/>
                      </a:lnTo>
                      <a:lnTo>
                        <a:pt x="72" y="237"/>
                      </a:lnTo>
                      <a:lnTo>
                        <a:pt x="72" y="237"/>
                      </a:lnTo>
                      <a:lnTo>
                        <a:pt x="72" y="236"/>
                      </a:lnTo>
                      <a:lnTo>
                        <a:pt x="71" y="236"/>
                      </a:lnTo>
                      <a:lnTo>
                        <a:pt x="71" y="236"/>
                      </a:lnTo>
                      <a:lnTo>
                        <a:pt x="72" y="236"/>
                      </a:lnTo>
                      <a:lnTo>
                        <a:pt x="72" y="236"/>
                      </a:lnTo>
                      <a:lnTo>
                        <a:pt x="73" y="237"/>
                      </a:lnTo>
                      <a:lnTo>
                        <a:pt x="73" y="237"/>
                      </a:lnTo>
                      <a:lnTo>
                        <a:pt x="73" y="237"/>
                      </a:lnTo>
                      <a:lnTo>
                        <a:pt x="73" y="237"/>
                      </a:lnTo>
                      <a:lnTo>
                        <a:pt x="74" y="237"/>
                      </a:lnTo>
                      <a:lnTo>
                        <a:pt x="73" y="237"/>
                      </a:lnTo>
                      <a:lnTo>
                        <a:pt x="73" y="236"/>
                      </a:lnTo>
                      <a:lnTo>
                        <a:pt x="73" y="236"/>
                      </a:lnTo>
                      <a:lnTo>
                        <a:pt x="73" y="236"/>
                      </a:lnTo>
                      <a:lnTo>
                        <a:pt x="73" y="236"/>
                      </a:lnTo>
                      <a:lnTo>
                        <a:pt x="73" y="236"/>
                      </a:lnTo>
                      <a:lnTo>
                        <a:pt x="73" y="236"/>
                      </a:lnTo>
                      <a:lnTo>
                        <a:pt x="73" y="236"/>
                      </a:lnTo>
                      <a:lnTo>
                        <a:pt x="73" y="236"/>
                      </a:lnTo>
                      <a:lnTo>
                        <a:pt x="73" y="236"/>
                      </a:lnTo>
                      <a:lnTo>
                        <a:pt x="73" y="236"/>
                      </a:lnTo>
                      <a:lnTo>
                        <a:pt x="73" y="235"/>
                      </a:lnTo>
                      <a:lnTo>
                        <a:pt x="73" y="234"/>
                      </a:lnTo>
                      <a:lnTo>
                        <a:pt x="73" y="234"/>
                      </a:lnTo>
                      <a:lnTo>
                        <a:pt x="73" y="234"/>
                      </a:lnTo>
                      <a:lnTo>
                        <a:pt x="73" y="234"/>
                      </a:lnTo>
                      <a:lnTo>
                        <a:pt x="73" y="234"/>
                      </a:lnTo>
                      <a:lnTo>
                        <a:pt x="74" y="234"/>
                      </a:lnTo>
                      <a:lnTo>
                        <a:pt x="73" y="234"/>
                      </a:lnTo>
                      <a:lnTo>
                        <a:pt x="73" y="234"/>
                      </a:lnTo>
                      <a:lnTo>
                        <a:pt x="74" y="234"/>
                      </a:lnTo>
                      <a:lnTo>
                        <a:pt x="74" y="233"/>
                      </a:lnTo>
                      <a:lnTo>
                        <a:pt x="74" y="233"/>
                      </a:lnTo>
                      <a:lnTo>
                        <a:pt x="73" y="233"/>
                      </a:lnTo>
                      <a:lnTo>
                        <a:pt x="74" y="233"/>
                      </a:lnTo>
                      <a:lnTo>
                        <a:pt x="74" y="232"/>
                      </a:lnTo>
                      <a:lnTo>
                        <a:pt x="74" y="233"/>
                      </a:lnTo>
                      <a:lnTo>
                        <a:pt x="73" y="233"/>
                      </a:lnTo>
                      <a:lnTo>
                        <a:pt x="73" y="233"/>
                      </a:lnTo>
                      <a:lnTo>
                        <a:pt x="73" y="233"/>
                      </a:lnTo>
                      <a:lnTo>
                        <a:pt x="73" y="233"/>
                      </a:lnTo>
                      <a:lnTo>
                        <a:pt x="73" y="233"/>
                      </a:lnTo>
                      <a:lnTo>
                        <a:pt x="73" y="234"/>
                      </a:lnTo>
                      <a:lnTo>
                        <a:pt x="73" y="234"/>
                      </a:lnTo>
                      <a:lnTo>
                        <a:pt x="73" y="234"/>
                      </a:lnTo>
                      <a:lnTo>
                        <a:pt x="73" y="234"/>
                      </a:lnTo>
                      <a:lnTo>
                        <a:pt x="73" y="234"/>
                      </a:lnTo>
                      <a:lnTo>
                        <a:pt x="72" y="234"/>
                      </a:lnTo>
                      <a:lnTo>
                        <a:pt x="71" y="234"/>
                      </a:lnTo>
                      <a:lnTo>
                        <a:pt x="72" y="234"/>
                      </a:lnTo>
                      <a:lnTo>
                        <a:pt x="71" y="234"/>
                      </a:lnTo>
                      <a:lnTo>
                        <a:pt x="71" y="234"/>
                      </a:lnTo>
                      <a:lnTo>
                        <a:pt x="71" y="234"/>
                      </a:lnTo>
                      <a:lnTo>
                        <a:pt x="71" y="234"/>
                      </a:lnTo>
                      <a:lnTo>
                        <a:pt x="71" y="234"/>
                      </a:lnTo>
                      <a:lnTo>
                        <a:pt x="71" y="234"/>
                      </a:lnTo>
                      <a:lnTo>
                        <a:pt x="71" y="234"/>
                      </a:lnTo>
                      <a:lnTo>
                        <a:pt x="71" y="235"/>
                      </a:lnTo>
                      <a:lnTo>
                        <a:pt x="71" y="234"/>
                      </a:lnTo>
                      <a:lnTo>
                        <a:pt x="71" y="235"/>
                      </a:lnTo>
                      <a:lnTo>
                        <a:pt x="71" y="234"/>
                      </a:lnTo>
                      <a:lnTo>
                        <a:pt x="70" y="234"/>
                      </a:lnTo>
                      <a:lnTo>
                        <a:pt x="71" y="234"/>
                      </a:lnTo>
                      <a:lnTo>
                        <a:pt x="70" y="234"/>
                      </a:lnTo>
                      <a:lnTo>
                        <a:pt x="70" y="235"/>
                      </a:lnTo>
                      <a:lnTo>
                        <a:pt x="70" y="235"/>
                      </a:lnTo>
                      <a:lnTo>
                        <a:pt x="70" y="235"/>
                      </a:lnTo>
                      <a:lnTo>
                        <a:pt x="70" y="235"/>
                      </a:lnTo>
                      <a:lnTo>
                        <a:pt x="70" y="235"/>
                      </a:lnTo>
                      <a:lnTo>
                        <a:pt x="70" y="235"/>
                      </a:lnTo>
                      <a:lnTo>
                        <a:pt x="70" y="236"/>
                      </a:lnTo>
                      <a:lnTo>
                        <a:pt x="70" y="236"/>
                      </a:lnTo>
                      <a:lnTo>
                        <a:pt x="70" y="236"/>
                      </a:lnTo>
                      <a:lnTo>
                        <a:pt x="69" y="236"/>
                      </a:lnTo>
                      <a:lnTo>
                        <a:pt x="69" y="236"/>
                      </a:lnTo>
                      <a:lnTo>
                        <a:pt x="69" y="236"/>
                      </a:lnTo>
                      <a:lnTo>
                        <a:pt x="69" y="236"/>
                      </a:lnTo>
                      <a:lnTo>
                        <a:pt x="69" y="236"/>
                      </a:lnTo>
                      <a:lnTo>
                        <a:pt x="69" y="236"/>
                      </a:lnTo>
                      <a:lnTo>
                        <a:pt x="69" y="236"/>
                      </a:lnTo>
                      <a:lnTo>
                        <a:pt x="68" y="236"/>
                      </a:lnTo>
                      <a:lnTo>
                        <a:pt x="69" y="236"/>
                      </a:lnTo>
                      <a:lnTo>
                        <a:pt x="68" y="236"/>
                      </a:lnTo>
                      <a:lnTo>
                        <a:pt x="68" y="236"/>
                      </a:lnTo>
                      <a:lnTo>
                        <a:pt x="68" y="236"/>
                      </a:lnTo>
                      <a:lnTo>
                        <a:pt x="67" y="236"/>
                      </a:lnTo>
                      <a:lnTo>
                        <a:pt x="67" y="236"/>
                      </a:lnTo>
                      <a:lnTo>
                        <a:pt x="67" y="236"/>
                      </a:lnTo>
                      <a:lnTo>
                        <a:pt x="66" y="236"/>
                      </a:lnTo>
                      <a:lnTo>
                        <a:pt x="66" y="236"/>
                      </a:lnTo>
                      <a:lnTo>
                        <a:pt x="67" y="236"/>
                      </a:lnTo>
                      <a:lnTo>
                        <a:pt x="66" y="236"/>
                      </a:lnTo>
                      <a:lnTo>
                        <a:pt x="67" y="236"/>
                      </a:lnTo>
                      <a:lnTo>
                        <a:pt x="66" y="236"/>
                      </a:lnTo>
                      <a:lnTo>
                        <a:pt x="66" y="237"/>
                      </a:lnTo>
                      <a:lnTo>
                        <a:pt x="66" y="236"/>
                      </a:lnTo>
                      <a:lnTo>
                        <a:pt x="66" y="237"/>
                      </a:lnTo>
                      <a:lnTo>
                        <a:pt x="66" y="236"/>
                      </a:lnTo>
                      <a:lnTo>
                        <a:pt x="66" y="236"/>
                      </a:lnTo>
                      <a:lnTo>
                        <a:pt x="66" y="235"/>
                      </a:lnTo>
                      <a:lnTo>
                        <a:pt x="67" y="235"/>
                      </a:lnTo>
                      <a:lnTo>
                        <a:pt x="67" y="234"/>
                      </a:lnTo>
                      <a:lnTo>
                        <a:pt x="68" y="233"/>
                      </a:lnTo>
                      <a:lnTo>
                        <a:pt x="69" y="233"/>
                      </a:lnTo>
                      <a:lnTo>
                        <a:pt x="69" y="233"/>
                      </a:lnTo>
                      <a:lnTo>
                        <a:pt x="69" y="233"/>
                      </a:lnTo>
                      <a:lnTo>
                        <a:pt x="70" y="233"/>
                      </a:lnTo>
                      <a:lnTo>
                        <a:pt x="70" y="232"/>
                      </a:lnTo>
                      <a:lnTo>
                        <a:pt x="70" y="232"/>
                      </a:lnTo>
                      <a:lnTo>
                        <a:pt x="71" y="231"/>
                      </a:lnTo>
                      <a:lnTo>
                        <a:pt x="71" y="230"/>
                      </a:lnTo>
                      <a:lnTo>
                        <a:pt x="72" y="230"/>
                      </a:lnTo>
                      <a:lnTo>
                        <a:pt x="73" y="230"/>
                      </a:lnTo>
                      <a:lnTo>
                        <a:pt x="73" y="230"/>
                      </a:lnTo>
                      <a:lnTo>
                        <a:pt x="73" y="230"/>
                      </a:lnTo>
                      <a:lnTo>
                        <a:pt x="73" y="229"/>
                      </a:lnTo>
                      <a:lnTo>
                        <a:pt x="74" y="229"/>
                      </a:lnTo>
                      <a:lnTo>
                        <a:pt x="74" y="229"/>
                      </a:lnTo>
                      <a:lnTo>
                        <a:pt x="74" y="229"/>
                      </a:lnTo>
                      <a:lnTo>
                        <a:pt x="74" y="228"/>
                      </a:lnTo>
                      <a:lnTo>
                        <a:pt x="75" y="228"/>
                      </a:lnTo>
                      <a:lnTo>
                        <a:pt x="75" y="227"/>
                      </a:lnTo>
                      <a:lnTo>
                        <a:pt x="75" y="227"/>
                      </a:lnTo>
                      <a:lnTo>
                        <a:pt x="76" y="227"/>
                      </a:lnTo>
                      <a:lnTo>
                        <a:pt x="77" y="227"/>
                      </a:lnTo>
                      <a:lnTo>
                        <a:pt x="77" y="226"/>
                      </a:lnTo>
                      <a:lnTo>
                        <a:pt x="78" y="226"/>
                      </a:lnTo>
                      <a:lnTo>
                        <a:pt x="78" y="226"/>
                      </a:lnTo>
                      <a:lnTo>
                        <a:pt x="78" y="225"/>
                      </a:lnTo>
                      <a:lnTo>
                        <a:pt x="79" y="225"/>
                      </a:lnTo>
                      <a:lnTo>
                        <a:pt x="80" y="223"/>
                      </a:lnTo>
                      <a:lnTo>
                        <a:pt x="80" y="223"/>
                      </a:lnTo>
                      <a:lnTo>
                        <a:pt x="80" y="223"/>
                      </a:lnTo>
                      <a:lnTo>
                        <a:pt x="81" y="223"/>
                      </a:lnTo>
                      <a:lnTo>
                        <a:pt x="81" y="222"/>
                      </a:lnTo>
                      <a:lnTo>
                        <a:pt x="82" y="222"/>
                      </a:lnTo>
                      <a:lnTo>
                        <a:pt x="82" y="222"/>
                      </a:lnTo>
                      <a:lnTo>
                        <a:pt x="82" y="221"/>
                      </a:lnTo>
                      <a:lnTo>
                        <a:pt x="83" y="221"/>
                      </a:lnTo>
                      <a:lnTo>
                        <a:pt x="84" y="219"/>
                      </a:lnTo>
                      <a:lnTo>
                        <a:pt x="84" y="219"/>
                      </a:lnTo>
                      <a:lnTo>
                        <a:pt x="85" y="218"/>
                      </a:lnTo>
                      <a:lnTo>
                        <a:pt x="85" y="218"/>
                      </a:lnTo>
                      <a:lnTo>
                        <a:pt x="85" y="218"/>
                      </a:lnTo>
                      <a:lnTo>
                        <a:pt x="86" y="218"/>
                      </a:lnTo>
                      <a:lnTo>
                        <a:pt x="86" y="217"/>
                      </a:lnTo>
                      <a:lnTo>
                        <a:pt x="86" y="217"/>
                      </a:lnTo>
                      <a:lnTo>
                        <a:pt x="86" y="216"/>
                      </a:lnTo>
                      <a:lnTo>
                        <a:pt x="87" y="216"/>
                      </a:lnTo>
                      <a:lnTo>
                        <a:pt x="87" y="216"/>
                      </a:lnTo>
                      <a:lnTo>
                        <a:pt x="88" y="215"/>
                      </a:lnTo>
                      <a:lnTo>
                        <a:pt x="89" y="215"/>
                      </a:lnTo>
                      <a:lnTo>
                        <a:pt x="89" y="214"/>
                      </a:lnTo>
                      <a:lnTo>
                        <a:pt x="89" y="214"/>
                      </a:lnTo>
                      <a:lnTo>
                        <a:pt x="89" y="214"/>
                      </a:lnTo>
                      <a:lnTo>
                        <a:pt x="90" y="214"/>
                      </a:lnTo>
                      <a:lnTo>
                        <a:pt x="90" y="213"/>
                      </a:lnTo>
                      <a:lnTo>
                        <a:pt x="90" y="213"/>
                      </a:lnTo>
                      <a:lnTo>
                        <a:pt x="91" y="212"/>
                      </a:lnTo>
                      <a:lnTo>
                        <a:pt x="92" y="212"/>
                      </a:lnTo>
                      <a:lnTo>
                        <a:pt x="92" y="212"/>
                      </a:lnTo>
                      <a:lnTo>
                        <a:pt x="93" y="211"/>
                      </a:lnTo>
                      <a:lnTo>
                        <a:pt x="93" y="211"/>
                      </a:lnTo>
                      <a:lnTo>
                        <a:pt x="93" y="210"/>
                      </a:lnTo>
                      <a:lnTo>
                        <a:pt x="94" y="210"/>
                      </a:lnTo>
                      <a:lnTo>
                        <a:pt x="95" y="208"/>
                      </a:lnTo>
                      <a:lnTo>
                        <a:pt x="95" y="208"/>
                      </a:lnTo>
                      <a:lnTo>
                        <a:pt x="95" y="207"/>
                      </a:lnTo>
                      <a:lnTo>
                        <a:pt x="95" y="206"/>
                      </a:lnTo>
                      <a:lnTo>
                        <a:pt x="96" y="206"/>
                      </a:lnTo>
                      <a:lnTo>
                        <a:pt x="96" y="205"/>
                      </a:lnTo>
                      <a:lnTo>
                        <a:pt x="96" y="204"/>
                      </a:lnTo>
                      <a:lnTo>
                        <a:pt x="96" y="203"/>
                      </a:lnTo>
                      <a:lnTo>
                        <a:pt x="96" y="203"/>
                      </a:lnTo>
                      <a:lnTo>
                        <a:pt x="95" y="203"/>
                      </a:lnTo>
                      <a:lnTo>
                        <a:pt x="95" y="202"/>
                      </a:lnTo>
                      <a:lnTo>
                        <a:pt x="94" y="202"/>
                      </a:lnTo>
                      <a:lnTo>
                        <a:pt x="94" y="201"/>
                      </a:lnTo>
                      <a:lnTo>
                        <a:pt x="94" y="201"/>
                      </a:lnTo>
                      <a:lnTo>
                        <a:pt x="94" y="200"/>
                      </a:lnTo>
                      <a:lnTo>
                        <a:pt x="93" y="200"/>
                      </a:lnTo>
                      <a:lnTo>
                        <a:pt x="93" y="200"/>
                      </a:lnTo>
                      <a:lnTo>
                        <a:pt x="93" y="200"/>
                      </a:lnTo>
                      <a:lnTo>
                        <a:pt x="92" y="199"/>
                      </a:lnTo>
                      <a:lnTo>
                        <a:pt x="92" y="199"/>
                      </a:lnTo>
                      <a:lnTo>
                        <a:pt x="92" y="199"/>
                      </a:lnTo>
                      <a:lnTo>
                        <a:pt x="91" y="199"/>
                      </a:lnTo>
                      <a:lnTo>
                        <a:pt x="90" y="199"/>
                      </a:lnTo>
                      <a:lnTo>
                        <a:pt x="90" y="198"/>
                      </a:lnTo>
                      <a:lnTo>
                        <a:pt x="90" y="198"/>
                      </a:lnTo>
                      <a:lnTo>
                        <a:pt x="89" y="197"/>
                      </a:lnTo>
                      <a:lnTo>
                        <a:pt x="89" y="197"/>
                      </a:lnTo>
                      <a:lnTo>
                        <a:pt x="88" y="197"/>
                      </a:lnTo>
                      <a:lnTo>
                        <a:pt x="87" y="196"/>
                      </a:lnTo>
                      <a:lnTo>
                        <a:pt x="86" y="196"/>
                      </a:lnTo>
                      <a:lnTo>
                        <a:pt x="86" y="195"/>
                      </a:lnTo>
                      <a:lnTo>
                        <a:pt x="85" y="194"/>
                      </a:lnTo>
                      <a:lnTo>
                        <a:pt x="85" y="194"/>
                      </a:lnTo>
                      <a:lnTo>
                        <a:pt x="84" y="194"/>
                      </a:lnTo>
                      <a:lnTo>
                        <a:pt x="84" y="193"/>
                      </a:lnTo>
                      <a:lnTo>
                        <a:pt x="85" y="192"/>
                      </a:lnTo>
                      <a:lnTo>
                        <a:pt x="86" y="192"/>
                      </a:lnTo>
                      <a:lnTo>
                        <a:pt x="86" y="191"/>
                      </a:lnTo>
                      <a:lnTo>
                        <a:pt x="86" y="190"/>
                      </a:lnTo>
                      <a:lnTo>
                        <a:pt x="87" y="190"/>
                      </a:lnTo>
                      <a:lnTo>
                        <a:pt x="88" y="190"/>
                      </a:lnTo>
                      <a:lnTo>
                        <a:pt x="88" y="189"/>
                      </a:lnTo>
                      <a:lnTo>
                        <a:pt x="88" y="189"/>
                      </a:lnTo>
                      <a:lnTo>
                        <a:pt x="88" y="189"/>
                      </a:lnTo>
                      <a:lnTo>
                        <a:pt x="88" y="188"/>
                      </a:lnTo>
                      <a:lnTo>
                        <a:pt x="88" y="188"/>
                      </a:lnTo>
                      <a:lnTo>
                        <a:pt x="88" y="187"/>
                      </a:lnTo>
                      <a:lnTo>
                        <a:pt x="88" y="187"/>
                      </a:lnTo>
                      <a:lnTo>
                        <a:pt x="88" y="186"/>
                      </a:lnTo>
                      <a:lnTo>
                        <a:pt x="87" y="186"/>
                      </a:lnTo>
                      <a:lnTo>
                        <a:pt x="86" y="186"/>
                      </a:lnTo>
                      <a:lnTo>
                        <a:pt x="87" y="186"/>
                      </a:lnTo>
                      <a:lnTo>
                        <a:pt x="86" y="185"/>
                      </a:lnTo>
                      <a:lnTo>
                        <a:pt x="85" y="185"/>
                      </a:lnTo>
                      <a:lnTo>
                        <a:pt x="85" y="185"/>
                      </a:lnTo>
                      <a:lnTo>
                        <a:pt x="84" y="184"/>
                      </a:lnTo>
                      <a:lnTo>
                        <a:pt x="84" y="184"/>
                      </a:lnTo>
                      <a:lnTo>
                        <a:pt x="84" y="183"/>
                      </a:lnTo>
                      <a:lnTo>
                        <a:pt x="84" y="182"/>
                      </a:lnTo>
                      <a:lnTo>
                        <a:pt x="84" y="182"/>
                      </a:lnTo>
                      <a:lnTo>
                        <a:pt x="84" y="181"/>
                      </a:lnTo>
                      <a:lnTo>
                        <a:pt x="85" y="181"/>
                      </a:lnTo>
                      <a:lnTo>
                        <a:pt x="84" y="180"/>
                      </a:lnTo>
                      <a:lnTo>
                        <a:pt x="84" y="179"/>
                      </a:lnTo>
                      <a:lnTo>
                        <a:pt x="85" y="179"/>
                      </a:lnTo>
                      <a:lnTo>
                        <a:pt x="84" y="179"/>
                      </a:lnTo>
                      <a:lnTo>
                        <a:pt x="84" y="179"/>
                      </a:lnTo>
                      <a:lnTo>
                        <a:pt x="83" y="179"/>
                      </a:lnTo>
                      <a:lnTo>
                        <a:pt x="82" y="179"/>
                      </a:lnTo>
                      <a:lnTo>
                        <a:pt x="82" y="179"/>
                      </a:lnTo>
                      <a:lnTo>
                        <a:pt x="81" y="179"/>
                      </a:lnTo>
                      <a:lnTo>
                        <a:pt x="81" y="178"/>
                      </a:lnTo>
                      <a:lnTo>
                        <a:pt x="81" y="178"/>
                      </a:lnTo>
                      <a:lnTo>
                        <a:pt x="81" y="177"/>
                      </a:lnTo>
                      <a:lnTo>
                        <a:pt x="81" y="177"/>
                      </a:lnTo>
                      <a:lnTo>
                        <a:pt x="81" y="176"/>
                      </a:lnTo>
                      <a:lnTo>
                        <a:pt x="81" y="175"/>
                      </a:lnTo>
                      <a:lnTo>
                        <a:pt x="82" y="175"/>
                      </a:lnTo>
                      <a:lnTo>
                        <a:pt x="82" y="175"/>
                      </a:lnTo>
                      <a:lnTo>
                        <a:pt x="83" y="175"/>
                      </a:lnTo>
                      <a:lnTo>
                        <a:pt x="83" y="174"/>
                      </a:lnTo>
                      <a:lnTo>
                        <a:pt x="82" y="174"/>
                      </a:lnTo>
                      <a:lnTo>
                        <a:pt x="83" y="174"/>
                      </a:lnTo>
                      <a:lnTo>
                        <a:pt x="83" y="173"/>
                      </a:lnTo>
                      <a:lnTo>
                        <a:pt x="82" y="173"/>
                      </a:lnTo>
                      <a:lnTo>
                        <a:pt x="82" y="173"/>
                      </a:lnTo>
                      <a:lnTo>
                        <a:pt x="81" y="173"/>
                      </a:lnTo>
                      <a:lnTo>
                        <a:pt x="81" y="173"/>
                      </a:lnTo>
                      <a:lnTo>
                        <a:pt x="81" y="173"/>
                      </a:lnTo>
                      <a:lnTo>
                        <a:pt x="81" y="172"/>
                      </a:lnTo>
                      <a:lnTo>
                        <a:pt x="82" y="171"/>
                      </a:lnTo>
                      <a:lnTo>
                        <a:pt x="82" y="171"/>
                      </a:lnTo>
                      <a:lnTo>
                        <a:pt x="82" y="170"/>
                      </a:lnTo>
                      <a:lnTo>
                        <a:pt x="82" y="169"/>
                      </a:lnTo>
                      <a:lnTo>
                        <a:pt x="83" y="168"/>
                      </a:lnTo>
                      <a:lnTo>
                        <a:pt x="82" y="168"/>
                      </a:lnTo>
                      <a:lnTo>
                        <a:pt x="81" y="167"/>
                      </a:lnTo>
                      <a:lnTo>
                        <a:pt x="83" y="167"/>
                      </a:lnTo>
                      <a:lnTo>
                        <a:pt x="83" y="167"/>
                      </a:lnTo>
                      <a:lnTo>
                        <a:pt x="84" y="167"/>
                      </a:lnTo>
                      <a:lnTo>
                        <a:pt x="85" y="167"/>
                      </a:lnTo>
                      <a:lnTo>
                        <a:pt x="85" y="167"/>
                      </a:lnTo>
                      <a:lnTo>
                        <a:pt x="85" y="166"/>
                      </a:lnTo>
                      <a:lnTo>
                        <a:pt x="85" y="165"/>
                      </a:lnTo>
                      <a:lnTo>
                        <a:pt x="84" y="164"/>
                      </a:lnTo>
                      <a:lnTo>
                        <a:pt x="84" y="163"/>
                      </a:lnTo>
                      <a:lnTo>
                        <a:pt x="84" y="163"/>
                      </a:lnTo>
                      <a:lnTo>
                        <a:pt x="84" y="162"/>
                      </a:lnTo>
                      <a:lnTo>
                        <a:pt x="83" y="161"/>
                      </a:lnTo>
                      <a:lnTo>
                        <a:pt x="83" y="160"/>
                      </a:lnTo>
                      <a:lnTo>
                        <a:pt x="82" y="159"/>
                      </a:lnTo>
                      <a:lnTo>
                        <a:pt x="81" y="159"/>
                      </a:lnTo>
                      <a:lnTo>
                        <a:pt x="81" y="158"/>
                      </a:lnTo>
                      <a:lnTo>
                        <a:pt x="81" y="157"/>
                      </a:lnTo>
                      <a:lnTo>
                        <a:pt x="80" y="155"/>
                      </a:lnTo>
                      <a:lnTo>
                        <a:pt x="80" y="155"/>
                      </a:lnTo>
                      <a:lnTo>
                        <a:pt x="79" y="155"/>
                      </a:lnTo>
                      <a:lnTo>
                        <a:pt x="79" y="154"/>
                      </a:lnTo>
                      <a:lnTo>
                        <a:pt x="78" y="153"/>
                      </a:lnTo>
                      <a:lnTo>
                        <a:pt x="78" y="152"/>
                      </a:lnTo>
                      <a:lnTo>
                        <a:pt x="77" y="152"/>
                      </a:lnTo>
                      <a:lnTo>
                        <a:pt x="77" y="152"/>
                      </a:lnTo>
                      <a:lnTo>
                        <a:pt x="77" y="151"/>
                      </a:lnTo>
                      <a:lnTo>
                        <a:pt x="76" y="151"/>
                      </a:lnTo>
                      <a:lnTo>
                        <a:pt x="76" y="150"/>
                      </a:lnTo>
                      <a:lnTo>
                        <a:pt x="76" y="149"/>
                      </a:lnTo>
                      <a:lnTo>
                        <a:pt x="76" y="149"/>
                      </a:lnTo>
                      <a:lnTo>
                        <a:pt x="77" y="148"/>
                      </a:lnTo>
                      <a:lnTo>
                        <a:pt x="79" y="146"/>
                      </a:lnTo>
                      <a:lnTo>
                        <a:pt x="80" y="145"/>
                      </a:lnTo>
                      <a:lnTo>
                        <a:pt x="80" y="145"/>
                      </a:lnTo>
                      <a:lnTo>
                        <a:pt x="80" y="144"/>
                      </a:lnTo>
                      <a:lnTo>
                        <a:pt x="81" y="144"/>
                      </a:lnTo>
                      <a:lnTo>
                        <a:pt x="80" y="144"/>
                      </a:lnTo>
                      <a:lnTo>
                        <a:pt x="81" y="144"/>
                      </a:lnTo>
                      <a:lnTo>
                        <a:pt x="81" y="144"/>
                      </a:lnTo>
                      <a:lnTo>
                        <a:pt x="81" y="144"/>
                      </a:lnTo>
                      <a:lnTo>
                        <a:pt x="81" y="144"/>
                      </a:lnTo>
                      <a:lnTo>
                        <a:pt x="81" y="144"/>
                      </a:lnTo>
                      <a:lnTo>
                        <a:pt x="81" y="143"/>
                      </a:lnTo>
                      <a:lnTo>
                        <a:pt x="82" y="143"/>
                      </a:lnTo>
                      <a:lnTo>
                        <a:pt x="82" y="142"/>
                      </a:lnTo>
                      <a:lnTo>
                        <a:pt x="82" y="142"/>
                      </a:lnTo>
                      <a:lnTo>
                        <a:pt x="83" y="141"/>
                      </a:lnTo>
                      <a:lnTo>
                        <a:pt x="84" y="140"/>
                      </a:lnTo>
                      <a:lnTo>
                        <a:pt x="84" y="139"/>
                      </a:lnTo>
                      <a:lnTo>
                        <a:pt x="81" y="137"/>
                      </a:lnTo>
                      <a:lnTo>
                        <a:pt x="78" y="134"/>
                      </a:lnTo>
                      <a:lnTo>
                        <a:pt x="73" y="132"/>
                      </a:lnTo>
                      <a:lnTo>
                        <a:pt x="73" y="131"/>
                      </a:lnTo>
                      <a:lnTo>
                        <a:pt x="71" y="127"/>
                      </a:lnTo>
                      <a:lnTo>
                        <a:pt x="72" y="126"/>
                      </a:lnTo>
                      <a:lnTo>
                        <a:pt x="73" y="125"/>
                      </a:lnTo>
                      <a:lnTo>
                        <a:pt x="74" y="124"/>
                      </a:lnTo>
                      <a:lnTo>
                        <a:pt x="74" y="122"/>
                      </a:lnTo>
                      <a:lnTo>
                        <a:pt x="73" y="122"/>
                      </a:lnTo>
                      <a:lnTo>
                        <a:pt x="71" y="122"/>
                      </a:lnTo>
                      <a:lnTo>
                        <a:pt x="71" y="122"/>
                      </a:lnTo>
                      <a:lnTo>
                        <a:pt x="72" y="122"/>
                      </a:lnTo>
                      <a:lnTo>
                        <a:pt x="74" y="120"/>
                      </a:lnTo>
                      <a:lnTo>
                        <a:pt x="75" y="120"/>
                      </a:lnTo>
                      <a:lnTo>
                        <a:pt x="76" y="120"/>
                      </a:lnTo>
                      <a:lnTo>
                        <a:pt x="77" y="120"/>
                      </a:lnTo>
                      <a:lnTo>
                        <a:pt x="77" y="119"/>
                      </a:lnTo>
                      <a:lnTo>
                        <a:pt x="77" y="119"/>
                      </a:lnTo>
                      <a:lnTo>
                        <a:pt x="78" y="119"/>
                      </a:lnTo>
                      <a:lnTo>
                        <a:pt x="78" y="118"/>
                      </a:lnTo>
                      <a:lnTo>
                        <a:pt x="78" y="118"/>
                      </a:lnTo>
                      <a:lnTo>
                        <a:pt x="78" y="118"/>
                      </a:lnTo>
                      <a:lnTo>
                        <a:pt x="78" y="117"/>
                      </a:lnTo>
                      <a:lnTo>
                        <a:pt x="78" y="117"/>
                      </a:lnTo>
                      <a:lnTo>
                        <a:pt x="78" y="116"/>
                      </a:lnTo>
                      <a:lnTo>
                        <a:pt x="78" y="116"/>
                      </a:lnTo>
                      <a:lnTo>
                        <a:pt x="78" y="116"/>
                      </a:lnTo>
                      <a:lnTo>
                        <a:pt x="79" y="116"/>
                      </a:lnTo>
                      <a:lnTo>
                        <a:pt x="80" y="116"/>
                      </a:lnTo>
                      <a:lnTo>
                        <a:pt x="80" y="116"/>
                      </a:lnTo>
                      <a:lnTo>
                        <a:pt x="81" y="116"/>
                      </a:lnTo>
                      <a:lnTo>
                        <a:pt x="81" y="115"/>
                      </a:lnTo>
                      <a:lnTo>
                        <a:pt x="82" y="115"/>
                      </a:lnTo>
                      <a:lnTo>
                        <a:pt x="82" y="115"/>
                      </a:lnTo>
                      <a:lnTo>
                        <a:pt x="82" y="114"/>
                      </a:lnTo>
                      <a:lnTo>
                        <a:pt x="83" y="114"/>
                      </a:lnTo>
                      <a:lnTo>
                        <a:pt x="83" y="115"/>
                      </a:lnTo>
                      <a:lnTo>
                        <a:pt x="84" y="115"/>
                      </a:lnTo>
                      <a:lnTo>
                        <a:pt x="84" y="115"/>
                      </a:lnTo>
                      <a:lnTo>
                        <a:pt x="84" y="114"/>
                      </a:lnTo>
                      <a:lnTo>
                        <a:pt x="85" y="114"/>
                      </a:lnTo>
                      <a:lnTo>
                        <a:pt x="85" y="113"/>
                      </a:lnTo>
                      <a:lnTo>
                        <a:pt x="85" y="113"/>
                      </a:lnTo>
                      <a:lnTo>
                        <a:pt x="85" y="112"/>
                      </a:lnTo>
                      <a:lnTo>
                        <a:pt x="85" y="112"/>
                      </a:lnTo>
                      <a:lnTo>
                        <a:pt x="85" y="111"/>
                      </a:lnTo>
                      <a:lnTo>
                        <a:pt x="85" y="111"/>
                      </a:lnTo>
                      <a:lnTo>
                        <a:pt x="85" y="111"/>
                      </a:lnTo>
                      <a:lnTo>
                        <a:pt x="85" y="111"/>
                      </a:lnTo>
                      <a:lnTo>
                        <a:pt x="85" y="111"/>
                      </a:lnTo>
                      <a:lnTo>
                        <a:pt x="86" y="111"/>
                      </a:lnTo>
                      <a:lnTo>
                        <a:pt x="86" y="111"/>
                      </a:lnTo>
                      <a:lnTo>
                        <a:pt x="87" y="112"/>
                      </a:lnTo>
                      <a:lnTo>
                        <a:pt x="88" y="112"/>
                      </a:lnTo>
                      <a:lnTo>
                        <a:pt x="89" y="112"/>
                      </a:lnTo>
                      <a:lnTo>
                        <a:pt x="90" y="113"/>
                      </a:lnTo>
                      <a:lnTo>
                        <a:pt x="90" y="113"/>
                      </a:lnTo>
                      <a:lnTo>
                        <a:pt x="90" y="112"/>
                      </a:lnTo>
                      <a:lnTo>
                        <a:pt x="91" y="112"/>
                      </a:lnTo>
                      <a:lnTo>
                        <a:pt x="92" y="112"/>
                      </a:lnTo>
                      <a:lnTo>
                        <a:pt x="92" y="112"/>
                      </a:lnTo>
                      <a:lnTo>
                        <a:pt x="92" y="111"/>
                      </a:lnTo>
                      <a:lnTo>
                        <a:pt x="91" y="111"/>
                      </a:lnTo>
                      <a:lnTo>
                        <a:pt x="91" y="111"/>
                      </a:lnTo>
                      <a:lnTo>
                        <a:pt x="92" y="111"/>
                      </a:lnTo>
                      <a:lnTo>
                        <a:pt x="91" y="111"/>
                      </a:lnTo>
                      <a:lnTo>
                        <a:pt x="91" y="110"/>
                      </a:lnTo>
                      <a:lnTo>
                        <a:pt x="91" y="109"/>
                      </a:lnTo>
                      <a:lnTo>
                        <a:pt x="90" y="109"/>
                      </a:lnTo>
                      <a:lnTo>
                        <a:pt x="90" y="109"/>
                      </a:lnTo>
                      <a:lnTo>
                        <a:pt x="91" y="109"/>
                      </a:lnTo>
                      <a:lnTo>
                        <a:pt x="91" y="109"/>
                      </a:lnTo>
                      <a:lnTo>
                        <a:pt x="92" y="109"/>
                      </a:lnTo>
                      <a:lnTo>
                        <a:pt x="91" y="109"/>
                      </a:lnTo>
                      <a:lnTo>
                        <a:pt x="91" y="109"/>
                      </a:lnTo>
                      <a:lnTo>
                        <a:pt x="92" y="109"/>
                      </a:lnTo>
                      <a:lnTo>
                        <a:pt x="92" y="109"/>
                      </a:lnTo>
                      <a:lnTo>
                        <a:pt x="92" y="109"/>
                      </a:lnTo>
                      <a:lnTo>
                        <a:pt x="93" y="109"/>
                      </a:lnTo>
                      <a:lnTo>
                        <a:pt x="93" y="109"/>
                      </a:lnTo>
                      <a:lnTo>
                        <a:pt x="93" y="110"/>
                      </a:lnTo>
                      <a:lnTo>
                        <a:pt x="94" y="110"/>
                      </a:lnTo>
                      <a:lnTo>
                        <a:pt x="93" y="110"/>
                      </a:lnTo>
                      <a:lnTo>
                        <a:pt x="93" y="109"/>
                      </a:lnTo>
                      <a:lnTo>
                        <a:pt x="94" y="109"/>
                      </a:lnTo>
                      <a:lnTo>
                        <a:pt x="94" y="110"/>
                      </a:lnTo>
                      <a:lnTo>
                        <a:pt x="95" y="110"/>
                      </a:lnTo>
                      <a:lnTo>
                        <a:pt x="95" y="110"/>
                      </a:lnTo>
                      <a:lnTo>
                        <a:pt x="95" y="111"/>
                      </a:lnTo>
                      <a:lnTo>
                        <a:pt x="96" y="111"/>
                      </a:lnTo>
                      <a:lnTo>
                        <a:pt x="95" y="111"/>
                      </a:lnTo>
                      <a:lnTo>
                        <a:pt x="95" y="111"/>
                      </a:lnTo>
                      <a:lnTo>
                        <a:pt x="95" y="111"/>
                      </a:lnTo>
                      <a:lnTo>
                        <a:pt x="95" y="111"/>
                      </a:lnTo>
                      <a:lnTo>
                        <a:pt x="95" y="111"/>
                      </a:lnTo>
                      <a:lnTo>
                        <a:pt x="95" y="112"/>
                      </a:lnTo>
                      <a:lnTo>
                        <a:pt x="94" y="112"/>
                      </a:lnTo>
                      <a:lnTo>
                        <a:pt x="94" y="112"/>
                      </a:lnTo>
                      <a:lnTo>
                        <a:pt x="93" y="112"/>
                      </a:lnTo>
                      <a:lnTo>
                        <a:pt x="94" y="112"/>
                      </a:lnTo>
                      <a:lnTo>
                        <a:pt x="94" y="112"/>
                      </a:lnTo>
                      <a:lnTo>
                        <a:pt x="95" y="112"/>
                      </a:lnTo>
                      <a:lnTo>
                        <a:pt x="95" y="112"/>
                      </a:lnTo>
                      <a:lnTo>
                        <a:pt x="95" y="111"/>
                      </a:lnTo>
                      <a:lnTo>
                        <a:pt x="96" y="111"/>
                      </a:lnTo>
                      <a:lnTo>
                        <a:pt x="96" y="111"/>
                      </a:lnTo>
                      <a:lnTo>
                        <a:pt x="96" y="111"/>
                      </a:lnTo>
                      <a:lnTo>
                        <a:pt x="96" y="111"/>
                      </a:lnTo>
                      <a:lnTo>
                        <a:pt x="96" y="111"/>
                      </a:lnTo>
                      <a:lnTo>
                        <a:pt x="96" y="111"/>
                      </a:lnTo>
                      <a:lnTo>
                        <a:pt x="96" y="111"/>
                      </a:lnTo>
                      <a:lnTo>
                        <a:pt x="96" y="111"/>
                      </a:lnTo>
                      <a:lnTo>
                        <a:pt x="96" y="111"/>
                      </a:lnTo>
                      <a:lnTo>
                        <a:pt x="97" y="111"/>
                      </a:lnTo>
                      <a:lnTo>
                        <a:pt x="96" y="111"/>
                      </a:lnTo>
                      <a:lnTo>
                        <a:pt x="97" y="111"/>
                      </a:lnTo>
                      <a:lnTo>
                        <a:pt x="97" y="111"/>
                      </a:lnTo>
                      <a:lnTo>
                        <a:pt x="98" y="111"/>
                      </a:lnTo>
                      <a:lnTo>
                        <a:pt x="98" y="111"/>
                      </a:lnTo>
                      <a:lnTo>
                        <a:pt x="99" y="111"/>
                      </a:lnTo>
                      <a:lnTo>
                        <a:pt x="98" y="111"/>
                      </a:lnTo>
                      <a:lnTo>
                        <a:pt x="97" y="110"/>
                      </a:lnTo>
                      <a:lnTo>
                        <a:pt x="97" y="109"/>
                      </a:lnTo>
                      <a:lnTo>
                        <a:pt x="97" y="109"/>
                      </a:lnTo>
                      <a:lnTo>
                        <a:pt x="98" y="109"/>
                      </a:lnTo>
                      <a:lnTo>
                        <a:pt x="98" y="108"/>
                      </a:lnTo>
                      <a:lnTo>
                        <a:pt x="99" y="108"/>
                      </a:lnTo>
                      <a:lnTo>
                        <a:pt x="99" y="109"/>
                      </a:lnTo>
                      <a:lnTo>
                        <a:pt x="99" y="109"/>
                      </a:lnTo>
                      <a:lnTo>
                        <a:pt x="100" y="109"/>
                      </a:lnTo>
                      <a:lnTo>
                        <a:pt x="100" y="109"/>
                      </a:lnTo>
                      <a:lnTo>
                        <a:pt x="100" y="109"/>
                      </a:lnTo>
                      <a:lnTo>
                        <a:pt x="101" y="109"/>
                      </a:lnTo>
                      <a:lnTo>
                        <a:pt x="100" y="109"/>
                      </a:lnTo>
                      <a:lnTo>
                        <a:pt x="100" y="109"/>
                      </a:lnTo>
                      <a:lnTo>
                        <a:pt x="100" y="108"/>
                      </a:lnTo>
                      <a:lnTo>
                        <a:pt x="100" y="108"/>
                      </a:lnTo>
                      <a:lnTo>
                        <a:pt x="100" y="108"/>
                      </a:lnTo>
                      <a:lnTo>
                        <a:pt x="99" y="108"/>
                      </a:lnTo>
                      <a:lnTo>
                        <a:pt x="99" y="107"/>
                      </a:lnTo>
                      <a:lnTo>
                        <a:pt x="99" y="107"/>
                      </a:lnTo>
                      <a:lnTo>
                        <a:pt x="100" y="107"/>
                      </a:lnTo>
                      <a:lnTo>
                        <a:pt x="99" y="107"/>
                      </a:lnTo>
                      <a:lnTo>
                        <a:pt x="100" y="107"/>
                      </a:lnTo>
                      <a:lnTo>
                        <a:pt x="100" y="107"/>
                      </a:lnTo>
                      <a:lnTo>
                        <a:pt x="100" y="107"/>
                      </a:lnTo>
                      <a:lnTo>
                        <a:pt x="100" y="107"/>
                      </a:lnTo>
                      <a:lnTo>
                        <a:pt x="100" y="107"/>
                      </a:lnTo>
                      <a:lnTo>
                        <a:pt x="100" y="107"/>
                      </a:lnTo>
                      <a:lnTo>
                        <a:pt x="101" y="107"/>
                      </a:lnTo>
                      <a:lnTo>
                        <a:pt x="101" y="107"/>
                      </a:lnTo>
                      <a:lnTo>
                        <a:pt x="101" y="108"/>
                      </a:lnTo>
                      <a:lnTo>
                        <a:pt x="102" y="108"/>
                      </a:lnTo>
                      <a:lnTo>
                        <a:pt x="103" y="108"/>
                      </a:lnTo>
                      <a:lnTo>
                        <a:pt x="102" y="108"/>
                      </a:lnTo>
                      <a:lnTo>
                        <a:pt x="103" y="108"/>
                      </a:lnTo>
                      <a:lnTo>
                        <a:pt x="103" y="108"/>
                      </a:lnTo>
                      <a:lnTo>
                        <a:pt x="103" y="108"/>
                      </a:lnTo>
                      <a:lnTo>
                        <a:pt x="103" y="108"/>
                      </a:lnTo>
                      <a:lnTo>
                        <a:pt x="103" y="108"/>
                      </a:lnTo>
                      <a:lnTo>
                        <a:pt x="104" y="108"/>
                      </a:lnTo>
                      <a:lnTo>
                        <a:pt x="104" y="109"/>
                      </a:lnTo>
                      <a:lnTo>
                        <a:pt x="104" y="109"/>
                      </a:lnTo>
                      <a:lnTo>
                        <a:pt x="105" y="109"/>
                      </a:lnTo>
                      <a:lnTo>
                        <a:pt x="105" y="109"/>
                      </a:lnTo>
                      <a:lnTo>
                        <a:pt x="105" y="109"/>
                      </a:lnTo>
                      <a:lnTo>
                        <a:pt x="105" y="109"/>
                      </a:lnTo>
                      <a:lnTo>
                        <a:pt x="106" y="109"/>
                      </a:lnTo>
                      <a:lnTo>
                        <a:pt x="106" y="109"/>
                      </a:lnTo>
                      <a:lnTo>
                        <a:pt x="106" y="109"/>
                      </a:lnTo>
                      <a:lnTo>
                        <a:pt x="106" y="109"/>
                      </a:lnTo>
                      <a:lnTo>
                        <a:pt x="107" y="109"/>
                      </a:lnTo>
                      <a:lnTo>
                        <a:pt x="107" y="109"/>
                      </a:lnTo>
                      <a:lnTo>
                        <a:pt x="108" y="109"/>
                      </a:lnTo>
                      <a:lnTo>
                        <a:pt x="108" y="109"/>
                      </a:lnTo>
                      <a:lnTo>
                        <a:pt x="108" y="110"/>
                      </a:lnTo>
                      <a:lnTo>
                        <a:pt x="108" y="109"/>
                      </a:lnTo>
                      <a:lnTo>
                        <a:pt x="109" y="110"/>
                      </a:lnTo>
                      <a:lnTo>
                        <a:pt x="108" y="110"/>
                      </a:lnTo>
                      <a:lnTo>
                        <a:pt x="109" y="110"/>
                      </a:lnTo>
                      <a:lnTo>
                        <a:pt x="108" y="110"/>
                      </a:lnTo>
                      <a:lnTo>
                        <a:pt x="109" y="111"/>
                      </a:lnTo>
                      <a:lnTo>
                        <a:pt x="108" y="111"/>
                      </a:lnTo>
                      <a:lnTo>
                        <a:pt x="109" y="111"/>
                      </a:lnTo>
                      <a:lnTo>
                        <a:pt x="108" y="111"/>
                      </a:lnTo>
                      <a:lnTo>
                        <a:pt x="108" y="111"/>
                      </a:lnTo>
                      <a:lnTo>
                        <a:pt x="109" y="111"/>
                      </a:lnTo>
                      <a:lnTo>
                        <a:pt x="108" y="111"/>
                      </a:lnTo>
                      <a:lnTo>
                        <a:pt x="108" y="111"/>
                      </a:lnTo>
                      <a:lnTo>
                        <a:pt x="108" y="112"/>
                      </a:lnTo>
                      <a:lnTo>
                        <a:pt x="107" y="112"/>
                      </a:lnTo>
                      <a:lnTo>
                        <a:pt x="107" y="112"/>
                      </a:lnTo>
                      <a:lnTo>
                        <a:pt x="107" y="112"/>
                      </a:lnTo>
                      <a:lnTo>
                        <a:pt x="106" y="112"/>
                      </a:lnTo>
                      <a:lnTo>
                        <a:pt x="106" y="112"/>
                      </a:lnTo>
                      <a:lnTo>
                        <a:pt x="106" y="112"/>
                      </a:lnTo>
                      <a:lnTo>
                        <a:pt x="105" y="112"/>
                      </a:lnTo>
                      <a:lnTo>
                        <a:pt x="104" y="112"/>
                      </a:lnTo>
                      <a:lnTo>
                        <a:pt x="104" y="112"/>
                      </a:lnTo>
                      <a:lnTo>
                        <a:pt x="104" y="111"/>
                      </a:lnTo>
                      <a:lnTo>
                        <a:pt x="103" y="111"/>
                      </a:lnTo>
                      <a:lnTo>
                        <a:pt x="103" y="112"/>
                      </a:lnTo>
                      <a:lnTo>
                        <a:pt x="103" y="111"/>
                      </a:lnTo>
                      <a:lnTo>
                        <a:pt x="102" y="111"/>
                      </a:lnTo>
                      <a:lnTo>
                        <a:pt x="101" y="111"/>
                      </a:lnTo>
                      <a:lnTo>
                        <a:pt x="101" y="111"/>
                      </a:lnTo>
                      <a:lnTo>
                        <a:pt x="101" y="111"/>
                      </a:lnTo>
                      <a:lnTo>
                        <a:pt x="101" y="111"/>
                      </a:lnTo>
                      <a:lnTo>
                        <a:pt x="101" y="110"/>
                      </a:lnTo>
                      <a:lnTo>
                        <a:pt x="101" y="110"/>
                      </a:lnTo>
                      <a:lnTo>
                        <a:pt x="101" y="109"/>
                      </a:lnTo>
                      <a:lnTo>
                        <a:pt x="101" y="110"/>
                      </a:lnTo>
                      <a:lnTo>
                        <a:pt x="100" y="110"/>
                      </a:lnTo>
                      <a:lnTo>
                        <a:pt x="101" y="110"/>
                      </a:lnTo>
                      <a:lnTo>
                        <a:pt x="101" y="111"/>
                      </a:lnTo>
                      <a:lnTo>
                        <a:pt x="101" y="111"/>
                      </a:lnTo>
                      <a:lnTo>
                        <a:pt x="100" y="111"/>
                      </a:lnTo>
                      <a:lnTo>
                        <a:pt x="100" y="111"/>
                      </a:lnTo>
                      <a:lnTo>
                        <a:pt x="100" y="112"/>
                      </a:lnTo>
                      <a:lnTo>
                        <a:pt x="100" y="112"/>
                      </a:lnTo>
                      <a:lnTo>
                        <a:pt x="100" y="112"/>
                      </a:lnTo>
                      <a:lnTo>
                        <a:pt x="100" y="112"/>
                      </a:lnTo>
                      <a:lnTo>
                        <a:pt x="100" y="112"/>
                      </a:lnTo>
                      <a:lnTo>
                        <a:pt x="101" y="112"/>
                      </a:lnTo>
                      <a:lnTo>
                        <a:pt x="101" y="112"/>
                      </a:lnTo>
                      <a:lnTo>
                        <a:pt x="101" y="112"/>
                      </a:lnTo>
                      <a:lnTo>
                        <a:pt x="101" y="112"/>
                      </a:lnTo>
                      <a:lnTo>
                        <a:pt x="102" y="112"/>
                      </a:lnTo>
                      <a:lnTo>
                        <a:pt x="103" y="112"/>
                      </a:lnTo>
                      <a:lnTo>
                        <a:pt x="103" y="112"/>
                      </a:lnTo>
                      <a:lnTo>
                        <a:pt x="103" y="113"/>
                      </a:lnTo>
                      <a:lnTo>
                        <a:pt x="104" y="113"/>
                      </a:lnTo>
                      <a:lnTo>
                        <a:pt x="104" y="114"/>
                      </a:lnTo>
                      <a:close/>
                      <a:moveTo>
                        <a:pt x="127" y="186"/>
                      </a:moveTo>
                      <a:lnTo>
                        <a:pt x="127" y="186"/>
                      </a:lnTo>
                      <a:lnTo>
                        <a:pt x="127" y="186"/>
                      </a:lnTo>
                      <a:lnTo>
                        <a:pt x="127" y="186"/>
                      </a:lnTo>
                      <a:lnTo>
                        <a:pt x="127" y="186"/>
                      </a:lnTo>
                      <a:lnTo>
                        <a:pt x="127" y="186"/>
                      </a:lnTo>
                      <a:close/>
                      <a:moveTo>
                        <a:pt x="305" y="190"/>
                      </a:moveTo>
                      <a:lnTo>
                        <a:pt x="305" y="190"/>
                      </a:lnTo>
                      <a:lnTo>
                        <a:pt x="305" y="190"/>
                      </a:lnTo>
                      <a:close/>
                      <a:moveTo>
                        <a:pt x="317" y="167"/>
                      </a:moveTo>
                      <a:lnTo>
                        <a:pt x="318" y="167"/>
                      </a:lnTo>
                      <a:lnTo>
                        <a:pt x="318" y="167"/>
                      </a:lnTo>
                      <a:lnTo>
                        <a:pt x="318" y="167"/>
                      </a:lnTo>
                      <a:lnTo>
                        <a:pt x="317" y="167"/>
                      </a:lnTo>
                      <a:lnTo>
                        <a:pt x="317" y="167"/>
                      </a:lnTo>
                      <a:lnTo>
                        <a:pt x="317" y="167"/>
                      </a:lnTo>
                      <a:lnTo>
                        <a:pt x="317" y="168"/>
                      </a:lnTo>
                      <a:lnTo>
                        <a:pt x="316" y="168"/>
                      </a:lnTo>
                      <a:lnTo>
                        <a:pt x="317" y="168"/>
                      </a:lnTo>
                      <a:lnTo>
                        <a:pt x="317" y="167"/>
                      </a:lnTo>
                      <a:close/>
                      <a:moveTo>
                        <a:pt x="317" y="167"/>
                      </a:moveTo>
                      <a:lnTo>
                        <a:pt x="318" y="167"/>
                      </a:lnTo>
                      <a:lnTo>
                        <a:pt x="317" y="167"/>
                      </a:lnTo>
                      <a:close/>
                      <a:moveTo>
                        <a:pt x="354" y="148"/>
                      </a:moveTo>
                      <a:lnTo>
                        <a:pt x="353" y="148"/>
                      </a:lnTo>
                      <a:lnTo>
                        <a:pt x="354" y="148"/>
                      </a:lnTo>
                      <a:close/>
                      <a:moveTo>
                        <a:pt x="266" y="142"/>
                      </a:moveTo>
                      <a:lnTo>
                        <a:pt x="266" y="141"/>
                      </a:lnTo>
                      <a:lnTo>
                        <a:pt x="266" y="142"/>
                      </a:lnTo>
                      <a:lnTo>
                        <a:pt x="266" y="141"/>
                      </a:lnTo>
                      <a:lnTo>
                        <a:pt x="266" y="142"/>
                      </a:lnTo>
                      <a:close/>
                      <a:moveTo>
                        <a:pt x="321" y="130"/>
                      </a:moveTo>
                      <a:lnTo>
                        <a:pt x="320" y="130"/>
                      </a:lnTo>
                      <a:lnTo>
                        <a:pt x="321" y="130"/>
                      </a:lnTo>
                      <a:close/>
                      <a:moveTo>
                        <a:pt x="296" y="132"/>
                      </a:moveTo>
                      <a:lnTo>
                        <a:pt x="296" y="133"/>
                      </a:lnTo>
                      <a:lnTo>
                        <a:pt x="296" y="132"/>
                      </a:lnTo>
                      <a:close/>
                      <a:moveTo>
                        <a:pt x="189" y="204"/>
                      </a:moveTo>
                      <a:lnTo>
                        <a:pt x="189" y="204"/>
                      </a:lnTo>
                      <a:lnTo>
                        <a:pt x="189" y="204"/>
                      </a:lnTo>
                      <a:lnTo>
                        <a:pt x="189" y="204"/>
                      </a:lnTo>
                      <a:lnTo>
                        <a:pt x="189" y="204"/>
                      </a:lnTo>
                      <a:lnTo>
                        <a:pt x="189" y="204"/>
                      </a:lnTo>
                      <a:close/>
                      <a:moveTo>
                        <a:pt x="189" y="204"/>
                      </a:moveTo>
                      <a:lnTo>
                        <a:pt x="188" y="204"/>
                      </a:lnTo>
                      <a:lnTo>
                        <a:pt x="188" y="203"/>
                      </a:lnTo>
                      <a:lnTo>
                        <a:pt x="188" y="204"/>
                      </a:lnTo>
                      <a:lnTo>
                        <a:pt x="189" y="204"/>
                      </a:lnTo>
                      <a:close/>
                      <a:moveTo>
                        <a:pt x="188" y="204"/>
                      </a:moveTo>
                      <a:lnTo>
                        <a:pt x="189" y="204"/>
                      </a:lnTo>
                      <a:lnTo>
                        <a:pt x="188" y="204"/>
                      </a:lnTo>
                      <a:close/>
                      <a:moveTo>
                        <a:pt x="188" y="203"/>
                      </a:moveTo>
                      <a:lnTo>
                        <a:pt x="188" y="203"/>
                      </a:lnTo>
                      <a:lnTo>
                        <a:pt x="188" y="203"/>
                      </a:lnTo>
                      <a:close/>
                      <a:moveTo>
                        <a:pt x="188" y="203"/>
                      </a:moveTo>
                      <a:lnTo>
                        <a:pt x="188" y="203"/>
                      </a:lnTo>
                      <a:lnTo>
                        <a:pt x="188" y="203"/>
                      </a:lnTo>
                      <a:lnTo>
                        <a:pt x="188" y="203"/>
                      </a:lnTo>
                      <a:lnTo>
                        <a:pt x="188" y="203"/>
                      </a:lnTo>
                      <a:lnTo>
                        <a:pt x="188" y="203"/>
                      </a:lnTo>
                      <a:lnTo>
                        <a:pt x="188" y="203"/>
                      </a:lnTo>
                      <a:close/>
                      <a:moveTo>
                        <a:pt x="307" y="179"/>
                      </a:moveTo>
                      <a:lnTo>
                        <a:pt x="307" y="178"/>
                      </a:lnTo>
                      <a:lnTo>
                        <a:pt x="307" y="179"/>
                      </a:lnTo>
                      <a:close/>
                      <a:moveTo>
                        <a:pt x="300" y="163"/>
                      </a:moveTo>
                      <a:lnTo>
                        <a:pt x="300" y="163"/>
                      </a:lnTo>
                      <a:lnTo>
                        <a:pt x="300" y="163"/>
                      </a:lnTo>
                      <a:close/>
                      <a:moveTo>
                        <a:pt x="271" y="173"/>
                      </a:moveTo>
                      <a:lnTo>
                        <a:pt x="272" y="173"/>
                      </a:lnTo>
                      <a:lnTo>
                        <a:pt x="271" y="173"/>
                      </a:lnTo>
                      <a:close/>
                      <a:moveTo>
                        <a:pt x="252" y="170"/>
                      </a:moveTo>
                      <a:lnTo>
                        <a:pt x="253" y="170"/>
                      </a:lnTo>
                      <a:lnTo>
                        <a:pt x="252" y="170"/>
                      </a:lnTo>
                      <a:close/>
                      <a:moveTo>
                        <a:pt x="264" y="160"/>
                      </a:moveTo>
                      <a:lnTo>
                        <a:pt x="264" y="160"/>
                      </a:lnTo>
                      <a:lnTo>
                        <a:pt x="264" y="160"/>
                      </a:lnTo>
                      <a:close/>
                      <a:moveTo>
                        <a:pt x="259" y="145"/>
                      </a:moveTo>
                      <a:lnTo>
                        <a:pt x="259" y="145"/>
                      </a:lnTo>
                      <a:lnTo>
                        <a:pt x="259" y="145"/>
                      </a:lnTo>
                      <a:lnTo>
                        <a:pt x="259" y="145"/>
                      </a:lnTo>
                      <a:lnTo>
                        <a:pt x="259" y="145"/>
                      </a:lnTo>
                      <a:close/>
                      <a:moveTo>
                        <a:pt x="267" y="137"/>
                      </a:moveTo>
                      <a:lnTo>
                        <a:pt x="267" y="137"/>
                      </a:lnTo>
                      <a:lnTo>
                        <a:pt x="267" y="137"/>
                      </a:lnTo>
                      <a:close/>
                      <a:moveTo>
                        <a:pt x="274" y="129"/>
                      </a:moveTo>
                      <a:lnTo>
                        <a:pt x="274" y="129"/>
                      </a:lnTo>
                      <a:lnTo>
                        <a:pt x="274" y="129"/>
                      </a:lnTo>
                      <a:lnTo>
                        <a:pt x="274" y="129"/>
                      </a:lnTo>
                      <a:lnTo>
                        <a:pt x="274" y="129"/>
                      </a:lnTo>
                      <a:lnTo>
                        <a:pt x="274" y="129"/>
                      </a:lnTo>
                      <a:lnTo>
                        <a:pt x="274" y="129"/>
                      </a:lnTo>
                      <a:lnTo>
                        <a:pt x="274" y="129"/>
                      </a:lnTo>
                      <a:lnTo>
                        <a:pt x="274" y="129"/>
                      </a:lnTo>
                      <a:close/>
                      <a:moveTo>
                        <a:pt x="200" y="150"/>
                      </a:moveTo>
                      <a:lnTo>
                        <a:pt x="201" y="150"/>
                      </a:lnTo>
                      <a:lnTo>
                        <a:pt x="200" y="150"/>
                      </a:lnTo>
                      <a:close/>
                      <a:moveTo>
                        <a:pt x="185" y="205"/>
                      </a:moveTo>
                      <a:lnTo>
                        <a:pt x="185" y="205"/>
                      </a:lnTo>
                      <a:lnTo>
                        <a:pt x="185" y="205"/>
                      </a:lnTo>
                      <a:lnTo>
                        <a:pt x="185" y="205"/>
                      </a:lnTo>
                      <a:lnTo>
                        <a:pt x="185" y="205"/>
                      </a:lnTo>
                      <a:close/>
                      <a:moveTo>
                        <a:pt x="177" y="197"/>
                      </a:moveTo>
                      <a:lnTo>
                        <a:pt x="178" y="197"/>
                      </a:lnTo>
                      <a:lnTo>
                        <a:pt x="178" y="197"/>
                      </a:lnTo>
                      <a:lnTo>
                        <a:pt x="178" y="197"/>
                      </a:lnTo>
                      <a:lnTo>
                        <a:pt x="177" y="197"/>
                      </a:lnTo>
                      <a:lnTo>
                        <a:pt x="178" y="197"/>
                      </a:lnTo>
                      <a:lnTo>
                        <a:pt x="177" y="197"/>
                      </a:lnTo>
                      <a:close/>
                      <a:moveTo>
                        <a:pt x="285" y="95"/>
                      </a:moveTo>
                      <a:lnTo>
                        <a:pt x="285" y="95"/>
                      </a:lnTo>
                      <a:lnTo>
                        <a:pt x="285" y="95"/>
                      </a:lnTo>
                      <a:lnTo>
                        <a:pt x="285" y="95"/>
                      </a:lnTo>
                      <a:lnTo>
                        <a:pt x="285" y="95"/>
                      </a:lnTo>
                      <a:close/>
                      <a:moveTo>
                        <a:pt x="270" y="86"/>
                      </a:moveTo>
                      <a:lnTo>
                        <a:pt x="271" y="86"/>
                      </a:lnTo>
                      <a:lnTo>
                        <a:pt x="270" y="86"/>
                      </a:lnTo>
                      <a:lnTo>
                        <a:pt x="271" y="86"/>
                      </a:lnTo>
                      <a:lnTo>
                        <a:pt x="270" y="86"/>
                      </a:lnTo>
                      <a:lnTo>
                        <a:pt x="271" y="86"/>
                      </a:lnTo>
                      <a:lnTo>
                        <a:pt x="271" y="87"/>
                      </a:lnTo>
                      <a:lnTo>
                        <a:pt x="271" y="87"/>
                      </a:lnTo>
                      <a:lnTo>
                        <a:pt x="271" y="87"/>
                      </a:lnTo>
                      <a:lnTo>
                        <a:pt x="272" y="87"/>
                      </a:lnTo>
                      <a:lnTo>
                        <a:pt x="271" y="87"/>
                      </a:lnTo>
                      <a:lnTo>
                        <a:pt x="272" y="87"/>
                      </a:lnTo>
                      <a:lnTo>
                        <a:pt x="271" y="87"/>
                      </a:lnTo>
                      <a:lnTo>
                        <a:pt x="271" y="87"/>
                      </a:lnTo>
                      <a:lnTo>
                        <a:pt x="271" y="87"/>
                      </a:lnTo>
                      <a:lnTo>
                        <a:pt x="271" y="87"/>
                      </a:lnTo>
                      <a:lnTo>
                        <a:pt x="271" y="87"/>
                      </a:lnTo>
                      <a:lnTo>
                        <a:pt x="270" y="87"/>
                      </a:lnTo>
                      <a:lnTo>
                        <a:pt x="271" y="87"/>
                      </a:lnTo>
                      <a:lnTo>
                        <a:pt x="270" y="86"/>
                      </a:lnTo>
                      <a:lnTo>
                        <a:pt x="270" y="86"/>
                      </a:lnTo>
                      <a:lnTo>
                        <a:pt x="270" y="86"/>
                      </a:lnTo>
                      <a:close/>
                      <a:moveTo>
                        <a:pt x="270" y="85"/>
                      </a:moveTo>
                      <a:lnTo>
                        <a:pt x="270" y="85"/>
                      </a:lnTo>
                      <a:lnTo>
                        <a:pt x="271" y="85"/>
                      </a:lnTo>
                      <a:lnTo>
                        <a:pt x="270" y="85"/>
                      </a:lnTo>
                      <a:lnTo>
                        <a:pt x="271" y="85"/>
                      </a:lnTo>
                      <a:lnTo>
                        <a:pt x="270" y="85"/>
                      </a:lnTo>
                      <a:lnTo>
                        <a:pt x="270" y="85"/>
                      </a:lnTo>
                      <a:close/>
                      <a:moveTo>
                        <a:pt x="292" y="65"/>
                      </a:moveTo>
                      <a:lnTo>
                        <a:pt x="291" y="65"/>
                      </a:lnTo>
                      <a:lnTo>
                        <a:pt x="292" y="65"/>
                      </a:lnTo>
                      <a:lnTo>
                        <a:pt x="291" y="65"/>
                      </a:lnTo>
                      <a:lnTo>
                        <a:pt x="291" y="65"/>
                      </a:lnTo>
                      <a:lnTo>
                        <a:pt x="290" y="65"/>
                      </a:lnTo>
                      <a:lnTo>
                        <a:pt x="290" y="65"/>
                      </a:lnTo>
                      <a:lnTo>
                        <a:pt x="290" y="65"/>
                      </a:lnTo>
                      <a:lnTo>
                        <a:pt x="289" y="65"/>
                      </a:lnTo>
                      <a:lnTo>
                        <a:pt x="289" y="65"/>
                      </a:lnTo>
                      <a:lnTo>
                        <a:pt x="289" y="65"/>
                      </a:lnTo>
                      <a:lnTo>
                        <a:pt x="289" y="65"/>
                      </a:lnTo>
                      <a:lnTo>
                        <a:pt x="288" y="65"/>
                      </a:lnTo>
                      <a:lnTo>
                        <a:pt x="289" y="65"/>
                      </a:lnTo>
                      <a:lnTo>
                        <a:pt x="288" y="65"/>
                      </a:lnTo>
                      <a:lnTo>
                        <a:pt x="289" y="65"/>
                      </a:lnTo>
                      <a:lnTo>
                        <a:pt x="289" y="65"/>
                      </a:lnTo>
                      <a:lnTo>
                        <a:pt x="290" y="65"/>
                      </a:lnTo>
                      <a:lnTo>
                        <a:pt x="289" y="65"/>
                      </a:lnTo>
                      <a:lnTo>
                        <a:pt x="290" y="65"/>
                      </a:lnTo>
                      <a:lnTo>
                        <a:pt x="290" y="65"/>
                      </a:lnTo>
                      <a:lnTo>
                        <a:pt x="291" y="65"/>
                      </a:lnTo>
                      <a:lnTo>
                        <a:pt x="292" y="65"/>
                      </a:lnTo>
                      <a:lnTo>
                        <a:pt x="292" y="66"/>
                      </a:lnTo>
                      <a:lnTo>
                        <a:pt x="292" y="67"/>
                      </a:lnTo>
                      <a:lnTo>
                        <a:pt x="292" y="67"/>
                      </a:lnTo>
                      <a:lnTo>
                        <a:pt x="292" y="67"/>
                      </a:lnTo>
                      <a:lnTo>
                        <a:pt x="291" y="67"/>
                      </a:lnTo>
                      <a:lnTo>
                        <a:pt x="291" y="67"/>
                      </a:lnTo>
                      <a:lnTo>
                        <a:pt x="290" y="67"/>
                      </a:lnTo>
                      <a:lnTo>
                        <a:pt x="290" y="67"/>
                      </a:lnTo>
                      <a:lnTo>
                        <a:pt x="290" y="67"/>
                      </a:lnTo>
                      <a:lnTo>
                        <a:pt x="290" y="67"/>
                      </a:lnTo>
                      <a:lnTo>
                        <a:pt x="290" y="67"/>
                      </a:lnTo>
                      <a:lnTo>
                        <a:pt x="290" y="68"/>
                      </a:lnTo>
                      <a:lnTo>
                        <a:pt x="290" y="68"/>
                      </a:lnTo>
                      <a:lnTo>
                        <a:pt x="290" y="68"/>
                      </a:lnTo>
                      <a:lnTo>
                        <a:pt x="289" y="68"/>
                      </a:lnTo>
                      <a:lnTo>
                        <a:pt x="289" y="69"/>
                      </a:lnTo>
                      <a:lnTo>
                        <a:pt x="289" y="68"/>
                      </a:lnTo>
                      <a:lnTo>
                        <a:pt x="289" y="69"/>
                      </a:lnTo>
                      <a:lnTo>
                        <a:pt x="289" y="69"/>
                      </a:lnTo>
                      <a:lnTo>
                        <a:pt x="289" y="68"/>
                      </a:lnTo>
                      <a:lnTo>
                        <a:pt x="288" y="68"/>
                      </a:lnTo>
                      <a:lnTo>
                        <a:pt x="287" y="68"/>
                      </a:lnTo>
                      <a:lnTo>
                        <a:pt x="287" y="68"/>
                      </a:lnTo>
                      <a:lnTo>
                        <a:pt x="287" y="68"/>
                      </a:lnTo>
                      <a:lnTo>
                        <a:pt x="286" y="68"/>
                      </a:lnTo>
                      <a:lnTo>
                        <a:pt x="287" y="68"/>
                      </a:lnTo>
                      <a:lnTo>
                        <a:pt x="287" y="68"/>
                      </a:lnTo>
                      <a:lnTo>
                        <a:pt x="287" y="68"/>
                      </a:lnTo>
                      <a:lnTo>
                        <a:pt x="288" y="68"/>
                      </a:lnTo>
                      <a:lnTo>
                        <a:pt x="289" y="68"/>
                      </a:lnTo>
                      <a:lnTo>
                        <a:pt x="289" y="69"/>
                      </a:lnTo>
                      <a:lnTo>
                        <a:pt x="288" y="69"/>
                      </a:lnTo>
                      <a:lnTo>
                        <a:pt x="289" y="69"/>
                      </a:lnTo>
                      <a:lnTo>
                        <a:pt x="289" y="69"/>
                      </a:lnTo>
                      <a:lnTo>
                        <a:pt x="289" y="70"/>
                      </a:lnTo>
                      <a:lnTo>
                        <a:pt x="289" y="70"/>
                      </a:lnTo>
                      <a:lnTo>
                        <a:pt x="289" y="70"/>
                      </a:lnTo>
                      <a:lnTo>
                        <a:pt x="288" y="70"/>
                      </a:lnTo>
                      <a:lnTo>
                        <a:pt x="287" y="70"/>
                      </a:lnTo>
                      <a:lnTo>
                        <a:pt x="287" y="70"/>
                      </a:lnTo>
                      <a:lnTo>
                        <a:pt x="286" y="70"/>
                      </a:lnTo>
                      <a:lnTo>
                        <a:pt x="286" y="70"/>
                      </a:lnTo>
                      <a:lnTo>
                        <a:pt x="285" y="70"/>
                      </a:lnTo>
                      <a:lnTo>
                        <a:pt x="285" y="70"/>
                      </a:lnTo>
                      <a:lnTo>
                        <a:pt x="284" y="70"/>
                      </a:lnTo>
                      <a:lnTo>
                        <a:pt x="285" y="70"/>
                      </a:lnTo>
                      <a:lnTo>
                        <a:pt x="285" y="70"/>
                      </a:lnTo>
                      <a:lnTo>
                        <a:pt x="286" y="70"/>
                      </a:lnTo>
                      <a:lnTo>
                        <a:pt x="286" y="70"/>
                      </a:lnTo>
                      <a:lnTo>
                        <a:pt x="287" y="70"/>
                      </a:lnTo>
                      <a:lnTo>
                        <a:pt x="287" y="70"/>
                      </a:lnTo>
                      <a:lnTo>
                        <a:pt x="288" y="70"/>
                      </a:lnTo>
                      <a:lnTo>
                        <a:pt x="288" y="71"/>
                      </a:lnTo>
                      <a:lnTo>
                        <a:pt x="288" y="70"/>
                      </a:lnTo>
                      <a:lnTo>
                        <a:pt x="289" y="70"/>
                      </a:lnTo>
                      <a:lnTo>
                        <a:pt x="289" y="71"/>
                      </a:lnTo>
                      <a:lnTo>
                        <a:pt x="289" y="71"/>
                      </a:lnTo>
                      <a:lnTo>
                        <a:pt x="288" y="71"/>
                      </a:lnTo>
                      <a:lnTo>
                        <a:pt x="288" y="72"/>
                      </a:lnTo>
                      <a:lnTo>
                        <a:pt x="289" y="72"/>
                      </a:lnTo>
                      <a:lnTo>
                        <a:pt x="288" y="72"/>
                      </a:lnTo>
                      <a:lnTo>
                        <a:pt x="288" y="72"/>
                      </a:lnTo>
                      <a:lnTo>
                        <a:pt x="287" y="72"/>
                      </a:lnTo>
                      <a:lnTo>
                        <a:pt x="288" y="72"/>
                      </a:lnTo>
                      <a:lnTo>
                        <a:pt x="287" y="72"/>
                      </a:lnTo>
                      <a:lnTo>
                        <a:pt x="287" y="73"/>
                      </a:lnTo>
                      <a:lnTo>
                        <a:pt x="288" y="72"/>
                      </a:lnTo>
                      <a:lnTo>
                        <a:pt x="289" y="73"/>
                      </a:lnTo>
                      <a:lnTo>
                        <a:pt x="288" y="73"/>
                      </a:lnTo>
                      <a:lnTo>
                        <a:pt x="289" y="73"/>
                      </a:lnTo>
                      <a:lnTo>
                        <a:pt x="289" y="73"/>
                      </a:lnTo>
                      <a:lnTo>
                        <a:pt x="289" y="73"/>
                      </a:lnTo>
                      <a:lnTo>
                        <a:pt x="289" y="74"/>
                      </a:lnTo>
                      <a:lnTo>
                        <a:pt x="289" y="74"/>
                      </a:lnTo>
                      <a:lnTo>
                        <a:pt x="289" y="74"/>
                      </a:lnTo>
                      <a:lnTo>
                        <a:pt x="289" y="74"/>
                      </a:lnTo>
                      <a:lnTo>
                        <a:pt x="289" y="75"/>
                      </a:lnTo>
                      <a:lnTo>
                        <a:pt x="288" y="75"/>
                      </a:lnTo>
                      <a:lnTo>
                        <a:pt x="288" y="75"/>
                      </a:lnTo>
                      <a:lnTo>
                        <a:pt x="288" y="76"/>
                      </a:lnTo>
                      <a:lnTo>
                        <a:pt x="288" y="76"/>
                      </a:lnTo>
                      <a:lnTo>
                        <a:pt x="287" y="76"/>
                      </a:lnTo>
                      <a:lnTo>
                        <a:pt x="287" y="77"/>
                      </a:lnTo>
                      <a:lnTo>
                        <a:pt x="288" y="77"/>
                      </a:lnTo>
                      <a:lnTo>
                        <a:pt x="287" y="77"/>
                      </a:lnTo>
                      <a:lnTo>
                        <a:pt x="287" y="78"/>
                      </a:lnTo>
                      <a:lnTo>
                        <a:pt x="288" y="78"/>
                      </a:lnTo>
                      <a:lnTo>
                        <a:pt x="288" y="77"/>
                      </a:lnTo>
                      <a:lnTo>
                        <a:pt x="288" y="78"/>
                      </a:lnTo>
                      <a:lnTo>
                        <a:pt x="287" y="78"/>
                      </a:lnTo>
                      <a:lnTo>
                        <a:pt x="287" y="78"/>
                      </a:lnTo>
                      <a:lnTo>
                        <a:pt x="286" y="78"/>
                      </a:lnTo>
                      <a:lnTo>
                        <a:pt x="286" y="78"/>
                      </a:lnTo>
                      <a:lnTo>
                        <a:pt x="286" y="78"/>
                      </a:lnTo>
                      <a:lnTo>
                        <a:pt x="286" y="78"/>
                      </a:lnTo>
                      <a:lnTo>
                        <a:pt x="285" y="78"/>
                      </a:lnTo>
                      <a:lnTo>
                        <a:pt x="286" y="78"/>
                      </a:lnTo>
                      <a:lnTo>
                        <a:pt x="286" y="78"/>
                      </a:lnTo>
                      <a:lnTo>
                        <a:pt x="287" y="78"/>
                      </a:lnTo>
                      <a:lnTo>
                        <a:pt x="287" y="78"/>
                      </a:lnTo>
                      <a:lnTo>
                        <a:pt x="288" y="78"/>
                      </a:lnTo>
                      <a:lnTo>
                        <a:pt x="288" y="78"/>
                      </a:lnTo>
                      <a:lnTo>
                        <a:pt x="289" y="78"/>
                      </a:lnTo>
                      <a:lnTo>
                        <a:pt x="288" y="78"/>
                      </a:lnTo>
                      <a:lnTo>
                        <a:pt x="289" y="78"/>
                      </a:lnTo>
                      <a:lnTo>
                        <a:pt x="289" y="79"/>
                      </a:lnTo>
                      <a:lnTo>
                        <a:pt x="289" y="79"/>
                      </a:lnTo>
                      <a:lnTo>
                        <a:pt x="289" y="79"/>
                      </a:lnTo>
                      <a:lnTo>
                        <a:pt x="289" y="79"/>
                      </a:lnTo>
                      <a:lnTo>
                        <a:pt x="289" y="80"/>
                      </a:lnTo>
                      <a:lnTo>
                        <a:pt x="289" y="80"/>
                      </a:lnTo>
                      <a:lnTo>
                        <a:pt x="289" y="81"/>
                      </a:lnTo>
                      <a:lnTo>
                        <a:pt x="289" y="81"/>
                      </a:lnTo>
                      <a:lnTo>
                        <a:pt x="290" y="81"/>
                      </a:lnTo>
                      <a:lnTo>
                        <a:pt x="290" y="82"/>
                      </a:lnTo>
                      <a:lnTo>
                        <a:pt x="289" y="82"/>
                      </a:lnTo>
                      <a:lnTo>
                        <a:pt x="290" y="82"/>
                      </a:lnTo>
                      <a:lnTo>
                        <a:pt x="290" y="82"/>
                      </a:lnTo>
                      <a:lnTo>
                        <a:pt x="290" y="82"/>
                      </a:lnTo>
                      <a:lnTo>
                        <a:pt x="290" y="82"/>
                      </a:lnTo>
                      <a:lnTo>
                        <a:pt x="290" y="82"/>
                      </a:lnTo>
                      <a:lnTo>
                        <a:pt x="290" y="83"/>
                      </a:lnTo>
                      <a:lnTo>
                        <a:pt x="290" y="83"/>
                      </a:lnTo>
                      <a:lnTo>
                        <a:pt x="290" y="83"/>
                      </a:lnTo>
                      <a:lnTo>
                        <a:pt x="290" y="83"/>
                      </a:lnTo>
                      <a:lnTo>
                        <a:pt x="291" y="83"/>
                      </a:lnTo>
                      <a:lnTo>
                        <a:pt x="291" y="84"/>
                      </a:lnTo>
                      <a:lnTo>
                        <a:pt x="292" y="84"/>
                      </a:lnTo>
                      <a:lnTo>
                        <a:pt x="292" y="85"/>
                      </a:lnTo>
                      <a:lnTo>
                        <a:pt x="292" y="85"/>
                      </a:lnTo>
                      <a:lnTo>
                        <a:pt x="292" y="85"/>
                      </a:lnTo>
                      <a:lnTo>
                        <a:pt x="292" y="86"/>
                      </a:lnTo>
                      <a:lnTo>
                        <a:pt x="293" y="86"/>
                      </a:lnTo>
                      <a:lnTo>
                        <a:pt x="293" y="86"/>
                      </a:lnTo>
                      <a:lnTo>
                        <a:pt x="293" y="87"/>
                      </a:lnTo>
                      <a:lnTo>
                        <a:pt x="293" y="87"/>
                      </a:lnTo>
                      <a:lnTo>
                        <a:pt x="293" y="87"/>
                      </a:lnTo>
                      <a:lnTo>
                        <a:pt x="294" y="88"/>
                      </a:lnTo>
                      <a:lnTo>
                        <a:pt x="294" y="89"/>
                      </a:lnTo>
                      <a:lnTo>
                        <a:pt x="295" y="89"/>
                      </a:lnTo>
                      <a:lnTo>
                        <a:pt x="296" y="89"/>
                      </a:lnTo>
                      <a:lnTo>
                        <a:pt x="296" y="90"/>
                      </a:lnTo>
                      <a:lnTo>
                        <a:pt x="296" y="90"/>
                      </a:lnTo>
                      <a:lnTo>
                        <a:pt x="297" y="90"/>
                      </a:lnTo>
                      <a:lnTo>
                        <a:pt x="297" y="90"/>
                      </a:lnTo>
                      <a:lnTo>
                        <a:pt x="297" y="91"/>
                      </a:lnTo>
                      <a:lnTo>
                        <a:pt x="298" y="91"/>
                      </a:lnTo>
                      <a:lnTo>
                        <a:pt x="298" y="92"/>
                      </a:lnTo>
                      <a:lnTo>
                        <a:pt x="298" y="92"/>
                      </a:lnTo>
                      <a:lnTo>
                        <a:pt x="299" y="92"/>
                      </a:lnTo>
                      <a:lnTo>
                        <a:pt x="300" y="93"/>
                      </a:lnTo>
                      <a:lnTo>
                        <a:pt x="300" y="93"/>
                      </a:lnTo>
                      <a:lnTo>
                        <a:pt x="300" y="93"/>
                      </a:lnTo>
                      <a:lnTo>
                        <a:pt x="301" y="93"/>
                      </a:lnTo>
                      <a:lnTo>
                        <a:pt x="301" y="94"/>
                      </a:lnTo>
                      <a:lnTo>
                        <a:pt x="301" y="93"/>
                      </a:lnTo>
                      <a:lnTo>
                        <a:pt x="301" y="94"/>
                      </a:lnTo>
                      <a:lnTo>
                        <a:pt x="301" y="94"/>
                      </a:lnTo>
                      <a:lnTo>
                        <a:pt x="302" y="94"/>
                      </a:lnTo>
                      <a:lnTo>
                        <a:pt x="302" y="94"/>
                      </a:lnTo>
                      <a:lnTo>
                        <a:pt x="302" y="94"/>
                      </a:lnTo>
                      <a:lnTo>
                        <a:pt x="302" y="94"/>
                      </a:lnTo>
                      <a:lnTo>
                        <a:pt x="303" y="94"/>
                      </a:lnTo>
                      <a:lnTo>
                        <a:pt x="304" y="94"/>
                      </a:lnTo>
                      <a:lnTo>
                        <a:pt x="304" y="94"/>
                      </a:lnTo>
                      <a:lnTo>
                        <a:pt x="304" y="95"/>
                      </a:lnTo>
                      <a:lnTo>
                        <a:pt x="305" y="95"/>
                      </a:lnTo>
                      <a:lnTo>
                        <a:pt x="305" y="95"/>
                      </a:lnTo>
                      <a:lnTo>
                        <a:pt x="305" y="96"/>
                      </a:lnTo>
                      <a:lnTo>
                        <a:pt x="305" y="96"/>
                      </a:lnTo>
                      <a:lnTo>
                        <a:pt x="304" y="96"/>
                      </a:lnTo>
                      <a:lnTo>
                        <a:pt x="305" y="96"/>
                      </a:lnTo>
                      <a:lnTo>
                        <a:pt x="305" y="96"/>
                      </a:lnTo>
                      <a:lnTo>
                        <a:pt x="304" y="96"/>
                      </a:lnTo>
                      <a:lnTo>
                        <a:pt x="304" y="97"/>
                      </a:lnTo>
                      <a:lnTo>
                        <a:pt x="305" y="97"/>
                      </a:lnTo>
                      <a:lnTo>
                        <a:pt x="304" y="97"/>
                      </a:lnTo>
                      <a:lnTo>
                        <a:pt x="304" y="97"/>
                      </a:lnTo>
                      <a:lnTo>
                        <a:pt x="304" y="97"/>
                      </a:lnTo>
                      <a:lnTo>
                        <a:pt x="304" y="97"/>
                      </a:lnTo>
                      <a:lnTo>
                        <a:pt x="304" y="97"/>
                      </a:lnTo>
                      <a:lnTo>
                        <a:pt x="303" y="97"/>
                      </a:lnTo>
                      <a:lnTo>
                        <a:pt x="302" y="97"/>
                      </a:lnTo>
                      <a:lnTo>
                        <a:pt x="302" y="97"/>
                      </a:lnTo>
                      <a:lnTo>
                        <a:pt x="302" y="97"/>
                      </a:lnTo>
                      <a:lnTo>
                        <a:pt x="301" y="97"/>
                      </a:lnTo>
                      <a:lnTo>
                        <a:pt x="301" y="97"/>
                      </a:lnTo>
                      <a:lnTo>
                        <a:pt x="301" y="96"/>
                      </a:lnTo>
                      <a:lnTo>
                        <a:pt x="301" y="97"/>
                      </a:lnTo>
                      <a:lnTo>
                        <a:pt x="300" y="97"/>
                      </a:lnTo>
                      <a:lnTo>
                        <a:pt x="301" y="97"/>
                      </a:lnTo>
                      <a:lnTo>
                        <a:pt x="300" y="97"/>
                      </a:lnTo>
                      <a:lnTo>
                        <a:pt x="300" y="97"/>
                      </a:lnTo>
                      <a:lnTo>
                        <a:pt x="300" y="96"/>
                      </a:lnTo>
                      <a:lnTo>
                        <a:pt x="299" y="96"/>
                      </a:lnTo>
                      <a:lnTo>
                        <a:pt x="298" y="96"/>
                      </a:lnTo>
                      <a:lnTo>
                        <a:pt x="299" y="96"/>
                      </a:lnTo>
                      <a:lnTo>
                        <a:pt x="299" y="97"/>
                      </a:lnTo>
                      <a:lnTo>
                        <a:pt x="300" y="97"/>
                      </a:lnTo>
                      <a:lnTo>
                        <a:pt x="300" y="97"/>
                      </a:lnTo>
                      <a:lnTo>
                        <a:pt x="300" y="97"/>
                      </a:lnTo>
                      <a:lnTo>
                        <a:pt x="301" y="97"/>
                      </a:lnTo>
                      <a:lnTo>
                        <a:pt x="301" y="97"/>
                      </a:lnTo>
                      <a:lnTo>
                        <a:pt x="301" y="97"/>
                      </a:lnTo>
                      <a:lnTo>
                        <a:pt x="302" y="97"/>
                      </a:lnTo>
                      <a:lnTo>
                        <a:pt x="302" y="97"/>
                      </a:lnTo>
                      <a:lnTo>
                        <a:pt x="302" y="97"/>
                      </a:lnTo>
                      <a:lnTo>
                        <a:pt x="302" y="97"/>
                      </a:lnTo>
                      <a:lnTo>
                        <a:pt x="302" y="97"/>
                      </a:lnTo>
                      <a:lnTo>
                        <a:pt x="302" y="98"/>
                      </a:lnTo>
                      <a:lnTo>
                        <a:pt x="303" y="98"/>
                      </a:lnTo>
                      <a:lnTo>
                        <a:pt x="302" y="98"/>
                      </a:lnTo>
                      <a:lnTo>
                        <a:pt x="302" y="98"/>
                      </a:lnTo>
                      <a:lnTo>
                        <a:pt x="301" y="98"/>
                      </a:lnTo>
                      <a:lnTo>
                        <a:pt x="302" y="98"/>
                      </a:lnTo>
                      <a:lnTo>
                        <a:pt x="301" y="98"/>
                      </a:lnTo>
                      <a:lnTo>
                        <a:pt x="301" y="98"/>
                      </a:lnTo>
                      <a:lnTo>
                        <a:pt x="300" y="97"/>
                      </a:lnTo>
                      <a:lnTo>
                        <a:pt x="300" y="98"/>
                      </a:lnTo>
                      <a:lnTo>
                        <a:pt x="301" y="98"/>
                      </a:lnTo>
                      <a:lnTo>
                        <a:pt x="300" y="98"/>
                      </a:lnTo>
                      <a:lnTo>
                        <a:pt x="300" y="97"/>
                      </a:lnTo>
                      <a:lnTo>
                        <a:pt x="300" y="97"/>
                      </a:lnTo>
                      <a:lnTo>
                        <a:pt x="300" y="98"/>
                      </a:lnTo>
                      <a:lnTo>
                        <a:pt x="300" y="98"/>
                      </a:lnTo>
                      <a:lnTo>
                        <a:pt x="301" y="98"/>
                      </a:lnTo>
                      <a:lnTo>
                        <a:pt x="301" y="98"/>
                      </a:lnTo>
                      <a:lnTo>
                        <a:pt x="301" y="98"/>
                      </a:lnTo>
                      <a:lnTo>
                        <a:pt x="301" y="98"/>
                      </a:lnTo>
                      <a:lnTo>
                        <a:pt x="301" y="98"/>
                      </a:lnTo>
                      <a:lnTo>
                        <a:pt x="301" y="98"/>
                      </a:lnTo>
                      <a:lnTo>
                        <a:pt x="301" y="98"/>
                      </a:lnTo>
                      <a:lnTo>
                        <a:pt x="301" y="98"/>
                      </a:lnTo>
                      <a:lnTo>
                        <a:pt x="302" y="98"/>
                      </a:lnTo>
                      <a:lnTo>
                        <a:pt x="302" y="98"/>
                      </a:lnTo>
                      <a:lnTo>
                        <a:pt x="302" y="98"/>
                      </a:lnTo>
                      <a:lnTo>
                        <a:pt x="302" y="99"/>
                      </a:lnTo>
                      <a:lnTo>
                        <a:pt x="302" y="99"/>
                      </a:lnTo>
                      <a:lnTo>
                        <a:pt x="302" y="98"/>
                      </a:lnTo>
                      <a:lnTo>
                        <a:pt x="301" y="98"/>
                      </a:lnTo>
                      <a:lnTo>
                        <a:pt x="301" y="98"/>
                      </a:lnTo>
                      <a:lnTo>
                        <a:pt x="301" y="98"/>
                      </a:lnTo>
                      <a:lnTo>
                        <a:pt x="301" y="99"/>
                      </a:lnTo>
                      <a:lnTo>
                        <a:pt x="302" y="99"/>
                      </a:lnTo>
                      <a:lnTo>
                        <a:pt x="301" y="99"/>
                      </a:lnTo>
                      <a:lnTo>
                        <a:pt x="301" y="99"/>
                      </a:lnTo>
                      <a:lnTo>
                        <a:pt x="301" y="98"/>
                      </a:lnTo>
                      <a:lnTo>
                        <a:pt x="300" y="99"/>
                      </a:lnTo>
                      <a:lnTo>
                        <a:pt x="300" y="98"/>
                      </a:lnTo>
                      <a:lnTo>
                        <a:pt x="300" y="98"/>
                      </a:lnTo>
                      <a:lnTo>
                        <a:pt x="300" y="98"/>
                      </a:lnTo>
                      <a:lnTo>
                        <a:pt x="300" y="98"/>
                      </a:lnTo>
                      <a:lnTo>
                        <a:pt x="300" y="98"/>
                      </a:lnTo>
                      <a:lnTo>
                        <a:pt x="300" y="98"/>
                      </a:lnTo>
                      <a:lnTo>
                        <a:pt x="300" y="98"/>
                      </a:lnTo>
                      <a:lnTo>
                        <a:pt x="300" y="98"/>
                      </a:lnTo>
                      <a:lnTo>
                        <a:pt x="300" y="98"/>
                      </a:lnTo>
                      <a:lnTo>
                        <a:pt x="299" y="98"/>
                      </a:lnTo>
                      <a:lnTo>
                        <a:pt x="299" y="97"/>
                      </a:lnTo>
                      <a:lnTo>
                        <a:pt x="300" y="97"/>
                      </a:lnTo>
                      <a:lnTo>
                        <a:pt x="299" y="97"/>
                      </a:lnTo>
                      <a:lnTo>
                        <a:pt x="299" y="97"/>
                      </a:lnTo>
                      <a:lnTo>
                        <a:pt x="298" y="97"/>
                      </a:lnTo>
                      <a:lnTo>
                        <a:pt x="298" y="97"/>
                      </a:lnTo>
                      <a:lnTo>
                        <a:pt x="298" y="97"/>
                      </a:lnTo>
                      <a:lnTo>
                        <a:pt x="298" y="96"/>
                      </a:lnTo>
                      <a:lnTo>
                        <a:pt x="297" y="96"/>
                      </a:lnTo>
                      <a:lnTo>
                        <a:pt x="297" y="97"/>
                      </a:lnTo>
                      <a:lnTo>
                        <a:pt x="297" y="96"/>
                      </a:lnTo>
                      <a:lnTo>
                        <a:pt x="297" y="97"/>
                      </a:lnTo>
                      <a:lnTo>
                        <a:pt x="297" y="96"/>
                      </a:lnTo>
                      <a:lnTo>
                        <a:pt x="297" y="97"/>
                      </a:lnTo>
                      <a:lnTo>
                        <a:pt x="298" y="97"/>
                      </a:lnTo>
                      <a:lnTo>
                        <a:pt x="297" y="97"/>
                      </a:lnTo>
                      <a:lnTo>
                        <a:pt x="298" y="97"/>
                      </a:lnTo>
                      <a:lnTo>
                        <a:pt x="298" y="97"/>
                      </a:lnTo>
                      <a:lnTo>
                        <a:pt x="298" y="97"/>
                      </a:lnTo>
                      <a:lnTo>
                        <a:pt x="298" y="97"/>
                      </a:lnTo>
                      <a:lnTo>
                        <a:pt x="297" y="97"/>
                      </a:lnTo>
                      <a:lnTo>
                        <a:pt x="297" y="97"/>
                      </a:lnTo>
                      <a:lnTo>
                        <a:pt x="297" y="97"/>
                      </a:lnTo>
                      <a:lnTo>
                        <a:pt x="297" y="96"/>
                      </a:lnTo>
                      <a:lnTo>
                        <a:pt x="297" y="96"/>
                      </a:lnTo>
                      <a:lnTo>
                        <a:pt x="297" y="96"/>
                      </a:lnTo>
                      <a:lnTo>
                        <a:pt x="297" y="95"/>
                      </a:lnTo>
                      <a:lnTo>
                        <a:pt x="297" y="95"/>
                      </a:lnTo>
                      <a:lnTo>
                        <a:pt x="297" y="96"/>
                      </a:lnTo>
                      <a:lnTo>
                        <a:pt x="296" y="96"/>
                      </a:lnTo>
                      <a:lnTo>
                        <a:pt x="297" y="96"/>
                      </a:lnTo>
                      <a:lnTo>
                        <a:pt x="296" y="96"/>
                      </a:lnTo>
                      <a:lnTo>
                        <a:pt x="296" y="96"/>
                      </a:lnTo>
                      <a:lnTo>
                        <a:pt x="295" y="96"/>
                      </a:lnTo>
                      <a:lnTo>
                        <a:pt x="296" y="96"/>
                      </a:lnTo>
                      <a:lnTo>
                        <a:pt x="295" y="96"/>
                      </a:lnTo>
                      <a:lnTo>
                        <a:pt x="294" y="96"/>
                      </a:lnTo>
                      <a:lnTo>
                        <a:pt x="294" y="95"/>
                      </a:lnTo>
                      <a:lnTo>
                        <a:pt x="294" y="96"/>
                      </a:lnTo>
                      <a:lnTo>
                        <a:pt x="294" y="96"/>
                      </a:lnTo>
                      <a:lnTo>
                        <a:pt x="294" y="96"/>
                      </a:lnTo>
                      <a:lnTo>
                        <a:pt x="295" y="96"/>
                      </a:lnTo>
                      <a:lnTo>
                        <a:pt x="295" y="96"/>
                      </a:lnTo>
                      <a:lnTo>
                        <a:pt x="294" y="96"/>
                      </a:lnTo>
                      <a:lnTo>
                        <a:pt x="294" y="96"/>
                      </a:lnTo>
                      <a:lnTo>
                        <a:pt x="294" y="96"/>
                      </a:lnTo>
                      <a:lnTo>
                        <a:pt x="294" y="96"/>
                      </a:lnTo>
                      <a:lnTo>
                        <a:pt x="294" y="96"/>
                      </a:lnTo>
                      <a:lnTo>
                        <a:pt x="295" y="96"/>
                      </a:lnTo>
                      <a:lnTo>
                        <a:pt x="295" y="97"/>
                      </a:lnTo>
                      <a:lnTo>
                        <a:pt x="294" y="97"/>
                      </a:lnTo>
                      <a:lnTo>
                        <a:pt x="295" y="97"/>
                      </a:lnTo>
                      <a:lnTo>
                        <a:pt x="296" y="97"/>
                      </a:lnTo>
                      <a:lnTo>
                        <a:pt x="296" y="97"/>
                      </a:lnTo>
                      <a:lnTo>
                        <a:pt x="296" y="97"/>
                      </a:lnTo>
                      <a:lnTo>
                        <a:pt x="296" y="96"/>
                      </a:lnTo>
                      <a:lnTo>
                        <a:pt x="296" y="96"/>
                      </a:lnTo>
                      <a:lnTo>
                        <a:pt x="296" y="97"/>
                      </a:lnTo>
                      <a:lnTo>
                        <a:pt x="297" y="97"/>
                      </a:lnTo>
                      <a:lnTo>
                        <a:pt x="296" y="97"/>
                      </a:lnTo>
                      <a:lnTo>
                        <a:pt x="296" y="97"/>
                      </a:lnTo>
                      <a:lnTo>
                        <a:pt x="297" y="97"/>
                      </a:lnTo>
                      <a:lnTo>
                        <a:pt x="297" y="97"/>
                      </a:lnTo>
                      <a:lnTo>
                        <a:pt x="297" y="97"/>
                      </a:lnTo>
                      <a:lnTo>
                        <a:pt x="296" y="97"/>
                      </a:lnTo>
                      <a:lnTo>
                        <a:pt x="297" y="97"/>
                      </a:lnTo>
                      <a:lnTo>
                        <a:pt x="297" y="97"/>
                      </a:lnTo>
                      <a:lnTo>
                        <a:pt x="297" y="98"/>
                      </a:lnTo>
                      <a:lnTo>
                        <a:pt x="298" y="98"/>
                      </a:lnTo>
                      <a:lnTo>
                        <a:pt x="297" y="98"/>
                      </a:lnTo>
                      <a:lnTo>
                        <a:pt x="298" y="98"/>
                      </a:lnTo>
                      <a:lnTo>
                        <a:pt x="297" y="98"/>
                      </a:lnTo>
                      <a:lnTo>
                        <a:pt x="298" y="98"/>
                      </a:lnTo>
                      <a:lnTo>
                        <a:pt x="297" y="98"/>
                      </a:lnTo>
                      <a:lnTo>
                        <a:pt x="297" y="97"/>
                      </a:lnTo>
                      <a:lnTo>
                        <a:pt x="297" y="98"/>
                      </a:lnTo>
                      <a:lnTo>
                        <a:pt x="297" y="97"/>
                      </a:lnTo>
                      <a:lnTo>
                        <a:pt x="297" y="97"/>
                      </a:lnTo>
                      <a:lnTo>
                        <a:pt x="297" y="98"/>
                      </a:lnTo>
                      <a:lnTo>
                        <a:pt x="296" y="98"/>
                      </a:lnTo>
                      <a:lnTo>
                        <a:pt x="296" y="98"/>
                      </a:lnTo>
                      <a:lnTo>
                        <a:pt x="296" y="98"/>
                      </a:lnTo>
                      <a:lnTo>
                        <a:pt x="296" y="98"/>
                      </a:lnTo>
                      <a:lnTo>
                        <a:pt x="296" y="97"/>
                      </a:lnTo>
                      <a:lnTo>
                        <a:pt x="295" y="97"/>
                      </a:lnTo>
                      <a:lnTo>
                        <a:pt x="294" y="97"/>
                      </a:lnTo>
                      <a:lnTo>
                        <a:pt x="295" y="97"/>
                      </a:lnTo>
                      <a:lnTo>
                        <a:pt x="294" y="97"/>
                      </a:lnTo>
                      <a:lnTo>
                        <a:pt x="294" y="97"/>
                      </a:lnTo>
                      <a:lnTo>
                        <a:pt x="294" y="97"/>
                      </a:lnTo>
                      <a:lnTo>
                        <a:pt x="294" y="97"/>
                      </a:lnTo>
                      <a:lnTo>
                        <a:pt x="294" y="97"/>
                      </a:lnTo>
                      <a:lnTo>
                        <a:pt x="294" y="97"/>
                      </a:lnTo>
                      <a:lnTo>
                        <a:pt x="294" y="97"/>
                      </a:lnTo>
                      <a:lnTo>
                        <a:pt x="293" y="97"/>
                      </a:lnTo>
                      <a:lnTo>
                        <a:pt x="294" y="97"/>
                      </a:lnTo>
                      <a:lnTo>
                        <a:pt x="293" y="97"/>
                      </a:lnTo>
                      <a:lnTo>
                        <a:pt x="293" y="97"/>
                      </a:lnTo>
                      <a:lnTo>
                        <a:pt x="293" y="96"/>
                      </a:lnTo>
                      <a:lnTo>
                        <a:pt x="292" y="96"/>
                      </a:lnTo>
                      <a:lnTo>
                        <a:pt x="293" y="96"/>
                      </a:lnTo>
                      <a:lnTo>
                        <a:pt x="293" y="97"/>
                      </a:lnTo>
                      <a:lnTo>
                        <a:pt x="293" y="97"/>
                      </a:lnTo>
                      <a:lnTo>
                        <a:pt x="293" y="97"/>
                      </a:lnTo>
                      <a:lnTo>
                        <a:pt x="293" y="97"/>
                      </a:lnTo>
                      <a:lnTo>
                        <a:pt x="294" y="97"/>
                      </a:lnTo>
                      <a:lnTo>
                        <a:pt x="294" y="97"/>
                      </a:lnTo>
                      <a:lnTo>
                        <a:pt x="293" y="97"/>
                      </a:lnTo>
                      <a:lnTo>
                        <a:pt x="293" y="97"/>
                      </a:lnTo>
                      <a:lnTo>
                        <a:pt x="293" y="97"/>
                      </a:lnTo>
                      <a:lnTo>
                        <a:pt x="292" y="97"/>
                      </a:lnTo>
                      <a:lnTo>
                        <a:pt x="292" y="96"/>
                      </a:lnTo>
                      <a:lnTo>
                        <a:pt x="291" y="96"/>
                      </a:lnTo>
                      <a:lnTo>
                        <a:pt x="292" y="96"/>
                      </a:lnTo>
                      <a:lnTo>
                        <a:pt x="292" y="97"/>
                      </a:lnTo>
                      <a:lnTo>
                        <a:pt x="292" y="97"/>
                      </a:lnTo>
                      <a:lnTo>
                        <a:pt x="293" y="97"/>
                      </a:lnTo>
                      <a:lnTo>
                        <a:pt x="292" y="97"/>
                      </a:lnTo>
                      <a:lnTo>
                        <a:pt x="293" y="97"/>
                      </a:lnTo>
                      <a:lnTo>
                        <a:pt x="293" y="98"/>
                      </a:lnTo>
                      <a:lnTo>
                        <a:pt x="292" y="98"/>
                      </a:lnTo>
                      <a:lnTo>
                        <a:pt x="292" y="97"/>
                      </a:lnTo>
                      <a:lnTo>
                        <a:pt x="292" y="97"/>
                      </a:lnTo>
                      <a:lnTo>
                        <a:pt x="292" y="98"/>
                      </a:lnTo>
                      <a:lnTo>
                        <a:pt x="292" y="97"/>
                      </a:lnTo>
                      <a:lnTo>
                        <a:pt x="291" y="97"/>
                      </a:lnTo>
                      <a:lnTo>
                        <a:pt x="292" y="97"/>
                      </a:lnTo>
                      <a:lnTo>
                        <a:pt x="291" y="97"/>
                      </a:lnTo>
                      <a:lnTo>
                        <a:pt x="292" y="97"/>
                      </a:lnTo>
                      <a:lnTo>
                        <a:pt x="291" y="97"/>
                      </a:lnTo>
                      <a:lnTo>
                        <a:pt x="290" y="97"/>
                      </a:lnTo>
                      <a:lnTo>
                        <a:pt x="290" y="97"/>
                      </a:lnTo>
                      <a:lnTo>
                        <a:pt x="290" y="97"/>
                      </a:lnTo>
                      <a:lnTo>
                        <a:pt x="290" y="97"/>
                      </a:lnTo>
                      <a:lnTo>
                        <a:pt x="290" y="97"/>
                      </a:lnTo>
                      <a:lnTo>
                        <a:pt x="290" y="97"/>
                      </a:lnTo>
                      <a:lnTo>
                        <a:pt x="290" y="97"/>
                      </a:lnTo>
                      <a:lnTo>
                        <a:pt x="289" y="96"/>
                      </a:lnTo>
                      <a:lnTo>
                        <a:pt x="289" y="96"/>
                      </a:lnTo>
                      <a:lnTo>
                        <a:pt x="288" y="96"/>
                      </a:lnTo>
                      <a:lnTo>
                        <a:pt x="289" y="96"/>
                      </a:lnTo>
                      <a:lnTo>
                        <a:pt x="288" y="96"/>
                      </a:lnTo>
                      <a:lnTo>
                        <a:pt x="288" y="95"/>
                      </a:lnTo>
                      <a:lnTo>
                        <a:pt x="288" y="96"/>
                      </a:lnTo>
                      <a:lnTo>
                        <a:pt x="287" y="96"/>
                      </a:lnTo>
                      <a:lnTo>
                        <a:pt x="287" y="96"/>
                      </a:lnTo>
                      <a:lnTo>
                        <a:pt x="287" y="96"/>
                      </a:lnTo>
                      <a:lnTo>
                        <a:pt x="286" y="96"/>
                      </a:lnTo>
                      <a:lnTo>
                        <a:pt x="286" y="96"/>
                      </a:lnTo>
                      <a:lnTo>
                        <a:pt x="286" y="95"/>
                      </a:lnTo>
                      <a:lnTo>
                        <a:pt x="286" y="96"/>
                      </a:lnTo>
                      <a:lnTo>
                        <a:pt x="286" y="95"/>
                      </a:lnTo>
                      <a:lnTo>
                        <a:pt x="285" y="95"/>
                      </a:lnTo>
                      <a:lnTo>
                        <a:pt x="286" y="95"/>
                      </a:lnTo>
                      <a:lnTo>
                        <a:pt x="286" y="94"/>
                      </a:lnTo>
                      <a:lnTo>
                        <a:pt x="285" y="94"/>
                      </a:lnTo>
                      <a:lnTo>
                        <a:pt x="286" y="94"/>
                      </a:lnTo>
                      <a:lnTo>
                        <a:pt x="286" y="95"/>
                      </a:lnTo>
                      <a:lnTo>
                        <a:pt x="285" y="95"/>
                      </a:lnTo>
                      <a:lnTo>
                        <a:pt x="285" y="95"/>
                      </a:lnTo>
                      <a:lnTo>
                        <a:pt x="284" y="95"/>
                      </a:lnTo>
                      <a:lnTo>
                        <a:pt x="285" y="95"/>
                      </a:lnTo>
                      <a:lnTo>
                        <a:pt x="285" y="96"/>
                      </a:lnTo>
                      <a:lnTo>
                        <a:pt x="286" y="96"/>
                      </a:lnTo>
                      <a:lnTo>
                        <a:pt x="286" y="96"/>
                      </a:lnTo>
                      <a:lnTo>
                        <a:pt x="286" y="96"/>
                      </a:lnTo>
                      <a:lnTo>
                        <a:pt x="286" y="96"/>
                      </a:lnTo>
                      <a:lnTo>
                        <a:pt x="286" y="96"/>
                      </a:lnTo>
                      <a:lnTo>
                        <a:pt x="287" y="96"/>
                      </a:lnTo>
                      <a:lnTo>
                        <a:pt x="287" y="96"/>
                      </a:lnTo>
                      <a:lnTo>
                        <a:pt x="287" y="96"/>
                      </a:lnTo>
                      <a:lnTo>
                        <a:pt x="288" y="96"/>
                      </a:lnTo>
                      <a:lnTo>
                        <a:pt x="289" y="97"/>
                      </a:lnTo>
                      <a:lnTo>
                        <a:pt x="288" y="97"/>
                      </a:lnTo>
                      <a:lnTo>
                        <a:pt x="288" y="96"/>
                      </a:lnTo>
                      <a:lnTo>
                        <a:pt x="287" y="96"/>
                      </a:lnTo>
                      <a:lnTo>
                        <a:pt x="288" y="97"/>
                      </a:lnTo>
                      <a:lnTo>
                        <a:pt x="287" y="96"/>
                      </a:lnTo>
                      <a:lnTo>
                        <a:pt x="288" y="96"/>
                      </a:lnTo>
                      <a:lnTo>
                        <a:pt x="288" y="97"/>
                      </a:lnTo>
                      <a:lnTo>
                        <a:pt x="287" y="97"/>
                      </a:lnTo>
                      <a:lnTo>
                        <a:pt x="287" y="96"/>
                      </a:lnTo>
                      <a:lnTo>
                        <a:pt x="287" y="96"/>
                      </a:lnTo>
                      <a:lnTo>
                        <a:pt x="286" y="96"/>
                      </a:lnTo>
                      <a:lnTo>
                        <a:pt x="286" y="97"/>
                      </a:lnTo>
                      <a:lnTo>
                        <a:pt x="287" y="97"/>
                      </a:lnTo>
                      <a:lnTo>
                        <a:pt x="287" y="97"/>
                      </a:lnTo>
                      <a:lnTo>
                        <a:pt x="287" y="98"/>
                      </a:lnTo>
                      <a:lnTo>
                        <a:pt x="286" y="98"/>
                      </a:lnTo>
                      <a:lnTo>
                        <a:pt x="286" y="98"/>
                      </a:lnTo>
                      <a:lnTo>
                        <a:pt x="285" y="98"/>
                      </a:lnTo>
                      <a:lnTo>
                        <a:pt x="285" y="97"/>
                      </a:lnTo>
                      <a:lnTo>
                        <a:pt x="285" y="97"/>
                      </a:lnTo>
                      <a:lnTo>
                        <a:pt x="285" y="97"/>
                      </a:lnTo>
                      <a:lnTo>
                        <a:pt x="284" y="97"/>
                      </a:lnTo>
                      <a:lnTo>
                        <a:pt x="283" y="97"/>
                      </a:lnTo>
                      <a:lnTo>
                        <a:pt x="283" y="96"/>
                      </a:lnTo>
                      <a:lnTo>
                        <a:pt x="283" y="96"/>
                      </a:lnTo>
                      <a:lnTo>
                        <a:pt x="283" y="96"/>
                      </a:lnTo>
                      <a:lnTo>
                        <a:pt x="283" y="97"/>
                      </a:lnTo>
                      <a:lnTo>
                        <a:pt x="283" y="97"/>
                      </a:lnTo>
                      <a:lnTo>
                        <a:pt x="283" y="97"/>
                      </a:lnTo>
                      <a:lnTo>
                        <a:pt x="283" y="97"/>
                      </a:lnTo>
                      <a:lnTo>
                        <a:pt x="283" y="96"/>
                      </a:lnTo>
                      <a:lnTo>
                        <a:pt x="282" y="96"/>
                      </a:lnTo>
                      <a:lnTo>
                        <a:pt x="282" y="96"/>
                      </a:lnTo>
                      <a:lnTo>
                        <a:pt x="282" y="95"/>
                      </a:lnTo>
                      <a:lnTo>
                        <a:pt x="282" y="95"/>
                      </a:lnTo>
                      <a:lnTo>
                        <a:pt x="281" y="95"/>
                      </a:lnTo>
                      <a:lnTo>
                        <a:pt x="281" y="94"/>
                      </a:lnTo>
                      <a:lnTo>
                        <a:pt x="281" y="94"/>
                      </a:lnTo>
                      <a:lnTo>
                        <a:pt x="281" y="94"/>
                      </a:lnTo>
                      <a:lnTo>
                        <a:pt x="281" y="94"/>
                      </a:lnTo>
                      <a:lnTo>
                        <a:pt x="281" y="94"/>
                      </a:lnTo>
                      <a:lnTo>
                        <a:pt x="281" y="94"/>
                      </a:lnTo>
                      <a:lnTo>
                        <a:pt x="281" y="95"/>
                      </a:lnTo>
                      <a:lnTo>
                        <a:pt x="281" y="95"/>
                      </a:lnTo>
                      <a:lnTo>
                        <a:pt x="281" y="95"/>
                      </a:lnTo>
                      <a:lnTo>
                        <a:pt x="281" y="94"/>
                      </a:lnTo>
                      <a:lnTo>
                        <a:pt x="281" y="95"/>
                      </a:lnTo>
                      <a:lnTo>
                        <a:pt x="281" y="94"/>
                      </a:lnTo>
                      <a:lnTo>
                        <a:pt x="280" y="94"/>
                      </a:lnTo>
                      <a:lnTo>
                        <a:pt x="281" y="94"/>
                      </a:lnTo>
                      <a:lnTo>
                        <a:pt x="281" y="95"/>
                      </a:lnTo>
                      <a:lnTo>
                        <a:pt x="281" y="96"/>
                      </a:lnTo>
                      <a:lnTo>
                        <a:pt x="281" y="95"/>
                      </a:lnTo>
                      <a:lnTo>
                        <a:pt x="281" y="96"/>
                      </a:lnTo>
                      <a:lnTo>
                        <a:pt x="280" y="96"/>
                      </a:lnTo>
                      <a:lnTo>
                        <a:pt x="280" y="95"/>
                      </a:lnTo>
                      <a:lnTo>
                        <a:pt x="280" y="96"/>
                      </a:lnTo>
                      <a:lnTo>
                        <a:pt x="281" y="96"/>
                      </a:lnTo>
                      <a:lnTo>
                        <a:pt x="280" y="96"/>
                      </a:lnTo>
                      <a:lnTo>
                        <a:pt x="281" y="96"/>
                      </a:lnTo>
                      <a:lnTo>
                        <a:pt x="281" y="96"/>
                      </a:lnTo>
                      <a:lnTo>
                        <a:pt x="281" y="96"/>
                      </a:lnTo>
                      <a:lnTo>
                        <a:pt x="282" y="96"/>
                      </a:lnTo>
                      <a:lnTo>
                        <a:pt x="281" y="96"/>
                      </a:lnTo>
                      <a:lnTo>
                        <a:pt x="281" y="96"/>
                      </a:lnTo>
                      <a:lnTo>
                        <a:pt x="281" y="96"/>
                      </a:lnTo>
                      <a:lnTo>
                        <a:pt x="280" y="96"/>
                      </a:lnTo>
                      <a:lnTo>
                        <a:pt x="279" y="95"/>
                      </a:lnTo>
                      <a:lnTo>
                        <a:pt x="279" y="95"/>
                      </a:lnTo>
                      <a:lnTo>
                        <a:pt x="278" y="95"/>
                      </a:lnTo>
                      <a:lnTo>
                        <a:pt x="279" y="95"/>
                      </a:lnTo>
                      <a:lnTo>
                        <a:pt x="278" y="95"/>
                      </a:lnTo>
                      <a:lnTo>
                        <a:pt x="279" y="95"/>
                      </a:lnTo>
                      <a:lnTo>
                        <a:pt x="279" y="96"/>
                      </a:lnTo>
                      <a:lnTo>
                        <a:pt x="278" y="96"/>
                      </a:lnTo>
                      <a:lnTo>
                        <a:pt x="278" y="96"/>
                      </a:lnTo>
                      <a:lnTo>
                        <a:pt x="278" y="95"/>
                      </a:lnTo>
                      <a:lnTo>
                        <a:pt x="277" y="95"/>
                      </a:lnTo>
                      <a:lnTo>
                        <a:pt x="278" y="95"/>
                      </a:lnTo>
                      <a:lnTo>
                        <a:pt x="277" y="95"/>
                      </a:lnTo>
                      <a:lnTo>
                        <a:pt x="277" y="96"/>
                      </a:lnTo>
                      <a:lnTo>
                        <a:pt x="278" y="96"/>
                      </a:lnTo>
                      <a:lnTo>
                        <a:pt x="277" y="96"/>
                      </a:lnTo>
                      <a:lnTo>
                        <a:pt x="276" y="96"/>
                      </a:lnTo>
                      <a:lnTo>
                        <a:pt x="276" y="95"/>
                      </a:lnTo>
                      <a:lnTo>
                        <a:pt x="276" y="95"/>
                      </a:lnTo>
                      <a:lnTo>
                        <a:pt x="276" y="94"/>
                      </a:lnTo>
                      <a:lnTo>
                        <a:pt x="276" y="94"/>
                      </a:lnTo>
                      <a:lnTo>
                        <a:pt x="275" y="94"/>
                      </a:lnTo>
                      <a:lnTo>
                        <a:pt x="276" y="94"/>
                      </a:lnTo>
                      <a:lnTo>
                        <a:pt x="276" y="95"/>
                      </a:lnTo>
                      <a:lnTo>
                        <a:pt x="275" y="95"/>
                      </a:lnTo>
                      <a:lnTo>
                        <a:pt x="275" y="94"/>
                      </a:lnTo>
                      <a:lnTo>
                        <a:pt x="275" y="94"/>
                      </a:lnTo>
                      <a:lnTo>
                        <a:pt x="275" y="95"/>
                      </a:lnTo>
                      <a:lnTo>
                        <a:pt x="275" y="94"/>
                      </a:lnTo>
                      <a:lnTo>
                        <a:pt x="274" y="94"/>
                      </a:lnTo>
                      <a:lnTo>
                        <a:pt x="274" y="94"/>
                      </a:lnTo>
                      <a:lnTo>
                        <a:pt x="273" y="94"/>
                      </a:lnTo>
                      <a:lnTo>
                        <a:pt x="273" y="93"/>
                      </a:lnTo>
                      <a:lnTo>
                        <a:pt x="274" y="93"/>
                      </a:lnTo>
                      <a:lnTo>
                        <a:pt x="274" y="94"/>
                      </a:lnTo>
                      <a:lnTo>
                        <a:pt x="274" y="94"/>
                      </a:lnTo>
                      <a:lnTo>
                        <a:pt x="275" y="94"/>
                      </a:lnTo>
                      <a:lnTo>
                        <a:pt x="274" y="94"/>
                      </a:lnTo>
                      <a:lnTo>
                        <a:pt x="274" y="93"/>
                      </a:lnTo>
                      <a:lnTo>
                        <a:pt x="274" y="93"/>
                      </a:lnTo>
                      <a:lnTo>
                        <a:pt x="274" y="93"/>
                      </a:lnTo>
                      <a:lnTo>
                        <a:pt x="274" y="93"/>
                      </a:lnTo>
                      <a:lnTo>
                        <a:pt x="275" y="93"/>
                      </a:lnTo>
                      <a:lnTo>
                        <a:pt x="275" y="92"/>
                      </a:lnTo>
                      <a:lnTo>
                        <a:pt x="274" y="92"/>
                      </a:lnTo>
                      <a:lnTo>
                        <a:pt x="274" y="92"/>
                      </a:lnTo>
                      <a:lnTo>
                        <a:pt x="274" y="92"/>
                      </a:lnTo>
                      <a:lnTo>
                        <a:pt x="274" y="91"/>
                      </a:lnTo>
                      <a:lnTo>
                        <a:pt x="273" y="91"/>
                      </a:lnTo>
                      <a:lnTo>
                        <a:pt x="272" y="90"/>
                      </a:lnTo>
                      <a:lnTo>
                        <a:pt x="273" y="90"/>
                      </a:lnTo>
                      <a:lnTo>
                        <a:pt x="272" y="90"/>
                      </a:lnTo>
                      <a:lnTo>
                        <a:pt x="273" y="90"/>
                      </a:lnTo>
                      <a:lnTo>
                        <a:pt x="273" y="91"/>
                      </a:lnTo>
                      <a:lnTo>
                        <a:pt x="273" y="90"/>
                      </a:lnTo>
                      <a:lnTo>
                        <a:pt x="274" y="90"/>
                      </a:lnTo>
                      <a:lnTo>
                        <a:pt x="274" y="91"/>
                      </a:lnTo>
                      <a:lnTo>
                        <a:pt x="274" y="90"/>
                      </a:lnTo>
                      <a:lnTo>
                        <a:pt x="274" y="90"/>
                      </a:lnTo>
                      <a:lnTo>
                        <a:pt x="274" y="90"/>
                      </a:lnTo>
                      <a:lnTo>
                        <a:pt x="274" y="90"/>
                      </a:lnTo>
                      <a:lnTo>
                        <a:pt x="275" y="90"/>
                      </a:lnTo>
                      <a:lnTo>
                        <a:pt x="275" y="91"/>
                      </a:lnTo>
                      <a:lnTo>
                        <a:pt x="275" y="90"/>
                      </a:lnTo>
                      <a:lnTo>
                        <a:pt x="274" y="90"/>
                      </a:lnTo>
                      <a:lnTo>
                        <a:pt x="275" y="90"/>
                      </a:lnTo>
                      <a:lnTo>
                        <a:pt x="275" y="90"/>
                      </a:lnTo>
                      <a:lnTo>
                        <a:pt x="275" y="91"/>
                      </a:lnTo>
                      <a:lnTo>
                        <a:pt x="276" y="91"/>
                      </a:lnTo>
                      <a:lnTo>
                        <a:pt x="276" y="91"/>
                      </a:lnTo>
                      <a:lnTo>
                        <a:pt x="276" y="92"/>
                      </a:lnTo>
                      <a:lnTo>
                        <a:pt x="276" y="91"/>
                      </a:lnTo>
                      <a:lnTo>
                        <a:pt x="276" y="91"/>
                      </a:lnTo>
                      <a:lnTo>
                        <a:pt x="276" y="90"/>
                      </a:lnTo>
                      <a:lnTo>
                        <a:pt x="276" y="90"/>
                      </a:lnTo>
                      <a:lnTo>
                        <a:pt x="277" y="90"/>
                      </a:lnTo>
                      <a:lnTo>
                        <a:pt x="278" y="90"/>
                      </a:lnTo>
                      <a:lnTo>
                        <a:pt x="278" y="90"/>
                      </a:lnTo>
                      <a:lnTo>
                        <a:pt x="279" y="90"/>
                      </a:lnTo>
                      <a:lnTo>
                        <a:pt x="279" y="90"/>
                      </a:lnTo>
                      <a:lnTo>
                        <a:pt x="278" y="90"/>
                      </a:lnTo>
                      <a:lnTo>
                        <a:pt x="278" y="90"/>
                      </a:lnTo>
                      <a:lnTo>
                        <a:pt x="278" y="90"/>
                      </a:lnTo>
                      <a:lnTo>
                        <a:pt x="278" y="90"/>
                      </a:lnTo>
                      <a:lnTo>
                        <a:pt x="277" y="90"/>
                      </a:lnTo>
                      <a:lnTo>
                        <a:pt x="276" y="90"/>
                      </a:lnTo>
                      <a:lnTo>
                        <a:pt x="276" y="89"/>
                      </a:lnTo>
                      <a:lnTo>
                        <a:pt x="277" y="89"/>
                      </a:lnTo>
                      <a:lnTo>
                        <a:pt x="278" y="89"/>
                      </a:lnTo>
                      <a:lnTo>
                        <a:pt x="278" y="89"/>
                      </a:lnTo>
                      <a:lnTo>
                        <a:pt x="279" y="89"/>
                      </a:lnTo>
                      <a:lnTo>
                        <a:pt x="279" y="90"/>
                      </a:lnTo>
                      <a:lnTo>
                        <a:pt x="279" y="90"/>
                      </a:lnTo>
                      <a:lnTo>
                        <a:pt x="279" y="90"/>
                      </a:lnTo>
                      <a:lnTo>
                        <a:pt x="279" y="90"/>
                      </a:lnTo>
                      <a:lnTo>
                        <a:pt x="280" y="90"/>
                      </a:lnTo>
                      <a:lnTo>
                        <a:pt x="280" y="90"/>
                      </a:lnTo>
                      <a:lnTo>
                        <a:pt x="281" y="90"/>
                      </a:lnTo>
                      <a:lnTo>
                        <a:pt x="280" y="90"/>
                      </a:lnTo>
                      <a:lnTo>
                        <a:pt x="281" y="90"/>
                      </a:lnTo>
                      <a:lnTo>
                        <a:pt x="280" y="90"/>
                      </a:lnTo>
                      <a:lnTo>
                        <a:pt x="280" y="90"/>
                      </a:lnTo>
                      <a:lnTo>
                        <a:pt x="279" y="90"/>
                      </a:lnTo>
                      <a:lnTo>
                        <a:pt x="280" y="90"/>
                      </a:lnTo>
                      <a:lnTo>
                        <a:pt x="279" y="89"/>
                      </a:lnTo>
                      <a:lnTo>
                        <a:pt x="280" y="90"/>
                      </a:lnTo>
                      <a:lnTo>
                        <a:pt x="280" y="89"/>
                      </a:lnTo>
                      <a:lnTo>
                        <a:pt x="279" y="90"/>
                      </a:lnTo>
                      <a:lnTo>
                        <a:pt x="279" y="90"/>
                      </a:lnTo>
                      <a:lnTo>
                        <a:pt x="279" y="89"/>
                      </a:lnTo>
                      <a:lnTo>
                        <a:pt x="278" y="89"/>
                      </a:lnTo>
                      <a:lnTo>
                        <a:pt x="278" y="89"/>
                      </a:lnTo>
                      <a:lnTo>
                        <a:pt x="278" y="89"/>
                      </a:lnTo>
                      <a:lnTo>
                        <a:pt x="278" y="89"/>
                      </a:lnTo>
                      <a:lnTo>
                        <a:pt x="278" y="89"/>
                      </a:lnTo>
                      <a:lnTo>
                        <a:pt x="278" y="89"/>
                      </a:lnTo>
                      <a:lnTo>
                        <a:pt x="278" y="88"/>
                      </a:lnTo>
                      <a:lnTo>
                        <a:pt x="277" y="88"/>
                      </a:lnTo>
                      <a:lnTo>
                        <a:pt x="277" y="89"/>
                      </a:lnTo>
                      <a:lnTo>
                        <a:pt x="277" y="88"/>
                      </a:lnTo>
                      <a:lnTo>
                        <a:pt x="277" y="89"/>
                      </a:lnTo>
                      <a:lnTo>
                        <a:pt x="276" y="89"/>
                      </a:lnTo>
                      <a:lnTo>
                        <a:pt x="277" y="89"/>
                      </a:lnTo>
                      <a:lnTo>
                        <a:pt x="276" y="89"/>
                      </a:lnTo>
                      <a:lnTo>
                        <a:pt x="276" y="89"/>
                      </a:lnTo>
                      <a:lnTo>
                        <a:pt x="276" y="89"/>
                      </a:lnTo>
                      <a:lnTo>
                        <a:pt x="275" y="89"/>
                      </a:lnTo>
                      <a:lnTo>
                        <a:pt x="275" y="89"/>
                      </a:lnTo>
                      <a:lnTo>
                        <a:pt x="275" y="89"/>
                      </a:lnTo>
                      <a:lnTo>
                        <a:pt x="275" y="89"/>
                      </a:lnTo>
                      <a:lnTo>
                        <a:pt x="275" y="89"/>
                      </a:lnTo>
                      <a:lnTo>
                        <a:pt x="274" y="89"/>
                      </a:lnTo>
                      <a:lnTo>
                        <a:pt x="275" y="89"/>
                      </a:lnTo>
                      <a:lnTo>
                        <a:pt x="274" y="89"/>
                      </a:lnTo>
                      <a:lnTo>
                        <a:pt x="274" y="89"/>
                      </a:lnTo>
                      <a:lnTo>
                        <a:pt x="273" y="89"/>
                      </a:lnTo>
                      <a:lnTo>
                        <a:pt x="274" y="89"/>
                      </a:lnTo>
                      <a:lnTo>
                        <a:pt x="273" y="89"/>
                      </a:lnTo>
                      <a:lnTo>
                        <a:pt x="272" y="88"/>
                      </a:lnTo>
                      <a:lnTo>
                        <a:pt x="272" y="87"/>
                      </a:lnTo>
                      <a:lnTo>
                        <a:pt x="272" y="88"/>
                      </a:lnTo>
                      <a:lnTo>
                        <a:pt x="272" y="87"/>
                      </a:lnTo>
                      <a:lnTo>
                        <a:pt x="273" y="87"/>
                      </a:lnTo>
                      <a:lnTo>
                        <a:pt x="272" y="87"/>
                      </a:lnTo>
                      <a:lnTo>
                        <a:pt x="272" y="87"/>
                      </a:lnTo>
                      <a:lnTo>
                        <a:pt x="272" y="87"/>
                      </a:lnTo>
                      <a:lnTo>
                        <a:pt x="271" y="87"/>
                      </a:lnTo>
                      <a:lnTo>
                        <a:pt x="271" y="86"/>
                      </a:lnTo>
                      <a:lnTo>
                        <a:pt x="271" y="86"/>
                      </a:lnTo>
                      <a:lnTo>
                        <a:pt x="271" y="85"/>
                      </a:lnTo>
                      <a:lnTo>
                        <a:pt x="271" y="86"/>
                      </a:lnTo>
                      <a:lnTo>
                        <a:pt x="271" y="85"/>
                      </a:lnTo>
                      <a:lnTo>
                        <a:pt x="271" y="85"/>
                      </a:lnTo>
                      <a:lnTo>
                        <a:pt x="271" y="85"/>
                      </a:lnTo>
                      <a:lnTo>
                        <a:pt x="271" y="85"/>
                      </a:lnTo>
                      <a:lnTo>
                        <a:pt x="271" y="85"/>
                      </a:lnTo>
                      <a:lnTo>
                        <a:pt x="271" y="85"/>
                      </a:lnTo>
                      <a:lnTo>
                        <a:pt x="271" y="85"/>
                      </a:lnTo>
                      <a:lnTo>
                        <a:pt x="271" y="85"/>
                      </a:lnTo>
                      <a:lnTo>
                        <a:pt x="271" y="85"/>
                      </a:lnTo>
                      <a:lnTo>
                        <a:pt x="271" y="85"/>
                      </a:lnTo>
                      <a:lnTo>
                        <a:pt x="271" y="85"/>
                      </a:lnTo>
                      <a:lnTo>
                        <a:pt x="271" y="85"/>
                      </a:lnTo>
                      <a:lnTo>
                        <a:pt x="272" y="85"/>
                      </a:lnTo>
                      <a:lnTo>
                        <a:pt x="271" y="85"/>
                      </a:lnTo>
                      <a:lnTo>
                        <a:pt x="272" y="85"/>
                      </a:lnTo>
                      <a:lnTo>
                        <a:pt x="271" y="85"/>
                      </a:lnTo>
                      <a:lnTo>
                        <a:pt x="271" y="84"/>
                      </a:lnTo>
                      <a:lnTo>
                        <a:pt x="272" y="84"/>
                      </a:lnTo>
                      <a:lnTo>
                        <a:pt x="272" y="83"/>
                      </a:lnTo>
                      <a:lnTo>
                        <a:pt x="272" y="84"/>
                      </a:lnTo>
                      <a:lnTo>
                        <a:pt x="272" y="83"/>
                      </a:lnTo>
                      <a:lnTo>
                        <a:pt x="272" y="83"/>
                      </a:lnTo>
                      <a:lnTo>
                        <a:pt x="271" y="83"/>
                      </a:lnTo>
                      <a:lnTo>
                        <a:pt x="271" y="84"/>
                      </a:lnTo>
                      <a:lnTo>
                        <a:pt x="271" y="83"/>
                      </a:lnTo>
                      <a:lnTo>
                        <a:pt x="271" y="84"/>
                      </a:lnTo>
                      <a:lnTo>
                        <a:pt x="270" y="84"/>
                      </a:lnTo>
                      <a:lnTo>
                        <a:pt x="271" y="84"/>
                      </a:lnTo>
                      <a:lnTo>
                        <a:pt x="270" y="84"/>
                      </a:lnTo>
                      <a:lnTo>
                        <a:pt x="271" y="84"/>
                      </a:lnTo>
                      <a:lnTo>
                        <a:pt x="270" y="84"/>
                      </a:lnTo>
                      <a:lnTo>
                        <a:pt x="270" y="85"/>
                      </a:lnTo>
                      <a:lnTo>
                        <a:pt x="270" y="84"/>
                      </a:lnTo>
                      <a:lnTo>
                        <a:pt x="270" y="85"/>
                      </a:lnTo>
                      <a:lnTo>
                        <a:pt x="270" y="85"/>
                      </a:lnTo>
                      <a:lnTo>
                        <a:pt x="270" y="85"/>
                      </a:lnTo>
                      <a:lnTo>
                        <a:pt x="270" y="85"/>
                      </a:lnTo>
                      <a:lnTo>
                        <a:pt x="270" y="85"/>
                      </a:lnTo>
                      <a:lnTo>
                        <a:pt x="270" y="85"/>
                      </a:lnTo>
                      <a:lnTo>
                        <a:pt x="270" y="85"/>
                      </a:lnTo>
                      <a:lnTo>
                        <a:pt x="270" y="85"/>
                      </a:lnTo>
                      <a:lnTo>
                        <a:pt x="269" y="85"/>
                      </a:lnTo>
                      <a:lnTo>
                        <a:pt x="269" y="84"/>
                      </a:lnTo>
                      <a:lnTo>
                        <a:pt x="268" y="84"/>
                      </a:lnTo>
                      <a:lnTo>
                        <a:pt x="269" y="85"/>
                      </a:lnTo>
                      <a:lnTo>
                        <a:pt x="268" y="85"/>
                      </a:lnTo>
                      <a:lnTo>
                        <a:pt x="268" y="85"/>
                      </a:lnTo>
                      <a:lnTo>
                        <a:pt x="268" y="85"/>
                      </a:lnTo>
                      <a:lnTo>
                        <a:pt x="268" y="85"/>
                      </a:lnTo>
                      <a:lnTo>
                        <a:pt x="269" y="86"/>
                      </a:lnTo>
                      <a:lnTo>
                        <a:pt x="268" y="86"/>
                      </a:lnTo>
                      <a:lnTo>
                        <a:pt x="268" y="86"/>
                      </a:lnTo>
                      <a:lnTo>
                        <a:pt x="268" y="85"/>
                      </a:lnTo>
                      <a:lnTo>
                        <a:pt x="268" y="86"/>
                      </a:lnTo>
                      <a:lnTo>
                        <a:pt x="268" y="86"/>
                      </a:lnTo>
                      <a:lnTo>
                        <a:pt x="268" y="86"/>
                      </a:lnTo>
                      <a:lnTo>
                        <a:pt x="268" y="85"/>
                      </a:lnTo>
                      <a:lnTo>
                        <a:pt x="268" y="85"/>
                      </a:lnTo>
                      <a:lnTo>
                        <a:pt x="267" y="85"/>
                      </a:lnTo>
                      <a:lnTo>
                        <a:pt x="268" y="85"/>
                      </a:lnTo>
                      <a:lnTo>
                        <a:pt x="267" y="85"/>
                      </a:lnTo>
                      <a:lnTo>
                        <a:pt x="268" y="85"/>
                      </a:lnTo>
                      <a:lnTo>
                        <a:pt x="267" y="85"/>
                      </a:lnTo>
                      <a:lnTo>
                        <a:pt x="267" y="85"/>
                      </a:lnTo>
                      <a:lnTo>
                        <a:pt x="267" y="85"/>
                      </a:lnTo>
                      <a:lnTo>
                        <a:pt x="267" y="85"/>
                      </a:lnTo>
                      <a:lnTo>
                        <a:pt x="267" y="85"/>
                      </a:lnTo>
                      <a:lnTo>
                        <a:pt x="267" y="85"/>
                      </a:lnTo>
                      <a:lnTo>
                        <a:pt x="267" y="85"/>
                      </a:lnTo>
                      <a:lnTo>
                        <a:pt x="267" y="85"/>
                      </a:lnTo>
                      <a:lnTo>
                        <a:pt x="267" y="85"/>
                      </a:lnTo>
                      <a:lnTo>
                        <a:pt x="266" y="85"/>
                      </a:lnTo>
                      <a:lnTo>
                        <a:pt x="266" y="84"/>
                      </a:lnTo>
                      <a:lnTo>
                        <a:pt x="266" y="83"/>
                      </a:lnTo>
                      <a:lnTo>
                        <a:pt x="266" y="83"/>
                      </a:lnTo>
                      <a:lnTo>
                        <a:pt x="266" y="83"/>
                      </a:lnTo>
                      <a:lnTo>
                        <a:pt x="265" y="83"/>
                      </a:lnTo>
                      <a:lnTo>
                        <a:pt x="266" y="83"/>
                      </a:lnTo>
                      <a:lnTo>
                        <a:pt x="266" y="82"/>
                      </a:lnTo>
                      <a:lnTo>
                        <a:pt x="265" y="82"/>
                      </a:lnTo>
                      <a:lnTo>
                        <a:pt x="265" y="82"/>
                      </a:lnTo>
                      <a:lnTo>
                        <a:pt x="265" y="81"/>
                      </a:lnTo>
                      <a:lnTo>
                        <a:pt x="265" y="81"/>
                      </a:lnTo>
                      <a:lnTo>
                        <a:pt x="264" y="81"/>
                      </a:lnTo>
                      <a:lnTo>
                        <a:pt x="264" y="81"/>
                      </a:lnTo>
                      <a:lnTo>
                        <a:pt x="265" y="81"/>
                      </a:lnTo>
                      <a:lnTo>
                        <a:pt x="264" y="81"/>
                      </a:lnTo>
                      <a:lnTo>
                        <a:pt x="264" y="82"/>
                      </a:lnTo>
                      <a:lnTo>
                        <a:pt x="265" y="82"/>
                      </a:lnTo>
                      <a:lnTo>
                        <a:pt x="265" y="82"/>
                      </a:lnTo>
                      <a:lnTo>
                        <a:pt x="265" y="83"/>
                      </a:lnTo>
                      <a:lnTo>
                        <a:pt x="264" y="83"/>
                      </a:lnTo>
                      <a:lnTo>
                        <a:pt x="265" y="83"/>
                      </a:lnTo>
                      <a:lnTo>
                        <a:pt x="264" y="83"/>
                      </a:lnTo>
                      <a:lnTo>
                        <a:pt x="265" y="83"/>
                      </a:lnTo>
                      <a:lnTo>
                        <a:pt x="264" y="83"/>
                      </a:lnTo>
                      <a:lnTo>
                        <a:pt x="264" y="83"/>
                      </a:lnTo>
                      <a:lnTo>
                        <a:pt x="264" y="83"/>
                      </a:lnTo>
                      <a:lnTo>
                        <a:pt x="264" y="83"/>
                      </a:lnTo>
                      <a:lnTo>
                        <a:pt x="264" y="83"/>
                      </a:lnTo>
                      <a:lnTo>
                        <a:pt x="264" y="83"/>
                      </a:lnTo>
                      <a:lnTo>
                        <a:pt x="264" y="84"/>
                      </a:lnTo>
                      <a:lnTo>
                        <a:pt x="263" y="84"/>
                      </a:lnTo>
                      <a:lnTo>
                        <a:pt x="263" y="83"/>
                      </a:lnTo>
                      <a:lnTo>
                        <a:pt x="263" y="83"/>
                      </a:lnTo>
                      <a:lnTo>
                        <a:pt x="263" y="83"/>
                      </a:lnTo>
                      <a:lnTo>
                        <a:pt x="263" y="83"/>
                      </a:lnTo>
                      <a:lnTo>
                        <a:pt x="263" y="83"/>
                      </a:lnTo>
                      <a:lnTo>
                        <a:pt x="263" y="82"/>
                      </a:lnTo>
                      <a:lnTo>
                        <a:pt x="263" y="82"/>
                      </a:lnTo>
                      <a:lnTo>
                        <a:pt x="263" y="82"/>
                      </a:lnTo>
                      <a:lnTo>
                        <a:pt x="263" y="83"/>
                      </a:lnTo>
                      <a:lnTo>
                        <a:pt x="262" y="83"/>
                      </a:lnTo>
                      <a:lnTo>
                        <a:pt x="263" y="83"/>
                      </a:lnTo>
                      <a:lnTo>
                        <a:pt x="263" y="83"/>
                      </a:lnTo>
                      <a:lnTo>
                        <a:pt x="262" y="83"/>
                      </a:lnTo>
                      <a:lnTo>
                        <a:pt x="262" y="84"/>
                      </a:lnTo>
                      <a:lnTo>
                        <a:pt x="263" y="84"/>
                      </a:lnTo>
                      <a:lnTo>
                        <a:pt x="263" y="85"/>
                      </a:lnTo>
                      <a:lnTo>
                        <a:pt x="262" y="85"/>
                      </a:lnTo>
                      <a:lnTo>
                        <a:pt x="263" y="85"/>
                      </a:lnTo>
                      <a:lnTo>
                        <a:pt x="262" y="85"/>
                      </a:lnTo>
                      <a:lnTo>
                        <a:pt x="262" y="84"/>
                      </a:lnTo>
                      <a:lnTo>
                        <a:pt x="262" y="85"/>
                      </a:lnTo>
                      <a:lnTo>
                        <a:pt x="261" y="85"/>
                      </a:lnTo>
                      <a:lnTo>
                        <a:pt x="261" y="85"/>
                      </a:lnTo>
                      <a:lnTo>
                        <a:pt x="260" y="85"/>
                      </a:lnTo>
                      <a:lnTo>
                        <a:pt x="260" y="85"/>
                      </a:lnTo>
                      <a:lnTo>
                        <a:pt x="259" y="84"/>
                      </a:lnTo>
                      <a:lnTo>
                        <a:pt x="259" y="84"/>
                      </a:lnTo>
                      <a:lnTo>
                        <a:pt x="258" y="84"/>
                      </a:lnTo>
                      <a:lnTo>
                        <a:pt x="258" y="83"/>
                      </a:lnTo>
                      <a:lnTo>
                        <a:pt x="258" y="84"/>
                      </a:lnTo>
                      <a:lnTo>
                        <a:pt x="257" y="83"/>
                      </a:lnTo>
                      <a:lnTo>
                        <a:pt x="257" y="83"/>
                      </a:lnTo>
                      <a:lnTo>
                        <a:pt x="257" y="83"/>
                      </a:lnTo>
                      <a:lnTo>
                        <a:pt x="257" y="83"/>
                      </a:lnTo>
                      <a:lnTo>
                        <a:pt x="257" y="83"/>
                      </a:lnTo>
                      <a:lnTo>
                        <a:pt x="257" y="83"/>
                      </a:lnTo>
                      <a:lnTo>
                        <a:pt x="257" y="82"/>
                      </a:lnTo>
                      <a:lnTo>
                        <a:pt x="257" y="82"/>
                      </a:lnTo>
                      <a:lnTo>
                        <a:pt x="257" y="82"/>
                      </a:lnTo>
                      <a:lnTo>
                        <a:pt x="257" y="81"/>
                      </a:lnTo>
                      <a:lnTo>
                        <a:pt x="256" y="81"/>
                      </a:lnTo>
                      <a:lnTo>
                        <a:pt x="257" y="81"/>
                      </a:lnTo>
                      <a:lnTo>
                        <a:pt x="256" y="81"/>
                      </a:lnTo>
                      <a:lnTo>
                        <a:pt x="256" y="81"/>
                      </a:lnTo>
                      <a:lnTo>
                        <a:pt x="256" y="80"/>
                      </a:lnTo>
                      <a:lnTo>
                        <a:pt x="256" y="79"/>
                      </a:lnTo>
                      <a:lnTo>
                        <a:pt x="256" y="79"/>
                      </a:lnTo>
                      <a:lnTo>
                        <a:pt x="256" y="79"/>
                      </a:lnTo>
                      <a:lnTo>
                        <a:pt x="256" y="78"/>
                      </a:lnTo>
                      <a:lnTo>
                        <a:pt x="256" y="78"/>
                      </a:lnTo>
                      <a:lnTo>
                        <a:pt x="256" y="77"/>
                      </a:lnTo>
                      <a:lnTo>
                        <a:pt x="257" y="77"/>
                      </a:lnTo>
                      <a:lnTo>
                        <a:pt x="257" y="76"/>
                      </a:lnTo>
                      <a:lnTo>
                        <a:pt x="257" y="76"/>
                      </a:lnTo>
                      <a:lnTo>
                        <a:pt x="257" y="76"/>
                      </a:lnTo>
                      <a:lnTo>
                        <a:pt x="257" y="75"/>
                      </a:lnTo>
                      <a:lnTo>
                        <a:pt x="258" y="75"/>
                      </a:lnTo>
                      <a:lnTo>
                        <a:pt x="259" y="75"/>
                      </a:lnTo>
                      <a:lnTo>
                        <a:pt x="259" y="75"/>
                      </a:lnTo>
                      <a:lnTo>
                        <a:pt x="259" y="74"/>
                      </a:lnTo>
                      <a:lnTo>
                        <a:pt x="259" y="75"/>
                      </a:lnTo>
                      <a:lnTo>
                        <a:pt x="259" y="74"/>
                      </a:lnTo>
                      <a:lnTo>
                        <a:pt x="259" y="75"/>
                      </a:lnTo>
                      <a:lnTo>
                        <a:pt x="260" y="75"/>
                      </a:lnTo>
                      <a:lnTo>
                        <a:pt x="260" y="75"/>
                      </a:lnTo>
                      <a:lnTo>
                        <a:pt x="260" y="75"/>
                      </a:lnTo>
                      <a:lnTo>
                        <a:pt x="260" y="75"/>
                      </a:lnTo>
                      <a:lnTo>
                        <a:pt x="260" y="75"/>
                      </a:lnTo>
                      <a:lnTo>
                        <a:pt x="260" y="75"/>
                      </a:lnTo>
                      <a:lnTo>
                        <a:pt x="260" y="75"/>
                      </a:lnTo>
                      <a:lnTo>
                        <a:pt x="261" y="75"/>
                      </a:lnTo>
                      <a:lnTo>
                        <a:pt x="261" y="76"/>
                      </a:lnTo>
                      <a:lnTo>
                        <a:pt x="261" y="75"/>
                      </a:lnTo>
                      <a:lnTo>
                        <a:pt x="261" y="75"/>
                      </a:lnTo>
                      <a:lnTo>
                        <a:pt x="261" y="76"/>
                      </a:lnTo>
                      <a:lnTo>
                        <a:pt x="261" y="75"/>
                      </a:lnTo>
                      <a:lnTo>
                        <a:pt x="262" y="75"/>
                      </a:lnTo>
                      <a:lnTo>
                        <a:pt x="262" y="75"/>
                      </a:lnTo>
                      <a:lnTo>
                        <a:pt x="263" y="75"/>
                      </a:lnTo>
                      <a:lnTo>
                        <a:pt x="262" y="75"/>
                      </a:lnTo>
                      <a:lnTo>
                        <a:pt x="262" y="75"/>
                      </a:lnTo>
                      <a:lnTo>
                        <a:pt x="263" y="75"/>
                      </a:lnTo>
                      <a:lnTo>
                        <a:pt x="262" y="75"/>
                      </a:lnTo>
                      <a:lnTo>
                        <a:pt x="262" y="76"/>
                      </a:lnTo>
                      <a:lnTo>
                        <a:pt x="262" y="75"/>
                      </a:lnTo>
                      <a:lnTo>
                        <a:pt x="263" y="75"/>
                      </a:lnTo>
                      <a:lnTo>
                        <a:pt x="263" y="76"/>
                      </a:lnTo>
                      <a:lnTo>
                        <a:pt x="263" y="75"/>
                      </a:lnTo>
                      <a:lnTo>
                        <a:pt x="263" y="76"/>
                      </a:lnTo>
                      <a:lnTo>
                        <a:pt x="263" y="75"/>
                      </a:lnTo>
                      <a:lnTo>
                        <a:pt x="263" y="76"/>
                      </a:lnTo>
                      <a:lnTo>
                        <a:pt x="264" y="76"/>
                      </a:lnTo>
                      <a:lnTo>
                        <a:pt x="264" y="76"/>
                      </a:lnTo>
                      <a:lnTo>
                        <a:pt x="264" y="76"/>
                      </a:lnTo>
                      <a:lnTo>
                        <a:pt x="264" y="76"/>
                      </a:lnTo>
                      <a:lnTo>
                        <a:pt x="264" y="76"/>
                      </a:lnTo>
                      <a:lnTo>
                        <a:pt x="264" y="76"/>
                      </a:lnTo>
                      <a:lnTo>
                        <a:pt x="264" y="75"/>
                      </a:lnTo>
                      <a:lnTo>
                        <a:pt x="264" y="75"/>
                      </a:lnTo>
                      <a:lnTo>
                        <a:pt x="264" y="75"/>
                      </a:lnTo>
                      <a:lnTo>
                        <a:pt x="264" y="74"/>
                      </a:lnTo>
                      <a:lnTo>
                        <a:pt x="264" y="75"/>
                      </a:lnTo>
                      <a:lnTo>
                        <a:pt x="264" y="74"/>
                      </a:lnTo>
                      <a:lnTo>
                        <a:pt x="264" y="74"/>
                      </a:lnTo>
                      <a:lnTo>
                        <a:pt x="264" y="75"/>
                      </a:lnTo>
                      <a:lnTo>
                        <a:pt x="265" y="75"/>
                      </a:lnTo>
                      <a:lnTo>
                        <a:pt x="264" y="75"/>
                      </a:lnTo>
                      <a:lnTo>
                        <a:pt x="265" y="75"/>
                      </a:lnTo>
                      <a:lnTo>
                        <a:pt x="264" y="75"/>
                      </a:lnTo>
                      <a:lnTo>
                        <a:pt x="264" y="74"/>
                      </a:lnTo>
                      <a:lnTo>
                        <a:pt x="264" y="75"/>
                      </a:lnTo>
                      <a:lnTo>
                        <a:pt x="265" y="75"/>
                      </a:lnTo>
                      <a:lnTo>
                        <a:pt x="265" y="74"/>
                      </a:lnTo>
                      <a:lnTo>
                        <a:pt x="264" y="74"/>
                      </a:lnTo>
                      <a:lnTo>
                        <a:pt x="265" y="74"/>
                      </a:lnTo>
                      <a:lnTo>
                        <a:pt x="264" y="74"/>
                      </a:lnTo>
                      <a:lnTo>
                        <a:pt x="264" y="74"/>
                      </a:lnTo>
                      <a:lnTo>
                        <a:pt x="264" y="74"/>
                      </a:lnTo>
                      <a:lnTo>
                        <a:pt x="264" y="74"/>
                      </a:lnTo>
                      <a:lnTo>
                        <a:pt x="265" y="74"/>
                      </a:lnTo>
                      <a:lnTo>
                        <a:pt x="265" y="73"/>
                      </a:lnTo>
                      <a:lnTo>
                        <a:pt x="264" y="73"/>
                      </a:lnTo>
                      <a:lnTo>
                        <a:pt x="265" y="73"/>
                      </a:lnTo>
                      <a:lnTo>
                        <a:pt x="264" y="73"/>
                      </a:lnTo>
                      <a:lnTo>
                        <a:pt x="264" y="72"/>
                      </a:lnTo>
                      <a:lnTo>
                        <a:pt x="264" y="73"/>
                      </a:lnTo>
                      <a:lnTo>
                        <a:pt x="264" y="72"/>
                      </a:lnTo>
                      <a:lnTo>
                        <a:pt x="264" y="73"/>
                      </a:lnTo>
                      <a:lnTo>
                        <a:pt x="265" y="73"/>
                      </a:lnTo>
                      <a:lnTo>
                        <a:pt x="266" y="73"/>
                      </a:lnTo>
                      <a:lnTo>
                        <a:pt x="266" y="72"/>
                      </a:lnTo>
                      <a:lnTo>
                        <a:pt x="266" y="72"/>
                      </a:lnTo>
                      <a:lnTo>
                        <a:pt x="266" y="72"/>
                      </a:lnTo>
                      <a:lnTo>
                        <a:pt x="266" y="72"/>
                      </a:lnTo>
                      <a:lnTo>
                        <a:pt x="266" y="71"/>
                      </a:lnTo>
                      <a:lnTo>
                        <a:pt x="265" y="71"/>
                      </a:lnTo>
                      <a:lnTo>
                        <a:pt x="266" y="71"/>
                      </a:lnTo>
                      <a:lnTo>
                        <a:pt x="266" y="71"/>
                      </a:lnTo>
                      <a:lnTo>
                        <a:pt x="266" y="72"/>
                      </a:lnTo>
                      <a:lnTo>
                        <a:pt x="267" y="72"/>
                      </a:lnTo>
                      <a:lnTo>
                        <a:pt x="267" y="72"/>
                      </a:lnTo>
                      <a:lnTo>
                        <a:pt x="268" y="72"/>
                      </a:lnTo>
                      <a:lnTo>
                        <a:pt x="268" y="71"/>
                      </a:lnTo>
                      <a:lnTo>
                        <a:pt x="268" y="72"/>
                      </a:lnTo>
                      <a:lnTo>
                        <a:pt x="267" y="72"/>
                      </a:lnTo>
                      <a:lnTo>
                        <a:pt x="267" y="72"/>
                      </a:lnTo>
                      <a:lnTo>
                        <a:pt x="266" y="71"/>
                      </a:lnTo>
                      <a:lnTo>
                        <a:pt x="267" y="71"/>
                      </a:lnTo>
                      <a:lnTo>
                        <a:pt x="266" y="71"/>
                      </a:lnTo>
                      <a:lnTo>
                        <a:pt x="266" y="70"/>
                      </a:lnTo>
                      <a:lnTo>
                        <a:pt x="266" y="71"/>
                      </a:lnTo>
                      <a:lnTo>
                        <a:pt x="267" y="70"/>
                      </a:lnTo>
                      <a:lnTo>
                        <a:pt x="267" y="71"/>
                      </a:lnTo>
                      <a:lnTo>
                        <a:pt x="267" y="70"/>
                      </a:lnTo>
                      <a:lnTo>
                        <a:pt x="267" y="70"/>
                      </a:lnTo>
                      <a:lnTo>
                        <a:pt x="267" y="70"/>
                      </a:lnTo>
                      <a:lnTo>
                        <a:pt x="267" y="70"/>
                      </a:lnTo>
                      <a:lnTo>
                        <a:pt x="267" y="70"/>
                      </a:lnTo>
                      <a:lnTo>
                        <a:pt x="266" y="70"/>
                      </a:lnTo>
                      <a:lnTo>
                        <a:pt x="267" y="70"/>
                      </a:lnTo>
                      <a:lnTo>
                        <a:pt x="266" y="70"/>
                      </a:lnTo>
                      <a:lnTo>
                        <a:pt x="266" y="70"/>
                      </a:lnTo>
                      <a:lnTo>
                        <a:pt x="266" y="70"/>
                      </a:lnTo>
                      <a:lnTo>
                        <a:pt x="267" y="70"/>
                      </a:lnTo>
                      <a:lnTo>
                        <a:pt x="267" y="70"/>
                      </a:lnTo>
                      <a:lnTo>
                        <a:pt x="267" y="69"/>
                      </a:lnTo>
                      <a:lnTo>
                        <a:pt x="268" y="70"/>
                      </a:lnTo>
                      <a:lnTo>
                        <a:pt x="268" y="69"/>
                      </a:lnTo>
                      <a:lnTo>
                        <a:pt x="267" y="69"/>
                      </a:lnTo>
                      <a:lnTo>
                        <a:pt x="268" y="69"/>
                      </a:lnTo>
                      <a:lnTo>
                        <a:pt x="268" y="68"/>
                      </a:lnTo>
                      <a:lnTo>
                        <a:pt x="268" y="68"/>
                      </a:lnTo>
                      <a:lnTo>
                        <a:pt x="268" y="68"/>
                      </a:lnTo>
                      <a:lnTo>
                        <a:pt x="269" y="68"/>
                      </a:lnTo>
                      <a:lnTo>
                        <a:pt x="269" y="68"/>
                      </a:lnTo>
                      <a:lnTo>
                        <a:pt x="270" y="68"/>
                      </a:lnTo>
                      <a:lnTo>
                        <a:pt x="270" y="68"/>
                      </a:lnTo>
                      <a:lnTo>
                        <a:pt x="270" y="68"/>
                      </a:lnTo>
                      <a:lnTo>
                        <a:pt x="270" y="68"/>
                      </a:lnTo>
                      <a:lnTo>
                        <a:pt x="271" y="68"/>
                      </a:lnTo>
                      <a:lnTo>
                        <a:pt x="271" y="68"/>
                      </a:lnTo>
                      <a:lnTo>
                        <a:pt x="271" y="68"/>
                      </a:lnTo>
                      <a:lnTo>
                        <a:pt x="271" y="68"/>
                      </a:lnTo>
                      <a:lnTo>
                        <a:pt x="271" y="68"/>
                      </a:lnTo>
                      <a:lnTo>
                        <a:pt x="270" y="68"/>
                      </a:lnTo>
                      <a:lnTo>
                        <a:pt x="270" y="68"/>
                      </a:lnTo>
                      <a:lnTo>
                        <a:pt x="270" y="68"/>
                      </a:lnTo>
                      <a:lnTo>
                        <a:pt x="269" y="68"/>
                      </a:lnTo>
                      <a:lnTo>
                        <a:pt x="268" y="68"/>
                      </a:lnTo>
                      <a:lnTo>
                        <a:pt x="268" y="68"/>
                      </a:lnTo>
                      <a:lnTo>
                        <a:pt x="268" y="68"/>
                      </a:lnTo>
                      <a:lnTo>
                        <a:pt x="267" y="68"/>
                      </a:lnTo>
                      <a:lnTo>
                        <a:pt x="267" y="68"/>
                      </a:lnTo>
                      <a:lnTo>
                        <a:pt x="266" y="68"/>
                      </a:lnTo>
                      <a:lnTo>
                        <a:pt x="267" y="68"/>
                      </a:lnTo>
                      <a:lnTo>
                        <a:pt x="266" y="68"/>
                      </a:lnTo>
                      <a:lnTo>
                        <a:pt x="267" y="68"/>
                      </a:lnTo>
                      <a:lnTo>
                        <a:pt x="267" y="68"/>
                      </a:lnTo>
                      <a:lnTo>
                        <a:pt x="267" y="68"/>
                      </a:lnTo>
                      <a:lnTo>
                        <a:pt x="267" y="67"/>
                      </a:lnTo>
                      <a:lnTo>
                        <a:pt x="267" y="68"/>
                      </a:lnTo>
                      <a:lnTo>
                        <a:pt x="267" y="67"/>
                      </a:lnTo>
                      <a:lnTo>
                        <a:pt x="267" y="68"/>
                      </a:lnTo>
                      <a:lnTo>
                        <a:pt x="267" y="67"/>
                      </a:lnTo>
                      <a:lnTo>
                        <a:pt x="267" y="67"/>
                      </a:lnTo>
                      <a:lnTo>
                        <a:pt x="268" y="67"/>
                      </a:lnTo>
                      <a:lnTo>
                        <a:pt x="267" y="67"/>
                      </a:lnTo>
                      <a:lnTo>
                        <a:pt x="268" y="67"/>
                      </a:lnTo>
                      <a:lnTo>
                        <a:pt x="268" y="67"/>
                      </a:lnTo>
                      <a:lnTo>
                        <a:pt x="269" y="67"/>
                      </a:lnTo>
                      <a:lnTo>
                        <a:pt x="269" y="67"/>
                      </a:lnTo>
                      <a:lnTo>
                        <a:pt x="270" y="67"/>
                      </a:lnTo>
                      <a:lnTo>
                        <a:pt x="270" y="67"/>
                      </a:lnTo>
                      <a:lnTo>
                        <a:pt x="271" y="67"/>
                      </a:lnTo>
                      <a:lnTo>
                        <a:pt x="270" y="67"/>
                      </a:lnTo>
                      <a:lnTo>
                        <a:pt x="271" y="67"/>
                      </a:lnTo>
                      <a:lnTo>
                        <a:pt x="270" y="67"/>
                      </a:lnTo>
                      <a:lnTo>
                        <a:pt x="270" y="67"/>
                      </a:lnTo>
                      <a:lnTo>
                        <a:pt x="270" y="67"/>
                      </a:lnTo>
                      <a:lnTo>
                        <a:pt x="269" y="67"/>
                      </a:lnTo>
                      <a:lnTo>
                        <a:pt x="268" y="67"/>
                      </a:lnTo>
                      <a:lnTo>
                        <a:pt x="268" y="67"/>
                      </a:lnTo>
                      <a:lnTo>
                        <a:pt x="267" y="67"/>
                      </a:lnTo>
                      <a:lnTo>
                        <a:pt x="267" y="67"/>
                      </a:lnTo>
                      <a:lnTo>
                        <a:pt x="267" y="67"/>
                      </a:lnTo>
                      <a:lnTo>
                        <a:pt x="267" y="67"/>
                      </a:lnTo>
                      <a:lnTo>
                        <a:pt x="267" y="67"/>
                      </a:lnTo>
                      <a:lnTo>
                        <a:pt x="266" y="67"/>
                      </a:lnTo>
                      <a:lnTo>
                        <a:pt x="266" y="67"/>
                      </a:lnTo>
                      <a:lnTo>
                        <a:pt x="266" y="67"/>
                      </a:lnTo>
                      <a:lnTo>
                        <a:pt x="266" y="67"/>
                      </a:lnTo>
                      <a:lnTo>
                        <a:pt x="265" y="67"/>
                      </a:lnTo>
                      <a:lnTo>
                        <a:pt x="264" y="67"/>
                      </a:lnTo>
                      <a:lnTo>
                        <a:pt x="264" y="66"/>
                      </a:lnTo>
                      <a:lnTo>
                        <a:pt x="264" y="66"/>
                      </a:lnTo>
                      <a:lnTo>
                        <a:pt x="264" y="65"/>
                      </a:lnTo>
                      <a:lnTo>
                        <a:pt x="264" y="66"/>
                      </a:lnTo>
                      <a:lnTo>
                        <a:pt x="264" y="66"/>
                      </a:lnTo>
                      <a:lnTo>
                        <a:pt x="264" y="66"/>
                      </a:lnTo>
                      <a:lnTo>
                        <a:pt x="264" y="65"/>
                      </a:lnTo>
                      <a:lnTo>
                        <a:pt x="264" y="65"/>
                      </a:lnTo>
                      <a:lnTo>
                        <a:pt x="265" y="65"/>
                      </a:lnTo>
                      <a:lnTo>
                        <a:pt x="265" y="64"/>
                      </a:lnTo>
                      <a:lnTo>
                        <a:pt x="266" y="64"/>
                      </a:lnTo>
                      <a:lnTo>
                        <a:pt x="266" y="64"/>
                      </a:lnTo>
                      <a:lnTo>
                        <a:pt x="266" y="64"/>
                      </a:lnTo>
                      <a:lnTo>
                        <a:pt x="267" y="64"/>
                      </a:lnTo>
                      <a:lnTo>
                        <a:pt x="267" y="64"/>
                      </a:lnTo>
                      <a:lnTo>
                        <a:pt x="267" y="63"/>
                      </a:lnTo>
                      <a:lnTo>
                        <a:pt x="268" y="63"/>
                      </a:lnTo>
                      <a:lnTo>
                        <a:pt x="268" y="63"/>
                      </a:lnTo>
                      <a:lnTo>
                        <a:pt x="269" y="63"/>
                      </a:lnTo>
                      <a:lnTo>
                        <a:pt x="270" y="63"/>
                      </a:lnTo>
                      <a:lnTo>
                        <a:pt x="270" y="63"/>
                      </a:lnTo>
                      <a:lnTo>
                        <a:pt x="270" y="64"/>
                      </a:lnTo>
                      <a:lnTo>
                        <a:pt x="271" y="64"/>
                      </a:lnTo>
                      <a:lnTo>
                        <a:pt x="271" y="64"/>
                      </a:lnTo>
                      <a:lnTo>
                        <a:pt x="271" y="64"/>
                      </a:lnTo>
                      <a:lnTo>
                        <a:pt x="271" y="64"/>
                      </a:lnTo>
                      <a:lnTo>
                        <a:pt x="272" y="64"/>
                      </a:lnTo>
                      <a:lnTo>
                        <a:pt x="272" y="64"/>
                      </a:lnTo>
                      <a:lnTo>
                        <a:pt x="273" y="64"/>
                      </a:lnTo>
                      <a:lnTo>
                        <a:pt x="274" y="63"/>
                      </a:lnTo>
                      <a:lnTo>
                        <a:pt x="273" y="63"/>
                      </a:lnTo>
                      <a:lnTo>
                        <a:pt x="273" y="64"/>
                      </a:lnTo>
                      <a:lnTo>
                        <a:pt x="273" y="63"/>
                      </a:lnTo>
                      <a:lnTo>
                        <a:pt x="273" y="64"/>
                      </a:lnTo>
                      <a:lnTo>
                        <a:pt x="272" y="64"/>
                      </a:lnTo>
                      <a:lnTo>
                        <a:pt x="272" y="64"/>
                      </a:lnTo>
                      <a:lnTo>
                        <a:pt x="272" y="64"/>
                      </a:lnTo>
                      <a:lnTo>
                        <a:pt x="272" y="64"/>
                      </a:lnTo>
                      <a:lnTo>
                        <a:pt x="272" y="63"/>
                      </a:lnTo>
                      <a:lnTo>
                        <a:pt x="271" y="63"/>
                      </a:lnTo>
                      <a:lnTo>
                        <a:pt x="271" y="63"/>
                      </a:lnTo>
                      <a:lnTo>
                        <a:pt x="271" y="63"/>
                      </a:lnTo>
                      <a:lnTo>
                        <a:pt x="272" y="63"/>
                      </a:lnTo>
                      <a:lnTo>
                        <a:pt x="271" y="63"/>
                      </a:lnTo>
                      <a:lnTo>
                        <a:pt x="271" y="63"/>
                      </a:lnTo>
                      <a:lnTo>
                        <a:pt x="270" y="63"/>
                      </a:lnTo>
                      <a:lnTo>
                        <a:pt x="270" y="63"/>
                      </a:lnTo>
                      <a:lnTo>
                        <a:pt x="270" y="63"/>
                      </a:lnTo>
                      <a:lnTo>
                        <a:pt x="269" y="63"/>
                      </a:lnTo>
                      <a:lnTo>
                        <a:pt x="270" y="63"/>
                      </a:lnTo>
                      <a:lnTo>
                        <a:pt x="270" y="62"/>
                      </a:lnTo>
                      <a:lnTo>
                        <a:pt x="270" y="62"/>
                      </a:lnTo>
                      <a:lnTo>
                        <a:pt x="270" y="61"/>
                      </a:lnTo>
                      <a:lnTo>
                        <a:pt x="271" y="61"/>
                      </a:lnTo>
                      <a:lnTo>
                        <a:pt x="271" y="62"/>
                      </a:lnTo>
                      <a:lnTo>
                        <a:pt x="271" y="62"/>
                      </a:lnTo>
                      <a:lnTo>
                        <a:pt x="272" y="62"/>
                      </a:lnTo>
                      <a:lnTo>
                        <a:pt x="272" y="61"/>
                      </a:lnTo>
                      <a:lnTo>
                        <a:pt x="271" y="61"/>
                      </a:lnTo>
                      <a:lnTo>
                        <a:pt x="271" y="61"/>
                      </a:lnTo>
                      <a:lnTo>
                        <a:pt x="271" y="61"/>
                      </a:lnTo>
                      <a:lnTo>
                        <a:pt x="271" y="61"/>
                      </a:lnTo>
                      <a:lnTo>
                        <a:pt x="271" y="61"/>
                      </a:lnTo>
                      <a:lnTo>
                        <a:pt x="271" y="61"/>
                      </a:lnTo>
                      <a:lnTo>
                        <a:pt x="271" y="61"/>
                      </a:lnTo>
                      <a:lnTo>
                        <a:pt x="270" y="61"/>
                      </a:lnTo>
                      <a:lnTo>
                        <a:pt x="270" y="60"/>
                      </a:lnTo>
                      <a:lnTo>
                        <a:pt x="270" y="60"/>
                      </a:lnTo>
                      <a:lnTo>
                        <a:pt x="270" y="60"/>
                      </a:lnTo>
                      <a:lnTo>
                        <a:pt x="270" y="60"/>
                      </a:lnTo>
                      <a:lnTo>
                        <a:pt x="271" y="60"/>
                      </a:lnTo>
                      <a:lnTo>
                        <a:pt x="271" y="59"/>
                      </a:lnTo>
                      <a:lnTo>
                        <a:pt x="271" y="59"/>
                      </a:lnTo>
                      <a:lnTo>
                        <a:pt x="271" y="59"/>
                      </a:lnTo>
                      <a:lnTo>
                        <a:pt x="272" y="59"/>
                      </a:lnTo>
                      <a:lnTo>
                        <a:pt x="272" y="58"/>
                      </a:lnTo>
                      <a:lnTo>
                        <a:pt x="272" y="58"/>
                      </a:lnTo>
                      <a:lnTo>
                        <a:pt x="272" y="59"/>
                      </a:lnTo>
                      <a:lnTo>
                        <a:pt x="272" y="58"/>
                      </a:lnTo>
                      <a:lnTo>
                        <a:pt x="272" y="59"/>
                      </a:lnTo>
                      <a:lnTo>
                        <a:pt x="273" y="59"/>
                      </a:lnTo>
                      <a:lnTo>
                        <a:pt x="274" y="59"/>
                      </a:lnTo>
                      <a:lnTo>
                        <a:pt x="274" y="58"/>
                      </a:lnTo>
                      <a:lnTo>
                        <a:pt x="274" y="58"/>
                      </a:lnTo>
                      <a:lnTo>
                        <a:pt x="274" y="57"/>
                      </a:lnTo>
                      <a:lnTo>
                        <a:pt x="275" y="57"/>
                      </a:lnTo>
                      <a:lnTo>
                        <a:pt x="275" y="57"/>
                      </a:lnTo>
                      <a:lnTo>
                        <a:pt x="276" y="57"/>
                      </a:lnTo>
                      <a:lnTo>
                        <a:pt x="275" y="57"/>
                      </a:lnTo>
                      <a:lnTo>
                        <a:pt x="276" y="57"/>
                      </a:lnTo>
                      <a:lnTo>
                        <a:pt x="276" y="57"/>
                      </a:lnTo>
                      <a:lnTo>
                        <a:pt x="277" y="57"/>
                      </a:lnTo>
                      <a:lnTo>
                        <a:pt x="276" y="57"/>
                      </a:lnTo>
                      <a:lnTo>
                        <a:pt x="277" y="57"/>
                      </a:lnTo>
                      <a:lnTo>
                        <a:pt x="276" y="57"/>
                      </a:lnTo>
                      <a:lnTo>
                        <a:pt x="276" y="58"/>
                      </a:lnTo>
                      <a:lnTo>
                        <a:pt x="277" y="58"/>
                      </a:lnTo>
                      <a:lnTo>
                        <a:pt x="278" y="58"/>
                      </a:lnTo>
                      <a:lnTo>
                        <a:pt x="278" y="58"/>
                      </a:lnTo>
                      <a:lnTo>
                        <a:pt x="279" y="58"/>
                      </a:lnTo>
                      <a:lnTo>
                        <a:pt x="279" y="57"/>
                      </a:lnTo>
                      <a:lnTo>
                        <a:pt x="279" y="57"/>
                      </a:lnTo>
                      <a:lnTo>
                        <a:pt x="280" y="57"/>
                      </a:lnTo>
                      <a:lnTo>
                        <a:pt x="281" y="57"/>
                      </a:lnTo>
                      <a:lnTo>
                        <a:pt x="280" y="57"/>
                      </a:lnTo>
                      <a:lnTo>
                        <a:pt x="281" y="57"/>
                      </a:lnTo>
                      <a:lnTo>
                        <a:pt x="281" y="58"/>
                      </a:lnTo>
                      <a:lnTo>
                        <a:pt x="281" y="57"/>
                      </a:lnTo>
                      <a:lnTo>
                        <a:pt x="281" y="58"/>
                      </a:lnTo>
                      <a:lnTo>
                        <a:pt x="281" y="57"/>
                      </a:lnTo>
                      <a:lnTo>
                        <a:pt x="281" y="58"/>
                      </a:lnTo>
                      <a:lnTo>
                        <a:pt x="281" y="57"/>
                      </a:lnTo>
                      <a:lnTo>
                        <a:pt x="281" y="57"/>
                      </a:lnTo>
                      <a:lnTo>
                        <a:pt x="281" y="57"/>
                      </a:lnTo>
                      <a:lnTo>
                        <a:pt x="280" y="57"/>
                      </a:lnTo>
                      <a:lnTo>
                        <a:pt x="280" y="57"/>
                      </a:lnTo>
                      <a:lnTo>
                        <a:pt x="280" y="57"/>
                      </a:lnTo>
                      <a:lnTo>
                        <a:pt x="280" y="57"/>
                      </a:lnTo>
                      <a:lnTo>
                        <a:pt x="281" y="57"/>
                      </a:lnTo>
                      <a:lnTo>
                        <a:pt x="281" y="56"/>
                      </a:lnTo>
                      <a:lnTo>
                        <a:pt x="281" y="56"/>
                      </a:lnTo>
                      <a:lnTo>
                        <a:pt x="282" y="56"/>
                      </a:lnTo>
                      <a:lnTo>
                        <a:pt x="282" y="56"/>
                      </a:lnTo>
                      <a:lnTo>
                        <a:pt x="283" y="56"/>
                      </a:lnTo>
                      <a:lnTo>
                        <a:pt x="283" y="57"/>
                      </a:lnTo>
                      <a:lnTo>
                        <a:pt x="283" y="56"/>
                      </a:lnTo>
                      <a:lnTo>
                        <a:pt x="282" y="56"/>
                      </a:lnTo>
                      <a:lnTo>
                        <a:pt x="282" y="56"/>
                      </a:lnTo>
                      <a:lnTo>
                        <a:pt x="282" y="56"/>
                      </a:lnTo>
                      <a:lnTo>
                        <a:pt x="282" y="56"/>
                      </a:lnTo>
                      <a:lnTo>
                        <a:pt x="283" y="56"/>
                      </a:lnTo>
                      <a:lnTo>
                        <a:pt x="283" y="56"/>
                      </a:lnTo>
                      <a:lnTo>
                        <a:pt x="284" y="56"/>
                      </a:lnTo>
                      <a:lnTo>
                        <a:pt x="284" y="55"/>
                      </a:lnTo>
                      <a:lnTo>
                        <a:pt x="284" y="56"/>
                      </a:lnTo>
                      <a:lnTo>
                        <a:pt x="285" y="56"/>
                      </a:lnTo>
                      <a:lnTo>
                        <a:pt x="285" y="56"/>
                      </a:lnTo>
                      <a:lnTo>
                        <a:pt x="286" y="56"/>
                      </a:lnTo>
                      <a:lnTo>
                        <a:pt x="286" y="56"/>
                      </a:lnTo>
                      <a:lnTo>
                        <a:pt x="287" y="56"/>
                      </a:lnTo>
                      <a:lnTo>
                        <a:pt x="287" y="57"/>
                      </a:lnTo>
                      <a:lnTo>
                        <a:pt x="287" y="57"/>
                      </a:lnTo>
                      <a:lnTo>
                        <a:pt x="288" y="57"/>
                      </a:lnTo>
                      <a:lnTo>
                        <a:pt x="289" y="57"/>
                      </a:lnTo>
                      <a:lnTo>
                        <a:pt x="289" y="57"/>
                      </a:lnTo>
                      <a:lnTo>
                        <a:pt x="289" y="57"/>
                      </a:lnTo>
                      <a:lnTo>
                        <a:pt x="289" y="57"/>
                      </a:lnTo>
                      <a:lnTo>
                        <a:pt x="290" y="57"/>
                      </a:lnTo>
                      <a:lnTo>
                        <a:pt x="290" y="57"/>
                      </a:lnTo>
                      <a:lnTo>
                        <a:pt x="291" y="57"/>
                      </a:lnTo>
                      <a:lnTo>
                        <a:pt x="291" y="57"/>
                      </a:lnTo>
                      <a:lnTo>
                        <a:pt x="292" y="57"/>
                      </a:lnTo>
                      <a:lnTo>
                        <a:pt x="291" y="57"/>
                      </a:lnTo>
                      <a:lnTo>
                        <a:pt x="292" y="57"/>
                      </a:lnTo>
                      <a:lnTo>
                        <a:pt x="292" y="58"/>
                      </a:lnTo>
                      <a:lnTo>
                        <a:pt x="292" y="57"/>
                      </a:lnTo>
                      <a:lnTo>
                        <a:pt x="292" y="58"/>
                      </a:lnTo>
                      <a:lnTo>
                        <a:pt x="292" y="57"/>
                      </a:lnTo>
                      <a:lnTo>
                        <a:pt x="292" y="58"/>
                      </a:lnTo>
                      <a:lnTo>
                        <a:pt x="292" y="57"/>
                      </a:lnTo>
                      <a:lnTo>
                        <a:pt x="292" y="58"/>
                      </a:lnTo>
                      <a:lnTo>
                        <a:pt x="293" y="58"/>
                      </a:lnTo>
                      <a:lnTo>
                        <a:pt x="292" y="58"/>
                      </a:lnTo>
                      <a:lnTo>
                        <a:pt x="293" y="58"/>
                      </a:lnTo>
                      <a:lnTo>
                        <a:pt x="292" y="58"/>
                      </a:lnTo>
                      <a:lnTo>
                        <a:pt x="293" y="58"/>
                      </a:lnTo>
                      <a:lnTo>
                        <a:pt x="293" y="58"/>
                      </a:lnTo>
                      <a:lnTo>
                        <a:pt x="294" y="58"/>
                      </a:lnTo>
                      <a:lnTo>
                        <a:pt x="294" y="58"/>
                      </a:lnTo>
                      <a:lnTo>
                        <a:pt x="295" y="58"/>
                      </a:lnTo>
                      <a:lnTo>
                        <a:pt x="296" y="59"/>
                      </a:lnTo>
                      <a:lnTo>
                        <a:pt x="296" y="59"/>
                      </a:lnTo>
                      <a:lnTo>
                        <a:pt x="297" y="59"/>
                      </a:lnTo>
                      <a:lnTo>
                        <a:pt x="297" y="59"/>
                      </a:lnTo>
                      <a:lnTo>
                        <a:pt x="297" y="59"/>
                      </a:lnTo>
                      <a:lnTo>
                        <a:pt x="297" y="60"/>
                      </a:lnTo>
                      <a:lnTo>
                        <a:pt x="297" y="60"/>
                      </a:lnTo>
                      <a:lnTo>
                        <a:pt x="297" y="60"/>
                      </a:lnTo>
                      <a:lnTo>
                        <a:pt x="296" y="60"/>
                      </a:lnTo>
                      <a:lnTo>
                        <a:pt x="296" y="60"/>
                      </a:lnTo>
                      <a:lnTo>
                        <a:pt x="295" y="60"/>
                      </a:lnTo>
                      <a:lnTo>
                        <a:pt x="294" y="60"/>
                      </a:lnTo>
                      <a:lnTo>
                        <a:pt x="294" y="61"/>
                      </a:lnTo>
                      <a:lnTo>
                        <a:pt x="294" y="61"/>
                      </a:lnTo>
                      <a:lnTo>
                        <a:pt x="293" y="61"/>
                      </a:lnTo>
                      <a:lnTo>
                        <a:pt x="294" y="61"/>
                      </a:lnTo>
                      <a:lnTo>
                        <a:pt x="293" y="61"/>
                      </a:lnTo>
                      <a:lnTo>
                        <a:pt x="293" y="61"/>
                      </a:lnTo>
                      <a:lnTo>
                        <a:pt x="292" y="61"/>
                      </a:lnTo>
                      <a:lnTo>
                        <a:pt x="292" y="61"/>
                      </a:lnTo>
                      <a:lnTo>
                        <a:pt x="292" y="61"/>
                      </a:lnTo>
                      <a:lnTo>
                        <a:pt x="293" y="61"/>
                      </a:lnTo>
                      <a:lnTo>
                        <a:pt x="293" y="61"/>
                      </a:lnTo>
                      <a:lnTo>
                        <a:pt x="294" y="61"/>
                      </a:lnTo>
                      <a:lnTo>
                        <a:pt x="294" y="61"/>
                      </a:lnTo>
                      <a:lnTo>
                        <a:pt x="295" y="61"/>
                      </a:lnTo>
                      <a:lnTo>
                        <a:pt x="296" y="61"/>
                      </a:lnTo>
                      <a:lnTo>
                        <a:pt x="296" y="61"/>
                      </a:lnTo>
                      <a:lnTo>
                        <a:pt x="296" y="61"/>
                      </a:lnTo>
                      <a:lnTo>
                        <a:pt x="295" y="62"/>
                      </a:lnTo>
                      <a:lnTo>
                        <a:pt x="294" y="62"/>
                      </a:lnTo>
                      <a:lnTo>
                        <a:pt x="294" y="62"/>
                      </a:lnTo>
                      <a:lnTo>
                        <a:pt x="293" y="62"/>
                      </a:lnTo>
                      <a:lnTo>
                        <a:pt x="293" y="62"/>
                      </a:lnTo>
                      <a:lnTo>
                        <a:pt x="292" y="62"/>
                      </a:lnTo>
                      <a:lnTo>
                        <a:pt x="292" y="63"/>
                      </a:lnTo>
                      <a:lnTo>
                        <a:pt x="292" y="63"/>
                      </a:lnTo>
                      <a:lnTo>
                        <a:pt x="291" y="63"/>
                      </a:lnTo>
                      <a:lnTo>
                        <a:pt x="290" y="63"/>
                      </a:lnTo>
                      <a:lnTo>
                        <a:pt x="290" y="63"/>
                      </a:lnTo>
                      <a:lnTo>
                        <a:pt x="289" y="63"/>
                      </a:lnTo>
                      <a:lnTo>
                        <a:pt x="290" y="63"/>
                      </a:lnTo>
                      <a:lnTo>
                        <a:pt x="290" y="63"/>
                      </a:lnTo>
                      <a:lnTo>
                        <a:pt x="291" y="63"/>
                      </a:lnTo>
                      <a:lnTo>
                        <a:pt x="292" y="63"/>
                      </a:lnTo>
                      <a:lnTo>
                        <a:pt x="292" y="63"/>
                      </a:lnTo>
                      <a:lnTo>
                        <a:pt x="293" y="63"/>
                      </a:lnTo>
                      <a:lnTo>
                        <a:pt x="293" y="63"/>
                      </a:lnTo>
                      <a:lnTo>
                        <a:pt x="294" y="63"/>
                      </a:lnTo>
                      <a:lnTo>
                        <a:pt x="294" y="63"/>
                      </a:lnTo>
                      <a:lnTo>
                        <a:pt x="295" y="63"/>
                      </a:lnTo>
                      <a:lnTo>
                        <a:pt x="294" y="63"/>
                      </a:lnTo>
                      <a:lnTo>
                        <a:pt x="294" y="63"/>
                      </a:lnTo>
                      <a:lnTo>
                        <a:pt x="294" y="64"/>
                      </a:lnTo>
                      <a:lnTo>
                        <a:pt x="294" y="64"/>
                      </a:lnTo>
                      <a:lnTo>
                        <a:pt x="294" y="64"/>
                      </a:lnTo>
                      <a:lnTo>
                        <a:pt x="294" y="65"/>
                      </a:lnTo>
                      <a:lnTo>
                        <a:pt x="293" y="65"/>
                      </a:lnTo>
                      <a:lnTo>
                        <a:pt x="293" y="65"/>
                      </a:lnTo>
                      <a:lnTo>
                        <a:pt x="292" y="65"/>
                      </a:lnTo>
                      <a:lnTo>
                        <a:pt x="293" y="65"/>
                      </a:lnTo>
                      <a:lnTo>
                        <a:pt x="292" y="65"/>
                      </a:lnTo>
                      <a:lnTo>
                        <a:pt x="292" y="65"/>
                      </a:lnTo>
                      <a:close/>
                      <a:moveTo>
                        <a:pt x="298" y="52"/>
                      </a:moveTo>
                      <a:lnTo>
                        <a:pt x="298" y="51"/>
                      </a:lnTo>
                      <a:lnTo>
                        <a:pt x="298" y="52"/>
                      </a:lnTo>
                      <a:close/>
                      <a:moveTo>
                        <a:pt x="313" y="41"/>
                      </a:moveTo>
                      <a:lnTo>
                        <a:pt x="313" y="40"/>
                      </a:lnTo>
                      <a:lnTo>
                        <a:pt x="313" y="41"/>
                      </a:lnTo>
                      <a:lnTo>
                        <a:pt x="314" y="41"/>
                      </a:lnTo>
                      <a:lnTo>
                        <a:pt x="313" y="41"/>
                      </a:lnTo>
                      <a:close/>
                      <a:moveTo>
                        <a:pt x="397" y="4"/>
                      </a:moveTo>
                      <a:lnTo>
                        <a:pt x="397" y="4"/>
                      </a:lnTo>
                      <a:lnTo>
                        <a:pt x="397" y="4"/>
                      </a:lnTo>
                      <a:lnTo>
                        <a:pt x="397" y="4"/>
                      </a:lnTo>
                      <a:lnTo>
                        <a:pt x="397" y="4"/>
                      </a:lnTo>
                      <a:lnTo>
                        <a:pt x="397" y="5"/>
                      </a:lnTo>
                      <a:lnTo>
                        <a:pt x="397" y="4"/>
                      </a:lnTo>
                      <a:lnTo>
                        <a:pt x="397" y="5"/>
                      </a:lnTo>
                      <a:lnTo>
                        <a:pt x="397" y="5"/>
                      </a:lnTo>
                      <a:lnTo>
                        <a:pt x="397" y="5"/>
                      </a:lnTo>
                      <a:lnTo>
                        <a:pt x="397" y="5"/>
                      </a:lnTo>
                      <a:lnTo>
                        <a:pt x="396" y="5"/>
                      </a:lnTo>
                      <a:lnTo>
                        <a:pt x="396" y="6"/>
                      </a:lnTo>
                      <a:lnTo>
                        <a:pt x="396" y="5"/>
                      </a:lnTo>
                      <a:lnTo>
                        <a:pt x="396" y="6"/>
                      </a:lnTo>
                      <a:lnTo>
                        <a:pt x="395" y="6"/>
                      </a:lnTo>
                      <a:lnTo>
                        <a:pt x="395" y="6"/>
                      </a:lnTo>
                      <a:lnTo>
                        <a:pt x="395" y="6"/>
                      </a:lnTo>
                      <a:lnTo>
                        <a:pt x="395" y="6"/>
                      </a:lnTo>
                      <a:lnTo>
                        <a:pt x="395" y="7"/>
                      </a:lnTo>
                      <a:lnTo>
                        <a:pt x="396" y="7"/>
                      </a:lnTo>
                      <a:lnTo>
                        <a:pt x="395" y="7"/>
                      </a:lnTo>
                      <a:lnTo>
                        <a:pt x="396" y="7"/>
                      </a:lnTo>
                      <a:lnTo>
                        <a:pt x="397" y="7"/>
                      </a:lnTo>
                      <a:lnTo>
                        <a:pt x="396" y="7"/>
                      </a:lnTo>
                      <a:lnTo>
                        <a:pt x="397" y="7"/>
                      </a:lnTo>
                      <a:lnTo>
                        <a:pt x="397" y="8"/>
                      </a:lnTo>
                      <a:lnTo>
                        <a:pt x="396" y="8"/>
                      </a:lnTo>
                      <a:lnTo>
                        <a:pt x="395" y="8"/>
                      </a:lnTo>
                      <a:lnTo>
                        <a:pt x="395" y="8"/>
                      </a:lnTo>
                      <a:lnTo>
                        <a:pt x="395" y="8"/>
                      </a:lnTo>
                      <a:lnTo>
                        <a:pt x="395" y="8"/>
                      </a:lnTo>
                      <a:lnTo>
                        <a:pt x="395" y="8"/>
                      </a:lnTo>
                      <a:lnTo>
                        <a:pt x="394" y="8"/>
                      </a:lnTo>
                      <a:lnTo>
                        <a:pt x="395" y="8"/>
                      </a:lnTo>
                      <a:lnTo>
                        <a:pt x="394" y="8"/>
                      </a:lnTo>
                      <a:lnTo>
                        <a:pt x="395" y="8"/>
                      </a:lnTo>
                      <a:lnTo>
                        <a:pt x="394" y="9"/>
                      </a:lnTo>
                      <a:lnTo>
                        <a:pt x="394" y="9"/>
                      </a:lnTo>
                      <a:lnTo>
                        <a:pt x="394" y="9"/>
                      </a:lnTo>
                      <a:lnTo>
                        <a:pt x="394" y="9"/>
                      </a:lnTo>
                      <a:lnTo>
                        <a:pt x="393" y="9"/>
                      </a:lnTo>
                      <a:lnTo>
                        <a:pt x="393" y="9"/>
                      </a:lnTo>
                      <a:lnTo>
                        <a:pt x="393" y="10"/>
                      </a:lnTo>
                      <a:lnTo>
                        <a:pt x="393" y="11"/>
                      </a:lnTo>
                      <a:lnTo>
                        <a:pt x="392" y="11"/>
                      </a:lnTo>
                      <a:lnTo>
                        <a:pt x="391" y="11"/>
                      </a:lnTo>
                      <a:lnTo>
                        <a:pt x="392" y="11"/>
                      </a:lnTo>
                      <a:lnTo>
                        <a:pt x="392" y="11"/>
                      </a:lnTo>
                      <a:lnTo>
                        <a:pt x="391" y="11"/>
                      </a:lnTo>
                      <a:lnTo>
                        <a:pt x="391" y="11"/>
                      </a:lnTo>
                      <a:lnTo>
                        <a:pt x="391" y="11"/>
                      </a:lnTo>
                      <a:lnTo>
                        <a:pt x="390" y="11"/>
                      </a:lnTo>
                      <a:lnTo>
                        <a:pt x="391" y="11"/>
                      </a:lnTo>
                      <a:lnTo>
                        <a:pt x="390" y="11"/>
                      </a:lnTo>
                      <a:lnTo>
                        <a:pt x="391" y="11"/>
                      </a:lnTo>
                      <a:lnTo>
                        <a:pt x="391" y="12"/>
                      </a:lnTo>
                      <a:lnTo>
                        <a:pt x="391" y="12"/>
                      </a:lnTo>
                      <a:lnTo>
                        <a:pt x="391" y="12"/>
                      </a:lnTo>
                      <a:lnTo>
                        <a:pt x="390" y="12"/>
                      </a:lnTo>
                      <a:lnTo>
                        <a:pt x="390" y="12"/>
                      </a:lnTo>
                      <a:lnTo>
                        <a:pt x="390" y="12"/>
                      </a:lnTo>
                      <a:lnTo>
                        <a:pt x="390" y="12"/>
                      </a:lnTo>
                      <a:lnTo>
                        <a:pt x="389" y="12"/>
                      </a:lnTo>
                      <a:lnTo>
                        <a:pt x="389" y="12"/>
                      </a:lnTo>
                      <a:lnTo>
                        <a:pt x="389" y="12"/>
                      </a:lnTo>
                      <a:lnTo>
                        <a:pt x="389" y="12"/>
                      </a:lnTo>
                      <a:lnTo>
                        <a:pt x="389" y="12"/>
                      </a:lnTo>
                      <a:lnTo>
                        <a:pt x="388" y="12"/>
                      </a:lnTo>
                      <a:lnTo>
                        <a:pt x="387" y="12"/>
                      </a:lnTo>
                      <a:lnTo>
                        <a:pt x="387" y="13"/>
                      </a:lnTo>
                      <a:lnTo>
                        <a:pt x="387" y="13"/>
                      </a:lnTo>
                      <a:lnTo>
                        <a:pt x="386" y="13"/>
                      </a:lnTo>
                      <a:lnTo>
                        <a:pt x="387" y="13"/>
                      </a:lnTo>
                      <a:lnTo>
                        <a:pt x="386" y="13"/>
                      </a:lnTo>
                      <a:lnTo>
                        <a:pt x="386" y="13"/>
                      </a:lnTo>
                      <a:lnTo>
                        <a:pt x="386" y="13"/>
                      </a:lnTo>
                      <a:lnTo>
                        <a:pt x="385" y="13"/>
                      </a:lnTo>
                      <a:lnTo>
                        <a:pt x="385" y="13"/>
                      </a:lnTo>
                      <a:lnTo>
                        <a:pt x="384" y="13"/>
                      </a:lnTo>
                      <a:lnTo>
                        <a:pt x="383" y="14"/>
                      </a:lnTo>
                      <a:lnTo>
                        <a:pt x="383" y="14"/>
                      </a:lnTo>
                      <a:lnTo>
                        <a:pt x="383" y="14"/>
                      </a:lnTo>
                      <a:lnTo>
                        <a:pt x="383" y="14"/>
                      </a:lnTo>
                      <a:lnTo>
                        <a:pt x="382" y="15"/>
                      </a:lnTo>
                      <a:lnTo>
                        <a:pt x="382" y="15"/>
                      </a:lnTo>
                      <a:lnTo>
                        <a:pt x="381" y="15"/>
                      </a:lnTo>
                      <a:lnTo>
                        <a:pt x="380" y="15"/>
                      </a:lnTo>
                      <a:lnTo>
                        <a:pt x="380" y="15"/>
                      </a:lnTo>
                      <a:lnTo>
                        <a:pt x="379" y="15"/>
                      </a:lnTo>
                      <a:lnTo>
                        <a:pt x="379" y="15"/>
                      </a:lnTo>
                      <a:lnTo>
                        <a:pt x="378" y="15"/>
                      </a:lnTo>
                      <a:lnTo>
                        <a:pt x="378" y="15"/>
                      </a:lnTo>
                      <a:lnTo>
                        <a:pt x="378" y="16"/>
                      </a:lnTo>
                      <a:lnTo>
                        <a:pt x="377" y="16"/>
                      </a:lnTo>
                      <a:lnTo>
                        <a:pt x="376" y="16"/>
                      </a:lnTo>
                      <a:lnTo>
                        <a:pt x="377" y="16"/>
                      </a:lnTo>
                      <a:lnTo>
                        <a:pt x="376" y="16"/>
                      </a:lnTo>
                      <a:lnTo>
                        <a:pt x="377" y="16"/>
                      </a:lnTo>
                      <a:lnTo>
                        <a:pt x="376" y="16"/>
                      </a:lnTo>
                      <a:lnTo>
                        <a:pt x="376" y="16"/>
                      </a:lnTo>
                      <a:lnTo>
                        <a:pt x="375" y="16"/>
                      </a:lnTo>
                      <a:lnTo>
                        <a:pt x="375" y="16"/>
                      </a:lnTo>
                      <a:lnTo>
                        <a:pt x="375" y="16"/>
                      </a:lnTo>
                      <a:lnTo>
                        <a:pt x="375" y="16"/>
                      </a:lnTo>
                      <a:lnTo>
                        <a:pt x="375" y="16"/>
                      </a:lnTo>
                      <a:lnTo>
                        <a:pt x="374" y="16"/>
                      </a:lnTo>
                      <a:lnTo>
                        <a:pt x="374" y="17"/>
                      </a:lnTo>
                      <a:lnTo>
                        <a:pt x="374" y="17"/>
                      </a:lnTo>
                      <a:lnTo>
                        <a:pt x="373" y="17"/>
                      </a:lnTo>
                      <a:lnTo>
                        <a:pt x="372" y="17"/>
                      </a:lnTo>
                      <a:lnTo>
                        <a:pt x="372" y="17"/>
                      </a:lnTo>
                      <a:lnTo>
                        <a:pt x="371" y="17"/>
                      </a:lnTo>
                      <a:lnTo>
                        <a:pt x="371" y="17"/>
                      </a:lnTo>
                      <a:lnTo>
                        <a:pt x="371" y="17"/>
                      </a:lnTo>
                      <a:lnTo>
                        <a:pt x="370" y="17"/>
                      </a:lnTo>
                      <a:lnTo>
                        <a:pt x="369" y="17"/>
                      </a:lnTo>
                      <a:lnTo>
                        <a:pt x="369" y="17"/>
                      </a:lnTo>
                      <a:lnTo>
                        <a:pt x="368" y="18"/>
                      </a:lnTo>
                      <a:lnTo>
                        <a:pt x="368" y="18"/>
                      </a:lnTo>
                      <a:lnTo>
                        <a:pt x="367" y="18"/>
                      </a:lnTo>
                      <a:lnTo>
                        <a:pt x="367" y="19"/>
                      </a:lnTo>
                      <a:lnTo>
                        <a:pt x="366" y="19"/>
                      </a:lnTo>
                      <a:lnTo>
                        <a:pt x="366" y="19"/>
                      </a:lnTo>
                      <a:lnTo>
                        <a:pt x="366" y="19"/>
                      </a:lnTo>
                      <a:lnTo>
                        <a:pt x="365" y="19"/>
                      </a:lnTo>
                      <a:lnTo>
                        <a:pt x="365" y="19"/>
                      </a:lnTo>
                      <a:lnTo>
                        <a:pt x="365" y="19"/>
                      </a:lnTo>
                      <a:lnTo>
                        <a:pt x="364" y="19"/>
                      </a:lnTo>
                      <a:lnTo>
                        <a:pt x="364" y="19"/>
                      </a:lnTo>
                      <a:lnTo>
                        <a:pt x="363" y="19"/>
                      </a:lnTo>
                      <a:lnTo>
                        <a:pt x="363" y="19"/>
                      </a:lnTo>
                      <a:lnTo>
                        <a:pt x="363" y="20"/>
                      </a:lnTo>
                      <a:lnTo>
                        <a:pt x="362" y="20"/>
                      </a:lnTo>
                      <a:lnTo>
                        <a:pt x="361" y="20"/>
                      </a:lnTo>
                      <a:lnTo>
                        <a:pt x="360" y="20"/>
                      </a:lnTo>
                      <a:lnTo>
                        <a:pt x="360" y="20"/>
                      </a:lnTo>
                      <a:lnTo>
                        <a:pt x="360" y="20"/>
                      </a:lnTo>
                      <a:lnTo>
                        <a:pt x="359" y="20"/>
                      </a:lnTo>
                      <a:lnTo>
                        <a:pt x="359" y="20"/>
                      </a:lnTo>
                      <a:lnTo>
                        <a:pt x="358" y="20"/>
                      </a:lnTo>
                      <a:lnTo>
                        <a:pt x="357" y="20"/>
                      </a:lnTo>
                      <a:lnTo>
                        <a:pt x="357" y="21"/>
                      </a:lnTo>
                      <a:lnTo>
                        <a:pt x="357" y="21"/>
                      </a:lnTo>
                      <a:lnTo>
                        <a:pt x="356" y="21"/>
                      </a:lnTo>
                      <a:lnTo>
                        <a:pt x="356" y="21"/>
                      </a:lnTo>
                      <a:lnTo>
                        <a:pt x="356" y="22"/>
                      </a:lnTo>
                      <a:lnTo>
                        <a:pt x="355" y="22"/>
                      </a:lnTo>
                      <a:lnTo>
                        <a:pt x="355" y="22"/>
                      </a:lnTo>
                      <a:lnTo>
                        <a:pt x="356" y="22"/>
                      </a:lnTo>
                      <a:lnTo>
                        <a:pt x="355" y="21"/>
                      </a:lnTo>
                      <a:lnTo>
                        <a:pt x="354" y="21"/>
                      </a:lnTo>
                      <a:lnTo>
                        <a:pt x="354" y="20"/>
                      </a:lnTo>
                      <a:lnTo>
                        <a:pt x="354" y="20"/>
                      </a:lnTo>
                      <a:lnTo>
                        <a:pt x="353" y="20"/>
                      </a:lnTo>
                      <a:lnTo>
                        <a:pt x="354" y="20"/>
                      </a:lnTo>
                      <a:lnTo>
                        <a:pt x="353" y="20"/>
                      </a:lnTo>
                      <a:lnTo>
                        <a:pt x="354" y="20"/>
                      </a:lnTo>
                      <a:lnTo>
                        <a:pt x="354" y="20"/>
                      </a:lnTo>
                      <a:lnTo>
                        <a:pt x="354" y="21"/>
                      </a:lnTo>
                      <a:lnTo>
                        <a:pt x="353" y="21"/>
                      </a:lnTo>
                      <a:lnTo>
                        <a:pt x="354" y="21"/>
                      </a:lnTo>
                      <a:lnTo>
                        <a:pt x="353" y="21"/>
                      </a:lnTo>
                      <a:lnTo>
                        <a:pt x="353" y="22"/>
                      </a:lnTo>
                      <a:lnTo>
                        <a:pt x="353" y="22"/>
                      </a:lnTo>
                      <a:lnTo>
                        <a:pt x="353" y="22"/>
                      </a:lnTo>
                      <a:lnTo>
                        <a:pt x="353" y="22"/>
                      </a:lnTo>
                      <a:lnTo>
                        <a:pt x="353" y="22"/>
                      </a:lnTo>
                      <a:lnTo>
                        <a:pt x="352" y="22"/>
                      </a:lnTo>
                      <a:lnTo>
                        <a:pt x="352" y="22"/>
                      </a:lnTo>
                      <a:lnTo>
                        <a:pt x="351" y="23"/>
                      </a:lnTo>
                      <a:lnTo>
                        <a:pt x="350" y="23"/>
                      </a:lnTo>
                      <a:lnTo>
                        <a:pt x="350" y="23"/>
                      </a:lnTo>
                      <a:lnTo>
                        <a:pt x="349" y="23"/>
                      </a:lnTo>
                      <a:lnTo>
                        <a:pt x="349" y="23"/>
                      </a:lnTo>
                      <a:lnTo>
                        <a:pt x="348" y="23"/>
                      </a:lnTo>
                      <a:lnTo>
                        <a:pt x="348" y="23"/>
                      </a:lnTo>
                      <a:lnTo>
                        <a:pt x="348" y="23"/>
                      </a:lnTo>
                      <a:lnTo>
                        <a:pt x="347" y="23"/>
                      </a:lnTo>
                      <a:lnTo>
                        <a:pt x="346" y="24"/>
                      </a:lnTo>
                      <a:lnTo>
                        <a:pt x="346" y="24"/>
                      </a:lnTo>
                      <a:lnTo>
                        <a:pt x="345" y="24"/>
                      </a:lnTo>
                      <a:lnTo>
                        <a:pt x="345" y="24"/>
                      </a:lnTo>
                      <a:lnTo>
                        <a:pt x="345" y="24"/>
                      </a:lnTo>
                      <a:lnTo>
                        <a:pt x="344" y="24"/>
                      </a:lnTo>
                      <a:lnTo>
                        <a:pt x="343" y="24"/>
                      </a:lnTo>
                      <a:lnTo>
                        <a:pt x="343" y="25"/>
                      </a:lnTo>
                      <a:lnTo>
                        <a:pt x="343" y="25"/>
                      </a:lnTo>
                      <a:lnTo>
                        <a:pt x="343" y="24"/>
                      </a:lnTo>
                      <a:lnTo>
                        <a:pt x="343" y="25"/>
                      </a:lnTo>
                      <a:lnTo>
                        <a:pt x="343" y="24"/>
                      </a:lnTo>
                      <a:lnTo>
                        <a:pt x="342" y="24"/>
                      </a:lnTo>
                      <a:lnTo>
                        <a:pt x="342" y="24"/>
                      </a:lnTo>
                      <a:lnTo>
                        <a:pt x="341" y="24"/>
                      </a:lnTo>
                      <a:lnTo>
                        <a:pt x="341" y="24"/>
                      </a:lnTo>
                      <a:lnTo>
                        <a:pt x="340" y="24"/>
                      </a:lnTo>
                      <a:lnTo>
                        <a:pt x="340" y="25"/>
                      </a:lnTo>
                      <a:lnTo>
                        <a:pt x="340" y="26"/>
                      </a:lnTo>
                      <a:lnTo>
                        <a:pt x="340" y="25"/>
                      </a:lnTo>
                      <a:lnTo>
                        <a:pt x="341" y="25"/>
                      </a:lnTo>
                      <a:lnTo>
                        <a:pt x="341" y="26"/>
                      </a:lnTo>
                      <a:lnTo>
                        <a:pt x="340" y="26"/>
                      </a:lnTo>
                      <a:lnTo>
                        <a:pt x="339" y="26"/>
                      </a:lnTo>
                      <a:lnTo>
                        <a:pt x="339" y="26"/>
                      </a:lnTo>
                      <a:lnTo>
                        <a:pt x="339" y="26"/>
                      </a:lnTo>
                      <a:lnTo>
                        <a:pt x="338" y="26"/>
                      </a:lnTo>
                      <a:lnTo>
                        <a:pt x="338" y="26"/>
                      </a:lnTo>
                      <a:lnTo>
                        <a:pt x="338" y="27"/>
                      </a:lnTo>
                      <a:lnTo>
                        <a:pt x="338" y="27"/>
                      </a:lnTo>
                      <a:lnTo>
                        <a:pt x="338" y="27"/>
                      </a:lnTo>
                      <a:lnTo>
                        <a:pt x="338" y="27"/>
                      </a:lnTo>
                      <a:lnTo>
                        <a:pt x="338" y="27"/>
                      </a:lnTo>
                      <a:lnTo>
                        <a:pt x="338" y="27"/>
                      </a:lnTo>
                      <a:lnTo>
                        <a:pt x="338" y="27"/>
                      </a:lnTo>
                      <a:lnTo>
                        <a:pt x="337" y="27"/>
                      </a:lnTo>
                      <a:lnTo>
                        <a:pt x="337" y="28"/>
                      </a:lnTo>
                      <a:lnTo>
                        <a:pt x="337" y="28"/>
                      </a:lnTo>
                      <a:lnTo>
                        <a:pt x="336" y="28"/>
                      </a:lnTo>
                      <a:lnTo>
                        <a:pt x="336" y="27"/>
                      </a:lnTo>
                      <a:lnTo>
                        <a:pt x="336" y="27"/>
                      </a:lnTo>
                      <a:lnTo>
                        <a:pt x="335" y="27"/>
                      </a:lnTo>
                      <a:lnTo>
                        <a:pt x="336" y="27"/>
                      </a:lnTo>
                      <a:lnTo>
                        <a:pt x="335" y="27"/>
                      </a:lnTo>
                      <a:lnTo>
                        <a:pt x="335" y="26"/>
                      </a:lnTo>
                      <a:lnTo>
                        <a:pt x="335" y="26"/>
                      </a:lnTo>
                      <a:lnTo>
                        <a:pt x="335" y="27"/>
                      </a:lnTo>
                      <a:lnTo>
                        <a:pt x="335" y="27"/>
                      </a:lnTo>
                      <a:lnTo>
                        <a:pt x="335" y="27"/>
                      </a:lnTo>
                      <a:lnTo>
                        <a:pt x="335" y="27"/>
                      </a:lnTo>
                      <a:lnTo>
                        <a:pt x="335" y="27"/>
                      </a:lnTo>
                      <a:lnTo>
                        <a:pt x="335" y="27"/>
                      </a:lnTo>
                      <a:lnTo>
                        <a:pt x="335" y="27"/>
                      </a:lnTo>
                      <a:lnTo>
                        <a:pt x="334" y="27"/>
                      </a:lnTo>
                      <a:lnTo>
                        <a:pt x="334" y="28"/>
                      </a:lnTo>
                      <a:lnTo>
                        <a:pt x="334" y="28"/>
                      </a:lnTo>
                      <a:lnTo>
                        <a:pt x="334" y="28"/>
                      </a:lnTo>
                      <a:lnTo>
                        <a:pt x="333" y="28"/>
                      </a:lnTo>
                      <a:lnTo>
                        <a:pt x="333" y="28"/>
                      </a:lnTo>
                      <a:lnTo>
                        <a:pt x="333" y="29"/>
                      </a:lnTo>
                      <a:lnTo>
                        <a:pt x="332" y="29"/>
                      </a:lnTo>
                      <a:lnTo>
                        <a:pt x="331" y="29"/>
                      </a:lnTo>
                      <a:lnTo>
                        <a:pt x="331" y="29"/>
                      </a:lnTo>
                      <a:lnTo>
                        <a:pt x="331" y="30"/>
                      </a:lnTo>
                      <a:lnTo>
                        <a:pt x="331" y="30"/>
                      </a:lnTo>
                      <a:lnTo>
                        <a:pt x="331" y="30"/>
                      </a:lnTo>
                      <a:lnTo>
                        <a:pt x="331" y="30"/>
                      </a:lnTo>
                      <a:lnTo>
                        <a:pt x="331" y="30"/>
                      </a:lnTo>
                      <a:lnTo>
                        <a:pt x="331" y="30"/>
                      </a:lnTo>
                      <a:lnTo>
                        <a:pt x="331" y="31"/>
                      </a:lnTo>
                      <a:lnTo>
                        <a:pt x="331" y="31"/>
                      </a:lnTo>
                      <a:lnTo>
                        <a:pt x="330" y="31"/>
                      </a:lnTo>
                      <a:lnTo>
                        <a:pt x="330" y="31"/>
                      </a:lnTo>
                      <a:lnTo>
                        <a:pt x="330" y="31"/>
                      </a:lnTo>
                      <a:lnTo>
                        <a:pt x="330" y="30"/>
                      </a:lnTo>
                      <a:lnTo>
                        <a:pt x="330" y="30"/>
                      </a:lnTo>
                      <a:lnTo>
                        <a:pt x="330" y="30"/>
                      </a:lnTo>
                      <a:lnTo>
                        <a:pt x="330" y="30"/>
                      </a:lnTo>
                      <a:lnTo>
                        <a:pt x="330" y="30"/>
                      </a:lnTo>
                      <a:lnTo>
                        <a:pt x="330" y="30"/>
                      </a:lnTo>
                      <a:lnTo>
                        <a:pt x="329" y="30"/>
                      </a:lnTo>
                      <a:lnTo>
                        <a:pt x="328" y="30"/>
                      </a:lnTo>
                      <a:lnTo>
                        <a:pt x="329" y="30"/>
                      </a:lnTo>
                      <a:lnTo>
                        <a:pt x="328" y="30"/>
                      </a:lnTo>
                      <a:lnTo>
                        <a:pt x="328" y="30"/>
                      </a:lnTo>
                      <a:lnTo>
                        <a:pt x="329" y="30"/>
                      </a:lnTo>
                      <a:lnTo>
                        <a:pt x="329" y="30"/>
                      </a:lnTo>
                      <a:lnTo>
                        <a:pt x="329" y="30"/>
                      </a:lnTo>
                      <a:lnTo>
                        <a:pt x="328" y="30"/>
                      </a:lnTo>
                      <a:lnTo>
                        <a:pt x="328" y="30"/>
                      </a:lnTo>
                      <a:lnTo>
                        <a:pt x="327" y="30"/>
                      </a:lnTo>
                      <a:lnTo>
                        <a:pt x="328" y="30"/>
                      </a:lnTo>
                      <a:lnTo>
                        <a:pt x="328" y="30"/>
                      </a:lnTo>
                      <a:lnTo>
                        <a:pt x="328" y="31"/>
                      </a:lnTo>
                      <a:lnTo>
                        <a:pt x="328" y="31"/>
                      </a:lnTo>
                      <a:lnTo>
                        <a:pt x="328" y="31"/>
                      </a:lnTo>
                      <a:lnTo>
                        <a:pt x="328" y="31"/>
                      </a:lnTo>
                      <a:lnTo>
                        <a:pt x="328" y="31"/>
                      </a:lnTo>
                      <a:lnTo>
                        <a:pt x="327" y="31"/>
                      </a:lnTo>
                      <a:lnTo>
                        <a:pt x="327" y="31"/>
                      </a:lnTo>
                      <a:lnTo>
                        <a:pt x="326" y="32"/>
                      </a:lnTo>
                      <a:lnTo>
                        <a:pt x="327" y="31"/>
                      </a:lnTo>
                      <a:lnTo>
                        <a:pt x="326" y="31"/>
                      </a:lnTo>
                      <a:lnTo>
                        <a:pt x="326" y="32"/>
                      </a:lnTo>
                      <a:lnTo>
                        <a:pt x="326" y="32"/>
                      </a:lnTo>
                      <a:lnTo>
                        <a:pt x="325" y="31"/>
                      </a:lnTo>
                      <a:lnTo>
                        <a:pt x="324" y="31"/>
                      </a:lnTo>
                      <a:lnTo>
                        <a:pt x="324" y="32"/>
                      </a:lnTo>
                      <a:lnTo>
                        <a:pt x="325" y="32"/>
                      </a:lnTo>
                      <a:lnTo>
                        <a:pt x="326" y="32"/>
                      </a:lnTo>
                      <a:lnTo>
                        <a:pt x="326" y="33"/>
                      </a:lnTo>
                      <a:lnTo>
                        <a:pt x="326" y="32"/>
                      </a:lnTo>
                      <a:lnTo>
                        <a:pt x="327" y="33"/>
                      </a:lnTo>
                      <a:lnTo>
                        <a:pt x="326" y="33"/>
                      </a:lnTo>
                      <a:lnTo>
                        <a:pt x="327" y="33"/>
                      </a:lnTo>
                      <a:lnTo>
                        <a:pt x="327" y="32"/>
                      </a:lnTo>
                      <a:lnTo>
                        <a:pt x="327" y="32"/>
                      </a:lnTo>
                      <a:lnTo>
                        <a:pt x="328" y="33"/>
                      </a:lnTo>
                      <a:lnTo>
                        <a:pt x="328" y="33"/>
                      </a:lnTo>
                      <a:lnTo>
                        <a:pt x="329" y="32"/>
                      </a:lnTo>
                      <a:lnTo>
                        <a:pt x="330" y="33"/>
                      </a:lnTo>
                      <a:lnTo>
                        <a:pt x="330" y="33"/>
                      </a:lnTo>
                      <a:lnTo>
                        <a:pt x="329" y="33"/>
                      </a:lnTo>
                      <a:lnTo>
                        <a:pt x="329" y="34"/>
                      </a:lnTo>
                      <a:lnTo>
                        <a:pt x="328" y="34"/>
                      </a:lnTo>
                      <a:lnTo>
                        <a:pt x="328" y="34"/>
                      </a:lnTo>
                      <a:lnTo>
                        <a:pt x="327" y="34"/>
                      </a:lnTo>
                      <a:lnTo>
                        <a:pt x="327" y="34"/>
                      </a:lnTo>
                      <a:lnTo>
                        <a:pt x="326" y="34"/>
                      </a:lnTo>
                      <a:lnTo>
                        <a:pt x="326" y="34"/>
                      </a:lnTo>
                      <a:lnTo>
                        <a:pt x="326" y="34"/>
                      </a:lnTo>
                      <a:lnTo>
                        <a:pt x="326" y="34"/>
                      </a:lnTo>
                      <a:lnTo>
                        <a:pt x="326" y="34"/>
                      </a:lnTo>
                      <a:lnTo>
                        <a:pt x="326" y="34"/>
                      </a:lnTo>
                      <a:lnTo>
                        <a:pt x="327" y="34"/>
                      </a:lnTo>
                      <a:lnTo>
                        <a:pt x="327" y="35"/>
                      </a:lnTo>
                      <a:lnTo>
                        <a:pt x="327" y="35"/>
                      </a:lnTo>
                      <a:lnTo>
                        <a:pt x="326" y="35"/>
                      </a:lnTo>
                      <a:lnTo>
                        <a:pt x="326" y="35"/>
                      </a:lnTo>
                      <a:lnTo>
                        <a:pt x="325" y="35"/>
                      </a:lnTo>
                      <a:lnTo>
                        <a:pt x="324" y="36"/>
                      </a:lnTo>
                      <a:lnTo>
                        <a:pt x="324" y="36"/>
                      </a:lnTo>
                      <a:lnTo>
                        <a:pt x="323" y="36"/>
                      </a:lnTo>
                      <a:lnTo>
                        <a:pt x="323" y="35"/>
                      </a:lnTo>
                      <a:lnTo>
                        <a:pt x="323" y="35"/>
                      </a:lnTo>
                      <a:lnTo>
                        <a:pt x="322" y="35"/>
                      </a:lnTo>
                      <a:lnTo>
                        <a:pt x="322" y="35"/>
                      </a:lnTo>
                      <a:lnTo>
                        <a:pt x="322" y="35"/>
                      </a:lnTo>
                      <a:lnTo>
                        <a:pt x="321" y="35"/>
                      </a:lnTo>
                      <a:lnTo>
                        <a:pt x="320" y="35"/>
                      </a:lnTo>
                      <a:lnTo>
                        <a:pt x="320" y="34"/>
                      </a:lnTo>
                      <a:lnTo>
                        <a:pt x="320" y="34"/>
                      </a:lnTo>
                      <a:lnTo>
                        <a:pt x="319" y="34"/>
                      </a:lnTo>
                      <a:lnTo>
                        <a:pt x="320" y="34"/>
                      </a:lnTo>
                      <a:lnTo>
                        <a:pt x="319" y="34"/>
                      </a:lnTo>
                      <a:lnTo>
                        <a:pt x="320" y="34"/>
                      </a:lnTo>
                      <a:lnTo>
                        <a:pt x="320" y="34"/>
                      </a:lnTo>
                      <a:lnTo>
                        <a:pt x="320" y="35"/>
                      </a:lnTo>
                      <a:lnTo>
                        <a:pt x="321" y="35"/>
                      </a:lnTo>
                      <a:lnTo>
                        <a:pt x="321" y="35"/>
                      </a:lnTo>
                      <a:lnTo>
                        <a:pt x="322" y="35"/>
                      </a:lnTo>
                      <a:lnTo>
                        <a:pt x="321" y="35"/>
                      </a:lnTo>
                      <a:lnTo>
                        <a:pt x="320" y="35"/>
                      </a:lnTo>
                      <a:lnTo>
                        <a:pt x="321" y="35"/>
                      </a:lnTo>
                      <a:lnTo>
                        <a:pt x="322" y="35"/>
                      </a:lnTo>
                      <a:lnTo>
                        <a:pt x="322" y="36"/>
                      </a:lnTo>
                      <a:lnTo>
                        <a:pt x="322" y="36"/>
                      </a:lnTo>
                      <a:lnTo>
                        <a:pt x="323" y="36"/>
                      </a:lnTo>
                      <a:lnTo>
                        <a:pt x="323" y="37"/>
                      </a:lnTo>
                      <a:lnTo>
                        <a:pt x="323" y="37"/>
                      </a:lnTo>
                      <a:lnTo>
                        <a:pt x="323" y="37"/>
                      </a:lnTo>
                      <a:lnTo>
                        <a:pt x="323" y="37"/>
                      </a:lnTo>
                      <a:lnTo>
                        <a:pt x="323" y="37"/>
                      </a:lnTo>
                      <a:lnTo>
                        <a:pt x="324" y="37"/>
                      </a:lnTo>
                      <a:lnTo>
                        <a:pt x="323" y="38"/>
                      </a:lnTo>
                      <a:lnTo>
                        <a:pt x="323" y="38"/>
                      </a:lnTo>
                      <a:lnTo>
                        <a:pt x="322" y="38"/>
                      </a:lnTo>
                      <a:lnTo>
                        <a:pt x="322" y="38"/>
                      </a:lnTo>
                      <a:lnTo>
                        <a:pt x="321" y="38"/>
                      </a:lnTo>
                      <a:lnTo>
                        <a:pt x="321" y="37"/>
                      </a:lnTo>
                      <a:lnTo>
                        <a:pt x="320" y="37"/>
                      </a:lnTo>
                      <a:lnTo>
                        <a:pt x="320" y="37"/>
                      </a:lnTo>
                      <a:lnTo>
                        <a:pt x="320" y="37"/>
                      </a:lnTo>
                      <a:lnTo>
                        <a:pt x="319" y="37"/>
                      </a:lnTo>
                      <a:lnTo>
                        <a:pt x="319" y="36"/>
                      </a:lnTo>
                      <a:lnTo>
                        <a:pt x="319" y="36"/>
                      </a:lnTo>
                      <a:lnTo>
                        <a:pt x="318" y="36"/>
                      </a:lnTo>
                      <a:lnTo>
                        <a:pt x="318" y="35"/>
                      </a:lnTo>
                      <a:lnTo>
                        <a:pt x="318" y="35"/>
                      </a:lnTo>
                      <a:lnTo>
                        <a:pt x="318" y="36"/>
                      </a:lnTo>
                      <a:lnTo>
                        <a:pt x="318" y="37"/>
                      </a:lnTo>
                      <a:lnTo>
                        <a:pt x="318" y="37"/>
                      </a:lnTo>
                      <a:lnTo>
                        <a:pt x="319" y="37"/>
                      </a:lnTo>
                      <a:lnTo>
                        <a:pt x="318" y="37"/>
                      </a:lnTo>
                      <a:lnTo>
                        <a:pt x="319" y="37"/>
                      </a:lnTo>
                      <a:lnTo>
                        <a:pt x="318" y="37"/>
                      </a:lnTo>
                      <a:lnTo>
                        <a:pt x="318" y="37"/>
                      </a:lnTo>
                      <a:lnTo>
                        <a:pt x="318" y="37"/>
                      </a:lnTo>
                      <a:lnTo>
                        <a:pt x="317" y="37"/>
                      </a:lnTo>
                      <a:lnTo>
                        <a:pt x="317" y="37"/>
                      </a:lnTo>
                      <a:lnTo>
                        <a:pt x="316" y="37"/>
                      </a:lnTo>
                      <a:lnTo>
                        <a:pt x="317" y="37"/>
                      </a:lnTo>
                      <a:lnTo>
                        <a:pt x="318" y="37"/>
                      </a:lnTo>
                      <a:lnTo>
                        <a:pt x="318" y="37"/>
                      </a:lnTo>
                      <a:lnTo>
                        <a:pt x="318" y="38"/>
                      </a:lnTo>
                      <a:lnTo>
                        <a:pt x="318" y="38"/>
                      </a:lnTo>
                      <a:lnTo>
                        <a:pt x="318" y="38"/>
                      </a:lnTo>
                      <a:lnTo>
                        <a:pt x="318" y="38"/>
                      </a:lnTo>
                      <a:lnTo>
                        <a:pt x="318" y="38"/>
                      </a:lnTo>
                      <a:lnTo>
                        <a:pt x="318" y="39"/>
                      </a:lnTo>
                      <a:lnTo>
                        <a:pt x="318" y="38"/>
                      </a:lnTo>
                      <a:lnTo>
                        <a:pt x="318" y="39"/>
                      </a:lnTo>
                      <a:lnTo>
                        <a:pt x="318" y="39"/>
                      </a:lnTo>
                      <a:lnTo>
                        <a:pt x="318" y="39"/>
                      </a:lnTo>
                      <a:lnTo>
                        <a:pt x="318" y="39"/>
                      </a:lnTo>
                      <a:lnTo>
                        <a:pt x="317" y="39"/>
                      </a:lnTo>
                      <a:lnTo>
                        <a:pt x="318" y="39"/>
                      </a:lnTo>
                      <a:lnTo>
                        <a:pt x="318" y="40"/>
                      </a:lnTo>
                      <a:lnTo>
                        <a:pt x="318" y="40"/>
                      </a:lnTo>
                      <a:lnTo>
                        <a:pt x="318" y="40"/>
                      </a:lnTo>
                      <a:lnTo>
                        <a:pt x="317" y="40"/>
                      </a:lnTo>
                      <a:lnTo>
                        <a:pt x="316" y="40"/>
                      </a:lnTo>
                      <a:lnTo>
                        <a:pt x="316" y="40"/>
                      </a:lnTo>
                      <a:lnTo>
                        <a:pt x="315" y="40"/>
                      </a:lnTo>
                      <a:lnTo>
                        <a:pt x="315" y="39"/>
                      </a:lnTo>
                      <a:lnTo>
                        <a:pt x="315" y="39"/>
                      </a:lnTo>
                      <a:lnTo>
                        <a:pt x="315" y="39"/>
                      </a:lnTo>
                      <a:lnTo>
                        <a:pt x="315" y="39"/>
                      </a:lnTo>
                      <a:lnTo>
                        <a:pt x="314" y="39"/>
                      </a:lnTo>
                      <a:lnTo>
                        <a:pt x="313" y="39"/>
                      </a:lnTo>
                      <a:lnTo>
                        <a:pt x="313" y="39"/>
                      </a:lnTo>
                      <a:lnTo>
                        <a:pt x="312" y="39"/>
                      </a:lnTo>
                      <a:lnTo>
                        <a:pt x="312" y="38"/>
                      </a:lnTo>
                      <a:lnTo>
                        <a:pt x="312" y="38"/>
                      </a:lnTo>
                      <a:lnTo>
                        <a:pt x="311" y="38"/>
                      </a:lnTo>
                      <a:lnTo>
                        <a:pt x="311" y="38"/>
                      </a:lnTo>
                      <a:lnTo>
                        <a:pt x="310" y="38"/>
                      </a:lnTo>
                      <a:lnTo>
                        <a:pt x="311" y="38"/>
                      </a:lnTo>
                      <a:lnTo>
                        <a:pt x="310" y="38"/>
                      </a:lnTo>
                      <a:lnTo>
                        <a:pt x="311" y="38"/>
                      </a:lnTo>
                      <a:lnTo>
                        <a:pt x="311" y="39"/>
                      </a:lnTo>
                      <a:lnTo>
                        <a:pt x="311" y="39"/>
                      </a:lnTo>
                      <a:lnTo>
                        <a:pt x="312" y="39"/>
                      </a:lnTo>
                      <a:lnTo>
                        <a:pt x="312" y="39"/>
                      </a:lnTo>
                      <a:lnTo>
                        <a:pt x="313" y="39"/>
                      </a:lnTo>
                      <a:lnTo>
                        <a:pt x="313" y="39"/>
                      </a:lnTo>
                      <a:lnTo>
                        <a:pt x="313" y="39"/>
                      </a:lnTo>
                      <a:lnTo>
                        <a:pt x="313" y="40"/>
                      </a:lnTo>
                      <a:lnTo>
                        <a:pt x="313" y="41"/>
                      </a:lnTo>
                      <a:lnTo>
                        <a:pt x="313" y="41"/>
                      </a:lnTo>
                      <a:lnTo>
                        <a:pt x="313" y="40"/>
                      </a:lnTo>
                      <a:lnTo>
                        <a:pt x="312" y="40"/>
                      </a:lnTo>
                      <a:lnTo>
                        <a:pt x="312" y="40"/>
                      </a:lnTo>
                      <a:lnTo>
                        <a:pt x="311" y="40"/>
                      </a:lnTo>
                      <a:lnTo>
                        <a:pt x="312" y="40"/>
                      </a:lnTo>
                      <a:lnTo>
                        <a:pt x="312" y="40"/>
                      </a:lnTo>
                      <a:lnTo>
                        <a:pt x="313" y="40"/>
                      </a:lnTo>
                      <a:lnTo>
                        <a:pt x="313" y="41"/>
                      </a:lnTo>
                      <a:lnTo>
                        <a:pt x="313" y="41"/>
                      </a:lnTo>
                      <a:lnTo>
                        <a:pt x="313" y="41"/>
                      </a:lnTo>
                      <a:lnTo>
                        <a:pt x="314" y="41"/>
                      </a:lnTo>
                      <a:lnTo>
                        <a:pt x="314" y="42"/>
                      </a:lnTo>
                      <a:lnTo>
                        <a:pt x="314" y="42"/>
                      </a:lnTo>
                      <a:lnTo>
                        <a:pt x="314" y="43"/>
                      </a:lnTo>
                      <a:lnTo>
                        <a:pt x="315" y="43"/>
                      </a:lnTo>
                      <a:lnTo>
                        <a:pt x="314" y="43"/>
                      </a:lnTo>
                      <a:lnTo>
                        <a:pt x="313" y="43"/>
                      </a:lnTo>
                      <a:lnTo>
                        <a:pt x="314" y="43"/>
                      </a:lnTo>
                      <a:lnTo>
                        <a:pt x="315" y="43"/>
                      </a:lnTo>
                      <a:lnTo>
                        <a:pt x="315" y="44"/>
                      </a:lnTo>
                      <a:lnTo>
                        <a:pt x="314" y="44"/>
                      </a:lnTo>
                      <a:lnTo>
                        <a:pt x="313" y="44"/>
                      </a:lnTo>
                      <a:lnTo>
                        <a:pt x="313" y="44"/>
                      </a:lnTo>
                      <a:lnTo>
                        <a:pt x="313" y="44"/>
                      </a:lnTo>
                      <a:lnTo>
                        <a:pt x="314" y="44"/>
                      </a:lnTo>
                      <a:lnTo>
                        <a:pt x="313" y="44"/>
                      </a:lnTo>
                      <a:lnTo>
                        <a:pt x="313" y="44"/>
                      </a:lnTo>
                      <a:lnTo>
                        <a:pt x="312" y="44"/>
                      </a:lnTo>
                      <a:lnTo>
                        <a:pt x="312" y="44"/>
                      </a:lnTo>
                      <a:lnTo>
                        <a:pt x="313" y="44"/>
                      </a:lnTo>
                      <a:lnTo>
                        <a:pt x="313" y="45"/>
                      </a:lnTo>
                      <a:lnTo>
                        <a:pt x="312" y="45"/>
                      </a:lnTo>
                      <a:lnTo>
                        <a:pt x="312" y="44"/>
                      </a:lnTo>
                      <a:lnTo>
                        <a:pt x="313" y="44"/>
                      </a:lnTo>
                      <a:lnTo>
                        <a:pt x="312" y="44"/>
                      </a:lnTo>
                      <a:lnTo>
                        <a:pt x="312" y="44"/>
                      </a:lnTo>
                      <a:lnTo>
                        <a:pt x="311" y="44"/>
                      </a:lnTo>
                      <a:lnTo>
                        <a:pt x="311" y="44"/>
                      </a:lnTo>
                      <a:lnTo>
                        <a:pt x="311" y="44"/>
                      </a:lnTo>
                      <a:lnTo>
                        <a:pt x="311" y="44"/>
                      </a:lnTo>
                      <a:lnTo>
                        <a:pt x="311" y="44"/>
                      </a:lnTo>
                      <a:lnTo>
                        <a:pt x="311" y="44"/>
                      </a:lnTo>
                      <a:lnTo>
                        <a:pt x="311" y="44"/>
                      </a:lnTo>
                      <a:lnTo>
                        <a:pt x="311" y="45"/>
                      </a:lnTo>
                      <a:lnTo>
                        <a:pt x="312" y="45"/>
                      </a:lnTo>
                      <a:lnTo>
                        <a:pt x="312" y="45"/>
                      </a:lnTo>
                      <a:lnTo>
                        <a:pt x="313" y="45"/>
                      </a:lnTo>
                      <a:lnTo>
                        <a:pt x="313" y="45"/>
                      </a:lnTo>
                      <a:lnTo>
                        <a:pt x="313" y="45"/>
                      </a:lnTo>
                      <a:lnTo>
                        <a:pt x="312" y="45"/>
                      </a:lnTo>
                      <a:lnTo>
                        <a:pt x="312" y="45"/>
                      </a:lnTo>
                      <a:lnTo>
                        <a:pt x="311" y="45"/>
                      </a:lnTo>
                      <a:lnTo>
                        <a:pt x="311" y="45"/>
                      </a:lnTo>
                      <a:lnTo>
                        <a:pt x="311" y="45"/>
                      </a:lnTo>
                      <a:lnTo>
                        <a:pt x="311" y="45"/>
                      </a:lnTo>
                      <a:lnTo>
                        <a:pt x="311" y="45"/>
                      </a:lnTo>
                      <a:lnTo>
                        <a:pt x="311" y="45"/>
                      </a:lnTo>
                      <a:lnTo>
                        <a:pt x="310" y="45"/>
                      </a:lnTo>
                      <a:lnTo>
                        <a:pt x="310" y="45"/>
                      </a:lnTo>
                      <a:lnTo>
                        <a:pt x="310" y="46"/>
                      </a:lnTo>
                      <a:lnTo>
                        <a:pt x="310" y="45"/>
                      </a:lnTo>
                      <a:lnTo>
                        <a:pt x="310" y="46"/>
                      </a:lnTo>
                      <a:lnTo>
                        <a:pt x="309" y="46"/>
                      </a:lnTo>
                      <a:lnTo>
                        <a:pt x="309" y="46"/>
                      </a:lnTo>
                      <a:lnTo>
                        <a:pt x="310" y="46"/>
                      </a:lnTo>
                      <a:lnTo>
                        <a:pt x="310" y="46"/>
                      </a:lnTo>
                      <a:lnTo>
                        <a:pt x="310" y="46"/>
                      </a:lnTo>
                      <a:lnTo>
                        <a:pt x="311" y="46"/>
                      </a:lnTo>
                      <a:lnTo>
                        <a:pt x="311" y="47"/>
                      </a:lnTo>
                      <a:lnTo>
                        <a:pt x="311" y="46"/>
                      </a:lnTo>
                      <a:lnTo>
                        <a:pt x="310" y="46"/>
                      </a:lnTo>
                      <a:lnTo>
                        <a:pt x="310" y="47"/>
                      </a:lnTo>
                      <a:lnTo>
                        <a:pt x="309" y="47"/>
                      </a:lnTo>
                      <a:lnTo>
                        <a:pt x="310" y="47"/>
                      </a:lnTo>
                      <a:lnTo>
                        <a:pt x="309" y="47"/>
                      </a:lnTo>
                      <a:lnTo>
                        <a:pt x="309" y="47"/>
                      </a:lnTo>
                      <a:lnTo>
                        <a:pt x="308" y="46"/>
                      </a:lnTo>
                      <a:lnTo>
                        <a:pt x="308" y="46"/>
                      </a:lnTo>
                      <a:lnTo>
                        <a:pt x="307" y="46"/>
                      </a:lnTo>
                      <a:lnTo>
                        <a:pt x="307" y="46"/>
                      </a:lnTo>
                      <a:lnTo>
                        <a:pt x="307" y="46"/>
                      </a:lnTo>
                      <a:lnTo>
                        <a:pt x="306" y="46"/>
                      </a:lnTo>
                      <a:lnTo>
                        <a:pt x="307" y="46"/>
                      </a:lnTo>
                      <a:lnTo>
                        <a:pt x="306" y="45"/>
                      </a:lnTo>
                      <a:lnTo>
                        <a:pt x="306" y="45"/>
                      </a:lnTo>
                      <a:lnTo>
                        <a:pt x="305" y="45"/>
                      </a:lnTo>
                      <a:lnTo>
                        <a:pt x="306" y="45"/>
                      </a:lnTo>
                      <a:lnTo>
                        <a:pt x="305" y="45"/>
                      </a:lnTo>
                      <a:lnTo>
                        <a:pt x="305" y="44"/>
                      </a:lnTo>
                      <a:lnTo>
                        <a:pt x="305" y="44"/>
                      </a:lnTo>
                      <a:lnTo>
                        <a:pt x="305" y="44"/>
                      </a:lnTo>
                      <a:lnTo>
                        <a:pt x="304" y="44"/>
                      </a:lnTo>
                      <a:lnTo>
                        <a:pt x="304" y="44"/>
                      </a:lnTo>
                      <a:lnTo>
                        <a:pt x="304" y="44"/>
                      </a:lnTo>
                      <a:lnTo>
                        <a:pt x="304" y="44"/>
                      </a:lnTo>
                      <a:lnTo>
                        <a:pt x="304" y="45"/>
                      </a:lnTo>
                      <a:lnTo>
                        <a:pt x="305" y="45"/>
                      </a:lnTo>
                      <a:lnTo>
                        <a:pt x="305" y="45"/>
                      </a:lnTo>
                      <a:lnTo>
                        <a:pt x="304" y="45"/>
                      </a:lnTo>
                      <a:lnTo>
                        <a:pt x="304" y="46"/>
                      </a:lnTo>
                      <a:lnTo>
                        <a:pt x="304" y="45"/>
                      </a:lnTo>
                      <a:lnTo>
                        <a:pt x="304" y="46"/>
                      </a:lnTo>
                      <a:lnTo>
                        <a:pt x="304" y="45"/>
                      </a:lnTo>
                      <a:lnTo>
                        <a:pt x="304" y="45"/>
                      </a:lnTo>
                      <a:lnTo>
                        <a:pt x="303" y="45"/>
                      </a:lnTo>
                      <a:lnTo>
                        <a:pt x="302" y="45"/>
                      </a:lnTo>
                      <a:lnTo>
                        <a:pt x="302" y="46"/>
                      </a:lnTo>
                      <a:lnTo>
                        <a:pt x="302" y="45"/>
                      </a:lnTo>
                      <a:lnTo>
                        <a:pt x="302" y="45"/>
                      </a:lnTo>
                      <a:lnTo>
                        <a:pt x="302" y="45"/>
                      </a:lnTo>
                      <a:lnTo>
                        <a:pt x="302" y="46"/>
                      </a:lnTo>
                      <a:lnTo>
                        <a:pt x="302" y="45"/>
                      </a:lnTo>
                      <a:lnTo>
                        <a:pt x="302" y="46"/>
                      </a:lnTo>
                      <a:lnTo>
                        <a:pt x="303" y="46"/>
                      </a:lnTo>
                      <a:lnTo>
                        <a:pt x="304" y="46"/>
                      </a:lnTo>
                      <a:lnTo>
                        <a:pt x="304" y="46"/>
                      </a:lnTo>
                      <a:lnTo>
                        <a:pt x="305" y="46"/>
                      </a:lnTo>
                      <a:lnTo>
                        <a:pt x="305" y="46"/>
                      </a:lnTo>
                      <a:lnTo>
                        <a:pt x="305" y="46"/>
                      </a:lnTo>
                      <a:lnTo>
                        <a:pt x="306" y="46"/>
                      </a:lnTo>
                      <a:lnTo>
                        <a:pt x="306" y="47"/>
                      </a:lnTo>
                      <a:lnTo>
                        <a:pt x="306" y="46"/>
                      </a:lnTo>
                      <a:lnTo>
                        <a:pt x="306" y="47"/>
                      </a:lnTo>
                      <a:lnTo>
                        <a:pt x="307" y="47"/>
                      </a:lnTo>
                      <a:lnTo>
                        <a:pt x="307" y="47"/>
                      </a:lnTo>
                      <a:lnTo>
                        <a:pt x="307" y="48"/>
                      </a:lnTo>
                      <a:lnTo>
                        <a:pt x="307" y="48"/>
                      </a:lnTo>
                      <a:lnTo>
                        <a:pt x="308" y="48"/>
                      </a:lnTo>
                      <a:lnTo>
                        <a:pt x="307" y="48"/>
                      </a:lnTo>
                      <a:lnTo>
                        <a:pt x="307" y="48"/>
                      </a:lnTo>
                      <a:lnTo>
                        <a:pt x="307" y="49"/>
                      </a:lnTo>
                      <a:lnTo>
                        <a:pt x="307" y="49"/>
                      </a:lnTo>
                      <a:lnTo>
                        <a:pt x="308" y="49"/>
                      </a:lnTo>
                      <a:lnTo>
                        <a:pt x="307" y="49"/>
                      </a:lnTo>
                      <a:lnTo>
                        <a:pt x="307" y="49"/>
                      </a:lnTo>
                      <a:lnTo>
                        <a:pt x="308" y="50"/>
                      </a:lnTo>
                      <a:lnTo>
                        <a:pt x="308" y="50"/>
                      </a:lnTo>
                      <a:lnTo>
                        <a:pt x="307" y="50"/>
                      </a:lnTo>
                      <a:lnTo>
                        <a:pt x="307" y="50"/>
                      </a:lnTo>
                      <a:lnTo>
                        <a:pt x="307" y="51"/>
                      </a:lnTo>
                      <a:lnTo>
                        <a:pt x="306" y="51"/>
                      </a:lnTo>
                      <a:lnTo>
                        <a:pt x="306" y="50"/>
                      </a:lnTo>
                      <a:lnTo>
                        <a:pt x="305" y="50"/>
                      </a:lnTo>
                      <a:lnTo>
                        <a:pt x="305" y="50"/>
                      </a:lnTo>
                      <a:lnTo>
                        <a:pt x="305" y="50"/>
                      </a:lnTo>
                      <a:lnTo>
                        <a:pt x="305" y="49"/>
                      </a:lnTo>
                      <a:lnTo>
                        <a:pt x="304" y="49"/>
                      </a:lnTo>
                      <a:lnTo>
                        <a:pt x="304" y="49"/>
                      </a:lnTo>
                      <a:lnTo>
                        <a:pt x="303" y="49"/>
                      </a:lnTo>
                      <a:lnTo>
                        <a:pt x="302" y="49"/>
                      </a:lnTo>
                      <a:lnTo>
                        <a:pt x="302" y="49"/>
                      </a:lnTo>
                      <a:lnTo>
                        <a:pt x="302" y="49"/>
                      </a:lnTo>
                      <a:lnTo>
                        <a:pt x="302" y="49"/>
                      </a:lnTo>
                      <a:lnTo>
                        <a:pt x="302" y="49"/>
                      </a:lnTo>
                      <a:lnTo>
                        <a:pt x="302" y="49"/>
                      </a:lnTo>
                      <a:lnTo>
                        <a:pt x="302" y="49"/>
                      </a:lnTo>
                      <a:lnTo>
                        <a:pt x="301" y="49"/>
                      </a:lnTo>
                      <a:lnTo>
                        <a:pt x="301" y="49"/>
                      </a:lnTo>
                      <a:lnTo>
                        <a:pt x="300" y="49"/>
                      </a:lnTo>
                      <a:lnTo>
                        <a:pt x="300" y="49"/>
                      </a:lnTo>
                      <a:lnTo>
                        <a:pt x="299" y="49"/>
                      </a:lnTo>
                      <a:lnTo>
                        <a:pt x="298" y="49"/>
                      </a:lnTo>
                      <a:lnTo>
                        <a:pt x="298" y="49"/>
                      </a:lnTo>
                      <a:lnTo>
                        <a:pt x="297" y="49"/>
                      </a:lnTo>
                      <a:lnTo>
                        <a:pt x="298" y="49"/>
                      </a:lnTo>
                      <a:lnTo>
                        <a:pt x="298" y="49"/>
                      </a:lnTo>
                      <a:lnTo>
                        <a:pt x="298" y="49"/>
                      </a:lnTo>
                      <a:lnTo>
                        <a:pt x="299" y="49"/>
                      </a:lnTo>
                      <a:lnTo>
                        <a:pt x="300" y="49"/>
                      </a:lnTo>
                      <a:lnTo>
                        <a:pt x="299" y="49"/>
                      </a:lnTo>
                      <a:lnTo>
                        <a:pt x="300" y="49"/>
                      </a:lnTo>
                      <a:lnTo>
                        <a:pt x="300" y="49"/>
                      </a:lnTo>
                      <a:lnTo>
                        <a:pt x="301" y="49"/>
                      </a:lnTo>
                      <a:lnTo>
                        <a:pt x="301" y="49"/>
                      </a:lnTo>
                      <a:lnTo>
                        <a:pt x="302" y="49"/>
                      </a:lnTo>
                      <a:lnTo>
                        <a:pt x="302" y="49"/>
                      </a:lnTo>
                      <a:lnTo>
                        <a:pt x="303" y="49"/>
                      </a:lnTo>
                      <a:lnTo>
                        <a:pt x="303" y="50"/>
                      </a:lnTo>
                      <a:lnTo>
                        <a:pt x="304" y="50"/>
                      </a:lnTo>
                      <a:lnTo>
                        <a:pt x="303" y="50"/>
                      </a:lnTo>
                      <a:lnTo>
                        <a:pt x="304" y="50"/>
                      </a:lnTo>
                      <a:lnTo>
                        <a:pt x="304" y="50"/>
                      </a:lnTo>
                      <a:lnTo>
                        <a:pt x="305" y="50"/>
                      </a:lnTo>
                      <a:lnTo>
                        <a:pt x="305" y="51"/>
                      </a:lnTo>
                      <a:lnTo>
                        <a:pt x="305" y="52"/>
                      </a:lnTo>
                      <a:lnTo>
                        <a:pt x="305" y="52"/>
                      </a:lnTo>
                      <a:lnTo>
                        <a:pt x="305" y="52"/>
                      </a:lnTo>
                      <a:lnTo>
                        <a:pt x="305" y="53"/>
                      </a:lnTo>
                      <a:lnTo>
                        <a:pt x="305" y="53"/>
                      </a:lnTo>
                      <a:lnTo>
                        <a:pt x="304" y="53"/>
                      </a:lnTo>
                      <a:lnTo>
                        <a:pt x="304" y="53"/>
                      </a:lnTo>
                      <a:lnTo>
                        <a:pt x="304" y="53"/>
                      </a:lnTo>
                      <a:lnTo>
                        <a:pt x="303" y="53"/>
                      </a:lnTo>
                      <a:lnTo>
                        <a:pt x="304" y="53"/>
                      </a:lnTo>
                      <a:lnTo>
                        <a:pt x="303" y="53"/>
                      </a:lnTo>
                      <a:lnTo>
                        <a:pt x="302" y="53"/>
                      </a:lnTo>
                      <a:lnTo>
                        <a:pt x="302" y="53"/>
                      </a:lnTo>
                      <a:lnTo>
                        <a:pt x="301" y="53"/>
                      </a:lnTo>
                      <a:lnTo>
                        <a:pt x="301" y="53"/>
                      </a:lnTo>
                      <a:lnTo>
                        <a:pt x="300" y="53"/>
                      </a:lnTo>
                      <a:lnTo>
                        <a:pt x="300" y="52"/>
                      </a:lnTo>
                      <a:lnTo>
                        <a:pt x="300" y="52"/>
                      </a:lnTo>
                      <a:lnTo>
                        <a:pt x="299" y="52"/>
                      </a:lnTo>
                      <a:lnTo>
                        <a:pt x="299" y="52"/>
                      </a:lnTo>
                      <a:lnTo>
                        <a:pt x="298" y="52"/>
                      </a:lnTo>
                      <a:lnTo>
                        <a:pt x="298" y="51"/>
                      </a:lnTo>
                      <a:lnTo>
                        <a:pt x="298" y="51"/>
                      </a:lnTo>
                      <a:lnTo>
                        <a:pt x="298" y="52"/>
                      </a:lnTo>
                      <a:lnTo>
                        <a:pt x="298" y="52"/>
                      </a:lnTo>
                      <a:lnTo>
                        <a:pt x="298" y="52"/>
                      </a:lnTo>
                      <a:lnTo>
                        <a:pt x="299" y="52"/>
                      </a:lnTo>
                      <a:lnTo>
                        <a:pt x="299" y="53"/>
                      </a:lnTo>
                      <a:lnTo>
                        <a:pt x="300" y="53"/>
                      </a:lnTo>
                      <a:lnTo>
                        <a:pt x="299" y="53"/>
                      </a:lnTo>
                      <a:lnTo>
                        <a:pt x="298" y="53"/>
                      </a:lnTo>
                      <a:lnTo>
                        <a:pt x="299" y="53"/>
                      </a:lnTo>
                      <a:lnTo>
                        <a:pt x="298" y="53"/>
                      </a:lnTo>
                      <a:lnTo>
                        <a:pt x="299" y="53"/>
                      </a:lnTo>
                      <a:lnTo>
                        <a:pt x="300" y="53"/>
                      </a:lnTo>
                      <a:lnTo>
                        <a:pt x="300" y="53"/>
                      </a:lnTo>
                      <a:lnTo>
                        <a:pt x="300" y="53"/>
                      </a:lnTo>
                      <a:lnTo>
                        <a:pt x="301" y="53"/>
                      </a:lnTo>
                      <a:lnTo>
                        <a:pt x="300" y="53"/>
                      </a:lnTo>
                      <a:lnTo>
                        <a:pt x="301" y="53"/>
                      </a:lnTo>
                      <a:lnTo>
                        <a:pt x="301" y="54"/>
                      </a:lnTo>
                      <a:lnTo>
                        <a:pt x="302" y="54"/>
                      </a:lnTo>
                      <a:lnTo>
                        <a:pt x="302" y="55"/>
                      </a:lnTo>
                      <a:lnTo>
                        <a:pt x="302" y="55"/>
                      </a:lnTo>
                      <a:lnTo>
                        <a:pt x="302" y="55"/>
                      </a:lnTo>
                      <a:lnTo>
                        <a:pt x="302" y="56"/>
                      </a:lnTo>
                      <a:lnTo>
                        <a:pt x="301" y="56"/>
                      </a:lnTo>
                      <a:lnTo>
                        <a:pt x="301" y="56"/>
                      </a:lnTo>
                      <a:lnTo>
                        <a:pt x="301" y="57"/>
                      </a:lnTo>
                      <a:lnTo>
                        <a:pt x="301" y="56"/>
                      </a:lnTo>
                      <a:lnTo>
                        <a:pt x="301" y="57"/>
                      </a:lnTo>
                      <a:lnTo>
                        <a:pt x="300" y="57"/>
                      </a:lnTo>
                      <a:lnTo>
                        <a:pt x="300" y="57"/>
                      </a:lnTo>
                      <a:lnTo>
                        <a:pt x="300" y="57"/>
                      </a:lnTo>
                      <a:lnTo>
                        <a:pt x="300" y="57"/>
                      </a:lnTo>
                      <a:lnTo>
                        <a:pt x="300" y="57"/>
                      </a:lnTo>
                      <a:lnTo>
                        <a:pt x="299" y="57"/>
                      </a:lnTo>
                      <a:lnTo>
                        <a:pt x="299" y="56"/>
                      </a:lnTo>
                      <a:lnTo>
                        <a:pt x="298" y="56"/>
                      </a:lnTo>
                      <a:lnTo>
                        <a:pt x="299" y="57"/>
                      </a:lnTo>
                      <a:lnTo>
                        <a:pt x="299" y="56"/>
                      </a:lnTo>
                      <a:lnTo>
                        <a:pt x="299" y="57"/>
                      </a:lnTo>
                      <a:lnTo>
                        <a:pt x="298" y="57"/>
                      </a:lnTo>
                      <a:lnTo>
                        <a:pt x="299" y="57"/>
                      </a:lnTo>
                      <a:lnTo>
                        <a:pt x="299" y="57"/>
                      </a:lnTo>
                      <a:lnTo>
                        <a:pt x="299" y="57"/>
                      </a:lnTo>
                      <a:lnTo>
                        <a:pt x="299" y="57"/>
                      </a:lnTo>
                      <a:lnTo>
                        <a:pt x="298" y="57"/>
                      </a:lnTo>
                      <a:lnTo>
                        <a:pt x="298" y="58"/>
                      </a:lnTo>
                      <a:lnTo>
                        <a:pt x="298" y="58"/>
                      </a:lnTo>
                      <a:lnTo>
                        <a:pt x="297" y="58"/>
                      </a:lnTo>
                      <a:lnTo>
                        <a:pt x="297" y="58"/>
                      </a:lnTo>
                      <a:lnTo>
                        <a:pt x="296" y="58"/>
                      </a:lnTo>
                      <a:lnTo>
                        <a:pt x="296" y="58"/>
                      </a:lnTo>
                      <a:lnTo>
                        <a:pt x="295" y="58"/>
                      </a:lnTo>
                      <a:lnTo>
                        <a:pt x="294" y="58"/>
                      </a:lnTo>
                      <a:lnTo>
                        <a:pt x="294" y="58"/>
                      </a:lnTo>
                      <a:lnTo>
                        <a:pt x="293" y="58"/>
                      </a:lnTo>
                      <a:lnTo>
                        <a:pt x="293" y="57"/>
                      </a:lnTo>
                      <a:lnTo>
                        <a:pt x="293" y="57"/>
                      </a:lnTo>
                      <a:lnTo>
                        <a:pt x="293" y="57"/>
                      </a:lnTo>
                      <a:lnTo>
                        <a:pt x="293" y="57"/>
                      </a:lnTo>
                      <a:lnTo>
                        <a:pt x="293" y="57"/>
                      </a:lnTo>
                      <a:lnTo>
                        <a:pt x="293" y="57"/>
                      </a:lnTo>
                      <a:lnTo>
                        <a:pt x="293" y="57"/>
                      </a:lnTo>
                      <a:lnTo>
                        <a:pt x="293" y="56"/>
                      </a:lnTo>
                      <a:lnTo>
                        <a:pt x="293" y="57"/>
                      </a:lnTo>
                      <a:lnTo>
                        <a:pt x="293" y="56"/>
                      </a:lnTo>
                      <a:lnTo>
                        <a:pt x="293" y="56"/>
                      </a:lnTo>
                      <a:lnTo>
                        <a:pt x="293" y="56"/>
                      </a:lnTo>
                      <a:lnTo>
                        <a:pt x="293" y="56"/>
                      </a:lnTo>
                      <a:lnTo>
                        <a:pt x="293" y="56"/>
                      </a:lnTo>
                      <a:lnTo>
                        <a:pt x="293" y="56"/>
                      </a:lnTo>
                      <a:lnTo>
                        <a:pt x="293" y="56"/>
                      </a:lnTo>
                      <a:lnTo>
                        <a:pt x="293" y="56"/>
                      </a:lnTo>
                      <a:lnTo>
                        <a:pt x="293" y="56"/>
                      </a:lnTo>
                      <a:lnTo>
                        <a:pt x="293" y="56"/>
                      </a:lnTo>
                      <a:lnTo>
                        <a:pt x="292" y="56"/>
                      </a:lnTo>
                      <a:lnTo>
                        <a:pt x="292" y="55"/>
                      </a:lnTo>
                      <a:lnTo>
                        <a:pt x="292" y="55"/>
                      </a:lnTo>
                      <a:lnTo>
                        <a:pt x="292" y="55"/>
                      </a:lnTo>
                      <a:lnTo>
                        <a:pt x="292" y="55"/>
                      </a:lnTo>
                      <a:lnTo>
                        <a:pt x="292" y="55"/>
                      </a:lnTo>
                      <a:lnTo>
                        <a:pt x="291" y="55"/>
                      </a:lnTo>
                      <a:lnTo>
                        <a:pt x="292" y="55"/>
                      </a:lnTo>
                      <a:lnTo>
                        <a:pt x="292" y="55"/>
                      </a:lnTo>
                      <a:lnTo>
                        <a:pt x="292" y="55"/>
                      </a:lnTo>
                      <a:lnTo>
                        <a:pt x="292" y="55"/>
                      </a:lnTo>
                      <a:lnTo>
                        <a:pt x="292" y="55"/>
                      </a:lnTo>
                      <a:lnTo>
                        <a:pt x="292" y="55"/>
                      </a:lnTo>
                      <a:lnTo>
                        <a:pt x="292" y="56"/>
                      </a:lnTo>
                      <a:lnTo>
                        <a:pt x="292" y="56"/>
                      </a:lnTo>
                      <a:lnTo>
                        <a:pt x="293" y="56"/>
                      </a:lnTo>
                      <a:lnTo>
                        <a:pt x="293" y="56"/>
                      </a:lnTo>
                      <a:lnTo>
                        <a:pt x="292" y="56"/>
                      </a:lnTo>
                      <a:lnTo>
                        <a:pt x="293" y="56"/>
                      </a:lnTo>
                      <a:lnTo>
                        <a:pt x="292" y="56"/>
                      </a:lnTo>
                      <a:lnTo>
                        <a:pt x="293" y="56"/>
                      </a:lnTo>
                      <a:lnTo>
                        <a:pt x="292" y="56"/>
                      </a:lnTo>
                      <a:lnTo>
                        <a:pt x="293" y="56"/>
                      </a:lnTo>
                      <a:lnTo>
                        <a:pt x="292" y="56"/>
                      </a:lnTo>
                      <a:lnTo>
                        <a:pt x="293" y="56"/>
                      </a:lnTo>
                      <a:lnTo>
                        <a:pt x="292" y="56"/>
                      </a:lnTo>
                      <a:lnTo>
                        <a:pt x="293" y="57"/>
                      </a:lnTo>
                      <a:lnTo>
                        <a:pt x="293" y="57"/>
                      </a:lnTo>
                      <a:lnTo>
                        <a:pt x="293" y="57"/>
                      </a:lnTo>
                      <a:lnTo>
                        <a:pt x="293" y="57"/>
                      </a:lnTo>
                      <a:lnTo>
                        <a:pt x="292" y="57"/>
                      </a:lnTo>
                      <a:lnTo>
                        <a:pt x="292" y="57"/>
                      </a:lnTo>
                      <a:lnTo>
                        <a:pt x="292" y="57"/>
                      </a:lnTo>
                      <a:lnTo>
                        <a:pt x="292" y="57"/>
                      </a:lnTo>
                      <a:lnTo>
                        <a:pt x="292" y="57"/>
                      </a:lnTo>
                      <a:lnTo>
                        <a:pt x="291" y="57"/>
                      </a:lnTo>
                      <a:lnTo>
                        <a:pt x="290" y="57"/>
                      </a:lnTo>
                      <a:lnTo>
                        <a:pt x="290" y="57"/>
                      </a:lnTo>
                      <a:lnTo>
                        <a:pt x="289" y="57"/>
                      </a:lnTo>
                      <a:lnTo>
                        <a:pt x="289" y="57"/>
                      </a:lnTo>
                      <a:lnTo>
                        <a:pt x="288" y="57"/>
                      </a:lnTo>
                      <a:lnTo>
                        <a:pt x="287" y="57"/>
                      </a:lnTo>
                      <a:lnTo>
                        <a:pt x="287" y="57"/>
                      </a:lnTo>
                      <a:lnTo>
                        <a:pt x="287" y="56"/>
                      </a:lnTo>
                      <a:lnTo>
                        <a:pt x="287" y="56"/>
                      </a:lnTo>
                      <a:lnTo>
                        <a:pt x="286" y="56"/>
                      </a:lnTo>
                      <a:lnTo>
                        <a:pt x="286" y="56"/>
                      </a:lnTo>
                      <a:lnTo>
                        <a:pt x="285" y="56"/>
                      </a:lnTo>
                      <a:lnTo>
                        <a:pt x="285" y="55"/>
                      </a:lnTo>
                      <a:lnTo>
                        <a:pt x="285" y="56"/>
                      </a:lnTo>
                      <a:lnTo>
                        <a:pt x="285" y="55"/>
                      </a:lnTo>
                      <a:lnTo>
                        <a:pt x="284" y="55"/>
                      </a:lnTo>
                      <a:lnTo>
                        <a:pt x="283" y="55"/>
                      </a:lnTo>
                      <a:lnTo>
                        <a:pt x="283" y="55"/>
                      </a:lnTo>
                      <a:lnTo>
                        <a:pt x="283" y="56"/>
                      </a:lnTo>
                      <a:lnTo>
                        <a:pt x="282" y="56"/>
                      </a:lnTo>
                      <a:lnTo>
                        <a:pt x="282" y="56"/>
                      </a:lnTo>
                      <a:lnTo>
                        <a:pt x="282" y="56"/>
                      </a:lnTo>
                      <a:lnTo>
                        <a:pt x="282" y="56"/>
                      </a:lnTo>
                      <a:lnTo>
                        <a:pt x="282" y="56"/>
                      </a:lnTo>
                      <a:lnTo>
                        <a:pt x="282" y="56"/>
                      </a:lnTo>
                      <a:lnTo>
                        <a:pt x="282" y="56"/>
                      </a:lnTo>
                      <a:lnTo>
                        <a:pt x="281" y="56"/>
                      </a:lnTo>
                      <a:lnTo>
                        <a:pt x="281" y="56"/>
                      </a:lnTo>
                      <a:lnTo>
                        <a:pt x="281" y="56"/>
                      </a:lnTo>
                      <a:lnTo>
                        <a:pt x="280" y="56"/>
                      </a:lnTo>
                      <a:lnTo>
                        <a:pt x="280" y="57"/>
                      </a:lnTo>
                      <a:lnTo>
                        <a:pt x="279" y="57"/>
                      </a:lnTo>
                      <a:lnTo>
                        <a:pt x="279" y="57"/>
                      </a:lnTo>
                      <a:lnTo>
                        <a:pt x="278" y="57"/>
                      </a:lnTo>
                      <a:lnTo>
                        <a:pt x="278" y="57"/>
                      </a:lnTo>
                      <a:lnTo>
                        <a:pt x="278" y="56"/>
                      </a:lnTo>
                      <a:lnTo>
                        <a:pt x="278" y="57"/>
                      </a:lnTo>
                      <a:lnTo>
                        <a:pt x="278" y="56"/>
                      </a:lnTo>
                      <a:lnTo>
                        <a:pt x="277" y="57"/>
                      </a:lnTo>
                      <a:lnTo>
                        <a:pt x="277" y="56"/>
                      </a:lnTo>
                      <a:lnTo>
                        <a:pt x="278" y="56"/>
                      </a:lnTo>
                      <a:lnTo>
                        <a:pt x="278" y="56"/>
                      </a:lnTo>
                      <a:lnTo>
                        <a:pt x="278" y="56"/>
                      </a:lnTo>
                      <a:lnTo>
                        <a:pt x="278" y="56"/>
                      </a:lnTo>
                      <a:lnTo>
                        <a:pt x="278" y="56"/>
                      </a:lnTo>
                      <a:lnTo>
                        <a:pt x="279" y="56"/>
                      </a:lnTo>
                      <a:lnTo>
                        <a:pt x="278" y="56"/>
                      </a:lnTo>
                      <a:lnTo>
                        <a:pt x="279" y="56"/>
                      </a:lnTo>
                      <a:lnTo>
                        <a:pt x="279" y="56"/>
                      </a:lnTo>
                      <a:lnTo>
                        <a:pt x="279" y="56"/>
                      </a:lnTo>
                      <a:lnTo>
                        <a:pt x="279" y="56"/>
                      </a:lnTo>
                      <a:lnTo>
                        <a:pt x="279" y="56"/>
                      </a:lnTo>
                      <a:lnTo>
                        <a:pt x="279" y="56"/>
                      </a:lnTo>
                      <a:lnTo>
                        <a:pt x="279" y="55"/>
                      </a:lnTo>
                      <a:lnTo>
                        <a:pt x="280" y="55"/>
                      </a:lnTo>
                      <a:lnTo>
                        <a:pt x="281" y="55"/>
                      </a:lnTo>
                      <a:lnTo>
                        <a:pt x="281" y="55"/>
                      </a:lnTo>
                      <a:lnTo>
                        <a:pt x="280" y="55"/>
                      </a:lnTo>
                      <a:lnTo>
                        <a:pt x="279" y="55"/>
                      </a:lnTo>
                      <a:lnTo>
                        <a:pt x="279" y="55"/>
                      </a:lnTo>
                      <a:lnTo>
                        <a:pt x="279" y="55"/>
                      </a:lnTo>
                      <a:lnTo>
                        <a:pt x="278" y="55"/>
                      </a:lnTo>
                      <a:lnTo>
                        <a:pt x="279" y="55"/>
                      </a:lnTo>
                      <a:lnTo>
                        <a:pt x="279" y="54"/>
                      </a:lnTo>
                      <a:lnTo>
                        <a:pt x="279" y="54"/>
                      </a:lnTo>
                      <a:lnTo>
                        <a:pt x="279" y="54"/>
                      </a:lnTo>
                      <a:lnTo>
                        <a:pt x="279" y="54"/>
                      </a:lnTo>
                      <a:lnTo>
                        <a:pt x="279" y="53"/>
                      </a:lnTo>
                      <a:lnTo>
                        <a:pt x="280" y="53"/>
                      </a:lnTo>
                      <a:lnTo>
                        <a:pt x="281" y="53"/>
                      </a:lnTo>
                      <a:lnTo>
                        <a:pt x="281" y="53"/>
                      </a:lnTo>
                      <a:lnTo>
                        <a:pt x="281" y="53"/>
                      </a:lnTo>
                      <a:lnTo>
                        <a:pt x="281" y="53"/>
                      </a:lnTo>
                      <a:lnTo>
                        <a:pt x="281" y="53"/>
                      </a:lnTo>
                      <a:lnTo>
                        <a:pt x="282" y="53"/>
                      </a:lnTo>
                      <a:lnTo>
                        <a:pt x="282" y="53"/>
                      </a:lnTo>
                      <a:lnTo>
                        <a:pt x="282" y="52"/>
                      </a:lnTo>
                      <a:lnTo>
                        <a:pt x="282" y="53"/>
                      </a:lnTo>
                      <a:lnTo>
                        <a:pt x="282" y="52"/>
                      </a:lnTo>
                      <a:lnTo>
                        <a:pt x="283" y="52"/>
                      </a:lnTo>
                      <a:lnTo>
                        <a:pt x="283" y="52"/>
                      </a:lnTo>
                      <a:lnTo>
                        <a:pt x="284" y="52"/>
                      </a:lnTo>
                      <a:lnTo>
                        <a:pt x="284" y="52"/>
                      </a:lnTo>
                      <a:lnTo>
                        <a:pt x="285" y="52"/>
                      </a:lnTo>
                      <a:lnTo>
                        <a:pt x="285" y="52"/>
                      </a:lnTo>
                      <a:lnTo>
                        <a:pt x="286" y="52"/>
                      </a:lnTo>
                      <a:lnTo>
                        <a:pt x="286" y="51"/>
                      </a:lnTo>
                      <a:lnTo>
                        <a:pt x="286" y="51"/>
                      </a:lnTo>
                      <a:lnTo>
                        <a:pt x="286" y="52"/>
                      </a:lnTo>
                      <a:lnTo>
                        <a:pt x="287" y="51"/>
                      </a:lnTo>
                      <a:lnTo>
                        <a:pt x="287" y="51"/>
                      </a:lnTo>
                      <a:lnTo>
                        <a:pt x="287" y="52"/>
                      </a:lnTo>
                      <a:lnTo>
                        <a:pt x="288" y="52"/>
                      </a:lnTo>
                      <a:lnTo>
                        <a:pt x="289" y="52"/>
                      </a:lnTo>
                      <a:lnTo>
                        <a:pt x="288" y="52"/>
                      </a:lnTo>
                      <a:lnTo>
                        <a:pt x="289" y="52"/>
                      </a:lnTo>
                      <a:lnTo>
                        <a:pt x="289" y="52"/>
                      </a:lnTo>
                      <a:lnTo>
                        <a:pt x="289" y="52"/>
                      </a:lnTo>
                      <a:lnTo>
                        <a:pt x="289" y="52"/>
                      </a:lnTo>
                      <a:lnTo>
                        <a:pt x="289" y="52"/>
                      </a:lnTo>
                      <a:lnTo>
                        <a:pt x="289" y="52"/>
                      </a:lnTo>
                      <a:lnTo>
                        <a:pt x="289" y="52"/>
                      </a:lnTo>
                      <a:lnTo>
                        <a:pt x="290" y="52"/>
                      </a:lnTo>
                      <a:lnTo>
                        <a:pt x="290" y="52"/>
                      </a:lnTo>
                      <a:lnTo>
                        <a:pt x="290" y="52"/>
                      </a:lnTo>
                      <a:lnTo>
                        <a:pt x="289" y="52"/>
                      </a:lnTo>
                      <a:lnTo>
                        <a:pt x="289" y="52"/>
                      </a:lnTo>
                      <a:lnTo>
                        <a:pt x="289" y="52"/>
                      </a:lnTo>
                      <a:lnTo>
                        <a:pt x="288" y="52"/>
                      </a:lnTo>
                      <a:lnTo>
                        <a:pt x="288" y="51"/>
                      </a:lnTo>
                      <a:lnTo>
                        <a:pt x="287" y="51"/>
                      </a:lnTo>
                      <a:lnTo>
                        <a:pt x="287" y="51"/>
                      </a:lnTo>
                      <a:lnTo>
                        <a:pt x="286" y="51"/>
                      </a:lnTo>
                      <a:lnTo>
                        <a:pt x="286" y="51"/>
                      </a:lnTo>
                      <a:lnTo>
                        <a:pt x="286" y="50"/>
                      </a:lnTo>
                      <a:lnTo>
                        <a:pt x="286" y="50"/>
                      </a:lnTo>
                      <a:lnTo>
                        <a:pt x="286" y="51"/>
                      </a:lnTo>
                      <a:lnTo>
                        <a:pt x="287" y="50"/>
                      </a:lnTo>
                      <a:lnTo>
                        <a:pt x="286" y="50"/>
                      </a:lnTo>
                      <a:lnTo>
                        <a:pt x="286" y="50"/>
                      </a:lnTo>
                      <a:lnTo>
                        <a:pt x="286" y="51"/>
                      </a:lnTo>
                      <a:lnTo>
                        <a:pt x="286" y="50"/>
                      </a:lnTo>
                      <a:lnTo>
                        <a:pt x="286" y="51"/>
                      </a:lnTo>
                      <a:lnTo>
                        <a:pt x="285" y="51"/>
                      </a:lnTo>
                      <a:lnTo>
                        <a:pt x="285" y="51"/>
                      </a:lnTo>
                      <a:lnTo>
                        <a:pt x="284" y="51"/>
                      </a:lnTo>
                      <a:lnTo>
                        <a:pt x="284" y="52"/>
                      </a:lnTo>
                      <a:lnTo>
                        <a:pt x="283" y="52"/>
                      </a:lnTo>
                      <a:lnTo>
                        <a:pt x="283" y="51"/>
                      </a:lnTo>
                      <a:lnTo>
                        <a:pt x="284" y="51"/>
                      </a:lnTo>
                      <a:lnTo>
                        <a:pt x="283" y="51"/>
                      </a:lnTo>
                      <a:lnTo>
                        <a:pt x="283" y="51"/>
                      </a:lnTo>
                      <a:lnTo>
                        <a:pt x="283" y="51"/>
                      </a:lnTo>
                      <a:lnTo>
                        <a:pt x="283" y="51"/>
                      </a:lnTo>
                      <a:lnTo>
                        <a:pt x="283" y="52"/>
                      </a:lnTo>
                      <a:lnTo>
                        <a:pt x="282" y="52"/>
                      </a:lnTo>
                      <a:lnTo>
                        <a:pt x="282" y="52"/>
                      </a:lnTo>
                      <a:lnTo>
                        <a:pt x="282" y="51"/>
                      </a:lnTo>
                      <a:lnTo>
                        <a:pt x="281" y="51"/>
                      </a:lnTo>
                      <a:lnTo>
                        <a:pt x="281" y="52"/>
                      </a:lnTo>
                      <a:lnTo>
                        <a:pt x="281" y="52"/>
                      </a:lnTo>
                      <a:lnTo>
                        <a:pt x="280" y="52"/>
                      </a:lnTo>
                      <a:lnTo>
                        <a:pt x="280" y="52"/>
                      </a:lnTo>
                      <a:lnTo>
                        <a:pt x="279" y="52"/>
                      </a:lnTo>
                      <a:lnTo>
                        <a:pt x="279" y="52"/>
                      </a:lnTo>
                      <a:lnTo>
                        <a:pt x="279" y="53"/>
                      </a:lnTo>
                      <a:lnTo>
                        <a:pt x="278" y="53"/>
                      </a:lnTo>
                      <a:lnTo>
                        <a:pt x="278" y="52"/>
                      </a:lnTo>
                      <a:lnTo>
                        <a:pt x="278" y="53"/>
                      </a:lnTo>
                      <a:lnTo>
                        <a:pt x="277" y="53"/>
                      </a:lnTo>
                      <a:lnTo>
                        <a:pt x="277" y="52"/>
                      </a:lnTo>
                      <a:lnTo>
                        <a:pt x="277" y="53"/>
                      </a:lnTo>
                      <a:lnTo>
                        <a:pt x="276" y="52"/>
                      </a:lnTo>
                      <a:lnTo>
                        <a:pt x="276" y="52"/>
                      </a:lnTo>
                      <a:lnTo>
                        <a:pt x="276" y="52"/>
                      </a:lnTo>
                      <a:lnTo>
                        <a:pt x="275" y="52"/>
                      </a:lnTo>
                      <a:lnTo>
                        <a:pt x="275" y="51"/>
                      </a:lnTo>
                      <a:lnTo>
                        <a:pt x="275" y="51"/>
                      </a:lnTo>
                      <a:lnTo>
                        <a:pt x="274" y="51"/>
                      </a:lnTo>
                      <a:lnTo>
                        <a:pt x="274" y="50"/>
                      </a:lnTo>
                      <a:lnTo>
                        <a:pt x="274" y="50"/>
                      </a:lnTo>
                      <a:lnTo>
                        <a:pt x="275" y="50"/>
                      </a:lnTo>
                      <a:lnTo>
                        <a:pt x="275" y="50"/>
                      </a:lnTo>
                      <a:lnTo>
                        <a:pt x="275" y="50"/>
                      </a:lnTo>
                      <a:lnTo>
                        <a:pt x="276" y="50"/>
                      </a:lnTo>
                      <a:lnTo>
                        <a:pt x="276" y="50"/>
                      </a:lnTo>
                      <a:lnTo>
                        <a:pt x="277" y="50"/>
                      </a:lnTo>
                      <a:lnTo>
                        <a:pt x="277" y="49"/>
                      </a:lnTo>
                      <a:lnTo>
                        <a:pt x="277" y="49"/>
                      </a:lnTo>
                      <a:lnTo>
                        <a:pt x="278" y="49"/>
                      </a:lnTo>
                      <a:lnTo>
                        <a:pt x="278" y="49"/>
                      </a:lnTo>
                      <a:lnTo>
                        <a:pt x="278" y="48"/>
                      </a:lnTo>
                      <a:lnTo>
                        <a:pt x="279" y="48"/>
                      </a:lnTo>
                      <a:lnTo>
                        <a:pt x="279" y="48"/>
                      </a:lnTo>
                      <a:lnTo>
                        <a:pt x="279" y="48"/>
                      </a:lnTo>
                      <a:lnTo>
                        <a:pt x="280" y="48"/>
                      </a:lnTo>
                      <a:lnTo>
                        <a:pt x="281" y="48"/>
                      </a:lnTo>
                      <a:lnTo>
                        <a:pt x="280" y="48"/>
                      </a:lnTo>
                      <a:lnTo>
                        <a:pt x="281" y="48"/>
                      </a:lnTo>
                      <a:lnTo>
                        <a:pt x="281" y="48"/>
                      </a:lnTo>
                      <a:lnTo>
                        <a:pt x="282" y="48"/>
                      </a:lnTo>
                      <a:lnTo>
                        <a:pt x="282" y="48"/>
                      </a:lnTo>
                      <a:lnTo>
                        <a:pt x="282" y="48"/>
                      </a:lnTo>
                      <a:lnTo>
                        <a:pt x="282" y="47"/>
                      </a:lnTo>
                      <a:lnTo>
                        <a:pt x="282" y="47"/>
                      </a:lnTo>
                      <a:lnTo>
                        <a:pt x="282" y="48"/>
                      </a:lnTo>
                      <a:lnTo>
                        <a:pt x="282" y="47"/>
                      </a:lnTo>
                      <a:lnTo>
                        <a:pt x="282" y="48"/>
                      </a:lnTo>
                      <a:lnTo>
                        <a:pt x="283" y="48"/>
                      </a:lnTo>
                      <a:lnTo>
                        <a:pt x="283" y="48"/>
                      </a:lnTo>
                      <a:lnTo>
                        <a:pt x="283" y="48"/>
                      </a:lnTo>
                      <a:lnTo>
                        <a:pt x="283" y="48"/>
                      </a:lnTo>
                      <a:lnTo>
                        <a:pt x="283" y="48"/>
                      </a:lnTo>
                      <a:lnTo>
                        <a:pt x="284" y="48"/>
                      </a:lnTo>
                      <a:lnTo>
                        <a:pt x="285" y="48"/>
                      </a:lnTo>
                      <a:lnTo>
                        <a:pt x="284" y="48"/>
                      </a:lnTo>
                      <a:lnTo>
                        <a:pt x="283" y="48"/>
                      </a:lnTo>
                      <a:lnTo>
                        <a:pt x="284" y="48"/>
                      </a:lnTo>
                      <a:lnTo>
                        <a:pt x="283" y="48"/>
                      </a:lnTo>
                      <a:lnTo>
                        <a:pt x="283" y="47"/>
                      </a:lnTo>
                      <a:lnTo>
                        <a:pt x="283" y="47"/>
                      </a:lnTo>
                      <a:lnTo>
                        <a:pt x="283" y="48"/>
                      </a:lnTo>
                      <a:lnTo>
                        <a:pt x="283" y="47"/>
                      </a:lnTo>
                      <a:lnTo>
                        <a:pt x="283" y="48"/>
                      </a:lnTo>
                      <a:lnTo>
                        <a:pt x="283" y="48"/>
                      </a:lnTo>
                      <a:lnTo>
                        <a:pt x="283" y="48"/>
                      </a:lnTo>
                      <a:lnTo>
                        <a:pt x="283" y="47"/>
                      </a:lnTo>
                      <a:lnTo>
                        <a:pt x="282" y="47"/>
                      </a:lnTo>
                      <a:lnTo>
                        <a:pt x="282" y="47"/>
                      </a:lnTo>
                      <a:lnTo>
                        <a:pt x="281" y="47"/>
                      </a:lnTo>
                      <a:lnTo>
                        <a:pt x="281" y="46"/>
                      </a:lnTo>
                      <a:lnTo>
                        <a:pt x="281" y="47"/>
                      </a:lnTo>
                      <a:lnTo>
                        <a:pt x="281" y="46"/>
                      </a:lnTo>
                      <a:lnTo>
                        <a:pt x="282" y="46"/>
                      </a:lnTo>
                      <a:lnTo>
                        <a:pt x="282" y="46"/>
                      </a:lnTo>
                      <a:lnTo>
                        <a:pt x="282" y="46"/>
                      </a:lnTo>
                      <a:lnTo>
                        <a:pt x="282" y="46"/>
                      </a:lnTo>
                      <a:lnTo>
                        <a:pt x="282" y="46"/>
                      </a:lnTo>
                      <a:lnTo>
                        <a:pt x="282" y="45"/>
                      </a:lnTo>
                      <a:lnTo>
                        <a:pt x="283" y="45"/>
                      </a:lnTo>
                      <a:lnTo>
                        <a:pt x="283" y="45"/>
                      </a:lnTo>
                      <a:lnTo>
                        <a:pt x="283" y="45"/>
                      </a:lnTo>
                      <a:lnTo>
                        <a:pt x="284" y="45"/>
                      </a:lnTo>
                      <a:lnTo>
                        <a:pt x="285" y="45"/>
                      </a:lnTo>
                      <a:lnTo>
                        <a:pt x="285" y="44"/>
                      </a:lnTo>
                      <a:lnTo>
                        <a:pt x="285" y="44"/>
                      </a:lnTo>
                      <a:lnTo>
                        <a:pt x="285" y="45"/>
                      </a:lnTo>
                      <a:lnTo>
                        <a:pt x="285" y="44"/>
                      </a:lnTo>
                      <a:lnTo>
                        <a:pt x="286" y="44"/>
                      </a:lnTo>
                      <a:lnTo>
                        <a:pt x="286" y="44"/>
                      </a:lnTo>
                      <a:lnTo>
                        <a:pt x="286" y="45"/>
                      </a:lnTo>
                      <a:lnTo>
                        <a:pt x="287" y="45"/>
                      </a:lnTo>
                      <a:lnTo>
                        <a:pt x="287" y="45"/>
                      </a:lnTo>
                      <a:lnTo>
                        <a:pt x="287" y="45"/>
                      </a:lnTo>
                      <a:lnTo>
                        <a:pt x="287" y="45"/>
                      </a:lnTo>
                      <a:lnTo>
                        <a:pt x="288" y="45"/>
                      </a:lnTo>
                      <a:lnTo>
                        <a:pt x="289" y="45"/>
                      </a:lnTo>
                      <a:lnTo>
                        <a:pt x="289" y="45"/>
                      </a:lnTo>
                      <a:lnTo>
                        <a:pt x="289" y="45"/>
                      </a:lnTo>
                      <a:lnTo>
                        <a:pt x="290" y="45"/>
                      </a:lnTo>
                      <a:lnTo>
                        <a:pt x="290" y="45"/>
                      </a:lnTo>
                      <a:lnTo>
                        <a:pt x="291" y="45"/>
                      </a:lnTo>
                      <a:lnTo>
                        <a:pt x="291" y="46"/>
                      </a:lnTo>
                      <a:lnTo>
                        <a:pt x="292" y="46"/>
                      </a:lnTo>
                      <a:lnTo>
                        <a:pt x="292" y="46"/>
                      </a:lnTo>
                      <a:lnTo>
                        <a:pt x="292" y="46"/>
                      </a:lnTo>
                      <a:lnTo>
                        <a:pt x="292" y="46"/>
                      </a:lnTo>
                      <a:lnTo>
                        <a:pt x="292" y="46"/>
                      </a:lnTo>
                      <a:lnTo>
                        <a:pt x="292" y="46"/>
                      </a:lnTo>
                      <a:lnTo>
                        <a:pt x="292" y="46"/>
                      </a:lnTo>
                      <a:lnTo>
                        <a:pt x="293" y="46"/>
                      </a:lnTo>
                      <a:lnTo>
                        <a:pt x="293" y="46"/>
                      </a:lnTo>
                      <a:lnTo>
                        <a:pt x="293" y="46"/>
                      </a:lnTo>
                      <a:lnTo>
                        <a:pt x="293" y="46"/>
                      </a:lnTo>
                      <a:lnTo>
                        <a:pt x="294" y="46"/>
                      </a:lnTo>
                      <a:lnTo>
                        <a:pt x="294" y="46"/>
                      </a:lnTo>
                      <a:lnTo>
                        <a:pt x="294" y="46"/>
                      </a:lnTo>
                      <a:lnTo>
                        <a:pt x="294" y="46"/>
                      </a:lnTo>
                      <a:lnTo>
                        <a:pt x="294" y="46"/>
                      </a:lnTo>
                      <a:lnTo>
                        <a:pt x="295" y="46"/>
                      </a:lnTo>
                      <a:lnTo>
                        <a:pt x="295" y="46"/>
                      </a:lnTo>
                      <a:lnTo>
                        <a:pt x="296" y="46"/>
                      </a:lnTo>
                      <a:lnTo>
                        <a:pt x="295" y="46"/>
                      </a:lnTo>
                      <a:lnTo>
                        <a:pt x="295" y="46"/>
                      </a:lnTo>
                      <a:lnTo>
                        <a:pt x="294" y="46"/>
                      </a:lnTo>
                      <a:lnTo>
                        <a:pt x="294" y="46"/>
                      </a:lnTo>
                      <a:lnTo>
                        <a:pt x="293" y="46"/>
                      </a:lnTo>
                      <a:lnTo>
                        <a:pt x="294" y="46"/>
                      </a:lnTo>
                      <a:lnTo>
                        <a:pt x="293" y="46"/>
                      </a:lnTo>
                      <a:lnTo>
                        <a:pt x="294" y="46"/>
                      </a:lnTo>
                      <a:lnTo>
                        <a:pt x="293" y="46"/>
                      </a:lnTo>
                      <a:lnTo>
                        <a:pt x="293" y="46"/>
                      </a:lnTo>
                      <a:lnTo>
                        <a:pt x="292" y="46"/>
                      </a:lnTo>
                      <a:lnTo>
                        <a:pt x="292" y="46"/>
                      </a:lnTo>
                      <a:lnTo>
                        <a:pt x="292" y="45"/>
                      </a:lnTo>
                      <a:lnTo>
                        <a:pt x="292" y="45"/>
                      </a:lnTo>
                      <a:lnTo>
                        <a:pt x="292" y="45"/>
                      </a:lnTo>
                      <a:lnTo>
                        <a:pt x="292" y="45"/>
                      </a:lnTo>
                      <a:lnTo>
                        <a:pt x="292" y="45"/>
                      </a:lnTo>
                      <a:lnTo>
                        <a:pt x="292" y="45"/>
                      </a:lnTo>
                      <a:lnTo>
                        <a:pt x="292" y="45"/>
                      </a:lnTo>
                      <a:lnTo>
                        <a:pt x="291" y="45"/>
                      </a:lnTo>
                      <a:lnTo>
                        <a:pt x="291" y="45"/>
                      </a:lnTo>
                      <a:lnTo>
                        <a:pt x="290" y="45"/>
                      </a:lnTo>
                      <a:lnTo>
                        <a:pt x="290" y="45"/>
                      </a:lnTo>
                      <a:lnTo>
                        <a:pt x="289" y="45"/>
                      </a:lnTo>
                      <a:lnTo>
                        <a:pt x="290" y="44"/>
                      </a:lnTo>
                      <a:lnTo>
                        <a:pt x="289" y="44"/>
                      </a:lnTo>
                      <a:lnTo>
                        <a:pt x="290" y="44"/>
                      </a:lnTo>
                      <a:lnTo>
                        <a:pt x="289" y="44"/>
                      </a:lnTo>
                      <a:lnTo>
                        <a:pt x="289" y="44"/>
                      </a:lnTo>
                      <a:lnTo>
                        <a:pt x="289" y="44"/>
                      </a:lnTo>
                      <a:lnTo>
                        <a:pt x="289" y="44"/>
                      </a:lnTo>
                      <a:lnTo>
                        <a:pt x="288" y="44"/>
                      </a:lnTo>
                      <a:lnTo>
                        <a:pt x="287" y="44"/>
                      </a:lnTo>
                      <a:lnTo>
                        <a:pt x="287" y="44"/>
                      </a:lnTo>
                      <a:lnTo>
                        <a:pt x="287" y="43"/>
                      </a:lnTo>
                      <a:lnTo>
                        <a:pt x="287" y="44"/>
                      </a:lnTo>
                      <a:lnTo>
                        <a:pt x="286" y="43"/>
                      </a:lnTo>
                      <a:lnTo>
                        <a:pt x="286" y="43"/>
                      </a:lnTo>
                      <a:lnTo>
                        <a:pt x="285" y="43"/>
                      </a:lnTo>
                      <a:lnTo>
                        <a:pt x="286" y="43"/>
                      </a:lnTo>
                      <a:lnTo>
                        <a:pt x="286" y="42"/>
                      </a:lnTo>
                      <a:lnTo>
                        <a:pt x="286" y="42"/>
                      </a:lnTo>
                      <a:lnTo>
                        <a:pt x="287" y="42"/>
                      </a:lnTo>
                      <a:lnTo>
                        <a:pt x="286" y="42"/>
                      </a:lnTo>
                      <a:lnTo>
                        <a:pt x="286" y="43"/>
                      </a:lnTo>
                      <a:lnTo>
                        <a:pt x="287" y="43"/>
                      </a:lnTo>
                      <a:lnTo>
                        <a:pt x="287" y="42"/>
                      </a:lnTo>
                      <a:lnTo>
                        <a:pt x="287" y="42"/>
                      </a:lnTo>
                      <a:lnTo>
                        <a:pt x="288" y="42"/>
                      </a:lnTo>
                      <a:lnTo>
                        <a:pt x="289" y="42"/>
                      </a:lnTo>
                      <a:lnTo>
                        <a:pt x="289" y="42"/>
                      </a:lnTo>
                      <a:lnTo>
                        <a:pt x="290" y="42"/>
                      </a:lnTo>
                      <a:lnTo>
                        <a:pt x="290" y="43"/>
                      </a:lnTo>
                      <a:lnTo>
                        <a:pt x="290" y="43"/>
                      </a:lnTo>
                      <a:lnTo>
                        <a:pt x="290" y="42"/>
                      </a:lnTo>
                      <a:lnTo>
                        <a:pt x="291" y="42"/>
                      </a:lnTo>
                      <a:lnTo>
                        <a:pt x="290" y="42"/>
                      </a:lnTo>
                      <a:lnTo>
                        <a:pt x="291" y="42"/>
                      </a:lnTo>
                      <a:lnTo>
                        <a:pt x="290" y="42"/>
                      </a:lnTo>
                      <a:lnTo>
                        <a:pt x="290" y="42"/>
                      </a:lnTo>
                      <a:lnTo>
                        <a:pt x="290" y="42"/>
                      </a:lnTo>
                      <a:lnTo>
                        <a:pt x="289" y="42"/>
                      </a:lnTo>
                      <a:lnTo>
                        <a:pt x="289" y="42"/>
                      </a:lnTo>
                      <a:lnTo>
                        <a:pt x="289" y="41"/>
                      </a:lnTo>
                      <a:lnTo>
                        <a:pt x="288" y="41"/>
                      </a:lnTo>
                      <a:lnTo>
                        <a:pt x="287" y="41"/>
                      </a:lnTo>
                      <a:lnTo>
                        <a:pt x="287" y="41"/>
                      </a:lnTo>
                      <a:lnTo>
                        <a:pt x="287" y="41"/>
                      </a:lnTo>
                      <a:lnTo>
                        <a:pt x="287" y="41"/>
                      </a:lnTo>
                      <a:lnTo>
                        <a:pt x="288" y="41"/>
                      </a:lnTo>
                      <a:lnTo>
                        <a:pt x="289" y="41"/>
                      </a:lnTo>
                      <a:lnTo>
                        <a:pt x="289" y="41"/>
                      </a:lnTo>
                      <a:lnTo>
                        <a:pt x="289" y="40"/>
                      </a:lnTo>
                      <a:lnTo>
                        <a:pt x="289" y="41"/>
                      </a:lnTo>
                      <a:lnTo>
                        <a:pt x="289" y="40"/>
                      </a:lnTo>
                      <a:lnTo>
                        <a:pt x="290" y="40"/>
                      </a:lnTo>
                      <a:lnTo>
                        <a:pt x="290" y="40"/>
                      </a:lnTo>
                      <a:lnTo>
                        <a:pt x="291" y="40"/>
                      </a:lnTo>
                      <a:lnTo>
                        <a:pt x="292" y="40"/>
                      </a:lnTo>
                      <a:lnTo>
                        <a:pt x="292" y="40"/>
                      </a:lnTo>
                      <a:lnTo>
                        <a:pt x="293" y="40"/>
                      </a:lnTo>
                      <a:lnTo>
                        <a:pt x="293" y="40"/>
                      </a:lnTo>
                      <a:lnTo>
                        <a:pt x="293" y="40"/>
                      </a:lnTo>
                      <a:lnTo>
                        <a:pt x="293" y="40"/>
                      </a:lnTo>
                      <a:lnTo>
                        <a:pt x="294" y="40"/>
                      </a:lnTo>
                      <a:lnTo>
                        <a:pt x="294" y="39"/>
                      </a:lnTo>
                      <a:lnTo>
                        <a:pt x="294" y="40"/>
                      </a:lnTo>
                      <a:lnTo>
                        <a:pt x="294" y="40"/>
                      </a:lnTo>
                      <a:lnTo>
                        <a:pt x="294" y="39"/>
                      </a:lnTo>
                      <a:lnTo>
                        <a:pt x="294" y="40"/>
                      </a:lnTo>
                      <a:lnTo>
                        <a:pt x="294" y="39"/>
                      </a:lnTo>
                      <a:lnTo>
                        <a:pt x="295" y="39"/>
                      </a:lnTo>
                      <a:lnTo>
                        <a:pt x="296" y="39"/>
                      </a:lnTo>
                      <a:lnTo>
                        <a:pt x="296" y="39"/>
                      </a:lnTo>
                      <a:lnTo>
                        <a:pt x="296" y="40"/>
                      </a:lnTo>
                      <a:lnTo>
                        <a:pt x="297" y="40"/>
                      </a:lnTo>
                      <a:lnTo>
                        <a:pt x="297" y="40"/>
                      </a:lnTo>
                      <a:lnTo>
                        <a:pt x="298" y="40"/>
                      </a:lnTo>
                      <a:lnTo>
                        <a:pt x="298" y="41"/>
                      </a:lnTo>
                      <a:lnTo>
                        <a:pt x="299" y="41"/>
                      </a:lnTo>
                      <a:lnTo>
                        <a:pt x="300" y="41"/>
                      </a:lnTo>
                      <a:lnTo>
                        <a:pt x="299" y="41"/>
                      </a:lnTo>
                      <a:lnTo>
                        <a:pt x="300" y="41"/>
                      </a:lnTo>
                      <a:lnTo>
                        <a:pt x="300" y="41"/>
                      </a:lnTo>
                      <a:lnTo>
                        <a:pt x="300" y="41"/>
                      </a:lnTo>
                      <a:lnTo>
                        <a:pt x="300" y="41"/>
                      </a:lnTo>
                      <a:lnTo>
                        <a:pt x="301" y="41"/>
                      </a:lnTo>
                      <a:lnTo>
                        <a:pt x="301" y="41"/>
                      </a:lnTo>
                      <a:lnTo>
                        <a:pt x="301" y="41"/>
                      </a:lnTo>
                      <a:lnTo>
                        <a:pt x="301" y="41"/>
                      </a:lnTo>
                      <a:lnTo>
                        <a:pt x="300" y="41"/>
                      </a:lnTo>
                      <a:lnTo>
                        <a:pt x="300" y="41"/>
                      </a:lnTo>
                      <a:lnTo>
                        <a:pt x="300" y="40"/>
                      </a:lnTo>
                      <a:lnTo>
                        <a:pt x="299" y="40"/>
                      </a:lnTo>
                      <a:lnTo>
                        <a:pt x="298" y="40"/>
                      </a:lnTo>
                      <a:lnTo>
                        <a:pt x="298" y="40"/>
                      </a:lnTo>
                      <a:lnTo>
                        <a:pt x="298" y="39"/>
                      </a:lnTo>
                      <a:lnTo>
                        <a:pt x="297" y="39"/>
                      </a:lnTo>
                      <a:lnTo>
                        <a:pt x="297" y="39"/>
                      </a:lnTo>
                      <a:lnTo>
                        <a:pt x="296" y="39"/>
                      </a:lnTo>
                      <a:lnTo>
                        <a:pt x="296" y="39"/>
                      </a:lnTo>
                      <a:lnTo>
                        <a:pt x="296" y="39"/>
                      </a:lnTo>
                      <a:lnTo>
                        <a:pt x="296" y="39"/>
                      </a:lnTo>
                      <a:lnTo>
                        <a:pt x="296" y="39"/>
                      </a:lnTo>
                      <a:lnTo>
                        <a:pt x="296" y="39"/>
                      </a:lnTo>
                      <a:lnTo>
                        <a:pt x="295" y="39"/>
                      </a:lnTo>
                      <a:lnTo>
                        <a:pt x="296" y="39"/>
                      </a:lnTo>
                      <a:lnTo>
                        <a:pt x="295" y="39"/>
                      </a:lnTo>
                      <a:lnTo>
                        <a:pt x="294" y="39"/>
                      </a:lnTo>
                      <a:lnTo>
                        <a:pt x="294" y="39"/>
                      </a:lnTo>
                      <a:lnTo>
                        <a:pt x="293" y="39"/>
                      </a:lnTo>
                      <a:lnTo>
                        <a:pt x="294" y="39"/>
                      </a:lnTo>
                      <a:lnTo>
                        <a:pt x="293" y="39"/>
                      </a:lnTo>
                      <a:lnTo>
                        <a:pt x="294" y="39"/>
                      </a:lnTo>
                      <a:lnTo>
                        <a:pt x="293" y="39"/>
                      </a:lnTo>
                      <a:lnTo>
                        <a:pt x="293" y="39"/>
                      </a:lnTo>
                      <a:lnTo>
                        <a:pt x="293" y="39"/>
                      </a:lnTo>
                      <a:lnTo>
                        <a:pt x="293" y="39"/>
                      </a:lnTo>
                      <a:lnTo>
                        <a:pt x="293" y="39"/>
                      </a:lnTo>
                      <a:lnTo>
                        <a:pt x="292" y="39"/>
                      </a:lnTo>
                      <a:lnTo>
                        <a:pt x="292" y="39"/>
                      </a:lnTo>
                      <a:lnTo>
                        <a:pt x="291" y="39"/>
                      </a:lnTo>
                      <a:lnTo>
                        <a:pt x="290" y="39"/>
                      </a:lnTo>
                      <a:lnTo>
                        <a:pt x="290" y="38"/>
                      </a:lnTo>
                      <a:lnTo>
                        <a:pt x="290" y="38"/>
                      </a:lnTo>
                      <a:lnTo>
                        <a:pt x="289" y="38"/>
                      </a:lnTo>
                      <a:lnTo>
                        <a:pt x="289" y="38"/>
                      </a:lnTo>
                      <a:lnTo>
                        <a:pt x="290" y="38"/>
                      </a:lnTo>
                      <a:lnTo>
                        <a:pt x="289" y="38"/>
                      </a:lnTo>
                      <a:lnTo>
                        <a:pt x="290" y="38"/>
                      </a:lnTo>
                      <a:lnTo>
                        <a:pt x="289" y="38"/>
                      </a:lnTo>
                      <a:lnTo>
                        <a:pt x="289" y="37"/>
                      </a:lnTo>
                      <a:lnTo>
                        <a:pt x="290" y="37"/>
                      </a:lnTo>
                      <a:lnTo>
                        <a:pt x="290" y="37"/>
                      </a:lnTo>
                      <a:lnTo>
                        <a:pt x="290" y="37"/>
                      </a:lnTo>
                      <a:lnTo>
                        <a:pt x="291" y="37"/>
                      </a:lnTo>
                      <a:lnTo>
                        <a:pt x="292" y="37"/>
                      </a:lnTo>
                      <a:lnTo>
                        <a:pt x="292" y="37"/>
                      </a:lnTo>
                      <a:lnTo>
                        <a:pt x="292" y="37"/>
                      </a:lnTo>
                      <a:lnTo>
                        <a:pt x="292" y="37"/>
                      </a:lnTo>
                      <a:lnTo>
                        <a:pt x="292" y="37"/>
                      </a:lnTo>
                      <a:lnTo>
                        <a:pt x="292" y="37"/>
                      </a:lnTo>
                      <a:lnTo>
                        <a:pt x="292" y="37"/>
                      </a:lnTo>
                      <a:lnTo>
                        <a:pt x="293" y="37"/>
                      </a:lnTo>
                      <a:lnTo>
                        <a:pt x="293" y="37"/>
                      </a:lnTo>
                      <a:lnTo>
                        <a:pt x="294" y="37"/>
                      </a:lnTo>
                      <a:lnTo>
                        <a:pt x="294" y="37"/>
                      </a:lnTo>
                      <a:lnTo>
                        <a:pt x="295" y="37"/>
                      </a:lnTo>
                      <a:lnTo>
                        <a:pt x="295" y="36"/>
                      </a:lnTo>
                      <a:lnTo>
                        <a:pt x="296" y="36"/>
                      </a:lnTo>
                      <a:lnTo>
                        <a:pt x="296" y="36"/>
                      </a:lnTo>
                      <a:lnTo>
                        <a:pt x="296" y="37"/>
                      </a:lnTo>
                      <a:lnTo>
                        <a:pt x="297" y="37"/>
                      </a:lnTo>
                      <a:lnTo>
                        <a:pt x="296" y="37"/>
                      </a:lnTo>
                      <a:lnTo>
                        <a:pt x="297" y="37"/>
                      </a:lnTo>
                      <a:lnTo>
                        <a:pt x="297" y="37"/>
                      </a:lnTo>
                      <a:lnTo>
                        <a:pt x="297" y="37"/>
                      </a:lnTo>
                      <a:lnTo>
                        <a:pt x="297" y="37"/>
                      </a:lnTo>
                      <a:lnTo>
                        <a:pt x="298" y="37"/>
                      </a:lnTo>
                      <a:lnTo>
                        <a:pt x="298" y="37"/>
                      </a:lnTo>
                      <a:lnTo>
                        <a:pt x="298" y="37"/>
                      </a:lnTo>
                      <a:lnTo>
                        <a:pt x="299" y="37"/>
                      </a:lnTo>
                      <a:lnTo>
                        <a:pt x="300" y="37"/>
                      </a:lnTo>
                      <a:lnTo>
                        <a:pt x="300" y="37"/>
                      </a:lnTo>
                      <a:lnTo>
                        <a:pt x="300" y="36"/>
                      </a:lnTo>
                      <a:lnTo>
                        <a:pt x="300" y="37"/>
                      </a:lnTo>
                      <a:lnTo>
                        <a:pt x="300" y="36"/>
                      </a:lnTo>
                      <a:lnTo>
                        <a:pt x="300" y="36"/>
                      </a:lnTo>
                      <a:lnTo>
                        <a:pt x="299" y="36"/>
                      </a:lnTo>
                      <a:lnTo>
                        <a:pt x="298" y="37"/>
                      </a:lnTo>
                      <a:lnTo>
                        <a:pt x="298" y="37"/>
                      </a:lnTo>
                      <a:lnTo>
                        <a:pt x="297" y="37"/>
                      </a:lnTo>
                      <a:lnTo>
                        <a:pt x="297" y="36"/>
                      </a:lnTo>
                      <a:lnTo>
                        <a:pt x="297" y="35"/>
                      </a:lnTo>
                      <a:lnTo>
                        <a:pt x="296" y="35"/>
                      </a:lnTo>
                      <a:lnTo>
                        <a:pt x="297" y="35"/>
                      </a:lnTo>
                      <a:lnTo>
                        <a:pt x="297" y="35"/>
                      </a:lnTo>
                      <a:lnTo>
                        <a:pt x="297" y="35"/>
                      </a:lnTo>
                      <a:lnTo>
                        <a:pt x="297" y="35"/>
                      </a:lnTo>
                      <a:lnTo>
                        <a:pt x="296" y="35"/>
                      </a:lnTo>
                      <a:lnTo>
                        <a:pt x="297" y="35"/>
                      </a:lnTo>
                      <a:lnTo>
                        <a:pt x="296" y="35"/>
                      </a:lnTo>
                      <a:lnTo>
                        <a:pt x="296" y="35"/>
                      </a:lnTo>
                      <a:lnTo>
                        <a:pt x="295" y="35"/>
                      </a:lnTo>
                      <a:lnTo>
                        <a:pt x="294" y="35"/>
                      </a:lnTo>
                      <a:lnTo>
                        <a:pt x="294" y="35"/>
                      </a:lnTo>
                      <a:lnTo>
                        <a:pt x="293" y="35"/>
                      </a:lnTo>
                      <a:lnTo>
                        <a:pt x="293" y="35"/>
                      </a:lnTo>
                      <a:lnTo>
                        <a:pt x="293" y="35"/>
                      </a:lnTo>
                      <a:lnTo>
                        <a:pt x="292" y="35"/>
                      </a:lnTo>
                      <a:lnTo>
                        <a:pt x="292" y="35"/>
                      </a:lnTo>
                      <a:lnTo>
                        <a:pt x="291" y="35"/>
                      </a:lnTo>
                      <a:lnTo>
                        <a:pt x="292" y="34"/>
                      </a:lnTo>
                      <a:lnTo>
                        <a:pt x="292" y="34"/>
                      </a:lnTo>
                      <a:lnTo>
                        <a:pt x="293" y="34"/>
                      </a:lnTo>
                      <a:lnTo>
                        <a:pt x="293" y="34"/>
                      </a:lnTo>
                      <a:lnTo>
                        <a:pt x="293" y="34"/>
                      </a:lnTo>
                      <a:lnTo>
                        <a:pt x="294" y="34"/>
                      </a:lnTo>
                      <a:lnTo>
                        <a:pt x="294" y="33"/>
                      </a:lnTo>
                      <a:lnTo>
                        <a:pt x="295" y="33"/>
                      </a:lnTo>
                      <a:lnTo>
                        <a:pt x="296" y="33"/>
                      </a:lnTo>
                      <a:lnTo>
                        <a:pt x="296" y="33"/>
                      </a:lnTo>
                      <a:lnTo>
                        <a:pt x="297" y="33"/>
                      </a:lnTo>
                      <a:lnTo>
                        <a:pt x="297" y="33"/>
                      </a:lnTo>
                      <a:lnTo>
                        <a:pt x="297" y="33"/>
                      </a:lnTo>
                      <a:lnTo>
                        <a:pt x="297" y="33"/>
                      </a:lnTo>
                      <a:lnTo>
                        <a:pt x="297" y="33"/>
                      </a:lnTo>
                      <a:lnTo>
                        <a:pt x="298" y="33"/>
                      </a:lnTo>
                      <a:lnTo>
                        <a:pt x="297" y="33"/>
                      </a:lnTo>
                      <a:lnTo>
                        <a:pt x="297" y="33"/>
                      </a:lnTo>
                      <a:lnTo>
                        <a:pt x="297" y="33"/>
                      </a:lnTo>
                      <a:lnTo>
                        <a:pt x="298" y="33"/>
                      </a:lnTo>
                      <a:lnTo>
                        <a:pt x="297" y="33"/>
                      </a:lnTo>
                      <a:lnTo>
                        <a:pt x="297" y="33"/>
                      </a:lnTo>
                      <a:lnTo>
                        <a:pt x="296" y="33"/>
                      </a:lnTo>
                      <a:lnTo>
                        <a:pt x="296" y="33"/>
                      </a:lnTo>
                      <a:lnTo>
                        <a:pt x="295" y="33"/>
                      </a:lnTo>
                      <a:lnTo>
                        <a:pt x="295" y="33"/>
                      </a:lnTo>
                      <a:lnTo>
                        <a:pt x="296" y="33"/>
                      </a:lnTo>
                      <a:lnTo>
                        <a:pt x="295" y="33"/>
                      </a:lnTo>
                      <a:lnTo>
                        <a:pt x="294" y="33"/>
                      </a:lnTo>
                      <a:lnTo>
                        <a:pt x="295" y="33"/>
                      </a:lnTo>
                      <a:lnTo>
                        <a:pt x="295" y="32"/>
                      </a:lnTo>
                      <a:lnTo>
                        <a:pt x="296" y="32"/>
                      </a:lnTo>
                      <a:lnTo>
                        <a:pt x="296" y="32"/>
                      </a:lnTo>
                      <a:lnTo>
                        <a:pt x="296" y="32"/>
                      </a:lnTo>
                      <a:lnTo>
                        <a:pt x="296" y="32"/>
                      </a:lnTo>
                      <a:lnTo>
                        <a:pt x="296" y="32"/>
                      </a:lnTo>
                      <a:lnTo>
                        <a:pt x="296" y="31"/>
                      </a:lnTo>
                      <a:lnTo>
                        <a:pt x="296" y="32"/>
                      </a:lnTo>
                      <a:lnTo>
                        <a:pt x="296" y="31"/>
                      </a:lnTo>
                      <a:lnTo>
                        <a:pt x="295" y="31"/>
                      </a:lnTo>
                      <a:lnTo>
                        <a:pt x="294" y="31"/>
                      </a:lnTo>
                      <a:lnTo>
                        <a:pt x="294" y="31"/>
                      </a:lnTo>
                      <a:lnTo>
                        <a:pt x="293" y="31"/>
                      </a:lnTo>
                      <a:lnTo>
                        <a:pt x="293" y="31"/>
                      </a:lnTo>
                      <a:lnTo>
                        <a:pt x="293" y="32"/>
                      </a:lnTo>
                      <a:lnTo>
                        <a:pt x="292" y="32"/>
                      </a:lnTo>
                      <a:lnTo>
                        <a:pt x="292" y="32"/>
                      </a:lnTo>
                      <a:lnTo>
                        <a:pt x="292" y="31"/>
                      </a:lnTo>
                      <a:lnTo>
                        <a:pt x="292" y="31"/>
                      </a:lnTo>
                      <a:lnTo>
                        <a:pt x="292" y="31"/>
                      </a:lnTo>
                      <a:lnTo>
                        <a:pt x="292" y="30"/>
                      </a:lnTo>
                      <a:lnTo>
                        <a:pt x="291" y="30"/>
                      </a:lnTo>
                      <a:lnTo>
                        <a:pt x="291" y="31"/>
                      </a:lnTo>
                      <a:lnTo>
                        <a:pt x="290" y="31"/>
                      </a:lnTo>
                      <a:lnTo>
                        <a:pt x="290" y="30"/>
                      </a:lnTo>
                      <a:lnTo>
                        <a:pt x="291" y="30"/>
                      </a:lnTo>
                      <a:lnTo>
                        <a:pt x="290" y="30"/>
                      </a:lnTo>
                      <a:lnTo>
                        <a:pt x="291" y="30"/>
                      </a:lnTo>
                      <a:lnTo>
                        <a:pt x="291" y="30"/>
                      </a:lnTo>
                      <a:lnTo>
                        <a:pt x="291" y="29"/>
                      </a:lnTo>
                      <a:lnTo>
                        <a:pt x="292" y="29"/>
                      </a:lnTo>
                      <a:lnTo>
                        <a:pt x="292" y="28"/>
                      </a:lnTo>
                      <a:lnTo>
                        <a:pt x="293" y="28"/>
                      </a:lnTo>
                      <a:lnTo>
                        <a:pt x="293" y="29"/>
                      </a:lnTo>
                      <a:lnTo>
                        <a:pt x="293" y="29"/>
                      </a:lnTo>
                      <a:lnTo>
                        <a:pt x="294" y="28"/>
                      </a:lnTo>
                      <a:lnTo>
                        <a:pt x="293" y="29"/>
                      </a:lnTo>
                      <a:lnTo>
                        <a:pt x="294" y="30"/>
                      </a:lnTo>
                      <a:lnTo>
                        <a:pt x="294" y="29"/>
                      </a:lnTo>
                      <a:lnTo>
                        <a:pt x="294" y="29"/>
                      </a:lnTo>
                      <a:lnTo>
                        <a:pt x="295" y="29"/>
                      </a:lnTo>
                      <a:lnTo>
                        <a:pt x="295" y="30"/>
                      </a:lnTo>
                      <a:lnTo>
                        <a:pt x="296" y="30"/>
                      </a:lnTo>
                      <a:lnTo>
                        <a:pt x="296" y="30"/>
                      </a:lnTo>
                      <a:lnTo>
                        <a:pt x="296" y="30"/>
                      </a:lnTo>
                      <a:lnTo>
                        <a:pt x="296" y="31"/>
                      </a:lnTo>
                      <a:lnTo>
                        <a:pt x="296" y="31"/>
                      </a:lnTo>
                      <a:lnTo>
                        <a:pt x="296" y="30"/>
                      </a:lnTo>
                      <a:lnTo>
                        <a:pt x="297" y="30"/>
                      </a:lnTo>
                      <a:lnTo>
                        <a:pt x="297" y="30"/>
                      </a:lnTo>
                      <a:lnTo>
                        <a:pt x="297" y="30"/>
                      </a:lnTo>
                      <a:lnTo>
                        <a:pt x="297" y="29"/>
                      </a:lnTo>
                      <a:lnTo>
                        <a:pt x="298" y="29"/>
                      </a:lnTo>
                      <a:lnTo>
                        <a:pt x="298" y="29"/>
                      </a:lnTo>
                      <a:lnTo>
                        <a:pt x="298" y="28"/>
                      </a:lnTo>
                      <a:lnTo>
                        <a:pt x="299" y="28"/>
                      </a:lnTo>
                      <a:lnTo>
                        <a:pt x="300" y="28"/>
                      </a:lnTo>
                      <a:lnTo>
                        <a:pt x="299" y="28"/>
                      </a:lnTo>
                      <a:lnTo>
                        <a:pt x="300" y="28"/>
                      </a:lnTo>
                      <a:lnTo>
                        <a:pt x="300" y="28"/>
                      </a:lnTo>
                      <a:lnTo>
                        <a:pt x="301" y="28"/>
                      </a:lnTo>
                      <a:lnTo>
                        <a:pt x="301" y="27"/>
                      </a:lnTo>
                      <a:lnTo>
                        <a:pt x="300" y="27"/>
                      </a:lnTo>
                      <a:lnTo>
                        <a:pt x="300" y="27"/>
                      </a:lnTo>
                      <a:lnTo>
                        <a:pt x="300" y="27"/>
                      </a:lnTo>
                      <a:lnTo>
                        <a:pt x="300" y="27"/>
                      </a:lnTo>
                      <a:lnTo>
                        <a:pt x="299" y="27"/>
                      </a:lnTo>
                      <a:lnTo>
                        <a:pt x="298" y="27"/>
                      </a:lnTo>
                      <a:lnTo>
                        <a:pt x="298" y="27"/>
                      </a:lnTo>
                      <a:lnTo>
                        <a:pt x="299" y="26"/>
                      </a:lnTo>
                      <a:lnTo>
                        <a:pt x="300" y="26"/>
                      </a:lnTo>
                      <a:lnTo>
                        <a:pt x="300" y="26"/>
                      </a:lnTo>
                      <a:lnTo>
                        <a:pt x="301" y="26"/>
                      </a:lnTo>
                      <a:lnTo>
                        <a:pt x="301" y="26"/>
                      </a:lnTo>
                      <a:lnTo>
                        <a:pt x="302" y="26"/>
                      </a:lnTo>
                      <a:lnTo>
                        <a:pt x="302" y="26"/>
                      </a:lnTo>
                      <a:lnTo>
                        <a:pt x="303" y="26"/>
                      </a:lnTo>
                      <a:lnTo>
                        <a:pt x="304" y="26"/>
                      </a:lnTo>
                      <a:lnTo>
                        <a:pt x="304" y="26"/>
                      </a:lnTo>
                      <a:lnTo>
                        <a:pt x="304" y="26"/>
                      </a:lnTo>
                      <a:lnTo>
                        <a:pt x="305" y="26"/>
                      </a:lnTo>
                      <a:lnTo>
                        <a:pt x="305" y="27"/>
                      </a:lnTo>
                      <a:lnTo>
                        <a:pt x="305" y="27"/>
                      </a:lnTo>
                      <a:lnTo>
                        <a:pt x="305" y="27"/>
                      </a:lnTo>
                      <a:lnTo>
                        <a:pt x="305" y="27"/>
                      </a:lnTo>
                      <a:lnTo>
                        <a:pt x="306" y="27"/>
                      </a:lnTo>
                      <a:lnTo>
                        <a:pt x="305" y="27"/>
                      </a:lnTo>
                      <a:lnTo>
                        <a:pt x="306" y="27"/>
                      </a:lnTo>
                      <a:lnTo>
                        <a:pt x="307" y="27"/>
                      </a:lnTo>
                      <a:lnTo>
                        <a:pt x="307" y="27"/>
                      </a:lnTo>
                      <a:lnTo>
                        <a:pt x="308" y="27"/>
                      </a:lnTo>
                      <a:lnTo>
                        <a:pt x="308" y="26"/>
                      </a:lnTo>
                      <a:lnTo>
                        <a:pt x="307" y="26"/>
                      </a:lnTo>
                      <a:lnTo>
                        <a:pt x="307" y="26"/>
                      </a:lnTo>
                      <a:lnTo>
                        <a:pt x="307" y="26"/>
                      </a:lnTo>
                      <a:lnTo>
                        <a:pt x="307" y="25"/>
                      </a:lnTo>
                      <a:lnTo>
                        <a:pt x="307" y="25"/>
                      </a:lnTo>
                      <a:lnTo>
                        <a:pt x="307" y="25"/>
                      </a:lnTo>
                      <a:lnTo>
                        <a:pt x="307" y="24"/>
                      </a:lnTo>
                      <a:lnTo>
                        <a:pt x="306" y="24"/>
                      </a:lnTo>
                      <a:lnTo>
                        <a:pt x="305" y="24"/>
                      </a:lnTo>
                      <a:lnTo>
                        <a:pt x="305" y="24"/>
                      </a:lnTo>
                      <a:lnTo>
                        <a:pt x="305" y="24"/>
                      </a:lnTo>
                      <a:lnTo>
                        <a:pt x="305" y="24"/>
                      </a:lnTo>
                      <a:lnTo>
                        <a:pt x="305" y="24"/>
                      </a:lnTo>
                      <a:lnTo>
                        <a:pt x="305" y="24"/>
                      </a:lnTo>
                      <a:lnTo>
                        <a:pt x="305" y="23"/>
                      </a:lnTo>
                      <a:lnTo>
                        <a:pt x="306" y="23"/>
                      </a:lnTo>
                      <a:lnTo>
                        <a:pt x="307" y="23"/>
                      </a:lnTo>
                      <a:lnTo>
                        <a:pt x="307" y="23"/>
                      </a:lnTo>
                      <a:lnTo>
                        <a:pt x="308" y="23"/>
                      </a:lnTo>
                      <a:lnTo>
                        <a:pt x="308" y="23"/>
                      </a:lnTo>
                      <a:lnTo>
                        <a:pt x="308" y="23"/>
                      </a:lnTo>
                      <a:lnTo>
                        <a:pt x="309" y="23"/>
                      </a:lnTo>
                      <a:lnTo>
                        <a:pt x="309" y="23"/>
                      </a:lnTo>
                      <a:lnTo>
                        <a:pt x="310" y="23"/>
                      </a:lnTo>
                      <a:lnTo>
                        <a:pt x="309" y="23"/>
                      </a:lnTo>
                      <a:lnTo>
                        <a:pt x="310" y="23"/>
                      </a:lnTo>
                      <a:lnTo>
                        <a:pt x="309" y="23"/>
                      </a:lnTo>
                      <a:lnTo>
                        <a:pt x="310" y="23"/>
                      </a:lnTo>
                      <a:lnTo>
                        <a:pt x="311" y="23"/>
                      </a:lnTo>
                      <a:lnTo>
                        <a:pt x="311" y="22"/>
                      </a:lnTo>
                      <a:lnTo>
                        <a:pt x="311" y="23"/>
                      </a:lnTo>
                      <a:lnTo>
                        <a:pt x="311" y="22"/>
                      </a:lnTo>
                      <a:lnTo>
                        <a:pt x="311" y="22"/>
                      </a:lnTo>
                      <a:lnTo>
                        <a:pt x="311" y="23"/>
                      </a:lnTo>
                      <a:lnTo>
                        <a:pt x="311" y="22"/>
                      </a:lnTo>
                      <a:lnTo>
                        <a:pt x="311" y="23"/>
                      </a:lnTo>
                      <a:lnTo>
                        <a:pt x="311" y="22"/>
                      </a:lnTo>
                      <a:lnTo>
                        <a:pt x="312" y="22"/>
                      </a:lnTo>
                      <a:lnTo>
                        <a:pt x="311" y="22"/>
                      </a:lnTo>
                      <a:lnTo>
                        <a:pt x="312" y="22"/>
                      </a:lnTo>
                      <a:lnTo>
                        <a:pt x="311" y="22"/>
                      </a:lnTo>
                      <a:lnTo>
                        <a:pt x="311" y="22"/>
                      </a:lnTo>
                      <a:lnTo>
                        <a:pt x="310" y="22"/>
                      </a:lnTo>
                      <a:lnTo>
                        <a:pt x="310" y="22"/>
                      </a:lnTo>
                      <a:lnTo>
                        <a:pt x="310" y="22"/>
                      </a:lnTo>
                      <a:lnTo>
                        <a:pt x="310" y="22"/>
                      </a:lnTo>
                      <a:lnTo>
                        <a:pt x="309" y="22"/>
                      </a:lnTo>
                      <a:lnTo>
                        <a:pt x="309" y="22"/>
                      </a:lnTo>
                      <a:lnTo>
                        <a:pt x="309" y="22"/>
                      </a:lnTo>
                      <a:lnTo>
                        <a:pt x="308" y="22"/>
                      </a:lnTo>
                      <a:lnTo>
                        <a:pt x="309" y="22"/>
                      </a:lnTo>
                      <a:lnTo>
                        <a:pt x="309" y="21"/>
                      </a:lnTo>
                      <a:lnTo>
                        <a:pt x="310" y="21"/>
                      </a:lnTo>
                      <a:lnTo>
                        <a:pt x="311" y="21"/>
                      </a:lnTo>
                      <a:lnTo>
                        <a:pt x="311" y="21"/>
                      </a:lnTo>
                      <a:lnTo>
                        <a:pt x="312" y="21"/>
                      </a:lnTo>
                      <a:lnTo>
                        <a:pt x="312" y="20"/>
                      </a:lnTo>
                      <a:lnTo>
                        <a:pt x="312" y="21"/>
                      </a:lnTo>
                      <a:lnTo>
                        <a:pt x="312" y="20"/>
                      </a:lnTo>
                      <a:lnTo>
                        <a:pt x="312" y="20"/>
                      </a:lnTo>
                      <a:lnTo>
                        <a:pt x="313" y="20"/>
                      </a:lnTo>
                      <a:lnTo>
                        <a:pt x="313" y="20"/>
                      </a:lnTo>
                      <a:lnTo>
                        <a:pt x="313" y="20"/>
                      </a:lnTo>
                      <a:lnTo>
                        <a:pt x="313" y="20"/>
                      </a:lnTo>
                      <a:lnTo>
                        <a:pt x="314" y="20"/>
                      </a:lnTo>
                      <a:lnTo>
                        <a:pt x="314" y="20"/>
                      </a:lnTo>
                      <a:lnTo>
                        <a:pt x="314" y="20"/>
                      </a:lnTo>
                      <a:lnTo>
                        <a:pt x="315" y="20"/>
                      </a:lnTo>
                      <a:lnTo>
                        <a:pt x="315" y="20"/>
                      </a:lnTo>
                      <a:lnTo>
                        <a:pt x="315" y="20"/>
                      </a:lnTo>
                      <a:lnTo>
                        <a:pt x="315" y="20"/>
                      </a:lnTo>
                      <a:lnTo>
                        <a:pt x="315" y="19"/>
                      </a:lnTo>
                      <a:lnTo>
                        <a:pt x="315" y="19"/>
                      </a:lnTo>
                      <a:lnTo>
                        <a:pt x="315" y="19"/>
                      </a:lnTo>
                      <a:lnTo>
                        <a:pt x="315" y="19"/>
                      </a:lnTo>
                      <a:lnTo>
                        <a:pt x="316" y="18"/>
                      </a:lnTo>
                      <a:lnTo>
                        <a:pt x="316" y="18"/>
                      </a:lnTo>
                      <a:lnTo>
                        <a:pt x="316" y="18"/>
                      </a:lnTo>
                      <a:lnTo>
                        <a:pt x="316" y="18"/>
                      </a:lnTo>
                      <a:lnTo>
                        <a:pt x="317" y="18"/>
                      </a:lnTo>
                      <a:lnTo>
                        <a:pt x="316" y="18"/>
                      </a:lnTo>
                      <a:lnTo>
                        <a:pt x="317" y="18"/>
                      </a:lnTo>
                      <a:lnTo>
                        <a:pt x="318" y="18"/>
                      </a:lnTo>
                      <a:lnTo>
                        <a:pt x="318" y="18"/>
                      </a:lnTo>
                      <a:lnTo>
                        <a:pt x="319" y="18"/>
                      </a:lnTo>
                      <a:lnTo>
                        <a:pt x="319" y="18"/>
                      </a:lnTo>
                      <a:lnTo>
                        <a:pt x="319" y="17"/>
                      </a:lnTo>
                      <a:lnTo>
                        <a:pt x="320" y="18"/>
                      </a:lnTo>
                      <a:lnTo>
                        <a:pt x="320" y="17"/>
                      </a:lnTo>
                      <a:lnTo>
                        <a:pt x="319" y="17"/>
                      </a:lnTo>
                      <a:lnTo>
                        <a:pt x="320" y="17"/>
                      </a:lnTo>
                      <a:lnTo>
                        <a:pt x="320" y="17"/>
                      </a:lnTo>
                      <a:lnTo>
                        <a:pt x="320" y="17"/>
                      </a:lnTo>
                      <a:lnTo>
                        <a:pt x="321" y="17"/>
                      </a:lnTo>
                      <a:lnTo>
                        <a:pt x="322" y="17"/>
                      </a:lnTo>
                      <a:lnTo>
                        <a:pt x="322" y="17"/>
                      </a:lnTo>
                      <a:lnTo>
                        <a:pt x="322" y="17"/>
                      </a:lnTo>
                      <a:lnTo>
                        <a:pt x="323" y="17"/>
                      </a:lnTo>
                      <a:lnTo>
                        <a:pt x="322" y="17"/>
                      </a:lnTo>
                      <a:lnTo>
                        <a:pt x="323" y="17"/>
                      </a:lnTo>
                      <a:lnTo>
                        <a:pt x="323" y="17"/>
                      </a:lnTo>
                      <a:lnTo>
                        <a:pt x="323" y="17"/>
                      </a:lnTo>
                      <a:lnTo>
                        <a:pt x="323" y="17"/>
                      </a:lnTo>
                      <a:lnTo>
                        <a:pt x="323" y="17"/>
                      </a:lnTo>
                      <a:lnTo>
                        <a:pt x="324" y="17"/>
                      </a:lnTo>
                      <a:lnTo>
                        <a:pt x="324" y="17"/>
                      </a:lnTo>
                      <a:lnTo>
                        <a:pt x="324" y="16"/>
                      </a:lnTo>
                      <a:lnTo>
                        <a:pt x="325" y="16"/>
                      </a:lnTo>
                      <a:lnTo>
                        <a:pt x="326" y="16"/>
                      </a:lnTo>
                      <a:lnTo>
                        <a:pt x="326" y="16"/>
                      </a:lnTo>
                      <a:lnTo>
                        <a:pt x="327" y="16"/>
                      </a:lnTo>
                      <a:lnTo>
                        <a:pt x="327" y="16"/>
                      </a:lnTo>
                      <a:lnTo>
                        <a:pt x="328" y="16"/>
                      </a:lnTo>
                      <a:lnTo>
                        <a:pt x="327" y="16"/>
                      </a:lnTo>
                      <a:lnTo>
                        <a:pt x="327" y="16"/>
                      </a:lnTo>
                      <a:lnTo>
                        <a:pt x="328" y="16"/>
                      </a:lnTo>
                      <a:lnTo>
                        <a:pt x="327" y="16"/>
                      </a:lnTo>
                      <a:lnTo>
                        <a:pt x="324" y="16"/>
                      </a:lnTo>
                      <a:lnTo>
                        <a:pt x="327" y="16"/>
                      </a:lnTo>
                      <a:lnTo>
                        <a:pt x="327" y="16"/>
                      </a:lnTo>
                      <a:lnTo>
                        <a:pt x="326" y="16"/>
                      </a:lnTo>
                      <a:lnTo>
                        <a:pt x="326" y="16"/>
                      </a:lnTo>
                      <a:lnTo>
                        <a:pt x="326" y="15"/>
                      </a:lnTo>
                      <a:lnTo>
                        <a:pt x="325" y="16"/>
                      </a:lnTo>
                      <a:lnTo>
                        <a:pt x="325" y="15"/>
                      </a:lnTo>
                      <a:lnTo>
                        <a:pt x="326" y="15"/>
                      </a:lnTo>
                      <a:lnTo>
                        <a:pt x="326" y="15"/>
                      </a:lnTo>
                      <a:lnTo>
                        <a:pt x="327" y="15"/>
                      </a:lnTo>
                      <a:lnTo>
                        <a:pt x="327" y="15"/>
                      </a:lnTo>
                      <a:lnTo>
                        <a:pt x="327" y="14"/>
                      </a:lnTo>
                      <a:lnTo>
                        <a:pt x="328" y="14"/>
                      </a:lnTo>
                      <a:lnTo>
                        <a:pt x="328" y="14"/>
                      </a:lnTo>
                      <a:lnTo>
                        <a:pt x="329" y="14"/>
                      </a:lnTo>
                      <a:lnTo>
                        <a:pt x="330" y="14"/>
                      </a:lnTo>
                      <a:lnTo>
                        <a:pt x="330" y="14"/>
                      </a:lnTo>
                      <a:lnTo>
                        <a:pt x="331" y="14"/>
                      </a:lnTo>
                      <a:lnTo>
                        <a:pt x="331" y="15"/>
                      </a:lnTo>
                      <a:lnTo>
                        <a:pt x="330" y="15"/>
                      </a:lnTo>
                      <a:lnTo>
                        <a:pt x="330" y="15"/>
                      </a:lnTo>
                      <a:lnTo>
                        <a:pt x="330" y="15"/>
                      </a:lnTo>
                      <a:lnTo>
                        <a:pt x="329" y="15"/>
                      </a:lnTo>
                      <a:lnTo>
                        <a:pt x="329" y="16"/>
                      </a:lnTo>
                      <a:lnTo>
                        <a:pt x="328" y="16"/>
                      </a:lnTo>
                      <a:lnTo>
                        <a:pt x="329" y="16"/>
                      </a:lnTo>
                      <a:lnTo>
                        <a:pt x="328" y="16"/>
                      </a:lnTo>
                      <a:lnTo>
                        <a:pt x="329" y="16"/>
                      </a:lnTo>
                      <a:lnTo>
                        <a:pt x="330" y="16"/>
                      </a:lnTo>
                      <a:lnTo>
                        <a:pt x="330" y="16"/>
                      </a:lnTo>
                      <a:lnTo>
                        <a:pt x="330" y="16"/>
                      </a:lnTo>
                      <a:lnTo>
                        <a:pt x="330" y="16"/>
                      </a:lnTo>
                      <a:lnTo>
                        <a:pt x="330" y="16"/>
                      </a:lnTo>
                      <a:lnTo>
                        <a:pt x="330" y="16"/>
                      </a:lnTo>
                      <a:lnTo>
                        <a:pt x="331" y="16"/>
                      </a:lnTo>
                      <a:lnTo>
                        <a:pt x="330" y="16"/>
                      </a:lnTo>
                      <a:lnTo>
                        <a:pt x="331" y="16"/>
                      </a:lnTo>
                      <a:lnTo>
                        <a:pt x="331" y="16"/>
                      </a:lnTo>
                      <a:lnTo>
                        <a:pt x="331" y="16"/>
                      </a:lnTo>
                      <a:lnTo>
                        <a:pt x="331" y="16"/>
                      </a:lnTo>
                      <a:lnTo>
                        <a:pt x="331" y="16"/>
                      </a:lnTo>
                      <a:lnTo>
                        <a:pt x="331" y="16"/>
                      </a:lnTo>
                      <a:lnTo>
                        <a:pt x="331" y="15"/>
                      </a:lnTo>
                      <a:lnTo>
                        <a:pt x="332" y="15"/>
                      </a:lnTo>
                      <a:lnTo>
                        <a:pt x="333" y="15"/>
                      </a:lnTo>
                      <a:lnTo>
                        <a:pt x="333" y="15"/>
                      </a:lnTo>
                      <a:lnTo>
                        <a:pt x="334" y="15"/>
                      </a:lnTo>
                      <a:lnTo>
                        <a:pt x="334" y="15"/>
                      </a:lnTo>
                      <a:lnTo>
                        <a:pt x="334" y="15"/>
                      </a:lnTo>
                      <a:lnTo>
                        <a:pt x="334" y="15"/>
                      </a:lnTo>
                      <a:lnTo>
                        <a:pt x="333" y="15"/>
                      </a:lnTo>
                      <a:lnTo>
                        <a:pt x="334" y="15"/>
                      </a:lnTo>
                      <a:lnTo>
                        <a:pt x="334" y="14"/>
                      </a:lnTo>
                      <a:lnTo>
                        <a:pt x="334" y="14"/>
                      </a:lnTo>
                      <a:lnTo>
                        <a:pt x="334" y="13"/>
                      </a:lnTo>
                      <a:lnTo>
                        <a:pt x="333" y="13"/>
                      </a:lnTo>
                      <a:lnTo>
                        <a:pt x="333" y="13"/>
                      </a:lnTo>
                      <a:lnTo>
                        <a:pt x="332" y="13"/>
                      </a:lnTo>
                      <a:lnTo>
                        <a:pt x="333" y="13"/>
                      </a:lnTo>
                      <a:lnTo>
                        <a:pt x="332" y="13"/>
                      </a:lnTo>
                      <a:lnTo>
                        <a:pt x="333" y="13"/>
                      </a:lnTo>
                      <a:lnTo>
                        <a:pt x="333" y="13"/>
                      </a:lnTo>
                      <a:lnTo>
                        <a:pt x="333" y="13"/>
                      </a:lnTo>
                      <a:lnTo>
                        <a:pt x="333" y="12"/>
                      </a:lnTo>
                      <a:lnTo>
                        <a:pt x="333" y="12"/>
                      </a:lnTo>
                      <a:lnTo>
                        <a:pt x="333" y="12"/>
                      </a:lnTo>
                      <a:lnTo>
                        <a:pt x="334" y="12"/>
                      </a:lnTo>
                      <a:lnTo>
                        <a:pt x="333" y="12"/>
                      </a:lnTo>
                      <a:lnTo>
                        <a:pt x="334" y="12"/>
                      </a:lnTo>
                      <a:lnTo>
                        <a:pt x="333" y="12"/>
                      </a:lnTo>
                      <a:lnTo>
                        <a:pt x="333" y="12"/>
                      </a:lnTo>
                      <a:lnTo>
                        <a:pt x="333" y="12"/>
                      </a:lnTo>
                      <a:lnTo>
                        <a:pt x="334" y="12"/>
                      </a:lnTo>
                      <a:lnTo>
                        <a:pt x="334" y="11"/>
                      </a:lnTo>
                      <a:lnTo>
                        <a:pt x="334" y="11"/>
                      </a:lnTo>
                      <a:lnTo>
                        <a:pt x="334" y="12"/>
                      </a:lnTo>
                      <a:lnTo>
                        <a:pt x="335" y="12"/>
                      </a:lnTo>
                      <a:lnTo>
                        <a:pt x="335" y="11"/>
                      </a:lnTo>
                      <a:lnTo>
                        <a:pt x="335" y="11"/>
                      </a:lnTo>
                      <a:lnTo>
                        <a:pt x="336" y="11"/>
                      </a:lnTo>
                      <a:lnTo>
                        <a:pt x="337" y="11"/>
                      </a:lnTo>
                      <a:lnTo>
                        <a:pt x="336" y="11"/>
                      </a:lnTo>
                      <a:lnTo>
                        <a:pt x="337" y="11"/>
                      </a:lnTo>
                      <a:lnTo>
                        <a:pt x="337" y="12"/>
                      </a:lnTo>
                      <a:lnTo>
                        <a:pt x="337" y="11"/>
                      </a:lnTo>
                      <a:lnTo>
                        <a:pt x="338" y="11"/>
                      </a:lnTo>
                      <a:lnTo>
                        <a:pt x="338" y="11"/>
                      </a:lnTo>
                      <a:lnTo>
                        <a:pt x="339" y="11"/>
                      </a:lnTo>
                      <a:lnTo>
                        <a:pt x="338" y="11"/>
                      </a:lnTo>
                      <a:lnTo>
                        <a:pt x="339" y="11"/>
                      </a:lnTo>
                      <a:lnTo>
                        <a:pt x="338" y="12"/>
                      </a:lnTo>
                      <a:lnTo>
                        <a:pt x="338" y="11"/>
                      </a:lnTo>
                      <a:lnTo>
                        <a:pt x="338" y="12"/>
                      </a:lnTo>
                      <a:lnTo>
                        <a:pt x="339" y="12"/>
                      </a:lnTo>
                      <a:lnTo>
                        <a:pt x="339" y="11"/>
                      </a:lnTo>
                      <a:lnTo>
                        <a:pt x="339" y="12"/>
                      </a:lnTo>
                      <a:lnTo>
                        <a:pt x="340" y="12"/>
                      </a:lnTo>
                      <a:lnTo>
                        <a:pt x="341" y="12"/>
                      </a:lnTo>
                      <a:lnTo>
                        <a:pt x="341" y="12"/>
                      </a:lnTo>
                      <a:lnTo>
                        <a:pt x="342" y="12"/>
                      </a:lnTo>
                      <a:lnTo>
                        <a:pt x="342" y="12"/>
                      </a:lnTo>
                      <a:lnTo>
                        <a:pt x="343" y="12"/>
                      </a:lnTo>
                      <a:lnTo>
                        <a:pt x="343" y="12"/>
                      </a:lnTo>
                      <a:lnTo>
                        <a:pt x="344" y="12"/>
                      </a:lnTo>
                      <a:lnTo>
                        <a:pt x="344" y="12"/>
                      </a:lnTo>
                      <a:lnTo>
                        <a:pt x="343" y="13"/>
                      </a:lnTo>
                      <a:lnTo>
                        <a:pt x="344" y="13"/>
                      </a:lnTo>
                      <a:lnTo>
                        <a:pt x="343" y="13"/>
                      </a:lnTo>
                      <a:lnTo>
                        <a:pt x="344" y="13"/>
                      </a:lnTo>
                      <a:lnTo>
                        <a:pt x="345" y="13"/>
                      </a:lnTo>
                      <a:lnTo>
                        <a:pt x="344" y="13"/>
                      </a:lnTo>
                      <a:lnTo>
                        <a:pt x="344" y="13"/>
                      </a:lnTo>
                      <a:lnTo>
                        <a:pt x="345" y="13"/>
                      </a:lnTo>
                      <a:lnTo>
                        <a:pt x="345" y="13"/>
                      </a:lnTo>
                      <a:lnTo>
                        <a:pt x="345" y="13"/>
                      </a:lnTo>
                      <a:lnTo>
                        <a:pt x="345" y="13"/>
                      </a:lnTo>
                      <a:lnTo>
                        <a:pt x="345" y="13"/>
                      </a:lnTo>
                      <a:lnTo>
                        <a:pt x="345" y="13"/>
                      </a:lnTo>
                      <a:lnTo>
                        <a:pt x="345" y="13"/>
                      </a:lnTo>
                      <a:lnTo>
                        <a:pt x="346" y="13"/>
                      </a:lnTo>
                      <a:lnTo>
                        <a:pt x="345" y="12"/>
                      </a:lnTo>
                      <a:lnTo>
                        <a:pt x="346" y="12"/>
                      </a:lnTo>
                      <a:lnTo>
                        <a:pt x="346" y="13"/>
                      </a:lnTo>
                      <a:lnTo>
                        <a:pt x="346" y="12"/>
                      </a:lnTo>
                      <a:lnTo>
                        <a:pt x="346" y="12"/>
                      </a:lnTo>
                      <a:lnTo>
                        <a:pt x="347" y="12"/>
                      </a:lnTo>
                      <a:lnTo>
                        <a:pt x="347" y="12"/>
                      </a:lnTo>
                      <a:lnTo>
                        <a:pt x="346" y="12"/>
                      </a:lnTo>
                      <a:lnTo>
                        <a:pt x="347" y="12"/>
                      </a:lnTo>
                      <a:lnTo>
                        <a:pt x="348" y="12"/>
                      </a:lnTo>
                      <a:lnTo>
                        <a:pt x="348" y="12"/>
                      </a:lnTo>
                      <a:lnTo>
                        <a:pt x="347" y="12"/>
                      </a:lnTo>
                      <a:lnTo>
                        <a:pt x="348" y="12"/>
                      </a:lnTo>
                      <a:lnTo>
                        <a:pt x="348" y="12"/>
                      </a:lnTo>
                      <a:lnTo>
                        <a:pt x="348" y="13"/>
                      </a:lnTo>
                      <a:lnTo>
                        <a:pt x="348" y="12"/>
                      </a:lnTo>
                      <a:lnTo>
                        <a:pt x="348" y="13"/>
                      </a:lnTo>
                      <a:lnTo>
                        <a:pt x="349" y="13"/>
                      </a:lnTo>
                      <a:lnTo>
                        <a:pt x="349" y="12"/>
                      </a:lnTo>
                      <a:lnTo>
                        <a:pt x="349" y="13"/>
                      </a:lnTo>
                      <a:lnTo>
                        <a:pt x="349" y="13"/>
                      </a:lnTo>
                      <a:lnTo>
                        <a:pt x="349" y="12"/>
                      </a:lnTo>
                      <a:lnTo>
                        <a:pt x="350" y="12"/>
                      </a:lnTo>
                      <a:lnTo>
                        <a:pt x="350" y="12"/>
                      </a:lnTo>
                      <a:lnTo>
                        <a:pt x="350" y="12"/>
                      </a:lnTo>
                      <a:lnTo>
                        <a:pt x="351" y="12"/>
                      </a:lnTo>
                      <a:lnTo>
                        <a:pt x="352" y="12"/>
                      </a:lnTo>
                      <a:lnTo>
                        <a:pt x="352" y="12"/>
                      </a:lnTo>
                      <a:lnTo>
                        <a:pt x="353" y="12"/>
                      </a:lnTo>
                      <a:lnTo>
                        <a:pt x="353" y="12"/>
                      </a:lnTo>
                      <a:lnTo>
                        <a:pt x="353" y="11"/>
                      </a:lnTo>
                      <a:lnTo>
                        <a:pt x="354" y="11"/>
                      </a:lnTo>
                      <a:lnTo>
                        <a:pt x="353" y="11"/>
                      </a:lnTo>
                      <a:lnTo>
                        <a:pt x="354" y="11"/>
                      </a:lnTo>
                      <a:lnTo>
                        <a:pt x="353" y="11"/>
                      </a:lnTo>
                      <a:lnTo>
                        <a:pt x="354" y="11"/>
                      </a:lnTo>
                      <a:lnTo>
                        <a:pt x="354" y="11"/>
                      </a:lnTo>
                      <a:lnTo>
                        <a:pt x="354" y="11"/>
                      </a:lnTo>
                      <a:lnTo>
                        <a:pt x="354" y="11"/>
                      </a:lnTo>
                      <a:lnTo>
                        <a:pt x="355" y="11"/>
                      </a:lnTo>
                      <a:lnTo>
                        <a:pt x="356" y="11"/>
                      </a:lnTo>
                      <a:lnTo>
                        <a:pt x="356" y="11"/>
                      </a:lnTo>
                      <a:lnTo>
                        <a:pt x="357" y="11"/>
                      </a:lnTo>
                      <a:lnTo>
                        <a:pt x="357" y="11"/>
                      </a:lnTo>
                      <a:lnTo>
                        <a:pt x="357" y="11"/>
                      </a:lnTo>
                      <a:lnTo>
                        <a:pt x="358" y="11"/>
                      </a:lnTo>
                      <a:lnTo>
                        <a:pt x="359" y="11"/>
                      </a:lnTo>
                      <a:lnTo>
                        <a:pt x="359" y="11"/>
                      </a:lnTo>
                      <a:lnTo>
                        <a:pt x="360" y="11"/>
                      </a:lnTo>
                      <a:lnTo>
                        <a:pt x="360" y="12"/>
                      </a:lnTo>
                      <a:lnTo>
                        <a:pt x="360" y="11"/>
                      </a:lnTo>
                      <a:lnTo>
                        <a:pt x="359" y="11"/>
                      </a:lnTo>
                      <a:lnTo>
                        <a:pt x="359" y="11"/>
                      </a:lnTo>
                      <a:lnTo>
                        <a:pt x="360" y="11"/>
                      </a:lnTo>
                      <a:lnTo>
                        <a:pt x="360" y="10"/>
                      </a:lnTo>
                      <a:lnTo>
                        <a:pt x="360" y="11"/>
                      </a:lnTo>
                      <a:lnTo>
                        <a:pt x="360" y="11"/>
                      </a:lnTo>
                      <a:lnTo>
                        <a:pt x="360" y="11"/>
                      </a:lnTo>
                      <a:lnTo>
                        <a:pt x="361" y="11"/>
                      </a:lnTo>
                      <a:lnTo>
                        <a:pt x="361" y="10"/>
                      </a:lnTo>
                      <a:lnTo>
                        <a:pt x="361" y="10"/>
                      </a:lnTo>
                      <a:lnTo>
                        <a:pt x="362" y="10"/>
                      </a:lnTo>
                      <a:lnTo>
                        <a:pt x="361" y="10"/>
                      </a:lnTo>
                      <a:lnTo>
                        <a:pt x="362" y="10"/>
                      </a:lnTo>
                      <a:lnTo>
                        <a:pt x="363" y="10"/>
                      </a:lnTo>
                      <a:lnTo>
                        <a:pt x="363" y="10"/>
                      </a:lnTo>
                      <a:lnTo>
                        <a:pt x="363" y="11"/>
                      </a:lnTo>
                      <a:lnTo>
                        <a:pt x="364" y="11"/>
                      </a:lnTo>
                      <a:lnTo>
                        <a:pt x="364" y="10"/>
                      </a:lnTo>
                      <a:lnTo>
                        <a:pt x="363" y="10"/>
                      </a:lnTo>
                      <a:lnTo>
                        <a:pt x="363" y="10"/>
                      </a:lnTo>
                      <a:lnTo>
                        <a:pt x="363" y="9"/>
                      </a:lnTo>
                      <a:lnTo>
                        <a:pt x="363" y="9"/>
                      </a:lnTo>
                      <a:lnTo>
                        <a:pt x="363" y="9"/>
                      </a:lnTo>
                      <a:lnTo>
                        <a:pt x="364" y="9"/>
                      </a:lnTo>
                      <a:lnTo>
                        <a:pt x="364" y="9"/>
                      </a:lnTo>
                      <a:lnTo>
                        <a:pt x="364" y="9"/>
                      </a:lnTo>
                      <a:lnTo>
                        <a:pt x="364" y="9"/>
                      </a:lnTo>
                      <a:lnTo>
                        <a:pt x="364" y="8"/>
                      </a:lnTo>
                      <a:lnTo>
                        <a:pt x="365" y="8"/>
                      </a:lnTo>
                      <a:lnTo>
                        <a:pt x="365" y="8"/>
                      </a:lnTo>
                      <a:lnTo>
                        <a:pt x="366" y="8"/>
                      </a:lnTo>
                      <a:lnTo>
                        <a:pt x="366" y="9"/>
                      </a:lnTo>
                      <a:lnTo>
                        <a:pt x="367" y="9"/>
                      </a:lnTo>
                      <a:lnTo>
                        <a:pt x="367" y="8"/>
                      </a:lnTo>
                      <a:lnTo>
                        <a:pt x="367" y="9"/>
                      </a:lnTo>
                      <a:lnTo>
                        <a:pt x="367" y="8"/>
                      </a:lnTo>
                      <a:lnTo>
                        <a:pt x="368" y="8"/>
                      </a:lnTo>
                      <a:lnTo>
                        <a:pt x="368" y="8"/>
                      </a:lnTo>
                      <a:lnTo>
                        <a:pt x="368" y="8"/>
                      </a:lnTo>
                      <a:lnTo>
                        <a:pt x="368" y="7"/>
                      </a:lnTo>
                      <a:lnTo>
                        <a:pt x="369" y="7"/>
                      </a:lnTo>
                      <a:lnTo>
                        <a:pt x="369" y="7"/>
                      </a:lnTo>
                      <a:lnTo>
                        <a:pt x="370" y="7"/>
                      </a:lnTo>
                      <a:lnTo>
                        <a:pt x="371" y="7"/>
                      </a:lnTo>
                      <a:lnTo>
                        <a:pt x="371" y="8"/>
                      </a:lnTo>
                      <a:lnTo>
                        <a:pt x="372" y="8"/>
                      </a:lnTo>
                      <a:lnTo>
                        <a:pt x="372" y="8"/>
                      </a:lnTo>
                      <a:lnTo>
                        <a:pt x="373" y="8"/>
                      </a:lnTo>
                      <a:lnTo>
                        <a:pt x="373" y="8"/>
                      </a:lnTo>
                      <a:lnTo>
                        <a:pt x="374" y="8"/>
                      </a:lnTo>
                      <a:lnTo>
                        <a:pt x="374" y="8"/>
                      </a:lnTo>
                      <a:lnTo>
                        <a:pt x="374" y="8"/>
                      </a:lnTo>
                      <a:lnTo>
                        <a:pt x="374" y="8"/>
                      </a:lnTo>
                      <a:lnTo>
                        <a:pt x="374" y="8"/>
                      </a:lnTo>
                      <a:lnTo>
                        <a:pt x="374" y="8"/>
                      </a:lnTo>
                      <a:lnTo>
                        <a:pt x="374" y="8"/>
                      </a:lnTo>
                      <a:lnTo>
                        <a:pt x="374" y="8"/>
                      </a:lnTo>
                      <a:lnTo>
                        <a:pt x="374" y="8"/>
                      </a:lnTo>
                      <a:lnTo>
                        <a:pt x="375" y="8"/>
                      </a:lnTo>
                      <a:lnTo>
                        <a:pt x="374" y="7"/>
                      </a:lnTo>
                      <a:lnTo>
                        <a:pt x="375" y="7"/>
                      </a:lnTo>
                      <a:lnTo>
                        <a:pt x="375" y="7"/>
                      </a:lnTo>
                      <a:lnTo>
                        <a:pt x="375" y="7"/>
                      </a:lnTo>
                      <a:lnTo>
                        <a:pt x="374" y="7"/>
                      </a:lnTo>
                      <a:lnTo>
                        <a:pt x="374" y="7"/>
                      </a:lnTo>
                      <a:lnTo>
                        <a:pt x="373" y="7"/>
                      </a:lnTo>
                      <a:lnTo>
                        <a:pt x="374" y="6"/>
                      </a:lnTo>
                      <a:lnTo>
                        <a:pt x="373" y="6"/>
                      </a:lnTo>
                      <a:lnTo>
                        <a:pt x="374" y="6"/>
                      </a:lnTo>
                      <a:lnTo>
                        <a:pt x="373" y="6"/>
                      </a:lnTo>
                      <a:lnTo>
                        <a:pt x="373" y="6"/>
                      </a:lnTo>
                      <a:lnTo>
                        <a:pt x="372" y="6"/>
                      </a:lnTo>
                      <a:lnTo>
                        <a:pt x="372" y="6"/>
                      </a:lnTo>
                      <a:lnTo>
                        <a:pt x="372" y="5"/>
                      </a:lnTo>
                      <a:lnTo>
                        <a:pt x="371" y="5"/>
                      </a:lnTo>
                      <a:lnTo>
                        <a:pt x="372" y="5"/>
                      </a:lnTo>
                      <a:lnTo>
                        <a:pt x="372" y="5"/>
                      </a:lnTo>
                      <a:lnTo>
                        <a:pt x="373" y="4"/>
                      </a:lnTo>
                      <a:lnTo>
                        <a:pt x="374" y="4"/>
                      </a:lnTo>
                      <a:lnTo>
                        <a:pt x="374" y="4"/>
                      </a:lnTo>
                      <a:lnTo>
                        <a:pt x="375" y="4"/>
                      </a:lnTo>
                      <a:lnTo>
                        <a:pt x="375" y="4"/>
                      </a:lnTo>
                      <a:lnTo>
                        <a:pt x="375" y="4"/>
                      </a:lnTo>
                      <a:lnTo>
                        <a:pt x="376" y="4"/>
                      </a:lnTo>
                      <a:lnTo>
                        <a:pt x="376" y="4"/>
                      </a:lnTo>
                      <a:lnTo>
                        <a:pt x="376" y="4"/>
                      </a:lnTo>
                      <a:lnTo>
                        <a:pt x="376" y="4"/>
                      </a:lnTo>
                      <a:lnTo>
                        <a:pt x="376" y="3"/>
                      </a:lnTo>
                      <a:lnTo>
                        <a:pt x="377" y="3"/>
                      </a:lnTo>
                      <a:lnTo>
                        <a:pt x="378" y="3"/>
                      </a:lnTo>
                      <a:lnTo>
                        <a:pt x="377" y="3"/>
                      </a:lnTo>
                      <a:lnTo>
                        <a:pt x="378" y="3"/>
                      </a:lnTo>
                      <a:lnTo>
                        <a:pt x="378" y="3"/>
                      </a:lnTo>
                      <a:lnTo>
                        <a:pt x="379" y="3"/>
                      </a:lnTo>
                      <a:lnTo>
                        <a:pt x="379" y="2"/>
                      </a:lnTo>
                      <a:lnTo>
                        <a:pt x="379" y="3"/>
                      </a:lnTo>
                      <a:lnTo>
                        <a:pt x="379" y="2"/>
                      </a:lnTo>
                      <a:lnTo>
                        <a:pt x="379" y="2"/>
                      </a:lnTo>
                      <a:lnTo>
                        <a:pt x="379" y="2"/>
                      </a:lnTo>
                      <a:lnTo>
                        <a:pt x="379" y="2"/>
                      </a:lnTo>
                      <a:lnTo>
                        <a:pt x="379" y="2"/>
                      </a:lnTo>
                      <a:lnTo>
                        <a:pt x="380" y="2"/>
                      </a:lnTo>
                      <a:lnTo>
                        <a:pt x="379" y="2"/>
                      </a:lnTo>
                      <a:lnTo>
                        <a:pt x="380" y="2"/>
                      </a:lnTo>
                      <a:lnTo>
                        <a:pt x="380" y="2"/>
                      </a:lnTo>
                      <a:lnTo>
                        <a:pt x="381" y="2"/>
                      </a:lnTo>
                      <a:lnTo>
                        <a:pt x="381" y="1"/>
                      </a:lnTo>
                      <a:lnTo>
                        <a:pt x="380" y="1"/>
                      </a:lnTo>
                      <a:lnTo>
                        <a:pt x="381" y="1"/>
                      </a:lnTo>
                      <a:lnTo>
                        <a:pt x="382" y="1"/>
                      </a:lnTo>
                      <a:lnTo>
                        <a:pt x="381" y="1"/>
                      </a:lnTo>
                      <a:lnTo>
                        <a:pt x="382" y="1"/>
                      </a:lnTo>
                      <a:lnTo>
                        <a:pt x="382" y="1"/>
                      </a:lnTo>
                      <a:lnTo>
                        <a:pt x="382" y="1"/>
                      </a:lnTo>
                      <a:lnTo>
                        <a:pt x="382" y="1"/>
                      </a:lnTo>
                      <a:lnTo>
                        <a:pt x="383" y="1"/>
                      </a:lnTo>
                      <a:lnTo>
                        <a:pt x="383" y="1"/>
                      </a:lnTo>
                      <a:lnTo>
                        <a:pt x="383" y="1"/>
                      </a:lnTo>
                      <a:lnTo>
                        <a:pt x="384" y="1"/>
                      </a:lnTo>
                      <a:lnTo>
                        <a:pt x="385" y="1"/>
                      </a:lnTo>
                      <a:lnTo>
                        <a:pt x="385" y="0"/>
                      </a:lnTo>
                      <a:lnTo>
                        <a:pt x="385" y="0"/>
                      </a:lnTo>
                      <a:lnTo>
                        <a:pt x="386" y="0"/>
                      </a:lnTo>
                      <a:lnTo>
                        <a:pt x="386" y="0"/>
                      </a:lnTo>
                      <a:lnTo>
                        <a:pt x="387" y="0"/>
                      </a:lnTo>
                      <a:lnTo>
                        <a:pt x="387" y="0"/>
                      </a:lnTo>
                      <a:lnTo>
                        <a:pt x="388" y="0"/>
                      </a:lnTo>
                      <a:lnTo>
                        <a:pt x="389" y="0"/>
                      </a:lnTo>
                      <a:lnTo>
                        <a:pt x="389" y="0"/>
                      </a:lnTo>
                      <a:lnTo>
                        <a:pt x="390" y="0"/>
                      </a:lnTo>
                      <a:lnTo>
                        <a:pt x="390" y="1"/>
                      </a:lnTo>
                      <a:lnTo>
                        <a:pt x="390" y="0"/>
                      </a:lnTo>
                      <a:lnTo>
                        <a:pt x="390" y="1"/>
                      </a:lnTo>
                      <a:lnTo>
                        <a:pt x="390" y="1"/>
                      </a:lnTo>
                      <a:lnTo>
                        <a:pt x="391" y="1"/>
                      </a:lnTo>
                      <a:lnTo>
                        <a:pt x="391" y="1"/>
                      </a:lnTo>
                      <a:lnTo>
                        <a:pt x="392" y="1"/>
                      </a:lnTo>
                      <a:lnTo>
                        <a:pt x="393" y="1"/>
                      </a:lnTo>
                      <a:lnTo>
                        <a:pt x="393" y="1"/>
                      </a:lnTo>
                      <a:lnTo>
                        <a:pt x="394" y="1"/>
                      </a:lnTo>
                      <a:lnTo>
                        <a:pt x="393" y="1"/>
                      </a:lnTo>
                      <a:lnTo>
                        <a:pt x="393" y="1"/>
                      </a:lnTo>
                      <a:lnTo>
                        <a:pt x="394" y="1"/>
                      </a:lnTo>
                      <a:lnTo>
                        <a:pt x="394" y="2"/>
                      </a:lnTo>
                      <a:lnTo>
                        <a:pt x="394" y="2"/>
                      </a:lnTo>
                      <a:lnTo>
                        <a:pt x="395" y="2"/>
                      </a:lnTo>
                      <a:lnTo>
                        <a:pt x="394" y="2"/>
                      </a:lnTo>
                      <a:lnTo>
                        <a:pt x="395" y="2"/>
                      </a:lnTo>
                      <a:lnTo>
                        <a:pt x="395" y="2"/>
                      </a:lnTo>
                      <a:lnTo>
                        <a:pt x="395" y="2"/>
                      </a:lnTo>
                      <a:lnTo>
                        <a:pt x="395" y="3"/>
                      </a:lnTo>
                      <a:lnTo>
                        <a:pt x="395" y="3"/>
                      </a:lnTo>
                      <a:lnTo>
                        <a:pt x="395" y="3"/>
                      </a:lnTo>
                      <a:lnTo>
                        <a:pt x="396" y="4"/>
                      </a:lnTo>
                      <a:lnTo>
                        <a:pt x="397" y="4"/>
                      </a:lnTo>
                      <a:lnTo>
                        <a:pt x="397" y="4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6" name="Group 165"/>
              <p:cNvGrpSpPr/>
              <p:nvPr/>
            </p:nvGrpSpPr>
            <p:grpSpPr>
              <a:xfrm>
                <a:off x="5020669" y="4720609"/>
                <a:ext cx="2777666" cy="1528045"/>
                <a:chOff x="393700" y="1781243"/>
                <a:chExt cx="8045450" cy="4425950"/>
              </a:xfrm>
              <a:solidFill>
                <a:schemeClr val="bg1">
                  <a:lumMod val="85000"/>
                </a:schemeClr>
              </a:solidFill>
            </p:grpSpPr>
            <p:sp>
              <p:nvSpPr>
                <p:cNvPr id="167" name="Freeform 94"/>
                <p:cNvSpPr>
                  <a:spLocks noEditPoints="1"/>
                </p:cNvSpPr>
                <p:nvPr/>
              </p:nvSpPr>
              <p:spPr bwMode="auto">
                <a:xfrm>
                  <a:off x="4695825" y="3225868"/>
                  <a:ext cx="136525" cy="127000"/>
                </a:xfrm>
                <a:custGeom>
                  <a:avLst/>
                  <a:gdLst>
                    <a:gd name="T0" fmla="*/ 66 w 86"/>
                    <a:gd name="T1" fmla="*/ 74 h 80"/>
                    <a:gd name="T2" fmla="*/ 70 w 86"/>
                    <a:gd name="T3" fmla="*/ 78 h 80"/>
                    <a:gd name="T4" fmla="*/ 56 w 86"/>
                    <a:gd name="T5" fmla="*/ 70 h 80"/>
                    <a:gd name="T6" fmla="*/ 60 w 86"/>
                    <a:gd name="T7" fmla="*/ 70 h 80"/>
                    <a:gd name="T8" fmla="*/ 14 w 86"/>
                    <a:gd name="T9" fmla="*/ 30 h 80"/>
                    <a:gd name="T10" fmla="*/ 18 w 86"/>
                    <a:gd name="T11" fmla="*/ 30 h 80"/>
                    <a:gd name="T12" fmla="*/ 14 w 86"/>
                    <a:gd name="T13" fmla="*/ 34 h 80"/>
                    <a:gd name="T14" fmla="*/ 14 w 86"/>
                    <a:gd name="T15" fmla="*/ 26 h 80"/>
                    <a:gd name="T16" fmla="*/ 14 w 86"/>
                    <a:gd name="T17" fmla="*/ 34 h 80"/>
                    <a:gd name="T18" fmla="*/ 14 w 86"/>
                    <a:gd name="T19" fmla="*/ 40 h 80"/>
                    <a:gd name="T20" fmla="*/ 14 w 86"/>
                    <a:gd name="T21" fmla="*/ 40 h 80"/>
                    <a:gd name="T22" fmla="*/ 22 w 86"/>
                    <a:gd name="T23" fmla="*/ 38 h 80"/>
                    <a:gd name="T24" fmla="*/ 22 w 86"/>
                    <a:gd name="T25" fmla="*/ 40 h 80"/>
                    <a:gd name="T26" fmla="*/ 26 w 86"/>
                    <a:gd name="T27" fmla="*/ 52 h 80"/>
                    <a:gd name="T28" fmla="*/ 18 w 86"/>
                    <a:gd name="T29" fmla="*/ 44 h 80"/>
                    <a:gd name="T30" fmla="*/ 26 w 86"/>
                    <a:gd name="T31" fmla="*/ 52 h 80"/>
                    <a:gd name="T32" fmla="*/ 44 w 86"/>
                    <a:gd name="T33" fmla="*/ 64 h 80"/>
                    <a:gd name="T34" fmla="*/ 44 w 86"/>
                    <a:gd name="T35" fmla="*/ 64 h 80"/>
                    <a:gd name="T36" fmla="*/ 40 w 86"/>
                    <a:gd name="T37" fmla="*/ 66 h 80"/>
                    <a:gd name="T38" fmla="*/ 52 w 86"/>
                    <a:gd name="T39" fmla="*/ 66 h 80"/>
                    <a:gd name="T40" fmla="*/ 40 w 86"/>
                    <a:gd name="T41" fmla="*/ 66 h 80"/>
                    <a:gd name="T42" fmla="*/ 36 w 86"/>
                    <a:gd name="T43" fmla="*/ 70 h 80"/>
                    <a:gd name="T44" fmla="*/ 52 w 86"/>
                    <a:gd name="T45" fmla="*/ 70 h 80"/>
                    <a:gd name="T46" fmla="*/ 60 w 86"/>
                    <a:gd name="T47" fmla="*/ 74 h 80"/>
                    <a:gd name="T48" fmla="*/ 60 w 86"/>
                    <a:gd name="T49" fmla="*/ 74 h 80"/>
                    <a:gd name="T50" fmla="*/ 52 w 86"/>
                    <a:gd name="T51" fmla="*/ 66 h 80"/>
                    <a:gd name="T52" fmla="*/ 40 w 86"/>
                    <a:gd name="T53" fmla="*/ 60 h 80"/>
                    <a:gd name="T54" fmla="*/ 36 w 86"/>
                    <a:gd name="T55" fmla="*/ 56 h 80"/>
                    <a:gd name="T56" fmla="*/ 26 w 86"/>
                    <a:gd name="T57" fmla="*/ 48 h 80"/>
                    <a:gd name="T58" fmla="*/ 30 w 86"/>
                    <a:gd name="T59" fmla="*/ 44 h 80"/>
                    <a:gd name="T60" fmla="*/ 18 w 86"/>
                    <a:gd name="T61" fmla="*/ 34 h 80"/>
                    <a:gd name="T62" fmla="*/ 14 w 86"/>
                    <a:gd name="T63" fmla="*/ 26 h 80"/>
                    <a:gd name="T64" fmla="*/ 10 w 86"/>
                    <a:gd name="T65" fmla="*/ 30 h 80"/>
                    <a:gd name="T66" fmla="*/ 8 w 86"/>
                    <a:gd name="T67" fmla="*/ 34 h 80"/>
                    <a:gd name="T68" fmla="*/ 0 w 86"/>
                    <a:gd name="T69" fmla="*/ 22 h 80"/>
                    <a:gd name="T70" fmla="*/ 8 w 86"/>
                    <a:gd name="T71" fmla="*/ 22 h 80"/>
                    <a:gd name="T72" fmla="*/ 14 w 86"/>
                    <a:gd name="T73" fmla="*/ 18 h 80"/>
                    <a:gd name="T74" fmla="*/ 22 w 86"/>
                    <a:gd name="T75" fmla="*/ 22 h 80"/>
                    <a:gd name="T76" fmla="*/ 30 w 86"/>
                    <a:gd name="T77" fmla="*/ 14 h 80"/>
                    <a:gd name="T78" fmla="*/ 30 w 86"/>
                    <a:gd name="T79" fmla="*/ 8 h 80"/>
                    <a:gd name="T80" fmla="*/ 36 w 86"/>
                    <a:gd name="T81" fmla="*/ 0 h 80"/>
                    <a:gd name="T82" fmla="*/ 52 w 86"/>
                    <a:gd name="T83" fmla="*/ 8 h 80"/>
                    <a:gd name="T84" fmla="*/ 60 w 86"/>
                    <a:gd name="T85" fmla="*/ 14 h 80"/>
                    <a:gd name="T86" fmla="*/ 74 w 86"/>
                    <a:gd name="T87" fmla="*/ 14 h 80"/>
                    <a:gd name="T88" fmla="*/ 78 w 86"/>
                    <a:gd name="T89" fmla="*/ 22 h 80"/>
                    <a:gd name="T90" fmla="*/ 82 w 86"/>
                    <a:gd name="T91" fmla="*/ 26 h 80"/>
                    <a:gd name="T92" fmla="*/ 74 w 86"/>
                    <a:gd name="T93" fmla="*/ 34 h 80"/>
                    <a:gd name="T94" fmla="*/ 66 w 86"/>
                    <a:gd name="T95" fmla="*/ 30 h 80"/>
                    <a:gd name="T96" fmla="*/ 56 w 86"/>
                    <a:gd name="T97" fmla="*/ 26 h 80"/>
                    <a:gd name="T98" fmla="*/ 40 w 86"/>
                    <a:gd name="T99" fmla="*/ 26 h 80"/>
                    <a:gd name="T100" fmla="*/ 34 w 86"/>
                    <a:gd name="T101" fmla="*/ 26 h 80"/>
                    <a:gd name="T102" fmla="*/ 36 w 86"/>
                    <a:gd name="T103" fmla="*/ 38 h 80"/>
                    <a:gd name="T104" fmla="*/ 40 w 86"/>
                    <a:gd name="T105" fmla="*/ 48 h 80"/>
                    <a:gd name="T106" fmla="*/ 48 w 86"/>
                    <a:gd name="T107" fmla="*/ 60 h 80"/>
                    <a:gd name="T108" fmla="*/ 56 w 86"/>
                    <a:gd name="T109" fmla="*/ 64 h 80"/>
                    <a:gd name="T110" fmla="*/ 60 w 86"/>
                    <a:gd name="T111" fmla="*/ 7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86" h="80">
                      <a:moveTo>
                        <a:pt x="60" y="70"/>
                      </a:moveTo>
                      <a:lnTo>
                        <a:pt x="62" y="70"/>
                      </a:lnTo>
                      <a:lnTo>
                        <a:pt x="62" y="74"/>
                      </a:lnTo>
                      <a:lnTo>
                        <a:pt x="66" y="74"/>
                      </a:lnTo>
                      <a:lnTo>
                        <a:pt x="66" y="78"/>
                      </a:lnTo>
                      <a:lnTo>
                        <a:pt x="70" y="78"/>
                      </a:lnTo>
                      <a:lnTo>
                        <a:pt x="70" y="80"/>
                      </a:lnTo>
                      <a:lnTo>
                        <a:pt x="70" y="78"/>
                      </a:lnTo>
                      <a:lnTo>
                        <a:pt x="66" y="78"/>
                      </a:lnTo>
                      <a:lnTo>
                        <a:pt x="62" y="74"/>
                      </a:lnTo>
                      <a:lnTo>
                        <a:pt x="60" y="74"/>
                      </a:lnTo>
                      <a:lnTo>
                        <a:pt x="56" y="70"/>
                      </a:lnTo>
                      <a:lnTo>
                        <a:pt x="52" y="70"/>
                      </a:lnTo>
                      <a:lnTo>
                        <a:pt x="52" y="66"/>
                      </a:lnTo>
                      <a:lnTo>
                        <a:pt x="56" y="70"/>
                      </a:lnTo>
                      <a:lnTo>
                        <a:pt x="60" y="70"/>
                      </a:lnTo>
                      <a:lnTo>
                        <a:pt x="60" y="70"/>
                      </a:lnTo>
                      <a:lnTo>
                        <a:pt x="60" y="70"/>
                      </a:lnTo>
                      <a:close/>
                      <a:moveTo>
                        <a:pt x="18" y="30"/>
                      </a:moveTo>
                      <a:lnTo>
                        <a:pt x="14" y="30"/>
                      </a:lnTo>
                      <a:lnTo>
                        <a:pt x="14" y="26"/>
                      </a:lnTo>
                      <a:lnTo>
                        <a:pt x="18" y="26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close/>
                      <a:moveTo>
                        <a:pt x="14" y="38"/>
                      </a:moveTo>
                      <a:lnTo>
                        <a:pt x="10" y="34"/>
                      </a:lnTo>
                      <a:lnTo>
                        <a:pt x="14" y="34"/>
                      </a:lnTo>
                      <a:lnTo>
                        <a:pt x="14" y="30"/>
                      </a:lnTo>
                      <a:lnTo>
                        <a:pt x="10" y="30"/>
                      </a:lnTo>
                      <a:lnTo>
                        <a:pt x="10" y="26"/>
                      </a:lnTo>
                      <a:lnTo>
                        <a:pt x="14" y="26"/>
                      </a:lnTo>
                      <a:lnTo>
                        <a:pt x="10" y="26"/>
                      </a:lnTo>
                      <a:lnTo>
                        <a:pt x="10" y="30"/>
                      </a:lnTo>
                      <a:lnTo>
                        <a:pt x="14" y="30"/>
                      </a:lnTo>
                      <a:lnTo>
                        <a:pt x="14" y="34"/>
                      </a:lnTo>
                      <a:lnTo>
                        <a:pt x="14" y="38"/>
                      </a:lnTo>
                      <a:lnTo>
                        <a:pt x="14" y="38"/>
                      </a:lnTo>
                      <a:lnTo>
                        <a:pt x="14" y="38"/>
                      </a:lnTo>
                      <a:close/>
                      <a:moveTo>
                        <a:pt x="14" y="40"/>
                      </a:moveTo>
                      <a:lnTo>
                        <a:pt x="14" y="38"/>
                      </a:lnTo>
                      <a:lnTo>
                        <a:pt x="10" y="38"/>
                      </a:lnTo>
                      <a:lnTo>
                        <a:pt x="14" y="38"/>
                      </a:lnTo>
                      <a:lnTo>
                        <a:pt x="14" y="40"/>
                      </a:lnTo>
                      <a:lnTo>
                        <a:pt x="14" y="40"/>
                      </a:lnTo>
                      <a:lnTo>
                        <a:pt x="14" y="40"/>
                      </a:lnTo>
                      <a:close/>
                      <a:moveTo>
                        <a:pt x="18" y="38"/>
                      </a:moveTo>
                      <a:lnTo>
                        <a:pt x="22" y="38"/>
                      </a:lnTo>
                      <a:lnTo>
                        <a:pt x="22" y="40"/>
                      </a:lnTo>
                      <a:lnTo>
                        <a:pt x="26" y="44"/>
                      </a:lnTo>
                      <a:lnTo>
                        <a:pt x="22" y="44"/>
                      </a:lnTo>
                      <a:lnTo>
                        <a:pt x="22" y="40"/>
                      </a:lnTo>
                      <a:lnTo>
                        <a:pt x="18" y="38"/>
                      </a:lnTo>
                      <a:lnTo>
                        <a:pt x="18" y="38"/>
                      </a:lnTo>
                      <a:lnTo>
                        <a:pt x="18" y="38"/>
                      </a:lnTo>
                      <a:close/>
                      <a:moveTo>
                        <a:pt x="26" y="52"/>
                      </a:moveTo>
                      <a:lnTo>
                        <a:pt x="22" y="52"/>
                      </a:lnTo>
                      <a:lnTo>
                        <a:pt x="22" y="48"/>
                      </a:lnTo>
                      <a:lnTo>
                        <a:pt x="18" y="48"/>
                      </a:lnTo>
                      <a:lnTo>
                        <a:pt x="18" y="44"/>
                      </a:lnTo>
                      <a:lnTo>
                        <a:pt x="22" y="48"/>
                      </a:lnTo>
                      <a:lnTo>
                        <a:pt x="22" y="52"/>
                      </a:lnTo>
                      <a:lnTo>
                        <a:pt x="26" y="52"/>
                      </a:lnTo>
                      <a:lnTo>
                        <a:pt x="26" y="52"/>
                      </a:lnTo>
                      <a:lnTo>
                        <a:pt x="26" y="52"/>
                      </a:lnTo>
                      <a:close/>
                      <a:moveTo>
                        <a:pt x="44" y="64"/>
                      </a:moveTo>
                      <a:lnTo>
                        <a:pt x="40" y="64"/>
                      </a:lnTo>
                      <a:lnTo>
                        <a:pt x="44" y="64"/>
                      </a:lnTo>
                      <a:lnTo>
                        <a:pt x="48" y="64"/>
                      </a:lnTo>
                      <a:lnTo>
                        <a:pt x="44" y="64"/>
                      </a:lnTo>
                      <a:lnTo>
                        <a:pt x="44" y="64"/>
                      </a:lnTo>
                      <a:lnTo>
                        <a:pt x="44" y="64"/>
                      </a:lnTo>
                      <a:close/>
                      <a:moveTo>
                        <a:pt x="52" y="66"/>
                      </a:moveTo>
                      <a:lnTo>
                        <a:pt x="48" y="66"/>
                      </a:lnTo>
                      <a:lnTo>
                        <a:pt x="44" y="66"/>
                      </a:lnTo>
                      <a:lnTo>
                        <a:pt x="40" y="66"/>
                      </a:lnTo>
                      <a:lnTo>
                        <a:pt x="44" y="66"/>
                      </a:lnTo>
                      <a:lnTo>
                        <a:pt x="48" y="66"/>
                      </a:lnTo>
                      <a:lnTo>
                        <a:pt x="52" y="66"/>
                      </a:lnTo>
                      <a:lnTo>
                        <a:pt x="52" y="66"/>
                      </a:lnTo>
                      <a:lnTo>
                        <a:pt x="52" y="66"/>
                      </a:lnTo>
                      <a:close/>
                      <a:moveTo>
                        <a:pt x="36" y="70"/>
                      </a:moveTo>
                      <a:lnTo>
                        <a:pt x="36" y="66"/>
                      </a:lnTo>
                      <a:lnTo>
                        <a:pt x="40" y="66"/>
                      </a:lnTo>
                      <a:lnTo>
                        <a:pt x="40" y="70"/>
                      </a:lnTo>
                      <a:lnTo>
                        <a:pt x="36" y="70"/>
                      </a:lnTo>
                      <a:lnTo>
                        <a:pt x="36" y="70"/>
                      </a:lnTo>
                      <a:lnTo>
                        <a:pt x="36" y="70"/>
                      </a:lnTo>
                      <a:close/>
                      <a:moveTo>
                        <a:pt x="48" y="70"/>
                      </a:moveTo>
                      <a:lnTo>
                        <a:pt x="44" y="70"/>
                      </a:lnTo>
                      <a:lnTo>
                        <a:pt x="48" y="70"/>
                      </a:lnTo>
                      <a:lnTo>
                        <a:pt x="52" y="70"/>
                      </a:lnTo>
                      <a:lnTo>
                        <a:pt x="48" y="70"/>
                      </a:lnTo>
                      <a:lnTo>
                        <a:pt x="48" y="70"/>
                      </a:lnTo>
                      <a:lnTo>
                        <a:pt x="48" y="70"/>
                      </a:lnTo>
                      <a:close/>
                      <a:moveTo>
                        <a:pt x="60" y="74"/>
                      </a:moveTo>
                      <a:lnTo>
                        <a:pt x="56" y="74"/>
                      </a:lnTo>
                      <a:lnTo>
                        <a:pt x="60" y="74"/>
                      </a:lnTo>
                      <a:lnTo>
                        <a:pt x="60" y="74"/>
                      </a:lnTo>
                      <a:lnTo>
                        <a:pt x="60" y="74"/>
                      </a:lnTo>
                      <a:close/>
                      <a:moveTo>
                        <a:pt x="60" y="70"/>
                      </a:moveTo>
                      <a:lnTo>
                        <a:pt x="56" y="70"/>
                      </a:lnTo>
                      <a:lnTo>
                        <a:pt x="56" y="66"/>
                      </a:lnTo>
                      <a:lnTo>
                        <a:pt x="52" y="66"/>
                      </a:lnTo>
                      <a:lnTo>
                        <a:pt x="52" y="64"/>
                      </a:lnTo>
                      <a:lnTo>
                        <a:pt x="48" y="64"/>
                      </a:lnTo>
                      <a:lnTo>
                        <a:pt x="44" y="60"/>
                      </a:lnTo>
                      <a:lnTo>
                        <a:pt x="40" y="60"/>
                      </a:lnTo>
                      <a:lnTo>
                        <a:pt x="36" y="60"/>
                      </a:lnTo>
                      <a:lnTo>
                        <a:pt x="34" y="60"/>
                      </a:lnTo>
                      <a:lnTo>
                        <a:pt x="34" y="56"/>
                      </a:lnTo>
                      <a:lnTo>
                        <a:pt x="36" y="56"/>
                      </a:lnTo>
                      <a:lnTo>
                        <a:pt x="34" y="56"/>
                      </a:lnTo>
                      <a:lnTo>
                        <a:pt x="30" y="52"/>
                      </a:lnTo>
                      <a:lnTo>
                        <a:pt x="26" y="52"/>
                      </a:lnTo>
                      <a:lnTo>
                        <a:pt x="26" y="48"/>
                      </a:lnTo>
                      <a:lnTo>
                        <a:pt x="26" y="44"/>
                      </a:lnTo>
                      <a:lnTo>
                        <a:pt x="22" y="44"/>
                      </a:lnTo>
                      <a:lnTo>
                        <a:pt x="26" y="44"/>
                      </a:lnTo>
                      <a:lnTo>
                        <a:pt x="30" y="44"/>
                      </a:lnTo>
                      <a:lnTo>
                        <a:pt x="26" y="40"/>
                      </a:lnTo>
                      <a:lnTo>
                        <a:pt x="22" y="40"/>
                      </a:lnTo>
                      <a:lnTo>
                        <a:pt x="22" y="38"/>
                      </a:lnTo>
                      <a:lnTo>
                        <a:pt x="18" y="34"/>
                      </a:lnTo>
                      <a:lnTo>
                        <a:pt x="22" y="34"/>
                      </a:lnTo>
                      <a:lnTo>
                        <a:pt x="22" y="30"/>
                      </a:lnTo>
                      <a:lnTo>
                        <a:pt x="18" y="26"/>
                      </a:lnTo>
                      <a:lnTo>
                        <a:pt x="14" y="26"/>
                      </a:lnTo>
                      <a:lnTo>
                        <a:pt x="14" y="22"/>
                      </a:lnTo>
                      <a:lnTo>
                        <a:pt x="10" y="22"/>
                      </a:lnTo>
                      <a:lnTo>
                        <a:pt x="10" y="26"/>
                      </a:lnTo>
                      <a:lnTo>
                        <a:pt x="10" y="30"/>
                      </a:lnTo>
                      <a:lnTo>
                        <a:pt x="8" y="30"/>
                      </a:lnTo>
                      <a:lnTo>
                        <a:pt x="8" y="34"/>
                      </a:lnTo>
                      <a:lnTo>
                        <a:pt x="4" y="34"/>
                      </a:lnTo>
                      <a:lnTo>
                        <a:pt x="8" y="34"/>
                      </a:lnTo>
                      <a:lnTo>
                        <a:pt x="4" y="30"/>
                      </a:lnTo>
                      <a:lnTo>
                        <a:pt x="4" y="26"/>
                      </a:lnTo>
                      <a:lnTo>
                        <a:pt x="4" y="22"/>
                      </a:lnTo>
                      <a:lnTo>
                        <a:pt x="0" y="22"/>
                      </a:lnTo>
                      <a:lnTo>
                        <a:pt x="0" y="18"/>
                      </a:lnTo>
                      <a:lnTo>
                        <a:pt x="4" y="18"/>
                      </a:lnTo>
                      <a:lnTo>
                        <a:pt x="4" y="22"/>
                      </a:lnTo>
                      <a:lnTo>
                        <a:pt x="8" y="22"/>
                      </a:lnTo>
                      <a:lnTo>
                        <a:pt x="10" y="22"/>
                      </a:lnTo>
                      <a:lnTo>
                        <a:pt x="14" y="18"/>
                      </a:lnTo>
                      <a:lnTo>
                        <a:pt x="14" y="14"/>
                      </a:lnTo>
                      <a:lnTo>
                        <a:pt x="14" y="18"/>
                      </a:lnTo>
                      <a:lnTo>
                        <a:pt x="18" y="18"/>
                      </a:lnTo>
                      <a:lnTo>
                        <a:pt x="18" y="22"/>
                      </a:lnTo>
                      <a:lnTo>
                        <a:pt x="22" y="18"/>
                      </a:lnTo>
                      <a:lnTo>
                        <a:pt x="22" y="22"/>
                      </a:lnTo>
                      <a:lnTo>
                        <a:pt x="26" y="22"/>
                      </a:lnTo>
                      <a:lnTo>
                        <a:pt x="26" y="18"/>
                      </a:lnTo>
                      <a:lnTo>
                        <a:pt x="26" y="14"/>
                      </a:lnTo>
                      <a:lnTo>
                        <a:pt x="30" y="14"/>
                      </a:lnTo>
                      <a:lnTo>
                        <a:pt x="34" y="14"/>
                      </a:lnTo>
                      <a:lnTo>
                        <a:pt x="34" y="12"/>
                      </a:lnTo>
                      <a:lnTo>
                        <a:pt x="34" y="8"/>
                      </a:lnTo>
                      <a:lnTo>
                        <a:pt x="30" y="8"/>
                      </a:lnTo>
                      <a:lnTo>
                        <a:pt x="30" y="4"/>
                      </a:lnTo>
                      <a:lnTo>
                        <a:pt x="34" y="4"/>
                      </a:lnTo>
                      <a:lnTo>
                        <a:pt x="36" y="4"/>
                      </a:lnTo>
                      <a:lnTo>
                        <a:pt x="36" y="0"/>
                      </a:lnTo>
                      <a:lnTo>
                        <a:pt x="40" y="0"/>
                      </a:lnTo>
                      <a:lnTo>
                        <a:pt x="44" y="0"/>
                      </a:lnTo>
                      <a:lnTo>
                        <a:pt x="48" y="4"/>
                      </a:lnTo>
                      <a:lnTo>
                        <a:pt x="52" y="8"/>
                      </a:lnTo>
                      <a:lnTo>
                        <a:pt x="52" y="12"/>
                      </a:lnTo>
                      <a:lnTo>
                        <a:pt x="56" y="12"/>
                      </a:lnTo>
                      <a:lnTo>
                        <a:pt x="60" y="12"/>
                      </a:lnTo>
                      <a:lnTo>
                        <a:pt x="60" y="14"/>
                      </a:lnTo>
                      <a:lnTo>
                        <a:pt x="62" y="14"/>
                      </a:lnTo>
                      <a:lnTo>
                        <a:pt x="66" y="14"/>
                      </a:lnTo>
                      <a:lnTo>
                        <a:pt x="70" y="14"/>
                      </a:lnTo>
                      <a:lnTo>
                        <a:pt x="74" y="14"/>
                      </a:lnTo>
                      <a:lnTo>
                        <a:pt x="74" y="12"/>
                      </a:lnTo>
                      <a:lnTo>
                        <a:pt x="78" y="14"/>
                      </a:lnTo>
                      <a:lnTo>
                        <a:pt x="78" y="18"/>
                      </a:lnTo>
                      <a:lnTo>
                        <a:pt x="78" y="22"/>
                      </a:lnTo>
                      <a:lnTo>
                        <a:pt x="82" y="22"/>
                      </a:lnTo>
                      <a:lnTo>
                        <a:pt x="82" y="26"/>
                      </a:lnTo>
                      <a:lnTo>
                        <a:pt x="86" y="26"/>
                      </a:lnTo>
                      <a:lnTo>
                        <a:pt x="82" y="26"/>
                      </a:lnTo>
                      <a:lnTo>
                        <a:pt x="82" y="30"/>
                      </a:lnTo>
                      <a:lnTo>
                        <a:pt x="78" y="30"/>
                      </a:lnTo>
                      <a:lnTo>
                        <a:pt x="78" y="34"/>
                      </a:lnTo>
                      <a:lnTo>
                        <a:pt x="74" y="34"/>
                      </a:lnTo>
                      <a:lnTo>
                        <a:pt x="74" y="30"/>
                      </a:lnTo>
                      <a:lnTo>
                        <a:pt x="70" y="26"/>
                      </a:lnTo>
                      <a:lnTo>
                        <a:pt x="66" y="26"/>
                      </a:lnTo>
                      <a:lnTo>
                        <a:pt x="66" y="30"/>
                      </a:lnTo>
                      <a:lnTo>
                        <a:pt x="62" y="30"/>
                      </a:lnTo>
                      <a:lnTo>
                        <a:pt x="60" y="30"/>
                      </a:lnTo>
                      <a:lnTo>
                        <a:pt x="60" y="26"/>
                      </a:lnTo>
                      <a:lnTo>
                        <a:pt x="56" y="26"/>
                      </a:lnTo>
                      <a:lnTo>
                        <a:pt x="52" y="26"/>
                      </a:lnTo>
                      <a:lnTo>
                        <a:pt x="48" y="26"/>
                      </a:lnTo>
                      <a:lnTo>
                        <a:pt x="44" y="26"/>
                      </a:lnTo>
                      <a:lnTo>
                        <a:pt x="40" y="26"/>
                      </a:lnTo>
                      <a:lnTo>
                        <a:pt x="40" y="30"/>
                      </a:lnTo>
                      <a:lnTo>
                        <a:pt x="36" y="30"/>
                      </a:lnTo>
                      <a:lnTo>
                        <a:pt x="36" y="26"/>
                      </a:lnTo>
                      <a:lnTo>
                        <a:pt x="34" y="26"/>
                      </a:lnTo>
                      <a:lnTo>
                        <a:pt x="34" y="30"/>
                      </a:lnTo>
                      <a:lnTo>
                        <a:pt x="34" y="34"/>
                      </a:lnTo>
                      <a:lnTo>
                        <a:pt x="34" y="38"/>
                      </a:lnTo>
                      <a:lnTo>
                        <a:pt x="36" y="38"/>
                      </a:lnTo>
                      <a:lnTo>
                        <a:pt x="36" y="40"/>
                      </a:lnTo>
                      <a:lnTo>
                        <a:pt x="36" y="44"/>
                      </a:lnTo>
                      <a:lnTo>
                        <a:pt x="40" y="44"/>
                      </a:lnTo>
                      <a:lnTo>
                        <a:pt x="40" y="48"/>
                      </a:lnTo>
                      <a:lnTo>
                        <a:pt x="44" y="48"/>
                      </a:lnTo>
                      <a:lnTo>
                        <a:pt x="44" y="52"/>
                      </a:lnTo>
                      <a:lnTo>
                        <a:pt x="48" y="56"/>
                      </a:lnTo>
                      <a:lnTo>
                        <a:pt x="48" y="60"/>
                      </a:lnTo>
                      <a:lnTo>
                        <a:pt x="52" y="60"/>
                      </a:lnTo>
                      <a:lnTo>
                        <a:pt x="56" y="60"/>
                      </a:lnTo>
                      <a:lnTo>
                        <a:pt x="52" y="64"/>
                      </a:lnTo>
                      <a:lnTo>
                        <a:pt x="56" y="64"/>
                      </a:lnTo>
                      <a:lnTo>
                        <a:pt x="56" y="66"/>
                      </a:lnTo>
                      <a:lnTo>
                        <a:pt x="60" y="66"/>
                      </a:lnTo>
                      <a:lnTo>
                        <a:pt x="60" y="70"/>
                      </a:lnTo>
                      <a:lnTo>
                        <a:pt x="60" y="70"/>
                      </a:lnTo>
                      <a:lnTo>
                        <a:pt x="60" y="70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Freeform 95"/>
                <p:cNvSpPr>
                  <a:spLocks/>
                </p:cNvSpPr>
                <p:nvPr/>
              </p:nvSpPr>
              <p:spPr bwMode="auto">
                <a:xfrm>
                  <a:off x="4664075" y="3076643"/>
                  <a:ext cx="155575" cy="82550"/>
                </a:xfrm>
                <a:custGeom>
                  <a:avLst/>
                  <a:gdLst>
                    <a:gd name="T0" fmla="*/ 84 w 98"/>
                    <a:gd name="T1" fmla="*/ 42 h 52"/>
                    <a:gd name="T2" fmla="*/ 80 w 98"/>
                    <a:gd name="T3" fmla="*/ 46 h 52"/>
                    <a:gd name="T4" fmla="*/ 72 w 98"/>
                    <a:gd name="T5" fmla="*/ 46 h 52"/>
                    <a:gd name="T6" fmla="*/ 68 w 98"/>
                    <a:gd name="T7" fmla="*/ 50 h 52"/>
                    <a:gd name="T8" fmla="*/ 68 w 98"/>
                    <a:gd name="T9" fmla="*/ 50 h 52"/>
                    <a:gd name="T10" fmla="*/ 60 w 98"/>
                    <a:gd name="T11" fmla="*/ 46 h 52"/>
                    <a:gd name="T12" fmla="*/ 58 w 98"/>
                    <a:gd name="T13" fmla="*/ 50 h 52"/>
                    <a:gd name="T14" fmla="*/ 54 w 98"/>
                    <a:gd name="T15" fmla="*/ 46 h 52"/>
                    <a:gd name="T16" fmla="*/ 50 w 98"/>
                    <a:gd name="T17" fmla="*/ 46 h 52"/>
                    <a:gd name="T18" fmla="*/ 46 w 98"/>
                    <a:gd name="T19" fmla="*/ 42 h 52"/>
                    <a:gd name="T20" fmla="*/ 42 w 98"/>
                    <a:gd name="T21" fmla="*/ 42 h 52"/>
                    <a:gd name="T22" fmla="*/ 38 w 98"/>
                    <a:gd name="T23" fmla="*/ 46 h 52"/>
                    <a:gd name="T24" fmla="*/ 38 w 98"/>
                    <a:gd name="T25" fmla="*/ 52 h 52"/>
                    <a:gd name="T26" fmla="*/ 34 w 98"/>
                    <a:gd name="T27" fmla="*/ 52 h 52"/>
                    <a:gd name="T28" fmla="*/ 26 w 98"/>
                    <a:gd name="T29" fmla="*/ 50 h 52"/>
                    <a:gd name="T30" fmla="*/ 24 w 98"/>
                    <a:gd name="T31" fmla="*/ 46 h 52"/>
                    <a:gd name="T32" fmla="*/ 24 w 98"/>
                    <a:gd name="T33" fmla="*/ 46 h 52"/>
                    <a:gd name="T34" fmla="*/ 20 w 98"/>
                    <a:gd name="T35" fmla="*/ 42 h 52"/>
                    <a:gd name="T36" fmla="*/ 12 w 98"/>
                    <a:gd name="T37" fmla="*/ 38 h 52"/>
                    <a:gd name="T38" fmla="*/ 8 w 98"/>
                    <a:gd name="T39" fmla="*/ 30 h 52"/>
                    <a:gd name="T40" fmla="*/ 4 w 98"/>
                    <a:gd name="T41" fmla="*/ 26 h 52"/>
                    <a:gd name="T42" fmla="*/ 4 w 98"/>
                    <a:gd name="T43" fmla="*/ 22 h 52"/>
                    <a:gd name="T44" fmla="*/ 0 w 98"/>
                    <a:gd name="T45" fmla="*/ 18 h 52"/>
                    <a:gd name="T46" fmla="*/ 4 w 98"/>
                    <a:gd name="T47" fmla="*/ 18 h 52"/>
                    <a:gd name="T48" fmla="*/ 8 w 98"/>
                    <a:gd name="T49" fmla="*/ 12 h 52"/>
                    <a:gd name="T50" fmla="*/ 12 w 98"/>
                    <a:gd name="T51" fmla="*/ 12 h 52"/>
                    <a:gd name="T52" fmla="*/ 12 w 98"/>
                    <a:gd name="T53" fmla="*/ 12 h 52"/>
                    <a:gd name="T54" fmla="*/ 16 w 98"/>
                    <a:gd name="T55" fmla="*/ 12 h 52"/>
                    <a:gd name="T56" fmla="*/ 20 w 98"/>
                    <a:gd name="T57" fmla="*/ 8 h 52"/>
                    <a:gd name="T58" fmla="*/ 24 w 98"/>
                    <a:gd name="T59" fmla="*/ 8 h 52"/>
                    <a:gd name="T60" fmla="*/ 26 w 98"/>
                    <a:gd name="T61" fmla="*/ 4 h 52"/>
                    <a:gd name="T62" fmla="*/ 30 w 98"/>
                    <a:gd name="T63" fmla="*/ 0 h 52"/>
                    <a:gd name="T64" fmla="*/ 34 w 98"/>
                    <a:gd name="T65" fmla="*/ 0 h 52"/>
                    <a:gd name="T66" fmla="*/ 38 w 98"/>
                    <a:gd name="T67" fmla="*/ 4 h 52"/>
                    <a:gd name="T68" fmla="*/ 38 w 98"/>
                    <a:gd name="T69" fmla="*/ 4 h 52"/>
                    <a:gd name="T70" fmla="*/ 46 w 98"/>
                    <a:gd name="T71" fmla="*/ 0 h 52"/>
                    <a:gd name="T72" fmla="*/ 46 w 98"/>
                    <a:gd name="T73" fmla="*/ 4 h 52"/>
                    <a:gd name="T74" fmla="*/ 50 w 98"/>
                    <a:gd name="T75" fmla="*/ 4 h 52"/>
                    <a:gd name="T76" fmla="*/ 58 w 98"/>
                    <a:gd name="T77" fmla="*/ 8 h 52"/>
                    <a:gd name="T78" fmla="*/ 60 w 98"/>
                    <a:gd name="T79" fmla="*/ 8 h 52"/>
                    <a:gd name="T80" fmla="*/ 60 w 98"/>
                    <a:gd name="T81" fmla="*/ 12 h 52"/>
                    <a:gd name="T82" fmla="*/ 60 w 98"/>
                    <a:gd name="T83" fmla="*/ 16 h 52"/>
                    <a:gd name="T84" fmla="*/ 64 w 98"/>
                    <a:gd name="T85" fmla="*/ 18 h 52"/>
                    <a:gd name="T86" fmla="*/ 68 w 98"/>
                    <a:gd name="T87" fmla="*/ 18 h 52"/>
                    <a:gd name="T88" fmla="*/ 72 w 98"/>
                    <a:gd name="T89" fmla="*/ 18 h 52"/>
                    <a:gd name="T90" fmla="*/ 68 w 98"/>
                    <a:gd name="T91" fmla="*/ 12 h 52"/>
                    <a:gd name="T92" fmla="*/ 72 w 98"/>
                    <a:gd name="T93" fmla="*/ 16 h 52"/>
                    <a:gd name="T94" fmla="*/ 80 w 98"/>
                    <a:gd name="T95" fmla="*/ 16 h 52"/>
                    <a:gd name="T96" fmla="*/ 80 w 98"/>
                    <a:gd name="T97" fmla="*/ 16 h 52"/>
                    <a:gd name="T98" fmla="*/ 80 w 98"/>
                    <a:gd name="T99" fmla="*/ 18 h 52"/>
                    <a:gd name="T100" fmla="*/ 88 w 98"/>
                    <a:gd name="T101" fmla="*/ 18 h 52"/>
                    <a:gd name="T102" fmla="*/ 94 w 98"/>
                    <a:gd name="T103" fmla="*/ 22 h 52"/>
                    <a:gd name="T104" fmla="*/ 94 w 98"/>
                    <a:gd name="T105" fmla="*/ 30 h 52"/>
                    <a:gd name="T106" fmla="*/ 94 w 98"/>
                    <a:gd name="T107" fmla="*/ 30 h 52"/>
                    <a:gd name="T108" fmla="*/ 88 w 98"/>
                    <a:gd name="T109" fmla="*/ 38 h 52"/>
                    <a:gd name="T110" fmla="*/ 88 w 98"/>
                    <a:gd name="T111" fmla="*/ 38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98" h="52">
                      <a:moveTo>
                        <a:pt x="88" y="38"/>
                      </a:moveTo>
                      <a:lnTo>
                        <a:pt x="88" y="42"/>
                      </a:lnTo>
                      <a:lnTo>
                        <a:pt x="88" y="42"/>
                      </a:lnTo>
                      <a:lnTo>
                        <a:pt x="88" y="42"/>
                      </a:lnTo>
                      <a:lnTo>
                        <a:pt x="84" y="42"/>
                      </a:lnTo>
                      <a:lnTo>
                        <a:pt x="84" y="46"/>
                      </a:lnTo>
                      <a:lnTo>
                        <a:pt x="80" y="46"/>
                      </a:lnTo>
                      <a:lnTo>
                        <a:pt x="80" y="46"/>
                      </a:lnTo>
                      <a:lnTo>
                        <a:pt x="80" y="46"/>
                      </a:lnTo>
                      <a:lnTo>
                        <a:pt x="80" y="46"/>
                      </a:lnTo>
                      <a:lnTo>
                        <a:pt x="76" y="46"/>
                      </a:lnTo>
                      <a:lnTo>
                        <a:pt x="76" y="46"/>
                      </a:lnTo>
                      <a:lnTo>
                        <a:pt x="76" y="46"/>
                      </a:lnTo>
                      <a:lnTo>
                        <a:pt x="76" y="46"/>
                      </a:lnTo>
                      <a:lnTo>
                        <a:pt x="72" y="46"/>
                      </a:lnTo>
                      <a:lnTo>
                        <a:pt x="72" y="46"/>
                      </a:lnTo>
                      <a:lnTo>
                        <a:pt x="72" y="46"/>
                      </a:lnTo>
                      <a:lnTo>
                        <a:pt x="72" y="50"/>
                      </a:lnTo>
                      <a:lnTo>
                        <a:pt x="72" y="50"/>
                      </a:lnTo>
                      <a:lnTo>
                        <a:pt x="68" y="50"/>
                      </a:lnTo>
                      <a:lnTo>
                        <a:pt x="68" y="50"/>
                      </a:lnTo>
                      <a:lnTo>
                        <a:pt x="68" y="50"/>
                      </a:lnTo>
                      <a:lnTo>
                        <a:pt x="68" y="50"/>
                      </a:lnTo>
                      <a:lnTo>
                        <a:pt x="68" y="50"/>
                      </a:lnTo>
                      <a:lnTo>
                        <a:pt x="68" y="50"/>
                      </a:lnTo>
                      <a:lnTo>
                        <a:pt x="68" y="50"/>
                      </a:lnTo>
                      <a:lnTo>
                        <a:pt x="64" y="50"/>
                      </a:lnTo>
                      <a:lnTo>
                        <a:pt x="64" y="46"/>
                      </a:lnTo>
                      <a:lnTo>
                        <a:pt x="64" y="46"/>
                      </a:lnTo>
                      <a:lnTo>
                        <a:pt x="60" y="46"/>
                      </a:lnTo>
                      <a:lnTo>
                        <a:pt x="60" y="46"/>
                      </a:lnTo>
                      <a:lnTo>
                        <a:pt x="60" y="50"/>
                      </a:lnTo>
                      <a:lnTo>
                        <a:pt x="60" y="50"/>
                      </a:lnTo>
                      <a:lnTo>
                        <a:pt x="60" y="50"/>
                      </a:lnTo>
                      <a:lnTo>
                        <a:pt x="58" y="50"/>
                      </a:lnTo>
                      <a:lnTo>
                        <a:pt x="58" y="50"/>
                      </a:lnTo>
                      <a:lnTo>
                        <a:pt x="58" y="50"/>
                      </a:lnTo>
                      <a:lnTo>
                        <a:pt x="58" y="50"/>
                      </a:lnTo>
                      <a:lnTo>
                        <a:pt x="58" y="46"/>
                      </a:lnTo>
                      <a:lnTo>
                        <a:pt x="54" y="46"/>
                      </a:lnTo>
                      <a:lnTo>
                        <a:pt x="54" y="46"/>
                      </a:lnTo>
                      <a:lnTo>
                        <a:pt x="54" y="46"/>
                      </a:lnTo>
                      <a:lnTo>
                        <a:pt x="50" y="46"/>
                      </a:lnTo>
                      <a:lnTo>
                        <a:pt x="50" y="46"/>
                      </a:lnTo>
                      <a:lnTo>
                        <a:pt x="50" y="46"/>
                      </a:lnTo>
                      <a:lnTo>
                        <a:pt x="50" y="46"/>
                      </a:lnTo>
                      <a:lnTo>
                        <a:pt x="50" y="46"/>
                      </a:lnTo>
                      <a:lnTo>
                        <a:pt x="46" y="42"/>
                      </a:lnTo>
                      <a:lnTo>
                        <a:pt x="46" y="42"/>
                      </a:lnTo>
                      <a:lnTo>
                        <a:pt x="46" y="42"/>
                      </a:lnTo>
                      <a:lnTo>
                        <a:pt x="46" y="42"/>
                      </a:lnTo>
                      <a:lnTo>
                        <a:pt x="42" y="42"/>
                      </a:lnTo>
                      <a:lnTo>
                        <a:pt x="42" y="42"/>
                      </a:lnTo>
                      <a:lnTo>
                        <a:pt x="42" y="42"/>
                      </a:lnTo>
                      <a:lnTo>
                        <a:pt x="42" y="42"/>
                      </a:lnTo>
                      <a:lnTo>
                        <a:pt x="42" y="46"/>
                      </a:lnTo>
                      <a:lnTo>
                        <a:pt x="42" y="46"/>
                      </a:lnTo>
                      <a:lnTo>
                        <a:pt x="38" y="46"/>
                      </a:lnTo>
                      <a:lnTo>
                        <a:pt x="38" y="46"/>
                      </a:lnTo>
                      <a:lnTo>
                        <a:pt x="38" y="46"/>
                      </a:lnTo>
                      <a:lnTo>
                        <a:pt x="38" y="50"/>
                      </a:lnTo>
                      <a:lnTo>
                        <a:pt x="38" y="50"/>
                      </a:lnTo>
                      <a:lnTo>
                        <a:pt x="38" y="50"/>
                      </a:lnTo>
                      <a:lnTo>
                        <a:pt x="38" y="52"/>
                      </a:lnTo>
                      <a:lnTo>
                        <a:pt x="38" y="52"/>
                      </a:lnTo>
                      <a:lnTo>
                        <a:pt x="38" y="50"/>
                      </a:lnTo>
                      <a:lnTo>
                        <a:pt x="34" y="50"/>
                      </a:lnTo>
                      <a:lnTo>
                        <a:pt x="34" y="50"/>
                      </a:lnTo>
                      <a:lnTo>
                        <a:pt x="34" y="50"/>
                      </a:lnTo>
                      <a:lnTo>
                        <a:pt x="34" y="52"/>
                      </a:lnTo>
                      <a:lnTo>
                        <a:pt x="30" y="52"/>
                      </a:lnTo>
                      <a:lnTo>
                        <a:pt x="30" y="52"/>
                      </a:lnTo>
                      <a:lnTo>
                        <a:pt x="26" y="50"/>
                      </a:lnTo>
                      <a:lnTo>
                        <a:pt x="26" y="50"/>
                      </a:lnTo>
                      <a:lnTo>
                        <a:pt x="26" y="50"/>
                      </a:lnTo>
                      <a:lnTo>
                        <a:pt x="26" y="50"/>
                      </a:lnTo>
                      <a:lnTo>
                        <a:pt x="24" y="50"/>
                      </a:lnTo>
                      <a:lnTo>
                        <a:pt x="24" y="46"/>
                      </a:lnTo>
                      <a:lnTo>
                        <a:pt x="24" y="46"/>
                      </a:lnTo>
                      <a:lnTo>
                        <a:pt x="24" y="46"/>
                      </a:lnTo>
                      <a:lnTo>
                        <a:pt x="24" y="46"/>
                      </a:lnTo>
                      <a:lnTo>
                        <a:pt x="24" y="46"/>
                      </a:lnTo>
                      <a:lnTo>
                        <a:pt x="24" y="46"/>
                      </a:lnTo>
                      <a:lnTo>
                        <a:pt x="24" y="46"/>
                      </a:lnTo>
                      <a:lnTo>
                        <a:pt x="24" y="46"/>
                      </a:lnTo>
                      <a:lnTo>
                        <a:pt x="24" y="46"/>
                      </a:lnTo>
                      <a:lnTo>
                        <a:pt x="24" y="46"/>
                      </a:lnTo>
                      <a:lnTo>
                        <a:pt x="24" y="46"/>
                      </a:lnTo>
                      <a:lnTo>
                        <a:pt x="20" y="42"/>
                      </a:lnTo>
                      <a:lnTo>
                        <a:pt x="20" y="42"/>
                      </a:lnTo>
                      <a:lnTo>
                        <a:pt x="20" y="42"/>
                      </a:lnTo>
                      <a:lnTo>
                        <a:pt x="20" y="42"/>
                      </a:lnTo>
                      <a:lnTo>
                        <a:pt x="20" y="42"/>
                      </a:lnTo>
                      <a:lnTo>
                        <a:pt x="16" y="38"/>
                      </a:lnTo>
                      <a:lnTo>
                        <a:pt x="12" y="38"/>
                      </a:lnTo>
                      <a:lnTo>
                        <a:pt x="12" y="34"/>
                      </a:lnTo>
                      <a:lnTo>
                        <a:pt x="12" y="34"/>
                      </a:lnTo>
                      <a:lnTo>
                        <a:pt x="12" y="34"/>
                      </a:lnTo>
                      <a:lnTo>
                        <a:pt x="8" y="34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4" y="30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8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8" y="12"/>
                      </a:lnTo>
                      <a:lnTo>
                        <a:pt x="8" y="12"/>
                      </a:lnTo>
                      <a:lnTo>
                        <a:pt x="8" y="12"/>
                      </a:lnTo>
                      <a:lnTo>
                        <a:pt x="8" y="12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6" y="12"/>
                      </a:lnTo>
                      <a:lnTo>
                        <a:pt x="16" y="12"/>
                      </a:lnTo>
                      <a:lnTo>
                        <a:pt x="16" y="12"/>
                      </a:lnTo>
                      <a:lnTo>
                        <a:pt x="16" y="12"/>
                      </a:lnTo>
                      <a:lnTo>
                        <a:pt x="16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4" y="8"/>
                      </a:lnTo>
                      <a:lnTo>
                        <a:pt x="24" y="8"/>
                      </a:lnTo>
                      <a:lnTo>
                        <a:pt x="24" y="8"/>
                      </a:lnTo>
                      <a:lnTo>
                        <a:pt x="24" y="8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4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4" y="0"/>
                      </a:lnTo>
                      <a:lnTo>
                        <a:pt x="34" y="0"/>
                      </a:lnTo>
                      <a:lnTo>
                        <a:pt x="34" y="0"/>
                      </a:lnTo>
                      <a:lnTo>
                        <a:pt x="38" y="4"/>
                      </a:lnTo>
                      <a:lnTo>
                        <a:pt x="38" y="4"/>
                      </a:lnTo>
                      <a:lnTo>
                        <a:pt x="34" y="4"/>
                      </a:lnTo>
                      <a:lnTo>
                        <a:pt x="38" y="4"/>
                      </a:lnTo>
                      <a:lnTo>
                        <a:pt x="38" y="4"/>
                      </a:lnTo>
                      <a:lnTo>
                        <a:pt x="38" y="4"/>
                      </a:lnTo>
                      <a:lnTo>
                        <a:pt x="38" y="4"/>
                      </a:lnTo>
                      <a:lnTo>
                        <a:pt x="38" y="4"/>
                      </a:lnTo>
                      <a:lnTo>
                        <a:pt x="38" y="4"/>
                      </a:lnTo>
                      <a:lnTo>
                        <a:pt x="38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0"/>
                      </a:lnTo>
                      <a:lnTo>
                        <a:pt x="42" y="0"/>
                      </a:lnTo>
                      <a:lnTo>
                        <a:pt x="46" y="0"/>
                      </a:lnTo>
                      <a:lnTo>
                        <a:pt x="46" y="0"/>
                      </a:lnTo>
                      <a:lnTo>
                        <a:pt x="46" y="0"/>
                      </a:lnTo>
                      <a:lnTo>
                        <a:pt x="46" y="0"/>
                      </a:lnTo>
                      <a:lnTo>
                        <a:pt x="46" y="4"/>
                      </a:lnTo>
                      <a:lnTo>
                        <a:pt x="46" y="4"/>
                      </a:lnTo>
                      <a:lnTo>
                        <a:pt x="46" y="4"/>
                      </a:lnTo>
                      <a:lnTo>
                        <a:pt x="46" y="4"/>
                      </a:lnTo>
                      <a:lnTo>
                        <a:pt x="46" y="4"/>
                      </a:lnTo>
                      <a:lnTo>
                        <a:pt x="50" y="4"/>
                      </a:lnTo>
                      <a:lnTo>
                        <a:pt x="50" y="4"/>
                      </a:lnTo>
                      <a:lnTo>
                        <a:pt x="54" y="8"/>
                      </a:lnTo>
                      <a:lnTo>
                        <a:pt x="58" y="8"/>
                      </a:lnTo>
                      <a:lnTo>
                        <a:pt x="58" y="8"/>
                      </a:lnTo>
                      <a:lnTo>
                        <a:pt x="58" y="8"/>
                      </a:lnTo>
                      <a:lnTo>
                        <a:pt x="58" y="8"/>
                      </a:lnTo>
                      <a:lnTo>
                        <a:pt x="58" y="8"/>
                      </a:lnTo>
                      <a:lnTo>
                        <a:pt x="60" y="8"/>
                      </a:lnTo>
                      <a:lnTo>
                        <a:pt x="60" y="8"/>
                      </a:lnTo>
                      <a:lnTo>
                        <a:pt x="60" y="8"/>
                      </a:lnTo>
                      <a:lnTo>
                        <a:pt x="60" y="8"/>
                      </a:lnTo>
                      <a:lnTo>
                        <a:pt x="60" y="8"/>
                      </a:lnTo>
                      <a:lnTo>
                        <a:pt x="60" y="12"/>
                      </a:lnTo>
                      <a:lnTo>
                        <a:pt x="60" y="12"/>
                      </a:lnTo>
                      <a:lnTo>
                        <a:pt x="60" y="12"/>
                      </a:lnTo>
                      <a:lnTo>
                        <a:pt x="60" y="12"/>
                      </a:lnTo>
                      <a:lnTo>
                        <a:pt x="60" y="12"/>
                      </a:lnTo>
                      <a:lnTo>
                        <a:pt x="60" y="16"/>
                      </a:lnTo>
                      <a:lnTo>
                        <a:pt x="60" y="16"/>
                      </a:lnTo>
                      <a:lnTo>
                        <a:pt x="60" y="16"/>
                      </a:lnTo>
                      <a:lnTo>
                        <a:pt x="60" y="16"/>
                      </a:lnTo>
                      <a:lnTo>
                        <a:pt x="60" y="16"/>
                      </a:lnTo>
                      <a:lnTo>
                        <a:pt x="64" y="16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68" y="18"/>
                      </a:lnTo>
                      <a:lnTo>
                        <a:pt x="68" y="18"/>
                      </a:lnTo>
                      <a:lnTo>
                        <a:pt x="68" y="18"/>
                      </a:lnTo>
                      <a:lnTo>
                        <a:pt x="68" y="18"/>
                      </a:lnTo>
                      <a:lnTo>
                        <a:pt x="68" y="16"/>
                      </a:lnTo>
                      <a:lnTo>
                        <a:pt x="68" y="16"/>
                      </a:lnTo>
                      <a:lnTo>
                        <a:pt x="72" y="18"/>
                      </a:lnTo>
                      <a:lnTo>
                        <a:pt x="68" y="16"/>
                      </a:lnTo>
                      <a:lnTo>
                        <a:pt x="68" y="16"/>
                      </a:lnTo>
                      <a:lnTo>
                        <a:pt x="68" y="12"/>
                      </a:lnTo>
                      <a:lnTo>
                        <a:pt x="68" y="12"/>
                      </a:lnTo>
                      <a:lnTo>
                        <a:pt x="68" y="12"/>
                      </a:lnTo>
                      <a:lnTo>
                        <a:pt x="68" y="12"/>
                      </a:lnTo>
                      <a:lnTo>
                        <a:pt x="72" y="12"/>
                      </a:lnTo>
                      <a:lnTo>
                        <a:pt x="72" y="16"/>
                      </a:lnTo>
                      <a:lnTo>
                        <a:pt x="72" y="16"/>
                      </a:lnTo>
                      <a:lnTo>
                        <a:pt x="72" y="16"/>
                      </a:lnTo>
                      <a:lnTo>
                        <a:pt x="76" y="16"/>
                      </a:lnTo>
                      <a:lnTo>
                        <a:pt x="76" y="16"/>
                      </a:lnTo>
                      <a:lnTo>
                        <a:pt x="76" y="16"/>
                      </a:lnTo>
                      <a:lnTo>
                        <a:pt x="80" y="16"/>
                      </a:lnTo>
                      <a:lnTo>
                        <a:pt x="80" y="16"/>
                      </a:lnTo>
                      <a:lnTo>
                        <a:pt x="80" y="16"/>
                      </a:lnTo>
                      <a:lnTo>
                        <a:pt x="80" y="16"/>
                      </a:lnTo>
                      <a:lnTo>
                        <a:pt x="80" y="16"/>
                      </a:lnTo>
                      <a:lnTo>
                        <a:pt x="80" y="16"/>
                      </a:lnTo>
                      <a:lnTo>
                        <a:pt x="80" y="16"/>
                      </a:lnTo>
                      <a:lnTo>
                        <a:pt x="80" y="18"/>
                      </a:lnTo>
                      <a:lnTo>
                        <a:pt x="80" y="18"/>
                      </a:lnTo>
                      <a:lnTo>
                        <a:pt x="80" y="18"/>
                      </a:lnTo>
                      <a:lnTo>
                        <a:pt x="80" y="18"/>
                      </a:lnTo>
                      <a:lnTo>
                        <a:pt x="80" y="18"/>
                      </a:lnTo>
                      <a:lnTo>
                        <a:pt x="84" y="22"/>
                      </a:lnTo>
                      <a:lnTo>
                        <a:pt x="84" y="22"/>
                      </a:lnTo>
                      <a:lnTo>
                        <a:pt x="84" y="22"/>
                      </a:lnTo>
                      <a:lnTo>
                        <a:pt x="84" y="22"/>
                      </a:lnTo>
                      <a:lnTo>
                        <a:pt x="88" y="18"/>
                      </a:lnTo>
                      <a:lnTo>
                        <a:pt x="88" y="22"/>
                      </a:lnTo>
                      <a:lnTo>
                        <a:pt x="88" y="22"/>
                      </a:lnTo>
                      <a:lnTo>
                        <a:pt x="90" y="22"/>
                      </a:lnTo>
                      <a:lnTo>
                        <a:pt x="90" y="22"/>
                      </a:lnTo>
                      <a:lnTo>
                        <a:pt x="94" y="22"/>
                      </a:lnTo>
                      <a:lnTo>
                        <a:pt x="94" y="26"/>
                      </a:lnTo>
                      <a:lnTo>
                        <a:pt x="94" y="26"/>
                      </a:lnTo>
                      <a:lnTo>
                        <a:pt x="94" y="26"/>
                      </a:lnTo>
                      <a:lnTo>
                        <a:pt x="94" y="30"/>
                      </a:lnTo>
                      <a:lnTo>
                        <a:pt x="94" y="30"/>
                      </a:lnTo>
                      <a:lnTo>
                        <a:pt x="98" y="30"/>
                      </a:lnTo>
                      <a:lnTo>
                        <a:pt x="98" y="30"/>
                      </a:lnTo>
                      <a:lnTo>
                        <a:pt x="98" y="30"/>
                      </a:lnTo>
                      <a:lnTo>
                        <a:pt x="94" y="30"/>
                      </a:lnTo>
                      <a:lnTo>
                        <a:pt x="94" y="30"/>
                      </a:lnTo>
                      <a:lnTo>
                        <a:pt x="90" y="34"/>
                      </a:lnTo>
                      <a:lnTo>
                        <a:pt x="90" y="34"/>
                      </a:lnTo>
                      <a:lnTo>
                        <a:pt x="90" y="34"/>
                      </a:lnTo>
                      <a:lnTo>
                        <a:pt x="88" y="38"/>
                      </a:lnTo>
                      <a:lnTo>
                        <a:pt x="88" y="38"/>
                      </a:lnTo>
                      <a:lnTo>
                        <a:pt x="88" y="38"/>
                      </a:lnTo>
                      <a:lnTo>
                        <a:pt x="88" y="38"/>
                      </a:lnTo>
                      <a:lnTo>
                        <a:pt x="88" y="38"/>
                      </a:lnTo>
                      <a:lnTo>
                        <a:pt x="88" y="38"/>
                      </a:lnTo>
                      <a:lnTo>
                        <a:pt x="88" y="38"/>
                      </a:lnTo>
                      <a:lnTo>
                        <a:pt x="88" y="38"/>
                      </a:lnTo>
                      <a:lnTo>
                        <a:pt x="88" y="38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Freeform 108"/>
                <p:cNvSpPr>
                  <a:spLocks noEditPoints="1"/>
                </p:cNvSpPr>
                <p:nvPr/>
              </p:nvSpPr>
              <p:spPr bwMode="auto">
                <a:xfrm>
                  <a:off x="4540250" y="3206818"/>
                  <a:ext cx="266700" cy="327025"/>
                </a:xfrm>
                <a:custGeom>
                  <a:avLst/>
                  <a:gdLst>
                    <a:gd name="T0" fmla="*/ 98 w 168"/>
                    <a:gd name="T1" fmla="*/ 72 h 206"/>
                    <a:gd name="T2" fmla="*/ 106 w 168"/>
                    <a:gd name="T3" fmla="*/ 90 h 206"/>
                    <a:gd name="T4" fmla="*/ 124 w 168"/>
                    <a:gd name="T5" fmla="*/ 100 h 206"/>
                    <a:gd name="T6" fmla="*/ 136 w 168"/>
                    <a:gd name="T7" fmla="*/ 108 h 206"/>
                    <a:gd name="T8" fmla="*/ 150 w 168"/>
                    <a:gd name="T9" fmla="*/ 120 h 206"/>
                    <a:gd name="T10" fmla="*/ 166 w 168"/>
                    <a:gd name="T11" fmla="*/ 130 h 206"/>
                    <a:gd name="T12" fmla="*/ 166 w 168"/>
                    <a:gd name="T13" fmla="*/ 142 h 206"/>
                    <a:gd name="T14" fmla="*/ 150 w 168"/>
                    <a:gd name="T15" fmla="*/ 130 h 206"/>
                    <a:gd name="T16" fmla="*/ 142 w 168"/>
                    <a:gd name="T17" fmla="*/ 142 h 206"/>
                    <a:gd name="T18" fmla="*/ 150 w 168"/>
                    <a:gd name="T19" fmla="*/ 156 h 206"/>
                    <a:gd name="T20" fmla="*/ 142 w 168"/>
                    <a:gd name="T21" fmla="*/ 172 h 206"/>
                    <a:gd name="T22" fmla="*/ 128 w 168"/>
                    <a:gd name="T23" fmla="*/ 176 h 206"/>
                    <a:gd name="T24" fmla="*/ 138 w 168"/>
                    <a:gd name="T25" fmla="*/ 160 h 206"/>
                    <a:gd name="T26" fmla="*/ 132 w 168"/>
                    <a:gd name="T27" fmla="*/ 146 h 206"/>
                    <a:gd name="T28" fmla="*/ 120 w 168"/>
                    <a:gd name="T29" fmla="*/ 130 h 206"/>
                    <a:gd name="T30" fmla="*/ 106 w 168"/>
                    <a:gd name="T31" fmla="*/ 116 h 206"/>
                    <a:gd name="T32" fmla="*/ 86 w 168"/>
                    <a:gd name="T33" fmla="*/ 112 h 206"/>
                    <a:gd name="T34" fmla="*/ 76 w 168"/>
                    <a:gd name="T35" fmla="*/ 96 h 206"/>
                    <a:gd name="T36" fmla="*/ 64 w 168"/>
                    <a:gd name="T37" fmla="*/ 86 h 206"/>
                    <a:gd name="T38" fmla="*/ 54 w 168"/>
                    <a:gd name="T39" fmla="*/ 72 h 206"/>
                    <a:gd name="T40" fmla="*/ 38 w 168"/>
                    <a:gd name="T41" fmla="*/ 56 h 206"/>
                    <a:gd name="T42" fmla="*/ 20 w 168"/>
                    <a:gd name="T43" fmla="*/ 64 h 206"/>
                    <a:gd name="T44" fmla="*/ 16 w 168"/>
                    <a:gd name="T45" fmla="*/ 60 h 206"/>
                    <a:gd name="T46" fmla="*/ 4 w 168"/>
                    <a:gd name="T47" fmla="*/ 52 h 206"/>
                    <a:gd name="T48" fmla="*/ 4 w 168"/>
                    <a:gd name="T49" fmla="*/ 38 h 206"/>
                    <a:gd name="T50" fmla="*/ 4 w 168"/>
                    <a:gd name="T51" fmla="*/ 24 h 206"/>
                    <a:gd name="T52" fmla="*/ 24 w 168"/>
                    <a:gd name="T53" fmla="*/ 16 h 206"/>
                    <a:gd name="T54" fmla="*/ 34 w 168"/>
                    <a:gd name="T55" fmla="*/ 24 h 206"/>
                    <a:gd name="T56" fmla="*/ 38 w 168"/>
                    <a:gd name="T57" fmla="*/ 12 h 206"/>
                    <a:gd name="T58" fmla="*/ 50 w 168"/>
                    <a:gd name="T59" fmla="*/ 12 h 206"/>
                    <a:gd name="T60" fmla="*/ 56 w 168"/>
                    <a:gd name="T61" fmla="*/ 4 h 206"/>
                    <a:gd name="T62" fmla="*/ 76 w 168"/>
                    <a:gd name="T63" fmla="*/ 0 h 206"/>
                    <a:gd name="T64" fmla="*/ 90 w 168"/>
                    <a:gd name="T65" fmla="*/ 8 h 206"/>
                    <a:gd name="T66" fmla="*/ 98 w 168"/>
                    <a:gd name="T67" fmla="*/ 16 h 206"/>
                    <a:gd name="T68" fmla="*/ 102 w 168"/>
                    <a:gd name="T69" fmla="*/ 26 h 206"/>
                    <a:gd name="T70" fmla="*/ 94 w 168"/>
                    <a:gd name="T71" fmla="*/ 26 h 206"/>
                    <a:gd name="T72" fmla="*/ 86 w 168"/>
                    <a:gd name="T73" fmla="*/ 30 h 206"/>
                    <a:gd name="T74" fmla="*/ 86 w 168"/>
                    <a:gd name="T75" fmla="*/ 42 h 206"/>
                    <a:gd name="T76" fmla="*/ 86 w 168"/>
                    <a:gd name="T77" fmla="*/ 60 h 206"/>
                    <a:gd name="T78" fmla="*/ 82 w 168"/>
                    <a:gd name="T79" fmla="*/ 100 h 206"/>
                    <a:gd name="T80" fmla="*/ 82 w 168"/>
                    <a:gd name="T81" fmla="*/ 64 h 206"/>
                    <a:gd name="T82" fmla="*/ 54 w 168"/>
                    <a:gd name="T83" fmla="*/ 82 h 206"/>
                    <a:gd name="T84" fmla="*/ 26 w 168"/>
                    <a:gd name="T85" fmla="*/ 150 h 206"/>
                    <a:gd name="T86" fmla="*/ 26 w 168"/>
                    <a:gd name="T87" fmla="*/ 126 h 206"/>
                    <a:gd name="T88" fmla="*/ 38 w 168"/>
                    <a:gd name="T89" fmla="*/ 116 h 206"/>
                    <a:gd name="T90" fmla="*/ 46 w 168"/>
                    <a:gd name="T91" fmla="*/ 126 h 206"/>
                    <a:gd name="T92" fmla="*/ 46 w 168"/>
                    <a:gd name="T93" fmla="*/ 150 h 206"/>
                    <a:gd name="T94" fmla="*/ 34 w 168"/>
                    <a:gd name="T95" fmla="*/ 160 h 206"/>
                    <a:gd name="T96" fmla="*/ 26 w 168"/>
                    <a:gd name="T97" fmla="*/ 152 h 206"/>
                    <a:gd name="T98" fmla="*/ 112 w 168"/>
                    <a:gd name="T99" fmla="*/ 198 h 206"/>
                    <a:gd name="T100" fmla="*/ 94 w 168"/>
                    <a:gd name="T101" fmla="*/ 190 h 206"/>
                    <a:gd name="T102" fmla="*/ 82 w 168"/>
                    <a:gd name="T103" fmla="*/ 178 h 206"/>
                    <a:gd name="T104" fmla="*/ 98 w 168"/>
                    <a:gd name="T105" fmla="*/ 176 h 206"/>
                    <a:gd name="T106" fmla="*/ 120 w 168"/>
                    <a:gd name="T107" fmla="*/ 176 h 206"/>
                    <a:gd name="T108" fmla="*/ 124 w 168"/>
                    <a:gd name="T109" fmla="*/ 182 h 206"/>
                    <a:gd name="T110" fmla="*/ 120 w 168"/>
                    <a:gd name="T111" fmla="*/ 198 h 2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68" h="206">
                      <a:moveTo>
                        <a:pt x="86" y="64"/>
                      </a:moveTo>
                      <a:lnTo>
                        <a:pt x="90" y="64"/>
                      </a:lnTo>
                      <a:lnTo>
                        <a:pt x="94" y="64"/>
                      </a:lnTo>
                      <a:lnTo>
                        <a:pt x="94" y="68"/>
                      </a:lnTo>
                      <a:lnTo>
                        <a:pt x="98" y="68"/>
                      </a:lnTo>
                      <a:lnTo>
                        <a:pt x="98" y="72"/>
                      </a:lnTo>
                      <a:lnTo>
                        <a:pt x="102" y="72"/>
                      </a:lnTo>
                      <a:lnTo>
                        <a:pt x="102" y="76"/>
                      </a:lnTo>
                      <a:lnTo>
                        <a:pt x="106" y="80"/>
                      </a:lnTo>
                      <a:lnTo>
                        <a:pt x="106" y="82"/>
                      </a:lnTo>
                      <a:lnTo>
                        <a:pt x="106" y="86"/>
                      </a:lnTo>
                      <a:lnTo>
                        <a:pt x="106" y="90"/>
                      </a:lnTo>
                      <a:lnTo>
                        <a:pt x="110" y="90"/>
                      </a:lnTo>
                      <a:lnTo>
                        <a:pt x="112" y="96"/>
                      </a:lnTo>
                      <a:lnTo>
                        <a:pt x="116" y="96"/>
                      </a:lnTo>
                      <a:lnTo>
                        <a:pt x="116" y="100"/>
                      </a:lnTo>
                      <a:lnTo>
                        <a:pt x="120" y="100"/>
                      </a:lnTo>
                      <a:lnTo>
                        <a:pt x="124" y="100"/>
                      </a:lnTo>
                      <a:lnTo>
                        <a:pt x="124" y="104"/>
                      </a:lnTo>
                      <a:lnTo>
                        <a:pt x="128" y="100"/>
                      </a:lnTo>
                      <a:lnTo>
                        <a:pt x="132" y="100"/>
                      </a:lnTo>
                      <a:lnTo>
                        <a:pt x="136" y="100"/>
                      </a:lnTo>
                      <a:lnTo>
                        <a:pt x="136" y="104"/>
                      </a:lnTo>
                      <a:lnTo>
                        <a:pt x="136" y="108"/>
                      </a:lnTo>
                      <a:lnTo>
                        <a:pt x="132" y="108"/>
                      </a:lnTo>
                      <a:lnTo>
                        <a:pt x="132" y="112"/>
                      </a:lnTo>
                      <a:lnTo>
                        <a:pt x="136" y="112"/>
                      </a:lnTo>
                      <a:lnTo>
                        <a:pt x="142" y="116"/>
                      </a:lnTo>
                      <a:lnTo>
                        <a:pt x="146" y="116"/>
                      </a:lnTo>
                      <a:lnTo>
                        <a:pt x="150" y="120"/>
                      </a:lnTo>
                      <a:lnTo>
                        <a:pt x="154" y="120"/>
                      </a:lnTo>
                      <a:lnTo>
                        <a:pt x="154" y="122"/>
                      </a:lnTo>
                      <a:lnTo>
                        <a:pt x="158" y="126"/>
                      </a:lnTo>
                      <a:lnTo>
                        <a:pt x="162" y="126"/>
                      </a:lnTo>
                      <a:lnTo>
                        <a:pt x="162" y="130"/>
                      </a:lnTo>
                      <a:lnTo>
                        <a:pt x="166" y="130"/>
                      </a:lnTo>
                      <a:lnTo>
                        <a:pt x="168" y="134"/>
                      </a:lnTo>
                      <a:lnTo>
                        <a:pt x="168" y="138"/>
                      </a:lnTo>
                      <a:lnTo>
                        <a:pt x="168" y="142"/>
                      </a:lnTo>
                      <a:lnTo>
                        <a:pt x="168" y="146"/>
                      </a:lnTo>
                      <a:lnTo>
                        <a:pt x="168" y="142"/>
                      </a:lnTo>
                      <a:lnTo>
                        <a:pt x="166" y="142"/>
                      </a:lnTo>
                      <a:lnTo>
                        <a:pt x="162" y="142"/>
                      </a:lnTo>
                      <a:lnTo>
                        <a:pt x="162" y="138"/>
                      </a:lnTo>
                      <a:lnTo>
                        <a:pt x="162" y="134"/>
                      </a:lnTo>
                      <a:lnTo>
                        <a:pt x="158" y="134"/>
                      </a:lnTo>
                      <a:lnTo>
                        <a:pt x="154" y="134"/>
                      </a:lnTo>
                      <a:lnTo>
                        <a:pt x="150" y="130"/>
                      </a:lnTo>
                      <a:lnTo>
                        <a:pt x="154" y="130"/>
                      </a:lnTo>
                      <a:lnTo>
                        <a:pt x="150" y="130"/>
                      </a:lnTo>
                      <a:lnTo>
                        <a:pt x="146" y="130"/>
                      </a:lnTo>
                      <a:lnTo>
                        <a:pt x="146" y="134"/>
                      </a:lnTo>
                      <a:lnTo>
                        <a:pt x="142" y="138"/>
                      </a:lnTo>
                      <a:lnTo>
                        <a:pt x="142" y="142"/>
                      </a:lnTo>
                      <a:lnTo>
                        <a:pt x="142" y="146"/>
                      </a:lnTo>
                      <a:lnTo>
                        <a:pt x="146" y="146"/>
                      </a:lnTo>
                      <a:lnTo>
                        <a:pt x="146" y="150"/>
                      </a:lnTo>
                      <a:lnTo>
                        <a:pt x="150" y="150"/>
                      </a:lnTo>
                      <a:lnTo>
                        <a:pt x="150" y="152"/>
                      </a:lnTo>
                      <a:lnTo>
                        <a:pt x="150" y="156"/>
                      </a:lnTo>
                      <a:lnTo>
                        <a:pt x="150" y="160"/>
                      </a:lnTo>
                      <a:lnTo>
                        <a:pt x="146" y="160"/>
                      </a:lnTo>
                      <a:lnTo>
                        <a:pt x="142" y="160"/>
                      </a:lnTo>
                      <a:lnTo>
                        <a:pt x="142" y="164"/>
                      </a:lnTo>
                      <a:lnTo>
                        <a:pt x="142" y="168"/>
                      </a:lnTo>
                      <a:lnTo>
                        <a:pt x="142" y="172"/>
                      </a:lnTo>
                      <a:lnTo>
                        <a:pt x="138" y="172"/>
                      </a:lnTo>
                      <a:lnTo>
                        <a:pt x="136" y="176"/>
                      </a:lnTo>
                      <a:lnTo>
                        <a:pt x="136" y="178"/>
                      </a:lnTo>
                      <a:lnTo>
                        <a:pt x="132" y="178"/>
                      </a:lnTo>
                      <a:lnTo>
                        <a:pt x="128" y="178"/>
                      </a:lnTo>
                      <a:lnTo>
                        <a:pt x="128" y="176"/>
                      </a:lnTo>
                      <a:lnTo>
                        <a:pt x="132" y="172"/>
                      </a:lnTo>
                      <a:lnTo>
                        <a:pt x="132" y="168"/>
                      </a:lnTo>
                      <a:lnTo>
                        <a:pt x="132" y="164"/>
                      </a:lnTo>
                      <a:lnTo>
                        <a:pt x="136" y="164"/>
                      </a:lnTo>
                      <a:lnTo>
                        <a:pt x="138" y="164"/>
                      </a:lnTo>
                      <a:lnTo>
                        <a:pt x="138" y="160"/>
                      </a:lnTo>
                      <a:lnTo>
                        <a:pt x="136" y="160"/>
                      </a:lnTo>
                      <a:lnTo>
                        <a:pt x="136" y="156"/>
                      </a:lnTo>
                      <a:lnTo>
                        <a:pt x="136" y="152"/>
                      </a:lnTo>
                      <a:lnTo>
                        <a:pt x="136" y="150"/>
                      </a:lnTo>
                      <a:lnTo>
                        <a:pt x="132" y="150"/>
                      </a:lnTo>
                      <a:lnTo>
                        <a:pt x="132" y="146"/>
                      </a:lnTo>
                      <a:lnTo>
                        <a:pt x="132" y="142"/>
                      </a:lnTo>
                      <a:lnTo>
                        <a:pt x="128" y="138"/>
                      </a:lnTo>
                      <a:lnTo>
                        <a:pt x="124" y="138"/>
                      </a:lnTo>
                      <a:lnTo>
                        <a:pt x="120" y="138"/>
                      </a:lnTo>
                      <a:lnTo>
                        <a:pt x="120" y="134"/>
                      </a:lnTo>
                      <a:lnTo>
                        <a:pt x="120" y="130"/>
                      </a:lnTo>
                      <a:lnTo>
                        <a:pt x="116" y="126"/>
                      </a:lnTo>
                      <a:lnTo>
                        <a:pt x="112" y="126"/>
                      </a:lnTo>
                      <a:lnTo>
                        <a:pt x="110" y="122"/>
                      </a:lnTo>
                      <a:lnTo>
                        <a:pt x="106" y="122"/>
                      </a:lnTo>
                      <a:lnTo>
                        <a:pt x="106" y="120"/>
                      </a:lnTo>
                      <a:lnTo>
                        <a:pt x="106" y="116"/>
                      </a:lnTo>
                      <a:lnTo>
                        <a:pt x="102" y="116"/>
                      </a:lnTo>
                      <a:lnTo>
                        <a:pt x="98" y="116"/>
                      </a:lnTo>
                      <a:lnTo>
                        <a:pt x="94" y="116"/>
                      </a:lnTo>
                      <a:lnTo>
                        <a:pt x="90" y="116"/>
                      </a:lnTo>
                      <a:lnTo>
                        <a:pt x="90" y="112"/>
                      </a:lnTo>
                      <a:lnTo>
                        <a:pt x="86" y="112"/>
                      </a:lnTo>
                      <a:lnTo>
                        <a:pt x="86" y="108"/>
                      </a:lnTo>
                      <a:lnTo>
                        <a:pt x="82" y="108"/>
                      </a:lnTo>
                      <a:lnTo>
                        <a:pt x="80" y="104"/>
                      </a:lnTo>
                      <a:lnTo>
                        <a:pt x="80" y="100"/>
                      </a:lnTo>
                      <a:lnTo>
                        <a:pt x="76" y="100"/>
                      </a:lnTo>
                      <a:lnTo>
                        <a:pt x="76" y="96"/>
                      </a:lnTo>
                      <a:lnTo>
                        <a:pt x="72" y="96"/>
                      </a:lnTo>
                      <a:lnTo>
                        <a:pt x="72" y="94"/>
                      </a:lnTo>
                      <a:lnTo>
                        <a:pt x="68" y="94"/>
                      </a:lnTo>
                      <a:lnTo>
                        <a:pt x="64" y="94"/>
                      </a:lnTo>
                      <a:lnTo>
                        <a:pt x="64" y="90"/>
                      </a:lnTo>
                      <a:lnTo>
                        <a:pt x="64" y="86"/>
                      </a:lnTo>
                      <a:lnTo>
                        <a:pt x="60" y="86"/>
                      </a:lnTo>
                      <a:lnTo>
                        <a:pt x="60" y="82"/>
                      </a:lnTo>
                      <a:lnTo>
                        <a:pt x="56" y="82"/>
                      </a:lnTo>
                      <a:lnTo>
                        <a:pt x="56" y="80"/>
                      </a:lnTo>
                      <a:lnTo>
                        <a:pt x="56" y="76"/>
                      </a:lnTo>
                      <a:lnTo>
                        <a:pt x="54" y="72"/>
                      </a:lnTo>
                      <a:lnTo>
                        <a:pt x="54" y="68"/>
                      </a:lnTo>
                      <a:lnTo>
                        <a:pt x="54" y="64"/>
                      </a:lnTo>
                      <a:lnTo>
                        <a:pt x="50" y="60"/>
                      </a:lnTo>
                      <a:lnTo>
                        <a:pt x="46" y="60"/>
                      </a:lnTo>
                      <a:lnTo>
                        <a:pt x="42" y="56"/>
                      </a:lnTo>
                      <a:lnTo>
                        <a:pt x="38" y="56"/>
                      </a:lnTo>
                      <a:lnTo>
                        <a:pt x="30" y="52"/>
                      </a:lnTo>
                      <a:lnTo>
                        <a:pt x="26" y="56"/>
                      </a:lnTo>
                      <a:lnTo>
                        <a:pt x="26" y="60"/>
                      </a:lnTo>
                      <a:lnTo>
                        <a:pt x="24" y="60"/>
                      </a:lnTo>
                      <a:lnTo>
                        <a:pt x="24" y="64"/>
                      </a:lnTo>
                      <a:lnTo>
                        <a:pt x="20" y="64"/>
                      </a:lnTo>
                      <a:lnTo>
                        <a:pt x="16" y="64"/>
                      </a:lnTo>
                      <a:lnTo>
                        <a:pt x="16" y="68"/>
                      </a:lnTo>
                      <a:lnTo>
                        <a:pt x="16" y="64"/>
                      </a:lnTo>
                      <a:lnTo>
                        <a:pt x="12" y="64"/>
                      </a:lnTo>
                      <a:lnTo>
                        <a:pt x="16" y="64"/>
                      </a:lnTo>
                      <a:lnTo>
                        <a:pt x="16" y="60"/>
                      </a:lnTo>
                      <a:lnTo>
                        <a:pt x="16" y="56"/>
                      </a:lnTo>
                      <a:lnTo>
                        <a:pt x="16" y="60"/>
                      </a:lnTo>
                      <a:lnTo>
                        <a:pt x="12" y="60"/>
                      </a:lnTo>
                      <a:lnTo>
                        <a:pt x="8" y="56"/>
                      </a:lnTo>
                      <a:lnTo>
                        <a:pt x="4" y="56"/>
                      </a:lnTo>
                      <a:lnTo>
                        <a:pt x="4" y="52"/>
                      </a:lnTo>
                      <a:lnTo>
                        <a:pt x="4" y="50"/>
                      </a:lnTo>
                      <a:lnTo>
                        <a:pt x="8" y="46"/>
                      </a:lnTo>
                      <a:lnTo>
                        <a:pt x="4" y="46"/>
                      </a:lnTo>
                      <a:lnTo>
                        <a:pt x="0" y="42"/>
                      </a:lnTo>
                      <a:lnTo>
                        <a:pt x="0" y="38"/>
                      </a:lnTo>
                      <a:lnTo>
                        <a:pt x="4" y="38"/>
                      </a:lnTo>
                      <a:lnTo>
                        <a:pt x="8" y="38"/>
                      </a:lnTo>
                      <a:lnTo>
                        <a:pt x="8" y="34"/>
                      </a:lnTo>
                      <a:lnTo>
                        <a:pt x="8" y="30"/>
                      </a:lnTo>
                      <a:lnTo>
                        <a:pt x="4" y="30"/>
                      </a:lnTo>
                      <a:lnTo>
                        <a:pt x="4" y="26"/>
                      </a:lnTo>
                      <a:lnTo>
                        <a:pt x="4" y="24"/>
                      </a:lnTo>
                      <a:lnTo>
                        <a:pt x="8" y="24"/>
                      </a:lnTo>
                      <a:lnTo>
                        <a:pt x="12" y="24"/>
                      </a:lnTo>
                      <a:lnTo>
                        <a:pt x="16" y="24"/>
                      </a:lnTo>
                      <a:lnTo>
                        <a:pt x="20" y="24"/>
                      </a:lnTo>
                      <a:lnTo>
                        <a:pt x="24" y="20"/>
                      </a:lnTo>
                      <a:lnTo>
                        <a:pt x="24" y="16"/>
                      </a:lnTo>
                      <a:lnTo>
                        <a:pt x="26" y="12"/>
                      </a:lnTo>
                      <a:lnTo>
                        <a:pt x="26" y="16"/>
                      </a:lnTo>
                      <a:lnTo>
                        <a:pt x="30" y="20"/>
                      </a:lnTo>
                      <a:lnTo>
                        <a:pt x="34" y="20"/>
                      </a:lnTo>
                      <a:lnTo>
                        <a:pt x="30" y="24"/>
                      </a:lnTo>
                      <a:lnTo>
                        <a:pt x="34" y="24"/>
                      </a:lnTo>
                      <a:lnTo>
                        <a:pt x="34" y="26"/>
                      </a:lnTo>
                      <a:lnTo>
                        <a:pt x="34" y="24"/>
                      </a:lnTo>
                      <a:lnTo>
                        <a:pt x="34" y="20"/>
                      </a:lnTo>
                      <a:lnTo>
                        <a:pt x="38" y="20"/>
                      </a:lnTo>
                      <a:lnTo>
                        <a:pt x="38" y="16"/>
                      </a:lnTo>
                      <a:lnTo>
                        <a:pt x="38" y="12"/>
                      </a:lnTo>
                      <a:lnTo>
                        <a:pt x="42" y="12"/>
                      </a:lnTo>
                      <a:lnTo>
                        <a:pt x="42" y="16"/>
                      </a:lnTo>
                      <a:lnTo>
                        <a:pt x="46" y="16"/>
                      </a:lnTo>
                      <a:lnTo>
                        <a:pt x="50" y="16"/>
                      </a:lnTo>
                      <a:lnTo>
                        <a:pt x="54" y="16"/>
                      </a:lnTo>
                      <a:lnTo>
                        <a:pt x="50" y="12"/>
                      </a:lnTo>
                      <a:lnTo>
                        <a:pt x="50" y="8"/>
                      </a:lnTo>
                      <a:lnTo>
                        <a:pt x="54" y="8"/>
                      </a:lnTo>
                      <a:lnTo>
                        <a:pt x="54" y="12"/>
                      </a:lnTo>
                      <a:lnTo>
                        <a:pt x="56" y="12"/>
                      </a:lnTo>
                      <a:lnTo>
                        <a:pt x="56" y="8"/>
                      </a:lnTo>
                      <a:lnTo>
                        <a:pt x="56" y="4"/>
                      </a:lnTo>
                      <a:lnTo>
                        <a:pt x="60" y="4"/>
                      </a:lnTo>
                      <a:lnTo>
                        <a:pt x="60" y="8"/>
                      </a:lnTo>
                      <a:lnTo>
                        <a:pt x="64" y="4"/>
                      </a:lnTo>
                      <a:lnTo>
                        <a:pt x="64" y="0"/>
                      </a:lnTo>
                      <a:lnTo>
                        <a:pt x="72" y="0"/>
                      </a:lnTo>
                      <a:lnTo>
                        <a:pt x="76" y="0"/>
                      </a:lnTo>
                      <a:lnTo>
                        <a:pt x="80" y="0"/>
                      </a:lnTo>
                      <a:lnTo>
                        <a:pt x="80" y="4"/>
                      </a:lnTo>
                      <a:lnTo>
                        <a:pt x="82" y="4"/>
                      </a:lnTo>
                      <a:lnTo>
                        <a:pt x="82" y="8"/>
                      </a:lnTo>
                      <a:lnTo>
                        <a:pt x="86" y="8"/>
                      </a:lnTo>
                      <a:lnTo>
                        <a:pt x="90" y="8"/>
                      </a:lnTo>
                      <a:lnTo>
                        <a:pt x="94" y="12"/>
                      </a:lnTo>
                      <a:lnTo>
                        <a:pt x="98" y="12"/>
                      </a:lnTo>
                      <a:lnTo>
                        <a:pt x="102" y="12"/>
                      </a:lnTo>
                      <a:lnTo>
                        <a:pt x="98" y="16"/>
                      </a:lnTo>
                      <a:lnTo>
                        <a:pt x="98" y="20"/>
                      </a:lnTo>
                      <a:lnTo>
                        <a:pt x="98" y="16"/>
                      </a:lnTo>
                      <a:lnTo>
                        <a:pt x="98" y="20"/>
                      </a:lnTo>
                      <a:lnTo>
                        <a:pt x="102" y="20"/>
                      </a:lnTo>
                      <a:lnTo>
                        <a:pt x="98" y="20"/>
                      </a:lnTo>
                      <a:lnTo>
                        <a:pt x="98" y="24"/>
                      </a:lnTo>
                      <a:lnTo>
                        <a:pt x="102" y="24"/>
                      </a:lnTo>
                      <a:lnTo>
                        <a:pt x="102" y="26"/>
                      </a:lnTo>
                      <a:lnTo>
                        <a:pt x="106" y="26"/>
                      </a:lnTo>
                      <a:lnTo>
                        <a:pt x="106" y="30"/>
                      </a:lnTo>
                      <a:lnTo>
                        <a:pt x="102" y="30"/>
                      </a:lnTo>
                      <a:lnTo>
                        <a:pt x="102" y="26"/>
                      </a:lnTo>
                      <a:lnTo>
                        <a:pt x="98" y="26"/>
                      </a:lnTo>
                      <a:lnTo>
                        <a:pt x="94" y="26"/>
                      </a:lnTo>
                      <a:lnTo>
                        <a:pt x="94" y="30"/>
                      </a:lnTo>
                      <a:lnTo>
                        <a:pt x="90" y="30"/>
                      </a:lnTo>
                      <a:lnTo>
                        <a:pt x="86" y="30"/>
                      </a:lnTo>
                      <a:lnTo>
                        <a:pt x="82" y="34"/>
                      </a:lnTo>
                      <a:lnTo>
                        <a:pt x="82" y="30"/>
                      </a:lnTo>
                      <a:lnTo>
                        <a:pt x="86" y="30"/>
                      </a:lnTo>
                      <a:lnTo>
                        <a:pt x="82" y="30"/>
                      </a:lnTo>
                      <a:lnTo>
                        <a:pt x="82" y="34"/>
                      </a:lnTo>
                      <a:lnTo>
                        <a:pt x="80" y="34"/>
                      </a:lnTo>
                      <a:lnTo>
                        <a:pt x="80" y="38"/>
                      </a:lnTo>
                      <a:lnTo>
                        <a:pt x="82" y="42"/>
                      </a:lnTo>
                      <a:lnTo>
                        <a:pt x="86" y="42"/>
                      </a:lnTo>
                      <a:lnTo>
                        <a:pt x="82" y="46"/>
                      </a:lnTo>
                      <a:lnTo>
                        <a:pt x="80" y="50"/>
                      </a:lnTo>
                      <a:lnTo>
                        <a:pt x="82" y="52"/>
                      </a:lnTo>
                      <a:lnTo>
                        <a:pt x="82" y="56"/>
                      </a:lnTo>
                      <a:lnTo>
                        <a:pt x="82" y="60"/>
                      </a:lnTo>
                      <a:lnTo>
                        <a:pt x="86" y="60"/>
                      </a:lnTo>
                      <a:lnTo>
                        <a:pt x="86" y="64"/>
                      </a:lnTo>
                      <a:lnTo>
                        <a:pt x="86" y="64"/>
                      </a:lnTo>
                      <a:lnTo>
                        <a:pt x="86" y="64"/>
                      </a:lnTo>
                      <a:close/>
                      <a:moveTo>
                        <a:pt x="82" y="100"/>
                      </a:moveTo>
                      <a:lnTo>
                        <a:pt x="82" y="104"/>
                      </a:lnTo>
                      <a:lnTo>
                        <a:pt x="82" y="100"/>
                      </a:lnTo>
                      <a:lnTo>
                        <a:pt x="82" y="100"/>
                      </a:lnTo>
                      <a:lnTo>
                        <a:pt x="82" y="100"/>
                      </a:lnTo>
                      <a:close/>
                      <a:moveTo>
                        <a:pt x="82" y="64"/>
                      </a:moveTo>
                      <a:lnTo>
                        <a:pt x="82" y="60"/>
                      </a:lnTo>
                      <a:lnTo>
                        <a:pt x="82" y="64"/>
                      </a:lnTo>
                      <a:lnTo>
                        <a:pt x="82" y="64"/>
                      </a:lnTo>
                      <a:lnTo>
                        <a:pt x="82" y="64"/>
                      </a:lnTo>
                      <a:close/>
                      <a:moveTo>
                        <a:pt x="56" y="86"/>
                      </a:moveTo>
                      <a:lnTo>
                        <a:pt x="54" y="86"/>
                      </a:lnTo>
                      <a:lnTo>
                        <a:pt x="50" y="86"/>
                      </a:lnTo>
                      <a:lnTo>
                        <a:pt x="54" y="86"/>
                      </a:lnTo>
                      <a:lnTo>
                        <a:pt x="54" y="82"/>
                      </a:lnTo>
                      <a:lnTo>
                        <a:pt x="56" y="82"/>
                      </a:lnTo>
                      <a:lnTo>
                        <a:pt x="56" y="86"/>
                      </a:lnTo>
                      <a:lnTo>
                        <a:pt x="56" y="86"/>
                      </a:lnTo>
                      <a:lnTo>
                        <a:pt x="56" y="86"/>
                      </a:lnTo>
                      <a:close/>
                      <a:moveTo>
                        <a:pt x="26" y="152"/>
                      </a:moveTo>
                      <a:lnTo>
                        <a:pt x="26" y="150"/>
                      </a:lnTo>
                      <a:lnTo>
                        <a:pt x="26" y="146"/>
                      </a:lnTo>
                      <a:lnTo>
                        <a:pt x="26" y="142"/>
                      </a:lnTo>
                      <a:lnTo>
                        <a:pt x="26" y="138"/>
                      </a:lnTo>
                      <a:lnTo>
                        <a:pt x="26" y="134"/>
                      </a:lnTo>
                      <a:lnTo>
                        <a:pt x="26" y="130"/>
                      </a:lnTo>
                      <a:lnTo>
                        <a:pt x="26" y="126"/>
                      </a:lnTo>
                      <a:lnTo>
                        <a:pt x="24" y="126"/>
                      </a:lnTo>
                      <a:lnTo>
                        <a:pt x="24" y="122"/>
                      </a:lnTo>
                      <a:lnTo>
                        <a:pt x="26" y="122"/>
                      </a:lnTo>
                      <a:lnTo>
                        <a:pt x="30" y="122"/>
                      </a:lnTo>
                      <a:lnTo>
                        <a:pt x="34" y="120"/>
                      </a:lnTo>
                      <a:lnTo>
                        <a:pt x="38" y="116"/>
                      </a:lnTo>
                      <a:lnTo>
                        <a:pt x="42" y="116"/>
                      </a:lnTo>
                      <a:lnTo>
                        <a:pt x="42" y="120"/>
                      </a:lnTo>
                      <a:lnTo>
                        <a:pt x="46" y="120"/>
                      </a:lnTo>
                      <a:lnTo>
                        <a:pt x="42" y="122"/>
                      </a:lnTo>
                      <a:lnTo>
                        <a:pt x="46" y="122"/>
                      </a:lnTo>
                      <a:lnTo>
                        <a:pt x="46" y="126"/>
                      </a:lnTo>
                      <a:lnTo>
                        <a:pt x="46" y="130"/>
                      </a:lnTo>
                      <a:lnTo>
                        <a:pt x="46" y="134"/>
                      </a:lnTo>
                      <a:lnTo>
                        <a:pt x="46" y="138"/>
                      </a:lnTo>
                      <a:lnTo>
                        <a:pt x="46" y="142"/>
                      </a:lnTo>
                      <a:lnTo>
                        <a:pt x="46" y="146"/>
                      </a:lnTo>
                      <a:lnTo>
                        <a:pt x="46" y="150"/>
                      </a:lnTo>
                      <a:lnTo>
                        <a:pt x="42" y="152"/>
                      </a:lnTo>
                      <a:lnTo>
                        <a:pt x="42" y="156"/>
                      </a:lnTo>
                      <a:lnTo>
                        <a:pt x="38" y="156"/>
                      </a:lnTo>
                      <a:lnTo>
                        <a:pt x="34" y="152"/>
                      </a:lnTo>
                      <a:lnTo>
                        <a:pt x="34" y="156"/>
                      </a:lnTo>
                      <a:lnTo>
                        <a:pt x="34" y="160"/>
                      </a:lnTo>
                      <a:lnTo>
                        <a:pt x="30" y="160"/>
                      </a:lnTo>
                      <a:lnTo>
                        <a:pt x="26" y="156"/>
                      </a:lnTo>
                      <a:lnTo>
                        <a:pt x="26" y="160"/>
                      </a:lnTo>
                      <a:lnTo>
                        <a:pt x="26" y="156"/>
                      </a:lnTo>
                      <a:lnTo>
                        <a:pt x="26" y="152"/>
                      </a:lnTo>
                      <a:lnTo>
                        <a:pt x="26" y="152"/>
                      </a:lnTo>
                      <a:lnTo>
                        <a:pt x="26" y="152"/>
                      </a:lnTo>
                      <a:close/>
                      <a:moveTo>
                        <a:pt x="120" y="206"/>
                      </a:moveTo>
                      <a:lnTo>
                        <a:pt x="120" y="202"/>
                      </a:lnTo>
                      <a:lnTo>
                        <a:pt x="116" y="202"/>
                      </a:lnTo>
                      <a:lnTo>
                        <a:pt x="112" y="202"/>
                      </a:lnTo>
                      <a:lnTo>
                        <a:pt x="112" y="198"/>
                      </a:lnTo>
                      <a:lnTo>
                        <a:pt x="110" y="198"/>
                      </a:lnTo>
                      <a:lnTo>
                        <a:pt x="110" y="194"/>
                      </a:lnTo>
                      <a:lnTo>
                        <a:pt x="106" y="194"/>
                      </a:lnTo>
                      <a:lnTo>
                        <a:pt x="102" y="194"/>
                      </a:lnTo>
                      <a:lnTo>
                        <a:pt x="98" y="190"/>
                      </a:lnTo>
                      <a:lnTo>
                        <a:pt x="94" y="190"/>
                      </a:lnTo>
                      <a:lnTo>
                        <a:pt x="94" y="186"/>
                      </a:lnTo>
                      <a:lnTo>
                        <a:pt x="90" y="186"/>
                      </a:lnTo>
                      <a:lnTo>
                        <a:pt x="86" y="186"/>
                      </a:lnTo>
                      <a:lnTo>
                        <a:pt x="82" y="186"/>
                      </a:lnTo>
                      <a:lnTo>
                        <a:pt x="82" y="182"/>
                      </a:lnTo>
                      <a:lnTo>
                        <a:pt x="82" y="178"/>
                      </a:lnTo>
                      <a:lnTo>
                        <a:pt x="86" y="176"/>
                      </a:lnTo>
                      <a:lnTo>
                        <a:pt x="90" y="176"/>
                      </a:lnTo>
                      <a:lnTo>
                        <a:pt x="90" y="178"/>
                      </a:lnTo>
                      <a:lnTo>
                        <a:pt x="90" y="176"/>
                      </a:lnTo>
                      <a:lnTo>
                        <a:pt x="94" y="176"/>
                      </a:lnTo>
                      <a:lnTo>
                        <a:pt x="98" y="176"/>
                      </a:lnTo>
                      <a:lnTo>
                        <a:pt x="102" y="178"/>
                      </a:lnTo>
                      <a:lnTo>
                        <a:pt x="106" y="178"/>
                      </a:lnTo>
                      <a:lnTo>
                        <a:pt x="110" y="178"/>
                      </a:lnTo>
                      <a:lnTo>
                        <a:pt x="112" y="178"/>
                      </a:lnTo>
                      <a:lnTo>
                        <a:pt x="116" y="176"/>
                      </a:lnTo>
                      <a:lnTo>
                        <a:pt x="120" y="176"/>
                      </a:lnTo>
                      <a:lnTo>
                        <a:pt x="124" y="176"/>
                      </a:lnTo>
                      <a:lnTo>
                        <a:pt x="128" y="172"/>
                      </a:lnTo>
                      <a:lnTo>
                        <a:pt x="128" y="176"/>
                      </a:lnTo>
                      <a:lnTo>
                        <a:pt x="128" y="178"/>
                      </a:lnTo>
                      <a:lnTo>
                        <a:pt x="124" y="178"/>
                      </a:lnTo>
                      <a:lnTo>
                        <a:pt x="124" y="182"/>
                      </a:lnTo>
                      <a:lnTo>
                        <a:pt x="124" y="186"/>
                      </a:lnTo>
                      <a:lnTo>
                        <a:pt x="120" y="186"/>
                      </a:lnTo>
                      <a:lnTo>
                        <a:pt x="120" y="190"/>
                      </a:lnTo>
                      <a:lnTo>
                        <a:pt x="124" y="194"/>
                      </a:lnTo>
                      <a:lnTo>
                        <a:pt x="124" y="198"/>
                      </a:lnTo>
                      <a:lnTo>
                        <a:pt x="120" y="198"/>
                      </a:lnTo>
                      <a:lnTo>
                        <a:pt x="120" y="202"/>
                      </a:lnTo>
                      <a:lnTo>
                        <a:pt x="120" y="206"/>
                      </a:lnTo>
                      <a:lnTo>
                        <a:pt x="120" y="206"/>
                      </a:lnTo>
                      <a:lnTo>
                        <a:pt x="120" y="206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0" name="Freeform 101"/>
                <p:cNvSpPr>
                  <a:spLocks noEditPoints="1"/>
                </p:cNvSpPr>
                <p:nvPr/>
              </p:nvSpPr>
              <p:spPr bwMode="auto">
                <a:xfrm>
                  <a:off x="4524375" y="2940118"/>
                  <a:ext cx="206375" cy="260350"/>
                </a:xfrm>
                <a:custGeom>
                  <a:avLst/>
                  <a:gdLst>
                    <a:gd name="T0" fmla="*/ 26 w 130"/>
                    <a:gd name="T1" fmla="*/ 142 h 164"/>
                    <a:gd name="T2" fmla="*/ 32 w 130"/>
                    <a:gd name="T3" fmla="*/ 128 h 164"/>
                    <a:gd name="T4" fmla="*/ 18 w 130"/>
                    <a:gd name="T5" fmla="*/ 128 h 164"/>
                    <a:gd name="T6" fmla="*/ 6 w 130"/>
                    <a:gd name="T7" fmla="*/ 120 h 164"/>
                    <a:gd name="T8" fmla="*/ 4 w 130"/>
                    <a:gd name="T9" fmla="*/ 108 h 164"/>
                    <a:gd name="T10" fmla="*/ 6 w 130"/>
                    <a:gd name="T11" fmla="*/ 94 h 164"/>
                    <a:gd name="T12" fmla="*/ 4 w 130"/>
                    <a:gd name="T13" fmla="*/ 86 h 164"/>
                    <a:gd name="T14" fmla="*/ 4 w 130"/>
                    <a:gd name="T15" fmla="*/ 76 h 164"/>
                    <a:gd name="T16" fmla="*/ 14 w 130"/>
                    <a:gd name="T17" fmla="*/ 68 h 164"/>
                    <a:gd name="T18" fmla="*/ 14 w 130"/>
                    <a:gd name="T19" fmla="*/ 56 h 164"/>
                    <a:gd name="T20" fmla="*/ 18 w 130"/>
                    <a:gd name="T21" fmla="*/ 50 h 164"/>
                    <a:gd name="T22" fmla="*/ 18 w 130"/>
                    <a:gd name="T23" fmla="*/ 38 h 164"/>
                    <a:gd name="T24" fmla="*/ 30 w 130"/>
                    <a:gd name="T25" fmla="*/ 30 h 164"/>
                    <a:gd name="T26" fmla="*/ 32 w 130"/>
                    <a:gd name="T27" fmla="*/ 30 h 164"/>
                    <a:gd name="T28" fmla="*/ 40 w 130"/>
                    <a:gd name="T29" fmla="*/ 34 h 164"/>
                    <a:gd name="T30" fmla="*/ 48 w 130"/>
                    <a:gd name="T31" fmla="*/ 26 h 164"/>
                    <a:gd name="T32" fmla="*/ 52 w 130"/>
                    <a:gd name="T33" fmla="*/ 30 h 164"/>
                    <a:gd name="T34" fmla="*/ 44 w 130"/>
                    <a:gd name="T35" fmla="*/ 20 h 164"/>
                    <a:gd name="T36" fmla="*/ 44 w 130"/>
                    <a:gd name="T37" fmla="*/ 16 h 164"/>
                    <a:gd name="T38" fmla="*/ 36 w 130"/>
                    <a:gd name="T39" fmla="*/ 4 h 164"/>
                    <a:gd name="T40" fmla="*/ 36 w 130"/>
                    <a:gd name="T41" fmla="*/ 0 h 164"/>
                    <a:gd name="T42" fmla="*/ 52 w 130"/>
                    <a:gd name="T43" fmla="*/ 4 h 164"/>
                    <a:gd name="T44" fmla="*/ 56 w 130"/>
                    <a:gd name="T45" fmla="*/ 12 h 164"/>
                    <a:gd name="T46" fmla="*/ 74 w 130"/>
                    <a:gd name="T47" fmla="*/ 16 h 164"/>
                    <a:gd name="T48" fmla="*/ 74 w 130"/>
                    <a:gd name="T49" fmla="*/ 24 h 164"/>
                    <a:gd name="T50" fmla="*/ 86 w 130"/>
                    <a:gd name="T51" fmla="*/ 20 h 164"/>
                    <a:gd name="T52" fmla="*/ 100 w 130"/>
                    <a:gd name="T53" fmla="*/ 12 h 164"/>
                    <a:gd name="T54" fmla="*/ 92 w 130"/>
                    <a:gd name="T55" fmla="*/ 16 h 164"/>
                    <a:gd name="T56" fmla="*/ 108 w 130"/>
                    <a:gd name="T57" fmla="*/ 20 h 164"/>
                    <a:gd name="T58" fmla="*/ 114 w 130"/>
                    <a:gd name="T59" fmla="*/ 26 h 164"/>
                    <a:gd name="T60" fmla="*/ 122 w 130"/>
                    <a:gd name="T61" fmla="*/ 38 h 164"/>
                    <a:gd name="T62" fmla="*/ 122 w 130"/>
                    <a:gd name="T63" fmla="*/ 52 h 164"/>
                    <a:gd name="T64" fmla="*/ 126 w 130"/>
                    <a:gd name="T65" fmla="*/ 60 h 164"/>
                    <a:gd name="T66" fmla="*/ 126 w 130"/>
                    <a:gd name="T67" fmla="*/ 76 h 164"/>
                    <a:gd name="T68" fmla="*/ 126 w 130"/>
                    <a:gd name="T69" fmla="*/ 90 h 164"/>
                    <a:gd name="T70" fmla="*/ 122 w 130"/>
                    <a:gd name="T71" fmla="*/ 86 h 164"/>
                    <a:gd name="T72" fmla="*/ 104 w 130"/>
                    <a:gd name="T73" fmla="*/ 94 h 164"/>
                    <a:gd name="T74" fmla="*/ 92 w 130"/>
                    <a:gd name="T75" fmla="*/ 106 h 164"/>
                    <a:gd name="T76" fmla="*/ 96 w 130"/>
                    <a:gd name="T77" fmla="*/ 108 h 164"/>
                    <a:gd name="T78" fmla="*/ 100 w 130"/>
                    <a:gd name="T79" fmla="*/ 120 h 164"/>
                    <a:gd name="T80" fmla="*/ 112 w 130"/>
                    <a:gd name="T81" fmla="*/ 134 h 164"/>
                    <a:gd name="T82" fmla="*/ 100 w 130"/>
                    <a:gd name="T83" fmla="*/ 142 h 164"/>
                    <a:gd name="T84" fmla="*/ 100 w 130"/>
                    <a:gd name="T85" fmla="*/ 154 h 164"/>
                    <a:gd name="T86" fmla="*/ 100 w 130"/>
                    <a:gd name="T87" fmla="*/ 158 h 164"/>
                    <a:gd name="T88" fmla="*/ 82 w 130"/>
                    <a:gd name="T89" fmla="*/ 158 h 164"/>
                    <a:gd name="T90" fmla="*/ 66 w 130"/>
                    <a:gd name="T91" fmla="*/ 158 h 164"/>
                    <a:gd name="T92" fmla="*/ 58 w 130"/>
                    <a:gd name="T93" fmla="*/ 158 h 164"/>
                    <a:gd name="T94" fmla="*/ 44 w 130"/>
                    <a:gd name="T95" fmla="*/ 154 h 164"/>
                    <a:gd name="T96" fmla="*/ 40 w 130"/>
                    <a:gd name="T97" fmla="*/ 154 h 164"/>
                    <a:gd name="T98" fmla="*/ 32 w 130"/>
                    <a:gd name="T99" fmla="*/ 158 h 164"/>
                    <a:gd name="T100" fmla="*/ 118 w 130"/>
                    <a:gd name="T101" fmla="*/ 26 h 164"/>
                    <a:gd name="T102" fmla="*/ 112 w 130"/>
                    <a:gd name="T103" fmla="*/ 24 h 164"/>
                    <a:gd name="T104" fmla="*/ 118 w 130"/>
                    <a:gd name="T105" fmla="*/ 26 h 164"/>
                    <a:gd name="T106" fmla="*/ 74 w 130"/>
                    <a:gd name="T107" fmla="*/ 16 h 164"/>
                    <a:gd name="T108" fmla="*/ 40 w 130"/>
                    <a:gd name="T109" fmla="*/ 8 h 164"/>
                    <a:gd name="T110" fmla="*/ 104 w 130"/>
                    <a:gd name="T111" fmla="*/ 20 h 164"/>
                    <a:gd name="T112" fmla="*/ 104 w 130"/>
                    <a:gd name="T113" fmla="*/ 8 h 164"/>
                    <a:gd name="T114" fmla="*/ 108 w 130"/>
                    <a:gd name="T115" fmla="*/ 16 h 1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30" h="164">
                      <a:moveTo>
                        <a:pt x="26" y="158"/>
                      </a:moveTo>
                      <a:lnTo>
                        <a:pt x="26" y="154"/>
                      </a:lnTo>
                      <a:lnTo>
                        <a:pt x="26" y="150"/>
                      </a:lnTo>
                      <a:lnTo>
                        <a:pt x="26" y="146"/>
                      </a:lnTo>
                      <a:lnTo>
                        <a:pt x="26" y="142"/>
                      </a:lnTo>
                      <a:lnTo>
                        <a:pt x="26" y="138"/>
                      </a:lnTo>
                      <a:lnTo>
                        <a:pt x="30" y="138"/>
                      </a:lnTo>
                      <a:lnTo>
                        <a:pt x="30" y="134"/>
                      </a:lnTo>
                      <a:lnTo>
                        <a:pt x="32" y="132"/>
                      </a:lnTo>
                      <a:lnTo>
                        <a:pt x="32" y="128"/>
                      </a:lnTo>
                      <a:lnTo>
                        <a:pt x="30" y="128"/>
                      </a:lnTo>
                      <a:lnTo>
                        <a:pt x="26" y="128"/>
                      </a:lnTo>
                      <a:lnTo>
                        <a:pt x="22" y="124"/>
                      </a:lnTo>
                      <a:lnTo>
                        <a:pt x="22" y="128"/>
                      </a:lnTo>
                      <a:lnTo>
                        <a:pt x="18" y="128"/>
                      </a:lnTo>
                      <a:lnTo>
                        <a:pt x="18" y="124"/>
                      </a:lnTo>
                      <a:lnTo>
                        <a:pt x="14" y="124"/>
                      </a:lnTo>
                      <a:lnTo>
                        <a:pt x="10" y="124"/>
                      </a:lnTo>
                      <a:lnTo>
                        <a:pt x="10" y="120"/>
                      </a:lnTo>
                      <a:lnTo>
                        <a:pt x="6" y="120"/>
                      </a:lnTo>
                      <a:lnTo>
                        <a:pt x="6" y="116"/>
                      </a:lnTo>
                      <a:lnTo>
                        <a:pt x="10" y="112"/>
                      </a:lnTo>
                      <a:lnTo>
                        <a:pt x="6" y="112"/>
                      </a:lnTo>
                      <a:lnTo>
                        <a:pt x="6" y="108"/>
                      </a:lnTo>
                      <a:lnTo>
                        <a:pt x="4" y="108"/>
                      </a:lnTo>
                      <a:lnTo>
                        <a:pt x="4" y="106"/>
                      </a:lnTo>
                      <a:lnTo>
                        <a:pt x="4" y="102"/>
                      </a:lnTo>
                      <a:lnTo>
                        <a:pt x="6" y="102"/>
                      </a:lnTo>
                      <a:lnTo>
                        <a:pt x="6" y="98"/>
                      </a:lnTo>
                      <a:lnTo>
                        <a:pt x="6" y="94"/>
                      </a:lnTo>
                      <a:lnTo>
                        <a:pt x="4" y="94"/>
                      </a:lnTo>
                      <a:lnTo>
                        <a:pt x="4" y="90"/>
                      </a:lnTo>
                      <a:lnTo>
                        <a:pt x="4" y="86"/>
                      </a:lnTo>
                      <a:lnTo>
                        <a:pt x="0" y="86"/>
                      </a:lnTo>
                      <a:lnTo>
                        <a:pt x="4" y="86"/>
                      </a:lnTo>
                      <a:lnTo>
                        <a:pt x="4" y="82"/>
                      </a:lnTo>
                      <a:lnTo>
                        <a:pt x="4" y="78"/>
                      </a:lnTo>
                      <a:lnTo>
                        <a:pt x="6" y="78"/>
                      </a:lnTo>
                      <a:lnTo>
                        <a:pt x="6" y="76"/>
                      </a:lnTo>
                      <a:lnTo>
                        <a:pt x="4" y="76"/>
                      </a:lnTo>
                      <a:lnTo>
                        <a:pt x="4" y="72"/>
                      </a:lnTo>
                      <a:lnTo>
                        <a:pt x="4" y="68"/>
                      </a:lnTo>
                      <a:lnTo>
                        <a:pt x="6" y="68"/>
                      </a:lnTo>
                      <a:lnTo>
                        <a:pt x="10" y="68"/>
                      </a:lnTo>
                      <a:lnTo>
                        <a:pt x="14" y="68"/>
                      </a:lnTo>
                      <a:lnTo>
                        <a:pt x="14" y="64"/>
                      </a:lnTo>
                      <a:lnTo>
                        <a:pt x="14" y="60"/>
                      </a:lnTo>
                      <a:lnTo>
                        <a:pt x="18" y="60"/>
                      </a:lnTo>
                      <a:lnTo>
                        <a:pt x="18" y="56"/>
                      </a:lnTo>
                      <a:lnTo>
                        <a:pt x="14" y="56"/>
                      </a:lnTo>
                      <a:lnTo>
                        <a:pt x="10" y="56"/>
                      </a:lnTo>
                      <a:lnTo>
                        <a:pt x="10" y="52"/>
                      </a:lnTo>
                      <a:lnTo>
                        <a:pt x="14" y="52"/>
                      </a:lnTo>
                      <a:lnTo>
                        <a:pt x="18" y="52"/>
                      </a:lnTo>
                      <a:lnTo>
                        <a:pt x="18" y="50"/>
                      </a:lnTo>
                      <a:lnTo>
                        <a:pt x="18" y="46"/>
                      </a:lnTo>
                      <a:lnTo>
                        <a:pt x="18" y="42"/>
                      </a:lnTo>
                      <a:lnTo>
                        <a:pt x="18" y="38"/>
                      </a:lnTo>
                      <a:lnTo>
                        <a:pt x="22" y="38"/>
                      </a:lnTo>
                      <a:lnTo>
                        <a:pt x="18" y="38"/>
                      </a:lnTo>
                      <a:lnTo>
                        <a:pt x="18" y="34"/>
                      </a:lnTo>
                      <a:lnTo>
                        <a:pt x="18" y="30"/>
                      </a:lnTo>
                      <a:lnTo>
                        <a:pt x="22" y="30"/>
                      </a:lnTo>
                      <a:lnTo>
                        <a:pt x="26" y="30"/>
                      </a:lnTo>
                      <a:lnTo>
                        <a:pt x="30" y="30"/>
                      </a:lnTo>
                      <a:lnTo>
                        <a:pt x="32" y="30"/>
                      </a:lnTo>
                      <a:lnTo>
                        <a:pt x="32" y="34"/>
                      </a:lnTo>
                      <a:lnTo>
                        <a:pt x="36" y="34"/>
                      </a:lnTo>
                      <a:lnTo>
                        <a:pt x="32" y="34"/>
                      </a:lnTo>
                      <a:lnTo>
                        <a:pt x="32" y="30"/>
                      </a:lnTo>
                      <a:lnTo>
                        <a:pt x="36" y="30"/>
                      </a:lnTo>
                      <a:lnTo>
                        <a:pt x="36" y="34"/>
                      </a:lnTo>
                      <a:lnTo>
                        <a:pt x="36" y="38"/>
                      </a:lnTo>
                      <a:lnTo>
                        <a:pt x="36" y="34"/>
                      </a:lnTo>
                      <a:lnTo>
                        <a:pt x="40" y="34"/>
                      </a:lnTo>
                      <a:lnTo>
                        <a:pt x="36" y="30"/>
                      </a:lnTo>
                      <a:lnTo>
                        <a:pt x="36" y="26"/>
                      </a:lnTo>
                      <a:lnTo>
                        <a:pt x="40" y="26"/>
                      </a:lnTo>
                      <a:lnTo>
                        <a:pt x="44" y="26"/>
                      </a:lnTo>
                      <a:lnTo>
                        <a:pt x="48" y="26"/>
                      </a:lnTo>
                      <a:lnTo>
                        <a:pt x="52" y="26"/>
                      </a:lnTo>
                      <a:lnTo>
                        <a:pt x="52" y="30"/>
                      </a:lnTo>
                      <a:lnTo>
                        <a:pt x="56" y="34"/>
                      </a:lnTo>
                      <a:lnTo>
                        <a:pt x="56" y="30"/>
                      </a:lnTo>
                      <a:lnTo>
                        <a:pt x="52" y="30"/>
                      </a:lnTo>
                      <a:lnTo>
                        <a:pt x="52" y="26"/>
                      </a:lnTo>
                      <a:lnTo>
                        <a:pt x="48" y="26"/>
                      </a:lnTo>
                      <a:lnTo>
                        <a:pt x="44" y="26"/>
                      </a:lnTo>
                      <a:lnTo>
                        <a:pt x="44" y="24"/>
                      </a:lnTo>
                      <a:lnTo>
                        <a:pt x="44" y="20"/>
                      </a:lnTo>
                      <a:lnTo>
                        <a:pt x="40" y="20"/>
                      </a:lnTo>
                      <a:lnTo>
                        <a:pt x="44" y="20"/>
                      </a:lnTo>
                      <a:lnTo>
                        <a:pt x="44" y="16"/>
                      </a:lnTo>
                      <a:lnTo>
                        <a:pt x="40" y="16"/>
                      </a:lnTo>
                      <a:lnTo>
                        <a:pt x="44" y="16"/>
                      </a:lnTo>
                      <a:lnTo>
                        <a:pt x="44" y="12"/>
                      </a:lnTo>
                      <a:lnTo>
                        <a:pt x="44" y="8"/>
                      </a:lnTo>
                      <a:lnTo>
                        <a:pt x="40" y="8"/>
                      </a:lnTo>
                      <a:lnTo>
                        <a:pt x="40" y="4"/>
                      </a:lnTo>
                      <a:lnTo>
                        <a:pt x="36" y="4"/>
                      </a:lnTo>
                      <a:lnTo>
                        <a:pt x="32" y="4"/>
                      </a:lnTo>
                      <a:lnTo>
                        <a:pt x="32" y="8"/>
                      </a:lnTo>
                      <a:lnTo>
                        <a:pt x="32" y="4"/>
                      </a:lnTo>
                      <a:lnTo>
                        <a:pt x="36" y="4"/>
                      </a:lnTo>
                      <a:lnTo>
                        <a:pt x="36" y="0"/>
                      </a:lnTo>
                      <a:lnTo>
                        <a:pt x="36" y="4"/>
                      </a:lnTo>
                      <a:lnTo>
                        <a:pt x="40" y="4"/>
                      </a:lnTo>
                      <a:lnTo>
                        <a:pt x="44" y="4"/>
                      </a:lnTo>
                      <a:lnTo>
                        <a:pt x="48" y="4"/>
                      </a:lnTo>
                      <a:lnTo>
                        <a:pt x="52" y="4"/>
                      </a:lnTo>
                      <a:lnTo>
                        <a:pt x="56" y="4"/>
                      </a:lnTo>
                      <a:lnTo>
                        <a:pt x="58" y="4"/>
                      </a:lnTo>
                      <a:lnTo>
                        <a:pt x="58" y="8"/>
                      </a:lnTo>
                      <a:lnTo>
                        <a:pt x="58" y="12"/>
                      </a:lnTo>
                      <a:lnTo>
                        <a:pt x="56" y="12"/>
                      </a:lnTo>
                      <a:lnTo>
                        <a:pt x="58" y="12"/>
                      </a:lnTo>
                      <a:lnTo>
                        <a:pt x="62" y="16"/>
                      </a:lnTo>
                      <a:lnTo>
                        <a:pt x="66" y="16"/>
                      </a:lnTo>
                      <a:lnTo>
                        <a:pt x="70" y="16"/>
                      </a:lnTo>
                      <a:lnTo>
                        <a:pt x="74" y="16"/>
                      </a:lnTo>
                      <a:lnTo>
                        <a:pt x="74" y="20"/>
                      </a:lnTo>
                      <a:lnTo>
                        <a:pt x="70" y="24"/>
                      </a:lnTo>
                      <a:lnTo>
                        <a:pt x="70" y="26"/>
                      </a:lnTo>
                      <a:lnTo>
                        <a:pt x="70" y="24"/>
                      </a:lnTo>
                      <a:lnTo>
                        <a:pt x="74" y="24"/>
                      </a:lnTo>
                      <a:lnTo>
                        <a:pt x="78" y="24"/>
                      </a:lnTo>
                      <a:lnTo>
                        <a:pt x="78" y="26"/>
                      </a:lnTo>
                      <a:lnTo>
                        <a:pt x="82" y="24"/>
                      </a:lnTo>
                      <a:lnTo>
                        <a:pt x="82" y="20"/>
                      </a:lnTo>
                      <a:lnTo>
                        <a:pt x="86" y="20"/>
                      </a:lnTo>
                      <a:lnTo>
                        <a:pt x="88" y="20"/>
                      </a:lnTo>
                      <a:lnTo>
                        <a:pt x="92" y="16"/>
                      </a:lnTo>
                      <a:lnTo>
                        <a:pt x="92" y="12"/>
                      </a:lnTo>
                      <a:lnTo>
                        <a:pt x="96" y="12"/>
                      </a:lnTo>
                      <a:lnTo>
                        <a:pt x="100" y="12"/>
                      </a:lnTo>
                      <a:lnTo>
                        <a:pt x="100" y="16"/>
                      </a:lnTo>
                      <a:lnTo>
                        <a:pt x="96" y="16"/>
                      </a:lnTo>
                      <a:lnTo>
                        <a:pt x="92" y="16"/>
                      </a:lnTo>
                      <a:lnTo>
                        <a:pt x="92" y="20"/>
                      </a:lnTo>
                      <a:lnTo>
                        <a:pt x="92" y="16"/>
                      </a:lnTo>
                      <a:lnTo>
                        <a:pt x="96" y="16"/>
                      </a:lnTo>
                      <a:lnTo>
                        <a:pt x="100" y="16"/>
                      </a:lnTo>
                      <a:lnTo>
                        <a:pt x="104" y="16"/>
                      </a:lnTo>
                      <a:lnTo>
                        <a:pt x="104" y="20"/>
                      </a:lnTo>
                      <a:lnTo>
                        <a:pt x="108" y="20"/>
                      </a:lnTo>
                      <a:lnTo>
                        <a:pt x="108" y="24"/>
                      </a:lnTo>
                      <a:lnTo>
                        <a:pt x="108" y="20"/>
                      </a:lnTo>
                      <a:lnTo>
                        <a:pt x="112" y="20"/>
                      </a:lnTo>
                      <a:lnTo>
                        <a:pt x="112" y="24"/>
                      </a:lnTo>
                      <a:lnTo>
                        <a:pt x="114" y="26"/>
                      </a:lnTo>
                      <a:lnTo>
                        <a:pt x="112" y="26"/>
                      </a:lnTo>
                      <a:lnTo>
                        <a:pt x="114" y="26"/>
                      </a:lnTo>
                      <a:lnTo>
                        <a:pt x="118" y="30"/>
                      </a:lnTo>
                      <a:lnTo>
                        <a:pt x="118" y="34"/>
                      </a:lnTo>
                      <a:lnTo>
                        <a:pt x="122" y="38"/>
                      </a:lnTo>
                      <a:lnTo>
                        <a:pt x="122" y="42"/>
                      </a:lnTo>
                      <a:lnTo>
                        <a:pt x="118" y="46"/>
                      </a:lnTo>
                      <a:lnTo>
                        <a:pt x="118" y="50"/>
                      </a:lnTo>
                      <a:lnTo>
                        <a:pt x="122" y="50"/>
                      </a:lnTo>
                      <a:lnTo>
                        <a:pt x="122" y="52"/>
                      </a:lnTo>
                      <a:lnTo>
                        <a:pt x="126" y="52"/>
                      </a:lnTo>
                      <a:lnTo>
                        <a:pt x="126" y="56"/>
                      </a:lnTo>
                      <a:lnTo>
                        <a:pt x="122" y="56"/>
                      </a:lnTo>
                      <a:lnTo>
                        <a:pt x="122" y="60"/>
                      </a:lnTo>
                      <a:lnTo>
                        <a:pt x="126" y="60"/>
                      </a:lnTo>
                      <a:lnTo>
                        <a:pt x="126" y="64"/>
                      </a:lnTo>
                      <a:lnTo>
                        <a:pt x="126" y="68"/>
                      </a:lnTo>
                      <a:lnTo>
                        <a:pt x="122" y="68"/>
                      </a:lnTo>
                      <a:lnTo>
                        <a:pt x="126" y="72"/>
                      </a:lnTo>
                      <a:lnTo>
                        <a:pt x="126" y="76"/>
                      </a:lnTo>
                      <a:lnTo>
                        <a:pt x="130" y="76"/>
                      </a:lnTo>
                      <a:lnTo>
                        <a:pt x="130" y="78"/>
                      </a:lnTo>
                      <a:lnTo>
                        <a:pt x="130" y="82"/>
                      </a:lnTo>
                      <a:lnTo>
                        <a:pt x="130" y="86"/>
                      </a:lnTo>
                      <a:lnTo>
                        <a:pt x="126" y="90"/>
                      </a:lnTo>
                      <a:lnTo>
                        <a:pt x="122" y="90"/>
                      </a:lnTo>
                      <a:lnTo>
                        <a:pt x="126" y="90"/>
                      </a:lnTo>
                      <a:lnTo>
                        <a:pt x="122" y="86"/>
                      </a:lnTo>
                      <a:lnTo>
                        <a:pt x="118" y="86"/>
                      </a:lnTo>
                      <a:lnTo>
                        <a:pt x="122" y="86"/>
                      </a:lnTo>
                      <a:lnTo>
                        <a:pt x="118" y="90"/>
                      </a:lnTo>
                      <a:lnTo>
                        <a:pt x="114" y="90"/>
                      </a:lnTo>
                      <a:lnTo>
                        <a:pt x="112" y="94"/>
                      </a:lnTo>
                      <a:lnTo>
                        <a:pt x="108" y="94"/>
                      </a:lnTo>
                      <a:lnTo>
                        <a:pt x="104" y="94"/>
                      </a:lnTo>
                      <a:lnTo>
                        <a:pt x="104" y="98"/>
                      </a:lnTo>
                      <a:lnTo>
                        <a:pt x="100" y="98"/>
                      </a:lnTo>
                      <a:lnTo>
                        <a:pt x="96" y="98"/>
                      </a:lnTo>
                      <a:lnTo>
                        <a:pt x="92" y="102"/>
                      </a:lnTo>
                      <a:lnTo>
                        <a:pt x="92" y="106"/>
                      </a:lnTo>
                      <a:lnTo>
                        <a:pt x="88" y="102"/>
                      </a:lnTo>
                      <a:lnTo>
                        <a:pt x="88" y="106"/>
                      </a:lnTo>
                      <a:lnTo>
                        <a:pt x="92" y="106"/>
                      </a:lnTo>
                      <a:lnTo>
                        <a:pt x="92" y="108"/>
                      </a:lnTo>
                      <a:lnTo>
                        <a:pt x="96" y="108"/>
                      </a:lnTo>
                      <a:lnTo>
                        <a:pt x="92" y="112"/>
                      </a:lnTo>
                      <a:lnTo>
                        <a:pt x="92" y="116"/>
                      </a:lnTo>
                      <a:lnTo>
                        <a:pt x="96" y="116"/>
                      </a:lnTo>
                      <a:lnTo>
                        <a:pt x="96" y="120"/>
                      </a:lnTo>
                      <a:lnTo>
                        <a:pt x="100" y="120"/>
                      </a:lnTo>
                      <a:lnTo>
                        <a:pt x="100" y="124"/>
                      </a:lnTo>
                      <a:lnTo>
                        <a:pt x="104" y="124"/>
                      </a:lnTo>
                      <a:lnTo>
                        <a:pt x="108" y="128"/>
                      </a:lnTo>
                      <a:lnTo>
                        <a:pt x="112" y="132"/>
                      </a:lnTo>
                      <a:lnTo>
                        <a:pt x="112" y="134"/>
                      </a:lnTo>
                      <a:lnTo>
                        <a:pt x="112" y="138"/>
                      </a:lnTo>
                      <a:lnTo>
                        <a:pt x="108" y="138"/>
                      </a:lnTo>
                      <a:lnTo>
                        <a:pt x="108" y="142"/>
                      </a:lnTo>
                      <a:lnTo>
                        <a:pt x="104" y="142"/>
                      </a:lnTo>
                      <a:lnTo>
                        <a:pt x="100" y="142"/>
                      </a:lnTo>
                      <a:lnTo>
                        <a:pt x="100" y="146"/>
                      </a:lnTo>
                      <a:lnTo>
                        <a:pt x="96" y="146"/>
                      </a:lnTo>
                      <a:lnTo>
                        <a:pt x="100" y="146"/>
                      </a:lnTo>
                      <a:lnTo>
                        <a:pt x="100" y="150"/>
                      </a:lnTo>
                      <a:lnTo>
                        <a:pt x="100" y="154"/>
                      </a:lnTo>
                      <a:lnTo>
                        <a:pt x="104" y="154"/>
                      </a:lnTo>
                      <a:lnTo>
                        <a:pt x="104" y="158"/>
                      </a:lnTo>
                      <a:lnTo>
                        <a:pt x="104" y="162"/>
                      </a:lnTo>
                      <a:lnTo>
                        <a:pt x="100" y="162"/>
                      </a:lnTo>
                      <a:lnTo>
                        <a:pt x="100" y="158"/>
                      </a:lnTo>
                      <a:lnTo>
                        <a:pt x="96" y="158"/>
                      </a:lnTo>
                      <a:lnTo>
                        <a:pt x="92" y="158"/>
                      </a:lnTo>
                      <a:lnTo>
                        <a:pt x="88" y="158"/>
                      </a:lnTo>
                      <a:lnTo>
                        <a:pt x="86" y="158"/>
                      </a:lnTo>
                      <a:lnTo>
                        <a:pt x="82" y="158"/>
                      </a:lnTo>
                      <a:lnTo>
                        <a:pt x="78" y="158"/>
                      </a:lnTo>
                      <a:lnTo>
                        <a:pt x="78" y="162"/>
                      </a:lnTo>
                      <a:lnTo>
                        <a:pt x="74" y="162"/>
                      </a:lnTo>
                      <a:lnTo>
                        <a:pt x="70" y="158"/>
                      </a:lnTo>
                      <a:lnTo>
                        <a:pt x="66" y="158"/>
                      </a:lnTo>
                      <a:lnTo>
                        <a:pt x="66" y="162"/>
                      </a:lnTo>
                      <a:lnTo>
                        <a:pt x="62" y="164"/>
                      </a:lnTo>
                      <a:lnTo>
                        <a:pt x="62" y="162"/>
                      </a:lnTo>
                      <a:lnTo>
                        <a:pt x="58" y="162"/>
                      </a:lnTo>
                      <a:lnTo>
                        <a:pt x="58" y="158"/>
                      </a:lnTo>
                      <a:lnTo>
                        <a:pt x="56" y="158"/>
                      </a:lnTo>
                      <a:lnTo>
                        <a:pt x="52" y="158"/>
                      </a:lnTo>
                      <a:lnTo>
                        <a:pt x="48" y="158"/>
                      </a:lnTo>
                      <a:lnTo>
                        <a:pt x="44" y="158"/>
                      </a:lnTo>
                      <a:lnTo>
                        <a:pt x="44" y="154"/>
                      </a:lnTo>
                      <a:lnTo>
                        <a:pt x="44" y="158"/>
                      </a:lnTo>
                      <a:lnTo>
                        <a:pt x="44" y="154"/>
                      </a:lnTo>
                      <a:lnTo>
                        <a:pt x="40" y="154"/>
                      </a:lnTo>
                      <a:lnTo>
                        <a:pt x="40" y="158"/>
                      </a:lnTo>
                      <a:lnTo>
                        <a:pt x="40" y="154"/>
                      </a:lnTo>
                      <a:lnTo>
                        <a:pt x="36" y="154"/>
                      </a:lnTo>
                      <a:lnTo>
                        <a:pt x="36" y="158"/>
                      </a:lnTo>
                      <a:lnTo>
                        <a:pt x="40" y="158"/>
                      </a:lnTo>
                      <a:lnTo>
                        <a:pt x="36" y="158"/>
                      </a:lnTo>
                      <a:lnTo>
                        <a:pt x="32" y="158"/>
                      </a:lnTo>
                      <a:lnTo>
                        <a:pt x="30" y="158"/>
                      </a:lnTo>
                      <a:lnTo>
                        <a:pt x="26" y="158"/>
                      </a:lnTo>
                      <a:lnTo>
                        <a:pt x="26" y="158"/>
                      </a:lnTo>
                      <a:lnTo>
                        <a:pt x="26" y="158"/>
                      </a:lnTo>
                      <a:close/>
                      <a:moveTo>
                        <a:pt x="118" y="26"/>
                      </a:moveTo>
                      <a:lnTo>
                        <a:pt x="114" y="26"/>
                      </a:lnTo>
                      <a:lnTo>
                        <a:pt x="112" y="26"/>
                      </a:lnTo>
                      <a:lnTo>
                        <a:pt x="114" y="26"/>
                      </a:lnTo>
                      <a:lnTo>
                        <a:pt x="114" y="24"/>
                      </a:lnTo>
                      <a:lnTo>
                        <a:pt x="112" y="24"/>
                      </a:lnTo>
                      <a:lnTo>
                        <a:pt x="112" y="20"/>
                      </a:lnTo>
                      <a:lnTo>
                        <a:pt x="114" y="20"/>
                      </a:lnTo>
                      <a:lnTo>
                        <a:pt x="114" y="24"/>
                      </a:lnTo>
                      <a:lnTo>
                        <a:pt x="118" y="24"/>
                      </a:lnTo>
                      <a:lnTo>
                        <a:pt x="118" y="26"/>
                      </a:lnTo>
                      <a:lnTo>
                        <a:pt x="118" y="26"/>
                      </a:lnTo>
                      <a:lnTo>
                        <a:pt x="118" y="26"/>
                      </a:lnTo>
                      <a:close/>
                      <a:moveTo>
                        <a:pt x="78" y="12"/>
                      </a:moveTo>
                      <a:lnTo>
                        <a:pt x="78" y="16"/>
                      </a:lnTo>
                      <a:lnTo>
                        <a:pt x="74" y="16"/>
                      </a:lnTo>
                      <a:lnTo>
                        <a:pt x="74" y="12"/>
                      </a:lnTo>
                      <a:lnTo>
                        <a:pt x="78" y="12"/>
                      </a:lnTo>
                      <a:lnTo>
                        <a:pt x="78" y="12"/>
                      </a:lnTo>
                      <a:lnTo>
                        <a:pt x="78" y="12"/>
                      </a:lnTo>
                      <a:close/>
                      <a:moveTo>
                        <a:pt x="40" y="8"/>
                      </a:moveTo>
                      <a:lnTo>
                        <a:pt x="36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close/>
                      <a:moveTo>
                        <a:pt x="104" y="20"/>
                      </a:moveTo>
                      <a:lnTo>
                        <a:pt x="104" y="16"/>
                      </a:lnTo>
                      <a:lnTo>
                        <a:pt x="104" y="12"/>
                      </a:lnTo>
                      <a:lnTo>
                        <a:pt x="108" y="12"/>
                      </a:lnTo>
                      <a:lnTo>
                        <a:pt x="104" y="12"/>
                      </a:lnTo>
                      <a:lnTo>
                        <a:pt x="104" y="8"/>
                      </a:lnTo>
                      <a:lnTo>
                        <a:pt x="108" y="8"/>
                      </a:lnTo>
                      <a:lnTo>
                        <a:pt x="108" y="12"/>
                      </a:lnTo>
                      <a:lnTo>
                        <a:pt x="112" y="12"/>
                      </a:lnTo>
                      <a:lnTo>
                        <a:pt x="112" y="16"/>
                      </a:lnTo>
                      <a:lnTo>
                        <a:pt x="108" y="16"/>
                      </a:lnTo>
                      <a:lnTo>
                        <a:pt x="108" y="20"/>
                      </a:lnTo>
                      <a:lnTo>
                        <a:pt x="104" y="20"/>
                      </a:lnTo>
                      <a:lnTo>
                        <a:pt x="104" y="20"/>
                      </a:lnTo>
                      <a:lnTo>
                        <a:pt x="104" y="20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Freeform 118"/>
                <p:cNvSpPr>
                  <a:spLocks/>
                </p:cNvSpPr>
                <p:nvPr/>
              </p:nvSpPr>
              <p:spPr bwMode="auto">
                <a:xfrm>
                  <a:off x="4848225" y="3165543"/>
                  <a:ext cx="212725" cy="149225"/>
                </a:xfrm>
                <a:custGeom>
                  <a:avLst/>
                  <a:gdLst>
                    <a:gd name="T0" fmla="*/ 56 w 134"/>
                    <a:gd name="T1" fmla="*/ 94 h 94"/>
                    <a:gd name="T2" fmla="*/ 46 w 134"/>
                    <a:gd name="T3" fmla="*/ 90 h 94"/>
                    <a:gd name="T4" fmla="*/ 42 w 134"/>
                    <a:gd name="T5" fmla="*/ 90 h 94"/>
                    <a:gd name="T6" fmla="*/ 38 w 134"/>
                    <a:gd name="T7" fmla="*/ 86 h 94"/>
                    <a:gd name="T8" fmla="*/ 38 w 134"/>
                    <a:gd name="T9" fmla="*/ 86 h 94"/>
                    <a:gd name="T10" fmla="*/ 34 w 134"/>
                    <a:gd name="T11" fmla="*/ 82 h 94"/>
                    <a:gd name="T12" fmla="*/ 34 w 134"/>
                    <a:gd name="T13" fmla="*/ 78 h 94"/>
                    <a:gd name="T14" fmla="*/ 34 w 134"/>
                    <a:gd name="T15" fmla="*/ 76 h 94"/>
                    <a:gd name="T16" fmla="*/ 26 w 134"/>
                    <a:gd name="T17" fmla="*/ 76 h 94"/>
                    <a:gd name="T18" fmla="*/ 24 w 134"/>
                    <a:gd name="T19" fmla="*/ 76 h 94"/>
                    <a:gd name="T20" fmla="*/ 20 w 134"/>
                    <a:gd name="T21" fmla="*/ 72 h 94"/>
                    <a:gd name="T22" fmla="*/ 20 w 134"/>
                    <a:gd name="T23" fmla="*/ 72 h 94"/>
                    <a:gd name="T24" fmla="*/ 16 w 134"/>
                    <a:gd name="T25" fmla="*/ 68 h 94"/>
                    <a:gd name="T26" fmla="*/ 16 w 134"/>
                    <a:gd name="T27" fmla="*/ 64 h 94"/>
                    <a:gd name="T28" fmla="*/ 8 w 134"/>
                    <a:gd name="T29" fmla="*/ 52 h 94"/>
                    <a:gd name="T30" fmla="*/ 4 w 134"/>
                    <a:gd name="T31" fmla="*/ 50 h 94"/>
                    <a:gd name="T32" fmla="*/ 4 w 134"/>
                    <a:gd name="T33" fmla="*/ 46 h 94"/>
                    <a:gd name="T34" fmla="*/ 8 w 134"/>
                    <a:gd name="T35" fmla="*/ 42 h 94"/>
                    <a:gd name="T36" fmla="*/ 12 w 134"/>
                    <a:gd name="T37" fmla="*/ 42 h 94"/>
                    <a:gd name="T38" fmla="*/ 16 w 134"/>
                    <a:gd name="T39" fmla="*/ 34 h 94"/>
                    <a:gd name="T40" fmla="*/ 20 w 134"/>
                    <a:gd name="T41" fmla="*/ 30 h 94"/>
                    <a:gd name="T42" fmla="*/ 24 w 134"/>
                    <a:gd name="T43" fmla="*/ 24 h 94"/>
                    <a:gd name="T44" fmla="*/ 26 w 134"/>
                    <a:gd name="T45" fmla="*/ 20 h 94"/>
                    <a:gd name="T46" fmla="*/ 26 w 134"/>
                    <a:gd name="T47" fmla="*/ 16 h 94"/>
                    <a:gd name="T48" fmla="*/ 34 w 134"/>
                    <a:gd name="T49" fmla="*/ 12 h 94"/>
                    <a:gd name="T50" fmla="*/ 42 w 134"/>
                    <a:gd name="T51" fmla="*/ 8 h 94"/>
                    <a:gd name="T52" fmla="*/ 42 w 134"/>
                    <a:gd name="T53" fmla="*/ 8 h 94"/>
                    <a:gd name="T54" fmla="*/ 52 w 134"/>
                    <a:gd name="T55" fmla="*/ 8 h 94"/>
                    <a:gd name="T56" fmla="*/ 60 w 134"/>
                    <a:gd name="T57" fmla="*/ 8 h 94"/>
                    <a:gd name="T58" fmla="*/ 64 w 134"/>
                    <a:gd name="T59" fmla="*/ 12 h 94"/>
                    <a:gd name="T60" fmla="*/ 68 w 134"/>
                    <a:gd name="T61" fmla="*/ 12 h 94"/>
                    <a:gd name="T62" fmla="*/ 72 w 134"/>
                    <a:gd name="T63" fmla="*/ 8 h 94"/>
                    <a:gd name="T64" fmla="*/ 80 w 134"/>
                    <a:gd name="T65" fmla="*/ 8 h 94"/>
                    <a:gd name="T66" fmla="*/ 86 w 134"/>
                    <a:gd name="T67" fmla="*/ 4 h 94"/>
                    <a:gd name="T68" fmla="*/ 94 w 134"/>
                    <a:gd name="T69" fmla="*/ 4 h 94"/>
                    <a:gd name="T70" fmla="*/ 102 w 134"/>
                    <a:gd name="T71" fmla="*/ 16 h 94"/>
                    <a:gd name="T72" fmla="*/ 106 w 134"/>
                    <a:gd name="T73" fmla="*/ 24 h 94"/>
                    <a:gd name="T74" fmla="*/ 112 w 134"/>
                    <a:gd name="T75" fmla="*/ 30 h 94"/>
                    <a:gd name="T76" fmla="*/ 112 w 134"/>
                    <a:gd name="T77" fmla="*/ 38 h 94"/>
                    <a:gd name="T78" fmla="*/ 112 w 134"/>
                    <a:gd name="T79" fmla="*/ 52 h 94"/>
                    <a:gd name="T80" fmla="*/ 112 w 134"/>
                    <a:gd name="T81" fmla="*/ 60 h 94"/>
                    <a:gd name="T82" fmla="*/ 120 w 134"/>
                    <a:gd name="T83" fmla="*/ 64 h 94"/>
                    <a:gd name="T84" fmla="*/ 130 w 134"/>
                    <a:gd name="T85" fmla="*/ 60 h 94"/>
                    <a:gd name="T86" fmla="*/ 130 w 134"/>
                    <a:gd name="T87" fmla="*/ 64 h 94"/>
                    <a:gd name="T88" fmla="*/ 126 w 134"/>
                    <a:gd name="T89" fmla="*/ 72 h 94"/>
                    <a:gd name="T90" fmla="*/ 122 w 134"/>
                    <a:gd name="T91" fmla="*/ 68 h 94"/>
                    <a:gd name="T92" fmla="*/ 122 w 134"/>
                    <a:gd name="T93" fmla="*/ 72 h 94"/>
                    <a:gd name="T94" fmla="*/ 122 w 134"/>
                    <a:gd name="T95" fmla="*/ 76 h 94"/>
                    <a:gd name="T96" fmla="*/ 122 w 134"/>
                    <a:gd name="T97" fmla="*/ 76 h 94"/>
                    <a:gd name="T98" fmla="*/ 122 w 134"/>
                    <a:gd name="T99" fmla="*/ 78 h 94"/>
                    <a:gd name="T100" fmla="*/ 120 w 134"/>
                    <a:gd name="T101" fmla="*/ 86 h 94"/>
                    <a:gd name="T102" fmla="*/ 116 w 134"/>
                    <a:gd name="T103" fmla="*/ 94 h 94"/>
                    <a:gd name="T104" fmla="*/ 108 w 134"/>
                    <a:gd name="T105" fmla="*/ 90 h 94"/>
                    <a:gd name="T106" fmla="*/ 106 w 134"/>
                    <a:gd name="T107" fmla="*/ 86 h 94"/>
                    <a:gd name="T108" fmla="*/ 98 w 134"/>
                    <a:gd name="T109" fmla="*/ 86 h 94"/>
                    <a:gd name="T110" fmla="*/ 94 w 134"/>
                    <a:gd name="T111" fmla="*/ 86 h 94"/>
                    <a:gd name="T112" fmla="*/ 86 w 134"/>
                    <a:gd name="T113" fmla="*/ 86 h 94"/>
                    <a:gd name="T114" fmla="*/ 80 w 134"/>
                    <a:gd name="T115" fmla="*/ 94 h 94"/>
                    <a:gd name="T116" fmla="*/ 72 w 134"/>
                    <a:gd name="T117" fmla="*/ 94 h 94"/>
                    <a:gd name="T118" fmla="*/ 60 w 134"/>
                    <a:gd name="T119" fmla="*/ 94 h 94"/>
                    <a:gd name="T120" fmla="*/ 56 w 134"/>
                    <a:gd name="T121" fmla="*/ 94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34" h="94">
                      <a:moveTo>
                        <a:pt x="56" y="94"/>
                      </a:moveTo>
                      <a:lnTo>
                        <a:pt x="56" y="94"/>
                      </a:lnTo>
                      <a:lnTo>
                        <a:pt x="56" y="94"/>
                      </a:lnTo>
                      <a:lnTo>
                        <a:pt x="56" y="94"/>
                      </a:lnTo>
                      <a:lnTo>
                        <a:pt x="56" y="94"/>
                      </a:lnTo>
                      <a:lnTo>
                        <a:pt x="56" y="94"/>
                      </a:lnTo>
                      <a:lnTo>
                        <a:pt x="56" y="94"/>
                      </a:lnTo>
                      <a:lnTo>
                        <a:pt x="56" y="94"/>
                      </a:lnTo>
                      <a:lnTo>
                        <a:pt x="52" y="94"/>
                      </a:lnTo>
                      <a:lnTo>
                        <a:pt x="52" y="94"/>
                      </a:lnTo>
                      <a:lnTo>
                        <a:pt x="50" y="94"/>
                      </a:lnTo>
                      <a:lnTo>
                        <a:pt x="50" y="94"/>
                      </a:lnTo>
                      <a:lnTo>
                        <a:pt x="50" y="90"/>
                      </a:lnTo>
                      <a:lnTo>
                        <a:pt x="46" y="90"/>
                      </a:lnTo>
                      <a:lnTo>
                        <a:pt x="46" y="90"/>
                      </a:lnTo>
                      <a:lnTo>
                        <a:pt x="46" y="90"/>
                      </a:lnTo>
                      <a:lnTo>
                        <a:pt x="46" y="90"/>
                      </a:lnTo>
                      <a:lnTo>
                        <a:pt x="46" y="90"/>
                      </a:lnTo>
                      <a:lnTo>
                        <a:pt x="42" y="90"/>
                      </a:lnTo>
                      <a:lnTo>
                        <a:pt x="42" y="90"/>
                      </a:lnTo>
                      <a:lnTo>
                        <a:pt x="42" y="90"/>
                      </a:lnTo>
                      <a:lnTo>
                        <a:pt x="42" y="90"/>
                      </a:lnTo>
                      <a:lnTo>
                        <a:pt x="42" y="90"/>
                      </a:lnTo>
                      <a:lnTo>
                        <a:pt x="42" y="90"/>
                      </a:lnTo>
                      <a:lnTo>
                        <a:pt x="42" y="90"/>
                      </a:lnTo>
                      <a:lnTo>
                        <a:pt x="38" y="90"/>
                      </a:lnTo>
                      <a:lnTo>
                        <a:pt x="38" y="90"/>
                      </a:lnTo>
                      <a:lnTo>
                        <a:pt x="38" y="90"/>
                      </a:lnTo>
                      <a:lnTo>
                        <a:pt x="38" y="90"/>
                      </a:lnTo>
                      <a:lnTo>
                        <a:pt x="38" y="90"/>
                      </a:lnTo>
                      <a:lnTo>
                        <a:pt x="38" y="86"/>
                      </a:lnTo>
                      <a:lnTo>
                        <a:pt x="38" y="86"/>
                      </a:lnTo>
                      <a:lnTo>
                        <a:pt x="38" y="86"/>
                      </a:lnTo>
                      <a:lnTo>
                        <a:pt x="38" y="86"/>
                      </a:lnTo>
                      <a:lnTo>
                        <a:pt x="38" y="86"/>
                      </a:lnTo>
                      <a:lnTo>
                        <a:pt x="38" y="86"/>
                      </a:lnTo>
                      <a:lnTo>
                        <a:pt x="38" y="86"/>
                      </a:lnTo>
                      <a:lnTo>
                        <a:pt x="38" y="86"/>
                      </a:lnTo>
                      <a:lnTo>
                        <a:pt x="38" y="86"/>
                      </a:lnTo>
                      <a:lnTo>
                        <a:pt x="38" y="86"/>
                      </a:lnTo>
                      <a:lnTo>
                        <a:pt x="34" y="82"/>
                      </a:lnTo>
                      <a:lnTo>
                        <a:pt x="34" y="82"/>
                      </a:lnTo>
                      <a:lnTo>
                        <a:pt x="34" y="82"/>
                      </a:lnTo>
                      <a:lnTo>
                        <a:pt x="34" y="82"/>
                      </a:lnTo>
                      <a:lnTo>
                        <a:pt x="34" y="82"/>
                      </a:lnTo>
                      <a:lnTo>
                        <a:pt x="34" y="82"/>
                      </a:lnTo>
                      <a:lnTo>
                        <a:pt x="34" y="82"/>
                      </a:lnTo>
                      <a:lnTo>
                        <a:pt x="34" y="82"/>
                      </a:lnTo>
                      <a:lnTo>
                        <a:pt x="34" y="82"/>
                      </a:lnTo>
                      <a:lnTo>
                        <a:pt x="30" y="78"/>
                      </a:lnTo>
                      <a:lnTo>
                        <a:pt x="30" y="78"/>
                      </a:lnTo>
                      <a:lnTo>
                        <a:pt x="34" y="76"/>
                      </a:lnTo>
                      <a:lnTo>
                        <a:pt x="34" y="76"/>
                      </a:lnTo>
                      <a:lnTo>
                        <a:pt x="34" y="78"/>
                      </a:lnTo>
                      <a:lnTo>
                        <a:pt x="34" y="78"/>
                      </a:lnTo>
                      <a:lnTo>
                        <a:pt x="34" y="78"/>
                      </a:lnTo>
                      <a:lnTo>
                        <a:pt x="34" y="78"/>
                      </a:lnTo>
                      <a:lnTo>
                        <a:pt x="34" y="76"/>
                      </a:lnTo>
                      <a:lnTo>
                        <a:pt x="34" y="76"/>
                      </a:lnTo>
                      <a:lnTo>
                        <a:pt x="34" y="76"/>
                      </a:lnTo>
                      <a:lnTo>
                        <a:pt x="34" y="76"/>
                      </a:lnTo>
                      <a:lnTo>
                        <a:pt x="34" y="76"/>
                      </a:lnTo>
                      <a:lnTo>
                        <a:pt x="34" y="76"/>
                      </a:lnTo>
                      <a:lnTo>
                        <a:pt x="34" y="76"/>
                      </a:lnTo>
                      <a:lnTo>
                        <a:pt x="30" y="76"/>
                      </a:lnTo>
                      <a:lnTo>
                        <a:pt x="30" y="76"/>
                      </a:lnTo>
                      <a:lnTo>
                        <a:pt x="30" y="76"/>
                      </a:lnTo>
                      <a:lnTo>
                        <a:pt x="30" y="76"/>
                      </a:lnTo>
                      <a:lnTo>
                        <a:pt x="30" y="76"/>
                      </a:lnTo>
                      <a:lnTo>
                        <a:pt x="30" y="76"/>
                      </a:lnTo>
                      <a:lnTo>
                        <a:pt x="30" y="76"/>
                      </a:lnTo>
                      <a:lnTo>
                        <a:pt x="26" y="76"/>
                      </a:lnTo>
                      <a:lnTo>
                        <a:pt x="26" y="78"/>
                      </a:lnTo>
                      <a:lnTo>
                        <a:pt x="26" y="78"/>
                      </a:lnTo>
                      <a:lnTo>
                        <a:pt x="26" y="78"/>
                      </a:lnTo>
                      <a:lnTo>
                        <a:pt x="26" y="76"/>
                      </a:lnTo>
                      <a:lnTo>
                        <a:pt x="26" y="76"/>
                      </a:lnTo>
                      <a:lnTo>
                        <a:pt x="26" y="76"/>
                      </a:lnTo>
                      <a:lnTo>
                        <a:pt x="24" y="76"/>
                      </a:lnTo>
                      <a:lnTo>
                        <a:pt x="24" y="76"/>
                      </a:lnTo>
                      <a:lnTo>
                        <a:pt x="24" y="76"/>
                      </a:lnTo>
                      <a:lnTo>
                        <a:pt x="20" y="76"/>
                      </a:lnTo>
                      <a:lnTo>
                        <a:pt x="20" y="76"/>
                      </a:lnTo>
                      <a:lnTo>
                        <a:pt x="20" y="76"/>
                      </a:lnTo>
                      <a:lnTo>
                        <a:pt x="20" y="76"/>
                      </a:lnTo>
                      <a:lnTo>
                        <a:pt x="20" y="72"/>
                      </a:lnTo>
                      <a:lnTo>
                        <a:pt x="20" y="72"/>
                      </a:lnTo>
                      <a:lnTo>
                        <a:pt x="20" y="72"/>
                      </a:lnTo>
                      <a:lnTo>
                        <a:pt x="16" y="72"/>
                      </a:lnTo>
                      <a:lnTo>
                        <a:pt x="16" y="72"/>
                      </a:lnTo>
                      <a:lnTo>
                        <a:pt x="16" y="72"/>
                      </a:lnTo>
                      <a:lnTo>
                        <a:pt x="16" y="72"/>
                      </a:lnTo>
                      <a:lnTo>
                        <a:pt x="16" y="72"/>
                      </a:lnTo>
                      <a:lnTo>
                        <a:pt x="16" y="72"/>
                      </a:lnTo>
                      <a:lnTo>
                        <a:pt x="16" y="72"/>
                      </a:lnTo>
                      <a:lnTo>
                        <a:pt x="20" y="72"/>
                      </a:lnTo>
                      <a:lnTo>
                        <a:pt x="20" y="72"/>
                      </a:lnTo>
                      <a:lnTo>
                        <a:pt x="20" y="72"/>
                      </a:lnTo>
                      <a:lnTo>
                        <a:pt x="20" y="72"/>
                      </a:lnTo>
                      <a:lnTo>
                        <a:pt x="20" y="68"/>
                      </a:lnTo>
                      <a:lnTo>
                        <a:pt x="16" y="68"/>
                      </a:lnTo>
                      <a:lnTo>
                        <a:pt x="16" y="68"/>
                      </a:lnTo>
                      <a:lnTo>
                        <a:pt x="16" y="68"/>
                      </a:lnTo>
                      <a:lnTo>
                        <a:pt x="16" y="68"/>
                      </a:lnTo>
                      <a:lnTo>
                        <a:pt x="16" y="68"/>
                      </a:lnTo>
                      <a:lnTo>
                        <a:pt x="16" y="68"/>
                      </a:lnTo>
                      <a:lnTo>
                        <a:pt x="20" y="64"/>
                      </a:lnTo>
                      <a:lnTo>
                        <a:pt x="20" y="64"/>
                      </a:lnTo>
                      <a:lnTo>
                        <a:pt x="16" y="64"/>
                      </a:lnTo>
                      <a:lnTo>
                        <a:pt x="16" y="64"/>
                      </a:lnTo>
                      <a:lnTo>
                        <a:pt x="16" y="64"/>
                      </a:lnTo>
                      <a:lnTo>
                        <a:pt x="16" y="64"/>
                      </a:lnTo>
                      <a:lnTo>
                        <a:pt x="12" y="60"/>
                      </a:lnTo>
                      <a:lnTo>
                        <a:pt x="12" y="60"/>
                      </a:lnTo>
                      <a:lnTo>
                        <a:pt x="8" y="56"/>
                      </a:lnTo>
                      <a:lnTo>
                        <a:pt x="8" y="56"/>
                      </a:lnTo>
                      <a:lnTo>
                        <a:pt x="8" y="56"/>
                      </a:lnTo>
                      <a:lnTo>
                        <a:pt x="8" y="56"/>
                      </a:lnTo>
                      <a:lnTo>
                        <a:pt x="8" y="56"/>
                      </a:lnTo>
                      <a:lnTo>
                        <a:pt x="8" y="52"/>
                      </a:lnTo>
                      <a:lnTo>
                        <a:pt x="8" y="52"/>
                      </a:lnTo>
                      <a:lnTo>
                        <a:pt x="8" y="52"/>
                      </a:lnTo>
                      <a:lnTo>
                        <a:pt x="8" y="52"/>
                      </a:lnTo>
                      <a:lnTo>
                        <a:pt x="4" y="52"/>
                      </a:lnTo>
                      <a:lnTo>
                        <a:pt x="4" y="52"/>
                      </a:lnTo>
                      <a:lnTo>
                        <a:pt x="4" y="50"/>
                      </a:lnTo>
                      <a:lnTo>
                        <a:pt x="4" y="50"/>
                      </a:lnTo>
                      <a:lnTo>
                        <a:pt x="4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46"/>
                      </a:lnTo>
                      <a:lnTo>
                        <a:pt x="0" y="46"/>
                      </a:lnTo>
                      <a:lnTo>
                        <a:pt x="0" y="46"/>
                      </a:lnTo>
                      <a:lnTo>
                        <a:pt x="0" y="46"/>
                      </a:lnTo>
                      <a:lnTo>
                        <a:pt x="4" y="46"/>
                      </a:lnTo>
                      <a:lnTo>
                        <a:pt x="4" y="46"/>
                      </a:lnTo>
                      <a:lnTo>
                        <a:pt x="4" y="46"/>
                      </a:lnTo>
                      <a:lnTo>
                        <a:pt x="4" y="46"/>
                      </a:lnTo>
                      <a:lnTo>
                        <a:pt x="4" y="46"/>
                      </a:lnTo>
                      <a:lnTo>
                        <a:pt x="8" y="46"/>
                      </a:lnTo>
                      <a:lnTo>
                        <a:pt x="8" y="46"/>
                      </a:lnTo>
                      <a:lnTo>
                        <a:pt x="8" y="46"/>
                      </a:lnTo>
                      <a:lnTo>
                        <a:pt x="8" y="46"/>
                      </a:lnTo>
                      <a:lnTo>
                        <a:pt x="8" y="42"/>
                      </a:lnTo>
                      <a:lnTo>
                        <a:pt x="8" y="42"/>
                      </a:lnTo>
                      <a:lnTo>
                        <a:pt x="8" y="42"/>
                      </a:lnTo>
                      <a:lnTo>
                        <a:pt x="8" y="42"/>
                      </a:lnTo>
                      <a:lnTo>
                        <a:pt x="8" y="42"/>
                      </a:lnTo>
                      <a:lnTo>
                        <a:pt x="8" y="42"/>
                      </a:lnTo>
                      <a:lnTo>
                        <a:pt x="12" y="42"/>
                      </a:lnTo>
                      <a:lnTo>
                        <a:pt x="12" y="42"/>
                      </a:lnTo>
                      <a:lnTo>
                        <a:pt x="12" y="42"/>
                      </a:lnTo>
                      <a:lnTo>
                        <a:pt x="12" y="42"/>
                      </a:lnTo>
                      <a:lnTo>
                        <a:pt x="12" y="42"/>
                      </a:lnTo>
                      <a:lnTo>
                        <a:pt x="12" y="42"/>
                      </a:lnTo>
                      <a:lnTo>
                        <a:pt x="12" y="42"/>
                      </a:lnTo>
                      <a:lnTo>
                        <a:pt x="16" y="38"/>
                      </a:lnTo>
                      <a:lnTo>
                        <a:pt x="16" y="38"/>
                      </a:lnTo>
                      <a:lnTo>
                        <a:pt x="16" y="38"/>
                      </a:lnTo>
                      <a:lnTo>
                        <a:pt x="16" y="34"/>
                      </a:lnTo>
                      <a:lnTo>
                        <a:pt x="16" y="34"/>
                      </a:lnTo>
                      <a:lnTo>
                        <a:pt x="16" y="34"/>
                      </a:lnTo>
                      <a:lnTo>
                        <a:pt x="20" y="34"/>
                      </a:lnTo>
                      <a:lnTo>
                        <a:pt x="20" y="34"/>
                      </a:lnTo>
                      <a:lnTo>
                        <a:pt x="20" y="34"/>
                      </a:lnTo>
                      <a:lnTo>
                        <a:pt x="20" y="34"/>
                      </a:lnTo>
                      <a:lnTo>
                        <a:pt x="20" y="30"/>
                      </a:lnTo>
                      <a:lnTo>
                        <a:pt x="20" y="30"/>
                      </a:lnTo>
                      <a:lnTo>
                        <a:pt x="20" y="26"/>
                      </a:lnTo>
                      <a:lnTo>
                        <a:pt x="20" y="26"/>
                      </a:lnTo>
                      <a:lnTo>
                        <a:pt x="20" y="26"/>
                      </a:lnTo>
                      <a:lnTo>
                        <a:pt x="20" y="26"/>
                      </a:lnTo>
                      <a:lnTo>
                        <a:pt x="20" y="26"/>
                      </a:lnTo>
                      <a:lnTo>
                        <a:pt x="24" y="26"/>
                      </a:lnTo>
                      <a:lnTo>
                        <a:pt x="24" y="26"/>
                      </a:lnTo>
                      <a:lnTo>
                        <a:pt x="24" y="24"/>
                      </a:lnTo>
                      <a:lnTo>
                        <a:pt x="24" y="24"/>
                      </a:lnTo>
                      <a:lnTo>
                        <a:pt x="24" y="24"/>
                      </a:lnTo>
                      <a:lnTo>
                        <a:pt x="24" y="20"/>
                      </a:lnTo>
                      <a:lnTo>
                        <a:pt x="24" y="20"/>
                      </a:lnTo>
                      <a:lnTo>
                        <a:pt x="24" y="20"/>
                      </a:lnTo>
                      <a:lnTo>
                        <a:pt x="26" y="20"/>
                      </a:lnTo>
                      <a:lnTo>
                        <a:pt x="26" y="20"/>
                      </a:lnTo>
                      <a:lnTo>
                        <a:pt x="26" y="20"/>
                      </a:lnTo>
                      <a:lnTo>
                        <a:pt x="26" y="20"/>
                      </a:lnTo>
                      <a:lnTo>
                        <a:pt x="26" y="16"/>
                      </a:lnTo>
                      <a:lnTo>
                        <a:pt x="26" y="16"/>
                      </a:lnTo>
                      <a:lnTo>
                        <a:pt x="26" y="16"/>
                      </a:lnTo>
                      <a:lnTo>
                        <a:pt x="26" y="16"/>
                      </a:lnTo>
                      <a:lnTo>
                        <a:pt x="26" y="16"/>
                      </a:lnTo>
                      <a:lnTo>
                        <a:pt x="26" y="16"/>
                      </a:lnTo>
                      <a:lnTo>
                        <a:pt x="26" y="16"/>
                      </a:lnTo>
                      <a:lnTo>
                        <a:pt x="26" y="16"/>
                      </a:lnTo>
                      <a:lnTo>
                        <a:pt x="30" y="12"/>
                      </a:lnTo>
                      <a:lnTo>
                        <a:pt x="30" y="12"/>
                      </a:lnTo>
                      <a:lnTo>
                        <a:pt x="30" y="12"/>
                      </a:lnTo>
                      <a:lnTo>
                        <a:pt x="30" y="12"/>
                      </a:lnTo>
                      <a:lnTo>
                        <a:pt x="30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8" y="8"/>
                      </a:lnTo>
                      <a:lnTo>
                        <a:pt x="38" y="8"/>
                      </a:lnTo>
                      <a:lnTo>
                        <a:pt x="38" y="8"/>
                      </a:lnTo>
                      <a:lnTo>
                        <a:pt x="38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50" y="8"/>
                      </a:lnTo>
                      <a:lnTo>
                        <a:pt x="52" y="8"/>
                      </a:lnTo>
                      <a:lnTo>
                        <a:pt x="52" y="8"/>
                      </a:lnTo>
                      <a:lnTo>
                        <a:pt x="52" y="8"/>
                      </a:lnTo>
                      <a:lnTo>
                        <a:pt x="56" y="8"/>
                      </a:lnTo>
                      <a:lnTo>
                        <a:pt x="56" y="8"/>
                      </a:lnTo>
                      <a:lnTo>
                        <a:pt x="56" y="8"/>
                      </a:lnTo>
                      <a:lnTo>
                        <a:pt x="60" y="8"/>
                      </a:lnTo>
                      <a:lnTo>
                        <a:pt x="60" y="8"/>
                      </a:lnTo>
                      <a:lnTo>
                        <a:pt x="60" y="8"/>
                      </a:lnTo>
                      <a:lnTo>
                        <a:pt x="60" y="8"/>
                      </a:lnTo>
                      <a:lnTo>
                        <a:pt x="60" y="8"/>
                      </a:lnTo>
                      <a:lnTo>
                        <a:pt x="60" y="8"/>
                      </a:lnTo>
                      <a:lnTo>
                        <a:pt x="64" y="8"/>
                      </a:lnTo>
                      <a:lnTo>
                        <a:pt x="64" y="12"/>
                      </a:lnTo>
                      <a:lnTo>
                        <a:pt x="64" y="12"/>
                      </a:lnTo>
                      <a:lnTo>
                        <a:pt x="64" y="12"/>
                      </a:lnTo>
                      <a:lnTo>
                        <a:pt x="64" y="12"/>
                      </a:lnTo>
                      <a:lnTo>
                        <a:pt x="64" y="12"/>
                      </a:lnTo>
                      <a:lnTo>
                        <a:pt x="64" y="12"/>
                      </a:lnTo>
                      <a:lnTo>
                        <a:pt x="64" y="12"/>
                      </a:lnTo>
                      <a:lnTo>
                        <a:pt x="64" y="12"/>
                      </a:lnTo>
                      <a:lnTo>
                        <a:pt x="68" y="12"/>
                      </a:lnTo>
                      <a:lnTo>
                        <a:pt x="68" y="12"/>
                      </a:lnTo>
                      <a:lnTo>
                        <a:pt x="68" y="12"/>
                      </a:lnTo>
                      <a:lnTo>
                        <a:pt x="68" y="12"/>
                      </a:lnTo>
                      <a:lnTo>
                        <a:pt x="68" y="12"/>
                      </a:lnTo>
                      <a:lnTo>
                        <a:pt x="68" y="12"/>
                      </a:lnTo>
                      <a:lnTo>
                        <a:pt x="68" y="12"/>
                      </a:lnTo>
                      <a:lnTo>
                        <a:pt x="68" y="12"/>
                      </a:lnTo>
                      <a:lnTo>
                        <a:pt x="68" y="12"/>
                      </a:lnTo>
                      <a:lnTo>
                        <a:pt x="72" y="12"/>
                      </a:lnTo>
                      <a:lnTo>
                        <a:pt x="72" y="8"/>
                      </a:lnTo>
                      <a:lnTo>
                        <a:pt x="72" y="8"/>
                      </a:lnTo>
                      <a:lnTo>
                        <a:pt x="72" y="8"/>
                      </a:lnTo>
                      <a:lnTo>
                        <a:pt x="76" y="8"/>
                      </a:lnTo>
                      <a:lnTo>
                        <a:pt x="76" y="8"/>
                      </a:lnTo>
                      <a:lnTo>
                        <a:pt x="76" y="8"/>
                      </a:lnTo>
                      <a:lnTo>
                        <a:pt x="76" y="8"/>
                      </a:lnTo>
                      <a:lnTo>
                        <a:pt x="76" y="8"/>
                      </a:lnTo>
                      <a:lnTo>
                        <a:pt x="80" y="8"/>
                      </a:lnTo>
                      <a:lnTo>
                        <a:pt x="80" y="8"/>
                      </a:lnTo>
                      <a:lnTo>
                        <a:pt x="80" y="8"/>
                      </a:lnTo>
                      <a:lnTo>
                        <a:pt x="80" y="8"/>
                      </a:lnTo>
                      <a:lnTo>
                        <a:pt x="82" y="8"/>
                      </a:lnTo>
                      <a:lnTo>
                        <a:pt x="82" y="8"/>
                      </a:lnTo>
                      <a:lnTo>
                        <a:pt x="82" y="8"/>
                      </a:lnTo>
                      <a:lnTo>
                        <a:pt x="82" y="8"/>
                      </a:lnTo>
                      <a:lnTo>
                        <a:pt x="82" y="8"/>
                      </a:lnTo>
                      <a:lnTo>
                        <a:pt x="86" y="4"/>
                      </a:lnTo>
                      <a:lnTo>
                        <a:pt x="86" y="4"/>
                      </a:lnTo>
                      <a:lnTo>
                        <a:pt x="86" y="4"/>
                      </a:lnTo>
                      <a:lnTo>
                        <a:pt x="90" y="4"/>
                      </a:lnTo>
                      <a:lnTo>
                        <a:pt x="90" y="4"/>
                      </a:lnTo>
                      <a:lnTo>
                        <a:pt x="90" y="4"/>
                      </a:lnTo>
                      <a:lnTo>
                        <a:pt x="90" y="0"/>
                      </a:lnTo>
                      <a:lnTo>
                        <a:pt x="90" y="0"/>
                      </a:lnTo>
                      <a:lnTo>
                        <a:pt x="94" y="0"/>
                      </a:lnTo>
                      <a:lnTo>
                        <a:pt x="94" y="4"/>
                      </a:lnTo>
                      <a:lnTo>
                        <a:pt x="94" y="4"/>
                      </a:lnTo>
                      <a:lnTo>
                        <a:pt x="98" y="8"/>
                      </a:lnTo>
                      <a:lnTo>
                        <a:pt x="98" y="8"/>
                      </a:lnTo>
                      <a:lnTo>
                        <a:pt x="98" y="12"/>
                      </a:lnTo>
                      <a:lnTo>
                        <a:pt x="98" y="12"/>
                      </a:lnTo>
                      <a:lnTo>
                        <a:pt x="102" y="12"/>
                      </a:lnTo>
                      <a:lnTo>
                        <a:pt x="102" y="16"/>
                      </a:lnTo>
                      <a:lnTo>
                        <a:pt x="102" y="16"/>
                      </a:lnTo>
                      <a:lnTo>
                        <a:pt x="102" y="16"/>
                      </a:lnTo>
                      <a:lnTo>
                        <a:pt x="102" y="16"/>
                      </a:lnTo>
                      <a:lnTo>
                        <a:pt x="102" y="20"/>
                      </a:lnTo>
                      <a:lnTo>
                        <a:pt x="106" y="20"/>
                      </a:lnTo>
                      <a:lnTo>
                        <a:pt x="106" y="24"/>
                      </a:lnTo>
                      <a:lnTo>
                        <a:pt x="106" y="24"/>
                      </a:lnTo>
                      <a:lnTo>
                        <a:pt x="106" y="24"/>
                      </a:lnTo>
                      <a:lnTo>
                        <a:pt x="106" y="24"/>
                      </a:lnTo>
                      <a:lnTo>
                        <a:pt x="106" y="24"/>
                      </a:lnTo>
                      <a:lnTo>
                        <a:pt x="106" y="24"/>
                      </a:lnTo>
                      <a:lnTo>
                        <a:pt x="108" y="26"/>
                      </a:lnTo>
                      <a:lnTo>
                        <a:pt x="108" y="26"/>
                      </a:lnTo>
                      <a:lnTo>
                        <a:pt x="108" y="26"/>
                      </a:lnTo>
                      <a:lnTo>
                        <a:pt x="108" y="26"/>
                      </a:lnTo>
                      <a:lnTo>
                        <a:pt x="112" y="26"/>
                      </a:lnTo>
                      <a:lnTo>
                        <a:pt x="112" y="30"/>
                      </a:lnTo>
                      <a:lnTo>
                        <a:pt x="112" y="30"/>
                      </a:lnTo>
                      <a:lnTo>
                        <a:pt x="112" y="30"/>
                      </a:lnTo>
                      <a:lnTo>
                        <a:pt x="112" y="30"/>
                      </a:lnTo>
                      <a:lnTo>
                        <a:pt x="112" y="34"/>
                      </a:lnTo>
                      <a:lnTo>
                        <a:pt x="112" y="34"/>
                      </a:lnTo>
                      <a:lnTo>
                        <a:pt x="112" y="34"/>
                      </a:lnTo>
                      <a:lnTo>
                        <a:pt x="112" y="34"/>
                      </a:lnTo>
                      <a:lnTo>
                        <a:pt x="112" y="38"/>
                      </a:lnTo>
                      <a:lnTo>
                        <a:pt x="112" y="42"/>
                      </a:lnTo>
                      <a:lnTo>
                        <a:pt x="112" y="46"/>
                      </a:lnTo>
                      <a:lnTo>
                        <a:pt x="112" y="46"/>
                      </a:lnTo>
                      <a:lnTo>
                        <a:pt x="112" y="46"/>
                      </a:lnTo>
                      <a:lnTo>
                        <a:pt x="112" y="50"/>
                      </a:lnTo>
                      <a:lnTo>
                        <a:pt x="112" y="50"/>
                      </a:lnTo>
                      <a:lnTo>
                        <a:pt x="112" y="50"/>
                      </a:lnTo>
                      <a:lnTo>
                        <a:pt x="112" y="52"/>
                      </a:lnTo>
                      <a:lnTo>
                        <a:pt x="112" y="52"/>
                      </a:lnTo>
                      <a:lnTo>
                        <a:pt x="112" y="56"/>
                      </a:lnTo>
                      <a:lnTo>
                        <a:pt x="112" y="56"/>
                      </a:lnTo>
                      <a:lnTo>
                        <a:pt x="112" y="56"/>
                      </a:lnTo>
                      <a:lnTo>
                        <a:pt x="112" y="60"/>
                      </a:lnTo>
                      <a:lnTo>
                        <a:pt x="112" y="60"/>
                      </a:lnTo>
                      <a:lnTo>
                        <a:pt x="112" y="60"/>
                      </a:lnTo>
                      <a:lnTo>
                        <a:pt x="112" y="60"/>
                      </a:lnTo>
                      <a:lnTo>
                        <a:pt x="112" y="60"/>
                      </a:lnTo>
                      <a:lnTo>
                        <a:pt x="112" y="60"/>
                      </a:lnTo>
                      <a:lnTo>
                        <a:pt x="112" y="60"/>
                      </a:lnTo>
                      <a:lnTo>
                        <a:pt x="112" y="60"/>
                      </a:lnTo>
                      <a:lnTo>
                        <a:pt x="116" y="60"/>
                      </a:lnTo>
                      <a:lnTo>
                        <a:pt x="116" y="60"/>
                      </a:lnTo>
                      <a:lnTo>
                        <a:pt x="116" y="64"/>
                      </a:lnTo>
                      <a:lnTo>
                        <a:pt x="120" y="64"/>
                      </a:lnTo>
                      <a:lnTo>
                        <a:pt x="120" y="64"/>
                      </a:lnTo>
                      <a:lnTo>
                        <a:pt x="120" y="60"/>
                      </a:lnTo>
                      <a:lnTo>
                        <a:pt x="122" y="60"/>
                      </a:lnTo>
                      <a:lnTo>
                        <a:pt x="126" y="60"/>
                      </a:lnTo>
                      <a:lnTo>
                        <a:pt x="126" y="60"/>
                      </a:lnTo>
                      <a:lnTo>
                        <a:pt x="130" y="60"/>
                      </a:lnTo>
                      <a:lnTo>
                        <a:pt x="130" y="60"/>
                      </a:lnTo>
                      <a:lnTo>
                        <a:pt x="130" y="60"/>
                      </a:lnTo>
                      <a:lnTo>
                        <a:pt x="130" y="60"/>
                      </a:lnTo>
                      <a:lnTo>
                        <a:pt x="130" y="60"/>
                      </a:lnTo>
                      <a:lnTo>
                        <a:pt x="134" y="60"/>
                      </a:lnTo>
                      <a:lnTo>
                        <a:pt x="134" y="60"/>
                      </a:lnTo>
                      <a:lnTo>
                        <a:pt x="134" y="64"/>
                      </a:lnTo>
                      <a:lnTo>
                        <a:pt x="134" y="64"/>
                      </a:lnTo>
                      <a:lnTo>
                        <a:pt x="130" y="64"/>
                      </a:lnTo>
                      <a:lnTo>
                        <a:pt x="130" y="64"/>
                      </a:lnTo>
                      <a:lnTo>
                        <a:pt x="134" y="64"/>
                      </a:lnTo>
                      <a:lnTo>
                        <a:pt x="130" y="68"/>
                      </a:lnTo>
                      <a:lnTo>
                        <a:pt x="130" y="72"/>
                      </a:lnTo>
                      <a:lnTo>
                        <a:pt x="130" y="72"/>
                      </a:lnTo>
                      <a:lnTo>
                        <a:pt x="130" y="72"/>
                      </a:lnTo>
                      <a:lnTo>
                        <a:pt x="130" y="72"/>
                      </a:lnTo>
                      <a:lnTo>
                        <a:pt x="126" y="72"/>
                      </a:lnTo>
                      <a:lnTo>
                        <a:pt x="126" y="72"/>
                      </a:lnTo>
                      <a:lnTo>
                        <a:pt x="126" y="72"/>
                      </a:lnTo>
                      <a:lnTo>
                        <a:pt x="122" y="72"/>
                      </a:lnTo>
                      <a:lnTo>
                        <a:pt x="122" y="72"/>
                      </a:lnTo>
                      <a:lnTo>
                        <a:pt x="122" y="68"/>
                      </a:lnTo>
                      <a:lnTo>
                        <a:pt x="122" y="68"/>
                      </a:lnTo>
                      <a:lnTo>
                        <a:pt x="122" y="68"/>
                      </a:lnTo>
                      <a:lnTo>
                        <a:pt x="122" y="68"/>
                      </a:lnTo>
                      <a:lnTo>
                        <a:pt x="122" y="68"/>
                      </a:lnTo>
                      <a:lnTo>
                        <a:pt x="122" y="68"/>
                      </a:lnTo>
                      <a:lnTo>
                        <a:pt x="122" y="68"/>
                      </a:lnTo>
                      <a:lnTo>
                        <a:pt x="122" y="72"/>
                      </a:lnTo>
                      <a:lnTo>
                        <a:pt x="122" y="72"/>
                      </a:lnTo>
                      <a:lnTo>
                        <a:pt x="122" y="72"/>
                      </a:lnTo>
                      <a:lnTo>
                        <a:pt x="122" y="72"/>
                      </a:lnTo>
                      <a:lnTo>
                        <a:pt x="122" y="72"/>
                      </a:lnTo>
                      <a:lnTo>
                        <a:pt x="122" y="72"/>
                      </a:lnTo>
                      <a:lnTo>
                        <a:pt x="120" y="76"/>
                      </a:lnTo>
                      <a:lnTo>
                        <a:pt x="120" y="76"/>
                      </a:lnTo>
                      <a:lnTo>
                        <a:pt x="120" y="76"/>
                      </a:lnTo>
                      <a:lnTo>
                        <a:pt x="120" y="76"/>
                      </a:lnTo>
                      <a:lnTo>
                        <a:pt x="120" y="76"/>
                      </a:lnTo>
                      <a:lnTo>
                        <a:pt x="120" y="76"/>
                      </a:lnTo>
                      <a:lnTo>
                        <a:pt x="122" y="76"/>
                      </a:lnTo>
                      <a:lnTo>
                        <a:pt x="122" y="76"/>
                      </a:lnTo>
                      <a:lnTo>
                        <a:pt x="122" y="76"/>
                      </a:lnTo>
                      <a:lnTo>
                        <a:pt x="122" y="76"/>
                      </a:lnTo>
                      <a:lnTo>
                        <a:pt x="122" y="76"/>
                      </a:lnTo>
                      <a:lnTo>
                        <a:pt x="122" y="76"/>
                      </a:lnTo>
                      <a:lnTo>
                        <a:pt x="122" y="76"/>
                      </a:lnTo>
                      <a:lnTo>
                        <a:pt x="122" y="76"/>
                      </a:lnTo>
                      <a:lnTo>
                        <a:pt x="122" y="76"/>
                      </a:lnTo>
                      <a:lnTo>
                        <a:pt x="122" y="76"/>
                      </a:lnTo>
                      <a:lnTo>
                        <a:pt x="120" y="76"/>
                      </a:lnTo>
                      <a:lnTo>
                        <a:pt x="120" y="76"/>
                      </a:lnTo>
                      <a:lnTo>
                        <a:pt x="120" y="76"/>
                      </a:lnTo>
                      <a:lnTo>
                        <a:pt x="120" y="78"/>
                      </a:lnTo>
                      <a:lnTo>
                        <a:pt x="120" y="78"/>
                      </a:lnTo>
                      <a:lnTo>
                        <a:pt x="122" y="76"/>
                      </a:lnTo>
                      <a:lnTo>
                        <a:pt x="122" y="76"/>
                      </a:lnTo>
                      <a:lnTo>
                        <a:pt x="122" y="78"/>
                      </a:lnTo>
                      <a:lnTo>
                        <a:pt x="120" y="78"/>
                      </a:lnTo>
                      <a:lnTo>
                        <a:pt x="120" y="78"/>
                      </a:lnTo>
                      <a:lnTo>
                        <a:pt x="120" y="78"/>
                      </a:lnTo>
                      <a:lnTo>
                        <a:pt x="120" y="78"/>
                      </a:lnTo>
                      <a:lnTo>
                        <a:pt x="120" y="82"/>
                      </a:lnTo>
                      <a:lnTo>
                        <a:pt x="120" y="82"/>
                      </a:lnTo>
                      <a:lnTo>
                        <a:pt x="120" y="82"/>
                      </a:lnTo>
                      <a:lnTo>
                        <a:pt x="120" y="86"/>
                      </a:lnTo>
                      <a:lnTo>
                        <a:pt x="120" y="90"/>
                      </a:lnTo>
                      <a:lnTo>
                        <a:pt x="120" y="90"/>
                      </a:lnTo>
                      <a:lnTo>
                        <a:pt x="120" y="90"/>
                      </a:lnTo>
                      <a:lnTo>
                        <a:pt x="120" y="90"/>
                      </a:lnTo>
                      <a:lnTo>
                        <a:pt x="116" y="90"/>
                      </a:lnTo>
                      <a:lnTo>
                        <a:pt x="116" y="94"/>
                      </a:lnTo>
                      <a:lnTo>
                        <a:pt x="116" y="94"/>
                      </a:lnTo>
                      <a:lnTo>
                        <a:pt x="116" y="94"/>
                      </a:lnTo>
                      <a:lnTo>
                        <a:pt x="116" y="94"/>
                      </a:lnTo>
                      <a:lnTo>
                        <a:pt x="112" y="94"/>
                      </a:lnTo>
                      <a:lnTo>
                        <a:pt x="112" y="94"/>
                      </a:lnTo>
                      <a:lnTo>
                        <a:pt x="112" y="94"/>
                      </a:lnTo>
                      <a:lnTo>
                        <a:pt x="112" y="90"/>
                      </a:lnTo>
                      <a:lnTo>
                        <a:pt x="108" y="90"/>
                      </a:lnTo>
                      <a:lnTo>
                        <a:pt x="108" y="90"/>
                      </a:lnTo>
                      <a:lnTo>
                        <a:pt x="108" y="90"/>
                      </a:lnTo>
                      <a:lnTo>
                        <a:pt x="108" y="90"/>
                      </a:lnTo>
                      <a:lnTo>
                        <a:pt x="108" y="86"/>
                      </a:lnTo>
                      <a:lnTo>
                        <a:pt x="108" y="90"/>
                      </a:lnTo>
                      <a:lnTo>
                        <a:pt x="108" y="90"/>
                      </a:lnTo>
                      <a:lnTo>
                        <a:pt x="108" y="90"/>
                      </a:lnTo>
                      <a:lnTo>
                        <a:pt x="106" y="90"/>
                      </a:lnTo>
                      <a:lnTo>
                        <a:pt x="106" y="90"/>
                      </a:lnTo>
                      <a:lnTo>
                        <a:pt x="106" y="86"/>
                      </a:lnTo>
                      <a:lnTo>
                        <a:pt x="106" y="86"/>
                      </a:lnTo>
                      <a:lnTo>
                        <a:pt x="106" y="86"/>
                      </a:lnTo>
                      <a:lnTo>
                        <a:pt x="106" y="86"/>
                      </a:lnTo>
                      <a:lnTo>
                        <a:pt x="102" y="86"/>
                      </a:lnTo>
                      <a:lnTo>
                        <a:pt x="102" y="86"/>
                      </a:lnTo>
                      <a:lnTo>
                        <a:pt x="102" y="86"/>
                      </a:lnTo>
                      <a:lnTo>
                        <a:pt x="102" y="86"/>
                      </a:lnTo>
                      <a:lnTo>
                        <a:pt x="98" y="86"/>
                      </a:lnTo>
                      <a:lnTo>
                        <a:pt x="98" y="86"/>
                      </a:lnTo>
                      <a:lnTo>
                        <a:pt x="98" y="86"/>
                      </a:lnTo>
                      <a:lnTo>
                        <a:pt x="98" y="86"/>
                      </a:lnTo>
                      <a:lnTo>
                        <a:pt x="98" y="86"/>
                      </a:lnTo>
                      <a:lnTo>
                        <a:pt x="98" y="86"/>
                      </a:lnTo>
                      <a:lnTo>
                        <a:pt x="98" y="86"/>
                      </a:lnTo>
                      <a:lnTo>
                        <a:pt x="94" y="86"/>
                      </a:lnTo>
                      <a:lnTo>
                        <a:pt x="94" y="86"/>
                      </a:lnTo>
                      <a:lnTo>
                        <a:pt x="94" y="86"/>
                      </a:lnTo>
                      <a:lnTo>
                        <a:pt x="94" y="86"/>
                      </a:lnTo>
                      <a:lnTo>
                        <a:pt x="90" y="86"/>
                      </a:lnTo>
                      <a:lnTo>
                        <a:pt x="86" y="86"/>
                      </a:lnTo>
                      <a:lnTo>
                        <a:pt x="86" y="86"/>
                      </a:lnTo>
                      <a:lnTo>
                        <a:pt x="86" y="86"/>
                      </a:lnTo>
                      <a:lnTo>
                        <a:pt x="86" y="86"/>
                      </a:lnTo>
                      <a:lnTo>
                        <a:pt x="86" y="86"/>
                      </a:lnTo>
                      <a:lnTo>
                        <a:pt x="82" y="90"/>
                      </a:lnTo>
                      <a:lnTo>
                        <a:pt x="82" y="90"/>
                      </a:lnTo>
                      <a:lnTo>
                        <a:pt x="82" y="90"/>
                      </a:lnTo>
                      <a:lnTo>
                        <a:pt x="80" y="90"/>
                      </a:lnTo>
                      <a:lnTo>
                        <a:pt x="80" y="94"/>
                      </a:lnTo>
                      <a:lnTo>
                        <a:pt x="80" y="94"/>
                      </a:lnTo>
                      <a:lnTo>
                        <a:pt x="80" y="94"/>
                      </a:lnTo>
                      <a:lnTo>
                        <a:pt x="80" y="94"/>
                      </a:lnTo>
                      <a:lnTo>
                        <a:pt x="76" y="94"/>
                      </a:lnTo>
                      <a:lnTo>
                        <a:pt x="76" y="94"/>
                      </a:lnTo>
                      <a:lnTo>
                        <a:pt x="76" y="94"/>
                      </a:lnTo>
                      <a:lnTo>
                        <a:pt x="76" y="94"/>
                      </a:lnTo>
                      <a:lnTo>
                        <a:pt x="76" y="94"/>
                      </a:lnTo>
                      <a:lnTo>
                        <a:pt x="72" y="94"/>
                      </a:lnTo>
                      <a:lnTo>
                        <a:pt x="72" y="94"/>
                      </a:lnTo>
                      <a:lnTo>
                        <a:pt x="72" y="94"/>
                      </a:lnTo>
                      <a:lnTo>
                        <a:pt x="72" y="94"/>
                      </a:lnTo>
                      <a:lnTo>
                        <a:pt x="72" y="94"/>
                      </a:lnTo>
                      <a:lnTo>
                        <a:pt x="68" y="94"/>
                      </a:lnTo>
                      <a:lnTo>
                        <a:pt x="64" y="94"/>
                      </a:lnTo>
                      <a:lnTo>
                        <a:pt x="64" y="94"/>
                      </a:lnTo>
                      <a:lnTo>
                        <a:pt x="64" y="94"/>
                      </a:lnTo>
                      <a:lnTo>
                        <a:pt x="64" y="94"/>
                      </a:lnTo>
                      <a:lnTo>
                        <a:pt x="60" y="94"/>
                      </a:lnTo>
                      <a:lnTo>
                        <a:pt x="60" y="94"/>
                      </a:lnTo>
                      <a:lnTo>
                        <a:pt x="60" y="94"/>
                      </a:lnTo>
                      <a:lnTo>
                        <a:pt x="60" y="94"/>
                      </a:lnTo>
                      <a:lnTo>
                        <a:pt x="60" y="94"/>
                      </a:lnTo>
                      <a:lnTo>
                        <a:pt x="60" y="94"/>
                      </a:lnTo>
                      <a:lnTo>
                        <a:pt x="60" y="94"/>
                      </a:lnTo>
                      <a:lnTo>
                        <a:pt x="56" y="94"/>
                      </a:lnTo>
                      <a:lnTo>
                        <a:pt x="56" y="94"/>
                      </a:lnTo>
                      <a:lnTo>
                        <a:pt x="56" y="94"/>
                      </a:lnTo>
                      <a:lnTo>
                        <a:pt x="56" y="94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2" name="Freeform 125"/>
                <p:cNvSpPr>
                  <a:spLocks/>
                </p:cNvSpPr>
                <p:nvPr/>
              </p:nvSpPr>
              <p:spPr bwMode="auto">
                <a:xfrm>
                  <a:off x="4889500" y="3029018"/>
                  <a:ext cx="403225" cy="260350"/>
                </a:xfrm>
                <a:custGeom>
                  <a:avLst/>
                  <a:gdLst>
                    <a:gd name="T0" fmla="*/ 96 w 254"/>
                    <a:gd name="T1" fmla="*/ 134 h 164"/>
                    <a:gd name="T2" fmla="*/ 104 w 254"/>
                    <a:gd name="T3" fmla="*/ 124 h 164"/>
                    <a:gd name="T4" fmla="*/ 108 w 254"/>
                    <a:gd name="T5" fmla="*/ 124 h 164"/>
                    <a:gd name="T6" fmla="*/ 104 w 254"/>
                    <a:gd name="T7" fmla="*/ 108 h 164"/>
                    <a:gd name="T8" fmla="*/ 100 w 254"/>
                    <a:gd name="T9" fmla="*/ 98 h 164"/>
                    <a:gd name="T10" fmla="*/ 86 w 254"/>
                    <a:gd name="T11" fmla="*/ 90 h 164"/>
                    <a:gd name="T12" fmla="*/ 64 w 254"/>
                    <a:gd name="T13" fmla="*/ 86 h 164"/>
                    <a:gd name="T14" fmla="*/ 46 w 254"/>
                    <a:gd name="T15" fmla="*/ 98 h 164"/>
                    <a:gd name="T16" fmla="*/ 24 w 254"/>
                    <a:gd name="T17" fmla="*/ 94 h 164"/>
                    <a:gd name="T18" fmla="*/ 8 w 254"/>
                    <a:gd name="T19" fmla="*/ 90 h 164"/>
                    <a:gd name="T20" fmla="*/ 4 w 254"/>
                    <a:gd name="T21" fmla="*/ 74 h 164"/>
                    <a:gd name="T22" fmla="*/ 16 w 254"/>
                    <a:gd name="T23" fmla="*/ 48 h 164"/>
                    <a:gd name="T24" fmla="*/ 26 w 254"/>
                    <a:gd name="T25" fmla="*/ 38 h 164"/>
                    <a:gd name="T26" fmla="*/ 24 w 254"/>
                    <a:gd name="T27" fmla="*/ 18 h 164"/>
                    <a:gd name="T28" fmla="*/ 42 w 254"/>
                    <a:gd name="T29" fmla="*/ 12 h 164"/>
                    <a:gd name="T30" fmla="*/ 64 w 254"/>
                    <a:gd name="T31" fmla="*/ 16 h 164"/>
                    <a:gd name="T32" fmla="*/ 82 w 254"/>
                    <a:gd name="T33" fmla="*/ 18 h 164"/>
                    <a:gd name="T34" fmla="*/ 94 w 254"/>
                    <a:gd name="T35" fmla="*/ 18 h 164"/>
                    <a:gd name="T36" fmla="*/ 108 w 254"/>
                    <a:gd name="T37" fmla="*/ 22 h 164"/>
                    <a:gd name="T38" fmla="*/ 120 w 254"/>
                    <a:gd name="T39" fmla="*/ 18 h 164"/>
                    <a:gd name="T40" fmla="*/ 134 w 254"/>
                    <a:gd name="T41" fmla="*/ 8 h 164"/>
                    <a:gd name="T42" fmla="*/ 156 w 254"/>
                    <a:gd name="T43" fmla="*/ 0 h 164"/>
                    <a:gd name="T44" fmla="*/ 172 w 254"/>
                    <a:gd name="T45" fmla="*/ 12 h 164"/>
                    <a:gd name="T46" fmla="*/ 176 w 254"/>
                    <a:gd name="T47" fmla="*/ 26 h 164"/>
                    <a:gd name="T48" fmla="*/ 190 w 254"/>
                    <a:gd name="T49" fmla="*/ 38 h 164"/>
                    <a:gd name="T50" fmla="*/ 198 w 254"/>
                    <a:gd name="T51" fmla="*/ 42 h 164"/>
                    <a:gd name="T52" fmla="*/ 212 w 254"/>
                    <a:gd name="T53" fmla="*/ 46 h 164"/>
                    <a:gd name="T54" fmla="*/ 232 w 254"/>
                    <a:gd name="T55" fmla="*/ 48 h 164"/>
                    <a:gd name="T56" fmla="*/ 246 w 254"/>
                    <a:gd name="T57" fmla="*/ 56 h 164"/>
                    <a:gd name="T58" fmla="*/ 250 w 254"/>
                    <a:gd name="T59" fmla="*/ 72 h 164"/>
                    <a:gd name="T60" fmla="*/ 254 w 254"/>
                    <a:gd name="T61" fmla="*/ 90 h 164"/>
                    <a:gd name="T62" fmla="*/ 236 w 254"/>
                    <a:gd name="T63" fmla="*/ 98 h 164"/>
                    <a:gd name="T64" fmla="*/ 224 w 254"/>
                    <a:gd name="T65" fmla="*/ 112 h 164"/>
                    <a:gd name="T66" fmla="*/ 206 w 254"/>
                    <a:gd name="T67" fmla="*/ 120 h 164"/>
                    <a:gd name="T68" fmla="*/ 190 w 254"/>
                    <a:gd name="T69" fmla="*/ 124 h 164"/>
                    <a:gd name="T70" fmla="*/ 186 w 254"/>
                    <a:gd name="T71" fmla="*/ 128 h 164"/>
                    <a:gd name="T72" fmla="*/ 172 w 254"/>
                    <a:gd name="T73" fmla="*/ 128 h 164"/>
                    <a:gd name="T74" fmla="*/ 168 w 254"/>
                    <a:gd name="T75" fmla="*/ 130 h 164"/>
                    <a:gd name="T76" fmla="*/ 176 w 254"/>
                    <a:gd name="T77" fmla="*/ 134 h 164"/>
                    <a:gd name="T78" fmla="*/ 186 w 254"/>
                    <a:gd name="T79" fmla="*/ 146 h 164"/>
                    <a:gd name="T80" fmla="*/ 184 w 254"/>
                    <a:gd name="T81" fmla="*/ 138 h 164"/>
                    <a:gd name="T82" fmla="*/ 198 w 254"/>
                    <a:gd name="T83" fmla="*/ 146 h 164"/>
                    <a:gd name="T84" fmla="*/ 194 w 254"/>
                    <a:gd name="T85" fmla="*/ 154 h 164"/>
                    <a:gd name="T86" fmla="*/ 176 w 254"/>
                    <a:gd name="T87" fmla="*/ 160 h 164"/>
                    <a:gd name="T88" fmla="*/ 160 w 254"/>
                    <a:gd name="T89" fmla="*/ 158 h 164"/>
                    <a:gd name="T90" fmla="*/ 150 w 254"/>
                    <a:gd name="T91" fmla="*/ 146 h 164"/>
                    <a:gd name="T92" fmla="*/ 160 w 254"/>
                    <a:gd name="T93" fmla="*/ 134 h 164"/>
                    <a:gd name="T94" fmla="*/ 146 w 254"/>
                    <a:gd name="T95" fmla="*/ 130 h 164"/>
                    <a:gd name="T96" fmla="*/ 138 w 254"/>
                    <a:gd name="T97" fmla="*/ 124 h 164"/>
                    <a:gd name="T98" fmla="*/ 142 w 254"/>
                    <a:gd name="T99" fmla="*/ 124 h 164"/>
                    <a:gd name="T100" fmla="*/ 138 w 254"/>
                    <a:gd name="T101" fmla="*/ 112 h 164"/>
                    <a:gd name="T102" fmla="*/ 134 w 254"/>
                    <a:gd name="T103" fmla="*/ 120 h 164"/>
                    <a:gd name="T104" fmla="*/ 116 w 254"/>
                    <a:gd name="T105" fmla="*/ 134 h 164"/>
                    <a:gd name="T106" fmla="*/ 108 w 254"/>
                    <a:gd name="T107" fmla="*/ 146 h 164"/>
                    <a:gd name="T108" fmla="*/ 94 w 254"/>
                    <a:gd name="T109" fmla="*/ 150 h 1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254" h="164">
                      <a:moveTo>
                        <a:pt x="86" y="146"/>
                      </a:moveTo>
                      <a:lnTo>
                        <a:pt x="86" y="142"/>
                      </a:lnTo>
                      <a:lnTo>
                        <a:pt x="90" y="142"/>
                      </a:lnTo>
                      <a:lnTo>
                        <a:pt x="90" y="138"/>
                      </a:lnTo>
                      <a:lnTo>
                        <a:pt x="94" y="138"/>
                      </a:lnTo>
                      <a:lnTo>
                        <a:pt x="94" y="134"/>
                      </a:lnTo>
                      <a:lnTo>
                        <a:pt x="96" y="134"/>
                      </a:lnTo>
                      <a:lnTo>
                        <a:pt x="96" y="130"/>
                      </a:lnTo>
                      <a:lnTo>
                        <a:pt x="96" y="128"/>
                      </a:lnTo>
                      <a:lnTo>
                        <a:pt x="96" y="124"/>
                      </a:lnTo>
                      <a:lnTo>
                        <a:pt x="100" y="124"/>
                      </a:lnTo>
                      <a:lnTo>
                        <a:pt x="100" y="128"/>
                      </a:lnTo>
                      <a:lnTo>
                        <a:pt x="100" y="124"/>
                      </a:lnTo>
                      <a:lnTo>
                        <a:pt x="104" y="124"/>
                      </a:lnTo>
                      <a:lnTo>
                        <a:pt x="104" y="128"/>
                      </a:lnTo>
                      <a:lnTo>
                        <a:pt x="108" y="128"/>
                      </a:lnTo>
                      <a:lnTo>
                        <a:pt x="108" y="124"/>
                      </a:lnTo>
                      <a:lnTo>
                        <a:pt x="108" y="128"/>
                      </a:lnTo>
                      <a:lnTo>
                        <a:pt x="112" y="128"/>
                      </a:lnTo>
                      <a:lnTo>
                        <a:pt x="112" y="124"/>
                      </a:lnTo>
                      <a:lnTo>
                        <a:pt x="108" y="124"/>
                      </a:lnTo>
                      <a:lnTo>
                        <a:pt x="112" y="124"/>
                      </a:lnTo>
                      <a:lnTo>
                        <a:pt x="112" y="120"/>
                      </a:lnTo>
                      <a:lnTo>
                        <a:pt x="112" y="116"/>
                      </a:lnTo>
                      <a:lnTo>
                        <a:pt x="108" y="116"/>
                      </a:lnTo>
                      <a:lnTo>
                        <a:pt x="104" y="116"/>
                      </a:lnTo>
                      <a:lnTo>
                        <a:pt x="104" y="112"/>
                      </a:lnTo>
                      <a:lnTo>
                        <a:pt x="104" y="108"/>
                      </a:lnTo>
                      <a:lnTo>
                        <a:pt x="104" y="104"/>
                      </a:lnTo>
                      <a:lnTo>
                        <a:pt x="104" y="108"/>
                      </a:lnTo>
                      <a:lnTo>
                        <a:pt x="100" y="104"/>
                      </a:lnTo>
                      <a:lnTo>
                        <a:pt x="104" y="104"/>
                      </a:lnTo>
                      <a:lnTo>
                        <a:pt x="100" y="104"/>
                      </a:lnTo>
                      <a:lnTo>
                        <a:pt x="100" y="102"/>
                      </a:lnTo>
                      <a:lnTo>
                        <a:pt x="100" y="98"/>
                      </a:lnTo>
                      <a:lnTo>
                        <a:pt x="100" y="94"/>
                      </a:lnTo>
                      <a:lnTo>
                        <a:pt x="96" y="94"/>
                      </a:lnTo>
                      <a:lnTo>
                        <a:pt x="94" y="90"/>
                      </a:lnTo>
                      <a:lnTo>
                        <a:pt x="90" y="90"/>
                      </a:lnTo>
                      <a:lnTo>
                        <a:pt x="90" y="86"/>
                      </a:lnTo>
                      <a:lnTo>
                        <a:pt x="86" y="86"/>
                      </a:lnTo>
                      <a:lnTo>
                        <a:pt x="86" y="90"/>
                      </a:lnTo>
                      <a:lnTo>
                        <a:pt x="86" y="86"/>
                      </a:lnTo>
                      <a:lnTo>
                        <a:pt x="82" y="86"/>
                      </a:lnTo>
                      <a:lnTo>
                        <a:pt x="80" y="82"/>
                      </a:lnTo>
                      <a:lnTo>
                        <a:pt x="76" y="82"/>
                      </a:lnTo>
                      <a:lnTo>
                        <a:pt x="72" y="86"/>
                      </a:lnTo>
                      <a:lnTo>
                        <a:pt x="68" y="86"/>
                      </a:lnTo>
                      <a:lnTo>
                        <a:pt x="64" y="86"/>
                      </a:lnTo>
                      <a:lnTo>
                        <a:pt x="64" y="90"/>
                      </a:lnTo>
                      <a:lnTo>
                        <a:pt x="60" y="90"/>
                      </a:lnTo>
                      <a:lnTo>
                        <a:pt x="56" y="94"/>
                      </a:lnTo>
                      <a:lnTo>
                        <a:pt x="54" y="94"/>
                      </a:lnTo>
                      <a:lnTo>
                        <a:pt x="50" y="94"/>
                      </a:lnTo>
                      <a:lnTo>
                        <a:pt x="46" y="94"/>
                      </a:lnTo>
                      <a:lnTo>
                        <a:pt x="46" y="98"/>
                      </a:lnTo>
                      <a:lnTo>
                        <a:pt x="42" y="98"/>
                      </a:lnTo>
                      <a:lnTo>
                        <a:pt x="38" y="98"/>
                      </a:lnTo>
                      <a:lnTo>
                        <a:pt x="38" y="94"/>
                      </a:lnTo>
                      <a:lnTo>
                        <a:pt x="34" y="94"/>
                      </a:lnTo>
                      <a:lnTo>
                        <a:pt x="30" y="94"/>
                      </a:lnTo>
                      <a:lnTo>
                        <a:pt x="26" y="94"/>
                      </a:lnTo>
                      <a:lnTo>
                        <a:pt x="24" y="94"/>
                      </a:lnTo>
                      <a:lnTo>
                        <a:pt x="20" y="94"/>
                      </a:lnTo>
                      <a:lnTo>
                        <a:pt x="16" y="94"/>
                      </a:lnTo>
                      <a:lnTo>
                        <a:pt x="16" y="90"/>
                      </a:lnTo>
                      <a:lnTo>
                        <a:pt x="16" y="94"/>
                      </a:lnTo>
                      <a:lnTo>
                        <a:pt x="12" y="94"/>
                      </a:lnTo>
                      <a:lnTo>
                        <a:pt x="12" y="90"/>
                      </a:lnTo>
                      <a:lnTo>
                        <a:pt x="8" y="90"/>
                      </a:lnTo>
                      <a:lnTo>
                        <a:pt x="4" y="86"/>
                      </a:lnTo>
                      <a:lnTo>
                        <a:pt x="0" y="82"/>
                      </a:lnTo>
                      <a:lnTo>
                        <a:pt x="0" y="86"/>
                      </a:lnTo>
                      <a:lnTo>
                        <a:pt x="0" y="82"/>
                      </a:lnTo>
                      <a:lnTo>
                        <a:pt x="0" y="78"/>
                      </a:lnTo>
                      <a:lnTo>
                        <a:pt x="4" y="78"/>
                      </a:lnTo>
                      <a:lnTo>
                        <a:pt x="4" y="74"/>
                      </a:lnTo>
                      <a:lnTo>
                        <a:pt x="8" y="72"/>
                      </a:lnTo>
                      <a:lnTo>
                        <a:pt x="12" y="72"/>
                      </a:lnTo>
                      <a:lnTo>
                        <a:pt x="8" y="68"/>
                      </a:lnTo>
                      <a:lnTo>
                        <a:pt x="8" y="64"/>
                      </a:lnTo>
                      <a:lnTo>
                        <a:pt x="8" y="60"/>
                      </a:lnTo>
                      <a:lnTo>
                        <a:pt x="16" y="52"/>
                      </a:lnTo>
                      <a:lnTo>
                        <a:pt x="16" y="48"/>
                      </a:lnTo>
                      <a:lnTo>
                        <a:pt x="20" y="48"/>
                      </a:lnTo>
                      <a:lnTo>
                        <a:pt x="20" y="46"/>
                      </a:lnTo>
                      <a:lnTo>
                        <a:pt x="24" y="46"/>
                      </a:lnTo>
                      <a:lnTo>
                        <a:pt x="24" y="42"/>
                      </a:lnTo>
                      <a:lnTo>
                        <a:pt x="26" y="42"/>
                      </a:lnTo>
                      <a:lnTo>
                        <a:pt x="30" y="42"/>
                      </a:lnTo>
                      <a:lnTo>
                        <a:pt x="26" y="38"/>
                      </a:lnTo>
                      <a:lnTo>
                        <a:pt x="26" y="34"/>
                      </a:lnTo>
                      <a:lnTo>
                        <a:pt x="30" y="34"/>
                      </a:lnTo>
                      <a:lnTo>
                        <a:pt x="26" y="34"/>
                      </a:lnTo>
                      <a:lnTo>
                        <a:pt x="26" y="30"/>
                      </a:lnTo>
                      <a:lnTo>
                        <a:pt x="24" y="26"/>
                      </a:lnTo>
                      <a:lnTo>
                        <a:pt x="24" y="22"/>
                      </a:lnTo>
                      <a:lnTo>
                        <a:pt x="24" y="18"/>
                      </a:lnTo>
                      <a:lnTo>
                        <a:pt x="24" y="16"/>
                      </a:lnTo>
                      <a:lnTo>
                        <a:pt x="26" y="18"/>
                      </a:lnTo>
                      <a:lnTo>
                        <a:pt x="30" y="16"/>
                      </a:lnTo>
                      <a:lnTo>
                        <a:pt x="30" y="12"/>
                      </a:lnTo>
                      <a:lnTo>
                        <a:pt x="34" y="12"/>
                      </a:lnTo>
                      <a:lnTo>
                        <a:pt x="38" y="12"/>
                      </a:lnTo>
                      <a:lnTo>
                        <a:pt x="42" y="12"/>
                      </a:lnTo>
                      <a:lnTo>
                        <a:pt x="46" y="12"/>
                      </a:lnTo>
                      <a:lnTo>
                        <a:pt x="50" y="12"/>
                      </a:lnTo>
                      <a:lnTo>
                        <a:pt x="54" y="12"/>
                      </a:lnTo>
                      <a:lnTo>
                        <a:pt x="56" y="12"/>
                      </a:lnTo>
                      <a:lnTo>
                        <a:pt x="60" y="12"/>
                      </a:lnTo>
                      <a:lnTo>
                        <a:pt x="60" y="16"/>
                      </a:lnTo>
                      <a:lnTo>
                        <a:pt x="64" y="16"/>
                      </a:lnTo>
                      <a:lnTo>
                        <a:pt x="64" y="12"/>
                      </a:lnTo>
                      <a:lnTo>
                        <a:pt x="64" y="16"/>
                      </a:lnTo>
                      <a:lnTo>
                        <a:pt x="68" y="16"/>
                      </a:lnTo>
                      <a:lnTo>
                        <a:pt x="72" y="16"/>
                      </a:lnTo>
                      <a:lnTo>
                        <a:pt x="76" y="18"/>
                      </a:lnTo>
                      <a:lnTo>
                        <a:pt x="80" y="18"/>
                      </a:lnTo>
                      <a:lnTo>
                        <a:pt x="82" y="18"/>
                      </a:lnTo>
                      <a:lnTo>
                        <a:pt x="86" y="18"/>
                      </a:lnTo>
                      <a:lnTo>
                        <a:pt x="86" y="16"/>
                      </a:lnTo>
                      <a:lnTo>
                        <a:pt x="86" y="18"/>
                      </a:lnTo>
                      <a:lnTo>
                        <a:pt x="90" y="18"/>
                      </a:lnTo>
                      <a:lnTo>
                        <a:pt x="94" y="18"/>
                      </a:lnTo>
                      <a:lnTo>
                        <a:pt x="94" y="22"/>
                      </a:lnTo>
                      <a:lnTo>
                        <a:pt x="94" y="18"/>
                      </a:lnTo>
                      <a:lnTo>
                        <a:pt x="96" y="18"/>
                      </a:lnTo>
                      <a:lnTo>
                        <a:pt x="100" y="18"/>
                      </a:lnTo>
                      <a:lnTo>
                        <a:pt x="100" y="22"/>
                      </a:lnTo>
                      <a:lnTo>
                        <a:pt x="104" y="22"/>
                      </a:lnTo>
                      <a:lnTo>
                        <a:pt x="104" y="18"/>
                      </a:lnTo>
                      <a:lnTo>
                        <a:pt x="108" y="18"/>
                      </a:lnTo>
                      <a:lnTo>
                        <a:pt x="108" y="22"/>
                      </a:lnTo>
                      <a:lnTo>
                        <a:pt x="112" y="18"/>
                      </a:lnTo>
                      <a:lnTo>
                        <a:pt x="116" y="18"/>
                      </a:lnTo>
                      <a:lnTo>
                        <a:pt x="116" y="22"/>
                      </a:lnTo>
                      <a:lnTo>
                        <a:pt x="120" y="22"/>
                      </a:lnTo>
                      <a:lnTo>
                        <a:pt x="120" y="26"/>
                      </a:lnTo>
                      <a:lnTo>
                        <a:pt x="120" y="22"/>
                      </a:lnTo>
                      <a:lnTo>
                        <a:pt x="120" y="18"/>
                      </a:lnTo>
                      <a:lnTo>
                        <a:pt x="120" y="16"/>
                      </a:lnTo>
                      <a:lnTo>
                        <a:pt x="120" y="12"/>
                      </a:lnTo>
                      <a:lnTo>
                        <a:pt x="124" y="12"/>
                      </a:lnTo>
                      <a:lnTo>
                        <a:pt x="124" y="8"/>
                      </a:lnTo>
                      <a:lnTo>
                        <a:pt x="126" y="8"/>
                      </a:lnTo>
                      <a:lnTo>
                        <a:pt x="130" y="8"/>
                      </a:lnTo>
                      <a:lnTo>
                        <a:pt x="134" y="8"/>
                      </a:lnTo>
                      <a:lnTo>
                        <a:pt x="138" y="8"/>
                      </a:lnTo>
                      <a:lnTo>
                        <a:pt x="142" y="8"/>
                      </a:lnTo>
                      <a:lnTo>
                        <a:pt x="146" y="8"/>
                      </a:lnTo>
                      <a:lnTo>
                        <a:pt x="146" y="4"/>
                      </a:lnTo>
                      <a:lnTo>
                        <a:pt x="150" y="4"/>
                      </a:lnTo>
                      <a:lnTo>
                        <a:pt x="154" y="4"/>
                      </a:lnTo>
                      <a:lnTo>
                        <a:pt x="156" y="0"/>
                      </a:lnTo>
                      <a:lnTo>
                        <a:pt x="160" y="0"/>
                      </a:lnTo>
                      <a:lnTo>
                        <a:pt x="160" y="4"/>
                      </a:lnTo>
                      <a:lnTo>
                        <a:pt x="164" y="4"/>
                      </a:lnTo>
                      <a:lnTo>
                        <a:pt x="164" y="0"/>
                      </a:lnTo>
                      <a:lnTo>
                        <a:pt x="168" y="4"/>
                      </a:lnTo>
                      <a:lnTo>
                        <a:pt x="168" y="8"/>
                      </a:lnTo>
                      <a:lnTo>
                        <a:pt x="172" y="12"/>
                      </a:lnTo>
                      <a:lnTo>
                        <a:pt x="176" y="16"/>
                      </a:lnTo>
                      <a:lnTo>
                        <a:pt x="172" y="16"/>
                      </a:lnTo>
                      <a:lnTo>
                        <a:pt x="168" y="16"/>
                      </a:lnTo>
                      <a:lnTo>
                        <a:pt x="172" y="18"/>
                      </a:lnTo>
                      <a:lnTo>
                        <a:pt x="172" y="22"/>
                      </a:lnTo>
                      <a:lnTo>
                        <a:pt x="172" y="26"/>
                      </a:lnTo>
                      <a:lnTo>
                        <a:pt x="176" y="26"/>
                      </a:lnTo>
                      <a:lnTo>
                        <a:pt x="180" y="26"/>
                      </a:lnTo>
                      <a:lnTo>
                        <a:pt x="184" y="26"/>
                      </a:lnTo>
                      <a:lnTo>
                        <a:pt x="184" y="30"/>
                      </a:lnTo>
                      <a:lnTo>
                        <a:pt x="186" y="30"/>
                      </a:lnTo>
                      <a:lnTo>
                        <a:pt x="186" y="34"/>
                      </a:lnTo>
                      <a:lnTo>
                        <a:pt x="190" y="34"/>
                      </a:lnTo>
                      <a:lnTo>
                        <a:pt x="190" y="38"/>
                      </a:lnTo>
                      <a:lnTo>
                        <a:pt x="186" y="38"/>
                      </a:lnTo>
                      <a:lnTo>
                        <a:pt x="186" y="42"/>
                      </a:lnTo>
                      <a:lnTo>
                        <a:pt x="190" y="42"/>
                      </a:lnTo>
                      <a:lnTo>
                        <a:pt x="190" y="46"/>
                      </a:lnTo>
                      <a:lnTo>
                        <a:pt x="194" y="46"/>
                      </a:lnTo>
                      <a:lnTo>
                        <a:pt x="194" y="42"/>
                      </a:lnTo>
                      <a:lnTo>
                        <a:pt x="198" y="42"/>
                      </a:lnTo>
                      <a:lnTo>
                        <a:pt x="198" y="46"/>
                      </a:lnTo>
                      <a:lnTo>
                        <a:pt x="202" y="46"/>
                      </a:lnTo>
                      <a:lnTo>
                        <a:pt x="206" y="46"/>
                      </a:lnTo>
                      <a:lnTo>
                        <a:pt x="206" y="48"/>
                      </a:lnTo>
                      <a:lnTo>
                        <a:pt x="206" y="46"/>
                      </a:lnTo>
                      <a:lnTo>
                        <a:pt x="210" y="46"/>
                      </a:lnTo>
                      <a:lnTo>
                        <a:pt x="212" y="46"/>
                      </a:lnTo>
                      <a:lnTo>
                        <a:pt x="216" y="42"/>
                      </a:lnTo>
                      <a:lnTo>
                        <a:pt x="220" y="48"/>
                      </a:lnTo>
                      <a:lnTo>
                        <a:pt x="224" y="48"/>
                      </a:lnTo>
                      <a:lnTo>
                        <a:pt x="224" y="52"/>
                      </a:lnTo>
                      <a:lnTo>
                        <a:pt x="228" y="52"/>
                      </a:lnTo>
                      <a:lnTo>
                        <a:pt x="228" y="48"/>
                      </a:lnTo>
                      <a:lnTo>
                        <a:pt x="232" y="48"/>
                      </a:lnTo>
                      <a:lnTo>
                        <a:pt x="232" y="52"/>
                      </a:lnTo>
                      <a:lnTo>
                        <a:pt x="236" y="52"/>
                      </a:lnTo>
                      <a:lnTo>
                        <a:pt x="240" y="52"/>
                      </a:lnTo>
                      <a:lnTo>
                        <a:pt x="240" y="56"/>
                      </a:lnTo>
                      <a:lnTo>
                        <a:pt x="242" y="52"/>
                      </a:lnTo>
                      <a:lnTo>
                        <a:pt x="242" y="56"/>
                      </a:lnTo>
                      <a:lnTo>
                        <a:pt x="246" y="56"/>
                      </a:lnTo>
                      <a:lnTo>
                        <a:pt x="246" y="60"/>
                      </a:lnTo>
                      <a:lnTo>
                        <a:pt x="250" y="60"/>
                      </a:lnTo>
                      <a:lnTo>
                        <a:pt x="254" y="60"/>
                      </a:lnTo>
                      <a:lnTo>
                        <a:pt x="254" y="64"/>
                      </a:lnTo>
                      <a:lnTo>
                        <a:pt x="254" y="68"/>
                      </a:lnTo>
                      <a:lnTo>
                        <a:pt x="254" y="72"/>
                      </a:lnTo>
                      <a:lnTo>
                        <a:pt x="250" y="72"/>
                      </a:lnTo>
                      <a:lnTo>
                        <a:pt x="250" y="74"/>
                      </a:lnTo>
                      <a:lnTo>
                        <a:pt x="254" y="74"/>
                      </a:lnTo>
                      <a:lnTo>
                        <a:pt x="250" y="74"/>
                      </a:lnTo>
                      <a:lnTo>
                        <a:pt x="250" y="78"/>
                      </a:lnTo>
                      <a:lnTo>
                        <a:pt x="250" y="82"/>
                      </a:lnTo>
                      <a:lnTo>
                        <a:pt x="254" y="86"/>
                      </a:lnTo>
                      <a:lnTo>
                        <a:pt x="254" y="90"/>
                      </a:lnTo>
                      <a:lnTo>
                        <a:pt x="250" y="90"/>
                      </a:lnTo>
                      <a:lnTo>
                        <a:pt x="250" y="94"/>
                      </a:lnTo>
                      <a:lnTo>
                        <a:pt x="250" y="98"/>
                      </a:lnTo>
                      <a:lnTo>
                        <a:pt x="246" y="98"/>
                      </a:lnTo>
                      <a:lnTo>
                        <a:pt x="242" y="98"/>
                      </a:lnTo>
                      <a:lnTo>
                        <a:pt x="240" y="98"/>
                      </a:lnTo>
                      <a:lnTo>
                        <a:pt x="236" y="98"/>
                      </a:lnTo>
                      <a:lnTo>
                        <a:pt x="236" y="102"/>
                      </a:lnTo>
                      <a:lnTo>
                        <a:pt x="232" y="102"/>
                      </a:lnTo>
                      <a:lnTo>
                        <a:pt x="228" y="102"/>
                      </a:lnTo>
                      <a:lnTo>
                        <a:pt x="228" y="104"/>
                      </a:lnTo>
                      <a:lnTo>
                        <a:pt x="228" y="108"/>
                      </a:lnTo>
                      <a:lnTo>
                        <a:pt x="228" y="112"/>
                      </a:lnTo>
                      <a:lnTo>
                        <a:pt x="224" y="112"/>
                      </a:lnTo>
                      <a:lnTo>
                        <a:pt x="220" y="112"/>
                      </a:lnTo>
                      <a:lnTo>
                        <a:pt x="216" y="112"/>
                      </a:lnTo>
                      <a:lnTo>
                        <a:pt x="216" y="116"/>
                      </a:lnTo>
                      <a:lnTo>
                        <a:pt x="212" y="116"/>
                      </a:lnTo>
                      <a:lnTo>
                        <a:pt x="210" y="116"/>
                      </a:lnTo>
                      <a:lnTo>
                        <a:pt x="210" y="120"/>
                      </a:lnTo>
                      <a:lnTo>
                        <a:pt x="206" y="120"/>
                      </a:lnTo>
                      <a:lnTo>
                        <a:pt x="206" y="116"/>
                      </a:lnTo>
                      <a:lnTo>
                        <a:pt x="206" y="120"/>
                      </a:lnTo>
                      <a:lnTo>
                        <a:pt x="202" y="120"/>
                      </a:lnTo>
                      <a:lnTo>
                        <a:pt x="198" y="120"/>
                      </a:lnTo>
                      <a:lnTo>
                        <a:pt x="194" y="120"/>
                      </a:lnTo>
                      <a:lnTo>
                        <a:pt x="194" y="124"/>
                      </a:lnTo>
                      <a:lnTo>
                        <a:pt x="190" y="124"/>
                      </a:lnTo>
                      <a:lnTo>
                        <a:pt x="186" y="128"/>
                      </a:lnTo>
                      <a:lnTo>
                        <a:pt x="186" y="130"/>
                      </a:lnTo>
                      <a:lnTo>
                        <a:pt x="184" y="130"/>
                      </a:lnTo>
                      <a:lnTo>
                        <a:pt x="186" y="130"/>
                      </a:lnTo>
                      <a:lnTo>
                        <a:pt x="186" y="128"/>
                      </a:lnTo>
                      <a:lnTo>
                        <a:pt x="186" y="124"/>
                      </a:lnTo>
                      <a:lnTo>
                        <a:pt x="186" y="128"/>
                      </a:lnTo>
                      <a:lnTo>
                        <a:pt x="184" y="128"/>
                      </a:lnTo>
                      <a:lnTo>
                        <a:pt x="180" y="130"/>
                      </a:lnTo>
                      <a:lnTo>
                        <a:pt x="176" y="130"/>
                      </a:lnTo>
                      <a:lnTo>
                        <a:pt x="176" y="134"/>
                      </a:lnTo>
                      <a:lnTo>
                        <a:pt x="176" y="130"/>
                      </a:lnTo>
                      <a:lnTo>
                        <a:pt x="172" y="130"/>
                      </a:lnTo>
                      <a:lnTo>
                        <a:pt x="172" y="128"/>
                      </a:lnTo>
                      <a:lnTo>
                        <a:pt x="172" y="130"/>
                      </a:lnTo>
                      <a:lnTo>
                        <a:pt x="168" y="130"/>
                      </a:lnTo>
                      <a:lnTo>
                        <a:pt x="172" y="130"/>
                      </a:lnTo>
                      <a:lnTo>
                        <a:pt x="168" y="130"/>
                      </a:lnTo>
                      <a:lnTo>
                        <a:pt x="164" y="128"/>
                      </a:lnTo>
                      <a:lnTo>
                        <a:pt x="164" y="130"/>
                      </a:lnTo>
                      <a:lnTo>
                        <a:pt x="168" y="130"/>
                      </a:lnTo>
                      <a:lnTo>
                        <a:pt x="168" y="134"/>
                      </a:lnTo>
                      <a:lnTo>
                        <a:pt x="168" y="130"/>
                      </a:lnTo>
                      <a:lnTo>
                        <a:pt x="168" y="134"/>
                      </a:lnTo>
                      <a:lnTo>
                        <a:pt x="172" y="134"/>
                      </a:lnTo>
                      <a:lnTo>
                        <a:pt x="176" y="134"/>
                      </a:lnTo>
                      <a:lnTo>
                        <a:pt x="172" y="134"/>
                      </a:lnTo>
                      <a:lnTo>
                        <a:pt x="176" y="134"/>
                      </a:lnTo>
                      <a:lnTo>
                        <a:pt x="176" y="138"/>
                      </a:lnTo>
                      <a:lnTo>
                        <a:pt x="180" y="138"/>
                      </a:lnTo>
                      <a:lnTo>
                        <a:pt x="180" y="142"/>
                      </a:lnTo>
                      <a:lnTo>
                        <a:pt x="184" y="142"/>
                      </a:lnTo>
                      <a:lnTo>
                        <a:pt x="184" y="146"/>
                      </a:lnTo>
                      <a:lnTo>
                        <a:pt x="186" y="150"/>
                      </a:lnTo>
                      <a:lnTo>
                        <a:pt x="186" y="146"/>
                      </a:lnTo>
                      <a:lnTo>
                        <a:pt x="184" y="142"/>
                      </a:lnTo>
                      <a:lnTo>
                        <a:pt x="184" y="138"/>
                      </a:lnTo>
                      <a:lnTo>
                        <a:pt x="180" y="138"/>
                      </a:lnTo>
                      <a:lnTo>
                        <a:pt x="180" y="134"/>
                      </a:lnTo>
                      <a:lnTo>
                        <a:pt x="180" y="130"/>
                      </a:lnTo>
                      <a:lnTo>
                        <a:pt x="180" y="134"/>
                      </a:lnTo>
                      <a:lnTo>
                        <a:pt x="184" y="138"/>
                      </a:lnTo>
                      <a:lnTo>
                        <a:pt x="184" y="142"/>
                      </a:lnTo>
                      <a:lnTo>
                        <a:pt x="186" y="146"/>
                      </a:lnTo>
                      <a:lnTo>
                        <a:pt x="190" y="146"/>
                      </a:lnTo>
                      <a:lnTo>
                        <a:pt x="190" y="150"/>
                      </a:lnTo>
                      <a:lnTo>
                        <a:pt x="190" y="146"/>
                      </a:lnTo>
                      <a:lnTo>
                        <a:pt x="194" y="146"/>
                      </a:lnTo>
                      <a:lnTo>
                        <a:pt x="198" y="146"/>
                      </a:lnTo>
                      <a:lnTo>
                        <a:pt x="202" y="146"/>
                      </a:lnTo>
                      <a:lnTo>
                        <a:pt x="206" y="146"/>
                      </a:lnTo>
                      <a:lnTo>
                        <a:pt x="202" y="146"/>
                      </a:lnTo>
                      <a:lnTo>
                        <a:pt x="202" y="150"/>
                      </a:lnTo>
                      <a:lnTo>
                        <a:pt x="202" y="154"/>
                      </a:lnTo>
                      <a:lnTo>
                        <a:pt x="198" y="154"/>
                      </a:lnTo>
                      <a:lnTo>
                        <a:pt x="194" y="154"/>
                      </a:lnTo>
                      <a:lnTo>
                        <a:pt x="190" y="154"/>
                      </a:lnTo>
                      <a:lnTo>
                        <a:pt x="190" y="150"/>
                      </a:lnTo>
                      <a:lnTo>
                        <a:pt x="186" y="154"/>
                      </a:lnTo>
                      <a:lnTo>
                        <a:pt x="184" y="158"/>
                      </a:lnTo>
                      <a:lnTo>
                        <a:pt x="180" y="158"/>
                      </a:lnTo>
                      <a:lnTo>
                        <a:pt x="176" y="158"/>
                      </a:lnTo>
                      <a:lnTo>
                        <a:pt x="176" y="160"/>
                      </a:lnTo>
                      <a:lnTo>
                        <a:pt x="172" y="160"/>
                      </a:lnTo>
                      <a:lnTo>
                        <a:pt x="172" y="164"/>
                      </a:lnTo>
                      <a:lnTo>
                        <a:pt x="168" y="164"/>
                      </a:lnTo>
                      <a:lnTo>
                        <a:pt x="164" y="164"/>
                      </a:lnTo>
                      <a:lnTo>
                        <a:pt x="160" y="164"/>
                      </a:lnTo>
                      <a:lnTo>
                        <a:pt x="160" y="160"/>
                      </a:lnTo>
                      <a:lnTo>
                        <a:pt x="160" y="158"/>
                      </a:lnTo>
                      <a:lnTo>
                        <a:pt x="164" y="158"/>
                      </a:lnTo>
                      <a:lnTo>
                        <a:pt x="164" y="154"/>
                      </a:lnTo>
                      <a:lnTo>
                        <a:pt x="160" y="154"/>
                      </a:lnTo>
                      <a:lnTo>
                        <a:pt x="160" y="150"/>
                      </a:lnTo>
                      <a:lnTo>
                        <a:pt x="156" y="150"/>
                      </a:lnTo>
                      <a:lnTo>
                        <a:pt x="154" y="146"/>
                      </a:lnTo>
                      <a:lnTo>
                        <a:pt x="150" y="146"/>
                      </a:lnTo>
                      <a:lnTo>
                        <a:pt x="146" y="146"/>
                      </a:lnTo>
                      <a:lnTo>
                        <a:pt x="150" y="142"/>
                      </a:lnTo>
                      <a:lnTo>
                        <a:pt x="154" y="142"/>
                      </a:lnTo>
                      <a:lnTo>
                        <a:pt x="154" y="138"/>
                      </a:lnTo>
                      <a:lnTo>
                        <a:pt x="156" y="138"/>
                      </a:lnTo>
                      <a:lnTo>
                        <a:pt x="160" y="138"/>
                      </a:lnTo>
                      <a:lnTo>
                        <a:pt x="160" y="134"/>
                      </a:lnTo>
                      <a:lnTo>
                        <a:pt x="164" y="134"/>
                      </a:lnTo>
                      <a:lnTo>
                        <a:pt x="164" y="130"/>
                      </a:lnTo>
                      <a:lnTo>
                        <a:pt x="160" y="130"/>
                      </a:lnTo>
                      <a:lnTo>
                        <a:pt x="156" y="130"/>
                      </a:lnTo>
                      <a:lnTo>
                        <a:pt x="154" y="130"/>
                      </a:lnTo>
                      <a:lnTo>
                        <a:pt x="150" y="130"/>
                      </a:lnTo>
                      <a:lnTo>
                        <a:pt x="146" y="130"/>
                      </a:lnTo>
                      <a:lnTo>
                        <a:pt x="142" y="130"/>
                      </a:lnTo>
                      <a:lnTo>
                        <a:pt x="142" y="128"/>
                      </a:lnTo>
                      <a:lnTo>
                        <a:pt x="138" y="128"/>
                      </a:lnTo>
                      <a:lnTo>
                        <a:pt x="142" y="128"/>
                      </a:lnTo>
                      <a:lnTo>
                        <a:pt x="138" y="124"/>
                      </a:lnTo>
                      <a:lnTo>
                        <a:pt x="134" y="124"/>
                      </a:lnTo>
                      <a:lnTo>
                        <a:pt x="138" y="124"/>
                      </a:lnTo>
                      <a:lnTo>
                        <a:pt x="142" y="124"/>
                      </a:lnTo>
                      <a:lnTo>
                        <a:pt x="146" y="124"/>
                      </a:lnTo>
                      <a:lnTo>
                        <a:pt x="150" y="120"/>
                      </a:lnTo>
                      <a:lnTo>
                        <a:pt x="146" y="120"/>
                      </a:lnTo>
                      <a:lnTo>
                        <a:pt x="146" y="124"/>
                      </a:lnTo>
                      <a:lnTo>
                        <a:pt x="142" y="120"/>
                      </a:lnTo>
                      <a:lnTo>
                        <a:pt x="142" y="124"/>
                      </a:lnTo>
                      <a:lnTo>
                        <a:pt x="138" y="120"/>
                      </a:lnTo>
                      <a:lnTo>
                        <a:pt x="138" y="116"/>
                      </a:lnTo>
                      <a:lnTo>
                        <a:pt x="138" y="112"/>
                      </a:lnTo>
                      <a:lnTo>
                        <a:pt x="138" y="108"/>
                      </a:lnTo>
                      <a:lnTo>
                        <a:pt x="134" y="108"/>
                      </a:lnTo>
                      <a:lnTo>
                        <a:pt x="138" y="108"/>
                      </a:lnTo>
                      <a:lnTo>
                        <a:pt x="138" y="112"/>
                      </a:lnTo>
                      <a:lnTo>
                        <a:pt x="138" y="116"/>
                      </a:lnTo>
                      <a:lnTo>
                        <a:pt x="138" y="120"/>
                      </a:lnTo>
                      <a:lnTo>
                        <a:pt x="134" y="120"/>
                      </a:lnTo>
                      <a:lnTo>
                        <a:pt x="130" y="120"/>
                      </a:lnTo>
                      <a:lnTo>
                        <a:pt x="134" y="120"/>
                      </a:lnTo>
                      <a:lnTo>
                        <a:pt x="134" y="116"/>
                      </a:lnTo>
                      <a:lnTo>
                        <a:pt x="134" y="120"/>
                      </a:lnTo>
                      <a:lnTo>
                        <a:pt x="130" y="120"/>
                      </a:lnTo>
                      <a:lnTo>
                        <a:pt x="126" y="120"/>
                      </a:lnTo>
                      <a:lnTo>
                        <a:pt x="124" y="124"/>
                      </a:lnTo>
                      <a:lnTo>
                        <a:pt x="124" y="128"/>
                      </a:lnTo>
                      <a:lnTo>
                        <a:pt x="120" y="128"/>
                      </a:lnTo>
                      <a:lnTo>
                        <a:pt x="120" y="130"/>
                      </a:lnTo>
                      <a:lnTo>
                        <a:pt x="116" y="134"/>
                      </a:lnTo>
                      <a:lnTo>
                        <a:pt x="112" y="138"/>
                      </a:lnTo>
                      <a:lnTo>
                        <a:pt x="108" y="138"/>
                      </a:lnTo>
                      <a:lnTo>
                        <a:pt x="108" y="142"/>
                      </a:lnTo>
                      <a:lnTo>
                        <a:pt x="108" y="138"/>
                      </a:lnTo>
                      <a:lnTo>
                        <a:pt x="104" y="138"/>
                      </a:lnTo>
                      <a:lnTo>
                        <a:pt x="104" y="142"/>
                      </a:lnTo>
                      <a:lnTo>
                        <a:pt x="108" y="146"/>
                      </a:lnTo>
                      <a:lnTo>
                        <a:pt x="108" y="150"/>
                      </a:lnTo>
                      <a:lnTo>
                        <a:pt x="108" y="146"/>
                      </a:lnTo>
                      <a:lnTo>
                        <a:pt x="104" y="146"/>
                      </a:lnTo>
                      <a:lnTo>
                        <a:pt x="100" y="146"/>
                      </a:lnTo>
                      <a:lnTo>
                        <a:pt x="96" y="146"/>
                      </a:lnTo>
                      <a:lnTo>
                        <a:pt x="94" y="146"/>
                      </a:lnTo>
                      <a:lnTo>
                        <a:pt x="94" y="150"/>
                      </a:lnTo>
                      <a:lnTo>
                        <a:pt x="90" y="150"/>
                      </a:lnTo>
                      <a:lnTo>
                        <a:pt x="90" y="146"/>
                      </a:lnTo>
                      <a:lnTo>
                        <a:pt x="86" y="146"/>
                      </a:lnTo>
                      <a:lnTo>
                        <a:pt x="86" y="146"/>
                      </a:lnTo>
                      <a:lnTo>
                        <a:pt x="86" y="146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3" name="Freeform 186"/>
                <p:cNvSpPr>
                  <a:spLocks/>
                </p:cNvSpPr>
                <p:nvPr/>
              </p:nvSpPr>
              <p:spPr bwMode="auto">
                <a:xfrm>
                  <a:off x="2565400" y="4562543"/>
                  <a:ext cx="285750" cy="498475"/>
                </a:xfrm>
                <a:custGeom>
                  <a:avLst/>
                  <a:gdLst>
                    <a:gd name="T0" fmla="*/ 166 w 180"/>
                    <a:gd name="T1" fmla="*/ 310 h 314"/>
                    <a:gd name="T2" fmla="*/ 154 w 180"/>
                    <a:gd name="T3" fmla="*/ 310 h 314"/>
                    <a:gd name="T4" fmla="*/ 142 w 180"/>
                    <a:gd name="T5" fmla="*/ 298 h 314"/>
                    <a:gd name="T6" fmla="*/ 132 w 180"/>
                    <a:gd name="T7" fmla="*/ 290 h 314"/>
                    <a:gd name="T8" fmla="*/ 120 w 180"/>
                    <a:gd name="T9" fmla="*/ 284 h 314"/>
                    <a:gd name="T10" fmla="*/ 106 w 180"/>
                    <a:gd name="T11" fmla="*/ 276 h 314"/>
                    <a:gd name="T12" fmla="*/ 94 w 180"/>
                    <a:gd name="T13" fmla="*/ 264 h 314"/>
                    <a:gd name="T14" fmla="*/ 82 w 180"/>
                    <a:gd name="T15" fmla="*/ 254 h 314"/>
                    <a:gd name="T16" fmla="*/ 76 w 180"/>
                    <a:gd name="T17" fmla="*/ 238 h 314"/>
                    <a:gd name="T18" fmla="*/ 76 w 180"/>
                    <a:gd name="T19" fmla="*/ 230 h 314"/>
                    <a:gd name="T20" fmla="*/ 68 w 180"/>
                    <a:gd name="T21" fmla="*/ 212 h 314"/>
                    <a:gd name="T22" fmla="*/ 60 w 180"/>
                    <a:gd name="T23" fmla="*/ 200 h 314"/>
                    <a:gd name="T24" fmla="*/ 54 w 180"/>
                    <a:gd name="T25" fmla="*/ 186 h 314"/>
                    <a:gd name="T26" fmla="*/ 46 w 180"/>
                    <a:gd name="T27" fmla="*/ 168 h 314"/>
                    <a:gd name="T28" fmla="*/ 38 w 180"/>
                    <a:gd name="T29" fmla="*/ 152 h 314"/>
                    <a:gd name="T30" fmla="*/ 34 w 180"/>
                    <a:gd name="T31" fmla="*/ 138 h 314"/>
                    <a:gd name="T32" fmla="*/ 26 w 180"/>
                    <a:gd name="T33" fmla="*/ 126 h 314"/>
                    <a:gd name="T34" fmla="*/ 20 w 180"/>
                    <a:gd name="T35" fmla="*/ 114 h 314"/>
                    <a:gd name="T36" fmla="*/ 12 w 180"/>
                    <a:gd name="T37" fmla="*/ 104 h 314"/>
                    <a:gd name="T38" fmla="*/ 8 w 180"/>
                    <a:gd name="T39" fmla="*/ 96 h 314"/>
                    <a:gd name="T40" fmla="*/ 4 w 180"/>
                    <a:gd name="T41" fmla="*/ 82 h 314"/>
                    <a:gd name="T42" fmla="*/ 4 w 180"/>
                    <a:gd name="T43" fmla="*/ 66 h 314"/>
                    <a:gd name="T44" fmla="*/ 16 w 180"/>
                    <a:gd name="T45" fmla="*/ 56 h 314"/>
                    <a:gd name="T46" fmla="*/ 16 w 180"/>
                    <a:gd name="T47" fmla="*/ 74 h 314"/>
                    <a:gd name="T48" fmla="*/ 26 w 180"/>
                    <a:gd name="T49" fmla="*/ 74 h 314"/>
                    <a:gd name="T50" fmla="*/ 38 w 180"/>
                    <a:gd name="T51" fmla="*/ 78 h 314"/>
                    <a:gd name="T52" fmla="*/ 42 w 180"/>
                    <a:gd name="T53" fmla="*/ 70 h 314"/>
                    <a:gd name="T54" fmla="*/ 46 w 180"/>
                    <a:gd name="T55" fmla="*/ 56 h 314"/>
                    <a:gd name="T56" fmla="*/ 50 w 180"/>
                    <a:gd name="T57" fmla="*/ 48 h 314"/>
                    <a:gd name="T58" fmla="*/ 68 w 180"/>
                    <a:gd name="T59" fmla="*/ 42 h 314"/>
                    <a:gd name="T60" fmla="*/ 82 w 180"/>
                    <a:gd name="T61" fmla="*/ 26 h 314"/>
                    <a:gd name="T62" fmla="*/ 86 w 180"/>
                    <a:gd name="T63" fmla="*/ 12 h 314"/>
                    <a:gd name="T64" fmla="*/ 90 w 180"/>
                    <a:gd name="T65" fmla="*/ 0 h 314"/>
                    <a:gd name="T66" fmla="*/ 98 w 180"/>
                    <a:gd name="T67" fmla="*/ 4 h 314"/>
                    <a:gd name="T68" fmla="*/ 110 w 180"/>
                    <a:gd name="T69" fmla="*/ 18 h 314"/>
                    <a:gd name="T70" fmla="*/ 120 w 180"/>
                    <a:gd name="T71" fmla="*/ 30 h 314"/>
                    <a:gd name="T72" fmla="*/ 120 w 180"/>
                    <a:gd name="T73" fmla="*/ 42 h 314"/>
                    <a:gd name="T74" fmla="*/ 132 w 180"/>
                    <a:gd name="T75" fmla="*/ 42 h 314"/>
                    <a:gd name="T76" fmla="*/ 142 w 180"/>
                    <a:gd name="T77" fmla="*/ 38 h 314"/>
                    <a:gd name="T78" fmla="*/ 158 w 180"/>
                    <a:gd name="T79" fmla="*/ 42 h 314"/>
                    <a:gd name="T80" fmla="*/ 154 w 180"/>
                    <a:gd name="T81" fmla="*/ 62 h 314"/>
                    <a:gd name="T82" fmla="*/ 162 w 180"/>
                    <a:gd name="T83" fmla="*/ 70 h 314"/>
                    <a:gd name="T84" fmla="*/ 150 w 180"/>
                    <a:gd name="T85" fmla="*/ 70 h 314"/>
                    <a:gd name="T86" fmla="*/ 140 w 180"/>
                    <a:gd name="T87" fmla="*/ 74 h 314"/>
                    <a:gd name="T88" fmla="*/ 128 w 180"/>
                    <a:gd name="T89" fmla="*/ 82 h 314"/>
                    <a:gd name="T90" fmla="*/ 120 w 180"/>
                    <a:gd name="T91" fmla="*/ 96 h 314"/>
                    <a:gd name="T92" fmla="*/ 116 w 180"/>
                    <a:gd name="T93" fmla="*/ 108 h 314"/>
                    <a:gd name="T94" fmla="*/ 110 w 180"/>
                    <a:gd name="T95" fmla="*/ 122 h 314"/>
                    <a:gd name="T96" fmla="*/ 112 w 180"/>
                    <a:gd name="T97" fmla="*/ 134 h 314"/>
                    <a:gd name="T98" fmla="*/ 120 w 180"/>
                    <a:gd name="T99" fmla="*/ 148 h 314"/>
                    <a:gd name="T100" fmla="*/ 120 w 180"/>
                    <a:gd name="T101" fmla="*/ 160 h 314"/>
                    <a:gd name="T102" fmla="*/ 132 w 180"/>
                    <a:gd name="T103" fmla="*/ 168 h 314"/>
                    <a:gd name="T104" fmla="*/ 150 w 180"/>
                    <a:gd name="T105" fmla="*/ 168 h 314"/>
                    <a:gd name="T106" fmla="*/ 154 w 180"/>
                    <a:gd name="T107" fmla="*/ 172 h 314"/>
                    <a:gd name="T108" fmla="*/ 158 w 180"/>
                    <a:gd name="T109" fmla="*/ 186 h 314"/>
                    <a:gd name="T110" fmla="*/ 172 w 180"/>
                    <a:gd name="T111" fmla="*/ 194 h 314"/>
                    <a:gd name="T112" fmla="*/ 180 w 180"/>
                    <a:gd name="T113" fmla="*/ 208 h 314"/>
                    <a:gd name="T114" fmla="*/ 176 w 180"/>
                    <a:gd name="T115" fmla="*/ 224 h 314"/>
                    <a:gd name="T116" fmla="*/ 180 w 180"/>
                    <a:gd name="T117" fmla="*/ 238 h 314"/>
                    <a:gd name="T118" fmla="*/ 172 w 180"/>
                    <a:gd name="T119" fmla="*/ 254 h 314"/>
                    <a:gd name="T120" fmla="*/ 172 w 180"/>
                    <a:gd name="T121" fmla="*/ 264 h 314"/>
                    <a:gd name="T122" fmla="*/ 176 w 180"/>
                    <a:gd name="T123" fmla="*/ 280 h 314"/>
                    <a:gd name="T124" fmla="*/ 168 w 180"/>
                    <a:gd name="T125" fmla="*/ 290 h 3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80" h="314">
                      <a:moveTo>
                        <a:pt x="168" y="298"/>
                      </a:moveTo>
                      <a:lnTo>
                        <a:pt x="168" y="302"/>
                      </a:lnTo>
                      <a:lnTo>
                        <a:pt x="166" y="302"/>
                      </a:lnTo>
                      <a:lnTo>
                        <a:pt x="166" y="306"/>
                      </a:lnTo>
                      <a:lnTo>
                        <a:pt x="166" y="310"/>
                      </a:lnTo>
                      <a:lnTo>
                        <a:pt x="166" y="314"/>
                      </a:lnTo>
                      <a:lnTo>
                        <a:pt x="162" y="314"/>
                      </a:lnTo>
                      <a:lnTo>
                        <a:pt x="158" y="314"/>
                      </a:lnTo>
                      <a:lnTo>
                        <a:pt x="154" y="314"/>
                      </a:lnTo>
                      <a:lnTo>
                        <a:pt x="154" y="310"/>
                      </a:lnTo>
                      <a:lnTo>
                        <a:pt x="150" y="310"/>
                      </a:lnTo>
                      <a:lnTo>
                        <a:pt x="150" y="306"/>
                      </a:lnTo>
                      <a:lnTo>
                        <a:pt x="146" y="306"/>
                      </a:lnTo>
                      <a:lnTo>
                        <a:pt x="142" y="302"/>
                      </a:lnTo>
                      <a:lnTo>
                        <a:pt x="142" y="298"/>
                      </a:lnTo>
                      <a:lnTo>
                        <a:pt x="142" y="294"/>
                      </a:lnTo>
                      <a:lnTo>
                        <a:pt x="140" y="294"/>
                      </a:lnTo>
                      <a:lnTo>
                        <a:pt x="136" y="294"/>
                      </a:lnTo>
                      <a:lnTo>
                        <a:pt x="136" y="290"/>
                      </a:lnTo>
                      <a:lnTo>
                        <a:pt x="132" y="290"/>
                      </a:lnTo>
                      <a:lnTo>
                        <a:pt x="132" y="286"/>
                      </a:lnTo>
                      <a:lnTo>
                        <a:pt x="128" y="286"/>
                      </a:lnTo>
                      <a:lnTo>
                        <a:pt x="128" y="284"/>
                      </a:lnTo>
                      <a:lnTo>
                        <a:pt x="124" y="284"/>
                      </a:lnTo>
                      <a:lnTo>
                        <a:pt x="120" y="284"/>
                      </a:lnTo>
                      <a:lnTo>
                        <a:pt x="116" y="280"/>
                      </a:lnTo>
                      <a:lnTo>
                        <a:pt x="112" y="280"/>
                      </a:lnTo>
                      <a:lnTo>
                        <a:pt x="112" y="276"/>
                      </a:lnTo>
                      <a:lnTo>
                        <a:pt x="110" y="276"/>
                      </a:lnTo>
                      <a:lnTo>
                        <a:pt x="106" y="276"/>
                      </a:lnTo>
                      <a:lnTo>
                        <a:pt x="106" y="272"/>
                      </a:lnTo>
                      <a:lnTo>
                        <a:pt x="102" y="272"/>
                      </a:lnTo>
                      <a:lnTo>
                        <a:pt x="102" y="268"/>
                      </a:lnTo>
                      <a:lnTo>
                        <a:pt x="98" y="268"/>
                      </a:lnTo>
                      <a:lnTo>
                        <a:pt x="94" y="264"/>
                      </a:lnTo>
                      <a:lnTo>
                        <a:pt x="90" y="264"/>
                      </a:lnTo>
                      <a:lnTo>
                        <a:pt x="90" y="260"/>
                      </a:lnTo>
                      <a:lnTo>
                        <a:pt x="86" y="260"/>
                      </a:lnTo>
                      <a:lnTo>
                        <a:pt x="86" y="256"/>
                      </a:lnTo>
                      <a:lnTo>
                        <a:pt x="82" y="254"/>
                      </a:lnTo>
                      <a:lnTo>
                        <a:pt x="80" y="250"/>
                      </a:lnTo>
                      <a:lnTo>
                        <a:pt x="80" y="246"/>
                      </a:lnTo>
                      <a:lnTo>
                        <a:pt x="76" y="246"/>
                      </a:lnTo>
                      <a:lnTo>
                        <a:pt x="76" y="242"/>
                      </a:lnTo>
                      <a:lnTo>
                        <a:pt x="76" y="238"/>
                      </a:lnTo>
                      <a:lnTo>
                        <a:pt x="72" y="234"/>
                      </a:lnTo>
                      <a:lnTo>
                        <a:pt x="72" y="238"/>
                      </a:lnTo>
                      <a:lnTo>
                        <a:pt x="72" y="234"/>
                      </a:lnTo>
                      <a:lnTo>
                        <a:pt x="76" y="234"/>
                      </a:lnTo>
                      <a:lnTo>
                        <a:pt x="76" y="230"/>
                      </a:lnTo>
                      <a:lnTo>
                        <a:pt x="76" y="228"/>
                      </a:lnTo>
                      <a:lnTo>
                        <a:pt x="72" y="224"/>
                      </a:lnTo>
                      <a:lnTo>
                        <a:pt x="72" y="220"/>
                      </a:lnTo>
                      <a:lnTo>
                        <a:pt x="68" y="216"/>
                      </a:lnTo>
                      <a:lnTo>
                        <a:pt x="68" y="212"/>
                      </a:lnTo>
                      <a:lnTo>
                        <a:pt x="68" y="208"/>
                      </a:lnTo>
                      <a:lnTo>
                        <a:pt x="64" y="208"/>
                      </a:lnTo>
                      <a:lnTo>
                        <a:pt x="64" y="204"/>
                      </a:lnTo>
                      <a:lnTo>
                        <a:pt x="60" y="204"/>
                      </a:lnTo>
                      <a:lnTo>
                        <a:pt x="60" y="200"/>
                      </a:lnTo>
                      <a:lnTo>
                        <a:pt x="60" y="198"/>
                      </a:lnTo>
                      <a:lnTo>
                        <a:pt x="60" y="194"/>
                      </a:lnTo>
                      <a:lnTo>
                        <a:pt x="56" y="194"/>
                      </a:lnTo>
                      <a:lnTo>
                        <a:pt x="54" y="190"/>
                      </a:lnTo>
                      <a:lnTo>
                        <a:pt x="54" y="186"/>
                      </a:lnTo>
                      <a:lnTo>
                        <a:pt x="54" y="182"/>
                      </a:lnTo>
                      <a:lnTo>
                        <a:pt x="50" y="178"/>
                      </a:lnTo>
                      <a:lnTo>
                        <a:pt x="50" y="174"/>
                      </a:lnTo>
                      <a:lnTo>
                        <a:pt x="46" y="172"/>
                      </a:lnTo>
                      <a:lnTo>
                        <a:pt x="46" y="168"/>
                      </a:lnTo>
                      <a:lnTo>
                        <a:pt x="46" y="164"/>
                      </a:lnTo>
                      <a:lnTo>
                        <a:pt x="42" y="160"/>
                      </a:lnTo>
                      <a:lnTo>
                        <a:pt x="42" y="156"/>
                      </a:lnTo>
                      <a:lnTo>
                        <a:pt x="42" y="152"/>
                      </a:lnTo>
                      <a:lnTo>
                        <a:pt x="38" y="152"/>
                      </a:lnTo>
                      <a:lnTo>
                        <a:pt x="38" y="148"/>
                      </a:lnTo>
                      <a:lnTo>
                        <a:pt x="38" y="144"/>
                      </a:lnTo>
                      <a:lnTo>
                        <a:pt x="34" y="142"/>
                      </a:lnTo>
                      <a:lnTo>
                        <a:pt x="38" y="142"/>
                      </a:lnTo>
                      <a:lnTo>
                        <a:pt x="34" y="138"/>
                      </a:lnTo>
                      <a:lnTo>
                        <a:pt x="34" y="134"/>
                      </a:lnTo>
                      <a:lnTo>
                        <a:pt x="30" y="134"/>
                      </a:lnTo>
                      <a:lnTo>
                        <a:pt x="30" y="130"/>
                      </a:lnTo>
                      <a:lnTo>
                        <a:pt x="26" y="130"/>
                      </a:lnTo>
                      <a:lnTo>
                        <a:pt x="26" y="126"/>
                      </a:lnTo>
                      <a:lnTo>
                        <a:pt x="26" y="122"/>
                      </a:lnTo>
                      <a:lnTo>
                        <a:pt x="26" y="118"/>
                      </a:lnTo>
                      <a:lnTo>
                        <a:pt x="24" y="118"/>
                      </a:lnTo>
                      <a:lnTo>
                        <a:pt x="24" y="114"/>
                      </a:lnTo>
                      <a:lnTo>
                        <a:pt x="20" y="114"/>
                      </a:lnTo>
                      <a:lnTo>
                        <a:pt x="20" y="112"/>
                      </a:lnTo>
                      <a:lnTo>
                        <a:pt x="16" y="112"/>
                      </a:lnTo>
                      <a:lnTo>
                        <a:pt x="16" y="108"/>
                      </a:lnTo>
                      <a:lnTo>
                        <a:pt x="12" y="108"/>
                      </a:lnTo>
                      <a:lnTo>
                        <a:pt x="12" y="104"/>
                      </a:lnTo>
                      <a:lnTo>
                        <a:pt x="8" y="104"/>
                      </a:lnTo>
                      <a:lnTo>
                        <a:pt x="4" y="104"/>
                      </a:lnTo>
                      <a:lnTo>
                        <a:pt x="4" y="100"/>
                      </a:lnTo>
                      <a:lnTo>
                        <a:pt x="4" y="96"/>
                      </a:lnTo>
                      <a:lnTo>
                        <a:pt x="8" y="96"/>
                      </a:lnTo>
                      <a:lnTo>
                        <a:pt x="8" y="92"/>
                      </a:lnTo>
                      <a:lnTo>
                        <a:pt x="8" y="88"/>
                      </a:lnTo>
                      <a:lnTo>
                        <a:pt x="4" y="88"/>
                      </a:lnTo>
                      <a:lnTo>
                        <a:pt x="4" y="86"/>
                      </a:lnTo>
                      <a:lnTo>
                        <a:pt x="4" y="82"/>
                      </a:lnTo>
                      <a:lnTo>
                        <a:pt x="0" y="78"/>
                      </a:lnTo>
                      <a:lnTo>
                        <a:pt x="0" y="74"/>
                      </a:lnTo>
                      <a:lnTo>
                        <a:pt x="4" y="74"/>
                      </a:lnTo>
                      <a:lnTo>
                        <a:pt x="4" y="70"/>
                      </a:lnTo>
                      <a:lnTo>
                        <a:pt x="4" y="66"/>
                      </a:lnTo>
                      <a:lnTo>
                        <a:pt x="8" y="66"/>
                      </a:lnTo>
                      <a:lnTo>
                        <a:pt x="8" y="62"/>
                      </a:lnTo>
                      <a:lnTo>
                        <a:pt x="12" y="58"/>
                      </a:lnTo>
                      <a:lnTo>
                        <a:pt x="16" y="58"/>
                      </a:lnTo>
                      <a:lnTo>
                        <a:pt x="16" y="56"/>
                      </a:lnTo>
                      <a:lnTo>
                        <a:pt x="20" y="58"/>
                      </a:lnTo>
                      <a:lnTo>
                        <a:pt x="20" y="62"/>
                      </a:lnTo>
                      <a:lnTo>
                        <a:pt x="16" y="66"/>
                      </a:lnTo>
                      <a:lnTo>
                        <a:pt x="16" y="70"/>
                      </a:lnTo>
                      <a:lnTo>
                        <a:pt x="16" y="74"/>
                      </a:lnTo>
                      <a:lnTo>
                        <a:pt x="20" y="74"/>
                      </a:lnTo>
                      <a:lnTo>
                        <a:pt x="20" y="70"/>
                      </a:lnTo>
                      <a:lnTo>
                        <a:pt x="20" y="74"/>
                      </a:lnTo>
                      <a:lnTo>
                        <a:pt x="24" y="74"/>
                      </a:lnTo>
                      <a:lnTo>
                        <a:pt x="26" y="74"/>
                      </a:lnTo>
                      <a:lnTo>
                        <a:pt x="26" y="78"/>
                      </a:lnTo>
                      <a:lnTo>
                        <a:pt x="30" y="78"/>
                      </a:lnTo>
                      <a:lnTo>
                        <a:pt x="30" y="82"/>
                      </a:lnTo>
                      <a:lnTo>
                        <a:pt x="34" y="82"/>
                      </a:lnTo>
                      <a:lnTo>
                        <a:pt x="38" y="78"/>
                      </a:lnTo>
                      <a:lnTo>
                        <a:pt x="38" y="74"/>
                      </a:lnTo>
                      <a:lnTo>
                        <a:pt x="42" y="74"/>
                      </a:lnTo>
                      <a:lnTo>
                        <a:pt x="38" y="74"/>
                      </a:lnTo>
                      <a:lnTo>
                        <a:pt x="38" y="70"/>
                      </a:lnTo>
                      <a:lnTo>
                        <a:pt x="42" y="70"/>
                      </a:lnTo>
                      <a:lnTo>
                        <a:pt x="42" y="66"/>
                      </a:lnTo>
                      <a:lnTo>
                        <a:pt x="42" y="62"/>
                      </a:lnTo>
                      <a:lnTo>
                        <a:pt x="46" y="62"/>
                      </a:lnTo>
                      <a:lnTo>
                        <a:pt x="46" y="58"/>
                      </a:lnTo>
                      <a:lnTo>
                        <a:pt x="46" y="56"/>
                      </a:lnTo>
                      <a:lnTo>
                        <a:pt x="46" y="58"/>
                      </a:lnTo>
                      <a:lnTo>
                        <a:pt x="46" y="56"/>
                      </a:lnTo>
                      <a:lnTo>
                        <a:pt x="50" y="56"/>
                      </a:lnTo>
                      <a:lnTo>
                        <a:pt x="50" y="52"/>
                      </a:lnTo>
                      <a:lnTo>
                        <a:pt x="50" y="48"/>
                      </a:lnTo>
                      <a:lnTo>
                        <a:pt x="54" y="48"/>
                      </a:lnTo>
                      <a:lnTo>
                        <a:pt x="56" y="48"/>
                      </a:lnTo>
                      <a:lnTo>
                        <a:pt x="60" y="44"/>
                      </a:lnTo>
                      <a:lnTo>
                        <a:pt x="64" y="44"/>
                      </a:lnTo>
                      <a:lnTo>
                        <a:pt x="68" y="42"/>
                      </a:lnTo>
                      <a:lnTo>
                        <a:pt x="72" y="38"/>
                      </a:lnTo>
                      <a:lnTo>
                        <a:pt x="76" y="34"/>
                      </a:lnTo>
                      <a:lnTo>
                        <a:pt x="80" y="34"/>
                      </a:lnTo>
                      <a:lnTo>
                        <a:pt x="80" y="30"/>
                      </a:lnTo>
                      <a:lnTo>
                        <a:pt x="82" y="26"/>
                      </a:lnTo>
                      <a:lnTo>
                        <a:pt x="82" y="22"/>
                      </a:lnTo>
                      <a:lnTo>
                        <a:pt x="86" y="18"/>
                      </a:lnTo>
                      <a:lnTo>
                        <a:pt x="86" y="16"/>
                      </a:lnTo>
                      <a:lnTo>
                        <a:pt x="90" y="16"/>
                      </a:lnTo>
                      <a:lnTo>
                        <a:pt x="86" y="12"/>
                      </a:lnTo>
                      <a:lnTo>
                        <a:pt x="86" y="8"/>
                      </a:lnTo>
                      <a:lnTo>
                        <a:pt x="86" y="4"/>
                      </a:lnTo>
                      <a:lnTo>
                        <a:pt x="82" y="0"/>
                      </a:lnTo>
                      <a:lnTo>
                        <a:pt x="86" y="0"/>
                      </a:lnTo>
                      <a:lnTo>
                        <a:pt x="90" y="0"/>
                      </a:lnTo>
                      <a:lnTo>
                        <a:pt x="94" y="0"/>
                      </a:lnTo>
                      <a:lnTo>
                        <a:pt x="94" y="4"/>
                      </a:lnTo>
                      <a:lnTo>
                        <a:pt x="94" y="0"/>
                      </a:lnTo>
                      <a:lnTo>
                        <a:pt x="94" y="4"/>
                      </a:lnTo>
                      <a:lnTo>
                        <a:pt x="98" y="4"/>
                      </a:lnTo>
                      <a:lnTo>
                        <a:pt x="102" y="8"/>
                      </a:lnTo>
                      <a:lnTo>
                        <a:pt x="102" y="12"/>
                      </a:lnTo>
                      <a:lnTo>
                        <a:pt x="102" y="16"/>
                      </a:lnTo>
                      <a:lnTo>
                        <a:pt x="106" y="16"/>
                      </a:lnTo>
                      <a:lnTo>
                        <a:pt x="110" y="18"/>
                      </a:lnTo>
                      <a:lnTo>
                        <a:pt x="112" y="22"/>
                      </a:lnTo>
                      <a:lnTo>
                        <a:pt x="112" y="26"/>
                      </a:lnTo>
                      <a:lnTo>
                        <a:pt x="112" y="30"/>
                      </a:lnTo>
                      <a:lnTo>
                        <a:pt x="116" y="30"/>
                      </a:lnTo>
                      <a:lnTo>
                        <a:pt x="120" y="30"/>
                      </a:lnTo>
                      <a:lnTo>
                        <a:pt x="120" y="34"/>
                      </a:lnTo>
                      <a:lnTo>
                        <a:pt x="120" y="38"/>
                      </a:lnTo>
                      <a:lnTo>
                        <a:pt x="116" y="38"/>
                      </a:lnTo>
                      <a:lnTo>
                        <a:pt x="120" y="38"/>
                      </a:lnTo>
                      <a:lnTo>
                        <a:pt x="120" y="42"/>
                      </a:lnTo>
                      <a:lnTo>
                        <a:pt x="120" y="38"/>
                      </a:lnTo>
                      <a:lnTo>
                        <a:pt x="120" y="42"/>
                      </a:lnTo>
                      <a:lnTo>
                        <a:pt x="124" y="42"/>
                      </a:lnTo>
                      <a:lnTo>
                        <a:pt x="128" y="42"/>
                      </a:lnTo>
                      <a:lnTo>
                        <a:pt x="132" y="42"/>
                      </a:lnTo>
                      <a:lnTo>
                        <a:pt x="136" y="42"/>
                      </a:lnTo>
                      <a:lnTo>
                        <a:pt x="136" y="38"/>
                      </a:lnTo>
                      <a:lnTo>
                        <a:pt x="140" y="34"/>
                      </a:lnTo>
                      <a:lnTo>
                        <a:pt x="140" y="38"/>
                      </a:lnTo>
                      <a:lnTo>
                        <a:pt x="142" y="38"/>
                      </a:lnTo>
                      <a:lnTo>
                        <a:pt x="146" y="38"/>
                      </a:lnTo>
                      <a:lnTo>
                        <a:pt x="150" y="38"/>
                      </a:lnTo>
                      <a:lnTo>
                        <a:pt x="154" y="38"/>
                      </a:lnTo>
                      <a:lnTo>
                        <a:pt x="154" y="42"/>
                      </a:lnTo>
                      <a:lnTo>
                        <a:pt x="158" y="42"/>
                      </a:lnTo>
                      <a:lnTo>
                        <a:pt x="162" y="42"/>
                      </a:lnTo>
                      <a:lnTo>
                        <a:pt x="162" y="44"/>
                      </a:lnTo>
                      <a:lnTo>
                        <a:pt x="158" y="56"/>
                      </a:lnTo>
                      <a:lnTo>
                        <a:pt x="154" y="58"/>
                      </a:lnTo>
                      <a:lnTo>
                        <a:pt x="154" y="62"/>
                      </a:lnTo>
                      <a:lnTo>
                        <a:pt x="158" y="62"/>
                      </a:lnTo>
                      <a:lnTo>
                        <a:pt x="162" y="66"/>
                      </a:lnTo>
                      <a:lnTo>
                        <a:pt x="162" y="70"/>
                      </a:lnTo>
                      <a:lnTo>
                        <a:pt x="166" y="70"/>
                      </a:lnTo>
                      <a:lnTo>
                        <a:pt x="162" y="70"/>
                      </a:lnTo>
                      <a:lnTo>
                        <a:pt x="158" y="70"/>
                      </a:lnTo>
                      <a:lnTo>
                        <a:pt x="158" y="66"/>
                      </a:lnTo>
                      <a:lnTo>
                        <a:pt x="158" y="70"/>
                      </a:lnTo>
                      <a:lnTo>
                        <a:pt x="154" y="70"/>
                      </a:lnTo>
                      <a:lnTo>
                        <a:pt x="150" y="70"/>
                      </a:lnTo>
                      <a:lnTo>
                        <a:pt x="150" y="74"/>
                      </a:lnTo>
                      <a:lnTo>
                        <a:pt x="146" y="74"/>
                      </a:lnTo>
                      <a:lnTo>
                        <a:pt x="146" y="70"/>
                      </a:lnTo>
                      <a:lnTo>
                        <a:pt x="142" y="74"/>
                      </a:lnTo>
                      <a:lnTo>
                        <a:pt x="140" y="74"/>
                      </a:lnTo>
                      <a:lnTo>
                        <a:pt x="136" y="74"/>
                      </a:lnTo>
                      <a:lnTo>
                        <a:pt x="136" y="78"/>
                      </a:lnTo>
                      <a:lnTo>
                        <a:pt x="132" y="78"/>
                      </a:lnTo>
                      <a:lnTo>
                        <a:pt x="128" y="78"/>
                      </a:lnTo>
                      <a:lnTo>
                        <a:pt x="128" y="82"/>
                      </a:lnTo>
                      <a:lnTo>
                        <a:pt x="124" y="86"/>
                      </a:lnTo>
                      <a:lnTo>
                        <a:pt x="120" y="86"/>
                      </a:lnTo>
                      <a:lnTo>
                        <a:pt x="120" y="88"/>
                      </a:lnTo>
                      <a:lnTo>
                        <a:pt x="120" y="92"/>
                      </a:lnTo>
                      <a:lnTo>
                        <a:pt x="120" y="96"/>
                      </a:lnTo>
                      <a:lnTo>
                        <a:pt x="116" y="96"/>
                      </a:lnTo>
                      <a:lnTo>
                        <a:pt x="116" y="100"/>
                      </a:lnTo>
                      <a:lnTo>
                        <a:pt x="116" y="104"/>
                      </a:lnTo>
                      <a:lnTo>
                        <a:pt x="120" y="108"/>
                      </a:lnTo>
                      <a:lnTo>
                        <a:pt x="116" y="108"/>
                      </a:lnTo>
                      <a:lnTo>
                        <a:pt x="116" y="112"/>
                      </a:lnTo>
                      <a:lnTo>
                        <a:pt x="112" y="112"/>
                      </a:lnTo>
                      <a:lnTo>
                        <a:pt x="110" y="114"/>
                      </a:lnTo>
                      <a:lnTo>
                        <a:pt x="110" y="118"/>
                      </a:lnTo>
                      <a:lnTo>
                        <a:pt x="110" y="122"/>
                      </a:lnTo>
                      <a:lnTo>
                        <a:pt x="106" y="122"/>
                      </a:lnTo>
                      <a:lnTo>
                        <a:pt x="106" y="126"/>
                      </a:lnTo>
                      <a:lnTo>
                        <a:pt x="110" y="130"/>
                      </a:lnTo>
                      <a:lnTo>
                        <a:pt x="110" y="134"/>
                      </a:lnTo>
                      <a:lnTo>
                        <a:pt x="112" y="134"/>
                      </a:lnTo>
                      <a:lnTo>
                        <a:pt x="112" y="138"/>
                      </a:lnTo>
                      <a:lnTo>
                        <a:pt x="112" y="142"/>
                      </a:lnTo>
                      <a:lnTo>
                        <a:pt x="116" y="144"/>
                      </a:lnTo>
                      <a:lnTo>
                        <a:pt x="116" y="148"/>
                      </a:lnTo>
                      <a:lnTo>
                        <a:pt x="120" y="148"/>
                      </a:lnTo>
                      <a:lnTo>
                        <a:pt x="120" y="152"/>
                      </a:lnTo>
                      <a:lnTo>
                        <a:pt x="120" y="156"/>
                      </a:lnTo>
                      <a:lnTo>
                        <a:pt x="116" y="156"/>
                      </a:lnTo>
                      <a:lnTo>
                        <a:pt x="116" y="160"/>
                      </a:lnTo>
                      <a:lnTo>
                        <a:pt x="120" y="160"/>
                      </a:lnTo>
                      <a:lnTo>
                        <a:pt x="124" y="160"/>
                      </a:lnTo>
                      <a:lnTo>
                        <a:pt x="128" y="160"/>
                      </a:lnTo>
                      <a:lnTo>
                        <a:pt x="132" y="160"/>
                      </a:lnTo>
                      <a:lnTo>
                        <a:pt x="132" y="164"/>
                      </a:lnTo>
                      <a:lnTo>
                        <a:pt x="132" y="168"/>
                      </a:lnTo>
                      <a:lnTo>
                        <a:pt x="136" y="168"/>
                      </a:lnTo>
                      <a:lnTo>
                        <a:pt x="140" y="168"/>
                      </a:lnTo>
                      <a:lnTo>
                        <a:pt x="142" y="168"/>
                      </a:lnTo>
                      <a:lnTo>
                        <a:pt x="146" y="168"/>
                      </a:lnTo>
                      <a:lnTo>
                        <a:pt x="150" y="168"/>
                      </a:lnTo>
                      <a:lnTo>
                        <a:pt x="150" y="164"/>
                      </a:lnTo>
                      <a:lnTo>
                        <a:pt x="154" y="160"/>
                      </a:lnTo>
                      <a:lnTo>
                        <a:pt x="154" y="164"/>
                      </a:lnTo>
                      <a:lnTo>
                        <a:pt x="154" y="168"/>
                      </a:lnTo>
                      <a:lnTo>
                        <a:pt x="154" y="172"/>
                      </a:lnTo>
                      <a:lnTo>
                        <a:pt x="154" y="174"/>
                      </a:lnTo>
                      <a:lnTo>
                        <a:pt x="154" y="178"/>
                      </a:lnTo>
                      <a:lnTo>
                        <a:pt x="154" y="182"/>
                      </a:lnTo>
                      <a:lnTo>
                        <a:pt x="154" y="186"/>
                      </a:lnTo>
                      <a:lnTo>
                        <a:pt x="158" y="186"/>
                      </a:lnTo>
                      <a:lnTo>
                        <a:pt x="162" y="186"/>
                      </a:lnTo>
                      <a:lnTo>
                        <a:pt x="166" y="186"/>
                      </a:lnTo>
                      <a:lnTo>
                        <a:pt x="168" y="186"/>
                      </a:lnTo>
                      <a:lnTo>
                        <a:pt x="172" y="190"/>
                      </a:lnTo>
                      <a:lnTo>
                        <a:pt x="172" y="194"/>
                      </a:lnTo>
                      <a:lnTo>
                        <a:pt x="172" y="198"/>
                      </a:lnTo>
                      <a:lnTo>
                        <a:pt x="176" y="200"/>
                      </a:lnTo>
                      <a:lnTo>
                        <a:pt x="176" y="204"/>
                      </a:lnTo>
                      <a:lnTo>
                        <a:pt x="180" y="204"/>
                      </a:lnTo>
                      <a:lnTo>
                        <a:pt x="180" y="208"/>
                      </a:lnTo>
                      <a:lnTo>
                        <a:pt x="180" y="212"/>
                      </a:lnTo>
                      <a:lnTo>
                        <a:pt x="180" y="216"/>
                      </a:lnTo>
                      <a:lnTo>
                        <a:pt x="176" y="216"/>
                      </a:lnTo>
                      <a:lnTo>
                        <a:pt x="176" y="220"/>
                      </a:lnTo>
                      <a:lnTo>
                        <a:pt x="176" y="224"/>
                      </a:lnTo>
                      <a:lnTo>
                        <a:pt x="176" y="228"/>
                      </a:lnTo>
                      <a:lnTo>
                        <a:pt x="176" y="230"/>
                      </a:lnTo>
                      <a:lnTo>
                        <a:pt x="176" y="234"/>
                      </a:lnTo>
                      <a:lnTo>
                        <a:pt x="176" y="238"/>
                      </a:lnTo>
                      <a:lnTo>
                        <a:pt x="180" y="238"/>
                      </a:lnTo>
                      <a:lnTo>
                        <a:pt x="180" y="242"/>
                      </a:lnTo>
                      <a:lnTo>
                        <a:pt x="176" y="242"/>
                      </a:lnTo>
                      <a:lnTo>
                        <a:pt x="176" y="246"/>
                      </a:lnTo>
                      <a:lnTo>
                        <a:pt x="172" y="250"/>
                      </a:lnTo>
                      <a:lnTo>
                        <a:pt x="172" y="254"/>
                      </a:lnTo>
                      <a:lnTo>
                        <a:pt x="172" y="256"/>
                      </a:lnTo>
                      <a:lnTo>
                        <a:pt x="176" y="256"/>
                      </a:lnTo>
                      <a:lnTo>
                        <a:pt x="176" y="260"/>
                      </a:lnTo>
                      <a:lnTo>
                        <a:pt x="172" y="260"/>
                      </a:lnTo>
                      <a:lnTo>
                        <a:pt x="172" y="264"/>
                      </a:lnTo>
                      <a:lnTo>
                        <a:pt x="172" y="268"/>
                      </a:lnTo>
                      <a:lnTo>
                        <a:pt x="172" y="276"/>
                      </a:lnTo>
                      <a:lnTo>
                        <a:pt x="176" y="276"/>
                      </a:lnTo>
                      <a:lnTo>
                        <a:pt x="180" y="280"/>
                      </a:lnTo>
                      <a:lnTo>
                        <a:pt x="176" y="280"/>
                      </a:lnTo>
                      <a:lnTo>
                        <a:pt x="176" y="284"/>
                      </a:lnTo>
                      <a:lnTo>
                        <a:pt x="176" y="286"/>
                      </a:lnTo>
                      <a:lnTo>
                        <a:pt x="172" y="286"/>
                      </a:lnTo>
                      <a:lnTo>
                        <a:pt x="172" y="290"/>
                      </a:lnTo>
                      <a:lnTo>
                        <a:pt x="168" y="290"/>
                      </a:lnTo>
                      <a:lnTo>
                        <a:pt x="168" y="294"/>
                      </a:lnTo>
                      <a:lnTo>
                        <a:pt x="168" y="298"/>
                      </a:lnTo>
                      <a:lnTo>
                        <a:pt x="168" y="298"/>
                      </a:lnTo>
                      <a:lnTo>
                        <a:pt x="168" y="298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Freeform 78"/>
                <p:cNvSpPr>
                  <a:spLocks noEditPoints="1"/>
                </p:cNvSpPr>
                <p:nvPr/>
              </p:nvSpPr>
              <p:spPr bwMode="auto">
                <a:xfrm>
                  <a:off x="1739900" y="3644968"/>
                  <a:ext cx="708025" cy="514350"/>
                </a:xfrm>
                <a:custGeom>
                  <a:avLst/>
                  <a:gdLst>
                    <a:gd name="T0" fmla="*/ 90 w 446"/>
                    <a:gd name="T1" fmla="*/ 134 h 324"/>
                    <a:gd name="T2" fmla="*/ 74 w 446"/>
                    <a:gd name="T3" fmla="*/ 112 h 324"/>
                    <a:gd name="T4" fmla="*/ 60 w 446"/>
                    <a:gd name="T5" fmla="*/ 104 h 324"/>
                    <a:gd name="T6" fmla="*/ 56 w 446"/>
                    <a:gd name="T7" fmla="*/ 90 h 324"/>
                    <a:gd name="T8" fmla="*/ 48 w 446"/>
                    <a:gd name="T9" fmla="*/ 64 h 324"/>
                    <a:gd name="T10" fmla="*/ 32 w 446"/>
                    <a:gd name="T11" fmla="*/ 38 h 324"/>
                    <a:gd name="T12" fmla="*/ 18 w 446"/>
                    <a:gd name="T13" fmla="*/ 4 h 324"/>
                    <a:gd name="T14" fmla="*/ 52 w 446"/>
                    <a:gd name="T15" fmla="*/ 8 h 324"/>
                    <a:gd name="T16" fmla="*/ 104 w 446"/>
                    <a:gd name="T17" fmla="*/ 26 h 324"/>
                    <a:gd name="T18" fmla="*/ 156 w 446"/>
                    <a:gd name="T19" fmla="*/ 18 h 324"/>
                    <a:gd name="T20" fmla="*/ 182 w 446"/>
                    <a:gd name="T21" fmla="*/ 38 h 324"/>
                    <a:gd name="T22" fmla="*/ 208 w 446"/>
                    <a:gd name="T23" fmla="*/ 68 h 324"/>
                    <a:gd name="T24" fmla="*/ 230 w 446"/>
                    <a:gd name="T25" fmla="*/ 56 h 324"/>
                    <a:gd name="T26" fmla="*/ 256 w 446"/>
                    <a:gd name="T27" fmla="*/ 82 h 324"/>
                    <a:gd name="T28" fmla="*/ 274 w 446"/>
                    <a:gd name="T29" fmla="*/ 116 h 324"/>
                    <a:gd name="T30" fmla="*/ 298 w 446"/>
                    <a:gd name="T31" fmla="*/ 132 h 324"/>
                    <a:gd name="T32" fmla="*/ 290 w 446"/>
                    <a:gd name="T33" fmla="*/ 172 h 324"/>
                    <a:gd name="T34" fmla="*/ 294 w 446"/>
                    <a:gd name="T35" fmla="*/ 210 h 324"/>
                    <a:gd name="T36" fmla="*/ 294 w 446"/>
                    <a:gd name="T37" fmla="*/ 214 h 324"/>
                    <a:gd name="T38" fmla="*/ 316 w 446"/>
                    <a:gd name="T39" fmla="*/ 250 h 324"/>
                    <a:gd name="T40" fmla="*/ 350 w 446"/>
                    <a:gd name="T41" fmla="*/ 262 h 324"/>
                    <a:gd name="T42" fmla="*/ 372 w 446"/>
                    <a:gd name="T43" fmla="*/ 258 h 324"/>
                    <a:gd name="T44" fmla="*/ 390 w 446"/>
                    <a:gd name="T45" fmla="*/ 238 h 324"/>
                    <a:gd name="T46" fmla="*/ 402 w 446"/>
                    <a:gd name="T47" fmla="*/ 210 h 324"/>
                    <a:gd name="T48" fmla="*/ 430 w 446"/>
                    <a:gd name="T49" fmla="*/ 206 h 324"/>
                    <a:gd name="T50" fmla="*/ 442 w 446"/>
                    <a:gd name="T51" fmla="*/ 220 h 324"/>
                    <a:gd name="T52" fmla="*/ 430 w 446"/>
                    <a:gd name="T53" fmla="*/ 242 h 324"/>
                    <a:gd name="T54" fmla="*/ 428 w 446"/>
                    <a:gd name="T55" fmla="*/ 250 h 324"/>
                    <a:gd name="T56" fmla="*/ 410 w 446"/>
                    <a:gd name="T57" fmla="*/ 268 h 324"/>
                    <a:gd name="T58" fmla="*/ 390 w 446"/>
                    <a:gd name="T59" fmla="*/ 290 h 324"/>
                    <a:gd name="T60" fmla="*/ 368 w 446"/>
                    <a:gd name="T61" fmla="*/ 320 h 324"/>
                    <a:gd name="T62" fmla="*/ 346 w 446"/>
                    <a:gd name="T63" fmla="*/ 302 h 324"/>
                    <a:gd name="T64" fmla="*/ 330 w 446"/>
                    <a:gd name="T65" fmla="*/ 294 h 324"/>
                    <a:gd name="T66" fmla="*/ 298 w 446"/>
                    <a:gd name="T67" fmla="*/ 302 h 324"/>
                    <a:gd name="T68" fmla="*/ 264 w 446"/>
                    <a:gd name="T69" fmla="*/ 288 h 324"/>
                    <a:gd name="T70" fmla="*/ 230 w 446"/>
                    <a:gd name="T71" fmla="*/ 268 h 324"/>
                    <a:gd name="T72" fmla="*/ 204 w 446"/>
                    <a:gd name="T73" fmla="*/ 250 h 324"/>
                    <a:gd name="T74" fmla="*/ 178 w 446"/>
                    <a:gd name="T75" fmla="*/ 228 h 324"/>
                    <a:gd name="T76" fmla="*/ 182 w 446"/>
                    <a:gd name="T77" fmla="*/ 198 h 324"/>
                    <a:gd name="T78" fmla="*/ 162 w 446"/>
                    <a:gd name="T79" fmla="*/ 164 h 324"/>
                    <a:gd name="T80" fmla="*/ 144 w 446"/>
                    <a:gd name="T81" fmla="*/ 150 h 324"/>
                    <a:gd name="T82" fmla="*/ 130 w 446"/>
                    <a:gd name="T83" fmla="*/ 134 h 324"/>
                    <a:gd name="T84" fmla="*/ 130 w 446"/>
                    <a:gd name="T85" fmla="*/ 120 h 324"/>
                    <a:gd name="T86" fmla="*/ 106 w 446"/>
                    <a:gd name="T87" fmla="*/ 90 h 324"/>
                    <a:gd name="T88" fmla="*/ 86 w 446"/>
                    <a:gd name="T89" fmla="*/ 72 h 324"/>
                    <a:gd name="T90" fmla="*/ 74 w 446"/>
                    <a:gd name="T91" fmla="*/ 34 h 324"/>
                    <a:gd name="T92" fmla="*/ 48 w 446"/>
                    <a:gd name="T93" fmla="*/ 18 h 324"/>
                    <a:gd name="T94" fmla="*/ 52 w 446"/>
                    <a:gd name="T95" fmla="*/ 46 h 324"/>
                    <a:gd name="T96" fmla="*/ 70 w 446"/>
                    <a:gd name="T97" fmla="*/ 72 h 324"/>
                    <a:gd name="T98" fmla="*/ 90 w 446"/>
                    <a:gd name="T99" fmla="*/ 108 h 324"/>
                    <a:gd name="T100" fmla="*/ 100 w 446"/>
                    <a:gd name="T101" fmla="*/ 128 h 324"/>
                    <a:gd name="T102" fmla="*/ 110 w 446"/>
                    <a:gd name="T103" fmla="*/ 158 h 324"/>
                    <a:gd name="T104" fmla="*/ 122 w 446"/>
                    <a:gd name="T105" fmla="*/ 176 h 324"/>
                    <a:gd name="T106" fmla="*/ 96 w 446"/>
                    <a:gd name="T107" fmla="*/ 154 h 324"/>
                    <a:gd name="T108" fmla="*/ 86 w 446"/>
                    <a:gd name="T109" fmla="*/ 146 h 324"/>
                    <a:gd name="T110" fmla="*/ 104 w 446"/>
                    <a:gd name="T111" fmla="*/ 254 h 324"/>
                    <a:gd name="T112" fmla="*/ 74 w 446"/>
                    <a:gd name="T113" fmla="*/ 72 h 324"/>
                    <a:gd name="T114" fmla="*/ 0 w 446"/>
                    <a:gd name="T115" fmla="*/ 72 h 324"/>
                    <a:gd name="T116" fmla="*/ 44 w 446"/>
                    <a:gd name="T117" fmla="*/ 90 h 324"/>
                    <a:gd name="T118" fmla="*/ 92 w 446"/>
                    <a:gd name="T119" fmla="*/ 154 h 324"/>
                    <a:gd name="T120" fmla="*/ 162 w 446"/>
                    <a:gd name="T121" fmla="*/ 206 h 324"/>
                    <a:gd name="T122" fmla="*/ 442 w 446"/>
                    <a:gd name="T123" fmla="*/ 228 h 324"/>
                    <a:gd name="T124" fmla="*/ 380 w 446"/>
                    <a:gd name="T125" fmla="*/ 254 h 3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446" h="324">
                      <a:moveTo>
                        <a:pt x="96" y="154"/>
                      </a:moveTo>
                      <a:lnTo>
                        <a:pt x="92" y="154"/>
                      </a:lnTo>
                      <a:lnTo>
                        <a:pt x="92" y="150"/>
                      </a:lnTo>
                      <a:lnTo>
                        <a:pt x="90" y="150"/>
                      </a:lnTo>
                      <a:lnTo>
                        <a:pt x="90" y="146"/>
                      </a:lnTo>
                      <a:lnTo>
                        <a:pt x="90" y="142"/>
                      </a:lnTo>
                      <a:lnTo>
                        <a:pt x="86" y="142"/>
                      </a:lnTo>
                      <a:lnTo>
                        <a:pt x="86" y="146"/>
                      </a:lnTo>
                      <a:lnTo>
                        <a:pt x="86" y="142"/>
                      </a:lnTo>
                      <a:lnTo>
                        <a:pt x="86" y="138"/>
                      </a:lnTo>
                      <a:lnTo>
                        <a:pt x="90" y="138"/>
                      </a:lnTo>
                      <a:lnTo>
                        <a:pt x="90" y="134"/>
                      </a:lnTo>
                      <a:lnTo>
                        <a:pt x="90" y="132"/>
                      </a:lnTo>
                      <a:lnTo>
                        <a:pt x="90" y="134"/>
                      </a:lnTo>
                      <a:lnTo>
                        <a:pt x="90" y="132"/>
                      </a:lnTo>
                      <a:lnTo>
                        <a:pt x="90" y="128"/>
                      </a:lnTo>
                      <a:lnTo>
                        <a:pt x="86" y="128"/>
                      </a:lnTo>
                      <a:lnTo>
                        <a:pt x="86" y="124"/>
                      </a:lnTo>
                      <a:lnTo>
                        <a:pt x="86" y="120"/>
                      </a:lnTo>
                      <a:lnTo>
                        <a:pt x="82" y="120"/>
                      </a:lnTo>
                      <a:lnTo>
                        <a:pt x="78" y="120"/>
                      </a:lnTo>
                      <a:lnTo>
                        <a:pt x="78" y="116"/>
                      </a:lnTo>
                      <a:lnTo>
                        <a:pt x="74" y="116"/>
                      </a:lnTo>
                      <a:lnTo>
                        <a:pt x="74" y="112"/>
                      </a:lnTo>
                      <a:lnTo>
                        <a:pt x="70" y="112"/>
                      </a:lnTo>
                      <a:lnTo>
                        <a:pt x="70" y="108"/>
                      </a:lnTo>
                      <a:lnTo>
                        <a:pt x="74" y="108"/>
                      </a:lnTo>
                      <a:lnTo>
                        <a:pt x="70" y="108"/>
                      </a:lnTo>
                      <a:lnTo>
                        <a:pt x="70" y="112"/>
                      </a:lnTo>
                      <a:lnTo>
                        <a:pt x="70" y="108"/>
                      </a:lnTo>
                      <a:lnTo>
                        <a:pt x="66" y="108"/>
                      </a:lnTo>
                      <a:lnTo>
                        <a:pt x="66" y="112"/>
                      </a:lnTo>
                      <a:lnTo>
                        <a:pt x="62" y="108"/>
                      </a:lnTo>
                      <a:lnTo>
                        <a:pt x="62" y="104"/>
                      </a:lnTo>
                      <a:lnTo>
                        <a:pt x="60" y="108"/>
                      </a:lnTo>
                      <a:lnTo>
                        <a:pt x="60" y="104"/>
                      </a:lnTo>
                      <a:lnTo>
                        <a:pt x="56" y="104"/>
                      </a:lnTo>
                      <a:lnTo>
                        <a:pt x="56" y="102"/>
                      </a:lnTo>
                      <a:lnTo>
                        <a:pt x="52" y="98"/>
                      </a:lnTo>
                      <a:lnTo>
                        <a:pt x="48" y="98"/>
                      </a:lnTo>
                      <a:lnTo>
                        <a:pt x="48" y="94"/>
                      </a:lnTo>
                      <a:lnTo>
                        <a:pt x="44" y="94"/>
                      </a:lnTo>
                      <a:lnTo>
                        <a:pt x="48" y="90"/>
                      </a:lnTo>
                      <a:lnTo>
                        <a:pt x="48" y="94"/>
                      </a:lnTo>
                      <a:lnTo>
                        <a:pt x="52" y="94"/>
                      </a:lnTo>
                      <a:lnTo>
                        <a:pt x="56" y="94"/>
                      </a:lnTo>
                      <a:lnTo>
                        <a:pt x="60" y="94"/>
                      </a:lnTo>
                      <a:lnTo>
                        <a:pt x="56" y="90"/>
                      </a:lnTo>
                      <a:lnTo>
                        <a:pt x="60" y="90"/>
                      </a:lnTo>
                      <a:lnTo>
                        <a:pt x="60" y="86"/>
                      </a:lnTo>
                      <a:lnTo>
                        <a:pt x="60" y="90"/>
                      </a:lnTo>
                      <a:lnTo>
                        <a:pt x="60" y="86"/>
                      </a:lnTo>
                      <a:lnTo>
                        <a:pt x="60" y="82"/>
                      </a:lnTo>
                      <a:lnTo>
                        <a:pt x="60" y="78"/>
                      </a:lnTo>
                      <a:lnTo>
                        <a:pt x="60" y="74"/>
                      </a:lnTo>
                      <a:lnTo>
                        <a:pt x="56" y="74"/>
                      </a:lnTo>
                      <a:lnTo>
                        <a:pt x="56" y="72"/>
                      </a:lnTo>
                      <a:lnTo>
                        <a:pt x="52" y="72"/>
                      </a:lnTo>
                      <a:lnTo>
                        <a:pt x="52" y="68"/>
                      </a:lnTo>
                      <a:lnTo>
                        <a:pt x="48" y="64"/>
                      </a:lnTo>
                      <a:lnTo>
                        <a:pt x="44" y="64"/>
                      </a:lnTo>
                      <a:lnTo>
                        <a:pt x="44" y="60"/>
                      </a:lnTo>
                      <a:lnTo>
                        <a:pt x="40" y="60"/>
                      </a:lnTo>
                      <a:lnTo>
                        <a:pt x="36" y="56"/>
                      </a:lnTo>
                      <a:lnTo>
                        <a:pt x="36" y="52"/>
                      </a:lnTo>
                      <a:lnTo>
                        <a:pt x="36" y="48"/>
                      </a:lnTo>
                      <a:lnTo>
                        <a:pt x="36" y="46"/>
                      </a:lnTo>
                      <a:lnTo>
                        <a:pt x="32" y="46"/>
                      </a:lnTo>
                      <a:lnTo>
                        <a:pt x="32" y="42"/>
                      </a:lnTo>
                      <a:lnTo>
                        <a:pt x="32" y="46"/>
                      </a:lnTo>
                      <a:lnTo>
                        <a:pt x="32" y="42"/>
                      </a:lnTo>
                      <a:lnTo>
                        <a:pt x="32" y="38"/>
                      </a:lnTo>
                      <a:lnTo>
                        <a:pt x="30" y="34"/>
                      </a:lnTo>
                      <a:lnTo>
                        <a:pt x="30" y="30"/>
                      </a:lnTo>
                      <a:lnTo>
                        <a:pt x="26" y="30"/>
                      </a:lnTo>
                      <a:lnTo>
                        <a:pt x="26" y="26"/>
                      </a:lnTo>
                      <a:lnTo>
                        <a:pt x="22" y="22"/>
                      </a:lnTo>
                      <a:lnTo>
                        <a:pt x="26" y="18"/>
                      </a:lnTo>
                      <a:lnTo>
                        <a:pt x="22" y="18"/>
                      </a:lnTo>
                      <a:lnTo>
                        <a:pt x="22" y="16"/>
                      </a:lnTo>
                      <a:lnTo>
                        <a:pt x="18" y="16"/>
                      </a:lnTo>
                      <a:lnTo>
                        <a:pt x="18" y="12"/>
                      </a:lnTo>
                      <a:lnTo>
                        <a:pt x="18" y="8"/>
                      </a:lnTo>
                      <a:lnTo>
                        <a:pt x="18" y="4"/>
                      </a:lnTo>
                      <a:lnTo>
                        <a:pt x="22" y="4"/>
                      </a:lnTo>
                      <a:lnTo>
                        <a:pt x="26" y="4"/>
                      </a:lnTo>
                      <a:lnTo>
                        <a:pt x="30" y="4"/>
                      </a:lnTo>
                      <a:lnTo>
                        <a:pt x="32" y="4"/>
                      </a:lnTo>
                      <a:lnTo>
                        <a:pt x="36" y="4"/>
                      </a:lnTo>
                      <a:lnTo>
                        <a:pt x="40" y="4"/>
                      </a:lnTo>
                      <a:lnTo>
                        <a:pt x="44" y="4"/>
                      </a:lnTo>
                      <a:lnTo>
                        <a:pt x="48" y="0"/>
                      </a:lnTo>
                      <a:lnTo>
                        <a:pt x="52" y="0"/>
                      </a:lnTo>
                      <a:lnTo>
                        <a:pt x="52" y="4"/>
                      </a:lnTo>
                      <a:lnTo>
                        <a:pt x="48" y="4"/>
                      </a:lnTo>
                      <a:lnTo>
                        <a:pt x="52" y="8"/>
                      </a:lnTo>
                      <a:lnTo>
                        <a:pt x="56" y="8"/>
                      </a:lnTo>
                      <a:lnTo>
                        <a:pt x="60" y="12"/>
                      </a:lnTo>
                      <a:lnTo>
                        <a:pt x="62" y="12"/>
                      </a:lnTo>
                      <a:lnTo>
                        <a:pt x="66" y="12"/>
                      </a:lnTo>
                      <a:lnTo>
                        <a:pt x="70" y="16"/>
                      </a:lnTo>
                      <a:lnTo>
                        <a:pt x="74" y="16"/>
                      </a:lnTo>
                      <a:lnTo>
                        <a:pt x="78" y="16"/>
                      </a:lnTo>
                      <a:lnTo>
                        <a:pt x="82" y="18"/>
                      </a:lnTo>
                      <a:lnTo>
                        <a:pt x="86" y="18"/>
                      </a:lnTo>
                      <a:lnTo>
                        <a:pt x="90" y="22"/>
                      </a:lnTo>
                      <a:lnTo>
                        <a:pt x="96" y="26"/>
                      </a:lnTo>
                      <a:lnTo>
                        <a:pt x="104" y="26"/>
                      </a:lnTo>
                      <a:lnTo>
                        <a:pt x="110" y="26"/>
                      </a:lnTo>
                      <a:lnTo>
                        <a:pt x="114" y="26"/>
                      </a:lnTo>
                      <a:lnTo>
                        <a:pt x="118" y="26"/>
                      </a:lnTo>
                      <a:lnTo>
                        <a:pt x="122" y="26"/>
                      </a:lnTo>
                      <a:lnTo>
                        <a:pt x="130" y="26"/>
                      </a:lnTo>
                      <a:lnTo>
                        <a:pt x="132" y="26"/>
                      </a:lnTo>
                      <a:lnTo>
                        <a:pt x="140" y="26"/>
                      </a:lnTo>
                      <a:lnTo>
                        <a:pt x="140" y="22"/>
                      </a:lnTo>
                      <a:lnTo>
                        <a:pt x="140" y="18"/>
                      </a:lnTo>
                      <a:lnTo>
                        <a:pt x="148" y="18"/>
                      </a:lnTo>
                      <a:lnTo>
                        <a:pt x="152" y="18"/>
                      </a:lnTo>
                      <a:lnTo>
                        <a:pt x="156" y="18"/>
                      </a:lnTo>
                      <a:lnTo>
                        <a:pt x="160" y="18"/>
                      </a:lnTo>
                      <a:lnTo>
                        <a:pt x="162" y="18"/>
                      </a:lnTo>
                      <a:lnTo>
                        <a:pt x="166" y="18"/>
                      </a:lnTo>
                      <a:lnTo>
                        <a:pt x="166" y="22"/>
                      </a:lnTo>
                      <a:lnTo>
                        <a:pt x="170" y="22"/>
                      </a:lnTo>
                      <a:lnTo>
                        <a:pt x="170" y="26"/>
                      </a:lnTo>
                      <a:lnTo>
                        <a:pt x="174" y="26"/>
                      </a:lnTo>
                      <a:lnTo>
                        <a:pt x="174" y="30"/>
                      </a:lnTo>
                      <a:lnTo>
                        <a:pt x="178" y="30"/>
                      </a:lnTo>
                      <a:lnTo>
                        <a:pt x="178" y="34"/>
                      </a:lnTo>
                      <a:lnTo>
                        <a:pt x="182" y="34"/>
                      </a:lnTo>
                      <a:lnTo>
                        <a:pt x="182" y="38"/>
                      </a:lnTo>
                      <a:lnTo>
                        <a:pt x="186" y="38"/>
                      </a:lnTo>
                      <a:lnTo>
                        <a:pt x="188" y="42"/>
                      </a:lnTo>
                      <a:lnTo>
                        <a:pt x="188" y="46"/>
                      </a:lnTo>
                      <a:lnTo>
                        <a:pt x="192" y="48"/>
                      </a:lnTo>
                      <a:lnTo>
                        <a:pt x="192" y="52"/>
                      </a:lnTo>
                      <a:lnTo>
                        <a:pt x="192" y="56"/>
                      </a:lnTo>
                      <a:lnTo>
                        <a:pt x="196" y="60"/>
                      </a:lnTo>
                      <a:lnTo>
                        <a:pt x="200" y="60"/>
                      </a:lnTo>
                      <a:lnTo>
                        <a:pt x="200" y="64"/>
                      </a:lnTo>
                      <a:lnTo>
                        <a:pt x="204" y="64"/>
                      </a:lnTo>
                      <a:lnTo>
                        <a:pt x="204" y="68"/>
                      </a:lnTo>
                      <a:lnTo>
                        <a:pt x="208" y="68"/>
                      </a:lnTo>
                      <a:lnTo>
                        <a:pt x="212" y="72"/>
                      </a:lnTo>
                      <a:lnTo>
                        <a:pt x="216" y="72"/>
                      </a:lnTo>
                      <a:lnTo>
                        <a:pt x="216" y="68"/>
                      </a:lnTo>
                      <a:lnTo>
                        <a:pt x="218" y="68"/>
                      </a:lnTo>
                      <a:lnTo>
                        <a:pt x="218" y="64"/>
                      </a:lnTo>
                      <a:lnTo>
                        <a:pt x="218" y="60"/>
                      </a:lnTo>
                      <a:lnTo>
                        <a:pt x="218" y="56"/>
                      </a:lnTo>
                      <a:lnTo>
                        <a:pt x="222" y="56"/>
                      </a:lnTo>
                      <a:lnTo>
                        <a:pt x="226" y="56"/>
                      </a:lnTo>
                      <a:lnTo>
                        <a:pt x="226" y="52"/>
                      </a:lnTo>
                      <a:lnTo>
                        <a:pt x="226" y="56"/>
                      </a:lnTo>
                      <a:lnTo>
                        <a:pt x="230" y="56"/>
                      </a:lnTo>
                      <a:lnTo>
                        <a:pt x="234" y="56"/>
                      </a:lnTo>
                      <a:lnTo>
                        <a:pt x="238" y="56"/>
                      </a:lnTo>
                      <a:lnTo>
                        <a:pt x="238" y="60"/>
                      </a:lnTo>
                      <a:lnTo>
                        <a:pt x="242" y="60"/>
                      </a:lnTo>
                      <a:lnTo>
                        <a:pt x="244" y="60"/>
                      </a:lnTo>
                      <a:lnTo>
                        <a:pt x="244" y="64"/>
                      </a:lnTo>
                      <a:lnTo>
                        <a:pt x="248" y="68"/>
                      </a:lnTo>
                      <a:lnTo>
                        <a:pt x="248" y="72"/>
                      </a:lnTo>
                      <a:lnTo>
                        <a:pt x="252" y="74"/>
                      </a:lnTo>
                      <a:lnTo>
                        <a:pt x="252" y="78"/>
                      </a:lnTo>
                      <a:lnTo>
                        <a:pt x="252" y="82"/>
                      </a:lnTo>
                      <a:lnTo>
                        <a:pt x="256" y="82"/>
                      </a:lnTo>
                      <a:lnTo>
                        <a:pt x="256" y="86"/>
                      </a:lnTo>
                      <a:lnTo>
                        <a:pt x="260" y="90"/>
                      </a:lnTo>
                      <a:lnTo>
                        <a:pt x="260" y="94"/>
                      </a:lnTo>
                      <a:lnTo>
                        <a:pt x="264" y="94"/>
                      </a:lnTo>
                      <a:lnTo>
                        <a:pt x="264" y="98"/>
                      </a:lnTo>
                      <a:lnTo>
                        <a:pt x="268" y="98"/>
                      </a:lnTo>
                      <a:lnTo>
                        <a:pt x="268" y="102"/>
                      </a:lnTo>
                      <a:lnTo>
                        <a:pt x="268" y="104"/>
                      </a:lnTo>
                      <a:lnTo>
                        <a:pt x="268" y="108"/>
                      </a:lnTo>
                      <a:lnTo>
                        <a:pt x="272" y="112"/>
                      </a:lnTo>
                      <a:lnTo>
                        <a:pt x="272" y="116"/>
                      </a:lnTo>
                      <a:lnTo>
                        <a:pt x="274" y="116"/>
                      </a:lnTo>
                      <a:lnTo>
                        <a:pt x="274" y="120"/>
                      </a:lnTo>
                      <a:lnTo>
                        <a:pt x="278" y="120"/>
                      </a:lnTo>
                      <a:lnTo>
                        <a:pt x="282" y="120"/>
                      </a:lnTo>
                      <a:lnTo>
                        <a:pt x="282" y="124"/>
                      </a:lnTo>
                      <a:lnTo>
                        <a:pt x="286" y="124"/>
                      </a:lnTo>
                      <a:lnTo>
                        <a:pt x="290" y="124"/>
                      </a:lnTo>
                      <a:lnTo>
                        <a:pt x="294" y="124"/>
                      </a:lnTo>
                      <a:lnTo>
                        <a:pt x="294" y="128"/>
                      </a:lnTo>
                      <a:lnTo>
                        <a:pt x="298" y="128"/>
                      </a:lnTo>
                      <a:lnTo>
                        <a:pt x="298" y="124"/>
                      </a:lnTo>
                      <a:lnTo>
                        <a:pt x="298" y="128"/>
                      </a:lnTo>
                      <a:lnTo>
                        <a:pt x="298" y="132"/>
                      </a:lnTo>
                      <a:lnTo>
                        <a:pt x="298" y="134"/>
                      </a:lnTo>
                      <a:lnTo>
                        <a:pt x="294" y="138"/>
                      </a:lnTo>
                      <a:lnTo>
                        <a:pt x="294" y="142"/>
                      </a:lnTo>
                      <a:lnTo>
                        <a:pt x="294" y="146"/>
                      </a:lnTo>
                      <a:lnTo>
                        <a:pt x="294" y="150"/>
                      </a:lnTo>
                      <a:lnTo>
                        <a:pt x="290" y="150"/>
                      </a:lnTo>
                      <a:lnTo>
                        <a:pt x="290" y="154"/>
                      </a:lnTo>
                      <a:lnTo>
                        <a:pt x="290" y="158"/>
                      </a:lnTo>
                      <a:lnTo>
                        <a:pt x="290" y="160"/>
                      </a:lnTo>
                      <a:lnTo>
                        <a:pt x="290" y="164"/>
                      </a:lnTo>
                      <a:lnTo>
                        <a:pt x="290" y="168"/>
                      </a:lnTo>
                      <a:lnTo>
                        <a:pt x="290" y="172"/>
                      </a:lnTo>
                      <a:lnTo>
                        <a:pt x="290" y="176"/>
                      </a:lnTo>
                      <a:lnTo>
                        <a:pt x="290" y="180"/>
                      </a:lnTo>
                      <a:lnTo>
                        <a:pt x="290" y="184"/>
                      </a:lnTo>
                      <a:lnTo>
                        <a:pt x="290" y="188"/>
                      </a:lnTo>
                      <a:lnTo>
                        <a:pt x="290" y="190"/>
                      </a:lnTo>
                      <a:lnTo>
                        <a:pt x="290" y="194"/>
                      </a:lnTo>
                      <a:lnTo>
                        <a:pt x="290" y="198"/>
                      </a:lnTo>
                      <a:lnTo>
                        <a:pt x="294" y="198"/>
                      </a:lnTo>
                      <a:lnTo>
                        <a:pt x="294" y="202"/>
                      </a:lnTo>
                      <a:lnTo>
                        <a:pt x="298" y="202"/>
                      </a:lnTo>
                      <a:lnTo>
                        <a:pt x="298" y="206"/>
                      </a:lnTo>
                      <a:lnTo>
                        <a:pt x="294" y="210"/>
                      </a:lnTo>
                      <a:lnTo>
                        <a:pt x="294" y="206"/>
                      </a:lnTo>
                      <a:lnTo>
                        <a:pt x="298" y="206"/>
                      </a:lnTo>
                      <a:lnTo>
                        <a:pt x="294" y="206"/>
                      </a:lnTo>
                      <a:lnTo>
                        <a:pt x="294" y="202"/>
                      </a:lnTo>
                      <a:lnTo>
                        <a:pt x="294" y="198"/>
                      </a:lnTo>
                      <a:lnTo>
                        <a:pt x="290" y="198"/>
                      </a:lnTo>
                      <a:lnTo>
                        <a:pt x="290" y="194"/>
                      </a:lnTo>
                      <a:lnTo>
                        <a:pt x="290" y="198"/>
                      </a:lnTo>
                      <a:lnTo>
                        <a:pt x="290" y="202"/>
                      </a:lnTo>
                      <a:lnTo>
                        <a:pt x="294" y="206"/>
                      </a:lnTo>
                      <a:lnTo>
                        <a:pt x="294" y="210"/>
                      </a:lnTo>
                      <a:lnTo>
                        <a:pt x="294" y="214"/>
                      </a:lnTo>
                      <a:lnTo>
                        <a:pt x="298" y="214"/>
                      </a:lnTo>
                      <a:lnTo>
                        <a:pt x="298" y="218"/>
                      </a:lnTo>
                      <a:lnTo>
                        <a:pt x="298" y="220"/>
                      </a:lnTo>
                      <a:lnTo>
                        <a:pt x="302" y="220"/>
                      </a:lnTo>
                      <a:lnTo>
                        <a:pt x="304" y="228"/>
                      </a:lnTo>
                      <a:lnTo>
                        <a:pt x="308" y="232"/>
                      </a:lnTo>
                      <a:lnTo>
                        <a:pt x="308" y="234"/>
                      </a:lnTo>
                      <a:lnTo>
                        <a:pt x="308" y="238"/>
                      </a:lnTo>
                      <a:lnTo>
                        <a:pt x="312" y="242"/>
                      </a:lnTo>
                      <a:lnTo>
                        <a:pt x="312" y="246"/>
                      </a:lnTo>
                      <a:lnTo>
                        <a:pt x="316" y="246"/>
                      </a:lnTo>
                      <a:lnTo>
                        <a:pt x="316" y="250"/>
                      </a:lnTo>
                      <a:lnTo>
                        <a:pt x="316" y="254"/>
                      </a:lnTo>
                      <a:lnTo>
                        <a:pt x="320" y="254"/>
                      </a:lnTo>
                      <a:lnTo>
                        <a:pt x="324" y="254"/>
                      </a:lnTo>
                      <a:lnTo>
                        <a:pt x="328" y="254"/>
                      </a:lnTo>
                      <a:lnTo>
                        <a:pt x="328" y="258"/>
                      </a:lnTo>
                      <a:lnTo>
                        <a:pt x="330" y="258"/>
                      </a:lnTo>
                      <a:lnTo>
                        <a:pt x="330" y="262"/>
                      </a:lnTo>
                      <a:lnTo>
                        <a:pt x="334" y="264"/>
                      </a:lnTo>
                      <a:lnTo>
                        <a:pt x="338" y="264"/>
                      </a:lnTo>
                      <a:lnTo>
                        <a:pt x="342" y="262"/>
                      </a:lnTo>
                      <a:lnTo>
                        <a:pt x="346" y="262"/>
                      </a:lnTo>
                      <a:lnTo>
                        <a:pt x="350" y="262"/>
                      </a:lnTo>
                      <a:lnTo>
                        <a:pt x="350" y="258"/>
                      </a:lnTo>
                      <a:lnTo>
                        <a:pt x="346" y="262"/>
                      </a:lnTo>
                      <a:lnTo>
                        <a:pt x="350" y="258"/>
                      </a:lnTo>
                      <a:lnTo>
                        <a:pt x="354" y="258"/>
                      </a:lnTo>
                      <a:lnTo>
                        <a:pt x="354" y="262"/>
                      </a:lnTo>
                      <a:lnTo>
                        <a:pt x="358" y="262"/>
                      </a:lnTo>
                      <a:lnTo>
                        <a:pt x="358" y="258"/>
                      </a:lnTo>
                      <a:lnTo>
                        <a:pt x="360" y="258"/>
                      </a:lnTo>
                      <a:lnTo>
                        <a:pt x="364" y="254"/>
                      </a:lnTo>
                      <a:lnTo>
                        <a:pt x="368" y="254"/>
                      </a:lnTo>
                      <a:lnTo>
                        <a:pt x="372" y="254"/>
                      </a:lnTo>
                      <a:lnTo>
                        <a:pt x="372" y="258"/>
                      </a:lnTo>
                      <a:lnTo>
                        <a:pt x="376" y="258"/>
                      </a:lnTo>
                      <a:lnTo>
                        <a:pt x="372" y="258"/>
                      </a:lnTo>
                      <a:lnTo>
                        <a:pt x="376" y="262"/>
                      </a:lnTo>
                      <a:lnTo>
                        <a:pt x="376" y="258"/>
                      </a:lnTo>
                      <a:lnTo>
                        <a:pt x="380" y="258"/>
                      </a:lnTo>
                      <a:lnTo>
                        <a:pt x="384" y="254"/>
                      </a:lnTo>
                      <a:lnTo>
                        <a:pt x="380" y="254"/>
                      </a:lnTo>
                      <a:lnTo>
                        <a:pt x="380" y="250"/>
                      </a:lnTo>
                      <a:lnTo>
                        <a:pt x="384" y="250"/>
                      </a:lnTo>
                      <a:lnTo>
                        <a:pt x="386" y="246"/>
                      </a:lnTo>
                      <a:lnTo>
                        <a:pt x="390" y="242"/>
                      </a:lnTo>
                      <a:lnTo>
                        <a:pt x="390" y="238"/>
                      </a:lnTo>
                      <a:lnTo>
                        <a:pt x="390" y="234"/>
                      </a:lnTo>
                      <a:lnTo>
                        <a:pt x="394" y="232"/>
                      </a:lnTo>
                      <a:lnTo>
                        <a:pt x="394" y="228"/>
                      </a:lnTo>
                      <a:lnTo>
                        <a:pt x="394" y="224"/>
                      </a:lnTo>
                      <a:lnTo>
                        <a:pt x="394" y="220"/>
                      </a:lnTo>
                      <a:lnTo>
                        <a:pt x="394" y="218"/>
                      </a:lnTo>
                      <a:lnTo>
                        <a:pt x="394" y="214"/>
                      </a:lnTo>
                      <a:lnTo>
                        <a:pt x="394" y="218"/>
                      </a:lnTo>
                      <a:lnTo>
                        <a:pt x="394" y="214"/>
                      </a:lnTo>
                      <a:lnTo>
                        <a:pt x="398" y="214"/>
                      </a:lnTo>
                      <a:lnTo>
                        <a:pt x="398" y="210"/>
                      </a:lnTo>
                      <a:lnTo>
                        <a:pt x="402" y="210"/>
                      </a:lnTo>
                      <a:lnTo>
                        <a:pt x="406" y="210"/>
                      </a:lnTo>
                      <a:lnTo>
                        <a:pt x="410" y="210"/>
                      </a:lnTo>
                      <a:lnTo>
                        <a:pt x="414" y="206"/>
                      </a:lnTo>
                      <a:lnTo>
                        <a:pt x="416" y="206"/>
                      </a:lnTo>
                      <a:lnTo>
                        <a:pt x="420" y="206"/>
                      </a:lnTo>
                      <a:lnTo>
                        <a:pt x="424" y="206"/>
                      </a:lnTo>
                      <a:lnTo>
                        <a:pt x="428" y="202"/>
                      </a:lnTo>
                      <a:lnTo>
                        <a:pt x="424" y="202"/>
                      </a:lnTo>
                      <a:lnTo>
                        <a:pt x="424" y="206"/>
                      </a:lnTo>
                      <a:lnTo>
                        <a:pt x="424" y="202"/>
                      </a:lnTo>
                      <a:lnTo>
                        <a:pt x="428" y="202"/>
                      </a:lnTo>
                      <a:lnTo>
                        <a:pt x="430" y="206"/>
                      </a:lnTo>
                      <a:lnTo>
                        <a:pt x="434" y="206"/>
                      </a:lnTo>
                      <a:lnTo>
                        <a:pt x="438" y="206"/>
                      </a:lnTo>
                      <a:lnTo>
                        <a:pt x="434" y="206"/>
                      </a:lnTo>
                      <a:lnTo>
                        <a:pt x="438" y="206"/>
                      </a:lnTo>
                      <a:lnTo>
                        <a:pt x="438" y="202"/>
                      </a:lnTo>
                      <a:lnTo>
                        <a:pt x="442" y="202"/>
                      </a:lnTo>
                      <a:lnTo>
                        <a:pt x="442" y="206"/>
                      </a:lnTo>
                      <a:lnTo>
                        <a:pt x="446" y="206"/>
                      </a:lnTo>
                      <a:lnTo>
                        <a:pt x="446" y="210"/>
                      </a:lnTo>
                      <a:lnTo>
                        <a:pt x="446" y="214"/>
                      </a:lnTo>
                      <a:lnTo>
                        <a:pt x="442" y="218"/>
                      </a:lnTo>
                      <a:lnTo>
                        <a:pt x="442" y="220"/>
                      </a:lnTo>
                      <a:lnTo>
                        <a:pt x="438" y="220"/>
                      </a:lnTo>
                      <a:lnTo>
                        <a:pt x="438" y="224"/>
                      </a:lnTo>
                      <a:lnTo>
                        <a:pt x="434" y="228"/>
                      </a:lnTo>
                      <a:lnTo>
                        <a:pt x="434" y="232"/>
                      </a:lnTo>
                      <a:lnTo>
                        <a:pt x="434" y="234"/>
                      </a:lnTo>
                      <a:lnTo>
                        <a:pt x="434" y="232"/>
                      </a:lnTo>
                      <a:lnTo>
                        <a:pt x="434" y="234"/>
                      </a:lnTo>
                      <a:lnTo>
                        <a:pt x="430" y="234"/>
                      </a:lnTo>
                      <a:lnTo>
                        <a:pt x="430" y="238"/>
                      </a:lnTo>
                      <a:lnTo>
                        <a:pt x="434" y="238"/>
                      </a:lnTo>
                      <a:lnTo>
                        <a:pt x="434" y="242"/>
                      </a:lnTo>
                      <a:lnTo>
                        <a:pt x="430" y="242"/>
                      </a:lnTo>
                      <a:lnTo>
                        <a:pt x="430" y="246"/>
                      </a:lnTo>
                      <a:lnTo>
                        <a:pt x="434" y="242"/>
                      </a:lnTo>
                      <a:lnTo>
                        <a:pt x="434" y="246"/>
                      </a:lnTo>
                      <a:lnTo>
                        <a:pt x="434" y="250"/>
                      </a:lnTo>
                      <a:lnTo>
                        <a:pt x="430" y="250"/>
                      </a:lnTo>
                      <a:lnTo>
                        <a:pt x="430" y="254"/>
                      </a:lnTo>
                      <a:lnTo>
                        <a:pt x="430" y="258"/>
                      </a:lnTo>
                      <a:lnTo>
                        <a:pt x="430" y="262"/>
                      </a:lnTo>
                      <a:lnTo>
                        <a:pt x="428" y="262"/>
                      </a:lnTo>
                      <a:lnTo>
                        <a:pt x="428" y="258"/>
                      </a:lnTo>
                      <a:lnTo>
                        <a:pt x="428" y="254"/>
                      </a:lnTo>
                      <a:lnTo>
                        <a:pt x="428" y="250"/>
                      </a:lnTo>
                      <a:lnTo>
                        <a:pt x="428" y="254"/>
                      </a:lnTo>
                      <a:lnTo>
                        <a:pt x="424" y="254"/>
                      </a:lnTo>
                      <a:lnTo>
                        <a:pt x="424" y="258"/>
                      </a:lnTo>
                      <a:lnTo>
                        <a:pt x="420" y="258"/>
                      </a:lnTo>
                      <a:lnTo>
                        <a:pt x="420" y="262"/>
                      </a:lnTo>
                      <a:lnTo>
                        <a:pt x="416" y="262"/>
                      </a:lnTo>
                      <a:lnTo>
                        <a:pt x="416" y="264"/>
                      </a:lnTo>
                      <a:lnTo>
                        <a:pt x="416" y="268"/>
                      </a:lnTo>
                      <a:lnTo>
                        <a:pt x="414" y="268"/>
                      </a:lnTo>
                      <a:lnTo>
                        <a:pt x="414" y="264"/>
                      </a:lnTo>
                      <a:lnTo>
                        <a:pt x="414" y="268"/>
                      </a:lnTo>
                      <a:lnTo>
                        <a:pt x="410" y="268"/>
                      </a:lnTo>
                      <a:lnTo>
                        <a:pt x="402" y="268"/>
                      </a:lnTo>
                      <a:lnTo>
                        <a:pt x="398" y="268"/>
                      </a:lnTo>
                      <a:lnTo>
                        <a:pt x="390" y="268"/>
                      </a:lnTo>
                      <a:lnTo>
                        <a:pt x="386" y="268"/>
                      </a:lnTo>
                      <a:lnTo>
                        <a:pt x="386" y="272"/>
                      </a:lnTo>
                      <a:lnTo>
                        <a:pt x="386" y="280"/>
                      </a:lnTo>
                      <a:lnTo>
                        <a:pt x="380" y="280"/>
                      </a:lnTo>
                      <a:lnTo>
                        <a:pt x="384" y="280"/>
                      </a:lnTo>
                      <a:lnTo>
                        <a:pt x="384" y="284"/>
                      </a:lnTo>
                      <a:lnTo>
                        <a:pt x="386" y="288"/>
                      </a:lnTo>
                      <a:lnTo>
                        <a:pt x="390" y="288"/>
                      </a:lnTo>
                      <a:lnTo>
                        <a:pt x="390" y="290"/>
                      </a:lnTo>
                      <a:lnTo>
                        <a:pt x="390" y="294"/>
                      </a:lnTo>
                      <a:lnTo>
                        <a:pt x="394" y="294"/>
                      </a:lnTo>
                      <a:lnTo>
                        <a:pt x="394" y="298"/>
                      </a:lnTo>
                      <a:lnTo>
                        <a:pt x="390" y="298"/>
                      </a:lnTo>
                      <a:lnTo>
                        <a:pt x="386" y="298"/>
                      </a:lnTo>
                      <a:lnTo>
                        <a:pt x="380" y="298"/>
                      </a:lnTo>
                      <a:lnTo>
                        <a:pt x="376" y="298"/>
                      </a:lnTo>
                      <a:lnTo>
                        <a:pt x="376" y="302"/>
                      </a:lnTo>
                      <a:lnTo>
                        <a:pt x="368" y="310"/>
                      </a:lnTo>
                      <a:lnTo>
                        <a:pt x="368" y="314"/>
                      </a:lnTo>
                      <a:lnTo>
                        <a:pt x="372" y="318"/>
                      </a:lnTo>
                      <a:lnTo>
                        <a:pt x="368" y="320"/>
                      </a:lnTo>
                      <a:lnTo>
                        <a:pt x="368" y="324"/>
                      </a:lnTo>
                      <a:lnTo>
                        <a:pt x="364" y="324"/>
                      </a:lnTo>
                      <a:lnTo>
                        <a:pt x="364" y="320"/>
                      </a:lnTo>
                      <a:lnTo>
                        <a:pt x="360" y="320"/>
                      </a:lnTo>
                      <a:lnTo>
                        <a:pt x="360" y="318"/>
                      </a:lnTo>
                      <a:lnTo>
                        <a:pt x="360" y="314"/>
                      </a:lnTo>
                      <a:lnTo>
                        <a:pt x="358" y="314"/>
                      </a:lnTo>
                      <a:lnTo>
                        <a:pt x="358" y="310"/>
                      </a:lnTo>
                      <a:lnTo>
                        <a:pt x="354" y="310"/>
                      </a:lnTo>
                      <a:lnTo>
                        <a:pt x="354" y="306"/>
                      </a:lnTo>
                      <a:lnTo>
                        <a:pt x="350" y="306"/>
                      </a:lnTo>
                      <a:lnTo>
                        <a:pt x="346" y="302"/>
                      </a:lnTo>
                      <a:lnTo>
                        <a:pt x="346" y="298"/>
                      </a:lnTo>
                      <a:lnTo>
                        <a:pt x="342" y="298"/>
                      </a:lnTo>
                      <a:lnTo>
                        <a:pt x="338" y="298"/>
                      </a:lnTo>
                      <a:lnTo>
                        <a:pt x="338" y="294"/>
                      </a:lnTo>
                      <a:lnTo>
                        <a:pt x="338" y="298"/>
                      </a:lnTo>
                      <a:lnTo>
                        <a:pt x="342" y="298"/>
                      </a:lnTo>
                      <a:lnTo>
                        <a:pt x="342" y="302"/>
                      </a:lnTo>
                      <a:lnTo>
                        <a:pt x="338" y="298"/>
                      </a:lnTo>
                      <a:lnTo>
                        <a:pt x="334" y="298"/>
                      </a:lnTo>
                      <a:lnTo>
                        <a:pt x="334" y="294"/>
                      </a:lnTo>
                      <a:lnTo>
                        <a:pt x="330" y="298"/>
                      </a:lnTo>
                      <a:lnTo>
                        <a:pt x="330" y="294"/>
                      </a:lnTo>
                      <a:lnTo>
                        <a:pt x="328" y="294"/>
                      </a:lnTo>
                      <a:lnTo>
                        <a:pt x="328" y="298"/>
                      </a:lnTo>
                      <a:lnTo>
                        <a:pt x="330" y="298"/>
                      </a:lnTo>
                      <a:lnTo>
                        <a:pt x="328" y="298"/>
                      </a:lnTo>
                      <a:lnTo>
                        <a:pt x="324" y="302"/>
                      </a:lnTo>
                      <a:lnTo>
                        <a:pt x="320" y="302"/>
                      </a:lnTo>
                      <a:lnTo>
                        <a:pt x="316" y="306"/>
                      </a:lnTo>
                      <a:lnTo>
                        <a:pt x="312" y="306"/>
                      </a:lnTo>
                      <a:lnTo>
                        <a:pt x="308" y="306"/>
                      </a:lnTo>
                      <a:lnTo>
                        <a:pt x="304" y="306"/>
                      </a:lnTo>
                      <a:lnTo>
                        <a:pt x="302" y="302"/>
                      </a:lnTo>
                      <a:lnTo>
                        <a:pt x="298" y="302"/>
                      </a:lnTo>
                      <a:lnTo>
                        <a:pt x="294" y="302"/>
                      </a:lnTo>
                      <a:lnTo>
                        <a:pt x="290" y="302"/>
                      </a:lnTo>
                      <a:lnTo>
                        <a:pt x="286" y="298"/>
                      </a:lnTo>
                      <a:lnTo>
                        <a:pt x="282" y="298"/>
                      </a:lnTo>
                      <a:lnTo>
                        <a:pt x="282" y="294"/>
                      </a:lnTo>
                      <a:lnTo>
                        <a:pt x="278" y="294"/>
                      </a:lnTo>
                      <a:lnTo>
                        <a:pt x="274" y="294"/>
                      </a:lnTo>
                      <a:lnTo>
                        <a:pt x="274" y="290"/>
                      </a:lnTo>
                      <a:lnTo>
                        <a:pt x="272" y="290"/>
                      </a:lnTo>
                      <a:lnTo>
                        <a:pt x="268" y="290"/>
                      </a:lnTo>
                      <a:lnTo>
                        <a:pt x="264" y="290"/>
                      </a:lnTo>
                      <a:lnTo>
                        <a:pt x="264" y="288"/>
                      </a:lnTo>
                      <a:lnTo>
                        <a:pt x="260" y="288"/>
                      </a:lnTo>
                      <a:lnTo>
                        <a:pt x="256" y="284"/>
                      </a:lnTo>
                      <a:lnTo>
                        <a:pt x="252" y="284"/>
                      </a:lnTo>
                      <a:lnTo>
                        <a:pt x="248" y="280"/>
                      </a:lnTo>
                      <a:lnTo>
                        <a:pt x="244" y="280"/>
                      </a:lnTo>
                      <a:lnTo>
                        <a:pt x="242" y="280"/>
                      </a:lnTo>
                      <a:lnTo>
                        <a:pt x="242" y="276"/>
                      </a:lnTo>
                      <a:lnTo>
                        <a:pt x="238" y="276"/>
                      </a:lnTo>
                      <a:lnTo>
                        <a:pt x="238" y="272"/>
                      </a:lnTo>
                      <a:lnTo>
                        <a:pt x="234" y="272"/>
                      </a:lnTo>
                      <a:lnTo>
                        <a:pt x="234" y="268"/>
                      </a:lnTo>
                      <a:lnTo>
                        <a:pt x="230" y="268"/>
                      </a:lnTo>
                      <a:lnTo>
                        <a:pt x="230" y="264"/>
                      </a:lnTo>
                      <a:lnTo>
                        <a:pt x="230" y="268"/>
                      </a:lnTo>
                      <a:lnTo>
                        <a:pt x="226" y="268"/>
                      </a:lnTo>
                      <a:lnTo>
                        <a:pt x="222" y="264"/>
                      </a:lnTo>
                      <a:lnTo>
                        <a:pt x="218" y="264"/>
                      </a:lnTo>
                      <a:lnTo>
                        <a:pt x="216" y="264"/>
                      </a:lnTo>
                      <a:lnTo>
                        <a:pt x="216" y="262"/>
                      </a:lnTo>
                      <a:lnTo>
                        <a:pt x="212" y="262"/>
                      </a:lnTo>
                      <a:lnTo>
                        <a:pt x="208" y="262"/>
                      </a:lnTo>
                      <a:lnTo>
                        <a:pt x="208" y="258"/>
                      </a:lnTo>
                      <a:lnTo>
                        <a:pt x="204" y="254"/>
                      </a:lnTo>
                      <a:lnTo>
                        <a:pt x="204" y="250"/>
                      </a:lnTo>
                      <a:lnTo>
                        <a:pt x="200" y="250"/>
                      </a:lnTo>
                      <a:lnTo>
                        <a:pt x="196" y="250"/>
                      </a:lnTo>
                      <a:lnTo>
                        <a:pt x="196" y="246"/>
                      </a:lnTo>
                      <a:lnTo>
                        <a:pt x="192" y="246"/>
                      </a:lnTo>
                      <a:lnTo>
                        <a:pt x="188" y="242"/>
                      </a:lnTo>
                      <a:lnTo>
                        <a:pt x="186" y="242"/>
                      </a:lnTo>
                      <a:lnTo>
                        <a:pt x="186" y="238"/>
                      </a:lnTo>
                      <a:lnTo>
                        <a:pt x="186" y="234"/>
                      </a:lnTo>
                      <a:lnTo>
                        <a:pt x="182" y="234"/>
                      </a:lnTo>
                      <a:lnTo>
                        <a:pt x="182" y="232"/>
                      </a:lnTo>
                      <a:lnTo>
                        <a:pt x="178" y="232"/>
                      </a:lnTo>
                      <a:lnTo>
                        <a:pt x="178" y="228"/>
                      </a:lnTo>
                      <a:lnTo>
                        <a:pt x="178" y="224"/>
                      </a:lnTo>
                      <a:lnTo>
                        <a:pt x="182" y="224"/>
                      </a:lnTo>
                      <a:lnTo>
                        <a:pt x="182" y="220"/>
                      </a:lnTo>
                      <a:lnTo>
                        <a:pt x="186" y="220"/>
                      </a:lnTo>
                      <a:lnTo>
                        <a:pt x="182" y="218"/>
                      </a:lnTo>
                      <a:lnTo>
                        <a:pt x="182" y="214"/>
                      </a:lnTo>
                      <a:lnTo>
                        <a:pt x="186" y="214"/>
                      </a:lnTo>
                      <a:lnTo>
                        <a:pt x="186" y="210"/>
                      </a:lnTo>
                      <a:lnTo>
                        <a:pt x="186" y="206"/>
                      </a:lnTo>
                      <a:lnTo>
                        <a:pt x="182" y="206"/>
                      </a:lnTo>
                      <a:lnTo>
                        <a:pt x="182" y="202"/>
                      </a:lnTo>
                      <a:lnTo>
                        <a:pt x="182" y="198"/>
                      </a:lnTo>
                      <a:lnTo>
                        <a:pt x="178" y="198"/>
                      </a:lnTo>
                      <a:lnTo>
                        <a:pt x="178" y="194"/>
                      </a:lnTo>
                      <a:lnTo>
                        <a:pt x="178" y="190"/>
                      </a:lnTo>
                      <a:lnTo>
                        <a:pt x="178" y="188"/>
                      </a:lnTo>
                      <a:lnTo>
                        <a:pt x="178" y="184"/>
                      </a:lnTo>
                      <a:lnTo>
                        <a:pt x="174" y="184"/>
                      </a:lnTo>
                      <a:lnTo>
                        <a:pt x="170" y="180"/>
                      </a:lnTo>
                      <a:lnTo>
                        <a:pt x="170" y="176"/>
                      </a:lnTo>
                      <a:lnTo>
                        <a:pt x="166" y="176"/>
                      </a:lnTo>
                      <a:lnTo>
                        <a:pt x="166" y="172"/>
                      </a:lnTo>
                      <a:lnTo>
                        <a:pt x="162" y="168"/>
                      </a:lnTo>
                      <a:lnTo>
                        <a:pt x="162" y="164"/>
                      </a:lnTo>
                      <a:lnTo>
                        <a:pt x="160" y="164"/>
                      </a:lnTo>
                      <a:lnTo>
                        <a:pt x="160" y="160"/>
                      </a:lnTo>
                      <a:lnTo>
                        <a:pt x="152" y="158"/>
                      </a:lnTo>
                      <a:lnTo>
                        <a:pt x="152" y="154"/>
                      </a:lnTo>
                      <a:lnTo>
                        <a:pt x="148" y="154"/>
                      </a:lnTo>
                      <a:lnTo>
                        <a:pt x="152" y="154"/>
                      </a:lnTo>
                      <a:lnTo>
                        <a:pt x="152" y="150"/>
                      </a:lnTo>
                      <a:lnTo>
                        <a:pt x="148" y="154"/>
                      </a:lnTo>
                      <a:lnTo>
                        <a:pt x="148" y="150"/>
                      </a:lnTo>
                      <a:lnTo>
                        <a:pt x="144" y="150"/>
                      </a:lnTo>
                      <a:lnTo>
                        <a:pt x="148" y="150"/>
                      </a:lnTo>
                      <a:lnTo>
                        <a:pt x="144" y="150"/>
                      </a:lnTo>
                      <a:lnTo>
                        <a:pt x="144" y="146"/>
                      </a:lnTo>
                      <a:lnTo>
                        <a:pt x="144" y="142"/>
                      </a:lnTo>
                      <a:lnTo>
                        <a:pt x="144" y="146"/>
                      </a:lnTo>
                      <a:lnTo>
                        <a:pt x="140" y="142"/>
                      </a:lnTo>
                      <a:lnTo>
                        <a:pt x="144" y="142"/>
                      </a:lnTo>
                      <a:lnTo>
                        <a:pt x="140" y="138"/>
                      </a:lnTo>
                      <a:lnTo>
                        <a:pt x="136" y="138"/>
                      </a:lnTo>
                      <a:lnTo>
                        <a:pt x="136" y="134"/>
                      </a:lnTo>
                      <a:lnTo>
                        <a:pt x="132" y="134"/>
                      </a:lnTo>
                      <a:lnTo>
                        <a:pt x="132" y="132"/>
                      </a:lnTo>
                      <a:lnTo>
                        <a:pt x="132" y="134"/>
                      </a:lnTo>
                      <a:lnTo>
                        <a:pt x="130" y="134"/>
                      </a:lnTo>
                      <a:lnTo>
                        <a:pt x="130" y="132"/>
                      </a:lnTo>
                      <a:lnTo>
                        <a:pt x="132" y="132"/>
                      </a:lnTo>
                      <a:lnTo>
                        <a:pt x="132" y="128"/>
                      </a:lnTo>
                      <a:lnTo>
                        <a:pt x="132" y="132"/>
                      </a:lnTo>
                      <a:lnTo>
                        <a:pt x="130" y="132"/>
                      </a:lnTo>
                      <a:lnTo>
                        <a:pt x="126" y="132"/>
                      </a:lnTo>
                      <a:lnTo>
                        <a:pt x="126" y="128"/>
                      </a:lnTo>
                      <a:lnTo>
                        <a:pt x="126" y="124"/>
                      </a:lnTo>
                      <a:lnTo>
                        <a:pt x="126" y="120"/>
                      </a:lnTo>
                      <a:lnTo>
                        <a:pt x="126" y="124"/>
                      </a:lnTo>
                      <a:lnTo>
                        <a:pt x="126" y="120"/>
                      </a:lnTo>
                      <a:lnTo>
                        <a:pt x="130" y="120"/>
                      </a:lnTo>
                      <a:lnTo>
                        <a:pt x="126" y="116"/>
                      </a:lnTo>
                      <a:lnTo>
                        <a:pt x="126" y="112"/>
                      </a:lnTo>
                      <a:lnTo>
                        <a:pt x="122" y="112"/>
                      </a:lnTo>
                      <a:lnTo>
                        <a:pt x="118" y="112"/>
                      </a:lnTo>
                      <a:lnTo>
                        <a:pt x="118" y="108"/>
                      </a:lnTo>
                      <a:lnTo>
                        <a:pt x="118" y="104"/>
                      </a:lnTo>
                      <a:lnTo>
                        <a:pt x="114" y="104"/>
                      </a:lnTo>
                      <a:lnTo>
                        <a:pt x="110" y="104"/>
                      </a:lnTo>
                      <a:lnTo>
                        <a:pt x="110" y="102"/>
                      </a:lnTo>
                      <a:lnTo>
                        <a:pt x="106" y="98"/>
                      </a:lnTo>
                      <a:lnTo>
                        <a:pt x="106" y="94"/>
                      </a:lnTo>
                      <a:lnTo>
                        <a:pt x="106" y="90"/>
                      </a:lnTo>
                      <a:lnTo>
                        <a:pt x="110" y="90"/>
                      </a:lnTo>
                      <a:lnTo>
                        <a:pt x="106" y="90"/>
                      </a:lnTo>
                      <a:lnTo>
                        <a:pt x="104" y="90"/>
                      </a:lnTo>
                      <a:lnTo>
                        <a:pt x="100" y="90"/>
                      </a:lnTo>
                      <a:lnTo>
                        <a:pt x="100" y="86"/>
                      </a:lnTo>
                      <a:lnTo>
                        <a:pt x="96" y="86"/>
                      </a:lnTo>
                      <a:lnTo>
                        <a:pt x="96" y="82"/>
                      </a:lnTo>
                      <a:lnTo>
                        <a:pt x="92" y="78"/>
                      </a:lnTo>
                      <a:lnTo>
                        <a:pt x="92" y="74"/>
                      </a:lnTo>
                      <a:lnTo>
                        <a:pt x="90" y="74"/>
                      </a:lnTo>
                      <a:lnTo>
                        <a:pt x="90" y="72"/>
                      </a:lnTo>
                      <a:lnTo>
                        <a:pt x="86" y="72"/>
                      </a:lnTo>
                      <a:lnTo>
                        <a:pt x="86" y="68"/>
                      </a:lnTo>
                      <a:lnTo>
                        <a:pt x="86" y="64"/>
                      </a:lnTo>
                      <a:lnTo>
                        <a:pt x="82" y="64"/>
                      </a:lnTo>
                      <a:lnTo>
                        <a:pt x="86" y="60"/>
                      </a:lnTo>
                      <a:lnTo>
                        <a:pt x="82" y="60"/>
                      </a:lnTo>
                      <a:lnTo>
                        <a:pt x="82" y="56"/>
                      </a:lnTo>
                      <a:lnTo>
                        <a:pt x="78" y="52"/>
                      </a:lnTo>
                      <a:lnTo>
                        <a:pt x="78" y="48"/>
                      </a:lnTo>
                      <a:lnTo>
                        <a:pt x="78" y="46"/>
                      </a:lnTo>
                      <a:lnTo>
                        <a:pt x="74" y="42"/>
                      </a:lnTo>
                      <a:lnTo>
                        <a:pt x="74" y="38"/>
                      </a:lnTo>
                      <a:lnTo>
                        <a:pt x="74" y="34"/>
                      </a:lnTo>
                      <a:lnTo>
                        <a:pt x="74" y="30"/>
                      </a:lnTo>
                      <a:lnTo>
                        <a:pt x="70" y="30"/>
                      </a:lnTo>
                      <a:lnTo>
                        <a:pt x="66" y="30"/>
                      </a:lnTo>
                      <a:lnTo>
                        <a:pt x="66" y="26"/>
                      </a:lnTo>
                      <a:lnTo>
                        <a:pt x="66" y="22"/>
                      </a:lnTo>
                      <a:lnTo>
                        <a:pt x="62" y="22"/>
                      </a:lnTo>
                      <a:lnTo>
                        <a:pt x="60" y="22"/>
                      </a:lnTo>
                      <a:lnTo>
                        <a:pt x="62" y="22"/>
                      </a:lnTo>
                      <a:lnTo>
                        <a:pt x="60" y="22"/>
                      </a:lnTo>
                      <a:lnTo>
                        <a:pt x="56" y="22"/>
                      </a:lnTo>
                      <a:lnTo>
                        <a:pt x="52" y="18"/>
                      </a:lnTo>
                      <a:lnTo>
                        <a:pt x="48" y="18"/>
                      </a:lnTo>
                      <a:lnTo>
                        <a:pt x="48" y="16"/>
                      </a:lnTo>
                      <a:lnTo>
                        <a:pt x="44" y="16"/>
                      </a:lnTo>
                      <a:lnTo>
                        <a:pt x="48" y="16"/>
                      </a:lnTo>
                      <a:lnTo>
                        <a:pt x="48" y="18"/>
                      </a:lnTo>
                      <a:lnTo>
                        <a:pt x="48" y="22"/>
                      </a:lnTo>
                      <a:lnTo>
                        <a:pt x="48" y="26"/>
                      </a:lnTo>
                      <a:lnTo>
                        <a:pt x="48" y="30"/>
                      </a:lnTo>
                      <a:lnTo>
                        <a:pt x="48" y="34"/>
                      </a:lnTo>
                      <a:lnTo>
                        <a:pt x="52" y="34"/>
                      </a:lnTo>
                      <a:lnTo>
                        <a:pt x="52" y="38"/>
                      </a:lnTo>
                      <a:lnTo>
                        <a:pt x="52" y="42"/>
                      </a:lnTo>
                      <a:lnTo>
                        <a:pt x="52" y="46"/>
                      </a:lnTo>
                      <a:lnTo>
                        <a:pt x="52" y="48"/>
                      </a:lnTo>
                      <a:lnTo>
                        <a:pt x="52" y="52"/>
                      </a:lnTo>
                      <a:lnTo>
                        <a:pt x="56" y="52"/>
                      </a:lnTo>
                      <a:lnTo>
                        <a:pt x="56" y="56"/>
                      </a:lnTo>
                      <a:lnTo>
                        <a:pt x="60" y="56"/>
                      </a:lnTo>
                      <a:lnTo>
                        <a:pt x="60" y="60"/>
                      </a:lnTo>
                      <a:lnTo>
                        <a:pt x="62" y="60"/>
                      </a:lnTo>
                      <a:lnTo>
                        <a:pt x="62" y="64"/>
                      </a:lnTo>
                      <a:lnTo>
                        <a:pt x="66" y="64"/>
                      </a:lnTo>
                      <a:lnTo>
                        <a:pt x="66" y="68"/>
                      </a:lnTo>
                      <a:lnTo>
                        <a:pt x="66" y="72"/>
                      </a:lnTo>
                      <a:lnTo>
                        <a:pt x="70" y="72"/>
                      </a:lnTo>
                      <a:lnTo>
                        <a:pt x="70" y="74"/>
                      </a:lnTo>
                      <a:lnTo>
                        <a:pt x="74" y="74"/>
                      </a:lnTo>
                      <a:lnTo>
                        <a:pt x="74" y="78"/>
                      </a:lnTo>
                      <a:lnTo>
                        <a:pt x="78" y="82"/>
                      </a:lnTo>
                      <a:lnTo>
                        <a:pt x="78" y="86"/>
                      </a:lnTo>
                      <a:lnTo>
                        <a:pt x="78" y="90"/>
                      </a:lnTo>
                      <a:lnTo>
                        <a:pt x="78" y="94"/>
                      </a:lnTo>
                      <a:lnTo>
                        <a:pt x="82" y="94"/>
                      </a:lnTo>
                      <a:lnTo>
                        <a:pt x="86" y="98"/>
                      </a:lnTo>
                      <a:lnTo>
                        <a:pt x="86" y="102"/>
                      </a:lnTo>
                      <a:lnTo>
                        <a:pt x="90" y="104"/>
                      </a:lnTo>
                      <a:lnTo>
                        <a:pt x="90" y="108"/>
                      </a:lnTo>
                      <a:lnTo>
                        <a:pt x="90" y="112"/>
                      </a:lnTo>
                      <a:lnTo>
                        <a:pt x="92" y="112"/>
                      </a:lnTo>
                      <a:lnTo>
                        <a:pt x="92" y="116"/>
                      </a:lnTo>
                      <a:lnTo>
                        <a:pt x="92" y="112"/>
                      </a:lnTo>
                      <a:lnTo>
                        <a:pt x="92" y="108"/>
                      </a:lnTo>
                      <a:lnTo>
                        <a:pt x="92" y="112"/>
                      </a:lnTo>
                      <a:lnTo>
                        <a:pt x="96" y="112"/>
                      </a:lnTo>
                      <a:lnTo>
                        <a:pt x="96" y="116"/>
                      </a:lnTo>
                      <a:lnTo>
                        <a:pt x="96" y="120"/>
                      </a:lnTo>
                      <a:lnTo>
                        <a:pt x="96" y="124"/>
                      </a:lnTo>
                      <a:lnTo>
                        <a:pt x="96" y="128"/>
                      </a:lnTo>
                      <a:lnTo>
                        <a:pt x="100" y="128"/>
                      </a:lnTo>
                      <a:lnTo>
                        <a:pt x="100" y="132"/>
                      </a:lnTo>
                      <a:lnTo>
                        <a:pt x="104" y="134"/>
                      </a:lnTo>
                      <a:lnTo>
                        <a:pt x="104" y="138"/>
                      </a:lnTo>
                      <a:lnTo>
                        <a:pt x="104" y="142"/>
                      </a:lnTo>
                      <a:lnTo>
                        <a:pt x="106" y="142"/>
                      </a:lnTo>
                      <a:lnTo>
                        <a:pt x="106" y="146"/>
                      </a:lnTo>
                      <a:lnTo>
                        <a:pt x="106" y="150"/>
                      </a:lnTo>
                      <a:lnTo>
                        <a:pt x="106" y="154"/>
                      </a:lnTo>
                      <a:lnTo>
                        <a:pt x="106" y="158"/>
                      </a:lnTo>
                      <a:lnTo>
                        <a:pt x="110" y="158"/>
                      </a:lnTo>
                      <a:lnTo>
                        <a:pt x="114" y="158"/>
                      </a:lnTo>
                      <a:lnTo>
                        <a:pt x="110" y="158"/>
                      </a:lnTo>
                      <a:lnTo>
                        <a:pt x="110" y="154"/>
                      </a:lnTo>
                      <a:lnTo>
                        <a:pt x="114" y="154"/>
                      </a:lnTo>
                      <a:lnTo>
                        <a:pt x="114" y="158"/>
                      </a:lnTo>
                      <a:lnTo>
                        <a:pt x="118" y="158"/>
                      </a:lnTo>
                      <a:lnTo>
                        <a:pt x="118" y="160"/>
                      </a:lnTo>
                      <a:lnTo>
                        <a:pt x="118" y="164"/>
                      </a:lnTo>
                      <a:lnTo>
                        <a:pt x="122" y="164"/>
                      </a:lnTo>
                      <a:lnTo>
                        <a:pt x="122" y="168"/>
                      </a:lnTo>
                      <a:lnTo>
                        <a:pt x="126" y="168"/>
                      </a:lnTo>
                      <a:lnTo>
                        <a:pt x="126" y="172"/>
                      </a:lnTo>
                      <a:lnTo>
                        <a:pt x="126" y="176"/>
                      </a:lnTo>
                      <a:lnTo>
                        <a:pt x="122" y="176"/>
                      </a:lnTo>
                      <a:lnTo>
                        <a:pt x="122" y="180"/>
                      </a:lnTo>
                      <a:lnTo>
                        <a:pt x="118" y="180"/>
                      </a:lnTo>
                      <a:lnTo>
                        <a:pt x="114" y="180"/>
                      </a:lnTo>
                      <a:lnTo>
                        <a:pt x="114" y="176"/>
                      </a:lnTo>
                      <a:lnTo>
                        <a:pt x="114" y="172"/>
                      </a:lnTo>
                      <a:lnTo>
                        <a:pt x="110" y="168"/>
                      </a:lnTo>
                      <a:lnTo>
                        <a:pt x="106" y="164"/>
                      </a:lnTo>
                      <a:lnTo>
                        <a:pt x="104" y="160"/>
                      </a:lnTo>
                      <a:lnTo>
                        <a:pt x="104" y="158"/>
                      </a:lnTo>
                      <a:lnTo>
                        <a:pt x="100" y="158"/>
                      </a:lnTo>
                      <a:lnTo>
                        <a:pt x="96" y="154"/>
                      </a:lnTo>
                      <a:lnTo>
                        <a:pt x="96" y="154"/>
                      </a:lnTo>
                      <a:lnTo>
                        <a:pt x="96" y="154"/>
                      </a:lnTo>
                      <a:close/>
                      <a:moveTo>
                        <a:pt x="106" y="142"/>
                      </a:moveTo>
                      <a:lnTo>
                        <a:pt x="110" y="146"/>
                      </a:lnTo>
                      <a:lnTo>
                        <a:pt x="106" y="146"/>
                      </a:lnTo>
                      <a:lnTo>
                        <a:pt x="106" y="142"/>
                      </a:lnTo>
                      <a:lnTo>
                        <a:pt x="106" y="142"/>
                      </a:lnTo>
                      <a:lnTo>
                        <a:pt x="106" y="142"/>
                      </a:lnTo>
                      <a:close/>
                      <a:moveTo>
                        <a:pt x="86" y="138"/>
                      </a:moveTo>
                      <a:lnTo>
                        <a:pt x="90" y="138"/>
                      </a:lnTo>
                      <a:lnTo>
                        <a:pt x="86" y="138"/>
                      </a:lnTo>
                      <a:lnTo>
                        <a:pt x="86" y="142"/>
                      </a:lnTo>
                      <a:lnTo>
                        <a:pt x="86" y="146"/>
                      </a:lnTo>
                      <a:lnTo>
                        <a:pt x="90" y="150"/>
                      </a:lnTo>
                      <a:lnTo>
                        <a:pt x="86" y="150"/>
                      </a:lnTo>
                      <a:lnTo>
                        <a:pt x="86" y="146"/>
                      </a:lnTo>
                      <a:lnTo>
                        <a:pt x="86" y="142"/>
                      </a:lnTo>
                      <a:lnTo>
                        <a:pt x="86" y="138"/>
                      </a:lnTo>
                      <a:lnTo>
                        <a:pt x="86" y="138"/>
                      </a:lnTo>
                      <a:lnTo>
                        <a:pt x="86" y="138"/>
                      </a:lnTo>
                      <a:close/>
                      <a:moveTo>
                        <a:pt x="104" y="254"/>
                      </a:moveTo>
                      <a:lnTo>
                        <a:pt x="100" y="254"/>
                      </a:lnTo>
                      <a:lnTo>
                        <a:pt x="104" y="254"/>
                      </a:lnTo>
                      <a:lnTo>
                        <a:pt x="104" y="250"/>
                      </a:lnTo>
                      <a:lnTo>
                        <a:pt x="104" y="254"/>
                      </a:lnTo>
                      <a:lnTo>
                        <a:pt x="104" y="254"/>
                      </a:lnTo>
                      <a:lnTo>
                        <a:pt x="104" y="254"/>
                      </a:lnTo>
                      <a:close/>
                      <a:moveTo>
                        <a:pt x="74" y="72"/>
                      </a:moveTo>
                      <a:lnTo>
                        <a:pt x="70" y="72"/>
                      </a:lnTo>
                      <a:lnTo>
                        <a:pt x="70" y="68"/>
                      </a:lnTo>
                      <a:lnTo>
                        <a:pt x="66" y="64"/>
                      </a:lnTo>
                      <a:lnTo>
                        <a:pt x="66" y="60"/>
                      </a:lnTo>
                      <a:lnTo>
                        <a:pt x="70" y="60"/>
                      </a:lnTo>
                      <a:lnTo>
                        <a:pt x="70" y="64"/>
                      </a:lnTo>
                      <a:lnTo>
                        <a:pt x="70" y="68"/>
                      </a:lnTo>
                      <a:lnTo>
                        <a:pt x="74" y="68"/>
                      </a:lnTo>
                      <a:lnTo>
                        <a:pt x="74" y="72"/>
                      </a:lnTo>
                      <a:lnTo>
                        <a:pt x="74" y="72"/>
                      </a:lnTo>
                      <a:lnTo>
                        <a:pt x="74" y="72"/>
                      </a:lnTo>
                      <a:close/>
                      <a:moveTo>
                        <a:pt x="86" y="74"/>
                      </a:moveTo>
                      <a:lnTo>
                        <a:pt x="82" y="74"/>
                      </a:lnTo>
                      <a:lnTo>
                        <a:pt x="82" y="72"/>
                      </a:lnTo>
                      <a:lnTo>
                        <a:pt x="82" y="68"/>
                      </a:lnTo>
                      <a:lnTo>
                        <a:pt x="86" y="68"/>
                      </a:lnTo>
                      <a:lnTo>
                        <a:pt x="86" y="72"/>
                      </a:lnTo>
                      <a:lnTo>
                        <a:pt x="86" y="74"/>
                      </a:lnTo>
                      <a:lnTo>
                        <a:pt x="86" y="74"/>
                      </a:lnTo>
                      <a:lnTo>
                        <a:pt x="86" y="74"/>
                      </a:lnTo>
                      <a:close/>
                      <a:moveTo>
                        <a:pt x="0" y="72"/>
                      </a:moveTo>
                      <a:lnTo>
                        <a:pt x="0" y="68"/>
                      </a:lnTo>
                      <a:lnTo>
                        <a:pt x="0" y="72"/>
                      </a:lnTo>
                      <a:lnTo>
                        <a:pt x="0" y="72"/>
                      </a:lnTo>
                      <a:lnTo>
                        <a:pt x="0" y="72"/>
                      </a:lnTo>
                      <a:close/>
                      <a:moveTo>
                        <a:pt x="44" y="90"/>
                      </a:moveTo>
                      <a:lnTo>
                        <a:pt x="44" y="86"/>
                      </a:lnTo>
                      <a:lnTo>
                        <a:pt x="40" y="86"/>
                      </a:lnTo>
                      <a:lnTo>
                        <a:pt x="44" y="86"/>
                      </a:lnTo>
                      <a:lnTo>
                        <a:pt x="44" y="82"/>
                      </a:lnTo>
                      <a:lnTo>
                        <a:pt x="44" y="86"/>
                      </a:lnTo>
                      <a:lnTo>
                        <a:pt x="44" y="90"/>
                      </a:lnTo>
                      <a:lnTo>
                        <a:pt x="44" y="90"/>
                      </a:lnTo>
                      <a:lnTo>
                        <a:pt x="44" y="90"/>
                      </a:lnTo>
                      <a:close/>
                      <a:moveTo>
                        <a:pt x="100" y="128"/>
                      </a:moveTo>
                      <a:lnTo>
                        <a:pt x="100" y="124"/>
                      </a:lnTo>
                      <a:lnTo>
                        <a:pt x="100" y="128"/>
                      </a:lnTo>
                      <a:lnTo>
                        <a:pt x="100" y="128"/>
                      </a:lnTo>
                      <a:lnTo>
                        <a:pt x="100" y="128"/>
                      </a:lnTo>
                      <a:close/>
                      <a:moveTo>
                        <a:pt x="110" y="154"/>
                      </a:moveTo>
                      <a:lnTo>
                        <a:pt x="110" y="150"/>
                      </a:lnTo>
                      <a:lnTo>
                        <a:pt x="110" y="154"/>
                      </a:lnTo>
                      <a:lnTo>
                        <a:pt x="110" y="154"/>
                      </a:lnTo>
                      <a:lnTo>
                        <a:pt x="110" y="154"/>
                      </a:lnTo>
                      <a:close/>
                      <a:moveTo>
                        <a:pt x="92" y="154"/>
                      </a:moveTo>
                      <a:lnTo>
                        <a:pt x="90" y="154"/>
                      </a:lnTo>
                      <a:lnTo>
                        <a:pt x="90" y="150"/>
                      </a:lnTo>
                      <a:lnTo>
                        <a:pt x="92" y="150"/>
                      </a:lnTo>
                      <a:lnTo>
                        <a:pt x="92" y="154"/>
                      </a:lnTo>
                      <a:lnTo>
                        <a:pt x="92" y="154"/>
                      </a:lnTo>
                      <a:lnTo>
                        <a:pt x="92" y="154"/>
                      </a:lnTo>
                      <a:close/>
                      <a:moveTo>
                        <a:pt x="118" y="158"/>
                      </a:moveTo>
                      <a:lnTo>
                        <a:pt x="118" y="154"/>
                      </a:lnTo>
                      <a:lnTo>
                        <a:pt x="118" y="158"/>
                      </a:lnTo>
                      <a:lnTo>
                        <a:pt x="118" y="158"/>
                      </a:lnTo>
                      <a:lnTo>
                        <a:pt x="118" y="158"/>
                      </a:lnTo>
                      <a:close/>
                      <a:moveTo>
                        <a:pt x="162" y="206"/>
                      </a:moveTo>
                      <a:lnTo>
                        <a:pt x="162" y="202"/>
                      </a:lnTo>
                      <a:lnTo>
                        <a:pt x="166" y="202"/>
                      </a:lnTo>
                      <a:lnTo>
                        <a:pt x="166" y="206"/>
                      </a:lnTo>
                      <a:lnTo>
                        <a:pt x="162" y="206"/>
                      </a:lnTo>
                      <a:lnTo>
                        <a:pt x="162" y="206"/>
                      </a:lnTo>
                      <a:lnTo>
                        <a:pt x="162" y="206"/>
                      </a:lnTo>
                      <a:close/>
                      <a:moveTo>
                        <a:pt x="166" y="206"/>
                      </a:moveTo>
                      <a:lnTo>
                        <a:pt x="170" y="206"/>
                      </a:lnTo>
                      <a:lnTo>
                        <a:pt x="166" y="206"/>
                      </a:lnTo>
                      <a:lnTo>
                        <a:pt x="166" y="206"/>
                      </a:lnTo>
                      <a:lnTo>
                        <a:pt x="166" y="206"/>
                      </a:lnTo>
                      <a:close/>
                      <a:moveTo>
                        <a:pt x="442" y="228"/>
                      </a:moveTo>
                      <a:lnTo>
                        <a:pt x="442" y="224"/>
                      </a:lnTo>
                      <a:lnTo>
                        <a:pt x="442" y="220"/>
                      </a:lnTo>
                      <a:lnTo>
                        <a:pt x="446" y="220"/>
                      </a:lnTo>
                      <a:lnTo>
                        <a:pt x="446" y="224"/>
                      </a:lnTo>
                      <a:lnTo>
                        <a:pt x="442" y="224"/>
                      </a:lnTo>
                      <a:lnTo>
                        <a:pt x="442" y="228"/>
                      </a:lnTo>
                      <a:lnTo>
                        <a:pt x="442" y="228"/>
                      </a:lnTo>
                      <a:lnTo>
                        <a:pt x="442" y="228"/>
                      </a:lnTo>
                      <a:close/>
                      <a:moveTo>
                        <a:pt x="376" y="254"/>
                      </a:moveTo>
                      <a:lnTo>
                        <a:pt x="372" y="254"/>
                      </a:lnTo>
                      <a:lnTo>
                        <a:pt x="376" y="254"/>
                      </a:lnTo>
                      <a:lnTo>
                        <a:pt x="380" y="254"/>
                      </a:lnTo>
                      <a:lnTo>
                        <a:pt x="376" y="254"/>
                      </a:lnTo>
                      <a:lnTo>
                        <a:pt x="376" y="254"/>
                      </a:lnTo>
                      <a:lnTo>
                        <a:pt x="376" y="254"/>
                      </a:ln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5" name="Freeform 14"/>
                <p:cNvSpPr>
                  <a:spLocks/>
                </p:cNvSpPr>
                <p:nvPr/>
              </p:nvSpPr>
              <p:spPr bwMode="auto">
                <a:xfrm>
                  <a:off x="4921250" y="4241868"/>
                  <a:ext cx="285750" cy="234950"/>
                </a:xfrm>
                <a:custGeom>
                  <a:avLst/>
                  <a:gdLst>
                    <a:gd name="T0" fmla="*/ 126 w 180"/>
                    <a:gd name="T1" fmla="*/ 30 h 148"/>
                    <a:gd name="T2" fmla="*/ 112 w 180"/>
                    <a:gd name="T3" fmla="*/ 44 h 148"/>
                    <a:gd name="T4" fmla="*/ 106 w 180"/>
                    <a:gd name="T5" fmla="*/ 38 h 148"/>
                    <a:gd name="T6" fmla="*/ 100 w 180"/>
                    <a:gd name="T7" fmla="*/ 36 h 148"/>
                    <a:gd name="T8" fmla="*/ 96 w 180"/>
                    <a:gd name="T9" fmla="*/ 34 h 148"/>
                    <a:gd name="T10" fmla="*/ 80 w 180"/>
                    <a:gd name="T11" fmla="*/ 52 h 148"/>
                    <a:gd name="T12" fmla="*/ 74 w 180"/>
                    <a:gd name="T13" fmla="*/ 50 h 148"/>
                    <a:gd name="T14" fmla="*/ 56 w 180"/>
                    <a:gd name="T15" fmla="*/ 46 h 148"/>
                    <a:gd name="T16" fmla="*/ 40 w 180"/>
                    <a:gd name="T17" fmla="*/ 40 h 148"/>
                    <a:gd name="T18" fmla="*/ 34 w 180"/>
                    <a:gd name="T19" fmla="*/ 28 h 148"/>
                    <a:gd name="T20" fmla="*/ 34 w 180"/>
                    <a:gd name="T21" fmla="*/ 30 h 148"/>
                    <a:gd name="T22" fmla="*/ 28 w 180"/>
                    <a:gd name="T23" fmla="*/ 30 h 148"/>
                    <a:gd name="T24" fmla="*/ 26 w 180"/>
                    <a:gd name="T25" fmla="*/ 32 h 148"/>
                    <a:gd name="T26" fmla="*/ 16 w 180"/>
                    <a:gd name="T27" fmla="*/ 42 h 148"/>
                    <a:gd name="T28" fmla="*/ 10 w 180"/>
                    <a:gd name="T29" fmla="*/ 42 h 148"/>
                    <a:gd name="T30" fmla="*/ 8 w 180"/>
                    <a:gd name="T31" fmla="*/ 48 h 148"/>
                    <a:gd name="T32" fmla="*/ 2 w 180"/>
                    <a:gd name="T33" fmla="*/ 38 h 148"/>
                    <a:gd name="T34" fmla="*/ 0 w 180"/>
                    <a:gd name="T35" fmla="*/ 54 h 148"/>
                    <a:gd name="T36" fmla="*/ 10 w 180"/>
                    <a:gd name="T37" fmla="*/ 58 h 148"/>
                    <a:gd name="T38" fmla="*/ 12 w 180"/>
                    <a:gd name="T39" fmla="*/ 62 h 148"/>
                    <a:gd name="T40" fmla="*/ 24 w 180"/>
                    <a:gd name="T41" fmla="*/ 68 h 148"/>
                    <a:gd name="T42" fmla="*/ 26 w 180"/>
                    <a:gd name="T43" fmla="*/ 76 h 148"/>
                    <a:gd name="T44" fmla="*/ 42 w 180"/>
                    <a:gd name="T45" fmla="*/ 90 h 148"/>
                    <a:gd name="T46" fmla="*/ 56 w 180"/>
                    <a:gd name="T47" fmla="*/ 110 h 148"/>
                    <a:gd name="T48" fmla="*/ 68 w 180"/>
                    <a:gd name="T49" fmla="*/ 130 h 148"/>
                    <a:gd name="T50" fmla="*/ 76 w 180"/>
                    <a:gd name="T51" fmla="*/ 130 h 148"/>
                    <a:gd name="T52" fmla="*/ 90 w 180"/>
                    <a:gd name="T53" fmla="*/ 130 h 148"/>
                    <a:gd name="T54" fmla="*/ 108 w 180"/>
                    <a:gd name="T55" fmla="*/ 146 h 148"/>
                    <a:gd name="T56" fmla="*/ 110 w 180"/>
                    <a:gd name="T57" fmla="*/ 144 h 148"/>
                    <a:gd name="T58" fmla="*/ 122 w 180"/>
                    <a:gd name="T59" fmla="*/ 144 h 148"/>
                    <a:gd name="T60" fmla="*/ 136 w 180"/>
                    <a:gd name="T61" fmla="*/ 142 h 148"/>
                    <a:gd name="T62" fmla="*/ 152 w 180"/>
                    <a:gd name="T63" fmla="*/ 138 h 148"/>
                    <a:gd name="T64" fmla="*/ 180 w 180"/>
                    <a:gd name="T65" fmla="*/ 130 h 148"/>
                    <a:gd name="T66" fmla="*/ 168 w 180"/>
                    <a:gd name="T67" fmla="*/ 112 h 148"/>
                    <a:gd name="T68" fmla="*/ 162 w 180"/>
                    <a:gd name="T69" fmla="*/ 94 h 148"/>
                    <a:gd name="T70" fmla="*/ 150 w 180"/>
                    <a:gd name="T71" fmla="*/ 78 h 148"/>
                    <a:gd name="T72" fmla="*/ 138 w 180"/>
                    <a:gd name="T73" fmla="*/ 70 h 148"/>
                    <a:gd name="T74" fmla="*/ 140 w 180"/>
                    <a:gd name="T75" fmla="*/ 62 h 148"/>
                    <a:gd name="T76" fmla="*/ 154 w 180"/>
                    <a:gd name="T77" fmla="*/ 58 h 148"/>
                    <a:gd name="T78" fmla="*/ 156 w 180"/>
                    <a:gd name="T79" fmla="*/ 26 h 148"/>
                    <a:gd name="T80" fmla="*/ 156 w 180"/>
                    <a:gd name="T81" fmla="*/ 26 h 148"/>
                    <a:gd name="T82" fmla="*/ 154 w 180"/>
                    <a:gd name="T83" fmla="*/ 28 h 148"/>
                    <a:gd name="T84" fmla="*/ 152 w 180"/>
                    <a:gd name="T85" fmla="*/ 28 h 148"/>
                    <a:gd name="T86" fmla="*/ 152 w 180"/>
                    <a:gd name="T87" fmla="*/ 32 h 148"/>
                    <a:gd name="T88" fmla="*/ 148 w 180"/>
                    <a:gd name="T89" fmla="*/ 28 h 148"/>
                    <a:gd name="T90" fmla="*/ 142 w 180"/>
                    <a:gd name="T91" fmla="*/ 24 h 148"/>
                    <a:gd name="T92" fmla="*/ 142 w 180"/>
                    <a:gd name="T93" fmla="*/ 0 h 148"/>
                    <a:gd name="T94" fmla="*/ 136 w 180"/>
                    <a:gd name="T95" fmla="*/ 6 h 148"/>
                    <a:gd name="T96" fmla="*/ 134 w 180"/>
                    <a:gd name="T97" fmla="*/ 14 h 148"/>
                    <a:gd name="T98" fmla="*/ 132 w 180"/>
                    <a:gd name="T99" fmla="*/ 20 h 148"/>
                    <a:gd name="T100" fmla="*/ 130 w 180"/>
                    <a:gd name="T101" fmla="*/ 22 h 148"/>
                    <a:gd name="T102" fmla="*/ 126 w 180"/>
                    <a:gd name="T103" fmla="*/ 30 h 1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80" h="148">
                      <a:moveTo>
                        <a:pt x="126" y="30"/>
                      </a:moveTo>
                      <a:lnTo>
                        <a:pt x="126" y="30"/>
                      </a:lnTo>
                      <a:lnTo>
                        <a:pt x="120" y="38"/>
                      </a:lnTo>
                      <a:lnTo>
                        <a:pt x="112" y="44"/>
                      </a:lnTo>
                      <a:lnTo>
                        <a:pt x="106" y="38"/>
                      </a:lnTo>
                      <a:lnTo>
                        <a:pt x="106" y="38"/>
                      </a:lnTo>
                      <a:lnTo>
                        <a:pt x="104" y="38"/>
                      </a:lnTo>
                      <a:lnTo>
                        <a:pt x="100" y="36"/>
                      </a:lnTo>
                      <a:lnTo>
                        <a:pt x="98" y="34"/>
                      </a:lnTo>
                      <a:lnTo>
                        <a:pt x="96" y="34"/>
                      </a:lnTo>
                      <a:lnTo>
                        <a:pt x="92" y="44"/>
                      </a:lnTo>
                      <a:lnTo>
                        <a:pt x="80" y="52"/>
                      </a:lnTo>
                      <a:lnTo>
                        <a:pt x="80" y="52"/>
                      </a:lnTo>
                      <a:lnTo>
                        <a:pt x="74" y="50"/>
                      </a:lnTo>
                      <a:lnTo>
                        <a:pt x="70" y="50"/>
                      </a:lnTo>
                      <a:lnTo>
                        <a:pt x="56" y="46"/>
                      </a:lnTo>
                      <a:lnTo>
                        <a:pt x="50" y="48"/>
                      </a:lnTo>
                      <a:lnTo>
                        <a:pt x="40" y="40"/>
                      </a:lnTo>
                      <a:lnTo>
                        <a:pt x="40" y="40"/>
                      </a:lnTo>
                      <a:lnTo>
                        <a:pt x="34" y="28"/>
                      </a:lnTo>
                      <a:lnTo>
                        <a:pt x="34" y="28"/>
                      </a:lnTo>
                      <a:lnTo>
                        <a:pt x="34" y="30"/>
                      </a:lnTo>
                      <a:lnTo>
                        <a:pt x="30" y="30"/>
                      </a:lnTo>
                      <a:lnTo>
                        <a:pt x="28" y="30"/>
                      </a:lnTo>
                      <a:lnTo>
                        <a:pt x="26" y="32"/>
                      </a:lnTo>
                      <a:lnTo>
                        <a:pt x="26" y="32"/>
                      </a:lnTo>
                      <a:lnTo>
                        <a:pt x="24" y="40"/>
                      </a:lnTo>
                      <a:lnTo>
                        <a:pt x="16" y="42"/>
                      </a:lnTo>
                      <a:lnTo>
                        <a:pt x="10" y="42"/>
                      </a:lnTo>
                      <a:lnTo>
                        <a:pt x="10" y="42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2" y="38"/>
                      </a:lnTo>
                      <a:lnTo>
                        <a:pt x="2" y="38"/>
                      </a:lnTo>
                      <a:lnTo>
                        <a:pt x="0" y="54"/>
                      </a:lnTo>
                      <a:lnTo>
                        <a:pt x="0" y="54"/>
                      </a:lnTo>
                      <a:lnTo>
                        <a:pt x="2" y="56"/>
                      </a:lnTo>
                      <a:lnTo>
                        <a:pt x="10" y="58"/>
                      </a:lnTo>
                      <a:lnTo>
                        <a:pt x="10" y="58"/>
                      </a:lnTo>
                      <a:lnTo>
                        <a:pt x="12" y="62"/>
                      </a:lnTo>
                      <a:lnTo>
                        <a:pt x="20" y="64"/>
                      </a:lnTo>
                      <a:lnTo>
                        <a:pt x="24" y="68"/>
                      </a:lnTo>
                      <a:lnTo>
                        <a:pt x="24" y="68"/>
                      </a:lnTo>
                      <a:lnTo>
                        <a:pt x="26" y="76"/>
                      </a:lnTo>
                      <a:lnTo>
                        <a:pt x="42" y="90"/>
                      </a:lnTo>
                      <a:lnTo>
                        <a:pt x="42" y="90"/>
                      </a:lnTo>
                      <a:lnTo>
                        <a:pt x="46" y="104"/>
                      </a:lnTo>
                      <a:lnTo>
                        <a:pt x="56" y="110"/>
                      </a:lnTo>
                      <a:lnTo>
                        <a:pt x="60" y="118"/>
                      </a:lnTo>
                      <a:lnTo>
                        <a:pt x="68" y="130"/>
                      </a:lnTo>
                      <a:lnTo>
                        <a:pt x="72" y="134"/>
                      </a:lnTo>
                      <a:lnTo>
                        <a:pt x="76" y="130"/>
                      </a:lnTo>
                      <a:lnTo>
                        <a:pt x="86" y="132"/>
                      </a:lnTo>
                      <a:lnTo>
                        <a:pt x="90" y="130"/>
                      </a:lnTo>
                      <a:lnTo>
                        <a:pt x="108" y="146"/>
                      </a:lnTo>
                      <a:lnTo>
                        <a:pt x="108" y="146"/>
                      </a:lnTo>
                      <a:lnTo>
                        <a:pt x="108" y="146"/>
                      </a:lnTo>
                      <a:lnTo>
                        <a:pt x="110" y="144"/>
                      </a:lnTo>
                      <a:lnTo>
                        <a:pt x="122" y="144"/>
                      </a:lnTo>
                      <a:lnTo>
                        <a:pt x="122" y="144"/>
                      </a:lnTo>
                      <a:lnTo>
                        <a:pt x="124" y="148"/>
                      </a:lnTo>
                      <a:lnTo>
                        <a:pt x="136" y="142"/>
                      </a:lnTo>
                      <a:lnTo>
                        <a:pt x="144" y="142"/>
                      </a:lnTo>
                      <a:lnTo>
                        <a:pt x="152" y="138"/>
                      </a:lnTo>
                      <a:lnTo>
                        <a:pt x="160" y="130"/>
                      </a:lnTo>
                      <a:lnTo>
                        <a:pt x="180" y="130"/>
                      </a:lnTo>
                      <a:lnTo>
                        <a:pt x="180" y="116"/>
                      </a:lnTo>
                      <a:lnTo>
                        <a:pt x="168" y="112"/>
                      </a:lnTo>
                      <a:lnTo>
                        <a:pt x="168" y="112"/>
                      </a:lnTo>
                      <a:lnTo>
                        <a:pt x="162" y="94"/>
                      </a:lnTo>
                      <a:lnTo>
                        <a:pt x="156" y="86"/>
                      </a:lnTo>
                      <a:lnTo>
                        <a:pt x="150" y="78"/>
                      </a:lnTo>
                      <a:lnTo>
                        <a:pt x="138" y="70"/>
                      </a:lnTo>
                      <a:lnTo>
                        <a:pt x="138" y="70"/>
                      </a:lnTo>
                      <a:lnTo>
                        <a:pt x="140" y="68"/>
                      </a:lnTo>
                      <a:lnTo>
                        <a:pt x="140" y="62"/>
                      </a:lnTo>
                      <a:lnTo>
                        <a:pt x="150" y="62"/>
                      </a:lnTo>
                      <a:lnTo>
                        <a:pt x="154" y="58"/>
                      </a:lnTo>
                      <a:lnTo>
                        <a:pt x="154" y="58"/>
                      </a:lnTo>
                      <a:lnTo>
                        <a:pt x="156" y="26"/>
                      </a:lnTo>
                      <a:lnTo>
                        <a:pt x="156" y="26"/>
                      </a:lnTo>
                      <a:lnTo>
                        <a:pt x="156" y="26"/>
                      </a:lnTo>
                      <a:lnTo>
                        <a:pt x="156" y="26"/>
                      </a:lnTo>
                      <a:lnTo>
                        <a:pt x="154" y="28"/>
                      </a:lnTo>
                      <a:lnTo>
                        <a:pt x="152" y="28"/>
                      </a:lnTo>
                      <a:lnTo>
                        <a:pt x="152" y="28"/>
                      </a:lnTo>
                      <a:lnTo>
                        <a:pt x="152" y="32"/>
                      </a:lnTo>
                      <a:lnTo>
                        <a:pt x="152" y="32"/>
                      </a:lnTo>
                      <a:lnTo>
                        <a:pt x="150" y="30"/>
                      </a:lnTo>
                      <a:lnTo>
                        <a:pt x="148" y="28"/>
                      </a:lnTo>
                      <a:lnTo>
                        <a:pt x="144" y="26"/>
                      </a:lnTo>
                      <a:lnTo>
                        <a:pt x="142" y="24"/>
                      </a:lnTo>
                      <a:lnTo>
                        <a:pt x="142" y="24"/>
                      </a:lnTo>
                      <a:lnTo>
                        <a:pt x="142" y="0"/>
                      </a:lnTo>
                      <a:lnTo>
                        <a:pt x="136" y="6"/>
                      </a:lnTo>
                      <a:lnTo>
                        <a:pt x="136" y="6"/>
                      </a:lnTo>
                      <a:lnTo>
                        <a:pt x="134" y="10"/>
                      </a:lnTo>
                      <a:lnTo>
                        <a:pt x="134" y="14"/>
                      </a:lnTo>
                      <a:lnTo>
                        <a:pt x="134" y="14"/>
                      </a:lnTo>
                      <a:lnTo>
                        <a:pt x="132" y="20"/>
                      </a:lnTo>
                      <a:lnTo>
                        <a:pt x="132" y="20"/>
                      </a:lnTo>
                      <a:lnTo>
                        <a:pt x="130" y="22"/>
                      </a:lnTo>
                      <a:lnTo>
                        <a:pt x="126" y="30"/>
                      </a:lnTo>
                      <a:lnTo>
                        <a:pt x="126" y="30"/>
                      </a:lnTo>
                      <a:lnTo>
                        <a:pt x="126" y="3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6" name="Freeform 15"/>
                <p:cNvSpPr>
                  <a:spLocks/>
                </p:cNvSpPr>
                <p:nvPr/>
              </p:nvSpPr>
              <p:spPr bwMode="auto">
                <a:xfrm>
                  <a:off x="4886325" y="3918018"/>
                  <a:ext cx="377825" cy="406400"/>
                </a:xfrm>
                <a:custGeom>
                  <a:avLst/>
                  <a:gdLst>
                    <a:gd name="T0" fmla="*/ 30 w 238"/>
                    <a:gd name="T1" fmla="*/ 102 h 256"/>
                    <a:gd name="T2" fmla="*/ 16 w 238"/>
                    <a:gd name="T3" fmla="*/ 138 h 256"/>
                    <a:gd name="T4" fmla="*/ 6 w 238"/>
                    <a:gd name="T5" fmla="*/ 158 h 256"/>
                    <a:gd name="T6" fmla="*/ 2 w 238"/>
                    <a:gd name="T7" fmla="*/ 178 h 256"/>
                    <a:gd name="T8" fmla="*/ 6 w 238"/>
                    <a:gd name="T9" fmla="*/ 188 h 256"/>
                    <a:gd name="T10" fmla="*/ 14 w 238"/>
                    <a:gd name="T11" fmla="*/ 218 h 256"/>
                    <a:gd name="T12" fmla="*/ 22 w 238"/>
                    <a:gd name="T13" fmla="*/ 238 h 256"/>
                    <a:gd name="T14" fmla="*/ 24 w 238"/>
                    <a:gd name="T15" fmla="*/ 244 h 256"/>
                    <a:gd name="T16" fmla="*/ 28 w 238"/>
                    <a:gd name="T17" fmla="*/ 250 h 256"/>
                    <a:gd name="T18" fmla="*/ 30 w 238"/>
                    <a:gd name="T19" fmla="*/ 250 h 256"/>
                    <a:gd name="T20" fmla="*/ 36 w 238"/>
                    <a:gd name="T21" fmla="*/ 246 h 256"/>
                    <a:gd name="T22" fmla="*/ 46 w 238"/>
                    <a:gd name="T23" fmla="*/ 244 h 256"/>
                    <a:gd name="T24" fmla="*/ 48 w 238"/>
                    <a:gd name="T25" fmla="*/ 238 h 256"/>
                    <a:gd name="T26" fmla="*/ 58 w 238"/>
                    <a:gd name="T27" fmla="*/ 238 h 256"/>
                    <a:gd name="T28" fmla="*/ 62 w 238"/>
                    <a:gd name="T29" fmla="*/ 246 h 256"/>
                    <a:gd name="T30" fmla="*/ 74 w 238"/>
                    <a:gd name="T31" fmla="*/ 250 h 256"/>
                    <a:gd name="T32" fmla="*/ 90 w 238"/>
                    <a:gd name="T33" fmla="*/ 254 h 256"/>
                    <a:gd name="T34" fmla="*/ 100 w 238"/>
                    <a:gd name="T35" fmla="*/ 256 h 256"/>
                    <a:gd name="T36" fmla="*/ 112 w 238"/>
                    <a:gd name="T37" fmla="*/ 250 h 256"/>
                    <a:gd name="T38" fmla="*/ 118 w 238"/>
                    <a:gd name="T39" fmla="*/ 238 h 256"/>
                    <a:gd name="T40" fmla="*/ 128 w 238"/>
                    <a:gd name="T41" fmla="*/ 244 h 256"/>
                    <a:gd name="T42" fmla="*/ 130 w 238"/>
                    <a:gd name="T43" fmla="*/ 246 h 256"/>
                    <a:gd name="T44" fmla="*/ 142 w 238"/>
                    <a:gd name="T45" fmla="*/ 244 h 256"/>
                    <a:gd name="T46" fmla="*/ 150 w 238"/>
                    <a:gd name="T47" fmla="*/ 230 h 256"/>
                    <a:gd name="T48" fmla="*/ 156 w 238"/>
                    <a:gd name="T49" fmla="*/ 224 h 256"/>
                    <a:gd name="T50" fmla="*/ 156 w 238"/>
                    <a:gd name="T51" fmla="*/ 218 h 256"/>
                    <a:gd name="T52" fmla="*/ 158 w 238"/>
                    <a:gd name="T53" fmla="*/ 210 h 256"/>
                    <a:gd name="T54" fmla="*/ 164 w 238"/>
                    <a:gd name="T55" fmla="*/ 216 h 256"/>
                    <a:gd name="T56" fmla="*/ 166 w 238"/>
                    <a:gd name="T57" fmla="*/ 232 h 256"/>
                    <a:gd name="T58" fmla="*/ 174 w 238"/>
                    <a:gd name="T59" fmla="*/ 236 h 256"/>
                    <a:gd name="T60" fmla="*/ 176 w 238"/>
                    <a:gd name="T61" fmla="*/ 234 h 256"/>
                    <a:gd name="T62" fmla="*/ 178 w 238"/>
                    <a:gd name="T63" fmla="*/ 230 h 256"/>
                    <a:gd name="T64" fmla="*/ 186 w 238"/>
                    <a:gd name="T65" fmla="*/ 220 h 256"/>
                    <a:gd name="T66" fmla="*/ 206 w 238"/>
                    <a:gd name="T67" fmla="*/ 186 h 256"/>
                    <a:gd name="T68" fmla="*/ 210 w 238"/>
                    <a:gd name="T69" fmla="*/ 162 h 256"/>
                    <a:gd name="T70" fmla="*/ 222 w 238"/>
                    <a:gd name="T71" fmla="*/ 110 h 256"/>
                    <a:gd name="T72" fmla="*/ 236 w 238"/>
                    <a:gd name="T73" fmla="*/ 102 h 256"/>
                    <a:gd name="T74" fmla="*/ 238 w 238"/>
                    <a:gd name="T75" fmla="*/ 92 h 256"/>
                    <a:gd name="T76" fmla="*/ 232 w 238"/>
                    <a:gd name="T77" fmla="*/ 84 h 256"/>
                    <a:gd name="T78" fmla="*/ 222 w 238"/>
                    <a:gd name="T79" fmla="*/ 78 h 256"/>
                    <a:gd name="T80" fmla="*/ 220 w 238"/>
                    <a:gd name="T81" fmla="*/ 38 h 256"/>
                    <a:gd name="T82" fmla="*/ 214 w 238"/>
                    <a:gd name="T83" fmla="*/ 22 h 256"/>
                    <a:gd name="T84" fmla="*/ 196 w 238"/>
                    <a:gd name="T85" fmla="*/ 0 h 256"/>
                    <a:gd name="T86" fmla="*/ 184 w 238"/>
                    <a:gd name="T87" fmla="*/ 14 h 256"/>
                    <a:gd name="T88" fmla="*/ 174 w 238"/>
                    <a:gd name="T89" fmla="*/ 24 h 256"/>
                    <a:gd name="T90" fmla="*/ 150 w 238"/>
                    <a:gd name="T91" fmla="*/ 22 h 256"/>
                    <a:gd name="T92" fmla="*/ 138 w 238"/>
                    <a:gd name="T93" fmla="*/ 16 h 256"/>
                    <a:gd name="T94" fmla="*/ 136 w 238"/>
                    <a:gd name="T95" fmla="*/ 22 h 256"/>
                    <a:gd name="T96" fmla="*/ 100 w 238"/>
                    <a:gd name="T97" fmla="*/ 22 h 256"/>
                    <a:gd name="T98" fmla="*/ 66 w 238"/>
                    <a:gd name="T99" fmla="*/ 22 h 256"/>
                    <a:gd name="T100" fmla="*/ 44 w 238"/>
                    <a:gd name="T101" fmla="*/ 38 h 256"/>
                    <a:gd name="T102" fmla="*/ 30 w 238"/>
                    <a:gd name="T103" fmla="*/ 66 h 2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38" h="256">
                      <a:moveTo>
                        <a:pt x="30" y="66"/>
                      </a:moveTo>
                      <a:lnTo>
                        <a:pt x="30" y="84"/>
                      </a:lnTo>
                      <a:lnTo>
                        <a:pt x="30" y="102"/>
                      </a:lnTo>
                      <a:lnTo>
                        <a:pt x="30" y="118"/>
                      </a:lnTo>
                      <a:lnTo>
                        <a:pt x="30" y="134"/>
                      </a:lnTo>
                      <a:lnTo>
                        <a:pt x="16" y="138"/>
                      </a:lnTo>
                      <a:lnTo>
                        <a:pt x="16" y="138"/>
                      </a:lnTo>
                      <a:lnTo>
                        <a:pt x="12" y="146"/>
                      </a:lnTo>
                      <a:lnTo>
                        <a:pt x="6" y="158"/>
                      </a:lnTo>
                      <a:lnTo>
                        <a:pt x="6" y="168"/>
                      </a:lnTo>
                      <a:lnTo>
                        <a:pt x="2" y="170"/>
                      </a:lnTo>
                      <a:lnTo>
                        <a:pt x="2" y="178"/>
                      </a:lnTo>
                      <a:lnTo>
                        <a:pt x="0" y="184"/>
                      </a:lnTo>
                      <a:lnTo>
                        <a:pt x="0" y="190"/>
                      </a:lnTo>
                      <a:lnTo>
                        <a:pt x="6" y="188"/>
                      </a:lnTo>
                      <a:lnTo>
                        <a:pt x="6" y="188"/>
                      </a:lnTo>
                      <a:lnTo>
                        <a:pt x="6" y="198"/>
                      </a:lnTo>
                      <a:lnTo>
                        <a:pt x="14" y="218"/>
                      </a:lnTo>
                      <a:lnTo>
                        <a:pt x="14" y="218"/>
                      </a:lnTo>
                      <a:lnTo>
                        <a:pt x="12" y="220"/>
                      </a:lnTo>
                      <a:lnTo>
                        <a:pt x="22" y="238"/>
                      </a:lnTo>
                      <a:lnTo>
                        <a:pt x="22" y="238"/>
                      </a:lnTo>
                      <a:lnTo>
                        <a:pt x="24" y="244"/>
                      </a:lnTo>
                      <a:lnTo>
                        <a:pt x="24" y="244"/>
                      </a:lnTo>
                      <a:lnTo>
                        <a:pt x="24" y="246"/>
                      </a:lnTo>
                      <a:lnTo>
                        <a:pt x="26" y="248"/>
                      </a:lnTo>
                      <a:lnTo>
                        <a:pt x="28" y="250"/>
                      </a:lnTo>
                      <a:lnTo>
                        <a:pt x="28" y="252"/>
                      </a:lnTo>
                      <a:lnTo>
                        <a:pt x="28" y="252"/>
                      </a:lnTo>
                      <a:lnTo>
                        <a:pt x="30" y="250"/>
                      </a:lnTo>
                      <a:lnTo>
                        <a:pt x="32" y="248"/>
                      </a:lnTo>
                      <a:lnTo>
                        <a:pt x="32" y="248"/>
                      </a:lnTo>
                      <a:lnTo>
                        <a:pt x="36" y="246"/>
                      </a:lnTo>
                      <a:lnTo>
                        <a:pt x="38" y="246"/>
                      </a:lnTo>
                      <a:lnTo>
                        <a:pt x="40" y="246"/>
                      </a:lnTo>
                      <a:lnTo>
                        <a:pt x="46" y="244"/>
                      </a:lnTo>
                      <a:lnTo>
                        <a:pt x="46" y="244"/>
                      </a:lnTo>
                      <a:lnTo>
                        <a:pt x="48" y="240"/>
                      </a:lnTo>
                      <a:lnTo>
                        <a:pt x="48" y="238"/>
                      </a:lnTo>
                      <a:lnTo>
                        <a:pt x="56" y="234"/>
                      </a:lnTo>
                      <a:lnTo>
                        <a:pt x="56" y="234"/>
                      </a:lnTo>
                      <a:lnTo>
                        <a:pt x="58" y="238"/>
                      </a:lnTo>
                      <a:lnTo>
                        <a:pt x="60" y="240"/>
                      </a:lnTo>
                      <a:lnTo>
                        <a:pt x="62" y="246"/>
                      </a:lnTo>
                      <a:lnTo>
                        <a:pt x="62" y="246"/>
                      </a:lnTo>
                      <a:lnTo>
                        <a:pt x="70" y="250"/>
                      </a:lnTo>
                      <a:lnTo>
                        <a:pt x="70" y="250"/>
                      </a:lnTo>
                      <a:lnTo>
                        <a:pt x="74" y="250"/>
                      </a:lnTo>
                      <a:lnTo>
                        <a:pt x="76" y="250"/>
                      </a:lnTo>
                      <a:lnTo>
                        <a:pt x="90" y="254"/>
                      </a:lnTo>
                      <a:lnTo>
                        <a:pt x="90" y="254"/>
                      </a:lnTo>
                      <a:lnTo>
                        <a:pt x="94" y="256"/>
                      </a:lnTo>
                      <a:lnTo>
                        <a:pt x="100" y="256"/>
                      </a:lnTo>
                      <a:lnTo>
                        <a:pt x="100" y="256"/>
                      </a:lnTo>
                      <a:lnTo>
                        <a:pt x="106" y="254"/>
                      </a:lnTo>
                      <a:lnTo>
                        <a:pt x="112" y="250"/>
                      </a:lnTo>
                      <a:lnTo>
                        <a:pt x="112" y="250"/>
                      </a:lnTo>
                      <a:lnTo>
                        <a:pt x="116" y="244"/>
                      </a:lnTo>
                      <a:lnTo>
                        <a:pt x="118" y="238"/>
                      </a:lnTo>
                      <a:lnTo>
                        <a:pt x="118" y="238"/>
                      </a:lnTo>
                      <a:lnTo>
                        <a:pt x="122" y="240"/>
                      </a:lnTo>
                      <a:lnTo>
                        <a:pt x="124" y="240"/>
                      </a:lnTo>
                      <a:lnTo>
                        <a:pt x="128" y="244"/>
                      </a:lnTo>
                      <a:lnTo>
                        <a:pt x="128" y="244"/>
                      </a:lnTo>
                      <a:lnTo>
                        <a:pt x="128" y="244"/>
                      </a:lnTo>
                      <a:lnTo>
                        <a:pt x="130" y="246"/>
                      </a:lnTo>
                      <a:lnTo>
                        <a:pt x="132" y="250"/>
                      </a:lnTo>
                      <a:lnTo>
                        <a:pt x="138" y="246"/>
                      </a:lnTo>
                      <a:lnTo>
                        <a:pt x="142" y="244"/>
                      </a:lnTo>
                      <a:lnTo>
                        <a:pt x="146" y="238"/>
                      </a:lnTo>
                      <a:lnTo>
                        <a:pt x="150" y="230"/>
                      </a:lnTo>
                      <a:lnTo>
                        <a:pt x="150" y="230"/>
                      </a:lnTo>
                      <a:lnTo>
                        <a:pt x="152" y="226"/>
                      </a:lnTo>
                      <a:lnTo>
                        <a:pt x="156" y="224"/>
                      </a:lnTo>
                      <a:lnTo>
                        <a:pt x="156" y="224"/>
                      </a:lnTo>
                      <a:lnTo>
                        <a:pt x="156" y="220"/>
                      </a:lnTo>
                      <a:lnTo>
                        <a:pt x="156" y="220"/>
                      </a:lnTo>
                      <a:lnTo>
                        <a:pt x="156" y="218"/>
                      </a:lnTo>
                      <a:lnTo>
                        <a:pt x="156" y="214"/>
                      </a:lnTo>
                      <a:lnTo>
                        <a:pt x="156" y="214"/>
                      </a:lnTo>
                      <a:lnTo>
                        <a:pt x="158" y="210"/>
                      </a:lnTo>
                      <a:lnTo>
                        <a:pt x="164" y="204"/>
                      </a:lnTo>
                      <a:lnTo>
                        <a:pt x="164" y="204"/>
                      </a:lnTo>
                      <a:lnTo>
                        <a:pt x="164" y="216"/>
                      </a:lnTo>
                      <a:lnTo>
                        <a:pt x="164" y="228"/>
                      </a:lnTo>
                      <a:lnTo>
                        <a:pt x="164" y="228"/>
                      </a:lnTo>
                      <a:lnTo>
                        <a:pt x="166" y="232"/>
                      </a:lnTo>
                      <a:lnTo>
                        <a:pt x="170" y="234"/>
                      </a:lnTo>
                      <a:lnTo>
                        <a:pt x="174" y="236"/>
                      </a:lnTo>
                      <a:lnTo>
                        <a:pt x="174" y="236"/>
                      </a:lnTo>
                      <a:lnTo>
                        <a:pt x="176" y="232"/>
                      </a:lnTo>
                      <a:lnTo>
                        <a:pt x="176" y="234"/>
                      </a:lnTo>
                      <a:lnTo>
                        <a:pt x="176" y="234"/>
                      </a:lnTo>
                      <a:lnTo>
                        <a:pt x="178" y="230"/>
                      </a:lnTo>
                      <a:lnTo>
                        <a:pt x="178" y="230"/>
                      </a:lnTo>
                      <a:lnTo>
                        <a:pt x="178" y="230"/>
                      </a:lnTo>
                      <a:lnTo>
                        <a:pt x="182" y="224"/>
                      </a:lnTo>
                      <a:lnTo>
                        <a:pt x="186" y="220"/>
                      </a:lnTo>
                      <a:lnTo>
                        <a:pt x="186" y="220"/>
                      </a:lnTo>
                      <a:lnTo>
                        <a:pt x="190" y="208"/>
                      </a:lnTo>
                      <a:lnTo>
                        <a:pt x="198" y="194"/>
                      </a:lnTo>
                      <a:lnTo>
                        <a:pt x="206" y="186"/>
                      </a:lnTo>
                      <a:lnTo>
                        <a:pt x="210" y="168"/>
                      </a:lnTo>
                      <a:lnTo>
                        <a:pt x="210" y="162"/>
                      </a:lnTo>
                      <a:lnTo>
                        <a:pt x="210" y="162"/>
                      </a:lnTo>
                      <a:lnTo>
                        <a:pt x="210" y="152"/>
                      </a:lnTo>
                      <a:lnTo>
                        <a:pt x="218" y="110"/>
                      </a:lnTo>
                      <a:lnTo>
                        <a:pt x="222" y="110"/>
                      </a:lnTo>
                      <a:lnTo>
                        <a:pt x="222" y="110"/>
                      </a:lnTo>
                      <a:lnTo>
                        <a:pt x="226" y="108"/>
                      </a:lnTo>
                      <a:lnTo>
                        <a:pt x="236" y="102"/>
                      </a:lnTo>
                      <a:lnTo>
                        <a:pt x="236" y="102"/>
                      </a:lnTo>
                      <a:lnTo>
                        <a:pt x="238" y="92"/>
                      </a:lnTo>
                      <a:lnTo>
                        <a:pt x="238" y="92"/>
                      </a:lnTo>
                      <a:lnTo>
                        <a:pt x="238" y="90"/>
                      </a:lnTo>
                      <a:lnTo>
                        <a:pt x="234" y="90"/>
                      </a:lnTo>
                      <a:lnTo>
                        <a:pt x="232" y="84"/>
                      </a:lnTo>
                      <a:lnTo>
                        <a:pt x="226" y="82"/>
                      </a:lnTo>
                      <a:lnTo>
                        <a:pt x="226" y="82"/>
                      </a:lnTo>
                      <a:lnTo>
                        <a:pt x="222" y="78"/>
                      </a:lnTo>
                      <a:lnTo>
                        <a:pt x="222" y="78"/>
                      </a:lnTo>
                      <a:lnTo>
                        <a:pt x="220" y="62"/>
                      </a:lnTo>
                      <a:lnTo>
                        <a:pt x="220" y="38"/>
                      </a:lnTo>
                      <a:lnTo>
                        <a:pt x="216" y="30"/>
                      </a:lnTo>
                      <a:lnTo>
                        <a:pt x="216" y="30"/>
                      </a:lnTo>
                      <a:lnTo>
                        <a:pt x="214" y="22"/>
                      </a:lnTo>
                      <a:lnTo>
                        <a:pt x="208" y="10"/>
                      </a:lnTo>
                      <a:lnTo>
                        <a:pt x="200" y="6"/>
                      </a:lnTo>
                      <a:lnTo>
                        <a:pt x="196" y="0"/>
                      </a:lnTo>
                      <a:lnTo>
                        <a:pt x="190" y="6"/>
                      </a:lnTo>
                      <a:lnTo>
                        <a:pt x="186" y="4"/>
                      </a:lnTo>
                      <a:lnTo>
                        <a:pt x="184" y="14"/>
                      </a:lnTo>
                      <a:lnTo>
                        <a:pt x="176" y="16"/>
                      </a:lnTo>
                      <a:lnTo>
                        <a:pt x="176" y="16"/>
                      </a:lnTo>
                      <a:lnTo>
                        <a:pt x="174" y="24"/>
                      </a:lnTo>
                      <a:lnTo>
                        <a:pt x="168" y="24"/>
                      </a:lnTo>
                      <a:lnTo>
                        <a:pt x="162" y="22"/>
                      </a:lnTo>
                      <a:lnTo>
                        <a:pt x="150" y="22"/>
                      </a:lnTo>
                      <a:lnTo>
                        <a:pt x="138" y="22"/>
                      </a:lnTo>
                      <a:lnTo>
                        <a:pt x="138" y="22"/>
                      </a:lnTo>
                      <a:lnTo>
                        <a:pt x="138" y="16"/>
                      </a:lnTo>
                      <a:lnTo>
                        <a:pt x="136" y="16"/>
                      </a:lnTo>
                      <a:lnTo>
                        <a:pt x="136" y="16"/>
                      </a:lnTo>
                      <a:lnTo>
                        <a:pt x="136" y="22"/>
                      </a:lnTo>
                      <a:lnTo>
                        <a:pt x="124" y="22"/>
                      </a:lnTo>
                      <a:lnTo>
                        <a:pt x="112" y="22"/>
                      </a:lnTo>
                      <a:lnTo>
                        <a:pt x="100" y="22"/>
                      </a:lnTo>
                      <a:lnTo>
                        <a:pt x="90" y="22"/>
                      </a:lnTo>
                      <a:lnTo>
                        <a:pt x="78" y="22"/>
                      </a:lnTo>
                      <a:lnTo>
                        <a:pt x="66" y="22"/>
                      </a:lnTo>
                      <a:lnTo>
                        <a:pt x="56" y="22"/>
                      </a:lnTo>
                      <a:lnTo>
                        <a:pt x="44" y="22"/>
                      </a:lnTo>
                      <a:lnTo>
                        <a:pt x="44" y="38"/>
                      </a:lnTo>
                      <a:lnTo>
                        <a:pt x="44" y="58"/>
                      </a:lnTo>
                      <a:lnTo>
                        <a:pt x="30" y="58"/>
                      </a:lnTo>
                      <a:lnTo>
                        <a:pt x="30" y="66"/>
                      </a:lnTo>
                      <a:lnTo>
                        <a:pt x="30" y="66"/>
                      </a:lnTo>
                      <a:lnTo>
                        <a:pt x="30" y="6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7" name="Freeform 16"/>
                <p:cNvSpPr>
                  <a:spLocks/>
                </p:cNvSpPr>
                <p:nvPr/>
              </p:nvSpPr>
              <p:spPr bwMode="auto">
                <a:xfrm>
                  <a:off x="5753100" y="3473518"/>
                  <a:ext cx="320675" cy="273050"/>
                </a:xfrm>
                <a:custGeom>
                  <a:avLst/>
                  <a:gdLst>
                    <a:gd name="T0" fmla="*/ 20 w 202"/>
                    <a:gd name="T1" fmla="*/ 60 h 172"/>
                    <a:gd name="T2" fmla="*/ 30 w 202"/>
                    <a:gd name="T3" fmla="*/ 64 h 172"/>
                    <a:gd name="T4" fmla="*/ 34 w 202"/>
                    <a:gd name="T5" fmla="*/ 56 h 172"/>
                    <a:gd name="T6" fmla="*/ 38 w 202"/>
                    <a:gd name="T7" fmla="*/ 52 h 172"/>
                    <a:gd name="T8" fmla="*/ 50 w 202"/>
                    <a:gd name="T9" fmla="*/ 44 h 172"/>
                    <a:gd name="T10" fmla="*/ 56 w 202"/>
                    <a:gd name="T11" fmla="*/ 38 h 172"/>
                    <a:gd name="T12" fmla="*/ 60 w 202"/>
                    <a:gd name="T13" fmla="*/ 26 h 172"/>
                    <a:gd name="T14" fmla="*/ 72 w 202"/>
                    <a:gd name="T15" fmla="*/ 22 h 172"/>
                    <a:gd name="T16" fmla="*/ 80 w 202"/>
                    <a:gd name="T17" fmla="*/ 22 h 172"/>
                    <a:gd name="T18" fmla="*/ 94 w 202"/>
                    <a:gd name="T19" fmla="*/ 22 h 172"/>
                    <a:gd name="T20" fmla="*/ 102 w 202"/>
                    <a:gd name="T21" fmla="*/ 26 h 172"/>
                    <a:gd name="T22" fmla="*/ 112 w 202"/>
                    <a:gd name="T23" fmla="*/ 26 h 172"/>
                    <a:gd name="T24" fmla="*/ 124 w 202"/>
                    <a:gd name="T25" fmla="*/ 26 h 172"/>
                    <a:gd name="T26" fmla="*/ 136 w 202"/>
                    <a:gd name="T27" fmla="*/ 18 h 172"/>
                    <a:gd name="T28" fmla="*/ 136 w 202"/>
                    <a:gd name="T29" fmla="*/ 10 h 172"/>
                    <a:gd name="T30" fmla="*/ 146 w 202"/>
                    <a:gd name="T31" fmla="*/ 0 h 172"/>
                    <a:gd name="T32" fmla="*/ 150 w 202"/>
                    <a:gd name="T33" fmla="*/ 10 h 172"/>
                    <a:gd name="T34" fmla="*/ 154 w 202"/>
                    <a:gd name="T35" fmla="*/ 14 h 172"/>
                    <a:gd name="T36" fmla="*/ 154 w 202"/>
                    <a:gd name="T37" fmla="*/ 30 h 172"/>
                    <a:gd name="T38" fmla="*/ 166 w 202"/>
                    <a:gd name="T39" fmla="*/ 30 h 172"/>
                    <a:gd name="T40" fmla="*/ 176 w 202"/>
                    <a:gd name="T41" fmla="*/ 26 h 172"/>
                    <a:gd name="T42" fmla="*/ 184 w 202"/>
                    <a:gd name="T43" fmla="*/ 22 h 172"/>
                    <a:gd name="T44" fmla="*/ 188 w 202"/>
                    <a:gd name="T45" fmla="*/ 26 h 172"/>
                    <a:gd name="T46" fmla="*/ 202 w 202"/>
                    <a:gd name="T47" fmla="*/ 22 h 172"/>
                    <a:gd name="T48" fmla="*/ 196 w 202"/>
                    <a:gd name="T49" fmla="*/ 26 h 172"/>
                    <a:gd name="T50" fmla="*/ 188 w 202"/>
                    <a:gd name="T51" fmla="*/ 30 h 172"/>
                    <a:gd name="T52" fmla="*/ 172 w 202"/>
                    <a:gd name="T53" fmla="*/ 34 h 172"/>
                    <a:gd name="T54" fmla="*/ 162 w 202"/>
                    <a:gd name="T55" fmla="*/ 38 h 172"/>
                    <a:gd name="T56" fmla="*/ 150 w 202"/>
                    <a:gd name="T57" fmla="*/ 48 h 172"/>
                    <a:gd name="T58" fmla="*/ 154 w 202"/>
                    <a:gd name="T59" fmla="*/ 56 h 172"/>
                    <a:gd name="T60" fmla="*/ 154 w 202"/>
                    <a:gd name="T61" fmla="*/ 66 h 172"/>
                    <a:gd name="T62" fmla="*/ 146 w 202"/>
                    <a:gd name="T63" fmla="*/ 74 h 172"/>
                    <a:gd name="T64" fmla="*/ 150 w 202"/>
                    <a:gd name="T65" fmla="*/ 86 h 172"/>
                    <a:gd name="T66" fmla="*/ 136 w 202"/>
                    <a:gd name="T67" fmla="*/ 86 h 172"/>
                    <a:gd name="T68" fmla="*/ 136 w 202"/>
                    <a:gd name="T69" fmla="*/ 94 h 172"/>
                    <a:gd name="T70" fmla="*/ 136 w 202"/>
                    <a:gd name="T71" fmla="*/ 100 h 172"/>
                    <a:gd name="T72" fmla="*/ 124 w 202"/>
                    <a:gd name="T73" fmla="*/ 108 h 172"/>
                    <a:gd name="T74" fmla="*/ 124 w 202"/>
                    <a:gd name="T75" fmla="*/ 116 h 172"/>
                    <a:gd name="T76" fmla="*/ 120 w 202"/>
                    <a:gd name="T77" fmla="*/ 126 h 172"/>
                    <a:gd name="T78" fmla="*/ 112 w 202"/>
                    <a:gd name="T79" fmla="*/ 126 h 172"/>
                    <a:gd name="T80" fmla="*/ 98 w 202"/>
                    <a:gd name="T81" fmla="*/ 130 h 172"/>
                    <a:gd name="T82" fmla="*/ 94 w 202"/>
                    <a:gd name="T83" fmla="*/ 138 h 172"/>
                    <a:gd name="T84" fmla="*/ 86 w 202"/>
                    <a:gd name="T85" fmla="*/ 138 h 172"/>
                    <a:gd name="T86" fmla="*/ 84 w 202"/>
                    <a:gd name="T87" fmla="*/ 152 h 172"/>
                    <a:gd name="T88" fmla="*/ 84 w 202"/>
                    <a:gd name="T89" fmla="*/ 160 h 172"/>
                    <a:gd name="T90" fmla="*/ 68 w 202"/>
                    <a:gd name="T91" fmla="*/ 168 h 172"/>
                    <a:gd name="T92" fmla="*/ 54 w 202"/>
                    <a:gd name="T93" fmla="*/ 168 h 172"/>
                    <a:gd name="T94" fmla="*/ 38 w 202"/>
                    <a:gd name="T95" fmla="*/ 168 h 172"/>
                    <a:gd name="T96" fmla="*/ 16 w 202"/>
                    <a:gd name="T97" fmla="*/ 168 h 172"/>
                    <a:gd name="T98" fmla="*/ 8 w 202"/>
                    <a:gd name="T99" fmla="*/ 160 h 172"/>
                    <a:gd name="T100" fmla="*/ 20 w 202"/>
                    <a:gd name="T101" fmla="*/ 142 h 172"/>
                    <a:gd name="T102" fmla="*/ 12 w 202"/>
                    <a:gd name="T103" fmla="*/ 134 h 172"/>
                    <a:gd name="T104" fmla="*/ 4 w 202"/>
                    <a:gd name="T105" fmla="*/ 122 h 172"/>
                    <a:gd name="T106" fmla="*/ 0 w 202"/>
                    <a:gd name="T107" fmla="*/ 108 h 172"/>
                    <a:gd name="T108" fmla="*/ 4 w 202"/>
                    <a:gd name="T109" fmla="*/ 96 h 172"/>
                    <a:gd name="T110" fmla="*/ 0 w 202"/>
                    <a:gd name="T111" fmla="*/ 86 h 172"/>
                    <a:gd name="T112" fmla="*/ 0 w 202"/>
                    <a:gd name="T113" fmla="*/ 74 h 172"/>
                    <a:gd name="T114" fmla="*/ 8 w 202"/>
                    <a:gd name="T115" fmla="*/ 64 h 172"/>
                    <a:gd name="T116" fmla="*/ 12 w 202"/>
                    <a:gd name="T117" fmla="*/ 56 h 1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02" h="172">
                      <a:moveTo>
                        <a:pt x="12" y="56"/>
                      </a:moveTo>
                      <a:lnTo>
                        <a:pt x="12" y="60"/>
                      </a:lnTo>
                      <a:lnTo>
                        <a:pt x="16" y="60"/>
                      </a:lnTo>
                      <a:lnTo>
                        <a:pt x="20" y="60"/>
                      </a:lnTo>
                      <a:lnTo>
                        <a:pt x="24" y="60"/>
                      </a:lnTo>
                      <a:lnTo>
                        <a:pt x="24" y="64"/>
                      </a:lnTo>
                      <a:lnTo>
                        <a:pt x="28" y="64"/>
                      </a:lnTo>
                      <a:lnTo>
                        <a:pt x="30" y="64"/>
                      </a:lnTo>
                      <a:lnTo>
                        <a:pt x="30" y="60"/>
                      </a:lnTo>
                      <a:lnTo>
                        <a:pt x="34" y="60"/>
                      </a:lnTo>
                      <a:lnTo>
                        <a:pt x="38" y="56"/>
                      </a:lnTo>
                      <a:lnTo>
                        <a:pt x="34" y="56"/>
                      </a:lnTo>
                      <a:lnTo>
                        <a:pt x="38" y="56"/>
                      </a:lnTo>
                      <a:lnTo>
                        <a:pt x="38" y="52"/>
                      </a:lnTo>
                      <a:lnTo>
                        <a:pt x="34" y="52"/>
                      </a:lnTo>
                      <a:lnTo>
                        <a:pt x="38" y="52"/>
                      </a:lnTo>
                      <a:lnTo>
                        <a:pt x="42" y="48"/>
                      </a:lnTo>
                      <a:lnTo>
                        <a:pt x="46" y="48"/>
                      </a:lnTo>
                      <a:lnTo>
                        <a:pt x="50" y="48"/>
                      </a:lnTo>
                      <a:lnTo>
                        <a:pt x="50" y="44"/>
                      </a:lnTo>
                      <a:lnTo>
                        <a:pt x="54" y="44"/>
                      </a:lnTo>
                      <a:lnTo>
                        <a:pt x="56" y="44"/>
                      </a:lnTo>
                      <a:lnTo>
                        <a:pt x="56" y="40"/>
                      </a:lnTo>
                      <a:lnTo>
                        <a:pt x="56" y="38"/>
                      </a:lnTo>
                      <a:lnTo>
                        <a:pt x="56" y="34"/>
                      </a:lnTo>
                      <a:lnTo>
                        <a:pt x="60" y="34"/>
                      </a:lnTo>
                      <a:lnTo>
                        <a:pt x="60" y="30"/>
                      </a:lnTo>
                      <a:lnTo>
                        <a:pt x="60" y="26"/>
                      </a:lnTo>
                      <a:lnTo>
                        <a:pt x="64" y="26"/>
                      </a:lnTo>
                      <a:lnTo>
                        <a:pt x="68" y="26"/>
                      </a:lnTo>
                      <a:lnTo>
                        <a:pt x="72" y="26"/>
                      </a:lnTo>
                      <a:lnTo>
                        <a:pt x="72" y="22"/>
                      </a:lnTo>
                      <a:lnTo>
                        <a:pt x="72" y="18"/>
                      </a:lnTo>
                      <a:lnTo>
                        <a:pt x="76" y="18"/>
                      </a:lnTo>
                      <a:lnTo>
                        <a:pt x="76" y="22"/>
                      </a:lnTo>
                      <a:lnTo>
                        <a:pt x="80" y="22"/>
                      </a:lnTo>
                      <a:lnTo>
                        <a:pt x="84" y="22"/>
                      </a:lnTo>
                      <a:lnTo>
                        <a:pt x="86" y="22"/>
                      </a:lnTo>
                      <a:lnTo>
                        <a:pt x="90" y="22"/>
                      </a:lnTo>
                      <a:lnTo>
                        <a:pt x="94" y="22"/>
                      </a:lnTo>
                      <a:lnTo>
                        <a:pt x="94" y="26"/>
                      </a:lnTo>
                      <a:lnTo>
                        <a:pt x="98" y="26"/>
                      </a:lnTo>
                      <a:lnTo>
                        <a:pt x="98" y="22"/>
                      </a:lnTo>
                      <a:lnTo>
                        <a:pt x="102" y="26"/>
                      </a:lnTo>
                      <a:lnTo>
                        <a:pt x="106" y="30"/>
                      </a:lnTo>
                      <a:lnTo>
                        <a:pt x="110" y="30"/>
                      </a:lnTo>
                      <a:lnTo>
                        <a:pt x="110" y="26"/>
                      </a:lnTo>
                      <a:lnTo>
                        <a:pt x="112" y="26"/>
                      </a:lnTo>
                      <a:lnTo>
                        <a:pt x="116" y="22"/>
                      </a:lnTo>
                      <a:lnTo>
                        <a:pt x="120" y="22"/>
                      </a:lnTo>
                      <a:lnTo>
                        <a:pt x="120" y="26"/>
                      </a:lnTo>
                      <a:lnTo>
                        <a:pt x="124" y="26"/>
                      </a:lnTo>
                      <a:lnTo>
                        <a:pt x="124" y="22"/>
                      </a:lnTo>
                      <a:lnTo>
                        <a:pt x="128" y="18"/>
                      </a:lnTo>
                      <a:lnTo>
                        <a:pt x="132" y="18"/>
                      </a:lnTo>
                      <a:lnTo>
                        <a:pt x="136" y="18"/>
                      </a:lnTo>
                      <a:lnTo>
                        <a:pt x="140" y="18"/>
                      </a:lnTo>
                      <a:lnTo>
                        <a:pt x="140" y="14"/>
                      </a:lnTo>
                      <a:lnTo>
                        <a:pt x="136" y="14"/>
                      </a:lnTo>
                      <a:lnTo>
                        <a:pt x="136" y="10"/>
                      </a:lnTo>
                      <a:lnTo>
                        <a:pt x="140" y="10"/>
                      </a:lnTo>
                      <a:lnTo>
                        <a:pt x="142" y="8"/>
                      </a:lnTo>
                      <a:lnTo>
                        <a:pt x="142" y="4"/>
                      </a:lnTo>
                      <a:lnTo>
                        <a:pt x="146" y="0"/>
                      </a:lnTo>
                      <a:lnTo>
                        <a:pt x="150" y="4"/>
                      </a:lnTo>
                      <a:lnTo>
                        <a:pt x="154" y="4"/>
                      </a:lnTo>
                      <a:lnTo>
                        <a:pt x="154" y="8"/>
                      </a:lnTo>
                      <a:lnTo>
                        <a:pt x="150" y="10"/>
                      </a:lnTo>
                      <a:lnTo>
                        <a:pt x="154" y="10"/>
                      </a:lnTo>
                      <a:lnTo>
                        <a:pt x="158" y="10"/>
                      </a:lnTo>
                      <a:lnTo>
                        <a:pt x="158" y="14"/>
                      </a:lnTo>
                      <a:lnTo>
                        <a:pt x="154" y="14"/>
                      </a:lnTo>
                      <a:lnTo>
                        <a:pt x="154" y="18"/>
                      </a:lnTo>
                      <a:lnTo>
                        <a:pt x="154" y="22"/>
                      </a:lnTo>
                      <a:lnTo>
                        <a:pt x="154" y="26"/>
                      </a:lnTo>
                      <a:lnTo>
                        <a:pt x="154" y="30"/>
                      </a:lnTo>
                      <a:lnTo>
                        <a:pt x="158" y="34"/>
                      </a:lnTo>
                      <a:lnTo>
                        <a:pt x="158" y="38"/>
                      </a:lnTo>
                      <a:lnTo>
                        <a:pt x="162" y="34"/>
                      </a:lnTo>
                      <a:lnTo>
                        <a:pt x="166" y="30"/>
                      </a:lnTo>
                      <a:lnTo>
                        <a:pt x="168" y="30"/>
                      </a:lnTo>
                      <a:lnTo>
                        <a:pt x="172" y="30"/>
                      </a:lnTo>
                      <a:lnTo>
                        <a:pt x="172" y="26"/>
                      </a:lnTo>
                      <a:lnTo>
                        <a:pt x="176" y="26"/>
                      </a:lnTo>
                      <a:lnTo>
                        <a:pt x="176" y="22"/>
                      </a:lnTo>
                      <a:lnTo>
                        <a:pt x="180" y="22"/>
                      </a:lnTo>
                      <a:lnTo>
                        <a:pt x="184" y="18"/>
                      </a:lnTo>
                      <a:lnTo>
                        <a:pt x="184" y="22"/>
                      </a:lnTo>
                      <a:lnTo>
                        <a:pt x="188" y="22"/>
                      </a:lnTo>
                      <a:lnTo>
                        <a:pt x="184" y="22"/>
                      </a:lnTo>
                      <a:lnTo>
                        <a:pt x="184" y="26"/>
                      </a:lnTo>
                      <a:lnTo>
                        <a:pt x="188" y="26"/>
                      </a:lnTo>
                      <a:lnTo>
                        <a:pt x="192" y="22"/>
                      </a:lnTo>
                      <a:lnTo>
                        <a:pt x="196" y="22"/>
                      </a:lnTo>
                      <a:lnTo>
                        <a:pt x="198" y="22"/>
                      </a:lnTo>
                      <a:lnTo>
                        <a:pt x="202" y="22"/>
                      </a:lnTo>
                      <a:lnTo>
                        <a:pt x="202" y="26"/>
                      </a:lnTo>
                      <a:lnTo>
                        <a:pt x="202" y="22"/>
                      </a:lnTo>
                      <a:lnTo>
                        <a:pt x="198" y="26"/>
                      </a:lnTo>
                      <a:lnTo>
                        <a:pt x="196" y="26"/>
                      </a:lnTo>
                      <a:lnTo>
                        <a:pt x="198" y="30"/>
                      </a:lnTo>
                      <a:lnTo>
                        <a:pt x="196" y="30"/>
                      </a:lnTo>
                      <a:lnTo>
                        <a:pt x="192" y="34"/>
                      </a:lnTo>
                      <a:lnTo>
                        <a:pt x="188" y="30"/>
                      </a:lnTo>
                      <a:lnTo>
                        <a:pt x="184" y="30"/>
                      </a:lnTo>
                      <a:lnTo>
                        <a:pt x="180" y="30"/>
                      </a:lnTo>
                      <a:lnTo>
                        <a:pt x="176" y="34"/>
                      </a:lnTo>
                      <a:lnTo>
                        <a:pt x="172" y="34"/>
                      </a:lnTo>
                      <a:lnTo>
                        <a:pt x="168" y="34"/>
                      </a:lnTo>
                      <a:lnTo>
                        <a:pt x="166" y="34"/>
                      </a:lnTo>
                      <a:lnTo>
                        <a:pt x="166" y="38"/>
                      </a:lnTo>
                      <a:lnTo>
                        <a:pt x="162" y="38"/>
                      </a:lnTo>
                      <a:lnTo>
                        <a:pt x="158" y="40"/>
                      </a:lnTo>
                      <a:lnTo>
                        <a:pt x="154" y="44"/>
                      </a:lnTo>
                      <a:lnTo>
                        <a:pt x="150" y="44"/>
                      </a:lnTo>
                      <a:lnTo>
                        <a:pt x="150" y="48"/>
                      </a:lnTo>
                      <a:lnTo>
                        <a:pt x="154" y="48"/>
                      </a:lnTo>
                      <a:lnTo>
                        <a:pt x="154" y="52"/>
                      </a:lnTo>
                      <a:lnTo>
                        <a:pt x="158" y="52"/>
                      </a:lnTo>
                      <a:lnTo>
                        <a:pt x="154" y="56"/>
                      </a:lnTo>
                      <a:lnTo>
                        <a:pt x="158" y="56"/>
                      </a:lnTo>
                      <a:lnTo>
                        <a:pt x="158" y="60"/>
                      </a:lnTo>
                      <a:lnTo>
                        <a:pt x="158" y="64"/>
                      </a:lnTo>
                      <a:lnTo>
                        <a:pt x="154" y="66"/>
                      </a:lnTo>
                      <a:lnTo>
                        <a:pt x="154" y="70"/>
                      </a:lnTo>
                      <a:lnTo>
                        <a:pt x="150" y="70"/>
                      </a:lnTo>
                      <a:lnTo>
                        <a:pt x="150" y="74"/>
                      </a:lnTo>
                      <a:lnTo>
                        <a:pt x="146" y="74"/>
                      </a:lnTo>
                      <a:lnTo>
                        <a:pt x="146" y="78"/>
                      </a:lnTo>
                      <a:lnTo>
                        <a:pt x="150" y="78"/>
                      </a:lnTo>
                      <a:lnTo>
                        <a:pt x="150" y="82"/>
                      </a:lnTo>
                      <a:lnTo>
                        <a:pt x="150" y="86"/>
                      </a:lnTo>
                      <a:lnTo>
                        <a:pt x="146" y="86"/>
                      </a:lnTo>
                      <a:lnTo>
                        <a:pt x="142" y="86"/>
                      </a:lnTo>
                      <a:lnTo>
                        <a:pt x="140" y="86"/>
                      </a:lnTo>
                      <a:lnTo>
                        <a:pt x="136" y="86"/>
                      </a:lnTo>
                      <a:lnTo>
                        <a:pt x="132" y="86"/>
                      </a:lnTo>
                      <a:lnTo>
                        <a:pt x="132" y="90"/>
                      </a:lnTo>
                      <a:lnTo>
                        <a:pt x="136" y="90"/>
                      </a:lnTo>
                      <a:lnTo>
                        <a:pt x="136" y="94"/>
                      </a:lnTo>
                      <a:lnTo>
                        <a:pt x="136" y="96"/>
                      </a:lnTo>
                      <a:lnTo>
                        <a:pt x="140" y="96"/>
                      </a:lnTo>
                      <a:lnTo>
                        <a:pt x="140" y="100"/>
                      </a:lnTo>
                      <a:lnTo>
                        <a:pt x="136" y="100"/>
                      </a:lnTo>
                      <a:lnTo>
                        <a:pt x="132" y="104"/>
                      </a:lnTo>
                      <a:lnTo>
                        <a:pt x="128" y="104"/>
                      </a:lnTo>
                      <a:lnTo>
                        <a:pt x="128" y="108"/>
                      </a:lnTo>
                      <a:lnTo>
                        <a:pt x="124" y="108"/>
                      </a:lnTo>
                      <a:lnTo>
                        <a:pt x="128" y="108"/>
                      </a:lnTo>
                      <a:lnTo>
                        <a:pt x="128" y="112"/>
                      </a:lnTo>
                      <a:lnTo>
                        <a:pt x="124" y="112"/>
                      </a:lnTo>
                      <a:lnTo>
                        <a:pt x="124" y="116"/>
                      </a:lnTo>
                      <a:lnTo>
                        <a:pt x="124" y="120"/>
                      </a:lnTo>
                      <a:lnTo>
                        <a:pt x="124" y="122"/>
                      </a:lnTo>
                      <a:lnTo>
                        <a:pt x="124" y="126"/>
                      </a:lnTo>
                      <a:lnTo>
                        <a:pt x="120" y="126"/>
                      </a:lnTo>
                      <a:lnTo>
                        <a:pt x="120" y="130"/>
                      </a:lnTo>
                      <a:lnTo>
                        <a:pt x="116" y="130"/>
                      </a:lnTo>
                      <a:lnTo>
                        <a:pt x="116" y="126"/>
                      </a:lnTo>
                      <a:lnTo>
                        <a:pt x="112" y="126"/>
                      </a:lnTo>
                      <a:lnTo>
                        <a:pt x="110" y="126"/>
                      </a:lnTo>
                      <a:lnTo>
                        <a:pt x="106" y="130"/>
                      </a:lnTo>
                      <a:lnTo>
                        <a:pt x="102" y="130"/>
                      </a:lnTo>
                      <a:lnTo>
                        <a:pt x="98" y="130"/>
                      </a:lnTo>
                      <a:lnTo>
                        <a:pt x="102" y="134"/>
                      </a:lnTo>
                      <a:lnTo>
                        <a:pt x="102" y="138"/>
                      </a:lnTo>
                      <a:lnTo>
                        <a:pt x="98" y="138"/>
                      </a:lnTo>
                      <a:lnTo>
                        <a:pt x="94" y="138"/>
                      </a:lnTo>
                      <a:lnTo>
                        <a:pt x="90" y="138"/>
                      </a:lnTo>
                      <a:lnTo>
                        <a:pt x="90" y="134"/>
                      </a:lnTo>
                      <a:lnTo>
                        <a:pt x="90" y="138"/>
                      </a:lnTo>
                      <a:lnTo>
                        <a:pt x="86" y="138"/>
                      </a:lnTo>
                      <a:lnTo>
                        <a:pt x="86" y="142"/>
                      </a:lnTo>
                      <a:lnTo>
                        <a:pt x="84" y="142"/>
                      </a:lnTo>
                      <a:lnTo>
                        <a:pt x="84" y="150"/>
                      </a:lnTo>
                      <a:lnTo>
                        <a:pt x="84" y="152"/>
                      </a:lnTo>
                      <a:lnTo>
                        <a:pt x="84" y="156"/>
                      </a:lnTo>
                      <a:lnTo>
                        <a:pt x="80" y="156"/>
                      </a:lnTo>
                      <a:lnTo>
                        <a:pt x="80" y="160"/>
                      </a:lnTo>
                      <a:lnTo>
                        <a:pt x="84" y="160"/>
                      </a:lnTo>
                      <a:lnTo>
                        <a:pt x="80" y="164"/>
                      </a:lnTo>
                      <a:lnTo>
                        <a:pt x="76" y="164"/>
                      </a:lnTo>
                      <a:lnTo>
                        <a:pt x="72" y="164"/>
                      </a:lnTo>
                      <a:lnTo>
                        <a:pt x="68" y="168"/>
                      </a:lnTo>
                      <a:lnTo>
                        <a:pt x="64" y="168"/>
                      </a:lnTo>
                      <a:lnTo>
                        <a:pt x="60" y="168"/>
                      </a:lnTo>
                      <a:lnTo>
                        <a:pt x="56" y="168"/>
                      </a:lnTo>
                      <a:lnTo>
                        <a:pt x="54" y="168"/>
                      </a:lnTo>
                      <a:lnTo>
                        <a:pt x="50" y="172"/>
                      </a:lnTo>
                      <a:lnTo>
                        <a:pt x="46" y="168"/>
                      </a:lnTo>
                      <a:lnTo>
                        <a:pt x="42" y="168"/>
                      </a:lnTo>
                      <a:lnTo>
                        <a:pt x="38" y="168"/>
                      </a:lnTo>
                      <a:lnTo>
                        <a:pt x="28" y="172"/>
                      </a:lnTo>
                      <a:lnTo>
                        <a:pt x="24" y="168"/>
                      </a:lnTo>
                      <a:lnTo>
                        <a:pt x="20" y="168"/>
                      </a:lnTo>
                      <a:lnTo>
                        <a:pt x="16" y="168"/>
                      </a:lnTo>
                      <a:lnTo>
                        <a:pt x="8" y="164"/>
                      </a:lnTo>
                      <a:lnTo>
                        <a:pt x="4" y="164"/>
                      </a:lnTo>
                      <a:lnTo>
                        <a:pt x="4" y="160"/>
                      </a:lnTo>
                      <a:lnTo>
                        <a:pt x="8" y="160"/>
                      </a:lnTo>
                      <a:lnTo>
                        <a:pt x="8" y="156"/>
                      </a:lnTo>
                      <a:lnTo>
                        <a:pt x="12" y="152"/>
                      </a:lnTo>
                      <a:lnTo>
                        <a:pt x="16" y="146"/>
                      </a:lnTo>
                      <a:lnTo>
                        <a:pt x="20" y="142"/>
                      </a:lnTo>
                      <a:lnTo>
                        <a:pt x="20" y="138"/>
                      </a:lnTo>
                      <a:lnTo>
                        <a:pt x="16" y="138"/>
                      </a:lnTo>
                      <a:lnTo>
                        <a:pt x="16" y="134"/>
                      </a:lnTo>
                      <a:lnTo>
                        <a:pt x="12" y="134"/>
                      </a:lnTo>
                      <a:lnTo>
                        <a:pt x="8" y="134"/>
                      </a:lnTo>
                      <a:lnTo>
                        <a:pt x="4" y="130"/>
                      </a:lnTo>
                      <a:lnTo>
                        <a:pt x="4" y="126"/>
                      </a:lnTo>
                      <a:lnTo>
                        <a:pt x="4" y="122"/>
                      </a:lnTo>
                      <a:lnTo>
                        <a:pt x="4" y="120"/>
                      </a:lnTo>
                      <a:lnTo>
                        <a:pt x="4" y="116"/>
                      </a:lnTo>
                      <a:lnTo>
                        <a:pt x="0" y="112"/>
                      </a:lnTo>
                      <a:lnTo>
                        <a:pt x="0" y="108"/>
                      </a:lnTo>
                      <a:lnTo>
                        <a:pt x="0" y="104"/>
                      </a:lnTo>
                      <a:lnTo>
                        <a:pt x="0" y="100"/>
                      </a:lnTo>
                      <a:lnTo>
                        <a:pt x="0" y="96"/>
                      </a:lnTo>
                      <a:lnTo>
                        <a:pt x="4" y="96"/>
                      </a:lnTo>
                      <a:lnTo>
                        <a:pt x="4" y="94"/>
                      </a:lnTo>
                      <a:lnTo>
                        <a:pt x="0" y="94"/>
                      </a:lnTo>
                      <a:lnTo>
                        <a:pt x="0" y="90"/>
                      </a:lnTo>
                      <a:lnTo>
                        <a:pt x="0" y="86"/>
                      </a:lnTo>
                      <a:lnTo>
                        <a:pt x="0" y="82"/>
                      </a:lnTo>
                      <a:lnTo>
                        <a:pt x="0" y="78"/>
                      </a:lnTo>
                      <a:lnTo>
                        <a:pt x="4" y="78"/>
                      </a:lnTo>
                      <a:lnTo>
                        <a:pt x="0" y="74"/>
                      </a:lnTo>
                      <a:lnTo>
                        <a:pt x="4" y="74"/>
                      </a:lnTo>
                      <a:lnTo>
                        <a:pt x="8" y="70"/>
                      </a:lnTo>
                      <a:lnTo>
                        <a:pt x="8" y="66"/>
                      </a:lnTo>
                      <a:lnTo>
                        <a:pt x="8" y="64"/>
                      </a:lnTo>
                      <a:lnTo>
                        <a:pt x="8" y="60"/>
                      </a:lnTo>
                      <a:lnTo>
                        <a:pt x="12" y="56"/>
                      </a:lnTo>
                      <a:lnTo>
                        <a:pt x="12" y="56"/>
                      </a:lnTo>
                      <a:lnTo>
                        <a:pt x="12" y="5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8" name="Freeform 17"/>
                <p:cNvSpPr>
                  <a:spLocks noEditPoints="1"/>
                </p:cNvSpPr>
                <p:nvPr/>
              </p:nvSpPr>
              <p:spPr bwMode="auto">
                <a:xfrm>
                  <a:off x="5372100" y="3390968"/>
                  <a:ext cx="69850" cy="69850"/>
                </a:xfrm>
                <a:custGeom>
                  <a:avLst/>
                  <a:gdLst>
                    <a:gd name="T0" fmla="*/ 40 w 44"/>
                    <a:gd name="T1" fmla="*/ 44 h 44"/>
                    <a:gd name="T2" fmla="*/ 36 w 44"/>
                    <a:gd name="T3" fmla="*/ 44 h 44"/>
                    <a:gd name="T4" fmla="*/ 36 w 44"/>
                    <a:gd name="T5" fmla="*/ 44 h 44"/>
                    <a:gd name="T6" fmla="*/ 36 w 44"/>
                    <a:gd name="T7" fmla="*/ 36 h 44"/>
                    <a:gd name="T8" fmla="*/ 32 w 44"/>
                    <a:gd name="T9" fmla="*/ 32 h 44"/>
                    <a:gd name="T10" fmla="*/ 28 w 44"/>
                    <a:gd name="T11" fmla="*/ 32 h 44"/>
                    <a:gd name="T12" fmla="*/ 28 w 44"/>
                    <a:gd name="T13" fmla="*/ 32 h 44"/>
                    <a:gd name="T14" fmla="*/ 22 w 44"/>
                    <a:gd name="T15" fmla="*/ 30 h 44"/>
                    <a:gd name="T16" fmla="*/ 18 w 44"/>
                    <a:gd name="T17" fmla="*/ 30 h 44"/>
                    <a:gd name="T18" fmla="*/ 18 w 44"/>
                    <a:gd name="T19" fmla="*/ 30 h 44"/>
                    <a:gd name="T20" fmla="*/ 14 w 44"/>
                    <a:gd name="T21" fmla="*/ 26 h 44"/>
                    <a:gd name="T22" fmla="*/ 10 w 44"/>
                    <a:gd name="T23" fmla="*/ 22 h 44"/>
                    <a:gd name="T24" fmla="*/ 6 w 44"/>
                    <a:gd name="T25" fmla="*/ 22 h 44"/>
                    <a:gd name="T26" fmla="*/ 2 w 44"/>
                    <a:gd name="T27" fmla="*/ 22 h 44"/>
                    <a:gd name="T28" fmla="*/ 0 w 44"/>
                    <a:gd name="T29" fmla="*/ 14 h 44"/>
                    <a:gd name="T30" fmla="*/ 2 w 44"/>
                    <a:gd name="T31" fmla="*/ 10 h 44"/>
                    <a:gd name="T32" fmla="*/ 0 w 44"/>
                    <a:gd name="T33" fmla="*/ 4 h 44"/>
                    <a:gd name="T34" fmla="*/ 0 w 44"/>
                    <a:gd name="T35" fmla="*/ 4 h 44"/>
                    <a:gd name="T36" fmla="*/ 2 w 44"/>
                    <a:gd name="T37" fmla="*/ 4 h 44"/>
                    <a:gd name="T38" fmla="*/ 2 w 44"/>
                    <a:gd name="T39" fmla="*/ 0 h 44"/>
                    <a:gd name="T40" fmla="*/ 6 w 44"/>
                    <a:gd name="T41" fmla="*/ 0 h 44"/>
                    <a:gd name="T42" fmla="*/ 10 w 44"/>
                    <a:gd name="T43" fmla="*/ 0 h 44"/>
                    <a:gd name="T44" fmla="*/ 18 w 44"/>
                    <a:gd name="T45" fmla="*/ 0 h 44"/>
                    <a:gd name="T46" fmla="*/ 22 w 44"/>
                    <a:gd name="T47" fmla="*/ 0 h 44"/>
                    <a:gd name="T48" fmla="*/ 24 w 44"/>
                    <a:gd name="T49" fmla="*/ 0 h 44"/>
                    <a:gd name="T50" fmla="*/ 22 w 44"/>
                    <a:gd name="T51" fmla="*/ 4 h 44"/>
                    <a:gd name="T52" fmla="*/ 22 w 44"/>
                    <a:gd name="T53" fmla="*/ 4 h 44"/>
                    <a:gd name="T54" fmla="*/ 28 w 44"/>
                    <a:gd name="T55" fmla="*/ 8 h 44"/>
                    <a:gd name="T56" fmla="*/ 24 w 44"/>
                    <a:gd name="T57" fmla="*/ 10 h 44"/>
                    <a:gd name="T58" fmla="*/ 28 w 44"/>
                    <a:gd name="T59" fmla="*/ 14 h 44"/>
                    <a:gd name="T60" fmla="*/ 32 w 44"/>
                    <a:gd name="T61" fmla="*/ 18 h 44"/>
                    <a:gd name="T62" fmla="*/ 32 w 44"/>
                    <a:gd name="T63" fmla="*/ 22 h 44"/>
                    <a:gd name="T64" fmla="*/ 32 w 44"/>
                    <a:gd name="T65" fmla="*/ 22 h 44"/>
                    <a:gd name="T66" fmla="*/ 28 w 44"/>
                    <a:gd name="T67" fmla="*/ 22 h 44"/>
                    <a:gd name="T68" fmla="*/ 32 w 44"/>
                    <a:gd name="T69" fmla="*/ 26 h 44"/>
                    <a:gd name="T70" fmla="*/ 32 w 44"/>
                    <a:gd name="T71" fmla="*/ 26 h 44"/>
                    <a:gd name="T72" fmla="*/ 32 w 44"/>
                    <a:gd name="T73" fmla="*/ 30 h 44"/>
                    <a:gd name="T74" fmla="*/ 36 w 44"/>
                    <a:gd name="T75" fmla="*/ 30 h 44"/>
                    <a:gd name="T76" fmla="*/ 36 w 44"/>
                    <a:gd name="T77" fmla="*/ 32 h 44"/>
                    <a:gd name="T78" fmla="*/ 40 w 44"/>
                    <a:gd name="T79" fmla="*/ 30 h 44"/>
                    <a:gd name="T80" fmla="*/ 40 w 44"/>
                    <a:gd name="T81" fmla="*/ 32 h 44"/>
                    <a:gd name="T82" fmla="*/ 40 w 44"/>
                    <a:gd name="T83" fmla="*/ 36 h 44"/>
                    <a:gd name="T84" fmla="*/ 44 w 44"/>
                    <a:gd name="T85" fmla="*/ 36 h 44"/>
                    <a:gd name="T86" fmla="*/ 40 w 44"/>
                    <a:gd name="T87" fmla="*/ 40 h 44"/>
                    <a:gd name="T88" fmla="*/ 40 w 44"/>
                    <a:gd name="T89" fmla="*/ 40 h 44"/>
                    <a:gd name="T90" fmla="*/ 40 w 44"/>
                    <a:gd name="T91" fmla="*/ 44 h 44"/>
                    <a:gd name="T92" fmla="*/ 44 w 44"/>
                    <a:gd name="T93" fmla="*/ 44 h 44"/>
                    <a:gd name="T94" fmla="*/ 22 w 44"/>
                    <a:gd name="T95" fmla="*/ 4 h 44"/>
                    <a:gd name="T96" fmla="*/ 22 w 44"/>
                    <a:gd name="T97" fmla="*/ 4 h 44"/>
                    <a:gd name="T98" fmla="*/ 24 w 44"/>
                    <a:gd name="T99" fmla="*/ 4 h 44"/>
                    <a:gd name="T100" fmla="*/ 24 w 44"/>
                    <a:gd name="T101" fmla="*/ 4 h 44"/>
                    <a:gd name="T102" fmla="*/ 28 w 44"/>
                    <a:gd name="T103" fmla="*/ 10 h 44"/>
                    <a:gd name="T104" fmla="*/ 28 w 44"/>
                    <a:gd name="T105" fmla="*/ 10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44" h="44">
                      <a:moveTo>
                        <a:pt x="44" y="44"/>
                      </a:moveTo>
                      <a:lnTo>
                        <a:pt x="44" y="44"/>
                      </a:lnTo>
                      <a:lnTo>
                        <a:pt x="40" y="44"/>
                      </a:lnTo>
                      <a:lnTo>
                        <a:pt x="40" y="44"/>
                      </a:lnTo>
                      <a:lnTo>
                        <a:pt x="40" y="44"/>
                      </a:lnTo>
                      <a:lnTo>
                        <a:pt x="40" y="44"/>
                      </a:lnTo>
                      <a:lnTo>
                        <a:pt x="40" y="44"/>
                      </a:lnTo>
                      <a:lnTo>
                        <a:pt x="36" y="44"/>
                      </a:lnTo>
                      <a:lnTo>
                        <a:pt x="36" y="44"/>
                      </a:lnTo>
                      <a:lnTo>
                        <a:pt x="36" y="44"/>
                      </a:lnTo>
                      <a:lnTo>
                        <a:pt x="36" y="44"/>
                      </a:lnTo>
                      <a:lnTo>
                        <a:pt x="36" y="44"/>
                      </a:lnTo>
                      <a:lnTo>
                        <a:pt x="32" y="40"/>
                      </a:lnTo>
                      <a:lnTo>
                        <a:pt x="32" y="40"/>
                      </a:lnTo>
                      <a:lnTo>
                        <a:pt x="36" y="36"/>
                      </a:lnTo>
                      <a:lnTo>
                        <a:pt x="36" y="36"/>
                      </a:lnTo>
                      <a:lnTo>
                        <a:pt x="36" y="36"/>
                      </a:lnTo>
                      <a:lnTo>
                        <a:pt x="32" y="36"/>
                      </a:lnTo>
                      <a:lnTo>
                        <a:pt x="32" y="32"/>
                      </a:lnTo>
                      <a:lnTo>
                        <a:pt x="32" y="32"/>
                      </a:lnTo>
                      <a:lnTo>
                        <a:pt x="32" y="32"/>
                      </a:lnTo>
                      <a:lnTo>
                        <a:pt x="32" y="32"/>
                      </a:lnTo>
                      <a:lnTo>
                        <a:pt x="28" y="32"/>
                      </a:lnTo>
                      <a:lnTo>
                        <a:pt x="28" y="32"/>
                      </a:lnTo>
                      <a:lnTo>
                        <a:pt x="28" y="32"/>
                      </a:lnTo>
                      <a:lnTo>
                        <a:pt x="28" y="32"/>
                      </a:lnTo>
                      <a:lnTo>
                        <a:pt x="28" y="32"/>
                      </a:lnTo>
                      <a:lnTo>
                        <a:pt x="28" y="32"/>
                      </a:lnTo>
                      <a:lnTo>
                        <a:pt x="24" y="32"/>
                      </a:lnTo>
                      <a:lnTo>
                        <a:pt x="24" y="30"/>
                      </a:lnTo>
                      <a:lnTo>
                        <a:pt x="22" y="30"/>
                      </a:lnTo>
                      <a:lnTo>
                        <a:pt x="22" y="30"/>
                      </a:lnTo>
                      <a:lnTo>
                        <a:pt x="22" y="30"/>
                      </a:lnTo>
                      <a:lnTo>
                        <a:pt x="22" y="30"/>
                      </a:lnTo>
                      <a:lnTo>
                        <a:pt x="22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6" y="22"/>
                      </a:lnTo>
                      <a:lnTo>
                        <a:pt x="6" y="22"/>
                      </a:lnTo>
                      <a:lnTo>
                        <a:pt x="6" y="22"/>
                      </a:lnTo>
                      <a:lnTo>
                        <a:pt x="6" y="22"/>
                      </a:lnTo>
                      <a:lnTo>
                        <a:pt x="2" y="22"/>
                      </a:lnTo>
                      <a:lnTo>
                        <a:pt x="2" y="22"/>
                      </a:lnTo>
                      <a:lnTo>
                        <a:pt x="2" y="22"/>
                      </a:lnTo>
                      <a:lnTo>
                        <a:pt x="2" y="22"/>
                      </a:lnTo>
                      <a:lnTo>
                        <a:pt x="2" y="18"/>
                      </a:lnTo>
                      <a:lnTo>
                        <a:pt x="0" y="18"/>
                      </a:lnTo>
                      <a:lnTo>
                        <a:pt x="0" y="14"/>
                      </a:lnTo>
                      <a:lnTo>
                        <a:pt x="0" y="14"/>
                      </a:lnTo>
                      <a:lnTo>
                        <a:pt x="2" y="14"/>
                      </a:lnTo>
                      <a:lnTo>
                        <a:pt x="2" y="10"/>
                      </a:lnTo>
                      <a:lnTo>
                        <a:pt x="2" y="10"/>
                      </a:lnTo>
                      <a:lnTo>
                        <a:pt x="2" y="10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4" y="4"/>
                      </a:lnTo>
                      <a:lnTo>
                        <a:pt x="28" y="8"/>
                      </a:lnTo>
                      <a:lnTo>
                        <a:pt x="28" y="8"/>
                      </a:lnTo>
                      <a:lnTo>
                        <a:pt x="28" y="8"/>
                      </a:lnTo>
                      <a:lnTo>
                        <a:pt x="28" y="8"/>
                      </a:lnTo>
                      <a:lnTo>
                        <a:pt x="28" y="8"/>
                      </a:lnTo>
                      <a:lnTo>
                        <a:pt x="28" y="10"/>
                      </a:lnTo>
                      <a:lnTo>
                        <a:pt x="24" y="10"/>
                      </a:lnTo>
                      <a:lnTo>
                        <a:pt x="24" y="10"/>
                      </a:lnTo>
                      <a:lnTo>
                        <a:pt x="24" y="10"/>
                      </a:lnTo>
                      <a:lnTo>
                        <a:pt x="24" y="10"/>
                      </a:lnTo>
                      <a:lnTo>
                        <a:pt x="28" y="14"/>
                      </a:lnTo>
                      <a:lnTo>
                        <a:pt x="28" y="14"/>
                      </a:lnTo>
                      <a:lnTo>
                        <a:pt x="28" y="14"/>
                      </a:lnTo>
                      <a:lnTo>
                        <a:pt x="32" y="18"/>
                      </a:lnTo>
                      <a:lnTo>
                        <a:pt x="32" y="18"/>
                      </a:lnTo>
                      <a:lnTo>
                        <a:pt x="32" y="18"/>
                      </a:lnTo>
                      <a:lnTo>
                        <a:pt x="36" y="18"/>
                      </a:lnTo>
                      <a:lnTo>
                        <a:pt x="32" y="22"/>
                      </a:lnTo>
                      <a:lnTo>
                        <a:pt x="32" y="22"/>
                      </a:lnTo>
                      <a:lnTo>
                        <a:pt x="32" y="22"/>
                      </a:lnTo>
                      <a:lnTo>
                        <a:pt x="32" y="22"/>
                      </a:lnTo>
                      <a:lnTo>
                        <a:pt x="32" y="22"/>
                      </a:lnTo>
                      <a:lnTo>
                        <a:pt x="32" y="22"/>
                      </a:lnTo>
                      <a:lnTo>
                        <a:pt x="28" y="22"/>
                      </a:lnTo>
                      <a:lnTo>
                        <a:pt x="28" y="22"/>
                      </a:lnTo>
                      <a:lnTo>
                        <a:pt x="28" y="22"/>
                      </a:lnTo>
                      <a:lnTo>
                        <a:pt x="28" y="22"/>
                      </a:lnTo>
                      <a:lnTo>
                        <a:pt x="28" y="22"/>
                      </a:lnTo>
                      <a:lnTo>
                        <a:pt x="28" y="26"/>
                      </a:lnTo>
                      <a:lnTo>
                        <a:pt x="28" y="26"/>
                      </a:lnTo>
                      <a:lnTo>
                        <a:pt x="32" y="26"/>
                      </a:lnTo>
                      <a:lnTo>
                        <a:pt x="32" y="26"/>
                      </a:lnTo>
                      <a:lnTo>
                        <a:pt x="32" y="26"/>
                      </a:lnTo>
                      <a:lnTo>
                        <a:pt x="32" y="26"/>
                      </a:lnTo>
                      <a:lnTo>
                        <a:pt x="32" y="26"/>
                      </a:lnTo>
                      <a:lnTo>
                        <a:pt x="32" y="26"/>
                      </a:lnTo>
                      <a:lnTo>
                        <a:pt x="32" y="26"/>
                      </a:lnTo>
                      <a:lnTo>
                        <a:pt x="32" y="26"/>
                      </a:lnTo>
                      <a:lnTo>
                        <a:pt x="32" y="30"/>
                      </a:lnTo>
                      <a:lnTo>
                        <a:pt x="32" y="30"/>
                      </a:lnTo>
                      <a:lnTo>
                        <a:pt x="36" y="30"/>
                      </a:lnTo>
                      <a:lnTo>
                        <a:pt x="36" y="30"/>
                      </a:lnTo>
                      <a:lnTo>
                        <a:pt x="36" y="30"/>
                      </a:lnTo>
                      <a:lnTo>
                        <a:pt x="36" y="30"/>
                      </a:lnTo>
                      <a:lnTo>
                        <a:pt x="36" y="30"/>
                      </a:lnTo>
                      <a:lnTo>
                        <a:pt x="36" y="30"/>
                      </a:lnTo>
                      <a:lnTo>
                        <a:pt x="36" y="32"/>
                      </a:lnTo>
                      <a:lnTo>
                        <a:pt x="36" y="32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4" y="32"/>
                      </a:lnTo>
                      <a:lnTo>
                        <a:pt x="44" y="32"/>
                      </a:lnTo>
                      <a:lnTo>
                        <a:pt x="44" y="32"/>
                      </a:lnTo>
                      <a:lnTo>
                        <a:pt x="40" y="32"/>
                      </a:lnTo>
                      <a:lnTo>
                        <a:pt x="40" y="32"/>
                      </a:lnTo>
                      <a:lnTo>
                        <a:pt x="40" y="32"/>
                      </a:lnTo>
                      <a:lnTo>
                        <a:pt x="40" y="36"/>
                      </a:lnTo>
                      <a:lnTo>
                        <a:pt x="40" y="36"/>
                      </a:lnTo>
                      <a:lnTo>
                        <a:pt x="44" y="36"/>
                      </a:lnTo>
                      <a:lnTo>
                        <a:pt x="44" y="36"/>
                      </a:lnTo>
                      <a:lnTo>
                        <a:pt x="44" y="36"/>
                      </a:lnTo>
                      <a:lnTo>
                        <a:pt x="44" y="36"/>
                      </a:lnTo>
                      <a:lnTo>
                        <a:pt x="44" y="40"/>
                      </a:lnTo>
                      <a:lnTo>
                        <a:pt x="40" y="40"/>
                      </a:lnTo>
                      <a:lnTo>
                        <a:pt x="40" y="36"/>
                      </a:lnTo>
                      <a:lnTo>
                        <a:pt x="40" y="40"/>
                      </a:lnTo>
                      <a:lnTo>
                        <a:pt x="40" y="40"/>
                      </a:lnTo>
                      <a:lnTo>
                        <a:pt x="40" y="40"/>
                      </a:lnTo>
                      <a:lnTo>
                        <a:pt x="40" y="40"/>
                      </a:lnTo>
                      <a:lnTo>
                        <a:pt x="40" y="40"/>
                      </a:lnTo>
                      <a:lnTo>
                        <a:pt x="44" y="40"/>
                      </a:lnTo>
                      <a:lnTo>
                        <a:pt x="44" y="40"/>
                      </a:lnTo>
                      <a:lnTo>
                        <a:pt x="44" y="40"/>
                      </a:lnTo>
                      <a:lnTo>
                        <a:pt x="40" y="44"/>
                      </a:lnTo>
                      <a:lnTo>
                        <a:pt x="40" y="44"/>
                      </a:lnTo>
                      <a:lnTo>
                        <a:pt x="44" y="44"/>
                      </a:lnTo>
                      <a:lnTo>
                        <a:pt x="44" y="44"/>
                      </a:lnTo>
                      <a:lnTo>
                        <a:pt x="44" y="44"/>
                      </a:lnTo>
                      <a:close/>
                      <a:moveTo>
                        <a:pt x="22" y="4"/>
                      </a:move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close/>
                      <a:moveTo>
                        <a:pt x="24" y="4"/>
                      </a:move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4"/>
                      </a:lnTo>
                      <a:close/>
                      <a:moveTo>
                        <a:pt x="28" y="10"/>
                      </a:moveTo>
                      <a:lnTo>
                        <a:pt x="28" y="10"/>
                      </a:lnTo>
                      <a:lnTo>
                        <a:pt x="28" y="10"/>
                      </a:lnTo>
                      <a:lnTo>
                        <a:pt x="28" y="10"/>
                      </a:lnTo>
                      <a:lnTo>
                        <a:pt x="28" y="10"/>
                      </a:lnTo>
                      <a:lnTo>
                        <a:pt x="28" y="10"/>
                      </a:lnTo>
                      <a:lnTo>
                        <a:pt x="28" y="10"/>
                      </a:lnTo>
                      <a:lnTo>
                        <a:pt x="28" y="10"/>
                      </a:lnTo>
                      <a:lnTo>
                        <a:pt x="28" y="10"/>
                      </a:lnTo>
                      <a:lnTo>
                        <a:pt x="28" y="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9" name="Freeform 18"/>
                <p:cNvSpPr>
                  <a:spLocks noEditPoints="1"/>
                </p:cNvSpPr>
                <p:nvPr/>
              </p:nvSpPr>
              <p:spPr bwMode="auto">
                <a:xfrm>
                  <a:off x="5400675" y="3343343"/>
                  <a:ext cx="152400" cy="136525"/>
                </a:xfrm>
                <a:custGeom>
                  <a:avLst/>
                  <a:gdLst>
                    <a:gd name="T0" fmla="*/ 78 w 96"/>
                    <a:gd name="T1" fmla="*/ 86 h 86"/>
                    <a:gd name="T2" fmla="*/ 56 w 96"/>
                    <a:gd name="T3" fmla="*/ 86 h 86"/>
                    <a:gd name="T4" fmla="*/ 48 w 96"/>
                    <a:gd name="T5" fmla="*/ 82 h 86"/>
                    <a:gd name="T6" fmla="*/ 44 w 96"/>
                    <a:gd name="T7" fmla="*/ 74 h 86"/>
                    <a:gd name="T8" fmla="*/ 48 w 96"/>
                    <a:gd name="T9" fmla="*/ 74 h 86"/>
                    <a:gd name="T10" fmla="*/ 48 w 96"/>
                    <a:gd name="T11" fmla="*/ 70 h 86"/>
                    <a:gd name="T12" fmla="*/ 48 w 96"/>
                    <a:gd name="T13" fmla="*/ 66 h 86"/>
                    <a:gd name="T14" fmla="*/ 48 w 96"/>
                    <a:gd name="T15" fmla="*/ 62 h 86"/>
                    <a:gd name="T16" fmla="*/ 40 w 96"/>
                    <a:gd name="T17" fmla="*/ 60 h 86"/>
                    <a:gd name="T18" fmla="*/ 32 w 96"/>
                    <a:gd name="T19" fmla="*/ 66 h 86"/>
                    <a:gd name="T20" fmla="*/ 30 w 96"/>
                    <a:gd name="T21" fmla="*/ 70 h 86"/>
                    <a:gd name="T22" fmla="*/ 26 w 96"/>
                    <a:gd name="T23" fmla="*/ 74 h 86"/>
                    <a:gd name="T24" fmla="*/ 22 w 96"/>
                    <a:gd name="T25" fmla="*/ 70 h 86"/>
                    <a:gd name="T26" fmla="*/ 26 w 96"/>
                    <a:gd name="T27" fmla="*/ 66 h 86"/>
                    <a:gd name="T28" fmla="*/ 22 w 96"/>
                    <a:gd name="T29" fmla="*/ 62 h 86"/>
                    <a:gd name="T30" fmla="*/ 22 w 96"/>
                    <a:gd name="T31" fmla="*/ 60 h 86"/>
                    <a:gd name="T32" fmla="*/ 18 w 96"/>
                    <a:gd name="T33" fmla="*/ 60 h 86"/>
                    <a:gd name="T34" fmla="*/ 14 w 96"/>
                    <a:gd name="T35" fmla="*/ 56 h 86"/>
                    <a:gd name="T36" fmla="*/ 10 w 96"/>
                    <a:gd name="T37" fmla="*/ 52 h 86"/>
                    <a:gd name="T38" fmla="*/ 14 w 96"/>
                    <a:gd name="T39" fmla="*/ 52 h 86"/>
                    <a:gd name="T40" fmla="*/ 14 w 96"/>
                    <a:gd name="T41" fmla="*/ 48 h 86"/>
                    <a:gd name="T42" fmla="*/ 6 w 96"/>
                    <a:gd name="T43" fmla="*/ 40 h 86"/>
                    <a:gd name="T44" fmla="*/ 6 w 96"/>
                    <a:gd name="T45" fmla="*/ 32 h 86"/>
                    <a:gd name="T46" fmla="*/ 6 w 96"/>
                    <a:gd name="T47" fmla="*/ 32 h 86"/>
                    <a:gd name="T48" fmla="*/ 4 w 96"/>
                    <a:gd name="T49" fmla="*/ 26 h 86"/>
                    <a:gd name="T50" fmla="*/ 10 w 96"/>
                    <a:gd name="T51" fmla="*/ 26 h 86"/>
                    <a:gd name="T52" fmla="*/ 14 w 96"/>
                    <a:gd name="T53" fmla="*/ 30 h 86"/>
                    <a:gd name="T54" fmla="*/ 18 w 96"/>
                    <a:gd name="T55" fmla="*/ 30 h 86"/>
                    <a:gd name="T56" fmla="*/ 22 w 96"/>
                    <a:gd name="T57" fmla="*/ 32 h 86"/>
                    <a:gd name="T58" fmla="*/ 26 w 96"/>
                    <a:gd name="T59" fmla="*/ 26 h 86"/>
                    <a:gd name="T60" fmla="*/ 18 w 96"/>
                    <a:gd name="T61" fmla="*/ 22 h 86"/>
                    <a:gd name="T62" fmla="*/ 22 w 96"/>
                    <a:gd name="T63" fmla="*/ 18 h 86"/>
                    <a:gd name="T64" fmla="*/ 26 w 96"/>
                    <a:gd name="T65" fmla="*/ 18 h 86"/>
                    <a:gd name="T66" fmla="*/ 30 w 96"/>
                    <a:gd name="T67" fmla="*/ 22 h 86"/>
                    <a:gd name="T68" fmla="*/ 36 w 96"/>
                    <a:gd name="T69" fmla="*/ 30 h 86"/>
                    <a:gd name="T70" fmla="*/ 40 w 96"/>
                    <a:gd name="T71" fmla="*/ 30 h 86"/>
                    <a:gd name="T72" fmla="*/ 48 w 96"/>
                    <a:gd name="T73" fmla="*/ 26 h 86"/>
                    <a:gd name="T74" fmla="*/ 52 w 96"/>
                    <a:gd name="T75" fmla="*/ 22 h 86"/>
                    <a:gd name="T76" fmla="*/ 70 w 96"/>
                    <a:gd name="T77" fmla="*/ 0 h 86"/>
                    <a:gd name="T78" fmla="*/ 88 w 96"/>
                    <a:gd name="T79" fmla="*/ 30 h 86"/>
                    <a:gd name="T80" fmla="*/ 96 w 96"/>
                    <a:gd name="T81" fmla="*/ 56 h 86"/>
                    <a:gd name="T82" fmla="*/ 92 w 96"/>
                    <a:gd name="T83" fmla="*/ 74 h 86"/>
                    <a:gd name="T84" fmla="*/ 10 w 96"/>
                    <a:gd name="T85" fmla="*/ 40 h 86"/>
                    <a:gd name="T86" fmla="*/ 4 w 96"/>
                    <a:gd name="T87" fmla="*/ 32 h 86"/>
                    <a:gd name="T88" fmla="*/ 4 w 96"/>
                    <a:gd name="T89" fmla="*/ 32 h 86"/>
                    <a:gd name="T90" fmla="*/ 6 w 96"/>
                    <a:gd name="T91" fmla="*/ 32 h 86"/>
                    <a:gd name="T92" fmla="*/ 0 w 96"/>
                    <a:gd name="T93" fmla="*/ 60 h 86"/>
                    <a:gd name="T94" fmla="*/ 4 w 96"/>
                    <a:gd name="T95" fmla="*/ 60 h 86"/>
                    <a:gd name="T96" fmla="*/ 10 w 96"/>
                    <a:gd name="T97" fmla="*/ 62 h 86"/>
                    <a:gd name="T98" fmla="*/ 14 w 96"/>
                    <a:gd name="T99" fmla="*/ 66 h 86"/>
                    <a:gd name="T100" fmla="*/ 18 w 96"/>
                    <a:gd name="T101" fmla="*/ 74 h 86"/>
                    <a:gd name="T102" fmla="*/ 10 w 96"/>
                    <a:gd name="T103" fmla="*/ 74 h 86"/>
                    <a:gd name="T104" fmla="*/ 6 w 96"/>
                    <a:gd name="T105" fmla="*/ 70 h 86"/>
                    <a:gd name="T106" fmla="*/ 4 w 96"/>
                    <a:gd name="T107" fmla="*/ 62 h 86"/>
                    <a:gd name="T108" fmla="*/ 0 w 96"/>
                    <a:gd name="T109" fmla="*/ 60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96" h="86">
                      <a:moveTo>
                        <a:pt x="92" y="78"/>
                      </a:moveTo>
                      <a:lnTo>
                        <a:pt x="88" y="82"/>
                      </a:lnTo>
                      <a:lnTo>
                        <a:pt x="86" y="82"/>
                      </a:lnTo>
                      <a:lnTo>
                        <a:pt x="82" y="82"/>
                      </a:lnTo>
                      <a:lnTo>
                        <a:pt x="82" y="82"/>
                      </a:lnTo>
                      <a:lnTo>
                        <a:pt x="78" y="86"/>
                      </a:lnTo>
                      <a:lnTo>
                        <a:pt x="78" y="86"/>
                      </a:lnTo>
                      <a:lnTo>
                        <a:pt x="74" y="86"/>
                      </a:lnTo>
                      <a:lnTo>
                        <a:pt x="70" y="86"/>
                      </a:lnTo>
                      <a:lnTo>
                        <a:pt x="58" y="82"/>
                      </a:lnTo>
                      <a:lnTo>
                        <a:pt x="56" y="82"/>
                      </a:lnTo>
                      <a:lnTo>
                        <a:pt x="56" y="82"/>
                      </a:lnTo>
                      <a:lnTo>
                        <a:pt x="56" y="86"/>
                      </a:lnTo>
                      <a:lnTo>
                        <a:pt x="56" y="86"/>
                      </a:lnTo>
                      <a:lnTo>
                        <a:pt x="56" y="86"/>
                      </a:lnTo>
                      <a:lnTo>
                        <a:pt x="52" y="86"/>
                      </a:lnTo>
                      <a:lnTo>
                        <a:pt x="52" y="82"/>
                      </a:lnTo>
                      <a:lnTo>
                        <a:pt x="52" y="82"/>
                      </a:lnTo>
                      <a:lnTo>
                        <a:pt x="52" y="82"/>
                      </a:lnTo>
                      <a:lnTo>
                        <a:pt x="52" y="82"/>
                      </a:lnTo>
                      <a:lnTo>
                        <a:pt x="48" y="82"/>
                      </a:lnTo>
                      <a:lnTo>
                        <a:pt x="48" y="78"/>
                      </a:lnTo>
                      <a:lnTo>
                        <a:pt x="48" y="78"/>
                      </a:lnTo>
                      <a:lnTo>
                        <a:pt x="48" y="78"/>
                      </a:lnTo>
                      <a:lnTo>
                        <a:pt x="48" y="78"/>
                      </a:lnTo>
                      <a:lnTo>
                        <a:pt x="48" y="78"/>
                      </a:lnTo>
                      <a:lnTo>
                        <a:pt x="48" y="78"/>
                      </a:lnTo>
                      <a:lnTo>
                        <a:pt x="44" y="74"/>
                      </a:lnTo>
                      <a:lnTo>
                        <a:pt x="44" y="74"/>
                      </a:lnTo>
                      <a:lnTo>
                        <a:pt x="44" y="74"/>
                      </a:lnTo>
                      <a:lnTo>
                        <a:pt x="44" y="74"/>
                      </a:lnTo>
                      <a:lnTo>
                        <a:pt x="48" y="74"/>
                      </a:lnTo>
                      <a:lnTo>
                        <a:pt x="48" y="74"/>
                      </a:lnTo>
                      <a:lnTo>
                        <a:pt x="48" y="74"/>
                      </a:lnTo>
                      <a:lnTo>
                        <a:pt x="48" y="74"/>
                      </a:lnTo>
                      <a:lnTo>
                        <a:pt x="48" y="74"/>
                      </a:lnTo>
                      <a:lnTo>
                        <a:pt x="48" y="74"/>
                      </a:lnTo>
                      <a:lnTo>
                        <a:pt x="48" y="70"/>
                      </a:lnTo>
                      <a:lnTo>
                        <a:pt x="48" y="70"/>
                      </a:lnTo>
                      <a:lnTo>
                        <a:pt x="48" y="70"/>
                      </a:lnTo>
                      <a:lnTo>
                        <a:pt x="48" y="70"/>
                      </a:lnTo>
                      <a:lnTo>
                        <a:pt x="48" y="70"/>
                      </a:lnTo>
                      <a:lnTo>
                        <a:pt x="48" y="70"/>
                      </a:lnTo>
                      <a:lnTo>
                        <a:pt x="48" y="66"/>
                      </a:lnTo>
                      <a:lnTo>
                        <a:pt x="48" y="66"/>
                      </a:lnTo>
                      <a:lnTo>
                        <a:pt x="48" y="66"/>
                      </a:lnTo>
                      <a:lnTo>
                        <a:pt x="48" y="66"/>
                      </a:lnTo>
                      <a:lnTo>
                        <a:pt x="48" y="66"/>
                      </a:lnTo>
                      <a:lnTo>
                        <a:pt x="48" y="66"/>
                      </a:lnTo>
                      <a:lnTo>
                        <a:pt x="52" y="66"/>
                      </a:lnTo>
                      <a:lnTo>
                        <a:pt x="48" y="62"/>
                      </a:lnTo>
                      <a:lnTo>
                        <a:pt x="48" y="62"/>
                      </a:lnTo>
                      <a:lnTo>
                        <a:pt x="48" y="62"/>
                      </a:lnTo>
                      <a:lnTo>
                        <a:pt x="48" y="62"/>
                      </a:lnTo>
                      <a:lnTo>
                        <a:pt x="48" y="62"/>
                      </a:lnTo>
                      <a:lnTo>
                        <a:pt x="48" y="62"/>
                      </a:lnTo>
                      <a:lnTo>
                        <a:pt x="44" y="60"/>
                      </a:lnTo>
                      <a:lnTo>
                        <a:pt x="44" y="60"/>
                      </a:lnTo>
                      <a:lnTo>
                        <a:pt x="44" y="60"/>
                      </a:lnTo>
                      <a:lnTo>
                        <a:pt x="44" y="60"/>
                      </a:lnTo>
                      <a:lnTo>
                        <a:pt x="44" y="60"/>
                      </a:lnTo>
                      <a:lnTo>
                        <a:pt x="40" y="60"/>
                      </a:lnTo>
                      <a:lnTo>
                        <a:pt x="40" y="60"/>
                      </a:lnTo>
                      <a:lnTo>
                        <a:pt x="40" y="60"/>
                      </a:lnTo>
                      <a:lnTo>
                        <a:pt x="36" y="62"/>
                      </a:lnTo>
                      <a:lnTo>
                        <a:pt x="36" y="62"/>
                      </a:lnTo>
                      <a:lnTo>
                        <a:pt x="36" y="62"/>
                      </a:lnTo>
                      <a:lnTo>
                        <a:pt x="36" y="62"/>
                      </a:lnTo>
                      <a:lnTo>
                        <a:pt x="36" y="66"/>
                      </a:lnTo>
                      <a:lnTo>
                        <a:pt x="32" y="66"/>
                      </a:lnTo>
                      <a:lnTo>
                        <a:pt x="32" y="66"/>
                      </a:lnTo>
                      <a:lnTo>
                        <a:pt x="32" y="66"/>
                      </a:lnTo>
                      <a:lnTo>
                        <a:pt x="32" y="66"/>
                      </a:lnTo>
                      <a:lnTo>
                        <a:pt x="32" y="66"/>
                      </a:lnTo>
                      <a:lnTo>
                        <a:pt x="30" y="70"/>
                      </a:lnTo>
                      <a:lnTo>
                        <a:pt x="30" y="70"/>
                      </a:lnTo>
                      <a:lnTo>
                        <a:pt x="30" y="70"/>
                      </a:lnTo>
                      <a:lnTo>
                        <a:pt x="30" y="70"/>
                      </a:lnTo>
                      <a:lnTo>
                        <a:pt x="30" y="70"/>
                      </a:lnTo>
                      <a:lnTo>
                        <a:pt x="26" y="70"/>
                      </a:lnTo>
                      <a:lnTo>
                        <a:pt x="26" y="70"/>
                      </a:lnTo>
                      <a:lnTo>
                        <a:pt x="26" y="74"/>
                      </a:lnTo>
                      <a:lnTo>
                        <a:pt x="26" y="74"/>
                      </a:lnTo>
                      <a:lnTo>
                        <a:pt x="26" y="74"/>
                      </a:lnTo>
                      <a:lnTo>
                        <a:pt x="22" y="74"/>
                      </a:lnTo>
                      <a:lnTo>
                        <a:pt x="22" y="74"/>
                      </a:lnTo>
                      <a:lnTo>
                        <a:pt x="26" y="70"/>
                      </a:lnTo>
                      <a:lnTo>
                        <a:pt x="26" y="70"/>
                      </a:lnTo>
                      <a:lnTo>
                        <a:pt x="26" y="70"/>
                      </a:lnTo>
                      <a:lnTo>
                        <a:pt x="22" y="70"/>
                      </a:lnTo>
                      <a:lnTo>
                        <a:pt x="22" y="70"/>
                      </a:lnTo>
                      <a:lnTo>
                        <a:pt x="22" y="70"/>
                      </a:lnTo>
                      <a:lnTo>
                        <a:pt x="22" y="70"/>
                      </a:lnTo>
                      <a:lnTo>
                        <a:pt x="22" y="70"/>
                      </a:lnTo>
                      <a:lnTo>
                        <a:pt x="22" y="66"/>
                      </a:lnTo>
                      <a:lnTo>
                        <a:pt x="22" y="70"/>
                      </a:lnTo>
                      <a:lnTo>
                        <a:pt x="26" y="70"/>
                      </a:lnTo>
                      <a:lnTo>
                        <a:pt x="26" y="66"/>
                      </a:lnTo>
                      <a:lnTo>
                        <a:pt x="26" y="66"/>
                      </a:lnTo>
                      <a:lnTo>
                        <a:pt x="26" y="66"/>
                      </a:lnTo>
                      <a:lnTo>
                        <a:pt x="26" y="66"/>
                      </a:lnTo>
                      <a:lnTo>
                        <a:pt x="22" y="66"/>
                      </a:lnTo>
                      <a:lnTo>
                        <a:pt x="22" y="66"/>
                      </a:lnTo>
                      <a:lnTo>
                        <a:pt x="22" y="62"/>
                      </a:lnTo>
                      <a:lnTo>
                        <a:pt x="22" y="62"/>
                      </a:lnTo>
                      <a:lnTo>
                        <a:pt x="22" y="62"/>
                      </a:lnTo>
                      <a:lnTo>
                        <a:pt x="26" y="62"/>
                      </a:lnTo>
                      <a:lnTo>
                        <a:pt x="26" y="62"/>
                      </a:lnTo>
                      <a:lnTo>
                        <a:pt x="26" y="62"/>
                      </a:lnTo>
                      <a:lnTo>
                        <a:pt x="22" y="60"/>
                      </a:lnTo>
                      <a:lnTo>
                        <a:pt x="22" y="60"/>
                      </a:lnTo>
                      <a:lnTo>
                        <a:pt x="22" y="60"/>
                      </a:lnTo>
                      <a:lnTo>
                        <a:pt x="18" y="62"/>
                      </a:lnTo>
                      <a:lnTo>
                        <a:pt x="18" y="62"/>
                      </a:lnTo>
                      <a:lnTo>
                        <a:pt x="18" y="60"/>
                      </a:lnTo>
                      <a:lnTo>
                        <a:pt x="18" y="60"/>
                      </a:lnTo>
                      <a:lnTo>
                        <a:pt x="18" y="60"/>
                      </a:lnTo>
                      <a:lnTo>
                        <a:pt x="18" y="60"/>
                      </a:lnTo>
                      <a:lnTo>
                        <a:pt x="18" y="60"/>
                      </a:lnTo>
                      <a:lnTo>
                        <a:pt x="18" y="60"/>
                      </a:lnTo>
                      <a:lnTo>
                        <a:pt x="14" y="60"/>
                      </a:lnTo>
                      <a:lnTo>
                        <a:pt x="14" y="60"/>
                      </a:lnTo>
                      <a:lnTo>
                        <a:pt x="14" y="56"/>
                      </a:lnTo>
                      <a:lnTo>
                        <a:pt x="14" y="56"/>
                      </a:lnTo>
                      <a:lnTo>
                        <a:pt x="14" y="56"/>
                      </a:lnTo>
                      <a:lnTo>
                        <a:pt x="14" y="56"/>
                      </a:lnTo>
                      <a:lnTo>
                        <a:pt x="14" y="56"/>
                      </a:lnTo>
                      <a:lnTo>
                        <a:pt x="14" y="56"/>
                      </a:lnTo>
                      <a:lnTo>
                        <a:pt x="14" y="56"/>
                      </a:lnTo>
                      <a:lnTo>
                        <a:pt x="14" y="56"/>
                      </a:lnTo>
                      <a:lnTo>
                        <a:pt x="10" y="56"/>
                      </a:lnTo>
                      <a:lnTo>
                        <a:pt x="10" y="56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4" y="52"/>
                      </a:lnTo>
                      <a:lnTo>
                        <a:pt x="14" y="52"/>
                      </a:lnTo>
                      <a:lnTo>
                        <a:pt x="14" y="52"/>
                      </a:lnTo>
                      <a:lnTo>
                        <a:pt x="14" y="52"/>
                      </a:lnTo>
                      <a:lnTo>
                        <a:pt x="14" y="52"/>
                      </a:lnTo>
                      <a:lnTo>
                        <a:pt x="14" y="52"/>
                      </a:lnTo>
                      <a:lnTo>
                        <a:pt x="18" y="48"/>
                      </a:lnTo>
                      <a:lnTo>
                        <a:pt x="14" y="48"/>
                      </a:lnTo>
                      <a:lnTo>
                        <a:pt x="14" y="48"/>
                      </a:lnTo>
                      <a:lnTo>
                        <a:pt x="14" y="48"/>
                      </a:lnTo>
                      <a:lnTo>
                        <a:pt x="10" y="44"/>
                      </a:lnTo>
                      <a:lnTo>
                        <a:pt x="10" y="44"/>
                      </a:lnTo>
                      <a:lnTo>
                        <a:pt x="10" y="44"/>
                      </a:lnTo>
                      <a:lnTo>
                        <a:pt x="6" y="40"/>
                      </a:lnTo>
                      <a:lnTo>
                        <a:pt x="6" y="40"/>
                      </a:lnTo>
                      <a:lnTo>
                        <a:pt x="6" y="40"/>
                      </a:lnTo>
                      <a:lnTo>
                        <a:pt x="6" y="40"/>
                      </a:lnTo>
                      <a:lnTo>
                        <a:pt x="10" y="40"/>
                      </a:lnTo>
                      <a:lnTo>
                        <a:pt x="10" y="36"/>
                      </a:lnTo>
                      <a:lnTo>
                        <a:pt x="10" y="36"/>
                      </a:lnTo>
                      <a:lnTo>
                        <a:pt x="10" y="36"/>
                      </a:lnTo>
                      <a:lnTo>
                        <a:pt x="10" y="36"/>
                      </a:lnTo>
                      <a:lnTo>
                        <a:pt x="10" y="36"/>
                      </a:lnTo>
                      <a:lnTo>
                        <a:pt x="6" y="32"/>
                      </a:lnTo>
                      <a:lnTo>
                        <a:pt x="4" y="32"/>
                      </a:lnTo>
                      <a:lnTo>
                        <a:pt x="4" y="32"/>
                      </a:lnTo>
                      <a:lnTo>
                        <a:pt x="4" y="32"/>
                      </a:lnTo>
                      <a:lnTo>
                        <a:pt x="4" y="32"/>
                      </a:lnTo>
                      <a:lnTo>
                        <a:pt x="4" y="32"/>
                      </a:lnTo>
                      <a:lnTo>
                        <a:pt x="6" y="32"/>
                      </a:lnTo>
                      <a:lnTo>
                        <a:pt x="6" y="32"/>
                      </a:lnTo>
                      <a:lnTo>
                        <a:pt x="6" y="30"/>
                      </a:lnTo>
                      <a:lnTo>
                        <a:pt x="6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6" y="26"/>
                      </a:lnTo>
                      <a:lnTo>
                        <a:pt x="6" y="26"/>
                      </a:lnTo>
                      <a:lnTo>
                        <a:pt x="6" y="26"/>
                      </a:lnTo>
                      <a:lnTo>
                        <a:pt x="6" y="26"/>
                      </a:lnTo>
                      <a:lnTo>
                        <a:pt x="10" y="26"/>
                      </a:lnTo>
                      <a:lnTo>
                        <a:pt x="10" y="26"/>
                      </a:lnTo>
                      <a:lnTo>
                        <a:pt x="10" y="30"/>
                      </a:lnTo>
                      <a:lnTo>
                        <a:pt x="10" y="30"/>
                      </a:lnTo>
                      <a:lnTo>
                        <a:pt x="14" y="30"/>
                      </a:lnTo>
                      <a:lnTo>
                        <a:pt x="14" y="30"/>
                      </a:lnTo>
                      <a:lnTo>
                        <a:pt x="14" y="30"/>
                      </a:lnTo>
                      <a:lnTo>
                        <a:pt x="14" y="30"/>
                      </a:lnTo>
                      <a:lnTo>
                        <a:pt x="14" y="30"/>
                      </a:lnTo>
                      <a:lnTo>
                        <a:pt x="14" y="30"/>
                      </a:lnTo>
                      <a:lnTo>
                        <a:pt x="14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22" y="30"/>
                      </a:lnTo>
                      <a:lnTo>
                        <a:pt x="22" y="30"/>
                      </a:lnTo>
                      <a:lnTo>
                        <a:pt x="22" y="32"/>
                      </a:lnTo>
                      <a:lnTo>
                        <a:pt x="22" y="32"/>
                      </a:lnTo>
                      <a:lnTo>
                        <a:pt x="22" y="32"/>
                      </a:lnTo>
                      <a:lnTo>
                        <a:pt x="22" y="32"/>
                      </a:lnTo>
                      <a:lnTo>
                        <a:pt x="26" y="32"/>
                      </a:lnTo>
                      <a:lnTo>
                        <a:pt x="26" y="32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2" y="26"/>
                      </a:lnTo>
                      <a:lnTo>
                        <a:pt x="22" y="26"/>
                      </a:lnTo>
                      <a:lnTo>
                        <a:pt x="18" y="22"/>
                      </a:lnTo>
                      <a:lnTo>
                        <a:pt x="18" y="22"/>
                      </a:lnTo>
                      <a:lnTo>
                        <a:pt x="18" y="22"/>
                      </a:lnTo>
                      <a:lnTo>
                        <a:pt x="18" y="22"/>
                      </a:lnTo>
                      <a:lnTo>
                        <a:pt x="18" y="18"/>
                      </a:lnTo>
                      <a:lnTo>
                        <a:pt x="18" y="18"/>
                      </a:lnTo>
                      <a:lnTo>
                        <a:pt x="18" y="18"/>
                      </a:lnTo>
                      <a:lnTo>
                        <a:pt x="22" y="18"/>
                      </a:lnTo>
                      <a:lnTo>
                        <a:pt x="22" y="18"/>
                      </a:lnTo>
                      <a:lnTo>
                        <a:pt x="22" y="18"/>
                      </a:lnTo>
                      <a:lnTo>
                        <a:pt x="22" y="18"/>
                      </a:lnTo>
                      <a:lnTo>
                        <a:pt x="22" y="18"/>
                      </a:lnTo>
                      <a:lnTo>
                        <a:pt x="22" y="18"/>
                      </a:lnTo>
                      <a:lnTo>
                        <a:pt x="22" y="18"/>
                      </a:lnTo>
                      <a:lnTo>
                        <a:pt x="22" y="18"/>
                      </a:lnTo>
                      <a:lnTo>
                        <a:pt x="26" y="18"/>
                      </a:lnTo>
                      <a:lnTo>
                        <a:pt x="26" y="18"/>
                      </a:lnTo>
                      <a:lnTo>
                        <a:pt x="26" y="18"/>
                      </a:lnTo>
                      <a:lnTo>
                        <a:pt x="26" y="18"/>
                      </a:lnTo>
                      <a:lnTo>
                        <a:pt x="30" y="18"/>
                      </a:lnTo>
                      <a:lnTo>
                        <a:pt x="30" y="18"/>
                      </a:lnTo>
                      <a:lnTo>
                        <a:pt x="30" y="18"/>
                      </a:lnTo>
                      <a:lnTo>
                        <a:pt x="30" y="22"/>
                      </a:lnTo>
                      <a:lnTo>
                        <a:pt x="30" y="22"/>
                      </a:lnTo>
                      <a:lnTo>
                        <a:pt x="32" y="22"/>
                      </a:lnTo>
                      <a:lnTo>
                        <a:pt x="32" y="22"/>
                      </a:lnTo>
                      <a:lnTo>
                        <a:pt x="32" y="22"/>
                      </a:lnTo>
                      <a:lnTo>
                        <a:pt x="32" y="26"/>
                      </a:lnTo>
                      <a:lnTo>
                        <a:pt x="32" y="26"/>
                      </a:lnTo>
                      <a:lnTo>
                        <a:pt x="32" y="30"/>
                      </a:lnTo>
                      <a:lnTo>
                        <a:pt x="36" y="30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4" y="30"/>
                      </a:lnTo>
                      <a:lnTo>
                        <a:pt x="44" y="30"/>
                      </a:lnTo>
                      <a:lnTo>
                        <a:pt x="44" y="30"/>
                      </a:lnTo>
                      <a:lnTo>
                        <a:pt x="44" y="30"/>
                      </a:lnTo>
                      <a:lnTo>
                        <a:pt x="44" y="26"/>
                      </a:lnTo>
                      <a:lnTo>
                        <a:pt x="44" y="26"/>
                      </a:lnTo>
                      <a:lnTo>
                        <a:pt x="48" y="26"/>
                      </a:lnTo>
                      <a:lnTo>
                        <a:pt x="48" y="26"/>
                      </a:lnTo>
                      <a:lnTo>
                        <a:pt x="48" y="26"/>
                      </a:lnTo>
                      <a:lnTo>
                        <a:pt x="48" y="26"/>
                      </a:lnTo>
                      <a:lnTo>
                        <a:pt x="48" y="26"/>
                      </a:lnTo>
                      <a:lnTo>
                        <a:pt x="52" y="22"/>
                      </a:lnTo>
                      <a:lnTo>
                        <a:pt x="52" y="22"/>
                      </a:lnTo>
                      <a:lnTo>
                        <a:pt x="52" y="22"/>
                      </a:lnTo>
                      <a:lnTo>
                        <a:pt x="52" y="22"/>
                      </a:lnTo>
                      <a:lnTo>
                        <a:pt x="52" y="18"/>
                      </a:lnTo>
                      <a:lnTo>
                        <a:pt x="52" y="18"/>
                      </a:lnTo>
                      <a:lnTo>
                        <a:pt x="56" y="14"/>
                      </a:lnTo>
                      <a:lnTo>
                        <a:pt x="58" y="10"/>
                      </a:lnTo>
                      <a:lnTo>
                        <a:pt x="62" y="6"/>
                      </a:lnTo>
                      <a:lnTo>
                        <a:pt x="70" y="0"/>
                      </a:lnTo>
                      <a:lnTo>
                        <a:pt x="74" y="6"/>
                      </a:lnTo>
                      <a:lnTo>
                        <a:pt x="78" y="10"/>
                      </a:lnTo>
                      <a:lnTo>
                        <a:pt x="82" y="14"/>
                      </a:lnTo>
                      <a:lnTo>
                        <a:pt x="82" y="18"/>
                      </a:lnTo>
                      <a:lnTo>
                        <a:pt x="86" y="22"/>
                      </a:lnTo>
                      <a:lnTo>
                        <a:pt x="88" y="26"/>
                      </a:lnTo>
                      <a:lnTo>
                        <a:pt x="88" y="30"/>
                      </a:lnTo>
                      <a:lnTo>
                        <a:pt x="92" y="32"/>
                      </a:lnTo>
                      <a:lnTo>
                        <a:pt x="96" y="36"/>
                      </a:lnTo>
                      <a:lnTo>
                        <a:pt x="96" y="36"/>
                      </a:lnTo>
                      <a:lnTo>
                        <a:pt x="96" y="40"/>
                      </a:lnTo>
                      <a:lnTo>
                        <a:pt x="96" y="44"/>
                      </a:lnTo>
                      <a:lnTo>
                        <a:pt x="96" y="48"/>
                      </a:lnTo>
                      <a:lnTo>
                        <a:pt x="96" y="56"/>
                      </a:lnTo>
                      <a:lnTo>
                        <a:pt x="96" y="60"/>
                      </a:lnTo>
                      <a:lnTo>
                        <a:pt x="96" y="62"/>
                      </a:lnTo>
                      <a:lnTo>
                        <a:pt x="96" y="62"/>
                      </a:lnTo>
                      <a:lnTo>
                        <a:pt x="96" y="62"/>
                      </a:lnTo>
                      <a:lnTo>
                        <a:pt x="96" y="66"/>
                      </a:lnTo>
                      <a:lnTo>
                        <a:pt x="92" y="70"/>
                      </a:lnTo>
                      <a:lnTo>
                        <a:pt x="92" y="74"/>
                      </a:lnTo>
                      <a:lnTo>
                        <a:pt x="92" y="78"/>
                      </a:lnTo>
                      <a:lnTo>
                        <a:pt x="92" y="78"/>
                      </a:lnTo>
                      <a:lnTo>
                        <a:pt x="92" y="78"/>
                      </a:lnTo>
                      <a:close/>
                      <a:moveTo>
                        <a:pt x="10" y="40"/>
                      </a:moveTo>
                      <a:lnTo>
                        <a:pt x="10" y="40"/>
                      </a:lnTo>
                      <a:lnTo>
                        <a:pt x="10" y="40"/>
                      </a:lnTo>
                      <a:lnTo>
                        <a:pt x="10" y="40"/>
                      </a:lnTo>
                      <a:lnTo>
                        <a:pt x="10" y="40"/>
                      </a:lnTo>
                      <a:lnTo>
                        <a:pt x="10" y="40"/>
                      </a:lnTo>
                      <a:lnTo>
                        <a:pt x="10" y="40"/>
                      </a:lnTo>
                      <a:lnTo>
                        <a:pt x="10" y="40"/>
                      </a:lnTo>
                      <a:lnTo>
                        <a:pt x="10" y="40"/>
                      </a:lnTo>
                      <a:lnTo>
                        <a:pt x="10" y="40"/>
                      </a:lnTo>
                      <a:close/>
                      <a:moveTo>
                        <a:pt x="4" y="32"/>
                      </a:moveTo>
                      <a:lnTo>
                        <a:pt x="4" y="32"/>
                      </a:lnTo>
                      <a:lnTo>
                        <a:pt x="4" y="32"/>
                      </a:lnTo>
                      <a:lnTo>
                        <a:pt x="4" y="32"/>
                      </a:lnTo>
                      <a:lnTo>
                        <a:pt x="4" y="32"/>
                      </a:lnTo>
                      <a:lnTo>
                        <a:pt x="4" y="32"/>
                      </a:lnTo>
                      <a:lnTo>
                        <a:pt x="4" y="32"/>
                      </a:lnTo>
                      <a:lnTo>
                        <a:pt x="4" y="32"/>
                      </a:lnTo>
                      <a:lnTo>
                        <a:pt x="4" y="32"/>
                      </a:lnTo>
                      <a:lnTo>
                        <a:pt x="4" y="32"/>
                      </a:lnTo>
                      <a:close/>
                      <a:moveTo>
                        <a:pt x="6" y="32"/>
                      </a:moveTo>
                      <a:lnTo>
                        <a:pt x="6" y="32"/>
                      </a:lnTo>
                      <a:lnTo>
                        <a:pt x="6" y="32"/>
                      </a:lnTo>
                      <a:lnTo>
                        <a:pt x="6" y="32"/>
                      </a:lnTo>
                      <a:lnTo>
                        <a:pt x="6" y="32"/>
                      </a:lnTo>
                      <a:lnTo>
                        <a:pt x="6" y="32"/>
                      </a:lnTo>
                      <a:lnTo>
                        <a:pt x="6" y="32"/>
                      </a:lnTo>
                      <a:close/>
                      <a:moveTo>
                        <a:pt x="0" y="60"/>
                      </a:moveTo>
                      <a:lnTo>
                        <a:pt x="0" y="60"/>
                      </a:lnTo>
                      <a:lnTo>
                        <a:pt x="0" y="60"/>
                      </a:lnTo>
                      <a:lnTo>
                        <a:pt x="0" y="60"/>
                      </a:lnTo>
                      <a:lnTo>
                        <a:pt x="0" y="60"/>
                      </a:lnTo>
                      <a:lnTo>
                        <a:pt x="0" y="60"/>
                      </a:lnTo>
                      <a:lnTo>
                        <a:pt x="0" y="60"/>
                      </a:lnTo>
                      <a:lnTo>
                        <a:pt x="0" y="60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6" y="60"/>
                      </a:lnTo>
                      <a:lnTo>
                        <a:pt x="6" y="62"/>
                      </a:lnTo>
                      <a:lnTo>
                        <a:pt x="10" y="62"/>
                      </a:lnTo>
                      <a:lnTo>
                        <a:pt x="10" y="62"/>
                      </a:lnTo>
                      <a:lnTo>
                        <a:pt x="10" y="62"/>
                      </a:lnTo>
                      <a:lnTo>
                        <a:pt x="10" y="62"/>
                      </a:lnTo>
                      <a:lnTo>
                        <a:pt x="10" y="62"/>
                      </a:lnTo>
                      <a:lnTo>
                        <a:pt x="10" y="62"/>
                      </a:lnTo>
                      <a:lnTo>
                        <a:pt x="14" y="62"/>
                      </a:lnTo>
                      <a:lnTo>
                        <a:pt x="14" y="62"/>
                      </a:lnTo>
                      <a:lnTo>
                        <a:pt x="14" y="62"/>
                      </a:lnTo>
                      <a:lnTo>
                        <a:pt x="14" y="62"/>
                      </a:lnTo>
                      <a:lnTo>
                        <a:pt x="14" y="66"/>
                      </a:lnTo>
                      <a:lnTo>
                        <a:pt x="18" y="66"/>
                      </a:lnTo>
                      <a:lnTo>
                        <a:pt x="18" y="66"/>
                      </a:lnTo>
                      <a:lnTo>
                        <a:pt x="18" y="66"/>
                      </a:lnTo>
                      <a:lnTo>
                        <a:pt x="14" y="70"/>
                      </a:lnTo>
                      <a:lnTo>
                        <a:pt x="14" y="70"/>
                      </a:lnTo>
                      <a:lnTo>
                        <a:pt x="18" y="74"/>
                      </a:lnTo>
                      <a:lnTo>
                        <a:pt x="18" y="74"/>
                      </a:lnTo>
                      <a:lnTo>
                        <a:pt x="18" y="74"/>
                      </a:lnTo>
                      <a:lnTo>
                        <a:pt x="18" y="74"/>
                      </a:lnTo>
                      <a:lnTo>
                        <a:pt x="14" y="74"/>
                      </a:lnTo>
                      <a:lnTo>
                        <a:pt x="14" y="74"/>
                      </a:lnTo>
                      <a:lnTo>
                        <a:pt x="10" y="74"/>
                      </a:lnTo>
                      <a:lnTo>
                        <a:pt x="10" y="74"/>
                      </a:lnTo>
                      <a:lnTo>
                        <a:pt x="10" y="74"/>
                      </a:lnTo>
                      <a:lnTo>
                        <a:pt x="10" y="74"/>
                      </a:lnTo>
                      <a:lnTo>
                        <a:pt x="6" y="74"/>
                      </a:lnTo>
                      <a:lnTo>
                        <a:pt x="6" y="70"/>
                      </a:lnTo>
                      <a:lnTo>
                        <a:pt x="6" y="70"/>
                      </a:lnTo>
                      <a:lnTo>
                        <a:pt x="6" y="70"/>
                      </a:lnTo>
                      <a:lnTo>
                        <a:pt x="6" y="70"/>
                      </a:lnTo>
                      <a:lnTo>
                        <a:pt x="6" y="70"/>
                      </a:lnTo>
                      <a:lnTo>
                        <a:pt x="6" y="70"/>
                      </a:lnTo>
                      <a:lnTo>
                        <a:pt x="4" y="66"/>
                      </a:lnTo>
                      <a:lnTo>
                        <a:pt x="4" y="66"/>
                      </a:lnTo>
                      <a:lnTo>
                        <a:pt x="4" y="66"/>
                      </a:lnTo>
                      <a:lnTo>
                        <a:pt x="4" y="66"/>
                      </a:lnTo>
                      <a:lnTo>
                        <a:pt x="4" y="66"/>
                      </a:lnTo>
                      <a:lnTo>
                        <a:pt x="4" y="62"/>
                      </a:lnTo>
                      <a:lnTo>
                        <a:pt x="4" y="62"/>
                      </a:lnTo>
                      <a:lnTo>
                        <a:pt x="4" y="62"/>
                      </a:lnTo>
                      <a:lnTo>
                        <a:pt x="0" y="62"/>
                      </a:lnTo>
                      <a:lnTo>
                        <a:pt x="0" y="62"/>
                      </a:lnTo>
                      <a:lnTo>
                        <a:pt x="0" y="62"/>
                      </a:lnTo>
                      <a:lnTo>
                        <a:pt x="0" y="60"/>
                      </a:lnTo>
                      <a:lnTo>
                        <a:pt x="0" y="60"/>
                      </a:lnTo>
                      <a:lnTo>
                        <a:pt x="0" y="60"/>
                      </a:lnTo>
                      <a:lnTo>
                        <a:pt x="0" y="60"/>
                      </a:lnTo>
                      <a:lnTo>
                        <a:pt x="0" y="6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0" name="Freeform 19"/>
                <p:cNvSpPr>
                  <a:spLocks noEditPoints="1"/>
                </p:cNvSpPr>
                <p:nvPr/>
              </p:nvSpPr>
              <p:spPr bwMode="auto">
                <a:xfrm>
                  <a:off x="5524500" y="3835468"/>
                  <a:ext cx="12700" cy="15875"/>
                </a:xfrm>
                <a:custGeom>
                  <a:avLst/>
                  <a:gdLst>
                    <a:gd name="T0" fmla="*/ 4 w 8"/>
                    <a:gd name="T1" fmla="*/ 0 h 10"/>
                    <a:gd name="T2" fmla="*/ 4 w 8"/>
                    <a:gd name="T3" fmla="*/ 0 h 10"/>
                    <a:gd name="T4" fmla="*/ 4 w 8"/>
                    <a:gd name="T5" fmla="*/ 0 h 10"/>
                    <a:gd name="T6" fmla="*/ 4 w 8"/>
                    <a:gd name="T7" fmla="*/ 0 h 10"/>
                    <a:gd name="T8" fmla="*/ 4 w 8"/>
                    <a:gd name="T9" fmla="*/ 0 h 10"/>
                    <a:gd name="T10" fmla="*/ 4 w 8"/>
                    <a:gd name="T11" fmla="*/ 4 h 10"/>
                    <a:gd name="T12" fmla="*/ 4 w 8"/>
                    <a:gd name="T13" fmla="*/ 4 h 10"/>
                    <a:gd name="T14" fmla="*/ 4 w 8"/>
                    <a:gd name="T15" fmla="*/ 4 h 10"/>
                    <a:gd name="T16" fmla="*/ 4 w 8"/>
                    <a:gd name="T17" fmla="*/ 4 h 10"/>
                    <a:gd name="T18" fmla="*/ 4 w 8"/>
                    <a:gd name="T19" fmla="*/ 4 h 10"/>
                    <a:gd name="T20" fmla="*/ 4 w 8"/>
                    <a:gd name="T21" fmla="*/ 8 h 10"/>
                    <a:gd name="T22" fmla="*/ 4 w 8"/>
                    <a:gd name="T23" fmla="*/ 8 h 10"/>
                    <a:gd name="T24" fmla="*/ 4 w 8"/>
                    <a:gd name="T25" fmla="*/ 8 h 10"/>
                    <a:gd name="T26" fmla="*/ 4 w 8"/>
                    <a:gd name="T27" fmla="*/ 8 h 10"/>
                    <a:gd name="T28" fmla="*/ 4 w 8"/>
                    <a:gd name="T29" fmla="*/ 4 h 10"/>
                    <a:gd name="T30" fmla="*/ 4 w 8"/>
                    <a:gd name="T31" fmla="*/ 4 h 10"/>
                    <a:gd name="T32" fmla="*/ 4 w 8"/>
                    <a:gd name="T33" fmla="*/ 4 h 10"/>
                    <a:gd name="T34" fmla="*/ 4 w 8"/>
                    <a:gd name="T35" fmla="*/ 4 h 10"/>
                    <a:gd name="T36" fmla="*/ 4 w 8"/>
                    <a:gd name="T37" fmla="*/ 4 h 10"/>
                    <a:gd name="T38" fmla="*/ 0 w 8"/>
                    <a:gd name="T39" fmla="*/ 0 h 10"/>
                    <a:gd name="T40" fmla="*/ 4 w 8"/>
                    <a:gd name="T41" fmla="*/ 0 h 10"/>
                    <a:gd name="T42" fmla="*/ 4 w 8"/>
                    <a:gd name="T43" fmla="*/ 0 h 10"/>
                    <a:gd name="T44" fmla="*/ 4 w 8"/>
                    <a:gd name="T45" fmla="*/ 0 h 10"/>
                    <a:gd name="T46" fmla="*/ 4 w 8"/>
                    <a:gd name="T47" fmla="*/ 0 h 10"/>
                    <a:gd name="T48" fmla="*/ 4 w 8"/>
                    <a:gd name="T49" fmla="*/ 0 h 10"/>
                    <a:gd name="T50" fmla="*/ 4 w 8"/>
                    <a:gd name="T51" fmla="*/ 0 h 10"/>
                    <a:gd name="T52" fmla="*/ 4 w 8"/>
                    <a:gd name="T53" fmla="*/ 4 h 10"/>
                    <a:gd name="T54" fmla="*/ 4 w 8"/>
                    <a:gd name="T55" fmla="*/ 4 h 10"/>
                    <a:gd name="T56" fmla="*/ 8 w 8"/>
                    <a:gd name="T57" fmla="*/ 10 h 10"/>
                    <a:gd name="T58" fmla="*/ 8 w 8"/>
                    <a:gd name="T59" fmla="*/ 10 h 10"/>
                    <a:gd name="T60" fmla="*/ 8 w 8"/>
                    <a:gd name="T61" fmla="*/ 10 h 10"/>
                    <a:gd name="T62" fmla="*/ 8 w 8"/>
                    <a:gd name="T63" fmla="*/ 10 h 10"/>
                    <a:gd name="T64" fmla="*/ 8 w 8"/>
                    <a:gd name="T65" fmla="*/ 10 h 10"/>
                    <a:gd name="T66" fmla="*/ 8 w 8"/>
                    <a:gd name="T67" fmla="*/ 10 h 10"/>
                    <a:gd name="T68" fmla="*/ 8 w 8"/>
                    <a:gd name="T69" fmla="*/ 10 h 10"/>
                    <a:gd name="T70" fmla="*/ 8 w 8"/>
                    <a:gd name="T71" fmla="*/ 10 h 10"/>
                    <a:gd name="T72" fmla="*/ 8 w 8"/>
                    <a:gd name="T73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8" h="10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  <a:moveTo>
                        <a:pt x="4" y="4"/>
                      </a:move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0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8" y="10"/>
                      </a:move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1" name="Freeform 20"/>
                <p:cNvSpPr>
                  <a:spLocks noEditPoints="1"/>
                </p:cNvSpPr>
                <p:nvPr/>
              </p:nvSpPr>
              <p:spPr bwMode="auto">
                <a:xfrm>
                  <a:off x="6369050" y="3822768"/>
                  <a:ext cx="107950" cy="168275"/>
                </a:xfrm>
                <a:custGeom>
                  <a:avLst/>
                  <a:gdLst>
                    <a:gd name="T0" fmla="*/ 38 w 68"/>
                    <a:gd name="T1" fmla="*/ 76 h 106"/>
                    <a:gd name="T2" fmla="*/ 34 w 68"/>
                    <a:gd name="T3" fmla="*/ 78 h 106"/>
                    <a:gd name="T4" fmla="*/ 30 w 68"/>
                    <a:gd name="T5" fmla="*/ 82 h 106"/>
                    <a:gd name="T6" fmla="*/ 26 w 68"/>
                    <a:gd name="T7" fmla="*/ 86 h 106"/>
                    <a:gd name="T8" fmla="*/ 30 w 68"/>
                    <a:gd name="T9" fmla="*/ 76 h 106"/>
                    <a:gd name="T10" fmla="*/ 26 w 68"/>
                    <a:gd name="T11" fmla="*/ 86 h 106"/>
                    <a:gd name="T12" fmla="*/ 22 w 68"/>
                    <a:gd name="T13" fmla="*/ 82 h 106"/>
                    <a:gd name="T14" fmla="*/ 22 w 68"/>
                    <a:gd name="T15" fmla="*/ 82 h 106"/>
                    <a:gd name="T16" fmla="*/ 22 w 68"/>
                    <a:gd name="T17" fmla="*/ 86 h 106"/>
                    <a:gd name="T18" fmla="*/ 18 w 68"/>
                    <a:gd name="T19" fmla="*/ 90 h 106"/>
                    <a:gd name="T20" fmla="*/ 12 w 68"/>
                    <a:gd name="T21" fmla="*/ 68 h 106"/>
                    <a:gd name="T22" fmla="*/ 12 w 68"/>
                    <a:gd name="T23" fmla="*/ 60 h 106"/>
                    <a:gd name="T24" fmla="*/ 12 w 68"/>
                    <a:gd name="T25" fmla="*/ 50 h 106"/>
                    <a:gd name="T26" fmla="*/ 8 w 68"/>
                    <a:gd name="T27" fmla="*/ 46 h 106"/>
                    <a:gd name="T28" fmla="*/ 0 w 68"/>
                    <a:gd name="T29" fmla="*/ 34 h 106"/>
                    <a:gd name="T30" fmla="*/ 4 w 68"/>
                    <a:gd name="T31" fmla="*/ 34 h 106"/>
                    <a:gd name="T32" fmla="*/ 12 w 68"/>
                    <a:gd name="T33" fmla="*/ 26 h 106"/>
                    <a:gd name="T34" fmla="*/ 8 w 68"/>
                    <a:gd name="T35" fmla="*/ 22 h 106"/>
                    <a:gd name="T36" fmla="*/ 4 w 68"/>
                    <a:gd name="T37" fmla="*/ 12 h 106"/>
                    <a:gd name="T38" fmla="*/ 4 w 68"/>
                    <a:gd name="T39" fmla="*/ 4 h 106"/>
                    <a:gd name="T40" fmla="*/ 12 w 68"/>
                    <a:gd name="T41" fmla="*/ 8 h 106"/>
                    <a:gd name="T42" fmla="*/ 14 w 68"/>
                    <a:gd name="T43" fmla="*/ 4 h 106"/>
                    <a:gd name="T44" fmla="*/ 22 w 68"/>
                    <a:gd name="T45" fmla="*/ 12 h 106"/>
                    <a:gd name="T46" fmla="*/ 26 w 68"/>
                    <a:gd name="T47" fmla="*/ 16 h 106"/>
                    <a:gd name="T48" fmla="*/ 30 w 68"/>
                    <a:gd name="T49" fmla="*/ 26 h 106"/>
                    <a:gd name="T50" fmla="*/ 44 w 68"/>
                    <a:gd name="T51" fmla="*/ 26 h 106"/>
                    <a:gd name="T52" fmla="*/ 60 w 68"/>
                    <a:gd name="T53" fmla="*/ 26 h 106"/>
                    <a:gd name="T54" fmla="*/ 60 w 68"/>
                    <a:gd name="T55" fmla="*/ 34 h 106"/>
                    <a:gd name="T56" fmla="*/ 56 w 68"/>
                    <a:gd name="T57" fmla="*/ 46 h 106"/>
                    <a:gd name="T58" fmla="*/ 48 w 68"/>
                    <a:gd name="T59" fmla="*/ 46 h 106"/>
                    <a:gd name="T60" fmla="*/ 44 w 68"/>
                    <a:gd name="T61" fmla="*/ 60 h 106"/>
                    <a:gd name="T62" fmla="*/ 48 w 68"/>
                    <a:gd name="T63" fmla="*/ 68 h 106"/>
                    <a:gd name="T64" fmla="*/ 56 w 68"/>
                    <a:gd name="T65" fmla="*/ 60 h 106"/>
                    <a:gd name="T66" fmla="*/ 60 w 68"/>
                    <a:gd name="T67" fmla="*/ 52 h 106"/>
                    <a:gd name="T68" fmla="*/ 64 w 68"/>
                    <a:gd name="T69" fmla="*/ 64 h 106"/>
                    <a:gd name="T70" fmla="*/ 64 w 68"/>
                    <a:gd name="T71" fmla="*/ 76 h 106"/>
                    <a:gd name="T72" fmla="*/ 64 w 68"/>
                    <a:gd name="T73" fmla="*/ 90 h 106"/>
                    <a:gd name="T74" fmla="*/ 64 w 68"/>
                    <a:gd name="T75" fmla="*/ 98 h 106"/>
                    <a:gd name="T76" fmla="*/ 60 w 68"/>
                    <a:gd name="T77" fmla="*/ 102 h 106"/>
                    <a:gd name="T78" fmla="*/ 56 w 68"/>
                    <a:gd name="T79" fmla="*/ 98 h 106"/>
                    <a:gd name="T80" fmla="*/ 56 w 68"/>
                    <a:gd name="T81" fmla="*/ 90 h 106"/>
                    <a:gd name="T82" fmla="*/ 52 w 68"/>
                    <a:gd name="T83" fmla="*/ 78 h 106"/>
                    <a:gd name="T84" fmla="*/ 44 w 68"/>
                    <a:gd name="T85" fmla="*/ 76 h 106"/>
                    <a:gd name="T86" fmla="*/ 38 w 68"/>
                    <a:gd name="T87" fmla="*/ 68 h 106"/>
                    <a:gd name="T88" fmla="*/ 34 w 68"/>
                    <a:gd name="T89" fmla="*/ 56 h 106"/>
                    <a:gd name="T90" fmla="*/ 38 w 68"/>
                    <a:gd name="T91" fmla="*/ 60 h 106"/>
                    <a:gd name="T92" fmla="*/ 34 w 68"/>
                    <a:gd name="T93" fmla="*/ 64 h 106"/>
                    <a:gd name="T94" fmla="*/ 38 w 68"/>
                    <a:gd name="T95" fmla="*/ 68 h 106"/>
                    <a:gd name="T96" fmla="*/ 38 w 68"/>
                    <a:gd name="T97" fmla="*/ 86 h 106"/>
                    <a:gd name="T98" fmla="*/ 38 w 68"/>
                    <a:gd name="T99" fmla="*/ 86 h 106"/>
                    <a:gd name="T100" fmla="*/ 38 w 68"/>
                    <a:gd name="T101" fmla="*/ 82 h 106"/>
                    <a:gd name="T102" fmla="*/ 40 w 68"/>
                    <a:gd name="T103" fmla="*/ 76 h 106"/>
                    <a:gd name="T104" fmla="*/ 38 w 68"/>
                    <a:gd name="T105" fmla="*/ 86 h 106"/>
                    <a:gd name="T106" fmla="*/ 48 w 68"/>
                    <a:gd name="T107" fmla="*/ 76 h 106"/>
                    <a:gd name="T108" fmla="*/ 40 w 68"/>
                    <a:gd name="T109" fmla="*/ 82 h 106"/>
                    <a:gd name="T110" fmla="*/ 44 w 68"/>
                    <a:gd name="T111" fmla="*/ 78 h 106"/>
                    <a:gd name="T112" fmla="*/ 40 w 68"/>
                    <a:gd name="T113" fmla="*/ 82 h 106"/>
                    <a:gd name="T114" fmla="*/ 56 w 68"/>
                    <a:gd name="T115" fmla="*/ 94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68" h="106">
                      <a:moveTo>
                        <a:pt x="34" y="64"/>
                      </a:moveTo>
                      <a:lnTo>
                        <a:pt x="34" y="68"/>
                      </a:lnTo>
                      <a:lnTo>
                        <a:pt x="34" y="72"/>
                      </a:lnTo>
                      <a:lnTo>
                        <a:pt x="38" y="76"/>
                      </a:lnTo>
                      <a:lnTo>
                        <a:pt x="38" y="78"/>
                      </a:lnTo>
                      <a:lnTo>
                        <a:pt x="38" y="82"/>
                      </a:lnTo>
                      <a:lnTo>
                        <a:pt x="34" y="82"/>
                      </a:lnTo>
                      <a:lnTo>
                        <a:pt x="34" y="78"/>
                      </a:lnTo>
                      <a:lnTo>
                        <a:pt x="34" y="82"/>
                      </a:lnTo>
                      <a:lnTo>
                        <a:pt x="34" y="86"/>
                      </a:lnTo>
                      <a:lnTo>
                        <a:pt x="30" y="86"/>
                      </a:lnTo>
                      <a:lnTo>
                        <a:pt x="30" y="82"/>
                      </a:lnTo>
                      <a:lnTo>
                        <a:pt x="30" y="86"/>
                      </a:lnTo>
                      <a:lnTo>
                        <a:pt x="30" y="82"/>
                      </a:lnTo>
                      <a:lnTo>
                        <a:pt x="26" y="82"/>
                      </a:lnTo>
                      <a:lnTo>
                        <a:pt x="26" y="86"/>
                      </a:lnTo>
                      <a:lnTo>
                        <a:pt x="26" y="82"/>
                      </a:lnTo>
                      <a:lnTo>
                        <a:pt x="26" y="78"/>
                      </a:lnTo>
                      <a:lnTo>
                        <a:pt x="26" y="76"/>
                      </a:lnTo>
                      <a:lnTo>
                        <a:pt x="30" y="76"/>
                      </a:lnTo>
                      <a:lnTo>
                        <a:pt x="26" y="76"/>
                      </a:lnTo>
                      <a:lnTo>
                        <a:pt x="26" y="78"/>
                      </a:lnTo>
                      <a:lnTo>
                        <a:pt x="26" y="82"/>
                      </a:lnTo>
                      <a:lnTo>
                        <a:pt x="26" y="86"/>
                      </a:lnTo>
                      <a:lnTo>
                        <a:pt x="22" y="86"/>
                      </a:lnTo>
                      <a:lnTo>
                        <a:pt x="22" y="90"/>
                      </a:lnTo>
                      <a:lnTo>
                        <a:pt x="22" y="86"/>
                      </a:lnTo>
                      <a:lnTo>
                        <a:pt x="22" y="82"/>
                      </a:lnTo>
                      <a:lnTo>
                        <a:pt x="22" y="78"/>
                      </a:lnTo>
                      <a:lnTo>
                        <a:pt x="22" y="82"/>
                      </a:lnTo>
                      <a:lnTo>
                        <a:pt x="22" y="86"/>
                      </a:lnTo>
                      <a:lnTo>
                        <a:pt x="22" y="82"/>
                      </a:lnTo>
                      <a:lnTo>
                        <a:pt x="22" y="78"/>
                      </a:lnTo>
                      <a:lnTo>
                        <a:pt x="18" y="78"/>
                      </a:lnTo>
                      <a:lnTo>
                        <a:pt x="22" y="82"/>
                      </a:lnTo>
                      <a:lnTo>
                        <a:pt x="22" y="86"/>
                      </a:lnTo>
                      <a:lnTo>
                        <a:pt x="22" y="90"/>
                      </a:lnTo>
                      <a:lnTo>
                        <a:pt x="18" y="90"/>
                      </a:lnTo>
                      <a:lnTo>
                        <a:pt x="18" y="86"/>
                      </a:lnTo>
                      <a:lnTo>
                        <a:pt x="18" y="90"/>
                      </a:lnTo>
                      <a:lnTo>
                        <a:pt x="14" y="86"/>
                      </a:lnTo>
                      <a:lnTo>
                        <a:pt x="14" y="82"/>
                      </a:lnTo>
                      <a:lnTo>
                        <a:pt x="14" y="78"/>
                      </a:lnTo>
                      <a:lnTo>
                        <a:pt x="12" y="68"/>
                      </a:lnTo>
                      <a:lnTo>
                        <a:pt x="12" y="64"/>
                      </a:lnTo>
                      <a:lnTo>
                        <a:pt x="14" y="64"/>
                      </a:lnTo>
                      <a:lnTo>
                        <a:pt x="12" y="64"/>
                      </a:lnTo>
                      <a:lnTo>
                        <a:pt x="12" y="60"/>
                      </a:lnTo>
                      <a:lnTo>
                        <a:pt x="12" y="56"/>
                      </a:lnTo>
                      <a:lnTo>
                        <a:pt x="8" y="56"/>
                      </a:lnTo>
                      <a:lnTo>
                        <a:pt x="8" y="52"/>
                      </a:lnTo>
                      <a:lnTo>
                        <a:pt x="12" y="50"/>
                      </a:lnTo>
                      <a:lnTo>
                        <a:pt x="12" y="46"/>
                      </a:lnTo>
                      <a:lnTo>
                        <a:pt x="12" y="42"/>
                      </a:lnTo>
                      <a:lnTo>
                        <a:pt x="8" y="42"/>
                      </a:lnTo>
                      <a:lnTo>
                        <a:pt x="8" y="46"/>
                      </a:lnTo>
                      <a:lnTo>
                        <a:pt x="8" y="42"/>
                      </a:lnTo>
                      <a:lnTo>
                        <a:pt x="4" y="42"/>
                      </a:lnTo>
                      <a:lnTo>
                        <a:pt x="0" y="38"/>
                      </a:lnTo>
                      <a:lnTo>
                        <a:pt x="0" y="34"/>
                      </a:lnTo>
                      <a:lnTo>
                        <a:pt x="4" y="34"/>
                      </a:lnTo>
                      <a:lnTo>
                        <a:pt x="0" y="34"/>
                      </a:lnTo>
                      <a:lnTo>
                        <a:pt x="4" y="30"/>
                      </a:lnTo>
                      <a:lnTo>
                        <a:pt x="4" y="34"/>
                      </a:lnTo>
                      <a:lnTo>
                        <a:pt x="4" y="30"/>
                      </a:lnTo>
                      <a:lnTo>
                        <a:pt x="8" y="30"/>
                      </a:lnTo>
                      <a:lnTo>
                        <a:pt x="8" y="26"/>
                      </a:lnTo>
                      <a:lnTo>
                        <a:pt x="12" y="26"/>
                      </a:lnTo>
                      <a:lnTo>
                        <a:pt x="14" y="26"/>
                      </a:lnTo>
                      <a:lnTo>
                        <a:pt x="12" y="26"/>
                      </a:lnTo>
                      <a:lnTo>
                        <a:pt x="12" y="22"/>
                      </a:lnTo>
                      <a:lnTo>
                        <a:pt x="8" y="22"/>
                      </a:lnTo>
                      <a:lnTo>
                        <a:pt x="8" y="20"/>
                      </a:lnTo>
                      <a:lnTo>
                        <a:pt x="4" y="16"/>
                      </a:lnTo>
                      <a:lnTo>
                        <a:pt x="0" y="16"/>
                      </a:lnTo>
                      <a:lnTo>
                        <a:pt x="4" y="12"/>
                      </a:lnTo>
                      <a:lnTo>
                        <a:pt x="4" y="8"/>
                      </a:lnTo>
                      <a:lnTo>
                        <a:pt x="8" y="8"/>
                      </a:lnTo>
                      <a:lnTo>
                        <a:pt x="8" y="4"/>
                      </a:lnTo>
                      <a:lnTo>
                        <a:pt x="4" y="4"/>
                      </a:lnTo>
                      <a:lnTo>
                        <a:pt x="8" y="0"/>
                      </a:lnTo>
                      <a:lnTo>
                        <a:pt x="8" y="4"/>
                      </a:lnTo>
                      <a:lnTo>
                        <a:pt x="12" y="4"/>
                      </a:lnTo>
                      <a:lnTo>
                        <a:pt x="12" y="8"/>
                      </a:lnTo>
                      <a:lnTo>
                        <a:pt x="14" y="8"/>
                      </a:lnTo>
                      <a:lnTo>
                        <a:pt x="12" y="8"/>
                      </a:lnTo>
                      <a:lnTo>
                        <a:pt x="12" y="4"/>
                      </a:lnTo>
                      <a:lnTo>
                        <a:pt x="14" y="4"/>
                      </a:lnTo>
                      <a:lnTo>
                        <a:pt x="14" y="8"/>
                      </a:lnTo>
                      <a:lnTo>
                        <a:pt x="14" y="12"/>
                      </a:lnTo>
                      <a:lnTo>
                        <a:pt x="18" y="12"/>
                      </a:lnTo>
                      <a:lnTo>
                        <a:pt x="22" y="12"/>
                      </a:lnTo>
                      <a:lnTo>
                        <a:pt x="22" y="8"/>
                      </a:lnTo>
                      <a:lnTo>
                        <a:pt x="22" y="12"/>
                      </a:lnTo>
                      <a:lnTo>
                        <a:pt x="26" y="12"/>
                      </a:lnTo>
                      <a:lnTo>
                        <a:pt x="26" y="16"/>
                      </a:lnTo>
                      <a:lnTo>
                        <a:pt x="26" y="20"/>
                      </a:lnTo>
                      <a:lnTo>
                        <a:pt x="26" y="22"/>
                      </a:lnTo>
                      <a:lnTo>
                        <a:pt x="26" y="26"/>
                      </a:lnTo>
                      <a:lnTo>
                        <a:pt x="30" y="26"/>
                      </a:lnTo>
                      <a:lnTo>
                        <a:pt x="34" y="26"/>
                      </a:lnTo>
                      <a:lnTo>
                        <a:pt x="38" y="26"/>
                      </a:lnTo>
                      <a:lnTo>
                        <a:pt x="40" y="26"/>
                      </a:lnTo>
                      <a:lnTo>
                        <a:pt x="44" y="26"/>
                      </a:lnTo>
                      <a:lnTo>
                        <a:pt x="48" y="26"/>
                      </a:lnTo>
                      <a:lnTo>
                        <a:pt x="52" y="26"/>
                      </a:lnTo>
                      <a:lnTo>
                        <a:pt x="56" y="26"/>
                      </a:lnTo>
                      <a:lnTo>
                        <a:pt x="60" y="26"/>
                      </a:lnTo>
                      <a:lnTo>
                        <a:pt x="60" y="30"/>
                      </a:lnTo>
                      <a:lnTo>
                        <a:pt x="64" y="30"/>
                      </a:lnTo>
                      <a:lnTo>
                        <a:pt x="64" y="34"/>
                      </a:lnTo>
                      <a:lnTo>
                        <a:pt x="60" y="34"/>
                      </a:lnTo>
                      <a:lnTo>
                        <a:pt x="60" y="38"/>
                      </a:lnTo>
                      <a:lnTo>
                        <a:pt x="60" y="42"/>
                      </a:lnTo>
                      <a:lnTo>
                        <a:pt x="56" y="42"/>
                      </a:lnTo>
                      <a:lnTo>
                        <a:pt x="56" y="46"/>
                      </a:lnTo>
                      <a:lnTo>
                        <a:pt x="52" y="46"/>
                      </a:lnTo>
                      <a:lnTo>
                        <a:pt x="48" y="46"/>
                      </a:lnTo>
                      <a:lnTo>
                        <a:pt x="48" y="50"/>
                      </a:lnTo>
                      <a:lnTo>
                        <a:pt x="48" y="46"/>
                      </a:lnTo>
                      <a:lnTo>
                        <a:pt x="44" y="50"/>
                      </a:lnTo>
                      <a:lnTo>
                        <a:pt x="44" y="52"/>
                      </a:lnTo>
                      <a:lnTo>
                        <a:pt x="44" y="56"/>
                      </a:lnTo>
                      <a:lnTo>
                        <a:pt x="44" y="60"/>
                      </a:lnTo>
                      <a:lnTo>
                        <a:pt x="48" y="64"/>
                      </a:lnTo>
                      <a:lnTo>
                        <a:pt x="48" y="60"/>
                      </a:lnTo>
                      <a:lnTo>
                        <a:pt x="48" y="64"/>
                      </a:lnTo>
                      <a:lnTo>
                        <a:pt x="48" y="68"/>
                      </a:lnTo>
                      <a:lnTo>
                        <a:pt x="52" y="68"/>
                      </a:lnTo>
                      <a:lnTo>
                        <a:pt x="52" y="64"/>
                      </a:lnTo>
                      <a:lnTo>
                        <a:pt x="52" y="60"/>
                      </a:lnTo>
                      <a:lnTo>
                        <a:pt x="56" y="60"/>
                      </a:lnTo>
                      <a:lnTo>
                        <a:pt x="56" y="56"/>
                      </a:lnTo>
                      <a:lnTo>
                        <a:pt x="56" y="52"/>
                      </a:lnTo>
                      <a:lnTo>
                        <a:pt x="56" y="56"/>
                      </a:lnTo>
                      <a:lnTo>
                        <a:pt x="60" y="52"/>
                      </a:lnTo>
                      <a:lnTo>
                        <a:pt x="60" y="56"/>
                      </a:lnTo>
                      <a:lnTo>
                        <a:pt x="60" y="60"/>
                      </a:lnTo>
                      <a:lnTo>
                        <a:pt x="64" y="60"/>
                      </a:lnTo>
                      <a:lnTo>
                        <a:pt x="64" y="64"/>
                      </a:lnTo>
                      <a:lnTo>
                        <a:pt x="60" y="64"/>
                      </a:lnTo>
                      <a:lnTo>
                        <a:pt x="64" y="68"/>
                      </a:lnTo>
                      <a:lnTo>
                        <a:pt x="64" y="72"/>
                      </a:lnTo>
                      <a:lnTo>
                        <a:pt x="64" y="76"/>
                      </a:lnTo>
                      <a:lnTo>
                        <a:pt x="64" y="78"/>
                      </a:lnTo>
                      <a:lnTo>
                        <a:pt x="64" y="82"/>
                      </a:lnTo>
                      <a:lnTo>
                        <a:pt x="64" y="86"/>
                      </a:lnTo>
                      <a:lnTo>
                        <a:pt x="64" y="90"/>
                      </a:lnTo>
                      <a:lnTo>
                        <a:pt x="64" y="94"/>
                      </a:lnTo>
                      <a:lnTo>
                        <a:pt x="68" y="94"/>
                      </a:lnTo>
                      <a:lnTo>
                        <a:pt x="68" y="98"/>
                      </a:lnTo>
                      <a:lnTo>
                        <a:pt x="64" y="98"/>
                      </a:lnTo>
                      <a:lnTo>
                        <a:pt x="64" y="94"/>
                      </a:lnTo>
                      <a:lnTo>
                        <a:pt x="60" y="94"/>
                      </a:lnTo>
                      <a:lnTo>
                        <a:pt x="60" y="98"/>
                      </a:lnTo>
                      <a:lnTo>
                        <a:pt x="60" y="102"/>
                      </a:lnTo>
                      <a:lnTo>
                        <a:pt x="60" y="106"/>
                      </a:lnTo>
                      <a:lnTo>
                        <a:pt x="60" y="102"/>
                      </a:lnTo>
                      <a:lnTo>
                        <a:pt x="56" y="102"/>
                      </a:lnTo>
                      <a:lnTo>
                        <a:pt x="56" y="98"/>
                      </a:lnTo>
                      <a:lnTo>
                        <a:pt x="56" y="94"/>
                      </a:lnTo>
                      <a:lnTo>
                        <a:pt x="56" y="90"/>
                      </a:lnTo>
                      <a:lnTo>
                        <a:pt x="56" y="86"/>
                      </a:lnTo>
                      <a:lnTo>
                        <a:pt x="56" y="90"/>
                      </a:lnTo>
                      <a:lnTo>
                        <a:pt x="56" y="86"/>
                      </a:lnTo>
                      <a:lnTo>
                        <a:pt x="56" y="82"/>
                      </a:lnTo>
                      <a:lnTo>
                        <a:pt x="52" y="82"/>
                      </a:lnTo>
                      <a:lnTo>
                        <a:pt x="52" y="78"/>
                      </a:lnTo>
                      <a:lnTo>
                        <a:pt x="52" y="76"/>
                      </a:lnTo>
                      <a:lnTo>
                        <a:pt x="48" y="72"/>
                      </a:lnTo>
                      <a:lnTo>
                        <a:pt x="44" y="72"/>
                      </a:lnTo>
                      <a:lnTo>
                        <a:pt x="44" y="76"/>
                      </a:lnTo>
                      <a:lnTo>
                        <a:pt x="40" y="76"/>
                      </a:lnTo>
                      <a:lnTo>
                        <a:pt x="40" y="72"/>
                      </a:lnTo>
                      <a:lnTo>
                        <a:pt x="38" y="72"/>
                      </a:lnTo>
                      <a:lnTo>
                        <a:pt x="38" y="68"/>
                      </a:lnTo>
                      <a:lnTo>
                        <a:pt x="38" y="64"/>
                      </a:lnTo>
                      <a:lnTo>
                        <a:pt x="38" y="60"/>
                      </a:lnTo>
                      <a:lnTo>
                        <a:pt x="38" y="56"/>
                      </a:lnTo>
                      <a:lnTo>
                        <a:pt x="34" y="56"/>
                      </a:lnTo>
                      <a:lnTo>
                        <a:pt x="38" y="56"/>
                      </a:lnTo>
                      <a:lnTo>
                        <a:pt x="38" y="60"/>
                      </a:lnTo>
                      <a:lnTo>
                        <a:pt x="34" y="60"/>
                      </a:lnTo>
                      <a:lnTo>
                        <a:pt x="38" y="60"/>
                      </a:lnTo>
                      <a:lnTo>
                        <a:pt x="38" y="64"/>
                      </a:lnTo>
                      <a:lnTo>
                        <a:pt x="34" y="64"/>
                      </a:lnTo>
                      <a:lnTo>
                        <a:pt x="34" y="64"/>
                      </a:lnTo>
                      <a:lnTo>
                        <a:pt x="34" y="64"/>
                      </a:lnTo>
                      <a:close/>
                      <a:moveTo>
                        <a:pt x="38" y="72"/>
                      </a:moveTo>
                      <a:lnTo>
                        <a:pt x="34" y="72"/>
                      </a:lnTo>
                      <a:lnTo>
                        <a:pt x="34" y="68"/>
                      </a:lnTo>
                      <a:lnTo>
                        <a:pt x="38" y="68"/>
                      </a:lnTo>
                      <a:lnTo>
                        <a:pt x="38" y="72"/>
                      </a:lnTo>
                      <a:lnTo>
                        <a:pt x="38" y="72"/>
                      </a:lnTo>
                      <a:lnTo>
                        <a:pt x="38" y="72"/>
                      </a:lnTo>
                      <a:close/>
                      <a:moveTo>
                        <a:pt x="38" y="86"/>
                      </a:moveTo>
                      <a:lnTo>
                        <a:pt x="34" y="86"/>
                      </a:lnTo>
                      <a:lnTo>
                        <a:pt x="34" y="82"/>
                      </a:lnTo>
                      <a:lnTo>
                        <a:pt x="38" y="82"/>
                      </a:lnTo>
                      <a:lnTo>
                        <a:pt x="38" y="86"/>
                      </a:lnTo>
                      <a:lnTo>
                        <a:pt x="38" y="86"/>
                      </a:lnTo>
                      <a:lnTo>
                        <a:pt x="38" y="86"/>
                      </a:lnTo>
                      <a:close/>
                      <a:moveTo>
                        <a:pt x="38" y="86"/>
                      </a:moveTo>
                      <a:lnTo>
                        <a:pt x="38" y="82"/>
                      </a:lnTo>
                      <a:lnTo>
                        <a:pt x="38" y="78"/>
                      </a:lnTo>
                      <a:lnTo>
                        <a:pt x="38" y="76"/>
                      </a:lnTo>
                      <a:lnTo>
                        <a:pt x="38" y="72"/>
                      </a:lnTo>
                      <a:lnTo>
                        <a:pt x="40" y="76"/>
                      </a:lnTo>
                      <a:lnTo>
                        <a:pt x="40" y="78"/>
                      </a:lnTo>
                      <a:lnTo>
                        <a:pt x="40" y="82"/>
                      </a:lnTo>
                      <a:lnTo>
                        <a:pt x="38" y="82"/>
                      </a:lnTo>
                      <a:lnTo>
                        <a:pt x="38" y="86"/>
                      </a:lnTo>
                      <a:lnTo>
                        <a:pt x="38" y="86"/>
                      </a:lnTo>
                      <a:lnTo>
                        <a:pt x="38" y="86"/>
                      </a:lnTo>
                      <a:close/>
                      <a:moveTo>
                        <a:pt x="48" y="78"/>
                      </a:moveTo>
                      <a:lnTo>
                        <a:pt x="48" y="76"/>
                      </a:lnTo>
                      <a:lnTo>
                        <a:pt x="48" y="78"/>
                      </a:lnTo>
                      <a:lnTo>
                        <a:pt x="48" y="78"/>
                      </a:lnTo>
                      <a:lnTo>
                        <a:pt x="48" y="78"/>
                      </a:lnTo>
                      <a:close/>
                      <a:moveTo>
                        <a:pt x="40" y="82"/>
                      </a:moveTo>
                      <a:lnTo>
                        <a:pt x="44" y="82"/>
                      </a:lnTo>
                      <a:lnTo>
                        <a:pt x="44" y="78"/>
                      </a:lnTo>
                      <a:lnTo>
                        <a:pt x="44" y="76"/>
                      </a:lnTo>
                      <a:lnTo>
                        <a:pt x="44" y="78"/>
                      </a:lnTo>
                      <a:lnTo>
                        <a:pt x="44" y="82"/>
                      </a:lnTo>
                      <a:lnTo>
                        <a:pt x="40" y="82"/>
                      </a:lnTo>
                      <a:lnTo>
                        <a:pt x="40" y="82"/>
                      </a:lnTo>
                      <a:lnTo>
                        <a:pt x="40" y="82"/>
                      </a:lnTo>
                      <a:close/>
                      <a:moveTo>
                        <a:pt x="56" y="94"/>
                      </a:moveTo>
                      <a:lnTo>
                        <a:pt x="56" y="90"/>
                      </a:lnTo>
                      <a:lnTo>
                        <a:pt x="56" y="94"/>
                      </a:lnTo>
                      <a:lnTo>
                        <a:pt x="56" y="94"/>
                      </a:lnTo>
                      <a:lnTo>
                        <a:pt x="56" y="9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2" name="Freeform 21"/>
                <p:cNvSpPr>
                  <a:spLocks/>
                </p:cNvSpPr>
                <p:nvPr/>
              </p:nvSpPr>
              <p:spPr bwMode="auto">
                <a:xfrm>
                  <a:off x="6388100" y="3775143"/>
                  <a:ext cx="76200" cy="47625"/>
                </a:xfrm>
                <a:custGeom>
                  <a:avLst/>
                  <a:gdLst>
                    <a:gd name="T0" fmla="*/ 44 w 48"/>
                    <a:gd name="T1" fmla="*/ 26 h 30"/>
                    <a:gd name="T2" fmla="*/ 38 w 48"/>
                    <a:gd name="T3" fmla="*/ 26 h 30"/>
                    <a:gd name="T4" fmla="*/ 38 w 48"/>
                    <a:gd name="T5" fmla="*/ 26 h 30"/>
                    <a:gd name="T6" fmla="*/ 38 w 48"/>
                    <a:gd name="T7" fmla="*/ 30 h 30"/>
                    <a:gd name="T8" fmla="*/ 34 w 48"/>
                    <a:gd name="T9" fmla="*/ 26 h 30"/>
                    <a:gd name="T10" fmla="*/ 30 w 48"/>
                    <a:gd name="T11" fmla="*/ 30 h 30"/>
                    <a:gd name="T12" fmla="*/ 26 w 48"/>
                    <a:gd name="T13" fmla="*/ 30 h 30"/>
                    <a:gd name="T14" fmla="*/ 22 w 48"/>
                    <a:gd name="T15" fmla="*/ 26 h 30"/>
                    <a:gd name="T16" fmla="*/ 18 w 48"/>
                    <a:gd name="T17" fmla="*/ 26 h 30"/>
                    <a:gd name="T18" fmla="*/ 18 w 48"/>
                    <a:gd name="T19" fmla="*/ 30 h 30"/>
                    <a:gd name="T20" fmla="*/ 14 w 48"/>
                    <a:gd name="T21" fmla="*/ 30 h 30"/>
                    <a:gd name="T22" fmla="*/ 10 w 48"/>
                    <a:gd name="T23" fmla="*/ 30 h 30"/>
                    <a:gd name="T24" fmla="*/ 10 w 48"/>
                    <a:gd name="T25" fmla="*/ 26 h 30"/>
                    <a:gd name="T26" fmla="*/ 6 w 48"/>
                    <a:gd name="T27" fmla="*/ 26 h 30"/>
                    <a:gd name="T28" fmla="*/ 6 w 48"/>
                    <a:gd name="T29" fmla="*/ 26 h 30"/>
                    <a:gd name="T30" fmla="*/ 4 w 48"/>
                    <a:gd name="T31" fmla="*/ 26 h 30"/>
                    <a:gd name="T32" fmla="*/ 0 w 48"/>
                    <a:gd name="T33" fmla="*/ 26 h 30"/>
                    <a:gd name="T34" fmla="*/ 0 w 48"/>
                    <a:gd name="T35" fmla="*/ 24 h 30"/>
                    <a:gd name="T36" fmla="*/ 0 w 48"/>
                    <a:gd name="T37" fmla="*/ 20 h 30"/>
                    <a:gd name="T38" fmla="*/ 0 w 48"/>
                    <a:gd name="T39" fmla="*/ 20 h 30"/>
                    <a:gd name="T40" fmla="*/ 4 w 48"/>
                    <a:gd name="T41" fmla="*/ 20 h 30"/>
                    <a:gd name="T42" fmla="*/ 4 w 48"/>
                    <a:gd name="T43" fmla="*/ 16 h 30"/>
                    <a:gd name="T44" fmla="*/ 4 w 48"/>
                    <a:gd name="T45" fmla="*/ 16 h 30"/>
                    <a:gd name="T46" fmla="*/ 6 w 48"/>
                    <a:gd name="T47" fmla="*/ 12 h 30"/>
                    <a:gd name="T48" fmla="*/ 6 w 48"/>
                    <a:gd name="T49" fmla="*/ 8 h 30"/>
                    <a:gd name="T50" fmla="*/ 6 w 48"/>
                    <a:gd name="T51" fmla="*/ 8 h 30"/>
                    <a:gd name="T52" fmla="*/ 10 w 48"/>
                    <a:gd name="T53" fmla="*/ 4 h 30"/>
                    <a:gd name="T54" fmla="*/ 14 w 48"/>
                    <a:gd name="T55" fmla="*/ 4 h 30"/>
                    <a:gd name="T56" fmla="*/ 18 w 48"/>
                    <a:gd name="T57" fmla="*/ 0 h 30"/>
                    <a:gd name="T58" fmla="*/ 18 w 48"/>
                    <a:gd name="T59" fmla="*/ 0 h 30"/>
                    <a:gd name="T60" fmla="*/ 22 w 48"/>
                    <a:gd name="T61" fmla="*/ 0 h 30"/>
                    <a:gd name="T62" fmla="*/ 22 w 48"/>
                    <a:gd name="T63" fmla="*/ 4 h 30"/>
                    <a:gd name="T64" fmla="*/ 22 w 48"/>
                    <a:gd name="T65" fmla="*/ 4 h 30"/>
                    <a:gd name="T66" fmla="*/ 26 w 48"/>
                    <a:gd name="T67" fmla="*/ 4 h 30"/>
                    <a:gd name="T68" fmla="*/ 30 w 48"/>
                    <a:gd name="T69" fmla="*/ 4 h 30"/>
                    <a:gd name="T70" fmla="*/ 30 w 48"/>
                    <a:gd name="T71" fmla="*/ 8 h 30"/>
                    <a:gd name="T72" fmla="*/ 34 w 48"/>
                    <a:gd name="T73" fmla="*/ 8 h 30"/>
                    <a:gd name="T74" fmla="*/ 38 w 48"/>
                    <a:gd name="T75" fmla="*/ 4 h 30"/>
                    <a:gd name="T76" fmla="*/ 38 w 48"/>
                    <a:gd name="T77" fmla="*/ 8 h 30"/>
                    <a:gd name="T78" fmla="*/ 40 w 48"/>
                    <a:gd name="T79" fmla="*/ 8 h 30"/>
                    <a:gd name="T80" fmla="*/ 40 w 48"/>
                    <a:gd name="T81" fmla="*/ 8 h 30"/>
                    <a:gd name="T82" fmla="*/ 40 w 48"/>
                    <a:gd name="T83" fmla="*/ 12 h 30"/>
                    <a:gd name="T84" fmla="*/ 40 w 48"/>
                    <a:gd name="T85" fmla="*/ 12 h 30"/>
                    <a:gd name="T86" fmla="*/ 40 w 48"/>
                    <a:gd name="T87" fmla="*/ 16 h 30"/>
                    <a:gd name="T88" fmla="*/ 44 w 48"/>
                    <a:gd name="T89" fmla="*/ 16 h 30"/>
                    <a:gd name="T90" fmla="*/ 48 w 48"/>
                    <a:gd name="T91" fmla="*/ 20 h 30"/>
                    <a:gd name="T92" fmla="*/ 44 w 48"/>
                    <a:gd name="T93" fmla="*/ 24 h 30"/>
                    <a:gd name="T94" fmla="*/ 48 w 48"/>
                    <a:gd name="T95" fmla="*/ 26 h 30"/>
                    <a:gd name="T96" fmla="*/ 44 w 48"/>
                    <a:gd name="T97" fmla="*/ 26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48" h="30">
                      <a:moveTo>
                        <a:pt x="44" y="26"/>
                      </a:moveTo>
                      <a:lnTo>
                        <a:pt x="44" y="26"/>
                      </a:lnTo>
                      <a:lnTo>
                        <a:pt x="44" y="26"/>
                      </a:lnTo>
                      <a:lnTo>
                        <a:pt x="44" y="26"/>
                      </a:lnTo>
                      <a:lnTo>
                        <a:pt x="44" y="26"/>
                      </a:lnTo>
                      <a:lnTo>
                        <a:pt x="40" y="26"/>
                      </a:lnTo>
                      <a:lnTo>
                        <a:pt x="40" y="26"/>
                      </a:lnTo>
                      <a:lnTo>
                        <a:pt x="38" y="26"/>
                      </a:lnTo>
                      <a:lnTo>
                        <a:pt x="38" y="26"/>
                      </a:lnTo>
                      <a:lnTo>
                        <a:pt x="38" y="26"/>
                      </a:lnTo>
                      <a:lnTo>
                        <a:pt x="38" y="26"/>
                      </a:lnTo>
                      <a:lnTo>
                        <a:pt x="38" y="26"/>
                      </a:lnTo>
                      <a:lnTo>
                        <a:pt x="38" y="26"/>
                      </a:lnTo>
                      <a:lnTo>
                        <a:pt x="38" y="26"/>
                      </a:lnTo>
                      <a:lnTo>
                        <a:pt x="38" y="30"/>
                      </a:lnTo>
                      <a:lnTo>
                        <a:pt x="38" y="30"/>
                      </a:lnTo>
                      <a:lnTo>
                        <a:pt x="34" y="30"/>
                      </a:lnTo>
                      <a:lnTo>
                        <a:pt x="34" y="26"/>
                      </a:lnTo>
                      <a:lnTo>
                        <a:pt x="34" y="26"/>
                      </a:lnTo>
                      <a:lnTo>
                        <a:pt x="34" y="26"/>
                      </a:lnTo>
                      <a:lnTo>
                        <a:pt x="34" y="26"/>
                      </a:lnTo>
                      <a:lnTo>
                        <a:pt x="30" y="30"/>
                      </a:lnTo>
                      <a:lnTo>
                        <a:pt x="30" y="30"/>
                      </a:lnTo>
                      <a:lnTo>
                        <a:pt x="30" y="30"/>
                      </a:lnTo>
                      <a:lnTo>
                        <a:pt x="30" y="30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2" y="26"/>
                      </a:lnTo>
                      <a:lnTo>
                        <a:pt x="22" y="26"/>
                      </a:lnTo>
                      <a:lnTo>
                        <a:pt x="22" y="26"/>
                      </a:lnTo>
                      <a:lnTo>
                        <a:pt x="22" y="26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4" y="30"/>
                      </a:lnTo>
                      <a:lnTo>
                        <a:pt x="14" y="30"/>
                      </a:lnTo>
                      <a:lnTo>
                        <a:pt x="14" y="30"/>
                      </a:lnTo>
                      <a:lnTo>
                        <a:pt x="14" y="30"/>
                      </a:lnTo>
                      <a:lnTo>
                        <a:pt x="10" y="30"/>
                      </a:lnTo>
                      <a:lnTo>
                        <a:pt x="10" y="30"/>
                      </a:lnTo>
                      <a:lnTo>
                        <a:pt x="10" y="30"/>
                      </a:lnTo>
                      <a:lnTo>
                        <a:pt x="10" y="30"/>
                      </a:lnTo>
                      <a:lnTo>
                        <a:pt x="10" y="26"/>
                      </a:lnTo>
                      <a:lnTo>
                        <a:pt x="10" y="26"/>
                      </a:lnTo>
                      <a:lnTo>
                        <a:pt x="10" y="26"/>
                      </a:lnTo>
                      <a:lnTo>
                        <a:pt x="10" y="26"/>
                      </a:lnTo>
                      <a:lnTo>
                        <a:pt x="6" y="26"/>
                      </a:lnTo>
                      <a:lnTo>
                        <a:pt x="6" y="26"/>
                      </a:lnTo>
                      <a:lnTo>
                        <a:pt x="6" y="26"/>
                      </a:lnTo>
                      <a:lnTo>
                        <a:pt x="6" y="26"/>
                      </a:lnTo>
                      <a:lnTo>
                        <a:pt x="6" y="26"/>
                      </a:lnTo>
                      <a:lnTo>
                        <a:pt x="6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0" y="26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4" y="20"/>
                      </a:lnTo>
                      <a:lnTo>
                        <a:pt x="4" y="20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6" y="12"/>
                      </a:lnTo>
                      <a:lnTo>
                        <a:pt x="6" y="12"/>
                      </a:lnTo>
                      <a:lnTo>
                        <a:pt x="6" y="12"/>
                      </a:lnTo>
                      <a:lnTo>
                        <a:pt x="6" y="8"/>
                      </a:lnTo>
                      <a:lnTo>
                        <a:pt x="6" y="8"/>
                      </a:lnTo>
                      <a:lnTo>
                        <a:pt x="6" y="8"/>
                      </a:lnTo>
                      <a:lnTo>
                        <a:pt x="6" y="8"/>
                      </a:lnTo>
                      <a:lnTo>
                        <a:pt x="6" y="8"/>
                      </a:lnTo>
                      <a:lnTo>
                        <a:pt x="6" y="8"/>
                      </a:lnTo>
                      <a:lnTo>
                        <a:pt x="6" y="8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8"/>
                      </a:lnTo>
                      <a:lnTo>
                        <a:pt x="30" y="8"/>
                      </a:lnTo>
                      <a:lnTo>
                        <a:pt x="30" y="8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8" y="4"/>
                      </a:lnTo>
                      <a:lnTo>
                        <a:pt x="38" y="4"/>
                      </a:lnTo>
                      <a:lnTo>
                        <a:pt x="38" y="8"/>
                      </a:lnTo>
                      <a:lnTo>
                        <a:pt x="38" y="8"/>
                      </a:lnTo>
                      <a:lnTo>
                        <a:pt x="38" y="8"/>
                      </a:lnTo>
                      <a:lnTo>
                        <a:pt x="38" y="8"/>
                      </a:lnTo>
                      <a:lnTo>
                        <a:pt x="38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12"/>
                      </a:lnTo>
                      <a:lnTo>
                        <a:pt x="40" y="12"/>
                      </a:lnTo>
                      <a:lnTo>
                        <a:pt x="40" y="12"/>
                      </a:lnTo>
                      <a:lnTo>
                        <a:pt x="40" y="12"/>
                      </a:lnTo>
                      <a:lnTo>
                        <a:pt x="40" y="12"/>
                      </a:lnTo>
                      <a:lnTo>
                        <a:pt x="40" y="12"/>
                      </a:lnTo>
                      <a:lnTo>
                        <a:pt x="40" y="12"/>
                      </a:lnTo>
                      <a:lnTo>
                        <a:pt x="40" y="12"/>
                      </a:lnTo>
                      <a:lnTo>
                        <a:pt x="40" y="12"/>
                      </a:lnTo>
                      <a:lnTo>
                        <a:pt x="40" y="16"/>
                      </a:lnTo>
                      <a:lnTo>
                        <a:pt x="40" y="16"/>
                      </a:lnTo>
                      <a:lnTo>
                        <a:pt x="40" y="16"/>
                      </a:lnTo>
                      <a:lnTo>
                        <a:pt x="40" y="16"/>
                      </a:lnTo>
                      <a:lnTo>
                        <a:pt x="44" y="16"/>
                      </a:lnTo>
                      <a:lnTo>
                        <a:pt x="44" y="16"/>
                      </a:lnTo>
                      <a:lnTo>
                        <a:pt x="44" y="16"/>
                      </a:lnTo>
                      <a:lnTo>
                        <a:pt x="44" y="20"/>
                      </a:lnTo>
                      <a:lnTo>
                        <a:pt x="44" y="20"/>
                      </a:lnTo>
                      <a:lnTo>
                        <a:pt x="48" y="20"/>
                      </a:lnTo>
                      <a:lnTo>
                        <a:pt x="44" y="24"/>
                      </a:lnTo>
                      <a:lnTo>
                        <a:pt x="44" y="24"/>
                      </a:lnTo>
                      <a:lnTo>
                        <a:pt x="44" y="24"/>
                      </a:lnTo>
                      <a:lnTo>
                        <a:pt x="44" y="24"/>
                      </a:lnTo>
                      <a:lnTo>
                        <a:pt x="44" y="24"/>
                      </a:lnTo>
                      <a:lnTo>
                        <a:pt x="44" y="24"/>
                      </a:lnTo>
                      <a:lnTo>
                        <a:pt x="44" y="24"/>
                      </a:lnTo>
                      <a:lnTo>
                        <a:pt x="48" y="26"/>
                      </a:lnTo>
                      <a:lnTo>
                        <a:pt x="48" y="26"/>
                      </a:lnTo>
                      <a:lnTo>
                        <a:pt x="48" y="26"/>
                      </a:lnTo>
                      <a:lnTo>
                        <a:pt x="44" y="26"/>
                      </a:lnTo>
                      <a:lnTo>
                        <a:pt x="44" y="26"/>
                      </a:lnTo>
                      <a:lnTo>
                        <a:pt x="44" y="26"/>
                      </a:lnTo>
                      <a:lnTo>
                        <a:pt x="44" y="2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3" name="Freeform 22"/>
                <p:cNvSpPr>
                  <a:spLocks noEditPoints="1"/>
                </p:cNvSpPr>
                <p:nvPr/>
              </p:nvSpPr>
              <p:spPr bwMode="auto">
                <a:xfrm>
                  <a:off x="6956425" y="4419668"/>
                  <a:ext cx="28575" cy="31750"/>
                </a:xfrm>
                <a:custGeom>
                  <a:avLst/>
                  <a:gdLst>
                    <a:gd name="T0" fmla="*/ 10 w 18"/>
                    <a:gd name="T1" fmla="*/ 4 h 20"/>
                    <a:gd name="T2" fmla="*/ 10 w 18"/>
                    <a:gd name="T3" fmla="*/ 4 h 20"/>
                    <a:gd name="T4" fmla="*/ 10 w 18"/>
                    <a:gd name="T5" fmla="*/ 4 h 20"/>
                    <a:gd name="T6" fmla="*/ 10 w 18"/>
                    <a:gd name="T7" fmla="*/ 4 h 20"/>
                    <a:gd name="T8" fmla="*/ 10 w 18"/>
                    <a:gd name="T9" fmla="*/ 4 h 20"/>
                    <a:gd name="T10" fmla="*/ 10 w 18"/>
                    <a:gd name="T11" fmla="*/ 8 h 20"/>
                    <a:gd name="T12" fmla="*/ 10 w 18"/>
                    <a:gd name="T13" fmla="*/ 8 h 20"/>
                    <a:gd name="T14" fmla="*/ 10 w 18"/>
                    <a:gd name="T15" fmla="*/ 12 h 20"/>
                    <a:gd name="T16" fmla="*/ 10 w 18"/>
                    <a:gd name="T17" fmla="*/ 12 h 20"/>
                    <a:gd name="T18" fmla="*/ 10 w 18"/>
                    <a:gd name="T19" fmla="*/ 12 h 20"/>
                    <a:gd name="T20" fmla="*/ 10 w 18"/>
                    <a:gd name="T21" fmla="*/ 16 h 20"/>
                    <a:gd name="T22" fmla="*/ 10 w 18"/>
                    <a:gd name="T23" fmla="*/ 20 h 20"/>
                    <a:gd name="T24" fmla="*/ 6 w 18"/>
                    <a:gd name="T25" fmla="*/ 20 h 20"/>
                    <a:gd name="T26" fmla="*/ 6 w 18"/>
                    <a:gd name="T27" fmla="*/ 20 h 20"/>
                    <a:gd name="T28" fmla="*/ 6 w 18"/>
                    <a:gd name="T29" fmla="*/ 20 h 20"/>
                    <a:gd name="T30" fmla="*/ 4 w 18"/>
                    <a:gd name="T31" fmla="*/ 16 h 20"/>
                    <a:gd name="T32" fmla="*/ 4 w 18"/>
                    <a:gd name="T33" fmla="*/ 16 h 20"/>
                    <a:gd name="T34" fmla="*/ 4 w 18"/>
                    <a:gd name="T35" fmla="*/ 12 h 20"/>
                    <a:gd name="T36" fmla="*/ 4 w 18"/>
                    <a:gd name="T37" fmla="*/ 12 h 20"/>
                    <a:gd name="T38" fmla="*/ 0 w 18"/>
                    <a:gd name="T39" fmla="*/ 12 h 20"/>
                    <a:gd name="T40" fmla="*/ 0 w 18"/>
                    <a:gd name="T41" fmla="*/ 12 h 20"/>
                    <a:gd name="T42" fmla="*/ 0 w 18"/>
                    <a:gd name="T43" fmla="*/ 8 h 20"/>
                    <a:gd name="T44" fmla="*/ 0 w 18"/>
                    <a:gd name="T45" fmla="*/ 8 h 20"/>
                    <a:gd name="T46" fmla="*/ 0 w 18"/>
                    <a:gd name="T47" fmla="*/ 8 h 20"/>
                    <a:gd name="T48" fmla="*/ 0 w 18"/>
                    <a:gd name="T49" fmla="*/ 12 h 20"/>
                    <a:gd name="T50" fmla="*/ 4 w 18"/>
                    <a:gd name="T51" fmla="*/ 8 h 20"/>
                    <a:gd name="T52" fmla="*/ 6 w 18"/>
                    <a:gd name="T53" fmla="*/ 8 h 20"/>
                    <a:gd name="T54" fmla="*/ 6 w 18"/>
                    <a:gd name="T55" fmla="*/ 8 h 20"/>
                    <a:gd name="T56" fmla="*/ 6 w 18"/>
                    <a:gd name="T57" fmla="*/ 8 h 20"/>
                    <a:gd name="T58" fmla="*/ 6 w 18"/>
                    <a:gd name="T59" fmla="*/ 4 h 20"/>
                    <a:gd name="T60" fmla="*/ 6 w 18"/>
                    <a:gd name="T61" fmla="*/ 4 h 20"/>
                    <a:gd name="T62" fmla="*/ 6 w 18"/>
                    <a:gd name="T63" fmla="*/ 4 h 20"/>
                    <a:gd name="T64" fmla="*/ 10 w 18"/>
                    <a:gd name="T65" fmla="*/ 4 h 20"/>
                    <a:gd name="T66" fmla="*/ 10 w 18"/>
                    <a:gd name="T67" fmla="*/ 4 h 20"/>
                    <a:gd name="T68" fmla="*/ 10 w 18"/>
                    <a:gd name="T69" fmla="*/ 0 h 20"/>
                    <a:gd name="T70" fmla="*/ 14 w 18"/>
                    <a:gd name="T71" fmla="*/ 0 h 20"/>
                    <a:gd name="T72" fmla="*/ 14 w 18"/>
                    <a:gd name="T73" fmla="*/ 0 h 20"/>
                    <a:gd name="T74" fmla="*/ 14 w 18"/>
                    <a:gd name="T75" fmla="*/ 0 h 20"/>
                    <a:gd name="T76" fmla="*/ 10 w 18"/>
                    <a:gd name="T77" fmla="*/ 4 h 20"/>
                    <a:gd name="T78" fmla="*/ 10 w 18"/>
                    <a:gd name="T79" fmla="*/ 4 h 20"/>
                    <a:gd name="T80" fmla="*/ 10 w 18"/>
                    <a:gd name="T81" fmla="*/ 4 h 20"/>
                    <a:gd name="T82" fmla="*/ 14 w 18"/>
                    <a:gd name="T83" fmla="*/ 4 h 20"/>
                    <a:gd name="T84" fmla="*/ 14 w 18"/>
                    <a:gd name="T85" fmla="*/ 4 h 20"/>
                    <a:gd name="T86" fmla="*/ 14 w 18"/>
                    <a:gd name="T87" fmla="*/ 4 h 20"/>
                    <a:gd name="T88" fmla="*/ 14 w 18"/>
                    <a:gd name="T89" fmla="*/ 4 h 20"/>
                    <a:gd name="T90" fmla="*/ 14 w 18"/>
                    <a:gd name="T91" fmla="*/ 8 h 20"/>
                    <a:gd name="T92" fmla="*/ 14 w 18"/>
                    <a:gd name="T93" fmla="*/ 8 h 20"/>
                    <a:gd name="T94" fmla="*/ 14 w 18"/>
                    <a:gd name="T95" fmla="*/ 12 h 20"/>
                    <a:gd name="T96" fmla="*/ 14 w 18"/>
                    <a:gd name="T97" fmla="*/ 12 h 20"/>
                    <a:gd name="T98" fmla="*/ 14 w 18"/>
                    <a:gd name="T99" fmla="*/ 12 h 20"/>
                    <a:gd name="T100" fmla="*/ 18 w 18"/>
                    <a:gd name="T101" fmla="*/ 12 h 20"/>
                    <a:gd name="T102" fmla="*/ 18 w 18"/>
                    <a:gd name="T103" fmla="*/ 12 h 20"/>
                    <a:gd name="T104" fmla="*/ 18 w 18"/>
                    <a:gd name="T105" fmla="*/ 16 h 20"/>
                    <a:gd name="T106" fmla="*/ 18 w 18"/>
                    <a:gd name="T107" fmla="*/ 16 h 20"/>
                    <a:gd name="T108" fmla="*/ 18 w 18"/>
                    <a:gd name="T109" fmla="*/ 16 h 20"/>
                    <a:gd name="T110" fmla="*/ 14 w 18"/>
                    <a:gd name="T111" fmla="*/ 12 h 20"/>
                    <a:gd name="T112" fmla="*/ 14 w 18"/>
                    <a:gd name="T113" fmla="*/ 12 h 20"/>
                    <a:gd name="T114" fmla="*/ 14 w 18"/>
                    <a:gd name="T115" fmla="*/ 8 h 20"/>
                    <a:gd name="T116" fmla="*/ 10 w 18"/>
                    <a:gd name="T117" fmla="*/ 8 h 20"/>
                    <a:gd name="T118" fmla="*/ 14 w 18"/>
                    <a:gd name="T119" fmla="*/ 4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8" h="20">
                      <a:moveTo>
                        <a:pt x="10" y="4"/>
                      </a:move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12"/>
                      </a:lnTo>
                      <a:lnTo>
                        <a:pt x="10" y="12"/>
                      </a:lnTo>
                      <a:lnTo>
                        <a:pt x="10" y="12"/>
                      </a:lnTo>
                      <a:lnTo>
                        <a:pt x="10" y="12"/>
                      </a:lnTo>
                      <a:lnTo>
                        <a:pt x="10" y="12"/>
                      </a:lnTo>
                      <a:lnTo>
                        <a:pt x="10" y="12"/>
                      </a:lnTo>
                      <a:lnTo>
                        <a:pt x="10" y="16"/>
                      </a:lnTo>
                      <a:lnTo>
                        <a:pt x="10" y="20"/>
                      </a:lnTo>
                      <a:lnTo>
                        <a:pt x="10" y="20"/>
                      </a:lnTo>
                      <a:lnTo>
                        <a:pt x="6" y="20"/>
                      </a:lnTo>
                      <a:lnTo>
                        <a:pt x="6" y="20"/>
                      </a:lnTo>
                      <a:lnTo>
                        <a:pt x="6" y="20"/>
                      </a:lnTo>
                      <a:lnTo>
                        <a:pt x="6" y="20"/>
                      </a:lnTo>
                      <a:lnTo>
                        <a:pt x="6" y="20"/>
                      </a:lnTo>
                      <a:lnTo>
                        <a:pt x="6" y="20"/>
                      </a:lnTo>
                      <a:lnTo>
                        <a:pt x="6" y="20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12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6" y="8"/>
                      </a:lnTo>
                      <a:lnTo>
                        <a:pt x="6" y="8"/>
                      </a:lnTo>
                      <a:lnTo>
                        <a:pt x="6" y="8"/>
                      </a:lnTo>
                      <a:lnTo>
                        <a:pt x="6" y="8"/>
                      </a:lnTo>
                      <a:lnTo>
                        <a:pt x="6" y="8"/>
                      </a:lnTo>
                      <a:lnTo>
                        <a:pt x="6" y="8"/>
                      </a:lnTo>
                      <a:lnTo>
                        <a:pt x="6" y="8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4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close/>
                      <a:moveTo>
                        <a:pt x="14" y="4"/>
                      </a:moveTo>
                      <a:lnTo>
                        <a:pt x="14" y="4"/>
                      </a:lnTo>
                      <a:lnTo>
                        <a:pt x="14" y="8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8"/>
                      </a:lnTo>
                      <a:lnTo>
                        <a:pt x="14" y="8"/>
                      </a:lnTo>
                      <a:lnTo>
                        <a:pt x="14" y="8"/>
                      </a:lnTo>
                      <a:lnTo>
                        <a:pt x="14" y="8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8" y="12"/>
                      </a:lnTo>
                      <a:lnTo>
                        <a:pt x="18" y="12"/>
                      </a:lnTo>
                      <a:lnTo>
                        <a:pt x="18" y="12"/>
                      </a:lnTo>
                      <a:lnTo>
                        <a:pt x="18" y="16"/>
                      </a:lnTo>
                      <a:lnTo>
                        <a:pt x="18" y="16"/>
                      </a:lnTo>
                      <a:lnTo>
                        <a:pt x="18" y="16"/>
                      </a:lnTo>
                      <a:lnTo>
                        <a:pt x="18" y="16"/>
                      </a:lnTo>
                      <a:lnTo>
                        <a:pt x="18" y="16"/>
                      </a:lnTo>
                      <a:lnTo>
                        <a:pt x="18" y="16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4" y="8"/>
                      </a:lnTo>
                      <a:lnTo>
                        <a:pt x="14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4" name="Freeform 23"/>
                <p:cNvSpPr>
                  <a:spLocks/>
                </p:cNvSpPr>
                <p:nvPr/>
              </p:nvSpPr>
              <p:spPr bwMode="auto">
                <a:xfrm>
                  <a:off x="6689725" y="4159318"/>
                  <a:ext cx="117475" cy="117475"/>
                </a:xfrm>
                <a:custGeom>
                  <a:avLst/>
                  <a:gdLst>
                    <a:gd name="T0" fmla="*/ 40 w 74"/>
                    <a:gd name="T1" fmla="*/ 68 h 74"/>
                    <a:gd name="T2" fmla="*/ 36 w 74"/>
                    <a:gd name="T3" fmla="*/ 70 h 74"/>
                    <a:gd name="T4" fmla="*/ 36 w 74"/>
                    <a:gd name="T5" fmla="*/ 70 h 74"/>
                    <a:gd name="T6" fmla="*/ 32 w 74"/>
                    <a:gd name="T7" fmla="*/ 70 h 74"/>
                    <a:gd name="T8" fmla="*/ 30 w 74"/>
                    <a:gd name="T9" fmla="*/ 70 h 74"/>
                    <a:gd name="T10" fmla="*/ 26 w 74"/>
                    <a:gd name="T11" fmla="*/ 70 h 74"/>
                    <a:gd name="T12" fmla="*/ 22 w 74"/>
                    <a:gd name="T13" fmla="*/ 70 h 74"/>
                    <a:gd name="T14" fmla="*/ 18 w 74"/>
                    <a:gd name="T15" fmla="*/ 68 h 74"/>
                    <a:gd name="T16" fmla="*/ 22 w 74"/>
                    <a:gd name="T17" fmla="*/ 64 h 74"/>
                    <a:gd name="T18" fmla="*/ 18 w 74"/>
                    <a:gd name="T19" fmla="*/ 64 h 74"/>
                    <a:gd name="T20" fmla="*/ 10 w 74"/>
                    <a:gd name="T21" fmla="*/ 64 h 74"/>
                    <a:gd name="T22" fmla="*/ 10 w 74"/>
                    <a:gd name="T23" fmla="*/ 56 h 74"/>
                    <a:gd name="T24" fmla="*/ 10 w 74"/>
                    <a:gd name="T25" fmla="*/ 52 h 74"/>
                    <a:gd name="T26" fmla="*/ 10 w 74"/>
                    <a:gd name="T27" fmla="*/ 52 h 74"/>
                    <a:gd name="T28" fmla="*/ 10 w 74"/>
                    <a:gd name="T29" fmla="*/ 52 h 74"/>
                    <a:gd name="T30" fmla="*/ 10 w 74"/>
                    <a:gd name="T31" fmla="*/ 48 h 74"/>
                    <a:gd name="T32" fmla="*/ 10 w 74"/>
                    <a:gd name="T33" fmla="*/ 52 h 74"/>
                    <a:gd name="T34" fmla="*/ 6 w 74"/>
                    <a:gd name="T35" fmla="*/ 48 h 74"/>
                    <a:gd name="T36" fmla="*/ 6 w 74"/>
                    <a:gd name="T37" fmla="*/ 38 h 74"/>
                    <a:gd name="T38" fmla="*/ 4 w 74"/>
                    <a:gd name="T39" fmla="*/ 34 h 74"/>
                    <a:gd name="T40" fmla="*/ 4 w 74"/>
                    <a:gd name="T41" fmla="*/ 26 h 74"/>
                    <a:gd name="T42" fmla="*/ 4 w 74"/>
                    <a:gd name="T43" fmla="*/ 20 h 74"/>
                    <a:gd name="T44" fmla="*/ 4 w 74"/>
                    <a:gd name="T45" fmla="*/ 20 h 74"/>
                    <a:gd name="T46" fmla="*/ 6 w 74"/>
                    <a:gd name="T47" fmla="*/ 16 h 74"/>
                    <a:gd name="T48" fmla="*/ 10 w 74"/>
                    <a:gd name="T49" fmla="*/ 8 h 74"/>
                    <a:gd name="T50" fmla="*/ 10 w 74"/>
                    <a:gd name="T51" fmla="*/ 8 h 74"/>
                    <a:gd name="T52" fmla="*/ 14 w 74"/>
                    <a:gd name="T53" fmla="*/ 4 h 74"/>
                    <a:gd name="T54" fmla="*/ 18 w 74"/>
                    <a:gd name="T55" fmla="*/ 4 h 74"/>
                    <a:gd name="T56" fmla="*/ 26 w 74"/>
                    <a:gd name="T57" fmla="*/ 4 h 74"/>
                    <a:gd name="T58" fmla="*/ 32 w 74"/>
                    <a:gd name="T59" fmla="*/ 4 h 74"/>
                    <a:gd name="T60" fmla="*/ 36 w 74"/>
                    <a:gd name="T61" fmla="*/ 4 h 74"/>
                    <a:gd name="T62" fmla="*/ 40 w 74"/>
                    <a:gd name="T63" fmla="*/ 8 h 74"/>
                    <a:gd name="T64" fmla="*/ 40 w 74"/>
                    <a:gd name="T65" fmla="*/ 4 h 74"/>
                    <a:gd name="T66" fmla="*/ 48 w 74"/>
                    <a:gd name="T67" fmla="*/ 8 h 74"/>
                    <a:gd name="T68" fmla="*/ 52 w 74"/>
                    <a:gd name="T69" fmla="*/ 12 h 74"/>
                    <a:gd name="T70" fmla="*/ 54 w 74"/>
                    <a:gd name="T71" fmla="*/ 8 h 74"/>
                    <a:gd name="T72" fmla="*/ 54 w 74"/>
                    <a:gd name="T73" fmla="*/ 4 h 74"/>
                    <a:gd name="T74" fmla="*/ 54 w 74"/>
                    <a:gd name="T75" fmla="*/ 4 h 74"/>
                    <a:gd name="T76" fmla="*/ 58 w 74"/>
                    <a:gd name="T77" fmla="*/ 0 h 74"/>
                    <a:gd name="T78" fmla="*/ 62 w 74"/>
                    <a:gd name="T79" fmla="*/ 4 h 74"/>
                    <a:gd name="T80" fmla="*/ 70 w 74"/>
                    <a:gd name="T81" fmla="*/ 0 h 74"/>
                    <a:gd name="T82" fmla="*/ 74 w 74"/>
                    <a:gd name="T83" fmla="*/ 4 h 74"/>
                    <a:gd name="T84" fmla="*/ 74 w 74"/>
                    <a:gd name="T85" fmla="*/ 8 h 74"/>
                    <a:gd name="T86" fmla="*/ 74 w 74"/>
                    <a:gd name="T87" fmla="*/ 12 h 74"/>
                    <a:gd name="T88" fmla="*/ 74 w 74"/>
                    <a:gd name="T89" fmla="*/ 22 h 74"/>
                    <a:gd name="T90" fmla="*/ 74 w 74"/>
                    <a:gd name="T91" fmla="*/ 38 h 74"/>
                    <a:gd name="T92" fmla="*/ 74 w 74"/>
                    <a:gd name="T93" fmla="*/ 42 h 74"/>
                    <a:gd name="T94" fmla="*/ 70 w 74"/>
                    <a:gd name="T95" fmla="*/ 42 h 74"/>
                    <a:gd name="T96" fmla="*/ 66 w 74"/>
                    <a:gd name="T97" fmla="*/ 44 h 74"/>
                    <a:gd name="T98" fmla="*/ 62 w 74"/>
                    <a:gd name="T99" fmla="*/ 44 h 74"/>
                    <a:gd name="T100" fmla="*/ 58 w 74"/>
                    <a:gd name="T101" fmla="*/ 48 h 74"/>
                    <a:gd name="T102" fmla="*/ 54 w 74"/>
                    <a:gd name="T103" fmla="*/ 48 h 74"/>
                    <a:gd name="T104" fmla="*/ 52 w 74"/>
                    <a:gd name="T105" fmla="*/ 52 h 74"/>
                    <a:gd name="T106" fmla="*/ 52 w 74"/>
                    <a:gd name="T107" fmla="*/ 56 h 74"/>
                    <a:gd name="T108" fmla="*/ 54 w 74"/>
                    <a:gd name="T109" fmla="*/ 64 h 74"/>
                    <a:gd name="T110" fmla="*/ 54 w 74"/>
                    <a:gd name="T111" fmla="*/ 64 h 74"/>
                    <a:gd name="T112" fmla="*/ 48 w 74"/>
                    <a:gd name="T113" fmla="*/ 64 h 74"/>
                    <a:gd name="T114" fmla="*/ 48 w 74"/>
                    <a:gd name="T115" fmla="*/ 64 h 74"/>
                    <a:gd name="T116" fmla="*/ 44 w 74"/>
                    <a:gd name="T117" fmla="*/ 68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74" h="74">
                      <a:moveTo>
                        <a:pt x="40" y="64"/>
                      </a:moveTo>
                      <a:lnTo>
                        <a:pt x="40" y="64"/>
                      </a:lnTo>
                      <a:lnTo>
                        <a:pt x="40" y="64"/>
                      </a:lnTo>
                      <a:lnTo>
                        <a:pt x="40" y="64"/>
                      </a:lnTo>
                      <a:lnTo>
                        <a:pt x="40" y="68"/>
                      </a:lnTo>
                      <a:lnTo>
                        <a:pt x="40" y="68"/>
                      </a:lnTo>
                      <a:lnTo>
                        <a:pt x="40" y="68"/>
                      </a:lnTo>
                      <a:lnTo>
                        <a:pt x="40" y="68"/>
                      </a:lnTo>
                      <a:lnTo>
                        <a:pt x="40" y="68"/>
                      </a:lnTo>
                      <a:lnTo>
                        <a:pt x="40" y="68"/>
                      </a:lnTo>
                      <a:lnTo>
                        <a:pt x="36" y="70"/>
                      </a:lnTo>
                      <a:lnTo>
                        <a:pt x="36" y="70"/>
                      </a:lnTo>
                      <a:lnTo>
                        <a:pt x="36" y="70"/>
                      </a:lnTo>
                      <a:lnTo>
                        <a:pt x="36" y="70"/>
                      </a:lnTo>
                      <a:lnTo>
                        <a:pt x="36" y="70"/>
                      </a:lnTo>
                      <a:lnTo>
                        <a:pt x="36" y="70"/>
                      </a:lnTo>
                      <a:lnTo>
                        <a:pt x="36" y="70"/>
                      </a:lnTo>
                      <a:lnTo>
                        <a:pt x="36" y="70"/>
                      </a:lnTo>
                      <a:lnTo>
                        <a:pt x="36" y="70"/>
                      </a:lnTo>
                      <a:lnTo>
                        <a:pt x="36" y="70"/>
                      </a:lnTo>
                      <a:lnTo>
                        <a:pt x="32" y="70"/>
                      </a:lnTo>
                      <a:lnTo>
                        <a:pt x="32" y="70"/>
                      </a:lnTo>
                      <a:lnTo>
                        <a:pt x="32" y="70"/>
                      </a:lnTo>
                      <a:lnTo>
                        <a:pt x="32" y="70"/>
                      </a:lnTo>
                      <a:lnTo>
                        <a:pt x="32" y="70"/>
                      </a:lnTo>
                      <a:lnTo>
                        <a:pt x="32" y="70"/>
                      </a:lnTo>
                      <a:lnTo>
                        <a:pt x="32" y="70"/>
                      </a:lnTo>
                      <a:lnTo>
                        <a:pt x="32" y="74"/>
                      </a:lnTo>
                      <a:lnTo>
                        <a:pt x="30" y="74"/>
                      </a:lnTo>
                      <a:lnTo>
                        <a:pt x="30" y="70"/>
                      </a:lnTo>
                      <a:lnTo>
                        <a:pt x="30" y="70"/>
                      </a:lnTo>
                      <a:lnTo>
                        <a:pt x="30" y="70"/>
                      </a:lnTo>
                      <a:lnTo>
                        <a:pt x="26" y="70"/>
                      </a:lnTo>
                      <a:lnTo>
                        <a:pt x="26" y="70"/>
                      </a:lnTo>
                      <a:lnTo>
                        <a:pt x="26" y="70"/>
                      </a:lnTo>
                      <a:lnTo>
                        <a:pt x="26" y="70"/>
                      </a:lnTo>
                      <a:lnTo>
                        <a:pt x="26" y="70"/>
                      </a:lnTo>
                      <a:lnTo>
                        <a:pt x="22" y="70"/>
                      </a:lnTo>
                      <a:lnTo>
                        <a:pt x="22" y="70"/>
                      </a:lnTo>
                      <a:lnTo>
                        <a:pt x="22" y="70"/>
                      </a:lnTo>
                      <a:lnTo>
                        <a:pt x="22" y="70"/>
                      </a:lnTo>
                      <a:lnTo>
                        <a:pt x="22" y="70"/>
                      </a:lnTo>
                      <a:lnTo>
                        <a:pt x="18" y="70"/>
                      </a:lnTo>
                      <a:lnTo>
                        <a:pt x="18" y="70"/>
                      </a:lnTo>
                      <a:lnTo>
                        <a:pt x="18" y="70"/>
                      </a:lnTo>
                      <a:lnTo>
                        <a:pt x="18" y="68"/>
                      </a:lnTo>
                      <a:lnTo>
                        <a:pt x="18" y="68"/>
                      </a:lnTo>
                      <a:lnTo>
                        <a:pt x="18" y="68"/>
                      </a:lnTo>
                      <a:lnTo>
                        <a:pt x="18" y="68"/>
                      </a:lnTo>
                      <a:lnTo>
                        <a:pt x="18" y="68"/>
                      </a:lnTo>
                      <a:lnTo>
                        <a:pt x="22" y="68"/>
                      </a:lnTo>
                      <a:lnTo>
                        <a:pt x="22" y="68"/>
                      </a:lnTo>
                      <a:lnTo>
                        <a:pt x="22" y="68"/>
                      </a:lnTo>
                      <a:lnTo>
                        <a:pt x="22" y="64"/>
                      </a:lnTo>
                      <a:lnTo>
                        <a:pt x="22" y="64"/>
                      </a:lnTo>
                      <a:lnTo>
                        <a:pt x="18" y="64"/>
                      </a:lnTo>
                      <a:lnTo>
                        <a:pt x="18" y="60"/>
                      </a:lnTo>
                      <a:lnTo>
                        <a:pt x="18" y="60"/>
                      </a:lnTo>
                      <a:lnTo>
                        <a:pt x="18" y="60"/>
                      </a:lnTo>
                      <a:lnTo>
                        <a:pt x="18" y="64"/>
                      </a:lnTo>
                      <a:lnTo>
                        <a:pt x="18" y="64"/>
                      </a:lnTo>
                      <a:lnTo>
                        <a:pt x="14" y="64"/>
                      </a:lnTo>
                      <a:lnTo>
                        <a:pt x="14" y="64"/>
                      </a:lnTo>
                      <a:lnTo>
                        <a:pt x="14" y="68"/>
                      </a:lnTo>
                      <a:lnTo>
                        <a:pt x="10" y="68"/>
                      </a:lnTo>
                      <a:lnTo>
                        <a:pt x="10" y="64"/>
                      </a:lnTo>
                      <a:lnTo>
                        <a:pt x="10" y="64"/>
                      </a:lnTo>
                      <a:lnTo>
                        <a:pt x="10" y="64"/>
                      </a:lnTo>
                      <a:lnTo>
                        <a:pt x="10" y="60"/>
                      </a:lnTo>
                      <a:lnTo>
                        <a:pt x="10" y="60"/>
                      </a:lnTo>
                      <a:lnTo>
                        <a:pt x="10" y="60"/>
                      </a:lnTo>
                      <a:lnTo>
                        <a:pt x="10" y="56"/>
                      </a:lnTo>
                      <a:lnTo>
                        <a:pt x="10" y="56"/>
                      </a:lnTo>
                      <a:lnTo>
                        <a:pt x="10" y="52"/>
                      </a:lnTo>
                      <a:lnTo>
                        <a:pt x="10" y="56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0" y="48"/>
                      </a:lnTo>
                      <a:lnTo>
                        <a:pt x="10" y="48"/>
                      </a:lnTo>
                      <a:lnTo>
                        <a:pt x="10" y="48"/>
                      </a:lnTo>
                      <a:lnTo>
                        <a:pt x="6" y="48"/>
                      </a:lnTo>
                      <a:lnTo>
                        <a:pt x="10" y="48"/>
                      </a:lnTo>
                      <a:lnTo>
                        <a:pt x="10" y="48"/>
                      </a:lnTo>
                      <a:lnTo>
                        <a:pt x="10" y="48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0" y="48"/>
                      </a:lnTo>
                      <a:lnTo>
                        <a:pt x="6" y="48"/>
                      </a:lnTo>
                      <a:lnTo>
                        <a:pt x="6" y="48"/>
                      </a:lnTo>
                      <a:lnTo>
                        <a:pt x="6" y="48"/>
                      </a:lnTo>
                      <a:lnTo>
                        <a:pt x="6" y="44"/>
                      </a:lnTo>
                      <a:lnTo>
                        <a:pt x="6" y="42"/>
                      </a:lnTo>
                      <a:lnTo>
                        <a:pt x="6" y="42"/>
                      </a:lnTo>
                      <a:lnTo>
                        <a:pt x="6" y="38"/>
                      </a:lnTo>
                      <a:lnTo>
                        <a:pt x="6" y="38"/>
                      </a:lnTo>
                      <a:lnTo>
                        <a:pt x="4" y="38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0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0"/>
                      </a:lnTo>
                      <a:lnTo>
                        <a:pt x="4" y="20"/>
                      </a:lnTo>
                      <a:lnTo>
                        <a:pt x="4" y="20"/>
                      </a:lnTo>
                      <a:lnTo>
                        <a:pt x="4" y="20"/>
                      </a:lnTo>
                      <a:lnTo>
                        <a:pt x="4" y="20"/>
                      </a:lnTo>
                      <a:lnTo>
                        <a:pt x="4" y="20"/>
                      </a:lnTo>
                      <a:lnTo>
                        <a:pt x="4" y="20"/>
                      </a:lnTo>
                      <a:lnTo>
                        <a:pt x="4" y="20"/>
                      </a:lnTo>
                      <a:lnTo>
                        <a:pt x="4" y="20"/>
                      </a:lnTo>
                      <a:lnTo>
                        <a:pt x="4" y="20"/>
                      </a:lnTo>
                      <a:lnTo>
                        <a:pt x="4" y="16"/>
                      </a:lnTo>
                      <a:lnTo>
                        <a:pt x="6" y="16"/>
                      </a:lnTo>
                      <a:lnTo>
                        <a:pt x="6" y="16"/>
                      </a:lnTo>
                      <a:lnTo>
                        <a:pt x="6" y="16"/>
                      </a:lnTo>
                      <a:lnTo>
                        <a:pt x="6" y="12"/>
                      </a:lnTo>
                      <a:lnTo>
                        <a:pt x="6" y="12"/>
                      </a:lnTo>
                      <a:lnTo>
                        <a:pt x="6" y="12"/>
                      </a:lnTo>
                      <a:lnTo>
                        <a:pt x="6" y="12"/>
                      </a:lnTo>
                      <a:lnTo>
                        <a:pt x="10" y="12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4" y="8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2" y="4"/>
                      </a:lnTo>
                      <a:lnTo>
                        <a:pt x="32" y="4"/>
                      </a:lnTo>
                      <a:lnTo>
                        <a:pt x="32" y="4"/>
                      </a:lnTo>
                      <a:lnTo>
                        <a:pt x="32" y="4"/>
                      </a:lnTo>
                      <a:lnTo>
                        <a:pt x="36" y="4"/>
                      </a:lnTo>
                      <a:lnTo>
                        <a:pt x="36" y="4"/>
                      </a:lnTo>
                      <a:lnTo>
                        <a:pt x="36" y="4"/>
                      </a:lnTo>
                      <a:lnTo>
                        <a:pt x="36" y="4"/>
                      </a:lnTo>
                      <a:lnTo>
                        <a:pt x="36" y="4"/>
                      </a:lnTo>
                      <a:lnTo>
                        <a:pt x="36" y="4"/>
                      </a:lnTo>
                      <a:lnTo>
                        <a:pt x="36" y="8"/>
                      </a:lnTo>
                      <a:lnTo>
                        <a:pt x="36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4"/>
                      </a:lnTo>
                      <a:lnTo>
                        <a:pt x="40" y="4"/>
                      </a:lnTo>
                      <a:lnTo>
                        <a:pt x="40" y="8"/>
                      </a:lnTo>
                      <a:lnTo>
                        <a:pt x="44" y="8"/>
                      </a:lnTo>
                      <a:lnTo>
                        <a:pt x="44" y="12"/>
                      </a:lnTo>
                      <a:lnTo>
                        <a:pt x="44" y="12"/>
                      </a:lnTo>
                      <a:lnTo>
                        <a:pt x="44" y="8"/>
                      </a:lnTo>
                      <a:lnTo>
                        <a:pt x="48" y="8"/>
                      </a:lnTo>
                      <a:lnTo>
                        <a:pt x="48" y="12"/>
                      </a:lnTo>
                      <a:lnTo>
                        <a:pt x="48" y="12"/>
                      </a:lnTo>
                      <a:lnTo>
                        <a:pt x="48" y="12"/>
                      </a:lnTo>
                      <a:lnTo>
                        <a:pt x="52" y="12"/>
                      </a:lnTo>
                      <a:lnTo>
                        <a:pt x="52" y="12"/>
                      </a:lnTo>
                      <a:lnTo>
                        <a:pt x="52" y="12"/>
                      </a:lnTo>
                      <a:lnTo>
                        <a:pt x="52" y="12"/>
                      </a:lnTo>
                      <a:lnTo>
                        <a:pt x="52" y="12"/>
                      </a:lnTo>
                      <a:lnTo>
                        <a:pt x="54" y="12"/>
                      </a:lnTo>
                      <a:lnTo>
                        <a:pt x="54" y="12"/>
                      </a:lnTo>
                      <a:lnTo>
                        <a:pt x="54" y="12"/>
                      </a:lnTo>
                      <a:lnTo>
                        <a:pt x="54" y="8"/>
                      </a:lnTo>
                      <a:lnTo>
                        <a:pt x="52" y="8"/>
                      </a:lnTo>
                      <a:lnTo>
                        <a:pt x="52" y="8"/>
                      </a:lnTo>
                      <a:lnTo>
                        <a:pt x="52" y="4"/>
                      </a:lnTo>
                      <a:lnTo>
                        <a:pt x="54" y="4"/>
                      </a:lnTo>
                      <a:lnTo>
                        <a:pt x="54" y="4"/>
                      </a:lnTo>
                      <a:lnTo>
                        <a:pt x="54" y="4"/>
                      </a:lnTo>
                      <a:lnTo>
                        <a:pt x="54" y="4"/>
                      </a:lnTo>
                      <a:lnTo>
                        <a:pt x="54" y="4"/>
                      </a:lnTo>
                      <a:lnTo>
                        <a:pt x="54" y="4"/>
                      </a:lnTo>
                      <a:lnTo>
                        <a:pt x="54" y="4"/>
                      </a:lnTo>
                      <a:lnTo>
                        <a:pt x="54" y="4"/>
                      </a:lnTo>
                      <a:lnTo>
                        <a:pt x="54" y="4"/>
                      </a:lnTo>
                      <a:lnTo>
                        <a:pt x="54" y="4"/>
                      </a:lnTo>
                      <a:lnTo>
                        <a:pt x="58" y="4"/>
                      </a:lnTo>
                      <a:lnTo>
                        <a:pt x="58" y="4"/>
                      </a:lnTo>
                      <a:lnTo>
                        <a:pt x="58" y="4"/>
                      </a:lnTo>
                      <a:lnTo>
                        <a:pt x="58" y="0"/>
                      </a:lnTo>
                      <a:lnTo>
                        <a:pt x="58" y="0"/>
                      </a:lnTo>
                      <a:lnTo>
                        <a:pt x="62" y="4"/>
                      </a:lnTo>
                      <a:lnTo>
                        <a:pt x="62" y="4"/>
                      </a:lnTo>
                      <a:lnTo>
                        <a:pt x="62" y="4"/>
                      </a:lnTo>
                      <a:lnTo>
                        <a:pt x="62" y="4"/>
                      </a:lnTo>
                      <a:lnTo>
                        <a:pt x="62" y="4"/>
                      </a:lnTo>
                      <a:lnTo>
                        <a:pt x="62" y="4"/>
                      </a:lnTo>
                      <a:lnTo>
                        <a:pt x="62" y="8"/>
                      </a:lnTo>
                      <a:lnTo>
                        <a:pt x="70" y="4"/>
                      </a:lnTo>
                      <a:lnTo>
                        <a:pt x="70" y="4"/>
                      </a:lnTo>
                      <a:lnTo>
                        <a:pt x="70" y="4"/>
                      </a:lnTo>
                      <a:lnTo>
                        <a:pt x="70" y="4"/>
                      </a:lnTo>
                      <a:lnTo>
                        <a:pt x="70" y="0"/>
                      </a:lnTo>
                      <a:lnTo>
                        <a:pt x="74" y="0"/>
                      </a:lnTo>
                      <a:lnTo>
                        <a:pt x="74" y="0"/>
                      </a:lnTo>
                      <a:lnTo>
                        <a:pt x="74" y="0"/>
                      </a:lnTo>
                      <a:lnTo>
                        <a:pt x="74" y="0"/>
                      </a:lnTo>
                      <a:lnTo>
                        <a:pt x="74" y="0"/>
                      </a:lnTo>
                      <a:lnTo>
                        <a:pt x="74" y="4"/>
                      </a:lnTo>
                      <a:lnTo>
                        <a:pt x="74" y="4"/>
                      </a:lnTo>
                      <a:lnTo>
                        <a:pt x="74" y="4"/>
                      </a:lnTo>
                      <a:lnTo>
                        <a:pt x="74" y="4"/>
                      </a:lnTo>
                      <a:lnTo>
                        <a:pt x="74" y="4"/>
                      </a:lnTo>
                      <a:lnTo>
                        <a:pt x="70" y="4"/>
                      </a:lnTo>
                      <a:lnTo>
                        <a:pt x="74" y="8"/>
                      </a:lnTo>
                      <a:lnTo>
                        <a:pt x="74" y="8"/>
                      </a:lnTo>
                      <a:lnTo>
                        <a:pt x="70" y="8"/>
                      </a:lnTo>
                      <a:lnTo>
                        <a:pt x="70" y="8"/>
                      </a:lnTo>
                      <a:lnTo>
                        <a:pt x="70" y="12"/>
                      </a:lnTo>
                      <a:lnTo>
                        <a:pt x="74" y="12"/>
                      </a:lnTo>
                      <a:lnTo>
                        <a:pt x="74" y="12"/>
                      </a:lnTo>
                      <a:lnTo>
                        <a:pt x="74" y="16"/>
                      </a:lnTo>
                      <a:lnTo>
                        <a:pt x="74" y="16"/>
                      </a:lnTo>
                      <a:lnTo>
                        <a:pt x="74" y="20"/>
                      </a:lnTo>
                      <a:lnTo>
                        <a:pt x="74" y="20"/>
                      </a:lnTo>
                      <a:lnTo>
                        <a:pt x="74" y="22"/>
                      </a:lnTo>
                      <a:lnTo>
                        <a:pt x="74" y="22"/>
                      </a:lnTo>
                      <a:lnTo>
                        <a:pt x="74" y="30"/>
                      </a:lnTo>
                      <a:lnTo>
                        <a:pt x="74" y="30"/>
                      </a:lnTo>
                      <a:lnTo>
                        <a:pt x="74" y="30"/>
                      </a:lnTo>
                      <a:lnTo>
                        <a:pt x="74" y="30"/>
                      </a:lnTo>
                      <a:lnTo>
                        <a:pt x="74" y="34"/>
                      </a:lnTo>
                      <a:lnTo>
                        <a:pt x="74" y="38"/>
                      </a:lnTo>
                      <a:lnTo>
                        <a:pt x="74" y="38"/>
                      </a:lnTo>
                      <a:lnTo>
                        <a:pt x="74" y="42"/>
                      </a:lnTo>
                      <a:lnTo>
                        <a:pt x="74" y="42"/>
                      </a:lnTo>
                      <a:lnTo>
                        <a:pt x="74" y="42"/>
                      </a:lnTo>
                      <a:lnTo>
                        <a:pt x="74" y="42"/>
                      </a:lnTo>
                      <a:lnTo>
                        <a:pt x="74" y="42"/>
                      </a:lnTo>
                      <a:lnTo>
                        <a:pt x="70" y="42"/>
                      </a:lnTo>
                      <a:lnTo>
                        <a:pt x="70" y="42"/>
                      </a:lnTo>
                      <a:lnTo>
                        <a:pt x="70" y="42"/>
                      </a:lnTo>
                      <a:lnTo>
                        <a:pt x="70" y="42"/>
                      </a:lnTo>
                      <a:lnTo>
                        <a:pt x="70" y="42"/>
                      </a:lnTo>
                      <a:lnTo>
                        <a:pt x="70" y="42"/>
                      </a:lnTo>
                      <a:lnTo>
                        <a:pt x="66" y="42"/>
                      </a:lnTo>
                      <a:lnTo>
                        <a:pt x="66" y="44"/>
                      </a:lnTo>
                      <a:lnTo>
                        <a:pt x="66" y="44"/>
                      </a:lnTo>
                      <a:lnTo>
                        <a:pt x="66" y="44"/>
                      </a:lnTo>
                      <a:lnTo>
                        <a:pt x="66" y="44"/>
                      </a:lnTo>
                      <a:lnTo>
                        <a:pt x="66" y="44"/>
                      </a:lnTo>
                      <a:lnTo>
                        <a:pt x="66" y="44"/>
                      </a:lnTo>
                      <a:lnTo>
                        <a:pt x="62" y="44"/>
                      </a:lnTo>
                      <a:lnTo>
                        <a:pt x="62" y="44"/>
                      </a:lnTo>
                      <a:lnTo>
                        <a:pt x="62" y="44"/>
                      </a:lnTo>
                      <a:lnTo>
                        <a:pt x="62" y="48"/>
                      </a:lnTo>
                      <a:lnTo>
                        <a:pt x="62" y="44"/>
                      </a:lnTo>
                      <a:lnTo>
                        <a:pt x="58" y="44"/>
                      </a:lnTo>
                      <a:lnTo>
                        <a:pt x="58" y="44"/>
                      </a:lnTo>
                      <a:lnTo>
                        <a:pt x="58" y="44"/>
                      </a:lnTo>
                      <a:lnTo>
                        <a:pt x="58" y="48"/>
                      </a:lnTo>
                      <a:lnTo>
                        <a:pt x="58" y="48"/>
                      </a:lnTo>
                      <a:lnTo>
                        <a:pt x="58" y="48"/>
                      </a:lnTo>
                      <a:lnTo>
                        <a:pt x="58" y="52"/>
                      </a:lnTo>
                      <a:lnTo>
                        <a:pt x="58" y="52"/>
                      </a:lnTo>
                      <a:lnTo>
                        <a:pt x="58" y="52"/>
                      </a:lnTo>
                      <a:lnTo>
                        <a:pt x="54" y="52"/>
                      </a:lnTo>
                      <a:lnTo>
                        <a:pt x="54" y="52"/>
                      </a:lnTo>
                      <a:lnTo>
                        <a:pt x="54" y="48"/>
                      </a:lnTo>
                      <a:lnTo>
                        <a:pt x="52" y="48"/>
                      </a:lnTo>
                      <a:lnTo>
                        <a:pt x="52" y="48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2" y="56"/>
                      </a:lnTo>
                      <a:lnTo>
                        <a:pt x="52" y="56"/>
                      </a:lnTo>
                      <a:lnTo>
                        <a:pt x="52" y="60"/>
                      </a:lnTo>
                      <a:lnTo>
                        <a:pt x="52" y="60"/>
                      </a:lnTo>
                      <a:lnTo>
                        <a:pt x="52" y="60"/>
                      </a:lnTo>
                      <a:lnTo>
                        <a:pt x="54" y="64"/>
                      </a:lnTo>
                      <a:lnTo>
                        <a:pt x="54" y="64"/>
                      </a:lnTo>
                      <a:lnTo>
                        <a:pt x="54" y="64"/>
                      </a:lnTo>
                      <a:lnTo>
                        <a:pt x="54" y="64"/>
                      </a:lnTo>
                      <a:lnTo>
                        <a:pt x="54" y="64"/>
                      </a:lnTo>
                      <a:lnTo>
                        <a:pt x="54" y="64"/>
                      </a:lnTo>
                      <a:lnTo>
                        <a:pt x="54" y="64"/>
                      </a:lnTo>
                      <a:lnTo>
                        <a:pt x="54" y="64"/>
                      </a:lnTo>
                      <a:lnTo>
                        <a:pt x="54" y="68"/>
                      </a:lnTo>
                      <a:lnTo>
                        <a:pt x="54" y="68"/>
                      </a:lnTo>
                      <a:lnTo>
                        <a:pt x="54" y="68"/>
                      </a:lnTo>
                      <a:lnTo>
                        <a:pt x="52" y="64"/>
                      </a:lnTo>
                      <a:lnTo>
                        <a:pt x="52" y="64"/>
                      </a:lnTo>
                      <a:lnTo>
                        <a:pt x="48" y="64"/>
                      </a:lnTo>
                      <a:lnTo>
                        <a:pt x="48" y="64"/>
                      </a:lnTo>
                      <a:lnTo>
                        <a:pt x="48" y="64"/>
                      </a:lnTo>
                      <a:lnTo>
                        <a:pt x="48" y="64"/>
                      </a:lnTo>
                      <a:lnTo>
                        <a:pt x="48" y="64"/>
                      </a:lnTo>
                      <a:lnTo>
                        <a:pt x="48" y="64"/>
                      </a:lnTo>
                      <a:lnTo>
                        <a:pt x="48" y="64"/>
                      </a:lnTo>
                      <a:lnTo>
                        <a:pt x="44" y="64"/>
                      </a:lnTo>
                      <a:lnTo>
                        <a:pt x="44" y="64"/>
                      </a:lnTo>
                      <a:lnTo>
                        <a:pt x="44" y="64"/>
                      </a:lnTo>
                      <a:lnTo>
                        <a:pt x="44" y="64"/>
                      </a:lnTo>
                      <a:lnTo>
                        <a:pt x="44" y="68"/>
                      </a:lnTo>
                      <a:lnTo>
                        <a:pt x="44" y="68"/>
                      </a:lnTo>
                      <a:lnTo>
                        <a:pt x="40" y="64"/>
                      </a:lnTo>
                      <a:lnTo>
                        <a:pt x="40" y="64"/>
                      </a:lnTo>
                      <a:lnTo>
                        <a:pt x="40" y="64"/>
                      </a:lnTo>
                      <a:lnTo>
                        <a:pt x="40" y="64"/>
                      </a:lnTo>
                      <a:lnTo>
                        <a:pt x="40" y="6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5" name="Freeform 24"/>
                <p:cNvSpPr>
                  <a:spLocks noEditPoints="1"/>
                </p:cNvSpPr>
                <p:nvPr/>
              </p:nvSpPr>
              <p:spPr bwMode="auto">
                <a:xfrm>
                  <a:off x="6045200" y="2994093"/>
                  <a:ext cx="1371600" cy="1069975"/>
                </a:xfrm>
                <a:custGeom>
                  <a:avLst/>
                  <a:gdLst>
                    <a:gd name="T0" fmla="*/ 356 w 864"/>
                    <a:gd name="T1" fmla="*/ 518 h 674"/>
                    <a:gd name="T2" fmla="*/ 328 w 864"/>
                    <a:gd name="T3" fmla="*/ 484 h 674"/>
                    <a:gd name="T4" fmla="*/ 282 w 864"/>
                    <a:gd name="T5" fmla="*/ 484 h 674"/>
                    <a:gd name="T6" fmla="*/ 226 w 864"/>
                    <a:gd name="T7" fmla="*/ 496 h 674"/>
                    <a:gd name="T8" fmla="*/ 182 w 864"/>
                    <a:gd name="T9" fmla="*/ 500 h 674"/>
                    <a:gd name="T10" fmla="*/ 136 w 864"/>
                    <a:gd name="T11" fmla="*/ 470 h 674"/>
                    <a:gd name="T12" fmla="*/ 84 w 864"/>
                    <a:gd name="T13" fmla="*/ 444 h 674"/>
                    <a:gd name="T14" fmla="*/ 76 w 864"/>
                    <a:gd name="T15" fmla="*/ 402 h 674"/>
                    <a:gd name="T16" fmla="*/ 44 w 864"/>
                    <a:gd name="T17" fmla="*/ 354 h 674"/>
                    <a:gd name="T18" fmla="*/ 20 w 864"/>
                    <a:gd name="T19" fmla="*/ 316 h 674"/>
                    <a:gd name="T20" fmla="*/ 18 w 864"/>
                    <a:gd name="T21" fmla="*/ 268 h 674"/>
                    <a:gd name="T22" fmla="*/ 74 w 864"/>
                    <a:gd name="T23" fmla="*/ 242 h 674"/>
                    <a:gd name="T24" fmla="*/ 96 w 864"/>
                    <a:gd name="T25" fmla="*/ 194 h 674"/>
                    <a:gd name="T26" fmla="*/ 122 w 864"/>
                    <a:gd name="T27" fmla="*/ 164 h 674"/>
                    <a:gd name="T28" fmla="*/ 170 w 864"/>
                    <a:gd name="T29" fmla="*/ 120 h 674"/>
                    <a:gd name="T30" fmla="*/ 218 w 864"/>
                    <a:gd name="T31" fmla="*/ 112 h 674"/>
                    <a:gd name="T32" fmla="*/ 242 w 864"/>
                    <a:gd name="T33" fmla="*/ 168 h 674"/>
                    <a:gd name="T34" fmla="*/ 312 w 864"/>
                    <a:gd name="T35" fmla="*/ 198 h 674"/>
                    <a:gd name="T36" fmla="*/ 386 w 864"/>
                    <a:gd name="T37" fmla="*/ 220 h 674"/>
                    <a:gd name="T38" fmla="*/ 476 w 864"/>
                    <a:gd name="T39" fmla="*/ 228 h 674"/>
                    <a:gd name="T40" fmla="*/ 542 w 864"/>
                    <a:gd name="T41" fmla="*/ 198 h 674"/>
                    <a:gd name="T42" fmla="*/ 600 w 864"/>
                    <a:gd name="T43" fmla="*/ 164 h 674"/>
                    <a:gd name="T44" fmla="*/ 656 w 864"/>
                    <a:gd name="T45" fmla="*/ 138 h 674"/>
                    <a:gd name="T46" fmla="*/ 600 w 864"/>
                    <a:gd name="T47" fmla="*/ 108 h 674"/>
                    <a:gd name="T48" fmla="*/ 648 w 864"/>
                    <a:gd name="T49" fmla="*/ 64 h 674"/>
                    <a:gd name="T50" fmla="*/ 676 w 864"/>
                    <a:gd name="T51" fmla="*/ 4 h 674"/>
                    <a:gd name="T52" fmla="*/ 744 w 864"/>
                    <a:gd name="T53" fmla="*/ 18 h 674"/>
                    <a:gd name="T54" fmla="*/ 762 w 864"/>
                    <a:gd name="T55" fmla="*/ 78 h 674"/>
                    <a:gd name="T56" fmla="*/ 814 w 864"/>
                    <a:gd name="T57" fmla="*/ 120 h 674"/>
                    <a:gd name="T58" fmla="*/ 856 w 864"/>
                    <a:gd name="T59" fmla="*/ 138 h 674"/>
                    <a:gd name="T60" fmla="*/ 814 w 864"/>
                    <a:gd name="T61" fmla="*/ 180 h 674"/>
                    <a:gd name="T62" fmla="*/ 796 w 864"/>
                    <a:gd name="T63" fmla="*/ 220 h 674"/>
                    <a:gd name="T64" fmla="*/ 748 w 864"/>
                    <a:gd name="T65" fmla="*/ 242 h 674"/>
                    <a:gd name="T66" fmla="*/ 696 w 864"/>
                    <a:gd name="T67" fmla="*/ 284 h 674"/>
                    <a:gd name="T68" fmla="*/ 688 w 864"/>
                    <a:gd name="T69" fmla="*/ 268 h 674"/>
                    <a:gd name="T70" fmla="*/ 628 w 864"/>
                    <a:gd name="T71" fmla="*/ 286 h 674"/>
                    <a:gd name="T72" fmla="*/ 662 w 864"/>
                    <a:gd name="T73" fmla="*/ 320 h 674"/>
                    <a:gd name="T74" fmla="*/ 666 w 864"/>
                    <a:gd name="T75" fmla="*/ 340 h 674"/>
                    <a:gd name="T76" fmla="*/ 662 w 864"/>
                    <a:gd name="T77" fmla="*/ 384 h 674"/>
                    <a:gd name="T78" fmla="*/ 662 w 864"/>
                    <a:gd name="T79" fmla="*/ 424 h 674"/>
                    <a:gd name="T80" fmla="*/ 676 w 864"/>
                    <a:gd name="T81" fmla="*/ 448 h 674"/>
                    <a:gd name="T82" fmla="*/ 680 w 864"/>
                    <a:gd name="T83" fmla="*/ 470 h 674"/>
                    <a:gd name="T84" fmla="*/ 670 w 864"/>
                    <a:gd name="T85" fmla="*/ 496 h 674"/>
                    <a:gd name="T86" fmla="*/ 658 w 864"/>
                    <a:gd name="T87" fmla="*/ 522 h 674"/>
                    <a:gd name="T88" fmla="*/ 648 w 864"/>
                    <a:gd name="T89" fmla="*/ 540 h 674"/>
                    <a:gd name="T90" fmla="*/ 626 w 864"/>
                    <a:gd name="T91" fmla="*/ 564 h 674"/>
                    <a:gd name="T92" fmla="*/ 588 w 864"/>
                    <a:gd name="T93" fmla="*/ 592 h 674"/>
                    <a:gd name="T94" fmla="*/ 562 w 864"/>
                    <a:gd name="T95" fmla="*/ 592 h 674"/>
                    <a:gd name="T96" fmla="*/ 536 w 864"/>
                    <a:gd name="T97" fmla="*/ 616 h 674"/>
                    <a:gd name="T98" fmla="*/ 514 w 864"/>
                    <a:gd name="T99" fmla="*/ 620 h 674"/>
                    <a:gd name="T100" fmla="*/ 486 w 864"/>
                    <a:gd name="T101" fmla="*/ 616 h 674"/>
                    <a:gd name="T102" fmla="*/ 430 w 864"/>
                    <a:gd name="T103" fmla="*/ 592 h 674"/>
                    <a:gd name="T104" fmla="*/ 402 w 864"/>
                    <a:gd name="T105" fmla="*/ 620 h 674"/>
                    <a:gd name="T106" fmla="*/ 364 w 864"/>
                    <a:gd name="T107" fmla="*/ 586 h 674"/>
                    <a:gd name="T108" fmla="*/ 670 w 864"/>
                    <a:gd name="T109" fmla="*/ 556 h 674"/>
                    <a:gd name="T110" fmla="*/ 670 w 864"/>
                    <a:gd name="T111" fmla="*/ 600 h 674"/>
                    <a:gd name="T112" fmla="*/ 498 w 864"/>
                    <a:gd name="T113" fmla="*/ 662 h 674"/>
                    <a:gd name="T114" fmla="*/ 524 w 864"/>
                    <a:gd name="T115" fmla="*/ 656 h 674"/>
                    <a:gd name="T116" fmla="*/ 684 w 864"/>
                    <a:gd name="T117" fmla="*/ 458 h 674"/>
                    <a:gd name="T118" fmla="*/ 520 w 864"/>
                    <a:gd name="T119" fmla="*/ 622 h 674"/>
                    <a:gd name="T120" fmla="*/ 566 w 864"/>
                    <a:gd name="T121" fmla="*/ 590 h 674"/>
                    <a:gd name="T122" fmla="*/ 628 w 864"/>
                    <a:gd name="T123" fmla="*/ 564 h 674"/>
                    <a:gd name="T124" fmla="*/ 576 w 864"/>
                    <a:gd name="T125" fmla="*/ 604 h 6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864" h="674">
                      <a:moveTo>
                        <a:pt x="342" y="574"/>
                      </a:moveTo>
                      <a:lnTo>
                        <a:pt x="342" y="570"/>
                      </a:lnTo>
                      <a:lnTo>
                        <a:pt x="338" y="570"/>
                      </a:lnTo>
                      <a:lnTo>
                        <a:pt x="342" y="570"/>
                      </a:lnTo>
                      <a:lnTo>
                        <a:pt x="342" y="566"/>
                      </a:lnTo>
                      <a:lnTo>
                        <a:pt x="342" y="564"/>
                      </a:lnTo>
                      <a:lnTo>
                        <a:pt x="338" y="564"/>
                      </a:lnTo>
                      <a:lnTo>
                        <a:pt x="338" y="560"/>
                      </a:lnTo>
                      <a:lnTo>
                        <a:pt x="338" y="556"/>
                      </a:lnTo>
                      <a:lnTo>
                        <a:pt x="342" y="556"/>
                      </a:lnTo>
                      <a:lnTo>
                        <a:pt x="342" y="552"/>
                      </a:lnTo>
                      <a:lnTo>
                        <a:pt x="342" y="548"/>
                      </a:lnTo>
                      <a:lnTo>
                        <a:pt x="346" y="548"/>
                      </a:lnTo>
                      <a:lnTo>
                        <a:pt x="346" y="544"/>
                      </a:lnTo>
                      <a:lnTo>
                        <a:pt x="348" y="540"/>
                      </a:lnTo>
                      <a:lnTo>
                        <a:pt x="352" y="540"/>
                      </a:lnTo>
                      <a:lnTo>
                        <a:pt x="352" y="536"/>
                      </a:lnTo>
                      <a:lnTo>
                        <a:pt x="356" y="536"/>
                      </a:lnTo>
                      <a:lnTo>
                        <a:pt x="352" y="536"/>
                      </a:lnTo>
                      <a:lnTo>
                        <a:pt x="352" y="534"/>
                      </a:lnTo>
                      <a:lnTo>
                        <a:pt x="356" y="534"/>
                      </a:lnTo>
                      <a:lnTo>
                        <a:pt x="356" y="530"/>
                      </a:lnTo>
                      <a:lnTo>
                        <a:pt x="356" y="526"/>
                      </a:lnTo>
                      <a:lnTo>
                        <a:pt x="356" y="522"/>
                      </a:lnTo>
                      <a:lnTo>
                        <a:pt x="356" y="518"/>
                      </a:lnTo>
                      <a:lnTo>
                        <a:pt x="356" y="514"/>
                      </a:lnTo>
                      <a:lnTo>
                        <a:pt x="356" y="510"/>
                      </a:lnTo>
                      <a:lnTo>
                        <a:pt x="356" y="508"/>
                      </a:lnTo>
                      <a:lnTo>
                        <a:pt x="352" y="508"/>
                      </a:lnTo>
                      <a:lnTo>
                        <a:pt x="352" y="504"/>
                      </a:lnTo>
                      <a:lnTo>
                        <a:pt x="352" y="508"/>
                      </a:lnTo>
                      <a:lnTo>
                        <a:pt x="348" y="508"/>
                      </a:lnTo>
                      <a:lnTo>
                        <a:pt x="348" y="504"/>
                      </a:lnTo>
                      <a:lnTo>
                        <a:pt x="348" y="500"/>
                      </a:lnTo>
                      <a:lnTo>
                        <a:pt x="346" y="500"/>
                      </a:lnTo>
                      <a:lnTo>
                        <a:pt x="346" y="496"/>
                      </a:lnTo>
                      <a:lnTo>
                        <a:pt x="346" y="492"/>
                      </a:lnTo>
                      <a:lnTo>
                        <a:pt x="342" y="492"/>
                      </a:lnTo>
                      <a:lnTo>
                        <a:pt x="342" y="488"/>
                      </a:lnTo>
                      <a:lnTo>
                        <a:pt x="338" y="488"/>
                      </a:lnTo>
                      <a:lnTo>
                        <a:pt x="338" y="492"/>
                      </a:lnTo>
                      <a:lnTo>
                        <a:pt x="334" y="492"/>
                      </a:lnTo>
                      <a:lnTo>
                        <a:pt x="334" y="496"/>
                      </a:lnTo>
                      <a:lnTo>
                        <a:pt x="334" y="492"/>
                      </a:lnTo>
                      <a:lnTo>
                        <a:pt x="330" y="492"/>
                      </a:lnTo>
                      <a:lnTo>
                        <a:pt x="328" y="492"/>
                      </a:lnTo>
                      <a:lnTo>
                        <a:pt x="328" y="488"/>
                      </a:lnTo>
                      <a:lnTo>
                        <a:pt x="324" y="492"/>
                      </a:lnTo>
                      <a:lnTo>
                        <a:pt x="324" y="488"/>
                      </a:lnTo>
                      <a:lnTo>
                        <a:pt x="328" y="484"/>
                      </a:lnTo>
                      <a:lnTo>
                        <a:pt x="324" y="480"/>
                      </a:lnTo>
                      <a:lnTo>
                        <a:pt x="324" y="478"/>
                      </a:lnTo>
                      <a:lnTo>
                        <a:pt x="324" y="480"/>
                      </a:lnTo>
                      <a:lnTo>
                        <a:pt x="320" y="480"/>
                      </a:lnTo>
                      <a:lnTo>
                        <a:pt x="320" y="478"/>
                      </a:lnTo>
                      <a:lnTo>
                        <a:pt x="324" y="478"/>
                      </a:lnTo>
                      <a:lnTo>
                        <a:pt x="324" y="474"/>
                      </a:lnTo>
                      <a:lnTo>
                        <a:pt x="320" y="478"/>
                      </a:lnTo>
                      <a:lnTo>
                        <a:pt x="320" y="474"/>
                      </a:lnTo>
                      <a:lnTo>
                        <a:pt x="320" y="470"/>
                      </a:lnTo>
                      <a:lnTo>
                        <a:pt x="316" y="474"/>
                      </a:lnTo>
                      <a:lnTo>
                        <a:pt x="312" y="474"/>
                      </a:lnTo>
                      <a:lnTo>
                        <a:pt x="312" y="478"/>
                      </a:lnTo>
                      <a:lnTo>
                        <a:pt x="308" y="478"/>
                      </a:lnTo>
                      <a:lnTo>
                        <a:pt x="308" y="480"/>
                      </a:lnTo>
                      <a:lnTo>
                        <a:pt x="304" y="478"/>
                      </a:lnTo>
                      <a:lnTo>
                        <a:pt x="302" y="478"/>
                      </a:lnTo>
                      <a:lnTo>
                        <a:pt x="302" y="474"/>
                      </a:lnTo>
                      <a:lnTo>
                        <a:pt x="298" y="474"/>
                      </a:lnTo>
                      <a:lnTo>
                        <a:pt x="298" y="478"/>
                      </a:lnTo>
                      <a:lnTo>
                        <a:pt x="294" y="478"/>
                      </a:lnTo>
                      <a:lnTo>
                        <a:pt x="290" y="480"/>
                      </a:lnTo>
                      <a:lnTo>
                        <a:pt x="290" y="484"/>
                      </a:lnTo>
                      <a:lnTo>
                        <a:pt x="286" y="484"/>
                      </a:lnTo>
                      <a:lnTo>
                        <a:pt x="282" y="484"/>
                      </a:lnTo>
                      <a:lnTo>
                        <a:pt x="278" y="488"/>
                      </a:lnTo>
                      <a:lnTo>
                        <a:pt x="278" y="492"/>
                      </a:lnTo>
                      <a:lnTo>
                        <a:pt x="274" y="492"/>
                      </a:lnTo>
                      <a:lnTo>
                        <a:pt x="272" y="496"/>
                      </a:lnTo>
                      <a:lnTo>
                        <a:pt x="272" y="500"/>
                      </a:lnTo>
                      <a:lnTo>
                        <a:pt x="268" y="500"/>
                      </a:lnTo>
                      <a:lnTo>
                        <a:pt x="264" y="504"/>
                      </a:lnTo>
                      <a:lnTo>
                        <a:pt x="264" y="500"/>
                      </a:lnTo>
                      <a:lnTo>
                        <a:pt x="264" y="504"/>
                      </a:lnTo>
                      <a:lnTo>
                        <a:pt x="260" y="504"/>
                      </a:lnTo>
                      <a:lnTo>
                        <a:pt x="256" y="504"/>
                      </a:lnTo>
                      <a:lnTo>
                        <a:pt x="256" y="500"/>
                      </a:lnTo>
                      <a:lnTo>
                        <a:pt x="252" y="500"/>
                      </a:lnTo>
                      <a:lnTo>
                        <a:pt x="252" y="496"/>
                      </a:lnTo>
                      <a:lnTo>
                        <a:pt x="248" y="496"/>
                      </a:lnTo>
                      <a:lnTo>
                        <a:pt x="248" y="500"/>
                      </a:lnTo>
                      <a:lnTo>
                        <a:pt x="246" y="500"/>
                      </a:lnTo>
                      <a:lnTo>
                        <a:pt x="246" y="496"/>
                      </a:lnTo>
                      <a:lnTo>
                        <a:pt x="242" y="496"/>
                      </a:lnTo>
                      <a:lnTo>
                        <a:pt x="238" y="496"/>
                      </a:lnTo>
                      <a:lnTo>
                        <a:pt x="238" y="492"/>
                      </a:lnTo>
                      <a:lnTo>
                        <a:pt x="234" y="492"/>
                      </a:lnTo>
                      <a:lnTo>
                        <a:pt x="230" y="492"/>
                      </a:lnTo>
                      <a:lnTo>
                        <a:pt x="230" y="496"/>
                      </a:lnTo>
                      <a:lnTo>
                        <a:pt x="226" y="496"/>
                      </a:lnTo>
                      <a:lnTo>
                        <a:pt x="222" y="500"/>
                      </a:lnTo>
                      <a:lnTo>
                        <a:pt x="222" y="504"/>
                      </a:lnTo>
                      <a:lnTo>
                        <a:pt x="218" y="504"/>
                      </a:lnTo>
                      <a:lnTo>
                        <a:pt x="218" y="508"/>
                      </a:lnTo>
                      <a:lnTo>
                        <a:pt x="218" y="510"/>
                      </a:lnTo>
                      <a:lnTo>
                        <a:pt x="216" y="510"/>
                      </a:lnTo>
                      <a:lnTo>
                        <a:pt x="216" y="508"/>
                      </a:lnTo>
                      <a:lnTo>
                        <a:pt x="216" y="504"/>
                      </a:lnTo>
                      <a:lnTo>
                        <a:pt x="216" y="500"/>
                      </a:lnTo>
                      <a:lnTo>
                        <a:pt x="216" y="496"/>
                      </a:lnTo>
                      <a:lnTo>
                        <a:pt x="212" y="496"/>
                      </a:lnTo>
                      <a:lnTo>
                        <a:pt x="208" y="500"/>
                      </a:lnTo>
                      <a:lnTo>
                        <a:pt x="204" y="500"/>
                      </a:lnTo>
                      <a:lnTo>
                        <a:pt x="200" y="500"/>
                      </a:lnTo>
                      <a:lnTo>
                        <a:pt x="200" y="504"/>
                      </a:lnTo>
                      <a:lnTo>
                        <a:pt x="200" y="500"/>
                      </a:lnTo>
                      <a:lnTo>
                        <a:pt x="200" y="504"/>
                      </a:lnTo>
                      <a:lnTo>
                        <a:pt x="196" y="504"/>
                      </a:lnTo>
                      <a:lnTo>
                        <a:pt x="196" y="500"/>
                      </a:lnTo>
                      <a:lnTo>
                        <a:pt x="192" y="500"/>
                      </a:lnTo>
                      <a:lnTo>
                        <a:pt x="192" y="504"/>
                      </a:lnTo>
                      <a:lnTo>
                        <a:pt x="192" y="500"/>
                      </a:lnTo>
                      <a:lnTo>
                        <a:pt x="188" y="500"/>
                      </a:lnTo>
                      <a:lnTo>
                        <a:pt x="186" y="496"/>
                      </a:lnTo>
                      <a:lnTo>
                        <a:pt x="182" y="500"/>
                      </a:lnTo>
                      <a:lnTo>
                        <a:pt x="178" y="500"/>
                      </a:lnTo>
                      <a:lnTo>
                        <a:pt x="178" y="496"/>
                      </a:lnTo>
                      <a:lnTo>
                        <a:pt x="178" y="500"/>
                      </a:lnTo>
                      <a:lnTo>
                        <a:pt x="174" y="500"/>
                      </a:lnTo>
                      <a:lnTo>
                        <a:pt x="174" y="496"/>
                      </a:lnTo>
                      <a:lnTo>
                        <a:pt x="170" y="492"/>
                      </a:lnTo>
                      <a:lnTo>
                        <a:pt x="166" y="492"/>
                      </a:lnTo>
                      <a:lnTo>
                        <a:pt x="162" y="492"/>
                      </a:lnTo>
                      <a:lnTo>
                        <a:pt x="162" y="488"/>
                      </a:lnTo>
                      <a:lnTo>
                        <a:pt x="162" y="484"/>
                      </a:lnTo>
                      <a:lnTo>
                        <a:pt x="162" y="488"/>
                      </a:lnTo>
                      <a:lnTo>
                        <a:pt x="160" y="488"/>
                      </a:lnTo>
                      <a:lnTo>
                        <a:pt x="156" y="488"/>
                      </a:lnTo>
                      <a:lnTo>
                        <a:pt x="156" y="484"/>
                      </a:lnTo>
                      <a:lnTo>
                        <a:pt x="152" y="484"/>
                      </a:lnTo>
                      <a:lnTo>
                        <a:pt x="152" y="480"/>
                      </a:lnTo>
                      <a:lnTo>
                        <a:pt x="152" y="478"/>
                      </a:lnTo>
                      <a:lnTo>
                        <a:pt x="148" y="478"/>
                      </a:lnTo>
                      <a:lnTo>
                        <a:pt x="148" y="474"/>
                      </a:lnTo>
                      <a:lnTo>
                        <a:pt x="144" y="474"/>
                      </a:lnTo>
                      <a:lnTo>
                        <a:pt x="144" y="478"/>
                      </a:lnTo>
                      <a:lnTo>
                        <a:pt x="140" y="478"/>
                      </a:lnTo>
                      <a:lnTo>
                        <a:pt x="140" y="474"/>
                      </a:lnTo>
                      <a:lnTo>
                        <a:pt x="136" y="474"/>
                      </a:lnTo>
                      <a:lnTo>
                        <a:pt x="136" y="470"/>
                      </a:lnTo>
                      <a:lnTo>
                        <a:pt x="132" y="470"/>
                      </a:lnTo>
                      <a:lnTo>
                        <a:pt x="132" y="466"/>
                      </a:lnTo>
                      <a:lnTo>
                        <a:pt x="130" y="466"/>
                      </a:lnTo>
                      <a:lnTo>
                        <a:pt x="126" y="462"/>
                      </a:lnTo>
                      <a:lnTo>
                        <a:pt x="122" y="458"/>
                      </a:lnTo>
                      <a:lnTo>
                        <a:pt x="122" y="462"/>
                      </a:lnTo>
                      <a:lnTo>
                        <a:pt x="122" y="458"/>
                      </a:lnTo>
                      <a:lnTo>
                        <a:pt x="122" y="454"/>
                      </a:lnTo>
                      <a:lnTo>
                        <a:pt x="118" y="454"/>
                      </a:lnTo>
                      <a:lnTo>
                        <a:pt x="114" y="454"/>
                      </a:lnTo>
                      <a:lnTo>
                        <a:pt x="110" y="454"/>
                      </a:lnTo>
                      <a:lnTo>
                        <a:pt x="110" y="458"/>
                      </a:lnTo>
                      <a:lnTo>
                        <a:pt x="106" y="462"/>
                      </a:lnTo>
                      <a:lnTo>
                        <a:pt x="106" y="458"/>
                      </a:lnTo>
                      <a:lnTo>
                        <a:pt x="104" y="458"/>
                      </a:lnTo>
                      <a:lnTo>
                        <a:pt x="106" y="458"/>
                      </a:lnTo>
                      <a:lnTo>
                        <a:pt x="104" y="458"/>
                      </a:lnTo>
                      <a:lnTo>
                        <a:pt x="104" y="454"/>
                      </a:lnTo>
                      <a:lnTo>
                        <a:pt x="100" y="454"/>
                      </a:lnTo>
                      <a:lnTo>
                        <a:pt x="96" y="452"/>
                      </a:lnTo>
                      <a:lnTo>
                        <a:pt x="92" y="452"/>
                      </a:lnTo>
                      <a:lnTo>
                        <a:pt x="96" y="448"/>
                      </a:lnTo>
                      <a:lnTo>
                        <a:pt x="92" y="448"/>
                      </a:lnTo>
                      <a:lnTo>
                        <a:pt x="88" y="444"/>
                      </a:lnTo>
                      <a:lnTo>
                        <a:pt x="84" y="444"/>
                      </a:lnTo>
                      <a:lnTo>
                        <a:pt x="80" y="444"/>
                      </a:lnTo>
                      <a:lnTo>
                        <a:pt x="80" y="440"/>
                      </a:lnTo>
                      <a:lnTo>
                        <a:pt x="80" y="436"/>
                      </a:lnTo>
                      <a:lnTo>
                        <a:pt x="76" y="436"/>
                      </a:lnTo>
                      <a:lnTo>
                        <a:pt x="74" y="436"/>
                      </a:lnTo>
                      <a:lnTo>
                        <a:pt x="74" y="440"/>
                      </a:lnTo>
                      <a:lnTo>
                        <a:pt x="74" y="436"/>
                      </a:lnTo>
                      <a:lnTo>
                        <a:pt x="74" y="432"/>
                      </a:lnTo>
                      <a:lnTo>
                        <a:pt x="74" y="428"/>
                      </a:lnTo>
                      <a:lnTo>
                        <a:pt x="74" y="424"/>
                      </a:lnTo>
                      <a:lnTo>
                        <a:pt x="70" y="424"/>
                      </a:lnTo>
                      <a:lnTo>
                        <a:pt x="70" y="422"/>
                      </a:lnTo>
                      <a:lnTo>
                        <a:pt x="70" y="418"/>
                      </a:lnTo>
                      <a:lnTo>
                        <a:pt x="70" y="414"/>
                      </a:lnTo>
                      <a:lnTo>
                        <a:pt x="74" y="414"/>
                      </a:lnTo>
                      <a:lnTo>
                        <a:pt x="74" y="418"/>
                      </a:lnTo>
                      <a:lnTo>
                        <a:pt x="76" y="418"/>
                      </a:lnTo>
                      <a:lnTo>
                        <a:pt x="80" y="414"/>
                      </a:lnTo>
                      <a:lnTo>
                        <a:pt x="80" y="418"/>
                      </a:lnTo>
                      <a:lnTo>
                        <a:pt x="84" y="414"/>
                      </a:lnTo>
                      <a:lnTo>
                        <a:pt x="84" y="410"/>
                      </a:lnTo>
                      <a:lnTo>
                        <a:pt x="80" y="410"/>
                      </a:lnTo>
                      <a:lnTo>
                        <a:pt x="80" y="406"/>
                      </a:lnTo>
                      <a:lnTo>
                        <a:pt x="80" y="402"/>
                      </a:lnTo>
                      <a:lnTo>
                        <a:pt x="76" y="402"/>
                      </a:lnTo>
                      <a:lnTo>
                        <a:pt x="76" y="398"/>
                      </a:lnTo>
                      <a:lnTo>
                        <a:pt x="74" y="398"/>
                      </a:lnTo>
                      <a:lnTo>
                        <a:pt x="74" y="396"/>
                      </a:lnTo>
                      <a:lnTo>
                        <a:pt x="74" y="392"/>
                      </a:lnTo>
                      <a:lnTo>
                        <a:pt x="74" y="388"/>
                      </a:lnTo>
                      <a:lnTo>
                        <a:pt x="74" y="384"/>
                      </a:lnTo>
                      <a:lnTo>
                        <a:pt x="76" y="384"/>
                      </a:lnTo>
                      <a:lnTo>
                        <a:pt x="76" y="380"/>
                      </a:lnTo>
                      <a:lnTo>
                        <a:pt x="74" y="376"/>
                      </a:lnTo>
                      <a:lnTo>
                        <a:pt x="70" y="376"/>
                      </a:lnTo>
                      <a:lnTo>
                        <a:pt x="66" y="376"/>
                      </a:lnTo>
                      <a:lnTo>
                        <a:pt x="66" y="372"/>
                      </a:lnTo>
                      <a:lnTo>
                        <a:pt x="66" y="368"/>
                      </a:lnTo>
                      <a:lnTo>
                        <a:pt x="62" y="366"/>
                      </a:lnTo>
                      <a:lnTo>
                        <a:pt x="58" y="368"/>
                      </a:lnTo>
                      <a:lnTo>
                        <a:pt x="60" y="368"/>
                      </a:lnTo>
                      <a:lnTo>
                        <a:pt x="58" y="368"/>
                      </a:lnTo>
                      <a:lnTo>
                        <a:pt x="56" y="366"/>
                      </a:lnTo>
                      <a:lnTo>
                        <a:pt x="58" y="366"/>
                      </a:lnTo>
                      <a:lnTo>
                        <a:pt x="52" y="364"/>
                      </a:lnTo>
                      <a:lnTo>
                        <a:pt x="52" y="362"/>
                      </a:lnTo>
                      <a:lnTo>
                        <a:pt x="50" y="358"/>
                      </a:lnTo>
                      <a:lnTo>
                        <a:pt x="48" y="358"/>
                      </a:lnTo>
                      <a:lnTo>
                        <a:pt x="44" y="358"/>
                      </a:lnTo>
                      <a:lnTo>
                        <a:pt x="44" y="354"/>
                      </a:lnTo>
                      <a:lnTo>
                        <a:pt x="42" y="354"/>
                      </a:lnTo>
                      <a:lnTo>
                        <a:pt x="40" y="354"/>
                      </a:lnTo>
                      <a:lnTo>
                        <a:pt x="36" y="354"/>
                      </a:lnTo>
                      <a:lnTo>
                        <a:pt x="36" y="350"/>
                      </a:lnTo>
                      <a:lnTo>
                        <a:pt x="32" y="350"/>
                      </a:lnTo>
                      <a:lnTo>
                        <a:pt x="32" y="346"/>
                      </a:lnTo>
                      <a:lnTo>
                        <a:pt x="36" y="346"/>
                      </a:lnTo>
                      <a:lnTo>
                        <a:pt x="32" y="342"/>
                      </a:lnTo>
                      <a:lnTo>
                        <a:pt x="32" y="342"/>
                      </a:lnTo>
                      <a:lnTo>
                        <a:pt x="30" y="340"/>
                      </a:lnTo>
                      <a:lnTo>
                        <a:pt x="26" y="338"/>
                      </a:lnTo>
                      <a:lnTo>
                        <a:pt x="24" y="336"/>
                      </a:lnTo>
                      <a:lnTo>
                        <a:pt x="24" y="336"/>
                      </a:lnTo>
                      <a:lnTo>
                        <a:pt x="20" y="332"/>
                      </a:lnTo>
                      <a:lnTo>
                        <a:pt x="18" y="332"/>
                      </a:lnTo>
                      <a:lnTo>
                        <a:pt x="14" y="332"/>
                      </a:lnTo>
                      <a:lnTo>
                        <a:pt x="10" y="328"/>
                      </a:lnTo>
                      <a:lnTo>
                        <a:pt x="14" y="328"/>
                      </a:lnTo>
                      <a:lnTo>
                        <a:pt x="18" y="324"/>
                      </a:lnTo>
                      <a:lnTo>
                        <a:pt x="18" y="328"/>
                      </a:lnTo>
                      <a:lnTo>
                        <a:pt x="20" y="324"/>
                      </a:lnTo>
                      <a:lnTo>
                        <a:pt x="20" y="320"/>
                      </a:lnTo>
                      <a:lnTo>
                        <a:pt x="18" y="320"/>
                      </a:lnTo>
                      <a:lnTo>
                        <a:pt x="18" y="316"/>
                      </a:lnTo>
                      <a:lnTo>
                        <a:pt x="20" y="316"/>
                      </a:lnTo>
                      <a:lnTo>
                        <a:pt x="18" y="316"/>
                      </a:lnTo>
                      <a:lnTo>
                        <a:pt x="18" y="312"/>
                      </a:lnTo>
                      <a:lnTo>
                        <a:pt x="18" y="310"/>
                      </a:lnTo>
                      <a:lnTo>
                        <a:pt x="18" y="306"/>
                      </a:lnTo>
                      <a:lnTo>
                        <a:pt x="18" y="302"/>
                      </a:lnTo>
                      <a:lnTo>
                        <a:pt x="14" y="302"/>
                      </a:lnTo>
                      <a:lnTo>
                        <a:pt x="10" y="298"/>
                      </a:lnTo>
                      <a:lnTo>
                        <a:pt x="6" y="298"/>
                      </a:lnTo>
                      <a:lnTo>
                        <a:pt x="6" y="302"/>
                      </a:lnTo>
                      <a:lnTo>
                        <a:pt x="4" y="302"/>
                      </a:lnTo>
                      <a:lnTo>
                        <a:pt x="4" y="298"/>
                      </a:lnTo>
                      <a:lnTo>
                        <a:pt x="4" y="294"/>
                      </a:lnTo>
                      <a:lnTo>
                        <a:pt x="4" y="290"/>
                      </a:lnTo>
                      <a:lnTo>
                        <a:pt x="0" y="286"/>
                      </a:lnTo>
                      <a:lnTo>
                        <a:pt x="4" y="286"/>
                      </a:lnTo>
                      <a:lnTo>
                        <a:pt x="4" y="284"/>
                      </a:lnTo>
                      <a:lnTo>
                        <a:pt x="6" y="284"/>
                      </a:lnTo>
                      <a:lnTo>
                        <a:pt x="6" y="280"/>
                      </a:lnTo>
                      <a:lnTo>
                        <a:pt x="4" y="280"/>
                      </a:lnTo>
                      <a:lnTo>
                        <a:pt x="4" y="276"/>
                      </a:lnTo>
                      <a:lnTo>
                        <a:pt x="6" y="272"/>
                      </a:lnTo>
                      <a:lnTo>
                        <a:pt x="10" y="272"/>
                      </a:lnTo>
                      <a:lnTo>
                        <a:pt x="14" y="272"/>
                      </a:lnTo>
                      <a:lnTo>
                        <a:pt x="14" y="268"/>
                      </a:lnTo>
                      <a:lnTo>
                        <a:pt x="18" y="268"/>
                      </a:lnTo>
                      <a:lnTo>
                        <a:pt x="18" y="264"/>
                      </a:lnTo>
                      <a:lnTo>
                        <a:pt x="20" y="264"/>
                      </a:lnTo>
                      <a:lnTo>
                        <a:pt x="24" y="264"/>
                      </a:lnTo>
                      <a:lnTo>
                        <a:pt x="24" y="260"/>
                      </a:lnTo>
                      <a:lnTo>
                        <a:pt x="28" y="260"/>
                      </a:lnTo>
                      <a:lnTo>
                        <a:pt x="28" y="264"/>
                      </a:lnTo>
                      <a:lnTo>
                        <a:pt x="28" y="268"/>
                      </a:lnTo>
                      <a:lnTo>
                        <a:pt x="32" y="268"/>
                      </a:lnTo>
                      <a:lnTo>
                        <a:pt x="36" y="264"/>
                      </a:lnTo>
                      <a:lnTo>
                        <a:pt x="40" y="264"/>
                      </a:lnTo>
                      <a:lnTo>
                        <a:pt x="40" y="268"/>
                      </a:lnTo>
                      <a:lnTo>
                        <a:pt x="40" y="264"/>
                      </a:lnTo>
                      <a:lnTo>
                        <a:pt x="44" y="264"/>
                      </a:lnTo>
                      <a:lnTo>
                        <a:pt x="44" y="260"/>
                      </a:lnTo>
                      <a:lnTo>
                        <a:pt x="44" y="254"/>
                      </a:lnTo>
                      <a:lnTo>
                        <a:pt x="48" y="254"/>
                      </a:lnTo>
                      <a:lnTo>
                        <a:pt x="50" y="254"/>
                      </a:lnTo>
                      <a:lnTo>
                        <a:pt x="54" y="254"/>
                      </a:lnTo>
                      <a:lnTo>
                        <a:pt x="58" y="254"/>
                      </a:lnTo>
                      <a:lnTo>
                        <a:pt x="62" y="254"/>
                      </a:lnTo>
                      <a:lnTo>
                        <a:pt x="66" y="254"/>
                      </a:lnTo>
                      <a:lnTo>
                        <a:pt x="66" y="250"/>
                      </a:lnTo>
                      <a:lnTo>
                        <a:pt x="66" y="246"/>
                      </a:lnTo>
                      <a:lnTo>
                        <a:pt x="70" y="246"/>
                      </a:lnTo>
                      <a:lnTo>
                        <a:pt x="74" y="242"/>
                      </a:lnTo>
                      <a:lnTo>
                        <a:pt x="76" y="242"/>
                      </a:lnTo>
                      <a:lnTo>
                        <a:pt x="76" y="238"/>
                      </a:lnTo>
                      <a:lnTo>
                        <a:pt x="80" y="238"/>
                      </a:lnTo>
                      <a:lnTo>
                        <a:pt x="84" y="238"/>
                      </a:lnTo>
                      <a:lnTo>
                        <a:pt x="88" y="238"/>
                      </a:lnTo>
                      <a:lnTo>
                        <a:pt x="88" y="234"/>
                      </a:lnTo>
                      <a:lnTo>
                        <a:pt x="92" y="234"/>
                      </a:lnTo>
                      <a:lnTo>
                        <a:pt x="96" y="234"/>
                      </a:lnTo>
                      <a:lnTo>
                        <a:pt x="96" y="230"/>
                      </a:lnTo>
                      <a:lnTo>
                        <a:pt x="92" y="230"/>
                      </a:lnTo>
                      <a:lnTo>
                        <a:pt x="96" y="230"/>
                      </a:lnTo>
                      <a:lnTo>
                        <a:pt x="96" y="228"/>
                      </a:lnTo>
                      <a:lnTo>
                        <a:pt x="92" y="228"/>
                      </a:lnTo>
                      <a:lnTo>
                        <a:pt x="92" y="224"/>
                      </a:lnTo>
                      <a:lnTo>
                        <a:pt x="96" y="220"/>
                      </a:lnTo>
                      <a:lnTo>
                        <a:pt x="100" y="216"/>
                      </a:lnTo>
                      <a:lnTo>
                        <a:pt x="96" y="216"/>
                      </a:lnTo>
                      <a:lnTo>
                        <a:pt x="100" y="214"/>
                      </a:lnTo>
                      <a:lnTo>
                        <a:pt x="104" y="214"/>
                      </a:lnTo>
                      <a:lnTo>
                        <a:pt x="104" y="210"/>
                      </a:lnTo>
                      <a:lnTo>
                        <a:pt x="100" y="206"/>
                      </a:lnTo>
                      <a:lnTo>
                        <a:pt x="100" y="202"/>
                      </a:lnTo>
                      <a:lnTo>
                        <a:pt x="100" y="198"/>
                      </a:lnTo>
                      <a:lnTo>
                        <a:pt x="96" y="198"/>
                      </a:lnTo>
                      <a:lnTo>
                        <a:pt x="96" y="194"/>
                      </a:lnTo>
                      <a:lnTo>
                        <a:pt x="96" y="190"/>
                      </a:lnTo>
                      <a:lnTo>
                        <a:pt x="96" y="186"/>
                      </a:lnTo>
                      <a:lnTo>
                        <a:pt x="96" y="184"/>
                      </a:lnTo>
                      <a:lnTo>
                        <a:pt x="100" y="184"/>
                      </a:lnTo>
                      <a:lnTo>
                        <a:pt x="100" y="180"/>
                      </a:lnTo>
                      <a:lnTo>
                        <a:pt x="96" y="180"/>
                      </a:lnTo>
                      <a:lnTo>
                        <a:pt x="92" y="180"/>
                      </a:lnTo>
                      <a:lnTo>
                        <a:pt x="88" y="180"/>
                      </a:lnTo>
                      <a:lnTo>
                        <a:pt x="92" y="176"/>
                      </a:lnTo>
                      <a:lnTo>
                        <a:pt x="96" y="176"/>
                      </a:lnTo>
                      <a:lnTo>
                        <a:pt x="100" y="172"/>
                      </a:lnTo>
                      <a:lnTo>
                        <a:pt x="104" y="172"/>
                      </a:lnTo>
                      <a:lnTo>
                        <a:pt x="106" y="172"/>
                      </a:lnTo>
                      <a:lnTo>
                        <a:pt x="110" y="172"/>
                      </a:lnTo>
                      <a:lnTo>
                        <a:pt x="110" y="168"/>
                      </a:lnTo>
                      <a:lnTo>
                        <a:pt x="114" y="168"/>
                      </a:lnTo>
                      <a:lnTo>
                        <a:pt x="114" y="172"/>
                      </a:lnTo>
                      <a:lnTo>
                        <a:pt x="118" y="172"/>
                      </a:lnTo>
                      <a:lnTo>
                        <a:pt x="122" y="172"/>
                      </a:lnTo>
                      <a:lnTo>
                        <a:pt x="126" y="172"/>
                      </a:lnTo>
                      <a:lnTo>
                        <a:pt x="130" y="172"/>
                      </a:lnTo>
                      <a:lnTo>
                        <a:pt x="130" y="168"/>
                      </a:lnTo>
                      <a:lnTo>
                        <a:pt x="126" y="168"/>
                      </a:lnTo>
                      <a:lnTo>
                        <a:pt x="126" y="164"/>
                      </a:lnTo>
                      <a:lnTo>
                        <a:pt x="122" y="164"/>
                      </a:lnTo>
                      <a:lnTo>
                        <a:pt x="126" y="160"/>
                      </a:lnTo>
                      <a:lnTo>
                        <a:pt x="126" y="158"/>
                      </a:lnTo>
                      <a:lnTo>
                        <a:pt x="126" y="154"/>
                      </a:lnTo>
                      <a:lnTo>
                        <a:pt x="126" y="150"/>
                      </a:lnTo>
                      <a:lnTo>
                        <a:pt x="130" y="150"/>
                      </a:lnTo>
                      <a:lnTo>
                        <a:pt x="130" y="146"/>
                      </a:lnTo>
                      <a:lnTo>
                        <a:pt x="130" y="142"/>
                      </a:lnTo>
                      <a:lnTo>
                        <a:pt x="132" y="138"/>
                      </a:lnTo>
                      <a:lnTo>
                        <a:pt x="132" y="134"/>
                      </a:lnTo>
                      <a:lnTo>
                        <a:pt x="132" y="130"/>
                      </a:lnTo>
                      <a:lnTo>
                        <a:pt x="136" y="130"/>
                      </a:lnTo>
                      <a:lnTo>
                        <a:pt x="140" y="134"/>
                      </a:lnTo>
                      <a:lnTo>
                        <a:pt x="144" y="134"/>
                      </a:lnTo>
                      <a:lnTo>
                        <a:pt x="148" y="134"/>
                      </a:lnTo>
                      <a:lnTo>
                        <a:pt x="152" y="134"/>
                      </a:lnTo>
                      <a:lnTo>
                        <a:pt x="156" y="134"/>
                      </a:lnTo>
                      <a:lnTo>
                        <a:pt x="160" y="138"/>
                      </a:lnTo>
                      <a:lnTo>
                        <a:pt x="162" y="138"/>
                      </a:lnTo>
                      <a:lnTo>
                        <a:pt x="162" y="134"/>
                      </a:lnTo>
                      <a:lnTo>
                        <a:pt x="166" y="134"/>
                      </a:lnTo>
                      <a:lnTo>
                        <a:pt x="170" y="134"/>
                      </a:lnTo>
                      <a:lnTo>
                        <a:pt x="170" y="130"/>
                      </a:lnTo>
                      <a:lnTo>
                        <a:pt x="170" y="128"/>
                      </a:lnTo>
                      <a:lnTo>
                        <a:pt x="170" y="124"/>
                      </a:lnTo>
                      <a:lnTo>
                        <a:pt x="170" y="120"/>
                      </a:lnTo>
                      <a:lnTo>
                        <a:pt x="170" y="116"/>
                      </a:lnTo>
                      <a:lnTo>
                        <a:pt x="170" y="112"/>
                      </a:lnTo>
                      <a:lnTo>
                        <a:pt x="170" y="108"/>
                      </a:lnTo>
                      <a:lnTo>
                        <a:pt x="174" y="108"/>
                      </a:lnTo>
                      <a:lnTo>
                        <a:pt x="174" y="104"/>
                      </a:lnTo>
                      <a:lnTo>
                        <a:pt x="178" y="104"/>
                      </a:lnTo>
                      <a:lnTo>
                        <a:pt x="182" y="104"/>
                      </a:lnTo>
                      <a:lnTo>
                        <a:pt x="186" y="104"/>
                      </a:lnTo>
                      <a:lnTo>
                        <a:pt x="186" y="102"/>
                      </a:lnTo>
                      <a:lnTo>
                        <a:pt x="186" y="98"/>
                      </a:lnTo>
                      <a:lnTo>
                        <a:pt x="186" y="94"/>
                      </a:lnTo>
                      <a:lnTo>
                        <a:pt x="188" y="94"/>
                      </a:lnTo>
                      <a:lnTo>
                        <a:pt x="192" y="94"/>
                      </a:lnTo>
                      <a:lnTo>
                        <a:pt x="196" y="94"/>
                      </a:lnTo>
                      <a:lnTo>
                        <a:pt x="200" y="90"/>
                      </a:lnTo>
                      <a:lnTo>
                        <a:pt x="200" y="94"/>
                      </a:lnTo>
                      <a:lnTo>
                        <a:pt x="204" y="94"/>
                      </a:lnTo>
                      <a:lnTo>
                        <a:pt x="200" y="98"/>
                      </a:lnTo>
                      <a:lnTo>
                        <a:pt x="204" y="102"/>
                      </a:lnTo>
                      <a:lnTo>
                        <a:pt x="204" y="104"/>
                      </a:lnTo>
                      <a:lnTo>
                        <a:pt x="208" y="104"/>
                      </a:lnTo>
                      <a:lnTo>
                        <a:pt x="212" y="108"/>
                      </a:lnTo>
                      <a:lnTo>
                        <a:pt x="212" y="112"/>
                      </a:lnTo>
                      <a:lnTo>
                        <a:pt x="216" y="112"/>
                      </a:lnTo>
                      <a:lnTo>
                        <a:pt x="218" y="112"/>
                      </a:lnTo>
                      <a:lnTo>
                        <a:pt x="218" y="116"/>
                      </a:lnTo>
                      <a:lnTo>
                        <a:pt x="222" y="116"/>
                      </a:lnTo>
                      <a:lnTo>
                        <a:pt x="226" y="116"/>
                      </a:lnTo>
                      <a:lnTo>
                        <a:pt x="230" y="120"/>
                      </a:lnTo>
                      <a:lnTo>
                        <a:pt x="230" y="116"/>
                      </a:lnTo>
                      <a:lnTo>
                        <a:pt x="234" y="116"/>
                      </a:lnTo>
                      <a:lnTo>
                        <a:pt x="234" y="120"/>
                      </a:lnTo>
                      <a:lnTo>
                        <a:pt x="238" y="120"/>
                      </a:lnTo>
                      <a:lnTo>
                        <a:pt x="238" y="124"/>
                      </a:lnTo>
                      <a:lnTo>
                        <a:pt x="238" y="128"/>
                      </a:lnTo>
                      <a:lnTo>
                        <a:pt x="238" y="130"/>
                      </a:lnTo>
                      <a:lnTo>
                        <a:pt x="242" y="130"/>
                      </a:lnTo>
                      <a:lnTo>
                        <a:pt x="242" y="134"/>
                      </a:lnTo>
                      <a:lnTo>
                        <a:pt x="246" y="134"/>
                      </a:lnTo>
                      <a:lnTo>
                        <a:pt x="246" y="138"/>
                      </a:lnTo>
                      <a:lnTo>
                        <a:pt x="246" y="142"/>
                      </a:lnTo>
                      <a:lnTo>
                        <a:pt x="248" y="142"/>
                      </a:lnTo>
                      <a:lnTo>
                        <a:pt x="246" y="142"/>
                      </a:lnTo>
                      <a:lnTo>
                        <a:pt x="248" y="146"/>
                      </a:lnTo>
                      <a:lnTo>
                        <a:pt x="246" y="150"/>
                      </a:lnTo>
                      <a:lnTo>
                        <a:pt x="246" y="154"/>
                      </a:lnTo>
                      <a:lnTo>
                        <a:pt x="246" y="158"/>
                      </a:lnTo>
                      <a:lnTo>
                        <a:pt x="242" y="160"/>
                      </a:lnTo>
                      <a:lnTo>
                        <a:pt x="242" y="164"/>
                      </a:lnTo>
                      <a:lnTo>
                        <a:pt x="242" y="168"/>
                      </a:lnTo>
                      <a:lnTo>
                        <a:pt x="246" y="168"/>
                      </a:lnTo>
                      <a:lnTo>
                        <a:pt x="246" y="172"/>
                      </a:lnTo>
                      <a:lnTo>
                        <a:pt x="248" y="172"/>
                      </a:lnTo>
                      <a:lnTo>
                        <a:pt x="252" y="172"/>
                      </a:lnTo>
                      <a:lnTo>
                        <a:pt x="252" y="176"/>
                      </a:lnTo>
                      <a:lnTo>
                        <a:pt x="260" y="176"/>
                      </a:lnTo>
                      <a:lnTo>
                        <a:pt x="264" y="176"/>
                      </a:lnTo>
                      <a:lnTo>
                        <a:pt x="268" y="176"/>
                      </a:lnTo>
                      <a:lnTo>
                        <a:pt x="272" y="176"/>
                      </a:lnTo>
                      <a:lnTo>
                        <a:pt x="274" y="176"/>
                      </a:lnTo>
                      <a:lnTo>
                        <a:pt x="278" y="176"/>
                      </a:lnTo>
                      <a:lnTo>
                        <a:pt x="282" y="176"/>
                      </a:lnTo>
                      <a:lnTo>
                        <a:pt x="282" y="180"/>
                      </a:lnTo>
                      <a:lnTo>
                        <a:pt x="286" y="180"/>
                      </a:lnTo>
                      <a:lnTo>
                        <a:pt x="290" y="180"/>
                      </a:lnTo>
                      <a:lnTo>
                        <a:pt x="290" y="184"/>
                      </a:lnTo>
                      <a:lnTo>
                        <a:pt x="294" y="184"/>
                      </a:lnTo>
                      <a:lnTo>
                        <a:pt x="294" y="186"/>
                      </a:lnTo>
                      <a:lnTo>
                        <a:pt x="298" y="186"/>
                      </a:lnTo>
                      <a:lnTo>
                        <a:pt x="298" y="190"/>
                      </a:lnTo>
                      <a:lnTo>
                        <a:pt x="304" y="190"/>
                      </a:lnTo>
                      <a:lnTo>
                        <a:pt x="308" y="190"/>
                      </a:lnTo>
                      <a:lnTo>
                        <a:pt x="308" y="194"/>
                      </a:lnTo>
                      <a:lnTo>
                        <a:pt x="312" y="194"/>
                      </a:lnTo>
                      <a:lnTo>
                        <a:pt x="312" y="198"/>
                      </a:lnTo>
                      <a:lnTo>
                        <a:pt x="312" y="202"/>
                      </a:lnTo>
                      <a:lnTo>
                        <a:pt x="312" y="206"/>
                      </a:lnTo>
                      <a:lnTo>
                        <a:pt x="316" y="206"/>
                      </a:lnTo>
                      <a:lnTo>
                        <a:pt x="316" y="210"/>
                      </a:lnTo>
                      <a:lnTo>
                        <a:pt x="316" y="214"/>
                      </a:lnTo>
                      <a:lnTo>
                        <a:pt x="320" y="214"/>
                      </a:lnTo>
                      <a:lnTo>
                        <a:pt x="324" y="216"/>
                      </a:lnTo>
                      <a:lnTo>
                        <a:pt x="324" y="220"/>
                      </a:lnTo>
                      <a:lnTo>
                        <a:pt x="328" y="220"/>
                      </a:lnTo>
                      <a:lnTo>
                        <a:pt x="330" y="220"/>
                      </a:lnTo>
                      <a:lnTo>
                        <a:pt x="334" y="220"/>
                      </a:lnTo>
                      <a:lnTo>
                        <a:pt x="338" y="220"/>
                      </a:lnTo>
                      <a:lnTo>
                        <a:pt x="342" y="220"/>
                      </a:lnTo>
                      <a:lnTo>
                        <a:pt x="346" y="220"/>
                      </a:lnTo>
                      <a:lnTo>
                        <a:pt x="348" y="224"/>
                      </a:lnTo>
                      <a:lnTo>
                        <a:pt x="352" y="224"/>
                      </a:lnTo>
                      <a:lnTo>
                        <a:pt x="356" y="224"/>
                      </a:lnTo>
                      <a:lnTo>
                        <a:pt x="360" y="224"/>
                      </a:lnTo>
                      <a:lnTo>
                        <a:pt x="364" y="224"/>
                      </a:lnTo>
                      <a:lnTo>
                        <a:pt x="368" y="224"/>
                      </a:lnTo>
                      <a:lnTo>
                        <a:pt x="372" y="224"/>
                      </a:lnTo>
                      <a:lnTo>
                        <a:pt x="374" y="224"/>
                      </a:lnTo>
                      <a:lnTo>
                        <a:pt x="378" y="220"/>
                      </a:lnTo>
                      <a:lnTo>
                        <a:pt x="382" y="220"/>
                      </a:lnTo>
                      <a:lnTo>
                        <a:pt x="386" y="220"/>
                      </a:lnTo>
                      <a:lnTo>
                        <a:pt x="386" y="224"/>
                      </a:lnTo>
                      <a:lnTo>
                        <a:pt x="390" y="224"/>
                      </a:lnTo>
                      <a:lnTo>
                        <a:pt x="394" y="224"/>
                      </a:lnTo>
                      <a:lnTo>
                        <a:pt x="398" y="224"/>
                      </a:lnTo>
                      <a:lnTo>
                        <a:pt x="402" y="228"/>
                      </a:lnTo>
                      <a:lnTo>
                        <a:pt x="402" y="230"/>
                      </a:lnTo>
                      <a:lnTo>
                        <a:pt x="408" y="230"/>
                      </a:lnTo>
                      <a:lnTo>
                        <a:pt x="412" y="230"/>
                      </a:lnTo>
                      <a:lnTo>
                        <a:pt x="416" y="234"/>
                      </a:lnTo>
                      <a:lnTo>
                        <a:pt x="420" y="234"/>
                      </a:lnTo>
                      <a:lnTo>
                        <a:pt x="420" y="238"/>
                      </a:lnTo>
                      <a:lnTo>
                        <a:pt x="428" y="238"/>
                      </a:lnTo>
                      <a:lnTo>
                        <a:pt x="430" y="238"/>
                      </a:lnTo>
                      <a:lnTo>
                        <a:pt x="438" y="238"/>
                      </a:lnTo>
                      <a:lnTo>
                        <a:pt x="438" y="242"/>
                      </a:lnTo>
                      <a:lnTo>
                        <a:pt x="442" y="242"/>
                      </a:lnTo>
                      <a:lnTo>
                        <a:pt x="446" y="238"/>
                      </a:lnTo>
                      <a:lnTo>
                        <a:pt x="450" y="238"/>
                      </a:lnTo>
                      <a:lnTo>
                        <a:pt x="454" y="238"/>
                      </a:lnTo>
                      <a:lnTo>
                        <a:pt x="458" y="234"/>
                      </a:lnTo>
                      <a:lnTo>
                        <a:pt x="460" y="234"/>
                      </a:lnTo>
                      <a:lnTo>
                        <a:pt x="464" y="230"/>
                      </a:lnTo>
                      <a:lnTo>
                        <a:pt x="468" y="228"/>
                      </a:lnTo>
                      <a:lnTo>
                        <a:pt x="472" y="228"/>
                      </a:lnTo>
                      <a:lnTo>
                        <a:pt x="476" y="228"/>
                      </a:lnTo>
                      <a:lnTo>
                        <a:pt x="480" y="228"/>
                      </a:lnTo>
                      <a:lnTo>
                        <a:pt x="484" y="228"/>
                      </a:lnTo>
                      <a:lnTo>
                        <a:pt x="490" y="228"/>
                      </a:lnTo>
                      <a:lnTo>
                        <a:pt x="494" y="228"/>
                      </a:lnTo>
                      <a:lnTo>
                        <a:pt x="498" y="228"/>
                      </a:lnTo>
                      <a:lnTo>
                        <a:pt x="502" y="228"/>
                      </a:lnTo>
                      <a:lnTo>
                        <a:pt x="506" y="228"/>
                      </a:lnTo>
                      <a:lnTo>
                        <a:pt x="510" y="228"/>
                      </a:lnTo>
                      <a:lnTo>
                        <a:pt x="510" y="224"/>
                      </a:lnTo>
                      <a:lnTo>
                        <a:pt x="514" y="224"/>
                      </a:lnTo>
                      <a:lnTo>
                        <a:pt x="516" y="224"/>
                      </a:lnTo>
                      <a:lnTo>
                        <a:pt x="516" y="220"/>
                      </a:lnTo>
                      <a:lnTo>
                        <a:pt x="520" y="220"/>
                      </a:lnTo>
                      <a:lnTo>
                        <a:pt x="520" y="216"/>
                      </a:lnTo>
                      <a:lnTo>
                        <a:pt x="524" y="216"/>
                      </a:lnTo>
                      <a:lnTo>
                        <a:pt x="524" y="214"/>
                      </a:lnTo>
                      <a:lnTo>
                        <a:pt x="528" y="214"/>
                      </a:lnTo>
                      <a:lnTo>
                        <a:pt x="528" y="210"/>
                      </a:lnTo>
                      <a:lnTo>
                        <a:pt x="532" y="210"/>
                      </a:lnTo>
                      <a:lnTo>
                        <a:pt x="532" y="206"/>
                      </a:lnTo>
                      <a:lnTo>
                        <a:pt x="536" y="206"/>
                      </a:lnTo>
                      <a:lnTo>
                        <a:pt x="540" y="206"/>
                      </a:lnTo>
                      <a:lnTo>
                        <a:pt x="540" y="202"/>
                      </a:lnTo>
                      <a:lnTo>
                        <a:pt x="542" y="202"/>
                      </a:lnTo>
                      <a:lnTo>
                        <a:pt x="542" y="198"/>
                      </a:lnTo>
                      <a:lnTo>
                        <a:pt x="540" y="194"/>
                      </a:lnTo>
                      <a:lnTo>
                        <a:pt x="536" y="190"/>
                      </a:lnTo>
                      <a:lnTo>
                        <a:pt x="536" y="186"/>
                      </a:lnTo>
                      <a:lnTo>
                        <a:pt x="536" y="184"/>
                      </a:lnTo>
                      <a:lnTo>
                        <a:pt x="540" y="180"/>
                      </a:lnTo>
                      <a:lnTo>
                        <a:pt x="540" y="176"/>
                      </a:lnTo>
                      <a:lnTo>
                        <a:pt x="542" y="176"/>
                      </a:lnTo>
                      <a:lnTo>
                        <a:pt x="546" y="176"/>
                      </a:lnTo>
                      <a:lnTo>
                        <a:pt x="550" y="176"/>
                      </a:lnTo>
                      <a:lnTo>
                        <a:pt x="554" y="180"/>
                      </a:lnTo>
                      <a:lnTo>
                        <a:pt x="558" y="180"/>
                      </a:lnTo>
                      <a:lnTo>
                        <a:pt x="562" y="180"/>
                      </a:lnTo>
                      <a:lnTo>
                        <a:pt x="566" y="180"/>
                      </a:lnTo>
                      <a:lnTo>
                        <a:pt x="570" y="180"/>
                      </a:lnTo>
                      <a:lnTo>
                        <a:pt x="570" y="176"/>
                      </a:lnTo>
                      <a:lnTo>
                        <a:pt x="572" y="176"/>
                      </a:lnTo>
                      <a:lnTo>
                        <a:pt x="576" y="176"/>
                      </a:lnTo>
                      <a:lnTo>
                        <a:pt x="576" y="172"/>
                      </a:lnTo>
                      <a:lnTo>
                        <a:pt x="580" y="168"/>
                      </a:lnTo>
                      <a:lnTo>
                        <a:pt x="584" y="168"/>
                      </a:lnTo>
                      <a:lnTo>
                        <a:pt x="588" y="168"/>
                      </a:lnTo>
                      <a:lnTo>
                        <a:pt x="592" y="168"/>
                      </a:lnTo>
                      <a:lnTo>
                        <a:pt x="596" y="168"/>
                      </a:lnTo>
                      <a:lnTo>
                        <a:pt x="596" y="164"/>
                      </a:lnTo>
                      <a:lnTo>
                        <a:pt x="600" y="164"/>
                      </a:lnTo>
                      <a:lnTo>
                        <a:pt x="600" y="160"/>
                      </a:lnTo>
                      <a:lnTo>
                        <a:pt x="602" y="160"/>
                      </a:lnTo>
                      <a:lnTo>
                        <a:pt x="602" y="158"/>
                      </a:lnTo>
                      <a:lnTo>
                        <a:pt x="606" y="154"/>
                      </a:lnTo>
                      <a:lnTo>
                        <a:pt x="606" y="150"/>
                      </a:lnTo>
                      <a:lnTo>
                        <a:pt x="610" y="150"/>
                      </a:lnTo>
                      <a:lnTo>
                        <a:pt x="614" y="150"/>
                      </a:lnTo>
                      <a:lnTo>
                        <a:pt x="618" y="150"/>
                      </a:lnTo>
                      <a:lnTo>
                        <a:pt x="618" y="146"/>
                      </a:lnTo>
                      <a:lnTo>
                        <a:pt x="622" y="146"/>
                      </a:lnTo>
                      <a:lnTo>
                        <a:pt x="622" y="142"/>
                      </a:lnTo>
                      <a:lnTo>
                        <a:pt x="622" y="146"/>
                      </a:lnTo>
                      <a:lnTo>
                        <a:pt x="626" y="146"/>
                      </a:lnTo>
                      <a:lnTo>
                        <a:pt x="626" y="142"/>
                      </a:lnTo>
                      <a:lnTo>
                        <a:pt x="628" y="142"/>
                      </a:lnTo>
                      <a:lnTo>
                        <a:pt x="632" y="142"/>
                      </a:lnTo>
                      <a:lnTo>
                        <a:pt x="636" y="142"/>
                      </a:lnTo>
                      <a:lnTo>
                        <a:pt x="640" y="142"/>
                      </a:lnTo>
                      <a:lnTo>
                        <a:pt x="640" y="138"/>
                      </a:lnTo>
                      <a:lnTo>
                        <a:pt x="640" y="142"/>
                      </a:lnTo>
                      <a:lnTo>
                        <a:pt x="644" y="142"/>
                      </a:lnTo>
                      <a:lnTo>
                        <a:pt x="648" y="142"/>
                      </a:lnTo>
                      <a:lnTo>
                        <a:pt x="652" y="142"/>
                      </a:lnTo>
                      <a:lnTo>
                        <a:pt x="656" y="142"/>
                      </a:lnTo>
                      <a:lnTo>
                        <a:pt x="656" y="138"/>
                      </a:lnTo>
                      <a:lnTo>
                        <a:pt x="656" y="134"/>
                      </a:lnTo>
                      <a:lnTo>
                        <a:pt x="652" y="130"/>
                      </a:lnTo>
                      <a:lnTo>
                        <a:pt x="648" y="130"/>
                      </a:lnTo>
                      <a:lnTo>
                        <a:pt x="648" y="128"/>
                      </a:lnTo>
                      <a:lnTo>
                        <a:pt x="648" y="124"/>
                      </a:lnTo>
                      <a:lnTo>
                        <a:pt x="644" y="124"/>
                      </a:lnTo>
                      <a:lnTo>
                        <a:pt x="640" y="120"/>
                      </a:lnTo>
                      <a:lnTo>
                        <a:pt x="636" y="116"/>
                      </a:lnTo>
                      <a:lnTo>
                        <a:pt x="632" y="116"/>
                      </a:lnTo>
                      <a:lnTo>
                        <a:pt x="628" y="116"/>
                      </a:lnTo>
                      <a:lnTo>
                        <a:pt x="626" y="116"/>
                      </a:lnTo>
                      <a:lnTo>
                        <a:pt x="622" y="116"/>
                      </a:lnTo>
                      <a:lnTo>
                        <a:pt x="622" y="120"/>
                      </a:lnTo>
                      <a:lnTo>
                        <a:pt x="618" y="124"/>
                      </a:lnTo>
                      <a:lnTo>
                        <a:pt x="614" y="120"/>
                      </a:lnTo>
                      <a:lnTo>
                        <a:pt x="614" y="116"/>
                      </a:lnTo>
                      <a:lnTo>
                        <a:pt x="610" y="116"/>
                      </a:lnTo>
                      <a:lnTo>
                        <a:pt x="606" y="120"/>
                      </a:lnTo>
                      <a:lnTo>
                        <a:pt x="602" y="116"/>
                      </a:lnTo>
                      <a:lnTo>
                        <a:pt x="602" y="120"/>
                      </a:lnTo>
                      <a:lnTo>
                        <a:pt x="600" y="120"/>
                      </a:lnTo>
                      <a:lnTo>
                        <a:pt x="596" y="116"/>
                      </a:lnTo>
                      <a:lnTo>
                        <a:pt x="592" y="112"/>
                      </a:lnTo>
                      <a:lnTo>
                        <a:pt x="596" y="112"/>
                      </a:lnTo>
                      <a:lnTo>
                        <a:pt x="600" y="108"/>
                      </a:lnTo>
                      <a:lnTo>
                        <a:pt x="596" y="104"/>
                      </a:lnTo>
                      <a:lnTo>
                        <a:pt x="600" y="102"/>
                      </a:lnTo>
                      <a:lnTo>
                        <a:pt x="602" y="98"/>
                      </a:lnTo>
                      <a:lnTo>
                        <a:pt x="600" y="98"/>
                      </a:lnTo>
                      <a:lnTo>
                        <a:pt x="602" y="94"/>
                      </a:lnTo>
                      <a:lnTo>
                        <a:pt x="602" y="90"/>
                      </a:lnTo>
                      <a:lnTo>
                        <a:pt x="606" y="90"/>
                      </a:lnTo>
                      <a:lnTo>
                        <a:pt x="606" y="86"/>
                      </a:lnTo>
                      <a:lnTo>
                        <a:pt x="606" y="82"/>
                      </a:lnTo>
                      <a:lnTo>
                        <a:pt x="610" y="78"/>
                      </a:lnTo>
                      <a:lnTo>
                        <a:pt x="614" y="78"/>
                      </a:lnTo>
                      <a:lnTo>
                        <a:pt x="618" y="82"/>
                      </a:lnTo>
                      <a:lnTo>
                        <a:pt x="622" y="82"/>
                      </a:lnTo>
                      <a:lnTo>
                        <a:pt x="626" y="82"/>
                      </a:lnTo>
                      <a:lnTo>
                        <a:pt x="628" y="82"/>
                      </a:lnTo>
                      <a:lnTo>
                        <a:pt x="632" y="78"/>
                      </a:lnTo>
                      <a:lnTo>
                        <a:pt x="636" y="78"/>
                      </a:lnTo>
                      <a:lnTo>
                        <a:pt x="636" y="74"/>
                      </a:lnTo>
                      <a:lnTo>
                        <a:pt x="640" y="74"/>
                      </a:lnTo>
                      <a:lnTo>
                        <a:pt x="644" y="74"/>
                      </a:lnTo>
                      <a:lnTo>
                        <a:pt x="648" y="72"/>
                      </a:lnTo>
                      <a:lnTo>
                        <a:pt x="648" y="68"/>
                      </a:lnTo>
                      <a:lnTo>
                        <a:pt x="644" y="68"/>
                      </a:lnTo>
                      <a:lnTo>
                        <a:pt x="644" y="64"/>
                      </a:lnTo>
                      <a:lnTo>
                        <a:pt x="648" y="64"/>
                      </a:lnTo>
                      <a:lnTo>
                        <a:pt x="648" y="60"/>
                      </a:lnTo>
                      <a:lnTo>
                        <a:pt x="652" y="60"/>
                      </a:lnTo>
                      <a:lnTo>
                        <a:pt x="652" y="56"/>
                      </a:lnTo>
                      <a:lnTo>
                        <a:pt x="652" y="52"/>
                      </a:lnTo>
                      <a:lnTo>
                        <a:pt x="656" y="48"/>
                      </a:lnTo>
                      <a:lnTo>
                        <a:pt x="656" y="46"/>
                      </a:lnTo>
                      <a:lnTo>
                        <a:pt x="656" y="42"/>
                      </a:lnTo>
                      <a:lnTo>
                        <a:pt x="658" y="42"/>
                      </a:lnTo>
                      <a:lnTo>
                        <a:pt x="658" y="38"/>
                      </a:lnTo>
                      <a:lnTo>
                        <a:pt x="662" y="38"/>
                      </a:lnTo>
                      <a:lnTo>
                        <a:pt x="662" y="34"/>
                      </a:lnTo>
                      <a:lnTo>
                        <a:pt x="666" y="34"/>
                      </a:lnTo>
                      <a:lnTo>
                        <a:pt x="666" y="30"/>
                      </a:lnTo>
                      <a:lnTo>
                        <a:pt x="666" y="26"/>
                      </a:lnTo>
                      <a:lnTo>
                        <a:pt x="666" y="22"/>
                      </a:lnTo>
                      <a:lnTo>
                        <a:pt x="666" y="18"/>
                      </a:lnTo>
                      <a:lnTo>
                        <a:pt x="662" y="18"/>
                      </a:lnTo>
                      <a:lnTo>
                        <a:pt x="658" y="18"/>
                      </a:lnTo>
                      <a:lnTo>
                        <a:pt x="656" y="18"/>
                      </a:lnTo>
                      <a:lnTo>
                        <a:pt x="658" y="16"/>
                      </a:lnTo>
                      <a:lnTo>
                        <a:pt x="662" y="12"/>
                      </a:lnTo>
                      <a:lnTo>
                        <a:pt x="666" y="8"/>
                      </a:lnTo>
                      <a:lnTo>
                        <a:pt x="670" y="4"/>
                      </a:lnTo>
                      <a:lnTo>
                        <a:pt x="674" y="4"/>
                      </a:lnTo>
                      <a:lnTo>
                        <a:pt x="676" y="4"/>
                      </a:lnTo>
                      <a:lnTo>
                        <a:pt x="680" y="4"/>
                      </a:lnTo>
                      <a:lnTo>
                        <a:pt x="680" y="0"/>
                      </a:lnTo>
                      <a:lnTo>
                        <a:pt x="684" y="0"/>
                      </a:lnTo>
                      <a:lnTo>
                        <a:pt x="688" y="0"/>
                      </a:lnTo>
                      <a:lnTo>
                        <a:pt x="692" y="0"/>
                      </a:lnTo>
                      <a:lnTo>
                        <a:pt x="696" y="0"/>
                      </a:lnTo>
                      <a:lnTo>
                        <a:pt x="698" y="0"/>
                      </a:lnTo>
                      <a:lnTo>
                        <a:pt x="702" y="0"/>
                      </a:lnTo>
                      <a:lnTo>
                        <a:pt x="706" y="0"/>
                      </a:lnTo>
                      <a:lnTo>
                        <a:pt x="710" y="0"/>
                      </a:lnTo>
                      <a:lnTo>
                        <a:pt x="714" y="0"/>
                      </a:lnTo>
                      <a:lnTo>
                        <a:pt x="714" y="4"/>
                      </a:lnTo>
                      <a:lnTo>
                        <a:pt x="718" y="4"/>
                      </a:lnTo>
                      <a:lnTo>
                        <a:pt x="718" y="8"/>
                      </a:lnTo>
                      <a:lnTo>
                        <a:pt x="722" y="8"/>
                      </a:lnTo>
                      <a:lnTo>
                        <a:pt x="726" y="8"/>
                      </a:lnTo>
                      <a:lnTo>
                        <a:pt x="728" y="8"/>
                      </a:lnTo>
                      <a:lnTo>
                        <a:pt x="732" y="8"/>
                      </a:lnTo>
                      <a:lnTo>
                        <a:pt x="736" y="8"/>
                      </a:lnTo>
                      <a:lnTo>
                        <a:pt x="736" y="12"/>
                      </a:lnTo>
                      <a:lnTo>
                        <a:pt x="740" y="16"/>
                      </a:lnTo>
                      <a:lnTo>
                        <a:pt x="744" y="16"/>
                      </a:lnTo>
                      <a:lnTo>
                        <a:pt x="740" y="16"/>
                      </a:lnTo>
                      <a:lnTo>
                        <a:pt x="740" y="18"/>
                      </a:lnTo>
                      <a:lnTo>
                        <a:pt x="744" y="18"/>
                      </a:lnTo>
                      <a:lnTo>
                        <a:pt x="744" y="22"/>
                      </a:lnTo>
                      <a:lnTo>
                        <a:pt x="744" y="26"/>
                      </a:lnTo>
                      <a:lnTo>
                        <a:pt x="748" y="26"/>
                      </a:lnTo>
                      <a:lnTo>
                        <a:pt x="748" y="30"/>
                      </a:lnTo>
                      <a:lnTo>
                        <a:pt x="748" y="34"/>
                      </a:lnTo>
                      <a:lnTo>
                        <a:pt x="748" y="38"/>
                      </a:lnTo>
                      <a:lnTo>
                        <a:pt x="752" y="38"/>
                      </a:lnTo>
                      <a:lnTo>
                        <a:pt x="752" y="42"/>
                      </a:lnTo>
                      <a:lnTo>
                        <a:pt x="752" y="46"/>
                      </a:lnTo>
                      <a:lnTo>
                        <a:pt x="756" y="46"/>
                      </a:lnTo>
                      <a:lnTo>
                        <a:pt x="752" y="46"/>
                      </a:lnTo>
                      <a:lnTo>
                        <a:pt x="752" y="48"/>
                      </a:lnTo>
                      <a:lnTo>
                        <a:pt x="756" y="48"/>
                      </a:lnTo>
                      <a:lnTo>
                        <a:pt x="756" y="46"/>
                      </a:lnTo>
                      <a:lnTo>
                        <a:pt x="756" y="48"/>
                      </a:lnTo>
                      <a:lnTo>
                        <a:pt x="756" y="52"/>
                      </a:lnTo>
                      <a:lnTo>
                        <a:pt x="756" y="56"/>
                      </a:lnTo>
                      <a:lnTo>
                        <a:pt x="758" y="56"/>
                      </a:lnTo>
                      <a:lnTo>
                        <a:pt x="758" y="60"/>
                      </a:lnTo>
                      <a:lnTo>
                        <a:pt x="758" y="64"/>
                      </a:lnTo>
                      <a:lnTo>
                        <a:pt x="758" y="68"/>
                      </a:lnTo>
                      <a:lnTo>
                        <a:pt x="762" y="68"/>
                      </a:lnTo>
                      <a:lnTo>
                        <a:pt x="762" y="72"/>
                      </a:lnTo>
                      <a:lnTo>
                        <a:pt x="762" y="74"/>
                      </a:lnTo>
                      <a:lnTo>
                        <a:pt x="762" y="78"/>
                      </a:lnTo>
                      <a:lnTo>
                        <a:pt x="766" y="78"/>
                      </a:lnTo>
                      <a:lnTo>
                        <a:pt x="766" y="82"/>
                      </a:lnTo>
                      <a:lnTo>
                        <a:pt x="770" y="82"/>
                      </a:lnTo>
                      <a:lnTo>
                        <a:pt x="774" y="82"/>
                      </a:lnTo>
                      <a:lnTo>
                        <a:pt x="778" y="82"/>
                      </a:lnTo>
                      <a:lnTo>
                        <a:pt x="782" y="82"/>
                      </a:lnTo>
                      <a:lnTo>
                        <a:pt x="782" y="86"/>
                      </a:lnTo>
                      <a:lnTo>
                        <a:pt x="784" y="86"/>
                      </a:lnTo>
                      <a:lnTo>
                        <a:pt x="788" y="86"/>
                      </a:lnTo>
                      <a:lnTo>
                        <a:pt x="792" y="86"/>
                      </a:lnTo>
                      <a:lnTo>
                        <a:pt x="792" y="90"/>
                      </a:lnTo>
                      <a:lnTo>
                        <a:pt x="796" y="94"/>
                      </a:lnTo>
                      <a:lnTo>
                        <a:pt x="800" y="98"/>
                      </a:lnTo>
                      <a:lnTo>
                        <a:pt x="804" y="98"/>
                      </a:lnTo>
                      <a:lnTo>
                        <a:pt x="808" y="98"/>
                      </a:lnTo>
                      <a:lnTo>
                        <a:pt x="808" y="102"/>
                      </a:lnTo>
                      <a:lnTo>
                        <a:pt x="804" y="102"/>
                      </a:lnTo>
                      <a:lnTo>
                        <a:pt x="808" y="104"/>
                      </a:lnTo>
                      <a:lnTo>
                        <a:pt x="808" y="108"/>
                      </a:lnTo>
                      <a:lnTo>
                        <a:pt x="808" y="112"/>
                      </a:lnTo>
                      <a:lnTo>
                        <a:pt x="808" y="116"/>
                      </a:lnTo>
                      <a:lnTo>
                        <a:pt x="812" y="116"/>
                      </a:lnTo>
                      <a:lnTo>
                        <a:pt x="812" y="120"/>
                      </a:lnTo>
                      <a:lnTo>
                        <a:pt x="812" y="124"/>
                      </a:lnTo>
                      <a:lnTo>
                        <a:pt x="814" y="120"/>
                      </a:lnTo>
                      <a:lnTo>
                        <a:pt x="818" y="120"/>
                      </a:lnTo>
                      <a:lnTo>
                        <a:pt x="818" y="124"/>
                      </a:lnTo>
                      <a:lnTo>
                        <a:pt x="822" y="124"/>
                      </a:lnTo>
                      <a:lnTo>
                        <a:pt x="826" y="124"/>
                      </a:lnTo>
                      <a:lnTo>
                        <a:pt x="826" y="120"/>
                      </a:lnTo>
                      <a:lnTo>
                        <a:pt x="830" y="120"/>
                      </a:lnTo>
                      <a:lnTo>
                        <a:pt x="834" y="120"/>
                      </a:lnTo>
                      <a:lnTo>
                        <a:pt x="834" y="116"/>
                      </a:lnTo>
                      <a:lnTo>
                        <a:pt x="838" y="116"/>
                      </a:lnTo>
                      <a:lnTo>
                        <a:pt x="840" y="112"/>
                      </a:lnTo>
                      <a:lnTo>
                        <a:pt x="844" y="112"/>
                      </a:lnTo>
                      <a:lnTo>
                        <a:pt x="848" y="112"/>
                      </a:lnTo>
                      <a:lnTo>
                        <a:pt x="852" y="108"/>
                      </a:lnTo>
                      <a:lnTo>
                        <a:pt x="856" y="108"/>
                      </a:lnTo>
                      <a:lnTo>
                        <a:pt x="860" y="108"/>
                      </a:lnTo>
                      <a:lnTo>
                        <a:pt x="864" y="108"/>
                      </a:lnTo>
                      <a:lnTo>
                        <a:pt x="864" y="112"/>
                      </a:lnTo>
                      <a:lnTo>
                        <a:pt x="864" y="116"/>
                      </a:lnTo>
                      <a:lnTo>
                        <a:pt x="864" y="120"/>
                      </a:lnTo>
                      <a:lnTo>
                        <a:pt x="864" y="128"/>
                      </a:lnTo>
                      <a:lnTo>
                        <a:pt x="860" y="128"/>
                      </a:lnTo>
                      <a:lnTo>
                        <a:pt x="856" y="128"/>
                      </a:lnTo>
                      <a:lnTo>
                        <a:pt x="856" y="130"/>
                      </a:lnTo>
                      <a:lnTo>
                        <a:pt x="856" y="134"/>
                      </a:lnTo>
                      <a:lnTo>
                        <a:pt x="856" y="138"/>
                      </a:lnTo>
                      <a:lnTo>
                        <a:pt x="856" y="142"/>
                      </a:lnTo>
                      <a:lnTo>
                        <a:pt x="852" y="142"/>
                      </a:lnTo>
                      <a:lnTo>
                        <a:pt x="852" y="146"/>
                      </a:lnTo>
                      <a:lnTo>
                        <a:pt x="852" y="150"/>
                      </a:lnTo>
                      <a:lnTo>
                        <a:pt x="852" y="154"/>
                      </a:lnTo>
                      <a:lnTo>
                        <a:pt x="848" y="154"/>
                      </a:lnTo>
                      <a:lnTo>
                        <a:pt x="848" y="158"/>
                      </a:lnTo>
                      <a:lnTo>
                        <a:pt x="848" y="160"/>
                      </a:lnTo>
                      <a:lnTo>
                        <a:pt x="848" y="164"/>
                      </a:lnTo>
                      <a:lnTo>
                        <a:pt x="844" y="164"/>
                      </a:lnTo>
                      <a:lnTo>
                        <a:pt x="840" y="164"/>
                      </a:lnTo>
                      <a:lnTo>
                        <a:pt x="840" y="168"/>
                      </a:lnTo>
                      <a:lnTo>
                        <a:pt x="840" y="172"/>
                      </a:lnTo>
                      <a:lnTo>
                        <a:pt x="840" y="176"/>
                      </a:lnTo>
                      <a:lnTo>
                        <a:pt x="838" y="176"/>
                      </a:lnTo>
                      <a:lnTo>
                        <a:pt x="834" y="172"/>
                      </a:lnTo>
                      <a:lnTo>
                        <a:pt x="830" y="172"/>
                      </a:lnTo>
                      <a:lnTo>
                        <a:pt x="826" y="172"/>
                      </a:lnTo>
                      <a:lnTo>
                        <a:pt x="826" y="168"/>
                      </a:lnTo>
                      <a:lnTo>
                        <a:pt x="822" y="168"/>
                      </a:lnTo>
                      <a:lnTo>
                        <a:pt x="822" y="172"/>
                      </a:lnTo>
                      <a:lnTo>
                        <a:pt x="822" y="176"/>
                      </a:lnTo>
                      <a:lnTo>
                        <a:pt x="818" y="176"/>
                      </a:lnTo>
                      <a:lnTo>
                        <a:pt x="814" y="176"/>
                      </a:lnTo>
                      <a:lnTo>
                        <a:pt x="814" y="180"/>
                      </a:lnTo>
                      <a:lnTo>
                        <a:pt x="814" y="176"/>
                      </a:lnTo>
                      <a:lnTo>
                        <a:pt x="812" y="180"/>
                      </a:lnTo>
                      <a:lnTo>
                        <a:pt x="812" y="184"/>
                      </a:lnTo>
                      <a:lnTo>
                        <a:pt x="814" y="184"/>
                      </a:lnTo>
                      <a:lnTo>
                        <a:pt x="814" y="190"/>
                      </a:lnTo>
                      <a:lnTo>
                        <a:pt x="814" y="194"/>
                      </a:lnTo>
                      <a:lnTo>
                        <a:pt x="814" y="198"/>
                      </a:lnTo>
                      <a:lnTo>
                        <a:pt x="814" y="206"/>
                      </a:lnTo>
                      <a:lnTo>
                        <a:pt x="814" y="210"/>
                      </a:lnTo>
                      <a:lnTo>
                        <a:pt x="814" y="214"/>
                      </a:lnTo>
                      <a:lnTo>
                        <a:pt x="814" y="216"/>
                      </a:lnTo>
                      <a:lnTo>
                        <a:pt x="812" y="216"/>
                      </a:lnTo>
                      <a:lnTo>
                        <a:pt x="812" y="220"/>
                      </a:lnTo>
                      <a:lnTo>
                        <a:pt x="812" y="216"/>
                      </a:lnTo>
                      <a:lnTo>
                        <a:pt x="808" y="216"/>
                      </a:lnTo>
                      <a:lnTo>
                        <a:pt x="808" y="220"/>
                      </a:lnTo>
                      <a:lnTo>
                        <a:pt x="804" y="220"/>
                      </a:lnTo>
                      <a:lnTo>
                        <a:pt x="808" y="224"/>
                      </a:lnTo>
                      <a:lnTo>
                        <a:pt x="808" y="228"/>
                      </a:lnTo>
                      <a:lnTo>
                        <a:pt x="804" y="228"/>
                      </a:lnTo>
                      <a:lnTo>
                        <a:pt x="804" y="224"/>
                      </a:lnTo>
                      <a:lnTo>
                        <a:pt x="800" y="220"/>
                      </a:lnTo>
                      <a:lnTo>
                        <a:pt x="800" y="216"/>
                      </a:lnTo>
                      <a:lnTo>
                        <a:pt x="796" y="216"/>
                      </a:lnTo>
                      <a:lnTo>
                        <a:pt x="796" y="220"/>
                      </a:lnTo>
                      <a:lnTo>
                        <a:pt x="792" y="220"/>
                      </a:lnTo>
                      <a:lnTo>
                        <a:pt x="792" y="224"/>
                      </a:lnTo>
                      <a:lnTo>
                        <a:pt x="792" y="228"/>
                      </a:lnTo>
                      <a:lnTo>
                        <a:pt x="788" y="228"/>
                      </a:lnTo>
                      <a:lnTo>
                        <a:pt x="784" y="228"/>
                      </a:lnTo>
                      <a:lnTo>
                        <a:pt x="784" y="230"/>
                      </a:lnTo>
                      <a:lnTo>
                        <a:pt x="784" y="234"/>
                      </a:lnTo>
                      <a:lnTo>
                        <a:pt x="782" y="234"/>
                      </a:lnTo>
                      <a:lnTo>
                        <a:pt x="778" y="234"/>
                      </a:lnTo>
                      <a:lnTo>
                        <a:pt x="774" y="234"/>
                      </a:lnTo>
                      <a:lnTo>
                        <a:pt x="770" y="234"/>
                      </a:lnTo>
                      <a:lnTo>
                        <a:pt x="770" y="238"/>
                      </a:lnTo>
                      <a:lnTo>
                        <a:pt x="770" y="242"/>
                      </a:lnTo>
                      <a:lnTo>
                        <a:pt x="774" y="242"/>
                      </a:lnTo>
                      <a:lnTo>
                        <a:pt x="774" y="246"/>
                      </a:lnTo>
                      <a:lnTo>
                        <a:pt x="770" y="246"/>
                      </a:lnTo>
                      <a:lnTo>
                        <a:pt x="766" y="246"/>
                      </a:lnTo>
                      <a:lnTo>
                        <a:pt x="762" y="246"/>
                      </a:lnTo>
                      <a:lnTo>
                        <a:pt x="758" y="246"/>
                      </a:lnTo>
                      <a:lnTo>
                        <a:pt x="758" y="242"/>
                      </a:lnTo>
                      <a:lnTo>
                        <a:pt x="756" y="242"/>
                      </a:lnTo>
                      <a:lnTo>
                        <a:pt x="756" y="238"/>
                      </a:lnTo>
                      <a:lnTo>
                        <a:pt x="752" y="238"/>
                      </a:lnTo>
                      <a:lnTo>
                        <a:pt x="752" y="242"/>
                      </a:lnTo>
                      <a:lnTo>
                        <a:pt x="748" y="242"/>
                      </a:lnTo>
                      <a:lnTo>
                        <a:pt x="748" y="246"/>
                      </a:lnTo>
                      <a:lnTo>
                        <a:pt x="748" y="250"/>
                      </a:lnTo>
                      <a:lnTo>
                        <a:pt x="744" y="250"/>
                      </a:lnTo>
                      <a:lnTo>
                        <a:pt x="744" y="254"/>
                      </a:lnTo>
                      <a:lnTo>
                        <a:pt x="740" y="256"/>
                      </a:lnTo>
                      <a:lnTo>
                        <a:pt x="736" y="256"/>
                      </a:lnTo>
                      <a:lnTo>
                        <a:pt x="736" y="260"/>
                      </a:lnTo>
                      <a:lnTo>
                        <a:pt x="732" y="260"/>
                      </a:lnTo>
                      <a:lnTo>
                        <a:pt x="728" y="260"/>
                      </a:lnTo>
                      <a:lnTo>
                        <a:pt x="728" y="264"/>
                      </a:lnTo>
                      <a:lnTo>
                        <a:pt x="726" y="264"/>
                      </a:lnTo>
                      <a:lnTo>
                        <a:pt x="728" y="264"/>
                      </a:lnTo>
                      <a:lnTo>
                        <a:pt x="726" y="264"/>
                      </a:lnTo>
                      <a:lnTo>
                        <a:pt x="722" y="268"/>
                      </a:lnTo>
                      <a:lnTo>
                        <a:pt x="718" y="272"/>
                      </a:lnTo>
                      <a:lnTo>
                        <a:pt x="718" y="276"/>
                      </a:lnTo>
                      <a:lnTo>
                        <a:pt x="714" y="276"/>
                      </a:lnTo>
                      <a:lnTo>
                        <a:pt x="710" y="276"/>
                      </a:lnTo>
                      <a:lnTo>
                        <a:pt x="706" y="276"/>
                      </a:lnTo>
                      <a:lnTo>
                        <a:pt x="706" y="280"/>
                      </a:lnTo>
                      <a:lnTo>
                        <a:pt x="702" y="280"/>
                      </a:lnTo>
                      <a:lnTo>
                        <a:pt x="702" y="276"/>
                      </a:lnTo>
                      <a:lnTo>
                        <a:pt x="702" y="280"/>
                      </a:lnTo>
                      <a:lnTo>
                        <a:pt x="698" y="280"/>
                      </a:lnTo>
                      <a:lnTo>
                        <a:pt x="696" y="284"/>
                      </a:lnTo>
                      <a:lnTo>
                        <a:pt x="692" y="284"/>
                      </a:lnTo>
                      <a:lnTo>
                        <a:pt x="692" y="286"/>
                      </a:lnTo>
                      <a:lnTo>
                        <a:pt x="688" y="284"/>
                      </a:lnTo>
                      <a:lnTo>
                        <a:pt x="688" y="286"/>
                      </a:lnTo>
                      <a:lnTo>
                        <a:pt x="684" y="290"/>
                      </a:lnTo>
                      <a:lnTo>
                        <a:pt x="680" y="290"/>
                      </a:lnTo>
                      <a:lnTo>
                        <a:pt x="680" y="294"/>
                      </a:lnTo>
                      <a:lnTo>
                        <a:pt x="676" y="298"/>
                      </a:lnTo>
                      <a:lnTo>
                        <a:pt x="674" y="298"/>
                      </a:lnTo>
                      <a:lnTo>
                        <a:pt x="674" y="294"/>
                      </a:lnTo>
                      <a:lnTo>
                        <a:pt x="676" y="294"/>
                      </a:lnTo>
                      <a:lnTo>
                        <a:pt x="676" y="290"/>
                      </a:lnTo>
                      <a:lnTo>
                        <a:pt x="680" y="290"/>
                      </a:lnTo>
                      <a:lnTo>
                        <a:pt x="676" y="290"/>
                      </a:lnTo>
                      <a:lnTo>
                        <a:pt x="676" y="286"/>
                      </a:lnTo>
                      <a:lnTo>
                        <a:pt x="680" y="286"/>
                      </a:lnTo>
                      <a:lnTo>
                        <a:pt x="676" y="286"/>
                      </a:lnTo>
                      <a:lnTo>
                        <a:pt x="676" y="284"/>
                      </a:lnTo>
                      <a:lnTo>
                        <a:pt x="674" y="284"/>
                      </a:lnTo>
                      <a:lnTo>
                        <a:pt x="676" y="280"/>
                      </a:lnTo>
                      <a:lnTo>
                        <a:pt x="676" y="276"/>
                      </a:lnTo>
                      <a:lnTo>
                        <a:pt x="680" y="276"/>
                      </a:lnTo>
                      <a:lnTo>
                        <a:pt x="684" y="272"/>
                      </a:lnTo>
                      <a:lnTo>
                        <a:pt x="684" y="268"/>
                      </a:lnTo>
                      <a:lnTo>
                        <a:pt x="688" y="268"/>
                      </a:lnTo>
                      <a:lnTo>
                        <a:pt x="688" y="264"/>
                      </a:lnTo>
                      <a:lnTo>
                        <a:pt x="684" y="260"/>
                      </a:lnTo>
                      <a:lnTo>
                        <a:pt x="684" y="256"/>
                      </a:lnTo>
                      <a:lnTo>
                        <a:pt x="680" y="256"/>
                      </a:lnTo>
                      <a:lnTo>
                        <a:pt x="676" y="256"/>
                      </a:lnTo>
                      <a:lnTo>
                        <a:pt x="674" y="256"/>
                      </a:lnTo>
                      <a:lnTo>
                        <a:pt x="670" y="256"/>
                      </a:lnTo>
                      <a:lnTo>
                        <a:pt x="670" y="260"/>
                      </a:lnTo>
                      <a:lnTo>
                        <a:pt x="666" y="264"/>
                      </a:lnTo>
                      <a:lnTo>
                        <a:pt x="662" y="264"/>
                      </a:lnTo>
                      <a:lnTo>
                        <a:pt x="662" y="268"/>
                      </a:lnTo>
                      <a:lnTo>
                        <a:pt x="658" y="272"/>
                      </a:lnTo>
                      <a:lnTo>
                        <a:pt x="656" y="272"/>
                      </a:lnTo>
                      <a:lnTo>
                        <a:pt x="656" y="276"/>
                      </a:lnTo>
                      <a:lnTo>
                        <a:pt x="652" y="276"/>
                      </a:lnTo>
                      <a:lnTo>
                        <a:pt x="648" y="280"/>
                      </a:lnTo>
                      <a:lnTo>
                        <a:pt x="648" y="284"/>
                      </a:lnTo>
                      <a:lnTo>
                        <a:pt x="648" y="286"/>
                      </a:lnTo>
                      <a:lnTo>
                        <a:pt x="644" y="286"/>
                      </a:lnTo>
                      <a:lnTo>
                        <a:pt x="644" y="290"/>
                      </a:lnTo>
                      <a:lnTo>
                        <a:pt x="640" y="290"/>
                      </a:lnTo>
                      <a:lnTo>
                        <a:pt x="636" y="290"/>
                      </a:lnTo>
                      <a:lnTo>
                        <a:pt x="632" y="290"/>
                      </a:lnTo>
                      <a:lnTo>
                        <a:pt x="628" y="290"/>
                      </a:lnTo>
                      <a:lnTo>
                        <a:pt x="628" y="286"/>
                      </a:lnTo>
                      <a:lnTo>
                        <a:pt x="626" y="290"/>
                      </a:lnTo>
                      <a:lnTo>
                        <a:pt x="622" y="294"/>
                      </a:lnTo>
                      <a:lnTo>
                        <a:pt x="622" y="298"/>
                      </a:lnTo>
                      <a:lnTo>
                        <a:pt x="622" y="302"/>
                      </a:lnTo>
                      <a:lnTo>
                        <a:pt x="622" y="306"/>
                      </a:lnTo>
                      <a:lnTo>
                        <a:pt x="626" y="306"/>
                      </a:lnTo>
                      <a:lnTo>
                        <a:pt x="626" y="310"/>
                      </a:lnTo>
                      <a:lnTo>
                        <a:pt x="628" y="310"/>
                      </a:lnTo>
                      <a:lnTo>
                        <a:pt x="632" y="310"/>
                      </a:lnTo>
                      <a:lnTo>
                        <a:pt x="636" y="310"/>
                      </a:lnTo>
                      <a:lnTo>
                        <a:pt x="640" y="310"/>
                      </a:lnTo>
                      <a:lnTo>
                        <a:pt x="640" y="312"/>
                      </a:lnTo>
                      <a:lnTo>
                        <a:pt x="644" y="312"/>
                      </a:lnTo>
                      <a:lnTo>
                        <a:pt x="644" y="316"/>
                      </a:lnTo>
                      <a:lnTo>
                        <a:pt x="644" y="320"/>
                      </a:lnTo>
                      <a:lnTo>
                        <a:pt x="640" y="320"/>
                      </a:lnTo>
                      <a:lnTo>
                        <a:pt x="640" y="324"/>
                      </a:lnTo>
                      <a:lnTo>
                        <a:pt x="644" y="328"/>
                      </a:lnTo>
                      <a:lnTo>
                        <a:pt x="648" y="328"/>
                      </a:lnTo>
                      <a:lnTo>
                        <a:pt x="652" y="328"/>
                      </a:lnTo>
                      <a:lnTo>
                        <a:pt x="656" y="328"/>
                      </a:lnTo>
                      <a:lnTo>
                        <a:pt x="656" y="324"/>
                      </a:lnTo>
                      <a:lnTo>
                        <a:pt x="658" y="324"/>
                      </a:lnTo>
                      <a:lnTo>
                        <a:pt x="658" y="320"/>
                      </a:lnTo>
                      <a:lnTo>
                        <a:pt x="662" y="320"/>
                      </a:lnTo>
                      <a:lnTo>
                        <a:pt x="662" y="316"/>
                      </a:lnTo>
                      <a:lnTo>
                        <a:pt x="666" y="316"/>
                      </a:lnTo>
                      <a:lnTo>
                        <a:pt x="670" y="316"/>
                      </a:lnTo>
                      <a:lnTo>
                        <a:pt x="674" y="320"/>
                      </a:lnTo>
                      <a:lnTo>
                        <a:pt x="676" y="320"/>
                      </a:lnTo>
                      <a:lnTo>
                        <a:pt x="676" y="324"/>
                      </a:lnTo>
                      <a:lnTo>
                        <a:pt x="680" y="324"/>
                      </a:lnTo>
                      <a:lnTo>
                        <a:pt x="684" y="324"/>
                      </a:lnTo>
                      <a:lnTo>
                        <a:pt x="684" y="320"/>
                      </a:lnTo>
                      <a:lnTo>
                        <a:pt x="688" y="320"/>
                      </a:lnTo>
                      <a:lnTo>
                        <a:pt x="684" y="320"/>
                      </a:lnTo>
                      <a:lnTo>
                        <a:pt x="688" y="324"/>
                      </a:lnTo>
                      <a:lnTo>
                        <a:pt x="692" y="324"/>
                      </a:lnTo>
                      <a:lnTo>
                        <a:pt x="692" y="328"/>
                      </a:lnTo>
                      <a:lnTo>
                        <a:pt x="688" y="332"/>
                      </a:lnTo>
                      <a:lnTo>
                        <a:pt x="692" y="332"/>
                      </a:lnTo>
                      <a:lnTo>
                        <a:pt x="688" y="336"/>
                      </a:lnTo>
                      <a:lnTo>
                        <a:pt x="688" y="332"/>
                      </a:lnTo>
                      <a:lnTo>
                        <a:pt x="684" y="332"/>
                      </a:lnTo>
                      <a:lnTo>
                        <a:pt x="680" y="336"/>
                      </a:lnTo>
                      <a:lnTo>
                        <a:pt x="676" y="336"/>
                      </a:lnTo>
                      <a:lnTo>
                        <a:pt x="674" y="336"/>
                      </a:lnTo>
                      <a:lnTo>
                        <a:pt x="674" y="340"/>
                      </a:lnTo>
                      <a:lnTo>
                        <a:pt x="670" y="340"/>
                      </a:lnTo>
                      <a:lnTo>
                        <a:pt x="666" y="340"/>
                      </a:lnTo>
                      <a:lnTo>
                        <a:pt x="670" y="340"/>
                      </a:lnTo>
                      <a:lnTo>
                        <a:pt x="670" y="342"/>
                      </a:lnTo>
                      <a:lnTo>
                        <a:pt x="666" y="342"/>
                      </a:lnTo>
                      <a:lnTo>
                        <a:pt x="666" y="346"/>
                      </a:lnTo>
                      <a:lnTo>
                        <a:pt x="662" y="350"/>
                      </a:lnTo>
                      <a:lnTo>
                        <a:pt x="658" y="350"/>
                      </a:lnTo>
                      <a:lnTo>
                        <a:pt x="662" y="346"/>
                      </a:lnTo>
                      <a:lnTo>
                        <a:pt x="658" y="346"/>
                      </a:lnTo>
                      <a:lnTo>
                        <a:pt x="658" y="350"/>
                      </a:lnTo>
                      <a:lnTo>
                        <a:pt x="658" y="354"/>
                      </a:lnTo>
                      <a:lnTo>
                        <a:pt x="656" y="354"/>
                      </a:lnTo>
                      <a:lnTo>
                        <a:pt x="656" y="358"/>
                      </a:lnTo>
                      <a:lnTo>
                        <a:pt x="652" y="358"/>
                      </a:lnTo>
                      <a:lnTo>
                        <a:pt x="652" y="362"/>
                      </a:lnTo>
                      <a:lnTo>
                        <a:pt x="648" y="362"/>
                      </a:lnTo>
                      <a:lnTo>
                        <a:pt x="648" y="366"/>
                      </a:lnTo>
                      <a:lnTo>
                        <a:pt x="648" y="368"/>
                      </a:lnTo>
                      <a:lnTo>
                        <a:pt x="644" y="368"/>
                      </a:lnTo>
                      <a:lnTo>
                        <a:pt x="644" y="372"/>
                      </a:lnTo>
                      <a:lnTo>
                        <a:pt x="648" y="372"/>
                      </a:lnTo>
                      <a:lnTo>
                        <a:pt x="648" y="376"/>
                      </a:lnTo>
                      <a:lnTo>
                        <a:pt x="652" y="376"/>
                      </a:lnTo>
                      <a:lnTo>
                        <a:pt x="656" y="380"/>
                      </a:lnTo>
                      <a:lnTo>
                        <a:pt x="658" y="380"/>
                      </a:lnTo>
                      <a:lnTo>
                        <a:pt x="662" y="384"/>
                      </a:lnTo>
                      <a:lnTo>
                        <a:pt x="662" y="388"/>
                      </a:lnTo>
                      <a:lnTo>
                        <a:pt x="662" y="392"/>
                      </a:lnTo>
                      <a:lnTo>
                        <a:pt x="662" y="396"/>
                      </a:lnTo>
                      <a:lnTo>
                        <a:pt x="666" y="398"/>
                      </a:lnTo>
                      <a:lnTo>
                        <a:pt x="666" y="402"/>
                      </a:lnTo>
                      <a:lnTo>
                        <a:pt x="670" y="406"/>
                      </a:lnTo>
                      <a:lnTo>
                        <a:pt x="670" y="410"/>
                      </a:lnTo>
                      <a:lnTo>
                        <a:pt x="670" y="414"/>
                      </a:lnTo>
                      <a:lnTo>
                        <a:pt x="674" y="414"/>
                      </a:lnTo>
                      <a:lnTo>
                        <a:pt x="674" y="418"/>
                      </a:lnTo>
                      <a:lnTo>
                        <a:pt x="676" y="418"/>
                      </a:lnTo>
                      <a:lnTo>
                        <a:pt x="676" y="422"/>
                      </a:lnTo>
                      <a:lnTo>
                        <a:pt x="680" y="424"/>
                      </a:lnTo>
                      <a:lnTo>
                        <a:pt x="680" y="428"/>
                      </a:lnTo>
                      <a:lnTo>
                        <a:pt x="684" y="428"/>
                      </a:lnTo>
                      <a:lnTo>
                        <a:pt x="684" y="432"/>
                      </a:lnTo>
                      <a:lnTo>
                        <a:pt x="680" y="432"/>
                      </a:lnTo>
                      <a:lnTo>
                        <a:pt x="680" y="428"/>
                      </a:lnTo>
                      <a:lnTo>
                        <a:pt x="676" y="428"/>
                      </a:lnTo>
                      <a:lnTo>
                        <a:pt x="674" y="428"/>
                      </a:lnTo>
                      <a:lnTo>
                        <a:pt x="670" y="428"/>
                      </a:lnTo>
                      <a:lnTo>
                        <a:pt x="670" y="424"/>
                      </a:lnTo>
                      <a:lnTo>
                        <a:pt x="666" y="424"/>
                      </a:lnTo>
                      <a:lnTo>
                        <a:pt x="662" y="422"/>
                      </a:lnTo>
                      <a:lnTo>
                        <a:pt x="662" y="424"/>
                      </a:lnTo>
                      <a:lnTo>
                        <a:pt x="658" y="424"/>
                      </a:lnTo>
                      <a:lnTo>
                        <a:pt x="656" y="424"/>
                      </a:lnTo>
                      <a:lnTo>
                        <a:pt x="656" y="422"/>
                      </a:lnTo>
                      <a:lnTo>
                        <a:pt x="656" y="418"/>
                      </a:lnTo>
                      <a:lnTo>
                        <a:pt x="652" y="418"/>
                      </a:lnTo>
                      <a:lnTo>
                        <a:pt x="652" y="422"/>
                      </a:lnTo>
                      <a:lnTo>
                        <a:pt x="656" y="422"/>
                      </a:lnTo>
                      <a:lnTo>
                        <a:pt x="652" y="422"/>
                      </a:lnTo>
                      <a:lnTo>
                        <a:pt x="656" y="422"/>
                      </a:lnTo>
                      <a:lnTo>
                        <a:pt x="656" y="424"/>
                      </a:lnTo>
                      <a:lnTo>
                        <a:pt x="658" y="424"/>
                      </a:lnTo>
                      <a:lnTo>
                        <a:pt x="662" y="424"/>
                      </a:lnTo>
                      <a:lnTo>
                        <a:pt x="666" y="424"/>
                      </a:lnTo>
                      <a:lnTo>
                        <a:pt x="666" y="428"/>
                      </a:lnTo>
                      <a:lnTo>
                        <a:pt x="670" y="428"/>
                      </a:lnTo>
                      <a:lnTo>
                        <a:pt x="674" y="428"/>
                      </a:lnTo>
                      <a:lnTo>
                        <a:pt x="674" y="432"/>
                      </a:lnTo>
                      <a:lnTo>
                        <a:pt x="676" y="436"/>
                      </a:lnTo>
                      <a:lnTo>
                        <a:pt x="680" y="436"/>
                      </a:lnTo>
                      <a:lnTo>
                        <a:pt x="680" y="440"/>
                      </a:lnTo>
                      <a:lnTo>
                        <a:pt x="680" y="444"/>
                      </a:lnTo>
                      <a:lnTo>
                        <a:pt x="684" y="444"/>
                      </a:lnTo>
                      <a:lnTo>
                        <a:pt x="684" y="448"/>
                      </a:lnTo>
                      <a:lnTo>
                        <a:pt x="680" y="448"/>
                      </a:lnTo>
                      <a:lnTo>
                        <a:pt x="676" y="448"/>
                      </a:lnTo>
                      <a:lnTo>
                        <a:pt x="674" y="448"/>
                      </a:lnTo>
                      <a:lnTo>
                        <a:pt x="674" y="452"/>
                      </a:lnTo>
                      <a:lnTo>
                        <a:pt x="670" y="452"/>
                      </a:lnTo>
                      <a:lnTo>
                        <a:pt x="670" y="454"/>
                      </a:lnTo>
                      <a:lnTo>
                        <a:pt x="666" y="454"/>
                      </a:lnTo>
                      <a:lnTo>
                        <a:pt x="662" y="454"/>
                      </a:lnTo>
                      <a:lnTo>
                        <a:pt x="658" y="458"/>
                      </a:lnTo>
                      <a:lnTo>
                        <a:pt x="662" y="458"/>
                      </a:lnTo>
                      <a:lnTo>
                        <a:pt x="662" y="454"/>
                      </a:lnTo>
                      <a:lnTo>
                        <a:pt x="666" y="458"/>
                      </a:lnTo>
                      <a:lnTo>
                        <a:pt x="666" y="462"/>
                      </a:lnTo>
                      <a:lnTo>
                        <a:pt x="666" y="458"/>
                      </a:lnTo>
                      <a:lnTo>
                        <a:pt x="670" y="458"/>
                      </a:lnTo>
                      <a:lnTo>
                        <a:pt x="674" y="454"/>
                      </a:lnTo>
                      <a:lnTo>
                        <a:pt x="676" y="454"/>
                      </a:lnTo>
                      <a:lnTo>
                        <a:pt x="676" y="458"/>
                      </a:lnTo>
                      <a:lnTo>
                        <a:pt x="680" y="462"/>
                      </a:lnTo>
                      <a:lnTo>
                        <a:pt x="684" y="462"/>
                      </a:lnTo>
                      <a:lnTo>
                        <a:pt x="684" y="466"/>
                      </a:lnTo>
                      <a:lnTo>
                        <a:pt x="680" y="466"/>
                      </a:lnTo>
                      <a:lnTo>
                        <a:pt x="680" y="470"/>
                      </a:lnTo>
                      <a:lnTo>
                        <a:pt x="676" y="470"/>
                      </a:lnTo>
                      <a:lnTo>
                        <a:pt x="676" y="474"/>
                      </a:lnTo>
                      <a:lnTo>
                        <a:pt x="676" y="470"/>
                      </a:lnTo>
                      <a:lnTo>
                        <a:pt x="680" y="470"/>
                      </a:lnTo>
                      <a:lnTo>
                        <a:pt x="684" y="470"/>
                      </a:lnTo>
                      <a:lnTo>
                        <a:pt x="684" y="474"/>
                      </a:lnTo>
                      <a:lnTo>
                        <a:pt x="684" y="478"/>
                      </a:lnTo>
                      <a:lnTo>
                        <a:pt x="680" y="478"/>
                      </a:lnTo>
                      <a:lnTo>
                        <a:pt x="680" y="474"/>
                      </a:lnTo>
                      <a:lnTo>
                        <a:pt x="680" y="478"/>
                      </a:lnTo>
                      <a:lnTo>
                        <a:pt x="676" y="478"/>
                      </a:lnTo>
                      <a:lnTo>
                        <a:pt x="676" y="474"/>
                      </a:lnTo>
                      <a:lnTo>
                        <a:pt x="676" y="478"/>
                      </a:lnTo>
                      <a:lnTo>
                        <a:pt x="680" y="478"/>
                      </a:lnTo>
                      <a:lnTo>
                        <a:pt x="680" y="480"/>
                      </a:lnTo>
                      <a:lnTo>
                        <a:pt x="676" y="480"/>
                      </a:lnTo>
                      <a:lnTo>
                        <a:pt x="680" y="484"/>
                      </a:lnTo>
                      <a:lnTo>
                        <a:pt x="676" y="484"/>
                      </a:lnTo>
                      <a:lnTo>
                        <a:pt x="674" y="484"/>
                      </a:lnTo>
                      <a:lnTo>
                        <a:pt x="676" y="484"/>
                      </a:lnTo>
                      <a:lnTo>
                        <a:pt x="676" y="488"/>
                      </a:lnTo>
                      <a:lnTo>
                        <a:pt x="676" y="492"/>
                      </a:lnTo>
                      <a:lnTo>
                        <a:pt x="680" y="492"/>
                      </a:lnTo>
                      <a:lnTo>
                        <a:pt x="676" y="492"/>
                      </a:lnTo>
                      <a:lnTo>
                        <a:pt x="676" y="496"/>
                      </a:lnTo>
                      <a:lnTo>
                        <a:pt x="674" y="496"/>
                      </a:lnTo>
                      <a:lnTo>
                        <a:pt x="674" y="492"/>
                      </a:lnTo>
                      <a:lnTo>
                        <a:pt x="674" y="496"/>
                      </a:lnTo>
                      <a:lnTo>
                        <a:pt x="670" y="496"/>
                      </a:lnTo>
                      <a:lnTo>
                        <a:pt x="670" y="500"/>
                      </a:lnTo>
                      <a:lnTo>
                        <a:pt x="666" y="496"/>
                      </a:lnTo>
                      <a:lnTo>
                        <a:pt x="666" y="500"/>
                      </a:lnTo>
                      <a:lnTo>
                        <a:pt x="670" y="500"/>
                      </a:lnTo>
                      <a:lnTo>
                        <a:pt x="666" y="500"/>
                      </a:lnTo>
                      <a:lnTo>
                        <a:pt x="666" y="504"/>
                      </a:lnTo>
                      <a:lnTo>
                        <a:pt x="666" y="508"/>
                      </a:lnTo>
                      <a:lnTo>
                        <a:pt x="666" y="510"/>
                      </a:lnTo>
                      <a:lnTo>
                        <a:pt x="662" y="510"/>
                      </a:lnTo>
                      <a:lnTo>
                        <a:pt x="662" y="514"/>
                      </a:lnTo>
                      <a:lnTo>
                        <a:pt x="662" y="510"/>
                      </a:lnTo>
                      <a:lnTo>
                        <a:pt x="662" y="514"/>
                      </a:lnTo>
                      <a:lnTo>
                        <a:pt x="662" y="510"/>
                      </a:lnTo>
                      <a:lnTo>
                        <a:pt x="658" y="510"/>
                      </a:lnTo>
                      <a:lnTo>
                        <a:pt x="662" y="510"/>
                      </a:lnTo>
                      <a:lnTo>
                        <a:pt x="662" y="514"/>
                      </a:lnTo>
                      <a:lnTo>
                        <a:pt x="658" y="514"/>
                      </a:lnTo>
                      <a:lnTo>
                        <a:pt x="658" y="518"/>
                      </a:lnTo>
                      <a:lnTo>
                        <a:pt x="656" y="518"/>
                      </a:lnTo>
                      <a:lnTo>
                        <a:pt x="658" y="518"/>
                      </a:lnTo>
                      <a:lnTo>
                        <a:pt x="658" y="522"/>
                      </a:lnTo>
                      <a:lnTo>
                        <a:pt x="656" y="522"/>
                      </a:lnTo>
                      <a:lnTo>
                        <a:pt x="656" y="526"/>
                      </a:lnTo>
                      <a:lnTo>
                        <a:pt x="656" y="522"/>
                      </a:lnTo>
                      <a:lnTo>
                        <a:pt x="658" y="522"/>
                      </a:lnTo>
                      <a:lnTo>
                        <a:pt x="656" y="518"/>
                      </a:lnTo>
                      <a:lnTo>
                        <a:pt x="656" y="522"/>
                      </a:lnTo>
                      <a:lnTo>
                        <a:pt x="656" y="518"/>
                      </a:lnTo>
                      <a:lnTo>
                        <a:pt x="652" y="518"/>
                      </a:lnTo>
                      <a:lnTo>
                        <a:pt x="652" y="522"/>
                      </a:lnTo>
                      <a:lnTo>
                        <a:pt x="652" y="518"/>
                      </a:lnTo>
                      <a:lnTo>
                        <a:pt x="652" y="522"/>
                      </a:lnTo>
                      <a:lnTo>
                        <a:pt x="652" y="526"/>
                      </a:lnTo>
                      <a:lnTo>
                        <a:pt x="652" y="522"/>
                      </a:lnTo>
                      <a:lnTo>
                        <a:pt x="656" y="526"/>
                      </a:lnTo>
                      <a:lnTo>
                        <a:pt x="652" y="526"/>
                      </a:lnTo>
                      <a:lnTo>
                        <a:pt x="652" y="530"/>
                      </a:lnTo>
                      <a:lnTo>
                        <a:pt x="656" y="526"/>
                      </a:lnTo>
                      <a:lnTo>
                        <a:pt x="656" y="530"/>
                      </a:lnTo>
                      <a:lnTo>
                        <a:pt x="652" y="530"/>
                      </a:lnTo>
                      <a:lnTo>
                        <a:pt x="652" y="534"/>
                      </a:lnTo>
                      <a:lnTo>
                        <a:pt x="648" y="534"/>
                      </a:lnTo>
                      <a:lnTo>
                        <a:pt x="644" y="534"/>
                      </a:lnTo>
                      <a:lnTo>
                        <a:pt x="648" y="534"/>
                      </a:lnTo>
                      <a:lnTo>
                        <a:pt x="648" y="536"/>
                      </a:lnTo>
                      <a:lnTo>
                        <a:pt x="648" y="534"/>
                      </a:lnTo>
                      <a:lnTo>
                        <a:pt x="652" y="534"/>
                      </a:lnTo>
                      <a:lnTo>
                        <a:pt x="652" y="536"/>
                      </a:lnTo>
                      <a:lnTo>
                        <a:pt x="652" y="540"/>
                      </a:lnTo>
                      <a:lnTo>
                        <a:pt x="648" y="540"/>
                      </a:lnTo>
                      <a:lnTo>
                        <a:pt x="652" y="540"/>
                      </a:lnTo>
                      <a:lnTo>
                        <a:pt x="652" y="544"/>
                      </a:lnTo>
                      <a:lnTo>
                        <a:pt x="652" y="548"/>
                      </a:lnTo>
                      <a:lnTo>
                        <a:pt x="652" y="544"/>
                      </a:lnTo>
                      <a:lnTo>
                        <a:pt x="648" y="544"/>
                      </a:lnTo>
                      <a:lnTo>
                        <a:pt x="648" y="540"/>
                      </a:lnTo>
                      <a:lnTo>
                        <a:pt x="648" y="544"/>
                      </a:lnTo>
                      <a:lnTo>
                        <a:pt x="644" y="544"/>
                      </a:lnTo>
                      <a:lnTo>
                        <a:pt x="648" y="548"/>
                      </a:lnTo>
                      <a:lnTo>
                        <a:pt x="644" y="552"/>
                      </a:lnTo>
                      <a:lnTo>
                        <a:pt x="644" y="548"/>
                      </a:lnTo>
                      <a:lnTo>
                        <a:pt x="640" y="548"/>
                      </a:lnTo>
                      <a:lnTo>
                        <a:pt x="640" y="552"/>
                      </a:lnTo>
                      <a:lnTo>
                        <a:pt x="644" y="552"/>
                      </a:lnTo>
                      <a:lnTo>
                        <a:pt x="640" y="556"/>
                      </a:lnTo>
                      <a:lnTo>
                        <a:pt x="636" y="556"/>
                      </a:lnTo>
                      <a:lnTo>
                        <a:pt x="640" y="556"/>
                      </a:lnTo>
                      <a:lnTo>
                        <a:pt x="636" y="552"/>
                      </a:lnTo>
                      <a:lnTo>
                        <a:pt x="636" y="556"/>
                      </a:lnTo>
                      <a:lnTo>
                        <a:pt x="640" y="556"/>
                      </a:lnTo>
                      <a:lnTo>
                        <a:pt x="636" y="560"/>
                      </a:lnTo>
                      <a:lnTo>
                        <a:pt x="632" y="560"/>
                      </a:lnTo>
                      <a:lnTo>
                        <a:pt x="628" y="560"/>
                      </a:lnTo>
                      <a:lnTo>
                        <a:pt x="628" y="564"/>
                      </a:lnTo>
                      <a:lnTo>
                        <a:pt x="626" y="564"/>
                      </a:lnTo>
                      <a:lnTo>
                        <a:pt x="628" y="564"/>
                      </a:lnTo>
                      <a:lnTo>
                        <a:pt x="628" y="566"/>
                      </a:lnTo>
                      <a:lnTo>
                        <a:pt x="626" y="570"/>
                      </a:lnTo>
                      <a:lnTo>
                        <a:pt x="622" y="570"/>
                      </a:lnTo>
                      <a:lnTo>
                        <a:pt x="622" y="574"/>
                      </a:lnTo>
                      <a:lnTo>
                        <a:pt x="618" y="574"/>
                      </a:lnTo>
                      <a:lnTo>
                        <a:pt x="618" y="578"/>
                      </a:lnTo>
                      <a:lnTo>
                        <a:pt x="614" y="578"/>
                      </a:lnTo>
                      <a:lnTo>
                        <a:pt x="610" y="578"/>
                      </a:lnTo>
                      <a:lnTo>
                        <a:pt x="610" y="582"/>
                      </a:lnTo>
                      <a:lnTo>
                        <a:pt x="606" y="582"/>
                      </a:lnTo>
                      <a:lnTo>
                        <a:pt x="610" y="582"/>
                      </a:lnTo>
                      <a:lnTo>
                        <a:pt x="610" y="586"/>
                      </a:lnTo>
                      <a:lnTo>
                        <a:pt x="606" y="586"/>
                      </a:lnTo>
                      <a:lnTo>
                        <a:pt x="606" y="590"/>
                      </a:lnTo>
                      <a:lnTo>
                        <a:pt x="602" y="590"/>
                      </a:lnTo>
                      <a:lnTo>
                        <a:pt x="602" y="592"/>
                      </a:lnTo>
                      <a:lnTo>
                        <a:pt x="600" y="590"/>
                      </a:lnTo>
                      <a:lnTo>
                        <a:pt x="600" y="592"/>
                      </a:lnTo>
                      <a:lnTo>
                        <a:pt x="596" y="592"/>
                      </a:lnTo>
                      <a:lnTo>
                        <a:pt x="596" y="590"/>
                      </a:lnTo>
                      <a:lnTo>
                        <a:pt x="592" y="592"/>
                      </a:lnTo>
                      <a:lnTo>
                        <a:pt x="596" y="592"/>
                      </a:lnTo>
                      <a:lnTo>
                        <a:pt x="592" y="592"/>
                      </a:lnTo>
                      <a:lnTo>
                        <a:pt x="588" y="592"/>
                      </a:lnTo>
                      <a:lnTo>
                        <a:pt x="584" y="592"/>
                      </a:lnTo>
                      <a:lnTo>
                        <a:pt x="584" y="596"/>
                      </a:lnTo>
                      <a:lnTo>
                        <a:pt x="580" y="596"/>
                      </a:lnTo>
                      <a:lnTo>
                        <a:pt x="580" y="592"/>
                      </a:lnTo>
                      <a:lnTo>
                        <a:pt x="584" y="592"/>
                      </a:lnTo>
                      <a:lnTo>
                        <a:pt x="580" y="592"/>
                      </a:lnTo>
                      <a:lnTo>
                        <a:pt x="580" y="596"/>
                      </a:lnTo>
                      <a:lnTo>
                        <a:pt x="576" y="596"/>
                      </a:lnTo>
                      <a:lnTo>
                        <a:pt x="572" y="596"/>
                      </a:lnTo>
                      <a:lnTo>
                        <a:pt x="576" y="596"/>
                      </a:lnTo>
                      <a:lnTo>
                        <a:pt x="576" y="600"/>
                      </a:lnTo>
                      <a:lnTo>
                        <a:pt x="572" y="600"/>
                      </a:lnTo>
                      <a:lnTo>
                        <a:pt x="570" y="600"/>
                      </a:lnTo>
                      <a:lnTo>
                        <a:pt x="570" y="596"/>
                      </a:lnTo>
                      <a:lnTo>
                        <a:pt x="572" y="596"/>
                      </a:lnTo>
                      <a:lnTo>
                        <a:pt x="570" y="596"/>
                      </a:lnTo>
                      <a:lnTo>
                        <a:pt x="570" y="592"/>
                      </a:lnTo>
                      <a:lnTo>
                        <a:pt x="566" y="590"/>
                      </a:lnTo>
                      <a:lnTo>
                        <a:pt x="566" y="586"/>
                      </a:lnTo>
                      <a:lnTo>
                        <a:pt x="570" y="586"/>
                      </a:lnTo>
                      <a:lnTo>
                        <a:pt x="566" y="586"/>
                      </a:lnTo>
                      <a:lnTo>
                        <a:pt x="566" y="590"/>
                      </a:lnTo>
                      <a:lnTo>
                        <a:pt x="562" y="590"/>
                      </a:lnTo>
                      <a:lnTo>
                        <a:pt x="566" y="592"/>
                      </a:lnTo>
                      <a:lnTo>
                        <a:pt x="562" y="592"/>
                      </a:lnTo>
                      <a:lnTo>
                        <a:pt x="566" y="592"/>
                      </a:lnTo>
                      <a:lnTo>
                        <a:pt x="566" y="596"/>
                      </a:lnTo>
                      <a:lnTo>
                        <a:pt x="566" y="600"/>
                      </a:lnTo>
                      <a:lnTo>
                        <a:pt x="566" y="604"/>
                      </a:lnTo>
                      <a:lnTo>
                        <a:pt x="562" y="604"/>
                      </a:lnTo>
                      <a:lnTo>
                        <a:pt x="562" y="600"/>
                      </a:lnTo>
                      <a:lnTo>
                        <a:pt x="562" y="596"/>
                      </a:lnTo>
                      <a:lnTo>
                        <a:pt x="558" y="596"/>
                      </a:lnTo>
                      <a:lnTo>
                        <a:pt x="562" y="596"/>
                      </a:lnTo>
                      <a:lnTo>
                        <a:pt x="562" y="600"/>
                      </a:lnTo>
                      <a:lnTo>
                        <a:pt x="562" y="604"/>
                      </a:lnTo>
                      <a:lnTo>
                        <a:pt x="558" y="604"/>
                      </a:lnTo>
                      <a:lnTo>
                        <a:pt x="558" y="600"/>
                      </a:lnTo>
                      <a:lnTo>
                        <a:pt x="558" y="604"/>
                      </a:lnTo>
                      <a:lnTo>
                        <a:pt x="558" y="608"/>
                      </a:lnTo>
                      <a:lnTo>
                        <a:pt x="554" y="608"/>
                      </a:lnTo>
                      <a:lnTo>
                        <a:pt x="550" y="608"/>
                      </a:lnTo>
                      <a:lnTo>
                        <a:pt x="550" y="612"/>
                      </a:lnTo>
                      <a:lnTo>
                        <a:pt x="550" y="608"/>
                      </a:lnTo>
                      <a:lnTo>
                        <a:pt x="546" y="612"/>
                      </a:lnTo>
                      <a:lnTo>
                        <a:pt x="542" y="608"/>
                      </a:lnTo>
                      <a:lnTo>
                        <a:pt x="542" y="612"/>
                      </a:lnTo>
                      <a:lnTo>
                        <a:pt x="540" y="612"/>
                      </a:lnTo>
                      <a:lnTo>
                        <a:pt x="540" y="616"/>
                      </a:lnTo>
                      <a:lnTo>
                        <a:pt x="536" y="616"/>
                      </a:lnTo>
                      <a:lnTo>
                        <a:pt x="532" y="616"/>
                      </a:lnTo>
                      <a:lnTo>
                        <a:pt x="528" y="616"/>
                      </a:lnTo>
                      <a:lnTo>
                        <a:pt x="524" y="616"/>
                      </a:lnTo>
                      <a:lnTo>
                        <a:pt x="524" y="620"/>
                      </a:lnTo>
                      <a:lnTo>
                        <a:pt x="524" y="616"/>
                      </a:lnTo>
                      <a:lnTo>
                        <a:pt x="524" y="620"/>
                      </a:lnTo>
                      <a:lnTo>
                        <a:pt x="520" y="620"/>
                      </a:lnTo>
                      <a:lnTo>
                        <a:pt x="520" y="616"/>
                      </a:lnTo>
                      <a:lnTo>
                        <a:pt x="520" y="620"/>
                      </a:lnTo>
                      <a:lnTo>
                        <a:pt x="520" y="622"/>
                      </a:lnTo>
                      <a:lnTo>
                        <a:pt x="516" y="622"/>
                      </a:lnTo>
                      <a:lnTo>
                        <a:pt x="516" y="626"/>
                      </a:lnTo>
                      <a:lnTo>
                        <a:pt x="520" y="626"/>
                      </a:lnTo>
                      <a:lnTo>
                        <a:pt x="520" y="630"/>
                      </a:lnTo>
                      <a:lnTo>
                        <a:pt x="520" y="626"/>
                      </a:lnTo>
                      <a:lnTo>
                        <a:pt x="520" y="630"/>
                      </a:lnTo>
                      <a:lnTo>
                        <a:pt x="520" y="634"/>
                      </a:lnTo>
                      <a:lnTo>
                        <a:pt x="520" y="636"/>
                      </a:lnTo>
                      <a:lnTo>
                        <a:pt x="516" y="636"/>
                      </a:lnTo>
                      <a:lnTo>
                        <a:pt x="514" y="636"/>
                      </a:lnTo>
                      <a:lnTo>
                        <a:pt x="514" y="634"/>
                      </a:lnTo>
                      <a:lnTo>
                        <a:pt x="510" y="630"/>
                      </a:lnTo>
                      <a:lnTo>
                        <a:pt x="510" y="626"/>
                      </a:lnTo>
                      <a:lnTo>
                        <a:pt x="510" y="622"/>
                      </a:lnTo>
                      <a:lnTo>
                        <a:pt x="514" y="620"/>
                      </a:lnTo>
                      <a:lnTo>
                        <a:pt x="514" y="616"/>
                      </a:lnTo>
                      <a:lnTo>
                        <a:pt x="514" y="612"/>
                      </a:lnTo>
                      <a:lnTo>
                        <a:pt x="510" y="612"/>
                      </a:lnTo>
                      <a:lnTo>
                        <a:pt x="510" y="616"/>
                      </a:lnTo>
                      <a:lnTo>
                        <a:pt x="514" y="616"/>
                      </a:lnTo>
                      <a:lnTo>
                        <a:pt x="510" y="616"/>
                      </a:lnTo>
                      <a:lnTo>
                        <a:pt x="510" y="612"/>
                      </a:lnTo>
                      <a:lnTo>
                        <a:pt x="510" y="616"/>
                      </a:lnTo>
                      <a:lnTo>
                        <a:pt x="506" y="616"/>
                      </a:lnTo>
                      <a:lnTo>
                        <a:pt x="502" y="616"/>
                      </a:lnTo>
                      <a:lnTo>
                        <a:pt x="502" y="612"/>
                      </a:lnTo>
                      <a:lnTo>
                        <a:pt x="498" y="612"/>
                      </a:lnTo>
                      <a:lnTo>
                        <a:pt x="498" y="608"/>
                      </a:lnTo>
                      <a:lnTo>
                        <a:pt x="498" y="612"/>
                      </a:lnTo>
                      <a:lnTo>
                        <a:pt x="494" y="612"/>
                      </a:lnTo>
                      <a:lnTo>
                        <a:pt x="494" y="608"/>
                      </a:lnTo>
                      <a:lnTo>
                        <a:pt x="494" y="612"/>
                      </a:lnTo>
                      <a:lnTo>
                        <a:pt x="494" y="616"/>
                      </a:lnTo>
                      <a:lnTo>
                        <a:pt x="490" y="616"/>
                      </a:lnTo>
                      <a:lnTo>
                        <a:pt x="490" y="612"/>
                      </a:lnTo>
                      <a:lnTo>
                        <a:pt x="494" y="612"/>
                      </a:lnTo>
                      <a:lnTo>
                        <a:pt x="490" y="612"/>
                      </a:lnTo>
                      <a:lnTo>
                        <a:pt x="490" y="616"/>
                      </a:lnTo>
                      <a:lnTo>
                        <a:pt x="490" y="612"/>
                      </a:lnTo>
                      <a:lnTo>
                        <a:pt x="486" y="616"/>
                      </a:lnTo>
                      <a:lnTo>
                        <a:pt x="486" y="612"/>
                      </a:lnTo>
                      <a:lnTo>
                        <a:pt x="484" y="612"/>
                      </a:lnTo>
                      <a:lnTo>
                        <a:pt x="480" y="612"/>
                      </a:lnTo>
                      <a:lnTo>
                        <a:pt x="476" y="612"/>
                      </a:lnTo>
                      <a:lnTo>
                        <a:pt x="472" y="608"/>
                      </a:lnTo>
                      <a:lnTo>
                        <a:pt x="468" y="604"/>
                      </a:lnTo>
                      <a:lnTo>
                        <a:pt x="468" y="600"/>
                      </a:lnTo>
                      <a:lnTo>
                        <a:pt x="464" y="600"/>
                      </a:lnTo>
                      <a:lnTo>
                        <a:pt x="464" y="596"/>
                      </a:lnTo>
                      <a:lnTo>
                        <a:pt x="468" y="596"/>
                      </a:lnTo>
                      <a:lnTo>
                        <a:pt x="468" y="592"/>
                      </a:lnTo>
                      <a:lnTo>
                        <a:pt x="468" y="590"/>
                      </a:lnTo>
                      <a:lnTo>
                        <a:pt x="464" y="590"/>
                      </a:lnTo>
                      <a:lnTo>
                        <a:pt x="460" y="590"/>
                      </a:lnTo>
                      <a:lnTo>
                        <a:pt x="458" y="590"/>
                      </a:lnTo>
                      <a:lnTo>
                        <a:pt x="454" y="590"/>
                      </a:lnTo>
                      <a:lnTo>
                        <a:pt x="454" y="586"/>
                      </a:lnTo>
                      <a:lnTo>
                        <a:pt x="450" y="586"/>
                      </a:lnTo>
                      <a:lnTo>
                        <a:pt x="450" y="582"/>
                      </a:lnTo>
                      <a:lnTo>
                        <a:pt x="446" y="582"/>
                      </a:lnTo>
                      <a:lnTo>
                        <a:pt x="442" y="586"/>
                      </a:lnTo>
                      <a:lnTo>
                        <a:pt x="442" y="590"/>
                      </a:lnTo>
                      <a:lnTo>
                        <a:pt x="438" y="592"/>
                      </a:lnTo>
                      <a:lnTo>
                        <a:pt x="434" y="592"/>
                      </a:lnTo>
                      <a:lnTo>
                        <a:pt x="430" y="592"/>
                      </a:lnTo>
                      <a:lnTo>
                        <a:pt x="430" y="596"/>
                      </a:lnTo>
                      <a:lnTo>
                        <a:pt x="428" y="596"/>
                      </a:lnTo>
                      <a:lnTo>
                        <a:pt x="428" y="592"/>
                      </a:lnTo>
                      <a:lnTo>
                        <a:pt x="424" y="592"/>
                      </a:lnTo>
                      <a:lnTo>
                        <a:pt x="424" y="596"/>
                      </a:lnTo>
                      <a:lnTo>
                        <a:pt x="424" y="592"/>
                      </a:lnTo>
                      <a:lnTo>
                        <a:pt x="420" y="592"/>
                      </a:lnTo>
                      <a:lnTo>
                        <a:pt x="420" y="596"/>
                      </a:lnTo>
                      <a:lnTo>
                        <a:pt x="416" y="596"/>
                      </a:lnTo>
                      <a:lnTo>
                        <a:pt x="412" y="596"/>
                      </a:lnTo>
                      <a:lnTo>
                        <a:pt x="412" y="592"/>
                      </a:lnTo>
                      <a:lnTo>
                        <a:pt x="408" y="592"/>
                      </a:lnTo>
                      <a:lnTo>
                        <a:pt x="408" y="596"/>
                      </a:lnTo>
                      <a:lnTo>
                        <a:pt x="404" y="596"/>
                      </a:lnTo>
                      <a:lnTo>
                        <a:pt x="404" y="600"/>
                      </a:lnTo>
                      <a:lnTo>
                        <a:pt x="404" y="596"/>
                      </a:lnTo>
                      <a:lnTo>
                        <a:pt x="402" y="596"/>
                      </a:lnTo>
                      <a:lnTo>
                        <a:pt x="398" y="596"/>
                      </a:lnTo>
                      <a:lnTo>
                        <a:pt x="398" y="600"/>
                      </a:lnTo>
                      <a:lnTo>
                        <a:pt x="394" y="600"/>
                      </a:lnTo>
                      <a:lnTo>
                        <a:pt x="398" y="608"/>
                      </a:lnTo>
                      <a:lnTo>
                        <a:pt x="398" y="612"/>
                      </a:lnTo>
                      <a:lnTo>
                        <a:pt x="398" y="616"/>
                      </a:lnTo>
                      <a:lnTo>
                        <a:pt x="398" y="620"/>
                      </a:lnTo>
                      <a:lnTo>
                        <a:pt x="402" y="620"/>
                      </a:lnTo>
                      <a:lnTo>
                        <a:pt x="398" y="620"/>
                      </a:lnTo>
                      <a:lnTo>
                        <a:pt x="398" y="622"/>
                      </a:lnTo>
                      <a:lnTo>
                        <a:pt x="398" y="620"/>
                      </a:lnTo>
                      <a:lnTo>
                        <a:pt x="394" y="620"/>
                      </a:lnTo>
                      <a:lnTo>
                        <a:pt x="390" y="620"/>
                      </a:lnTo>
                      <a:lnTo>
                        <a:pt x="390" y="616"/>
                      </a:lnTo>
                      <a:lnTo>
                        <a:pt x="390" y="612"/>
                      </a:lnTo>
                      <a:lnTo>
                        <a:pt x="386" y="612"/>
                      </a:lnTo>
                      <a:lnTo>
                        <a:pt x="382" y="616"/>
                      </a:lnTo>
                      <a:lnTo>
                        <a:pt x="378" y="616"/>
                      </a:lnTo>
                      <a:lnTo>
                        <a:pt x="374" y="616"/>
                      </a:lnTo>
                      <a:lnTo>
                        <a:pt x="374" y="612"/>
                      </a:lnTo>
                      <a:lnTo>
                        <a:pt x="372" y="612"/>
                      </a:lnTo>
                      <a:lnTo>
                        <a:pt x="372" y="608"/>
                      </a:lnTo>
                      <a:lnTo>
                        <a:pt x="372" y="604"/>
                      </a:lnTo>
                      <a:lnTo>
                        <a:pt x="368" y="604"/>
                      </a:lnTo>
                      <a:lnTo>
                        <a:pt x="364" y="604"/>
                      </a:lnTo>
                      <a:lnTo>
                        <a:pt x="360" y="604"/>
                      </a:lnTo>
                      <a:lnTo>
                        <a:pt x="364" y="600"/>
                      </a:lnTo>
                      <a:lnTo>
                        <a:pt x="364" y="596"/>
                      </a:lnTo>
                      <a:lnTo>
                        <a:pt x="364" y="592"/>
                      </a:lnTo>
                      <a:lnTo>
                        <a:pt x="364" y="590"/>
                      </a:lnTo>
                      <a:lnTo>
                        <a:pt x="368" y="590"/>
                      </a:lnTo>
                      <a:lnTo>
                        <a:pt x="368" y="586"/>
                      </a:lnTo>
                      <a:lnTo>
                        <a:pt x="364" y="586"/>
                      </a:lnTo>
                      <a:lnTo>
                        <a:pt x="360" y="586"/>
                      </a:lnTo>
                      <a:lnTo>
                        <a:pt x="356" y="586"/>
                      </a:lnTo>
                      <a:lnTo>
                        <a:pt x="356" y="582"/>
                      </a:lnTo>
                      <a:lnTo>
                        <a:pt x="356" y="578"/>
                      </a:lnTo>
                      <a:lnTo>
                        <a:pt x="356" y="574"/>
                      </a:lnTo>
                      <a:lnTo>
                        <a:pt x="352" y="570"/>
                      </a:lnTo>
                      <a:lnTo>
                        <a:pt x="356" y="570"/>
                      </a:lnTo>
                      <a:lnTo>
                        <a:pt x="356" y="566"/>
                      </a:lnTo>
                      <a:lnTo>
                        <a:pt x="352" y="566"/>
                      </a:lnTo>
                      <a:lnTo>
                        <a:pt x="348" y="566"/>
                      </a:lnTo>
                      <a:lnTo>
                        <a:pt x="346" y="566"/>
                      </a:lnTo>
                      <a:lnTo>
                        <a:pt x="346" y="570"/>
                      </a:lnTo>
                      <a:lnTo>
                        <a:pt x="342" y="570"/>
                      </a:lnTo>
                      <a:lnTo>
                        <a:pt x="342" y="574"/>
                      </a:lnTo>
                      <a:lnTo>
                        <a:pt x="342" y="574"/>
                      </a:lnTo>
                      <a:lnTo>
                        <a:pt x="342" y="574"/>
                      </a:lnTo>
                      <a:close/>
                      <a:moveTo>
                        <a:pt x="658" y="578"/>
                      </a:moveTo>
                      <a:lnTo>
                        <a:pt x="658" y="574"/>
                      </a:lnTo>
                      <a:lnTo>
                        <a:pt x="658" y="570"/>
                      </a:lnTo>
                      <a:lnTo>
                        <a:pt x="662" y="570"/>
                      </a:lnTo>
                      <a:lnTo>
                        <a:pt x="662" y="566"/>
                      </a:lnTo>
                      <a:lnTo>
                        <a:pt x="662" y="564"/>
                      </a:lnTo>
                      <a:lnTo>
                        <a:pt x="666" y="564"/>
                      </a:lnTo>
                      <a:lnTo>
                        <a:pt x="666" y="560"/>
                      </a:lnTo>
                      <a:lnTo>
                        <a:pt x="670" y="556"/>
                      </a:lnTo>
                      <a:lnTo>
                        <a:pt x="670" y="552"/>
                      </a:lnTo>
                      <a:lnTo>
                        <a:pt x="674" y="552"/>
                      </a:lnTo>
                      <a:lnTo>
                        <a:pt x="674" y="548"/>
                      </a:lnTo>
                      <a:lnTo>
                        <a:pt x="676" y="548"/>
                      </a:lnTo>
                      <a:lnTo>
                        <a:pt x="676" y="552"/>
                      </a:lnTo>
                      <a:lnTo>
                        <a:pt x="676" y="548"/>
                      </a:lnTo>
                      <a:lnTo>
                        <a:pt x="680" y="548"/>
                      </a:lnTo>
                      <a:lnTo>
                        <a:pt x="680" y="552"/>
                      </a:lnTo>
                      <a:lnTo>
                        <a:pt x="684" y="552"/>
                      </a:lnTo>
                      <a:lnTo>
                        <a:pt x="680" y="556"/>
                      </a:lnTo>
                      <a:lnTo>
                        <a:pt x="680" y="560"/>
                      </a:lnTo>
                      <a:lnTo>
                        <a:pt x="680" y="564"/>
                      </a:lnTo>
                      <a:lnTo>
                        <a:pt x="680" y="566"/>
                      </a:lnTo>
                      <a:lnTo>
                        <a:pt x="676" y="570"/>
                      </a:lnTo>
                      <a:lnTo>
                        <a:pt x="680" y="570"/>
                      </a:lnTo>
                      <a:lnTo>
                        <a:pt x="676" y="570"/>
                      </a:lnTo>
                      <a:lnTo>
                        <a:pt x="676" y="574"/>
                      </a:lnTo>
                      <a:lnTo>
                        <a:pt x="676" y="578"/>
                      </a:lnTo>
                      <a:lnTo>
                        <a:pt x="676" y="582"/>
                      </a:lnTo>
                      <a:lnTo>
                        <a:pt x="676" y="586"/>
                      </a:lnTo>
                      <a:lnTo>
                        <a:pt x="674" y="590"/>
                      </a:lnTo>
                      <a:lnTo>
                        <a:pt x="674" y="592"/>
                      </a:lnTo>
                      <a:lnTo>
                        <a:pt x="670" y="592"/>
                      </a:lnTo>
                      <a:lnTo>
                        <a:pt x="670" y="596"/>
                      </a:lnTo>
                      <a:lnTo>
                        <a:pt x="670" y="600"/>
                      </a:lnTo>
                      <a:lnTo>
                        <a:pt x="670" y="604"/>
                      </a:lnTo>
                      <a:lnTo>
                        <a:pt x="670" y="608"/>
                      </a:lnTo>
                      <a:lnTo>
                        <a:pt x="666" y="608"/>
                      </a:lnTo>
                      <a:lnTo>
                        <a:pt x="666" y="604"/>
                      </a:lnTo>
                      <a:lnTo>
                        <a:pt x="666" y="600"/>
                      </a:lnTo>
                      <a:lnTo>
                        <a:pt x="662" y="600"/>
                      </a:lnTo>
                      <a:lnTo>
                        <a:pt x="662" y="596"/>
                      </a:lnTo>
                      <a:lnTo>
                        <a:pt x="658" y="596"/>
                      </a:lnTo>
                      <a:lnTo>
                        <a:pt x="658" y="592"/>
                      </a:lnTo>
                      <a:lnTo>
                        <a:pt x="658" y="590"/>
                      </a:lnTo>
                      <a:lnTo>
                        <a:pt x="658" y="586"/>
                      </a:lnTo>
                      <a:lnTo>
                        <a:pt x="658" y="582"/>
                      </a:lnTo>
                      <a:lnTo>
                        <a:pt x="658" y="578"/>
                      </a:lnTo>
                      <a:lnTo>
                        <a:pt x="658" y="578"/>
                      </a:lnTo>
                      <a:lnTo>
                        <a:pt x="658" y="578"/>
                      </a:lnTo>
                      <a:close/>
                      <a:moveTo>
                        <a:pt x="510" y="670"/>
                      </a:moveTo>
                      <a:lnTo>
                        <a:pt x="510" y="674"/>
                      </a:lnTo>
                      <a:lnTo>
                        <a:pt x="510" y="670"/>
                      </a:lnTo>
                      <a:lnTo>
                        <a:pt x="506" y="670"/>
                      </a:lnTo>
                      <a:lnTo>
                        <a:pt x="502" y="670"/>
                      </a:lnTo>
                      <a:lnTo>
                        <a:pt x="498" y="670"/>
                      </a:lnTo>
                      <a:lnTo>
                        <a:pt x="498" y="666"/>
                      </a:lnTo>
                      <a:lnTo>
                        <a:pt x="494" y="666"/>
                      </a:lnTo>
                      <a:lnTo>
                        <a:pt x="494" y="662"/>
                      </a:lnTo>
                      <a:lnTo>
                        <a:pt x="498" y="662"/>
                      </a:lnTo>
                      <a:lnTo>
                        <a:pt x="494" y="662"/>
                      </a:lnTo>
                      <a:lnTo>
                        <a:pt x="494" y="660"/>
                      </a:lnTo>
                      <a:lnTo>
                        <a:pt x="494" y="656"/>
                      </a:lnTo>
                      <a:lnTo>
                        <a:pt x="494" y="652"/>
                      </a:lnTo>
                      <a:lnTo>
                        <a:pt x="498" y="652"/>
                      </a:lnTo>
                      <a:lnTo>
                        <a:pt x="498" y="648"/>
                      </a:lnTo>
                      <a:lnTo>
                        <a:pt x="502" y="648"/>
                      </a:lnTo>
                      <a:lnTo>
                        <a:pt x="506" y="644"/>
                      </a:lnTo>
                      <a:lnTo>
                        <a:pt x="502" y="644"/>
                      </a:lnTo>
                      <a:lnTo>
                        <a:pt x="506" y="640"/>
                      </a:lnTo>
                      <a:lnTo>
                        <a:pt x="506" y="644"/>
                      </a:lnTo>
                      <a:lnTo>
                        <a:pt x="510" y="644"/>
                      </a:lnTo>
                      <a:lnTo>
                        <a:pt x="510" y="640"/>
                      </a:lnTo>
                      <a:lnTo>
                        <a:pt x="514" y="640"/>
                      </a:lnTo>
                      <a:lnTo>
                        <a:pt x="516" y="640"/>
                      </a:lnTo>
                      <a:lnTo>
                        <a:pt x="520" y="640"/>
                      </a:lnTo>
                      <a:lnTo>
                        <a:pt x="524" y="640"/>
                      </a:lnTo>
                      <a:lnTo>
                        <a:pt x="524" y="636"/>
                      </a:lnTo>
                      <a:lnTo>
                        <a:pt x="524" y="640"/>
                      </a:lnTo>
                      <a:lnTo>
                        <a:pt x="528" y="640"/>
                      </a:lnTo>
                      <a:lnTo>
                        <a:pt x="528" y="648"/>
                      </a:lnTo>
                      <a:lnTo>
                        <a:pt x="524" y="652"/>
                      </a:lnTo>
                      <a:lnTo>
                        <a:pt x="524" y="656"/>
                      </a:lnTo>
                      <a:lnTo>
                        <a:pt x="520" y="656"/>
                      </a:lnTo>
                      <a:lnTo>
                        <a:pt x="524" y="656"/>
                      </a:lnTo>
                      <a:lnTo>
                        <a:pt x="520" y="660"/>
                      </a:lnTo>
                      <a:lnTo>
                        <a:pt x="520" y="662"/>
                      </a:lnTo>
                      <a:lnTo>
                        <a:pt x="516" y="662"/>
                      </a:lnTo>
                      <a:lnTo>
                        <a:pt x="516" y="666"/>
                      </a:lnTo>
                      <a:lnTo>
                        <a:pt x="516" y="670"/>
                      </a:lnTo>
                      <a:lnTo>
                        <a:pt x="514" y="670"/>
                      </a:lnTo>
                      <a:lnTo>
                        <a:pt x="514" y="666"/>
                      </a:lnTo>
                      <a:lnTo>
                        <a:pt x="514" y="670"/>
                      </a:lnTo>
                      <a:lnTo>
                        <a:pt x="510" y="670"/>
                      </a:lnTo>
                      <a:lnTo>
                        <a:pt x="510" y="670"/>
                      </a:lnTo>
                      <a:lnTo>
                        <a:pt x="510" y="670"/>
                      </a:lnTo>
                      <a:close/>
                      <a:moveTo>
                        <a:pt x="674" y="428"/>
                      </a:moveTo>
                      <a:lnTo>
                        <a:pt x="676" y="428"/>
                      </a:lnTo>
                      <a:lnTo>
                        <a:pt x="676" y="432"/>
                      </a:lnTo>
                      <a:lnTo>
                        <a:pt x="680" y="432"/>
                      </a:lnTo>
                      <a:lnTo>
                        <a:pt x="684" y="432"/>
                      </a:lnTo>
                      <a:lnTo>
                        <a:pt x="680" y="432"/>
                      </a:lnTo>
                      <a:lnTo>
                        <a:pt x="680" y="436"/>
                      </a:lnTo>
                      <a:lnTo>
                        <a:pt x="676" y="432"/>
                      </a:lnTo>
                      <a:lnTo>
                        <a:pt x="674" y="432"/>
                      </a:lnTo>
                      <a:lnTo>
                        <a:pt x="674" y="428"/>
                      </a:lnTo>
                      <a:lnTo>
                        <a:pt x="674" y="428"/>
                      </a:lnTo>
                      <a:lnTo>
                        <a:pt x="674" y="428"/>
                      </a:lnTo>
                      <a:close/>
                      <a:moveTo>
                        <a:pt x="684" y="462"/>
                      </a:moveTo>
                      <a:lnTo>
                        <a:pt x="684" y="458"/>
                      </a:lnTo>
                      <a:lnTo>
                        <a:pt x="688" y="458"/>
                      </a:lnTo>
                      <a:lnTo>
                        <a:pt x="688" y="462"/>
                      </a:lnTo>
                      <a:lnTo>
                        <a:pt x="684" y="462"/>
                      </a:lnTo>
                      <a:lnTo>
                        <a:pt x="684" y="462"/>
                      </a:lnTo>
                      <a:lnTo>
                        <a:pt x="684" y="462"/>
                      </a:lnTo>
                      <a:close/>
                      <a:moveTo>
                        <a:pt x="652" y="544"/>
                      </a:moveTo>
                      <a:lnTo>
                        <a:pt x="652" y="540"/>
                      </a:lnTo>
                      <a:lnTo>
                        <a:pt x="656" y="540"/>
                      </a:lnTo>
                      <a:lnTo>
                        <a:pt x="656" y="544"/>
                      </a:lnTo>
                      <a:lnTo>
                        <a:pt x="652" y="544"/>
                      </a:lnTo>
                      <a:lnTo>
                        <a:pt x="652" y="544"/>
                      </a:lnTo>
                      <a:lnTo>
                        <a:pt x="652" y="544"/>
                      </a:lnTo>
                      <a:close/>
                      <a:moveTo>
                        <a:pt x="622" y="574"/>
                      </a:moveTo>
                      <a:lnTo>
                        <a:pt x="622" y="578"/>
                      </a:lnTo>
                      <a:lnTo>
                        <a:pt x="618" y="578"/>
                      </a:lnTo>
                      <a:lnTo>
                        <a:pt x="618" y="574"/>
                      </a:lnTo>
                      <a:lnTo>
                        <a:pt x="622" y="574"/>
                      </a:lnTo>
                      <a:lnTo>
                        <a:pt x="622" y="574"/>
                      </a:lnTo>
                      <a:lnTo>
                        <a:pt x="622" y="574"/>
                      </a:lnTo>
                      <a:close/>
                      <a:moveTo>
                        <a:pt x="520" y="622"/>
                      </a:moveTo>
                      <a:lnTo>
                        <a:pt x="524" y="622"/>
                      </a:lnTo>
                      <a:lnTo>
                        <a:pt x="520" y="622"/>
                      </a:lnTo>
                      <a:lnTo>
                        <a:pt x="516" y="622"/>
                      </a:lnTo>
                      <a:lnTo>
                        <a:pt x="520" y="622"/>
                      </a:lnTo>
                      <a:lnTo>
                        <a:pt x="520" y="622"/>
                      </a:lnTo>
                      <a:lnTo>
                        <a:pt x="520" y="622"/>
                      </a:lnTo>
                      <a:close/>
                      <a:moveTo>
                        <a:pt x="676" y="286"/>
                      </a:moveTo>
                      <a:lnTo>
                        <a:pt x="674" y="286"/>
                      </a:lnTo>
                      <a:lnTo>
                        <a:pt x="674" y="284"/>
                      </a:lnTo>
                      <a:lnTo>
                        <a:pt x="676" y="284"/>
                      </a:lnTo>
                      <a:lnTo>
                        <a:pt x="676" y="286"/>
                      </a:lnTo>
                      <a:lnTo>
                        <a:pt x="676" y="286"/>
                      </a:lnTo>
                      <a:lnTo>
                        <a:pt x="676" y="286"/>
                      </a:lnTo>
                      <a:close/>
                      <a:moveTo>
                        <a:pt x="572" y="600"/>
                      </a:moveTo>
                      <a:lnTo>
                        <a:pt x="570" y="600"/>
                      </a:lnTo>
                      <a:lnTo>
                        <a:pt x="570" y="604"/>
                      </a:lnTo>
                      <a:lnTo>
                        <a:pt x="570" y="600"/>
                      </a:lnTo>
                      <a:lnTo>
                        <a:pt x="572" y="600"/>
                      </a:lnTo>
                      <a:lnTo>
                        <a:pt x="572" y="600"/>
                      </a:lnTo>
                      <a:lnTo>
                        <a:pt x="572" y="600"/>
                      </a:lnTo>
                      <a:close/>
                      <a:moveTo>
                        <a:pt x="652" y="422"/>
                      </a:moveTo>
                      <a:lnTo>
                        <a:pt x="656" y="422"/>
                      </a:lnTo>
                      <a:lnTo>
                        <a:pt x="656" y="424"/>
                      </a:lnTo>
                      <a:lnTo>
                        <a:pt x="656" y="422"/>
                      </a:lnTo>
                      <a:lnTo>
                        <a:pt x="652" y="422"/>
                      </a:lnTo>
                      <a:lnTo>
                        <a:pt x="652" y="422"/>
                      </a:lnTo>
                      <a:lnTo>
                        <a:pt x="652" y="422"/>
                      </a:lnTo>
                      <a:close/>
                      <a:moveTo>
                        <a:pt x="566" y="592"/>
                      </a:moveTo>
                      <a:lnTo>
                        <a:pt x="562" y="590"/>
                      </a:lnTo>
                      <a:lnTo>
                        <a:pt x="566" y="590"/>
                      </a:lnTo>
                      <a:lnTo>
                        <a:pt x="566" y="592"/>
                      </a:lnTo>
                      <a:lnTo>
                        <a:pt x="566" y="592"/>
                      </a:lnTo>
                      <a:lnTo>
                        <a:pt x="566" y="592"/>
                      </a:lnTo>
                      <a:close/>
                      <a:moveTo>
                        <a:pt x="632" y="564"/>
                      </a:moveTo>
                      <a:lnTo>
                        <a:pt x="632" y="560"/>
                      </a:lnTo>
                      <a:lnTo>
                        <a:pt x="632" y="564"/>
                      </a:lnTo>
                      <a:lnTo>
                        <a:pt x="636" y="564"/>
                      </a:lnTo>
                      <a:lnTo>
                        <a:pt x="632" y="564"/>
                      </a:lnTo>
                      <a:lnTo>
                        <a:pt x="632" y="564"/>
                      </a:lnTo>
                      <a:lnTo>
                        <a:pt x="632" y="564"/>
                      </a:lnTo>
                      <a:close/>
                      <a:moveTo>
                        <a:pt x="614" y="578"/>
                      </a:moveTo>
                      <a:lnTo>
                        <a:pt x="614" y="582"/>
                      </a:lnTo>
                      <a:lnTo>
                        <a:pt x="614" y="578"/>
                      </a:lnTo>
                      <a:lnTo>
                        <a:pt x="614" y="578"/>
                      </a:lnTo>
                      <a:lnTo>
                        <a:pt x="614" y="578"/>
                      </a:lnTo>
                      <a:close/>
                      <a:moveTo>
                        <a:pt x="540" y="616"/>
                      </a:moveTo>
                      <a:lnTo>
                        <a:pt x="540" y="612"/>
                      </a:lnTo>
                      <a:lnTo>
                        <a:pt x="542" y="612"/>
                      </a:lnTo>
                      <a:lnTo>
                        <a:pt x="540" y="616"/>
                      </a:lnTo>
                      <a:lnTo>
                        <a:pt x="540" y="616"/>
                      </a:lnTo>
                      <a:lnTo>
                        <a:pt x="540" y="616"/>
                      </a:lnTo>
                      <a:close/>
                      <a:moveTo>
                        <a:pt x="628" y="564"/>
                      </a:moveTo>
                      <a:lnTo>
                        <a:pt x="628" y="560"/>
                      </a:lnTo>
                      <a:lnTo>
                        <a:pt x="632" y="564"/>
                      </a:lnTo>
                      <a:lnTo>
                        <a:pt x="628" y="564"/>
                      </a:lnTo>
                      <a:lnTo>
                        <a:pt x="628" y="564"/>
                      </a:lnTo>
                      <a:lnTo>
                        <a:pt x="628" y="564"/>
                      </a:lnTo>
                      <a:close/>
                      <a:moveTo>
                        <a:pt x="520" y="620"/>
                      </a:moveTo>
                      <a:lnTo>
                        <a:pt x="524" y="620"/>
                      </a:lnTo>
                      <a:lnTo>
                        <a:pt x="524" y="622"/>
                      </a:lnTo>
                      <a:lnTo>
                        <a:pt x="520" y="622"/>
                      </a:lnTo>
                      <a:lnTo>
                        <a:pt x="520" y="620"/>
                      </a:lnTo>
                      <a:lnTo>
                        <a:pt x="520" y="620"/>
                      </a:lnTo>
                      <a:lnTo>
                        <a:pt x="520" y="620"/>
                      </a:lnTo>
                      <a:close/>
                      <a:moveTo>
                        <a:pt x="684" y="454"/>
                      </a:moveTo>
                      <a:lnTo>
                        <a:pt x="688" y="454"/>
                      </a:lnTo>
                      <a:lnTo>
                        <a:pt x="688" y="458"/>
                      </a:lnTo>
                      <a:lnTo>
                        <a:pt x="684" y="458"/>
                      </a:lnTo>
                      <a:lnTo>
                        <a:pt x="684" y="454"/>
                      </a:lnTo>
                      <a:lnTo>
                        <a:pt x="684" y="454"/>
                      </a:lnTo>
                      <a:lnTo>
                        <a:pt x="684" y="454"/>
                      </a:lnTo>
                      <a:close/>
                      <a:moveTo>
                        <a:pt x="684" y="466"/>
                      </a:moveTo>
                      <a:lnTo>
                        <a:pt x="688" y="466"/>
                      </a:lnTo>
                      <a:lnTo>
                        <a:pt x="688" y="470"/>
                      </a:lnTo>
                      <a:lnTo>
                        <a:pt x="684" y="466"/>
                      </a:lnTo>
                      <a:lnTo>
                        <a:pt x="684" y="466"/>
                      </a:lnTo>
                      <a:lnTo>
                        <a:pt x="684" y="466"/>
                      </a:lnTo>
                      <a:close/>
                      <a:moveTo>
                        <a:pt x="572" y="600"/>
                      </a:moveTo>
                      <a:lnTo>
                        <a:pt x="576" y="600"/>
                      </a:lnTo>
                      <a:lnTo>
                        <a:pt x="576" y="604"/>
                      </a:lnTo>
                      <a:lnTo>
                        <a:pt x="572" y="600"/>
                      </a:lnTo>
                      <a:lnTo>
                        <a:pt x="572" y="604"/>
                      </a:lnTo>
                      <a:lnTo>
                        <a:pt x="572" y="600"/>
                      </a:lnTo>
                      <a:lnTo>
                        <a:pt x="572" y="600"/>
                      </a:lnTo>
                      <a:lnTo>
                        <a:pt x="572" y="60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6" name="Freeform 25"/>
                <p:cNvSpPr>
                  <a:spLocks/>
                </p:cNvSpPr>
                <p:nvPr/>
              </p:nvSpPr>
              <p:spPr bwMode="auto">
                <a:xfrm>
                  <a:off x="5114925" y="3562418"/>
                  <a:ext cx="53975" cy="28575"/>
                </a:xfrm>
                <a:custGeom>
                  <a:avLst/>
                  <a:gdLst>
                    <a:gd name="T0" fmla="*/ 14 w 34"/>
                    <a:gd name="T1" fmla="*/ 14 h 18"/>
                    <a:gd name="T2" fmla="*/ 14 w 34"/>
                    <a:gd name="T3" fmla="*/ 18 h 18"/>
                    <a:gd name="T4" fmla="*/ 10 w 34"/>
                    <a:gd name="T5" fmla="*/ 18 h 18"/>
                    <a:gd name="T6" fmla="*/ 8 w 34"/>
                    <a:gd name="T7" fmla="*/ 18 h 18"/>
                    <a:gd name="T8" fmla="*/ 8 w 34"/>
                    <a:gd name="T9" fmla="*/ 18 h 18"/>
                    <a:gd name="T10" fmla="*/ 4 w 34"/>
                    <a:gd name="T11" fmla="*/ 14 h 18"/>
                    <a:gd name="T12" fmla="*/ 4 w 34"/>
                    <a:gd name="T13" fmla="*/ 14 h 18"/>
                    <a:gd name="T14" fmla="*/ 0 w 34"/>
                    <a:gd name="T15" fmla="*/ 10 h 18"/>
                    <a:gd name="T16" fmla="*/ 4 w 34"/>
                    <a:gd name="T17" fmla="*/ 10 h 18"/>
                    <a:gd name="T18" fmla="*/ 4 w 34"/>
                    <a:gd name="T19" fmla="*/ 10 h 18"/>
                    <a:gd name="T20" fmla="*/ 4 w 34"/>
                    <a:gd name="T21" fmla="*/ 10 h 18"/>
                    <a:gd name="T22" fmla="*/ 4 w 34"/>
                    <a:gd name="T23" fmla="*/ 10 h 18"/>
                    <a:gd name="T24" fmla="*/ 4 w 34"/>
                    <a:gd name="T25" fmla="*/ 8 h 18"/>
                    <a:gd name="T26" fmla="*/ 8 w 34"/>
                    <a:gd name="T27" fmla="*/ 8 h 18"/>
                    <a:gd name="T28" fmla="*/ 8 w 34"/>
                    <a:gd name="T29" fmla="*/ 8 h 18"/>
                    <a:gd name="T30" fmla="*/ 10 w 34"/>
                    <a:gd name="T31" fmla="*/ 8 h 18"/>
                    <a:gd name="T32" fmla="*/ 10 w 34"/>
                    <a:gd name="T33" fmla="*/ 8 h 18"/>
                    <a:gd name="T34" fmla="*/ 10 w 34"/>
                    <a:gd name="T35" fmla="*/ 8 h 18"/>
                    <a:gd name="T36" fmla="*/ 10 w 34"/>
                    <a:gd name="T37" fmla="*/ 8 h 18"/>
                    <a:gd name="T38" fmla="*/ 14 w 34"/>
                    <a:gd name="T39" fmla="*/ 4 h 18"/>
                    <a:gd name="T40" fmla="*/ 18 w 34"/>
                    <a:gd name="T41" fmla="*/ 4 h 18"/>
                    <a:gd name="T42" fmla="*/ 22 w 34"/>
                    <a:gd name="T43" fmla="*/ 4 h 18"/>
                    <a:gd name="T44" fmla="*/ 22 w 34"/>
                    <a:gd name="T45" fmla="*/ 4 h 18"/>
                    <a:gd name="T46" fmla="*/ 22 w 34"/>
                    <a:gd name="T47" fmla="*/ 4 h 18"/>
                    <a:gd name="T48" fmla="*/ 30 w 34"/>
                    <a:gd name="T49" fmla="*/ 0 h 18"/>
                    <a:gd name="T50" fmla="*/ 30 w 34"/>
                    <a:gd name="T51" fmla="*/ 0 h 18"/>
                    <a:gd name="T52" fmla="*/ 34 w 34"/>
                    <a:gd name="T53" fmla="*/ 0 h 18"/>
                    <a:gd name="T54" fmla="*/ 34 w 34"/>
                    <a:gd name="T55" fmla="*/ 0 h 18"/>
                    <a:gd name="T56" fmla="*/ 30 w 34"/>
                    <a:gd name="T57" fmla="*/ 4 h 18"/>
                    <a:gd name="T58" fmla="*/ 26 w 34"/>
                    <a:gd name="T59" fmla="*/ 4 h 18"/>
                    <a:gd name="T60" fmla="*/ 26 w 34"/>
                    <a:gd name="T61" fmla="*/ 8 h 18"/>
                    <a:gd name="T62" fmla="*/ 26 w 34"/>
                    <a:gd name="T63" fmla="*/ 8 h 18"/>
                    <a:gd name="T64" fmla="*/ 26 w 34"/>
                    <a:gd name="T65" fmla="*/ 10 h 18"/>
                    <a:gd name="T66" fmla="*/ 26 w 34"/>
                    <a:gd name="T67" fmla="*/ 10 h 18"/>
                    <a:gd name="T68" fmla="*/ 26 w 34"/>
                    <a:gd name="T69" fmla="*/ 10 h 18"/>
                    <a:gd name="T70" fmla="*/ 26 w 34"/>
                    <a:gd name="T71" fmla="*/ 10 h 18"/>
                    <a:gd name="T72" fmla="*/ 26 w 34"/>
                    <a:gd name="T73" fmla="*/ 10 h 18"/>
                    <a:gd name="T74" fmla="*/ 26 w 34"/>
                    <a:gd name="T75" fmla="*/ 10 h 18"/>
                    <a:gd name="T76" fmla="*/ 22 w 34"/>
                    <a:gd name="T77" fmla="*/ 10 h 18"/>
                    <a:gd name="T78" fmla="*/ 22 w 34"/>
                    <a:gd name="T79" fmla="*/ 10 h 18"/>
                    <a:gd name="T80" fmla="*/ 22 w 34"/>
                    <a:gd name="T81" fmla="*/ 10 h 18"/>
                    <a:gd name="T82" fmla="*/ 22 w 34"/>
                    <a:gd name="T83" fmla="*/ 10 h 18"/>
                    <a:gd name="T84" fmla="*/ 22 w 34"/>
                    <a:gd name="T85" fmla="*/ 14 h 18"/>
                    <a:gd name="T86" fmla="*/ 18 w 34"/>
                    <a:gd name="T87" fmla="*/ 14 h 18"/>
                    <a:gd name="T88" fmla="*/ 14 w 34"/>
                    <a:gd name="T89" fmla="*/ 14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34" h="18">
                      <a:moveTo>
                        <a:pt x="14" y="14"/>
                      </a:moveTo>
                      <a:lnTo>
                        <a:pt x="14" y="18"/>
                      </a:lnTo>
                      <a:lnTo>
                        <a:pt x="14" y="14"/>
                      </a:lnTo>
                      <a:lnTo>
                        <a:pt x="14" y="14"/>
                      </a:lnTo>
                      <a:lnTo>
                        <a:pt x="14" y="18"/>
                      </a:lnTo>
                      <a:lnTo>
                        <a:pt x="14" y="18"/>
                      </a:lnTo>
                      <a:lnTo>
                        <a:pt x="10" y="18"/>
                      </a:lnTo>
                      <a:lnTo>
                        <a:pt x="10" y="18"/>
                      </a:lnTo>
                      <a:lnTo>
                        <a:pt x="10" y="18"/>
                      </a:lnTo>
                      <a:lnTo>
                        <a:pt x="10" y="18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4" y="10"/>
                      </a:lnTo>
                      <a:lnTo>
                        <a:pt x="4" y="10"/>
                      </a:lnTo>
                      <a:lnTo>
                        <a:pt x="4" y="10"/>
                      </a:lnTo>
                      <a:lnTo>
                        <a:pt x="4" y="10"/>
                      </a:lnTo>
                      <a:lnTo>
                        <a:pt x="4" y="10"/>
                      </a:lnTo>
                      <a:lnTo>
                        <a:pt x="4" y="10"/>
                      </a:lnTo>
                      <a:lnTo>
                        <a:pt x="4" y="10"/>
                      </a:lnTo>
                      <a:lnTo>
                        <a:pt x="4" y="10"/>
                      </a:lnTo>
                      <a:lnTo>
                        <a:pt x="4" y="10"/>
                      </a:lnTo>
                      <a:lnTo>
                        <a:pt x="4" y="10"/>
                      </a:lnTo>
                      <a:lnTo>
                        <a:pt x="4" y="10"/>
                      </a:lnTo>
                      <a:lnTo>
                        <a:pt x="4" y="10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4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4" y="0"/>
                      </a:lnTo>
                      <a:lnTo>
                        <a:pt x="34" y="0"/>
                      </a:lnTo>
                      <a:lnTo>
                        <a:pt x="34" y="0"/>
                      </a:lnTo>
                      <a:lnTo>
                        <a:pt x="34" y="0"/>
                      </a:lnTo>
                      <a:lnTo>
                        <a:pt x="30" y="0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2" y="14"/>
                      </a:lnTo>
                      <a:lnTo>
                        <a:pt x="22" y="14"/>
                      </a:lnTo>
                      <a:lnTo>
                        <a:pt x="22" y="14"/>
                      </a:lnTo>
                      <a:lnTo>
                        <a:pt x="18" y="14"/>
                      </a:lnTo>
                      <a:lnTo>
                        <a:pt x="18" y="14"/>
                      </a:lnTo>
                      <a:lnTo>
                        <a:pt x="14" y="14"/>
                      </a:lnTo>
                      <a:lnTo>
                        <a:pt x="14" y="14"/>
                      </a:lnTo>
                      <a:lnTo>
                        <a:pt x="14" y="14"/>
                      </a:lnTo>
                      <a:lnTo>
                        <a:pt x="14" y="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7" name="Freeform 26"/>
                <p:cNvSpPr>
                  <a:spLocks/>
                </p:cNvSpPr>
                <p:nvPr/>
              </p:nvSpPr>
              <p:spPr bwMode="auto">
                <a:xfrm>
                  <a:off x="5162550" y="3679893"/>
                  <a:ext cx="6350" cy="12700"/>
                </a:xfrm>
                <a:custGeom>
                  <a:avLst/>
                  <a:gdLst>
                    <a:gd name="T0" fmla="*/ 4 w 4"/>
                    <a:gd name="T1" fmla="*/ 0 h 8"/>
                    <a:gd name="T2" fmla="*/ 4 w 4"/>
                    <a:gd name="T3" fmla="*/ 0 h 8"/>
                    <a:gd name="T4" fmla="*/ 4 w 4"/>
                    <a:gd name="T5" fmla="*/ 0 h 8"/>
                    <a:gd name="T6" fmla="*/ 4 w 4"/>
                    <a:gd name="T7" fmla="*/ 0 h 8"/>
                    <a:gd name="T8" fmla="*/ 4 w 4"/>
                    <a:gd name="T9" fmla="*/ 4 h 8"/>
                    <a:gd name="T10" fmla="*/ 4 w 4"/>
                    <a:gd name="T11" fmla="*/ 4 h 8"/>
                    <a:gd name="T12" fmla="*/ 0 w 4"/>
                    <a:gd name="T13" fmla="*/ 4 h 8"/>
                    <a:gd name="T14" fmla="*/ 0 w 4"/>
                    <a:gd name="T15" fmla="*/ 4 h 8"/>
                    <a:gd name="T16" fmla="*/ 0 w 4"/>
                    <a:gd name="T17" fmla="*/ 8 h 8"/>
                    <a:gd name="T18" fmla="*/ 0 w 4"/>
                    <a:gd name="T19" fmla="*/ 8 h 8"/>
                    <a:gd name="T20" fmla="*/ 0 w 4"/>
                    <a:gd name="T21" fmla="*/ 4 h 8"/>
                    <a:gd name="T22" fmla="*/ 0 w 4"/>
                    <a:gd name="T23" fmla="*/ 4 h 8"/>
                    <a:gd name="T24" fmla="*/ 0 w 4"/>
                    <a:gd name="T25" fmla="*/ 4 h 8"/>
                    <a:gd name="T26" fmla="*/ 0 w 4"/>
                    <a:gd name="T27" fmla="*/ 4 h 8"/>
                    <a:gd name="T28" fmla="*/ 4 w 4"/>
                    <a:gd name="T29" fmla="*/ 4 h 8"/>
                    <a:gd name="T30" fmla="*/ 4 w 4"/>
                    <a:gd name="T31" fmla="*/ 0 h 8"/>
                    <a:gd name="T32" fmla="*/ 4 w 4"/>
                    <a:gd name="T33" fmla="*/ 0 h 8"/>
                    <a:gd name="T34" fmla="*/ 4 w 4"/>
                    <a:gd name="T35" fmla="*/ 0 h 8"/>
                    <a:gd name="T36" fmla="*/ 4 w 4"/>
                    <a:gd name="T37" fmla="*/ 0 h 8"/>
                    <a:gd name="T38" fmla="*/ 4 w 4"/>
                    <a:gd name="T39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" h="8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4" y="4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8" name="Freeform 27"/>
                <p:cNvSpPr>
                  <a:spLocks/>
                </p:cNvSpPr>
                <p:nvPr/>
              </p:nvSpPr>
              <p:spPr bwMode="auto">
                <a:xfrm>
                  <a:off x="5292725" y="3321118"/>
                  <a:ext cx="149225" cy="73025"/>
                </a:xfrm>
                <a:custGeom>
                  <a:avLst/>
                  <a:gdLst>
                    <a:gd name="T0" fmla="*/ 34 w 94"/>
                    <a:gd name="T1" fmla="*/ 40 h 46"/>
                    <a:gd name="T2" fmla="*/ 30 w 94"/>
                    <a:gd name="T3" fmla="*/ 40 h 46"/>
                    <a:gd name="T4" fmla="*/ 26 w 94"/>
                    <a:gd name="T5" fmla="*/ 40 h 46"/>
                    <a:gd name="T6" fmla="*/ 22 w 94"/>
                    <a:gd name="T7" fmla="*/ 36 h 46"/>
                    <a:gd name="T8" fmla="*/ 26 w 94"/>
                    <a:gd name="T9" fmla="*/ 32 h 46"/>
                    <a:gd name="T10" fmla="*/ 22 w 94"/>
                    <a:gd name="T11" fmla="*/ 24 h 46"/>
                    <a:gd name="T12" fmla="*/ 22 w 94"/>
                    <a:gd name="T13" fmla="*/ 20 h 46"/>
                    <a:gd name="T14" fmla="*/ 18 w 94"/>
                    <a:gd name="T15" fmla="*/ 14 h 46"/>
                    <a:gd name="T16" fmla="*/ 18 w 94"/>
                    <a:gd name="T17" fmla="*/ 14 h 46"/>
                    <a:gd name="T18" fmla="*/ 14 w 94"/>
                    <a:gd name="T19" fmla="*/ 10 h 46"/>
                    <a:gd name="T20" fmla="*/ 12 w 94"/>
                    <a:gd name="T21" fmla="*/ 10 h 46"/>
                    <a:gd name="T22" fmla="*/ 12 w 94"/>
                    <a:gd name="T23" fmla="*/ 8 h 46"/>
                    <a:gd name="T24" fmla="*/ 4 w 94"/>
                    <a:gd name="T25" fmla="*/ 4 h 46"/>
                    <a:gd name="T26" fmla="*/ 0 w 94"/>
                    <a:gd name="T27" fmla="*/ 4 h 46"/>
                    <a:gd name="T28" fmla="*/ 0 w 94"/>
                    <a:gd name="T29" fmla="*/ 0 h 46"/>
                    <a:gd name="T30" fmla="*/ 4 w 94"/>
                    <a:gd name="T31" fmla="*/ 0 h 46"/>
                    <a:gd name="T32" fmla="*/ 8 w 94"/>
                    <a:gd name="T33" fmla="*/ 0 h 46"/>
                    <a:gd name="T34" fmla="*/ 12 w 94"/>
                    <a:gd name="T35" fmla="*/ 0 h 46"/>
                    <a:gd name="T36" fmla="*/ 12 w 94"/>
                    <a:gd name="T37" fmla="*/ 0 h 46"/>
                    <a:gd name="T38" fmla="*/ 14 w 94"/>
                    <a:gd name="T39" fmla="*/ 4 h 46"/>
                    <a:gd name="T40" fmla="*/ 22 w 94"/>
                    <a:gd name="T41" fmla="*/ 8 h 46"/>
                    <a:gd name="T42" fmla="*/ 30 w 94"/>
                    <a:gd name="T43" fmla="*/ 4 h 46"/>
                    <a:gd name="T44" fmla="*/ 34 w 94"/>
                    <a:gd name="T45" fmla="*/ 8 h 46"/>
                    <a:gd name="T46" fmla="*/ 38 w 94"/>
                    <a:gd name="T47" fmla="*/ 8 h 46"/>
                    <a:gd name="T48" fmla="*/ 44 w 94"/>
                    <a:gd name="T49" fmla="*/ 10 h 46"/>
                    <a:gd name="T50" fmla="*/ 48 w 94"/>
                    <a:gd name="T51" fmla="*/ 10 h 46"/>
                    <a:gd name="T52" fmla="*/ 52 w 94"/>
                    <a:gd name="T53" fmla="*/ 14 h 46"/>
                    <a:gd name="T54" fmla="*/ 52 w 94"/>
                    <a:gd name="T55" fmla="*/ 14 h 46"/>
                    <a:gd name="T56" fmla="*/ 56 w 94"/>
                    <a:gd name="T57" fmla="*/ 18 h 46"/>
                    <a:gd name="T58" fmla="*/ 64 w 94"/>
                    <a:gd name="T59" fmla="*/ 14 h 46"/>
                    <a:gd name="T60" fmla="*/ 64 w 94"/>
                    <a:gd name="T61" fmla="*/ 14 h 46"/>
                    <a:gd name="T62" fmla="*/ 68 w 94"/>
                    <a:gd name="T63" fmla="*/ 14 h 46"/>
                    <a:gd name="T64" fmla="*/ 70 w 94"/>
                    <a:gd name="T65" fmla="*/ 14 h 46"/>
                    <a:gd name="T66" fmla="*/ 70 w 94"/>
                    <a:gd name="T67" fmla="*/ 14 h 46"/>
                    <a:gd name="T68" fmla="*/ 74 w 94"/>
                    <a:gd name="T69" fmla="*/ 18 h 46"/>
                    <a:gd name="T70" fmla="*/ 74 w 94"/>
                    <a:gd name="T71" fmla="*/ 18 h 46"/>
                    <a:gd name="T72" fmla="*/ 78 w 94"/>
                    <a:gd name="T73" fmla="*/ 18 h 46"/>
                    <a:gd name="T74" fmla="*/ 78 w 94"/>
                    <a:gd name="T75" fmla="*/ 20 h 46"/>
                    <a:gd name="T76" fmla="*/ 86 w 94"/>
                    <a:gd name="T77" fmla="*/ 28 h 46"/>
                    <a:gd name="T78" fmla="*/ 90 w 94"/>
                    <a:gd name="T79" fmla="*/ 32 h 46"/>
                    <a:gd name="T80" fmla="*/ 90 w 94"/>
                    <a:gd name="T81" fmla="*/ 32 h 46"/>
                    <a:gd name="T82" fmla="*/ 86 w 94"/>
                    <a:gd name="T83" fmla="*/ 32 h 46"/>
                    <a:gd name="T84" fmla="*/ 90 w 94"/>
                    <a:gd name="T85" fmla="*/ 40 h 46"/>
                    <a:gd name="T86" fmla="*/ 94 w 94"/>
                    <a:gd name="T87" fmla="*/ 44 h 46"/>
                    <a:gd name="T88" fmla="*/ 94 w 94"/>
                    <a:gd name="T89" fmla="*/ 46 h 46"/>
                    <a:gd name="T90" fmla="*/ 90 w 94"/>
                    <a:gd name="T91" fmla="*/ 44 h 46"/>
                    <a:gd name="T92" fmla="*/ 86 w 94"/>
                    <a:gd name="T93" fmla="*/ 44 h 46"/>
                    <a:gd name="T94" fmla="*/ 82 w 94"/>
                    <a:gd name="T95" fmla="*/ 44 h 46"/>
                    <a:gd name="T96" fmla="*/ 78 w 94"/>
                    <a:gd name="T97" fmla="*/ 44 h 46"/>
                    <a:gd name="T98" fmla="*/ 74 w 94"/>
                    <a:gd name="T99" fmla="*/ 40 h 46"/>
                    <a:gd name="T100" fmla="*/ 70 w 94"/>
                    <a:gd name="T101" fmla="*/ 44 h 46"/>
                    <a:gd name="T102" fmla="*/ 68 w 94"/>
                    <a:gd name="T103" fmla="*/ 44 h 46"/>
                    <a:gd name="T104" fmla="*/ 60 w 94"/>
                    <a:gd name="T105" fmla="*/ 44 h 46"/>
                    <a:gd name="T106" fmla="*/ 56 w 94"/>
                    <a:gd name="T107" fmla="*/ 44 h 46"/>
                    <a:gd name="T108" fmla="*/ 52 w 94"/>
                    <a:gd name="T109" fmla="*/ 46 h 46"/>
                    <a:gd name="T110" fmla="*/ 48 w 94"/>
                    <a:gd name="T111" fmla="*/ 46 h 46"/>
                    <a:gd name="T112" fmla="*/ 48 w 94"/>
                    <a:gd name="T113" fmla="*/ 44 h 46"/>
                    <a:gd name="T114" fmla="*/ 42 w 94"/>
                    <a:gd name="T115" fmla="*/ 40 h 46"/>
                    <a:gd name="T116" fmla="*/ 38 w 94"/>
                    <a:gd name="T117" fmla="*/ 36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94" h="46">
                      <a:moveTo>
                        <a:pt x="38" y="36"/>
                      </a:moveTo>
                      <a:lnTo>
                        <a:pt x="38" y="40"/>
                      </a:lnTo>
                      <a:lnTo>
                        <a:pt x="34" y="40"/>
                      </a:lnTo>
                      <a:lnTo>
                        <a:pt x="34" y="40"/>
                      </a:lnTo>
                      <a:lnTo>
                        <a:pt x="34" y="40"/>
                      </a:lnTo>
                      <a:lnTo>
                        <a:pt x="34" y="40"/>
                      </a:lnTo>
                      <a:lnTo>
                        <a:pt x="34" y="40"/>
                      </a:lnTo>
                      <a:lnTo>
                        <a:pt x="30" y="40"/>
                      </a:lnTo>
                      <a:lnTo>
                        <a:pt x="30" y="40"/>
                      </a:lnTo>
                      <a:lnTo>
                        <a:pt x="30" y="40"/>
                      </a:lnTo>
                      <a:lnTo>
                        <a:pt x="26" y="40"/>
                      </a:lnTo>
                      <a:lnTo>
                        <a:pt x="26" y="40"/>
                      </a:lnTo>
                      <a:lnTo>
                        <a:pt x="26" y="40"/>
                      </a:lnTo>
                      <a:lnTo>
                        <a:pt x="26" y="40"/>
                      </a:lnTo>
                      <a:lnTo>
                        <a:pt x="26" y="40"/>
                      </a:lnTo>
                      <a:lnTo>
                        <a:pt x="22" y="40"/>
                      </a:lnTo>
                      <a:lnTo>
                        <a:pt x="22" y="40"/>
                      </a:lnTo>
                      <a:lnTo>
                        <a:pt x="22" y="40"/>
                      </a:lnTo>
                      <a:lnTo>
                        <a:pt x="22" y="36"/>
                      </a:lnTo>
                      <a:lnTo>
                        <a:pt x="22" y="36"/>
                      </a:lnTo>
                      <a:lnTo>
                        <a:pt x="22" y="36"/>
                      </a:lnTo>
                      <a:lnTo>
                        <a:pt x="22" y="36"/>
                      </a:lnTo>
                      <a:lnTo>
                        <a:pt x="22" y="32"/>
                      </a:lnTo>
                      <a:lnTo>
                        <a:pt x="26" y="32"/>
                      </a:lnTo>
                      <a:lnTo>
                        <a:pt x="26" y="32"/>
                      </a:lnTo>
                      <a:lnTo>
                        <a:pt x="26" y="32"/>
                      </a:lnTo>
                      <a:lnTo>
                        <a:pt x="22" y="28"/>
                      </a:lnTo>
                      <a:lnTo>
                        <a:pt x="22" y="24"/>
                      </a:lnTo>
                      <a:lnTo>
                        <a:pt x="22" y="24"/>
                      </a:lnTo>
                      <a:lnTo>
                        <a:pt x="22" y="24"/>
                      </a:lnTo>
                      <a:lnTo>
                        <a:pt x="22" y="24"/>
                      </a:lnTo>
                      <a:lnTo>
                        <a:pt x="22" y="24"/>
                      </a:lnTo>
                      <a:lnTo>
                        <a:pt x="22" y="20"/>
                      </a:lnTo>
                      <a:lnTo>
                        <a:pt x="22" y="20"/>
                      </a:lnTo>
                      <a:lnTo>
                        <a:pt x="22" y="20"/>
                      </a:lnTo>
                      <a:lnTo>
                        <a:pt x="22" y="18"/>
                      </a:lnTo>
                      <a:lnTo>
                        <a:pt x="22" y="18"/>
                      </a:lnTo>
                      <a:lnTo>
                        <a:pt x="22" y="18"/>
                      </a:lnTo>
                      <a:lnTo>
                        <a:pt x="18" y="18"/>
                      </a:lnTo>
                      <a:lnTo>
                        <a:pt x="18" y="14"/>
                      </a:lnTo>
                      <a:lnTo>
                        <a:pt x="18" y="14"/>
                      </a:lnTo>
                      <a:lnTo>
                        <a:pt x="18" y="14"/>
                      </a:lnTo>
                      <a:lnTo>
                        <a:pt x="18" y="14"/>
                      </a:lnTo>
                      <a:lnTo>
                        <a:pt x="18" y="14"/>
                      </a:lnTo>
                      <a:lnTo>
                        <a:pt x="18" y="14"/>
                      </a:lnTo>
                      <a:lnTo>
                        <a:pt x="14" y="14"/>
                      </a:lnTo>
                      <a:lnTo>
                        <a:pt x="14" y="14"/>
                      </a:lnTo>
                      <a:lnTo>
                        <a:pt x="14" y="14"/>
                      </a:lnTo>
                      <a:lnTo>
                        <a:pt x="14" y="14"/>
                      </a:lnTo>
                      <a:lnTo>
                        <a:pt x="14" y="10"/>
                      </a:lnTo>
                      <a:lnTo>
                        <a:pt x="14" y="10"/>
                      </a:lnTo>
                      <a:lnTo>
                        <a:pt x="14" y="10"/>
                      </a:lnTo>
                      <a:lnTo>
                        <a:pt x="14" y="10"/>
                      </a:lnTo>
                      <a:lnTo>
                        <a:pt x="12" y="10"/>
                      </a:lnTo>
                      <a:lnTo>
                        <a:pt x="12" y="10"/>
                      </a:lnTo>
                      <a:lnTo>
                        <a:pt x="12" y="10"/>
                      </a:lnTo>
                      <a:lnTo>
                        <a:pt x="12" y="8"/>
                      </a:lnTo>
                      <a:lnTo>
                        <a:pt x="12" y="8"/>
                      </a:lnTo>
                      <a:lnTo>
                        <a:pt x="12" y="8"/>
                      </a:lnTo>
                      <a:lnTo>
                        <a:pt x="12" y="8"/>
                      </a:lnTo>
                      <a:lnTo>
                        <a:pt x="12" y="8"/>
                      </a:lnTo>
                      <a:lnTo>
                        <a:pt x="8" y="8"/>
                      </a:lnTo>
                      <a:lnTo>
                        <a:pt x="4" y="8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8" y="4"/>
                      </a:lnTo>
                      <a:lnTo>
                        <a:pt x="22" y="4"/>
                      </a:lnTo>
                      <a:lnTo>
                        <a:pt x="22" y="8"/>
                      </a:lnTo>
                      <a:lnTo>
                        <a:pt x="30" y="8"/>
                      </a:lnTo>
                      <a:lnTo>
                        <a:pt x="30" y="8"/>
                      </a:lnTo>
                      <a:lnTo>
                        <a:pt x="30" y="8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8" y="8"/>
                      </a:lnTo>
                      <a:lnTo>
                        <a:pt x="38" y="8"/>
                      </a:lnTo>
                      <a:lnTo>
                        <a:pt x="38" y="8"/>
                      </a:lnTo>
                      <a:lnTo>
                        <a:pt x="38" y="8"/>
                      </a:lnTo>
                      <a:lnTo>
                        <a:pt x="38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4" y="10"/>
                      </a:lnTo>
                      <a:lnTo>
                        <a:pt x="44" y="10"/>
                      </a:lnTo>
                      <a:lnTo>
                        <a:pt x="44" y="10"/>
                      </a:lnTo>
                      <a:lnTo>
                        <a:pt x="48" y="10"/>
                      </a:lnTo>
                      <a:lnTo>
                        <a:pt x="48" y="10"/>
                      </a:lnTo>
                      <a:lnTo>
                        <a:pt x="48" y="10"/>
                      </a:lnTo>
                      <a:lnTo>
                        <a:pt x="48" y="10"/>
                      </a:lnTo>
                      <a:lnTo>
                        <a:pt x="48" y="10"/>
                      </a:lnTo>
                      <a:lnTo>
                        <a:pt x="48" y="14"/>
                      </a:lnTo>
                      <a:lnTo>
                        <a:pt x="52" y="14"/>
                      </a:lnTo>
                      <a:lnTo>
                        <a:pt x="52" y="14"/>
                      </a:lnTo>
                      <a:lnTo>
                        <a:pt x="52" y="14"/>
                      </a:lnTo>
                      <a:lnTo>
                        <a:pt x="52" y="14"/>
                      </a:lnTo>
                      <a:lnTo>
                        <a:pt x="52" y="14"/>
                      </a:lnTo>
                      <a:lnTo>
                        <a:pt x="52" y="14"/>
                      </a:lnTo>
                      <a:lnTo>
                        <a:pt x="52" y="14"/>
                      </a:lnTo>
                      <a:lnTo>
                        <a:pt x="52" y="14"/>
                      </a:lnTo>
                      <a:lnTo>
                        <a:pt x="52" y="14"/>
                      </a:lnTo>
                      <a:lnTo>
                        <a:pt x="52" y="18"/>
                      </a:lnTo>
                      <a:lnTo>
                        <a:pt x="52" y="18"/>
                      </a:lnTo>
                      <a:lnTo>
                        <a:pt x="56" y="18"/>
                      </a:lnTo>
                      <a:lnTo>
                        <a:pt x="60" y="18"/>
                      </a:lnTo>
                      <a:lnTo>
                        <a:pt x="60" y="18"/>
                      </a:lnTo>
                      <a:lnTo>
                        <a:pt x="60" y="18"/>
                      </a:lnTo>
                      <a:lnTo>
                        <a:pt x="60" y="14"/>
                      </a:lnTo>
                      <a:lnTo>
                        <a:pt x="64" y="14"/>
                      </a:lnTo>
                      <a:lnTo>
                        <a:pt x="64" y="14"/>
                      </a:lnTo>
                      <a:lnTo>
                        <a:pt x="64" y="14"/>
                      </a:lnTo>
                      <a:lnTo>
                        <a:pt x="64" y="14"/>
                      </a:lnTo>
                      <a:lnTo>
                        <a:pt x="64" y="14"/>
                      </a:lnTo>
                      <a:lnTo>
                        <a:pt x="64" y="14"/>
                      </a:lnTo>
                      <a:lnTo>
                        <a:pt x="64" y="14"/>
                      </a:lnTo>
                      <a:lnTo>
                        <a:pt x="68" y="14"/>
                      </a:lnTo>
                      <a:lnTo>
                        <a:pt x="68" y="14"/>
                      </a:lnTo>
                      <a:lnTo>
                        <a:pt x="68" y="14"/>
                      </a:lnTo>
                      <a:lnTo>
                        <a:pt x="68" y="14"/>
                      </a:lnTo>
                      <a:lnTo>
                        <a:pt x="68" y="14"/>
                      </a:lnTo>
                      <a:lnTo>
                        <a:pt x="68" y="14"/>
                      </a:lnTo>
                      <a:lnTo>
                        <a:pt x="68" y="14"/>
                      </a:lnTo>
                      <a:lnTo>
                        <a:pt x="70" y="14"/>
                      </a:lnTo>
                      <a:lnTo>
                        <a:pt x="70" y="14"/>
                      </a:lnTo>
                      <a:lnTo>
                        <a:pt x="70" y="14"/>
                      </a:lnTo>
                      <a:lnTo>
                        <a:pt x="70" y="14"/>
                      </a:lnTo>
                      <a:lnTo>
                        <a:pt x="70" y="14"/>
                      </a:lnTo>
                      <a:lnTo>
                        <a:pt x="70" y="14"/>
                      </a:lnTo>
                      <a:lnTo>
                        <a:pt x="70" y="14"/>
                      </a:lnTo>
                      <a:lnTo>
                        <a:pt x="70" y="14"/>
                      </a:lnTo>
                      <a:lnTo>
                        <a:pt x="70" y="14"/>
                      </a:lnTo>
                      <a:lnTo>
                        <a:pt x="70" y="14"/>
                      </a:lnTo>
                      <a:lnTo>
                        <a:pt x="74" y="14"/>
                      </a:lnTo>
                      <a:lnTo>
                        <a:pt x="74" y="18"/>
                      </a:lnTo>
                      <a:lnTo>
                        <a:pt x="74" y="18"/>
                      </a:lnTo>
                      <a:lnTo>
                        <a:pt x="74" y="18"/>
                      </a:lnTo>
                      <a:lnTo>
                        <a:pt x="74" y="18"/>
                      </a:lnTo>
                      <a:lnTo>
                        <a:pt x="74" y="18"/>
                      </a:lnTo>
                      <a:lnTo>
                        <a:pt x="74" y="18"/>
                      </a:lnTo>
                      <a:lnTo>
                        <a:pt x="78" y="18"/>
                      </a:lnTo>
                      <a:lnTo>
                        <a:pt x="78" y="18"/>
                      </a:lnTo>
                      <a:lnTo>
                        <a:pt x="78" y="18"/>
                      </a:lnTo>
                      <a:lnTo>
                        <a:pt x="78" y="18"/>
                      </a:lnTo>
                      <a:lnTo>
                        <a:pt x="78" y="18"/>
                      </a:lnTo>
                      <a:lnTo>
                        <a:pt x="82" y="18"/>
                      </a:lnTo>
                      <a:lnTo>
                        <a:pt x="82" y="18"/>
                      </a:lnTo>
                      <a:lnTo>
                        <a:pt x="82" y="18"/>
                      </a:lnTo>
                      <a:lnTo>
                        <a:pt x="82" y="20"/>
                      </a:lnTo>
                      <a:lnTo>
                        <a:pt x="78" y="20"/>
                      </a:lnTo>
                      <a:lnTo>
                        <a:pt x="78" y="20"/>
                      </a:lnTo>
                      <a:lnTo>
                        <a:pt x="78" y="24"/>
                      </a:lnTo>
                      <a:lnTo>
                        <a:pt x="78" y="24"/>
                      </a:lnTo>
                      <a:lnTo>
                        <a:pt x="78" y="24"/>
                      </a:lnTo>
                      <a:lnTo>
                        <a:pt x="86" y="28"/>
                      </a:lnTo>
                      <a:lnTo>
                        <a:pt x="86" y="28"/>
                      </a:lnTo>
                      <a:lnTo>
                        <a:pt x="86" y="28"/>
                      </a:lnTo>
                      <a:lnTo>
                        <a:pt x="90" y="28"/>
                      </a:lnTo>
                      <a:lnTo>
                        <a:pt x="90" y="28"/>
                      </a:lnTo>
                      <a:lnTo>
                        <a:pt x="90" y="32"/>
                      </a:lnTo>
                      <a:lnTo>
                        <a:pt x="90" y="32"/>
                      </a:lnTo>
                      <a:lnTo>
                        <a:pt x="90" y="32"/>
                      </a:lnTo>
                      <a:lnTo>
                        <a:pt x="90" y="32"/>
                      </a:lnTo>
                      <a:lnTo>
                        <a:pt x="90" y="32"/>
                      </a:lnTo>
                      <a:lnTo>
                        <a:pt x="90" y="32"/>
                      </a:lnTo>
                      <a:lnTo>
                        <a:pt x="90" y="32"/>
                      </a:lnTo>
                      <a:lnTo>
                        <a:pt x="90" y="32"/>
                      </a:lnTo>
                      <a:lnTo>
                        <a:pt x="86" y="32"/>
                      </a:lnTo>
                      <a:lnTo>
                        <a:pt x="86" y="32"/>
                      </a:lnTo>
                      <a:lnTo>
                        <a:pt x="86" y="32"/>
                      </a:lnTo>
                      <a:lnTo>
                        <a:pt x="86" y="36"/>
                      </a:lnTo>
                      <a:lnTo>
                        <a:pt x="86" y="36"/>
                      </a:lnTo>
                      <a:lnTo>
                        <a:pt x="86" y="36"/>
                      </a:lnTo>
                      <a:lnTo>
                        <a:pt x="86" y="36"/>
                      </a:lnTo>
                      <a:lnTo>
                        <a:pt x="90" y="40"/>
                      </a:lnTo>
                      <a:lnTo>
                        <a:pt x="90" y="40"/>
                      </a:lnTo>
                      <a:lnTo>
                        <a:pt x="94" y="40"/>
                      </a:lnTo>
                      <a:lnTo>
                        <a:pt x="94" y="40"/>
                      </a:lnTo>
                      <a:lnTo>
                        <a:pt x="94" y="40"/>
                      </a:lnTo>
                      <a:lnTo>
                        <a:pt x="94" y="44"/>
                      </a:lnTo>
                      <a:lnTo>
                        <a:pt x="94" y="44"/>
                      </a:lnTo>
                      <a:lnTo>
                        <a:pt x="94" y="44"/>
                      </a:lnTo>
                      <a:lnTo>
                        <a:pt x="94" y="44"/>
                      </a:lnTo>
                      <a:lnTo>
                        <a:pt x="94" y="46"/>
                      </a:lnTo>
                      <a:lnTo>
                        <a:pt x="94" y="46"/>
                      </a:lnTo>
                      <a:lnTo>
                        <a:pt x="90" y="46"/>
                      </a:lnTo>
                      <a:lnTo>
                        <a:pt x="90" y="46"/>
                      </a:lnTo>
                      <a:lnTo>
                        <a:pt x="90" y="46"/>
                      </a:lnTo>
                      <a:lnTo>
                        <a:pt x="90" y="46"/>
                      </a:lnTo>
                      <a:lnTo>
                        <a:pt x="90" y="44"/>
                      </a:lnTo>
                      <a:lnTo>
                        <a:pt x="90" y="44"/>
                      </a:lnTo>
                      <a:lnTo>
                        <a:pt x="86" y="44"/>
                      </a:lnTo>
                      <a:lnTo>
                        <a:pt x="86" y="44"/>
                      </a:lnTo>
                      <a:lnTo>
                        <a:pt x="86" y="44"/>
                      </a:lnTo>
                      <a:lnTo>
                        <a:pt x="86" y="44"/>
                      </a:lnTo>
                      <a:lnTo>
                        <a:pt x="86" y="44"/>
                      </a:lnTo>
                      <a:lnTo>
                        <a:pt x="86" y="44"/>
                      </a:lnTo>
                      <a:lnTo>
                        <a:pt x="82" y="44"/>
                      </a:lnTo>
                      <a:lnTo>
                        <a:pt x="82" y="44"/>
                      </a:lnTo>
                      <a:lnTo>
                        <a:pt x="82" y="44"/>
                      </a:lnTo>
                      <a:lnTo>
                        <a:pt x="82" y="44"/>
                      </a:lnTo>
                      <a:lnTo>
                        <a:pt x="82" y="44"/>
                      </a:lnTo>
                      <a:lnTo>
                        <a:pt x="82" y="44"/>
                      </a:lnTo>
                      <a:lnTo>
                        <a:pt x="82" y="44"/>
                      </a:lnTo>
                      <a:lnTo>
                        <a:pt x="78" y="44"/>
                      </a:lnTo>
                      <a:lnTo>
                        <a:pt x="78" y="44"/>
                      </a:lnTo>
                      <a:lnTo>
                        <a:pt x="78" y="40"/>
                      </a:lnTo>
                      <a:lnTo>
                        <a:pt x="78" y="40"/>
                      </a:lnTo>
                      <a:lnTo>
                        <a:pt x="74" y="40"/>
                      </a:lnTo>
                      <a:lnTo>
                        <a:pt x="74" y="40"/>
                      </a:lnTo>
                      <a:lnTo>
                        <a:pt x="74" y="40"/>
                      </a:lnTo>
                      <a:lnTo>
                        <a:pt x="74" y="40"/>
                      </a:lnTo>
                      <a:lnTo>
                        <a:pt x="70" y="40"/>
                      </a:lnTo>
                      <a:lnTo>
                        <a:pt x="70" y="40"/>
                      </a:lnTo>
                      <a:lnTo>
                        <a:pt x="70" y="44"/>
                      </a:lnTo>
                      <a:lnTo>
                        <a:pt x="70" y="44"/>
                      </a:lnTo>
                      <a:lnTo>
                        <a:pt x="70" y="44"/>
                      </a:lnTo>
                      <a:lnTo>
                        <a:pt x="68" y="44"/>
                      </a:lnTo>
                      <a:lnTo>
                        <a:pt x="68" y="44"/>
                      </a:lnTo>
                      <a:lnTo>
                        <a:pt x="68" y="44"/>
                      </a:lnTo>
                      <a:lnTo>
                        <a:pt x="68" y="44"/>
                      </a:lnTo>
                      <a:lnTo>
                        <a:pt x="64" y="44"/>
                      </a:lnTo>
                      <a:lnTo>
                        <a:pt x="64" y="44"/>
                      </a:lnTo>
                      <a:lnTo>
                        <a:pt x="64" y="44"/>
                      </a:lnTo>
                      <a:lnTo>
                        <a:pt x="60" y="44"/>
                      </a:lnTo>
                      <a:lnTo>
                        <a:pt x="60" y="44"/>
                      </a:lnTo>
                      <a:lnTo>
                        <a:pt x="60" y="44"/>
                      </a:lnTo>
                      <a:lnTo>
                        <a:pt x="60" y="44"/>
                      </a:lnTo>
                      <a:lnTo>
                        <a:pt x="56" y="44"/>
                      </a:lnTo>
                      <a:lnTo>
                        <a:pt x="56" y="44"/>
                      </a:lnTo>
                      <a:lnTo>
                        <a:pt x="56" y="44"/>
                      </a:lnTo>
                      <a:lnTo>
                        <a:pt x="52" y="44"/>
                      </a:lnTo>
                      <a:lnTo>
                        <a:pt x="52" y="44"/>
                      </a:lnTo>
                      <a:lnTo>
                        <a:pt x="52" y="46"/>
                      </a:lnTo>
                      <a:lnTo>
                        <a:pt x="52" y="46"/>
                      </a:lnTo>
                      <a:lnTo>
                        <a:pt x="52" y="46"/>
                      </a:lnTo>
                      <a:lnTo>
                        <a:pt x="52" y="46"/>
                      </a:lnTo>
                      <a:lnTo>
                        <a:pt x="48" y="46"/>
                      </a:lnTo>
                      <a:lnTo>
                        <a:pt x="48" y="46"/>
                      </a:lnTo>
                      <a:lnTo>
                        <a:pt x="48" y="46"/>
                      </a:lnTo>
                      <a:lnTo>
                        <a:pt x="48" y="46"/>
                      </a:lnTo>
                      <a:lnTo>
                        <a:pt x="48" y="46"/>
                      </a:lnTo>
                      <a:lnTo>
                        <a:pt x="48" y="44"/>
                      </a:lnTo>
                      <a:lnTo>
                        <a:pt x="48" y="44"/>
                      </a:lnTo>
                      <a:lnTo>
                        <a:pt x="48" y="44"/>
                      </a:lnTo>
                      <a:lnTo>
                        <a:pt x="48" y="44"/>
                      </a:lnTo>
                      <a:lnTo>
                        <a:pt x="44" y="44"/>
                      </a:lnTo>
                      <a:lnTo>
                        <a:pt x="44" y="44"/>
                      </a:lnTo>
                      <a:lnTo>
                        <a:pt x="42" y="40"/>
                      </a:lnTo>
                      <a:lnTo>
                        <a:pt x="42" y="40"/>
                      </a:lnTo>
                      <a:lnTo>
                        <a:pt x="42" y="40"/>
                      </a:lnTo>
                      <a:lnTo>
                        <a:pt x="42" y="36"/>
                      </a:lnTo>
                      <a:lnTo>
                        <a:pt x="38" y="36"/>
                      </a:lnTo>
                      <a:lnTo>
                        <a:pt x="38" y="36"/>
                      </a:lnTo>
                      <a:lnTo>
                        <a:pt x="38" y="36"/>
                      </a:lnTo>
                      <a:lnTo>
                        <a:pt x="38" y="36"/>
                      </a:lnTo>
                      <a:lnTo>
                        <a:pt x="38" y="36"/>
                      </a:lnTo>
                      <a:lnTo>
                        <a:pt x="38" y="3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9" name="Freeform 28"/>
                <p:cNvSpPr>
                  <a:spLocks noEditPoints="1"/>
                </p:cNvSpPr>
                <p:nvPr/>
              </p:nvSpPr>
              <p:spPr bwMode="auto">
                <a:xfrm>
                  <a:off x="6530975" y="4397443"/>
                  <a:ext cx="1028700" cy="460375"/>
                </a:xfrm>
                <a:custGeom>
                  <a:avLst/>
                  <a:gdLst>
                    <a:gd name="T0" fmla="*/ 316 w 648"/>
                    <a:gd name="T1" fmla="*/ 34 h 290"/>
                    <a:gd name="T2" fmla="*/ 122 w 648"/>
                    <a:gd name="T3" fmla="*/ 108 h 290"/>
                    <a:gd name="T4" fmla="*/ 434 w 648"/>
                    <a:gd name="T5" fmla="*/ 138 h 290"/>
                    <a:gd name="T6" fmla="*/ 550 w 648"/>
                    <a:gd name="T7" fmla="*/ 204 h 290"/>
                    <a:gd name="T8" fmla="*/ 520 w 648"/>
                    <a:gd name="T9" fmla="*/ 222 h 290"/>
                    <a:gd name="T10" fmla="*/ 398 w 648"/>
                    <a:gd name="T11" fmla="*/ 276 h 290"/>
                    <a:gd name="T12" fmla="*/ 152 w 648"/>
                    <a:gd name="T13" fmla="*/ 156 h 290"/>
                    <a:gd name="T14" fmla="*/ 106 w 648"/>
                    <a:gd name="T15" fmla="*/ 178 h 290"/>
                    <a:gd name="T16" fmla="*/ 50 w 648"/>
                    <a:gd name="T17" fmla="*/ 78 h 290"/>
                    <a:gd name="T18" fmla="*/ 22 w 648"/>
                    <a:gd name="T19" fmla="*/ 10 h 290"/>
                    <a:gd name="T20" fmla="*/ 84 w 648"/>
                    <a:gd name="T21" fmla="*/ 64 h 290"/>
                    <a:gd name="T22" fmla="*/ 118 w 648"/>
                    <a:gd name="T23" fmla="*/ 108 h 290"/>
                    <a:gd name="T24" fmla="*/ 276 w 648"/>
                    <a:gd name="T25" fmla="*/ 70 h 290"/>
                    <a:gd name="T26" fmla="*/ 312 w 648"/>
                    <a:gd name="T27" fmla="*/ 48 h 290"/>
                    <a:gd name="T28" fmla="*/ 316 w 648"/>
                    <a:gd name="T29" fmla="*/ 116 h 290"/>
                    <a:gd name="T30" fmla="*/ 278 w 648"/>
                    <a:gd name="T31" fmla="*/ 170 h 290"/>
                    <a:gd name="T32" fmla="*/ 212 w 648"/>
                    <a:gd name="T33" fmla="*/ 150 h 290"/>
                    <a:gd name="T34" fmla="*/ 200 w 648"/>
                    <a:gd name="T35" fmla="*/ 70 h 290"/>
                    <a:gd name="T36" fmla="*/ 18 w 648"/>
                    <a:gd name="T37" fmla="*/ 64 h 290"/>
                    <a:gd name="T38" fmla="*/ 464 w 648"/>
                    <a:gd name="T39" fmla="*/ 66 h 290"/>
                    <a:gd name="T40" fmla="*/ 468 w 648"/>
                    <a:gd name="T41" fmla="*/ 116 h 290"/>
                    <a:gd name="T42" fmla="*/ 386 w 648"/>
                    <a:gd name="T43" fmla="*/ 156 h 290"/>
                    <a:gd name="T44" fmla="*/ 358 w 648"/>
                    <a:gd name="T45" fmla="*/ 160 h 290"/>
                    <a:gd name="T46" fmla="*/ 334 w 648"/>
                    <a:gd name="T47" fmla="*/ 152 h 290"/>
                    <a:gd name="T48" fmla="*/ 358 w 648"/>
                    <a:gd name="T49" fmla="*/ 90 h 290"/>
                    <a:gd name="T50" fmla="*/ 412 w 648"/>
                    <a:gd name="T51" fmla="*/ 92 h 290"/>
                    <a:gd name="T52" fmla="*/ 368 w 648"/>
                    <a:gd name="T53" fmla="*/ 122 h 290"/>
                    <a:gd name="T54" fmla="*/ 36 w 648"/>
                    <a:gd name="T55" fmla="*/ 82 h 290"/>
                    <a:gd name="T56" fmla="*/ 114 w 648"/>
                    <a:gd name="T57" fmla="*/ 90 h 290"/>
                    <a:gd name="T58" fmla="*/ 134 w 648"/>
                    <a:gd name="T59" fmla="*/ 100 h 290"/>
                    <a:gd name="T60" fmla="*/ 498 w 648"/>
                    <a:gd name="T61" fmla="*/ 104 h 290"/>
                    <a:gd name="T62" fmla="*/ 130 w 648"/>
                    <a:gd name="T63" fmla="*/ 112 h 290"/>
                    <a:gd name="T64" fmla="*/ 576 w 648"/>
                    <a:gd name="T65" fmla="*/ 182 h 290"/>
                    <a:gd name="T66" fmla="*/ 528 w 648"/>
                    <a:gd name="T67" fmla="*/ 156 h 290"/>
                    <a:gd name="T68" fmla="*/ 516 w 648"/>
                    <a:gd name="T69" fmla="*/ 116 h 290"/>
                    <a:gd name="T70" fmla="*/ 572 w 648"/>
                    <a:gd name="T71" fmla="*/ 156 h 290"/>
                    <a:gd name="T72" fmla="*/ 648 w 648"/>
                    <a:gd name="T73" fmla="*/ 212 h 290"/>
                    <a:gd name="T74" fmla="*/ 502 w 648"/>
                    <a:gd name="T75" fmla="*/ 108 h 290"/>
                    <a:gd name="T76" fmla="*/ 58 w 648"/>
                    <a:gd name="T77" fmla="*/ 130 h 290"/>
                    <a:gd name="T78" fmla="*/ 394 w 648"/>
                    <a:gd name="T79" fmla="*/ 122 h 290"/>
                    <a:gd name="T80" fmla="*/ 156 w 648"/>
                    <a:gd name="T81" fmla="*/ 146 h 290"/>
                    <a:gd name="T82" fmla="*/ 420 w 648"/>
                    <a:gd name="T83" fmla="*/ 134 h 290"/>
                    <a:gd name="T84" fmla="*/ 70 w 648"/>
                    <a:gd name="T85" fmla="*/ 150 h 290"/>
                    <a:gd name="T86" fmla="*/ 484 w 648"/>
                    <a:gd name="T87" fmla="*/ 160 h 290"/>
                    <a:gd name="T88" fmla="*/ 164 w 648"/>
                    <a:gd name="T89" fmla="*/ 152 h 290"/>
                    <a:gd name="T90" fmla="*/ 458 w 648"/>
                    <a:gd name="T91" fmla="*/ 156 h 290"/>
                    <a:gd name="T92" fmla="*/ 386 w 648"/>
                    <a:gd name="T93" fmla="*/ 196 h 290"/>
                    <a:gd name="T94" fmla="*/ 104 w 648"/>
                    <a:gd name="T95" fmla="*/ 196 h 290"/>
                    <a:gd name="T96" fmla="*/ 182 w 648"/>
                    <a:gd name="T97" fmla="*/ 234 h 290"/>
                    <a:gd name="T98" fmla="*/ 186 w 648"/>
                    <a:gd name="T99" fmla="*/ 212 h 290"/>
                    <a:gd name="T100" fmla="*/ 268 w 648"/>
                    <a:gd name="T101" fmla="*/ 234 h 290"/>
                    <a:gd name="T102" fmla="*/ 558 w 648"/>
                    <a:gd name="T103" fmla="*/ 212 h 290"/>
                    <a:gd name="T104" fmla="*/ 260 w 648"/>
                    <a:gd name="T105" fmla="*/ 226 h 290"/>
                    <a:gd name="T106" fmla="*/ 602 w 648"/>
                    <a:gd name="T107" fmla="*/ 238 h 290"/>
                    <a:gd name="T108" fmla="*/ 378 w 648"/>
                    <a:gd name="T109" fmla="*/ 252 h 290"/>
                    <a:gd name="T110" fmla="*/ 334 w 648"/>
                    <a:gd name="T111" fmla="*/ 252 h 290"/>
                    <a:gd name="T112" fmla="*/ 334 w 648"/>
                    <a:gd name="T113" fmla="*/ 246 h 290"/>
                    <a:gd name="T114" fmla="*/ 298 w 648"/>
                    <a:gd name="T115" fmla="*/ 250 h 290"/>
                    <a:gd name="T116" fmla="*/ 342 w 648"/>
                    <a:gd name="T117" fmla="*/ 264 h 290"/>
                    <a:gd name="T118" fmla="*/ 398 w 648"/>
                    <a:gd name="T119" fmla="*/ 280 h 290"/>
                    <a:gd name="T120" fmla="*/ 412 w 648"/>
                    <a:gd name="T121" fmla="*/ 242 h 290"/>
                    <a:gd name="T122" fmla="*/ 402 w 648"/>
                    <a:gd name="T123" fmla="*/ 268 h 2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648" h="290">
                      <a:moveTo>
                        <a:pt x="114" y="92"/>
                      </a:moveTo>
                      <a:lnTo>
                        <a:pt x="110" y="92"/>
                      </a:lnTo>
                      <a:lnTo>
                        <a:pt x="110" y="90"/>
                      </a:lnTo>
                      <a:lnTo>
                        <a:pt x="114" y="90"/>
                      </a:lnTo>
                      <a:lnTo>
                        <a:pt x="114" y="92"/>
                      </a:lnTo>
                      <a:lnTo>
                        <a:pt x="114" y="92"/>
                      </a:lnTo>
                      <a:lnTo>
                        <a:pt x="114" y="92"/>
                      </a:lnTo>
                      <a:close/>
                      <a:moveTo>
                        <a:pt x="460" y="156"/>
                      </a:moveTo>
                      <a:lnTo>
                        <a:pt x="458" y="156"/>
                      </a:lnTo>
                      <a:lnTo>
                        <a:pt x="460" y="156"/>
                      </a:lnTo>
                      <a:lnTo>
                        <a:pt x="460" y="156"/>
                      </a:lnTo>
                      <a:lnTo>
                        <a:pt x="460" y="156"/>
                      </a:lnTo>
                      <a:close/>
                      <a:moveTo>
                        <a:pt x="302" y="160"/>
                      </a:moveTo>
                      <a:lnTo>
                        <a:pt x="302" y="164"/>
                      </a:lnTo>
                      <a:lnTo>
                        <a:pt x="298" y="164"/>
                      </a:lnTo>
                      <a:lnTo>
                        <a:pt x="302" y="160"/>
                      </a:lnTo>
                      <a:lnTo>
                        <a:pt x="302" y="160"/>
                      </a:lnTo>
                      <a:lnTo>
                        <a:pt x="302" y="160"/>
                      </a:lnTo>
                      <a:close/>
                      <a:moveTo>
                        <a:pt x="446" y="34"/>
                      </a:moveTo>
                      <a:lnTo>
                        <a:pt x="446" y="30"/>
                      </a:lnTo>
                      <a:lnTo>
                        <a:pt x="446" y="26"/>
                      </a:lnTo>
                      <a:lnTo>
                        <a:pt x="450" y="30"/>
                      </a:lnTo>
                      <a:lnTo>
                        <a:pt x="446" y="30"/>
                      </a:lnTo>
                      <a:lnTo>
                        <a:pt x="446" y="34"/>
                      </a:lnTo>
                      <a:lnTo>
                        <a:pt x="446" y="34"/>
                      </a:lnTo>
                      <a:lnTo>
                        <a:pt x="446" y="34"/>
                      </a:lnTo>
                      <a:close/>
                      <a:moveTo>
                        <a:pt x="320" y="30"/>
                      </a:moveTo>
                      <a:lnTo>
                        <a:pt x="320" y="34"/>
                      </a:lnTo>
                      <a:lnTo>
                        <a:pt x="324" y="34"/>
                      </a:lnTo>
                      <a:lnTo>
                        <a:pt x="320" y="34"/>
                      </a:lnTo>
                      <a:lnTo>
                        <a:pt x="320" y="30"/>
                      </a:lnTo>
                      <a:lnTo>
                        <a:pt x="320" y="30"/>
                      </a:lnTo>
                      <a:lnTo>
                        <a:pt x="320" y="30"/>
                      </a:lnTo>
                      <a:close/>
                      <a:moveTo>
                        <a:pt x="316" y="34"/>
                      </a:moveTo>
                      <a:lnTo>
                        <a:pt x="320" y="34"/>
                      </a:lnTo>
                      <a:lnTo>
                        <a:pt x="316" y="34"/>
                      </a:lnTo>
                      <a:lnTo>
                        <a:pt x="316" y="34"/>
                      </a:lnTo>
                      <a:lnTo>
                        <a:pt x="316" y="34"/>
                      </a:lnTo>
                      <a:close/>
                      <a:moveTo>
                        <a:pt x="446" y="36"/>
                      </a:moveTo>
                      <a:lnTo>
                        <a:pt x="442" y="34"/>
                      </a:lnTo>
                      <a:lnTo>
                        <a:pt x="446" y="34"/>
                      </a:lnTo>
                      <a:lnTo>
                        <a:pt x="446" y="36"/>
                      </a:lnTo>
                      <a:lnTo>
                        <a:pt x="446" y="36"/>
                      </a:lnTo>
                      <a:lnTo>
                        <a:pt x="446" y="36"/>
                      </a:lnTo>
                      <a:close/>
                      <a:moveTo>
                        <a:pt x="434" y="44"/>
                      </a:moveTo>
                      <a:lnTo>
                        <a:pt x="430" y="44"/>
                      </a:lnTo>
                      <a:lnTo>
                        <a:pt x="430" y="40"/>
                      </a:lnTo>
                      <a:lnTo>
                        <a:pt x="430" y="36"/>
                      </a:lnTo>
                      <a:lnTo>
                        <a:pt x="430" y="40"/>
                      </a:lnTo>
                      <a:lnTo>
                        <a:pt x="434" y="44"/>
                      </a:lnTo>
                      <a:lnTo>
                        <a:pt x="434" y="44"/>
                      </a:lnTo>
                      <a:lnTo>
                        <a:pt x="434" y="44"/>
                      </a:lnTo>
                      <a:close/>
                      <a:moveTo>
                        <a:pt x="312" y="40"/>
                      </a:moveTo>
                      <a:lnTo>
                        <a:pt x="316" y="44"/>
                      </a:lnTo>
                      <a:lnTo>
                        <a:pt x="312" y="44"/>
                      </a:lnTo>
                      <a:lnTo>
                        <a:pt x="312" y="40"/>
                      </a:lnTo>
                      <a:lnTo>
                        <a:pt x="312" y="40"/>
                      </a:lnTo>
                      <a:lnTo>
                        <a:pt x="312" y="40"/>
                      </a:lnTo>
                      <a:close/>
                      <a:moveTo>
                        <a:pt x="316" y="44"/>
                      </a:moveTo>
                      <a:lnTo>
                        <a:pt x="320" y="44"/>
                      </a:lnTo>
                      <a:lnTo>
                        <a:pt x="316" y="48"/>
                      </a:lnTo>
                      <a:lnTo>
                        <a:pt x="316" y="44"/>
                      </a:lnTo>
                      <a:lnTo>
                        <a:pt x="316" y="44"/>
                      </a:lnTo>
                      <a:lnTo>
                        <a:pt x="316" y="44"/>
                      </a:lnTo>
                      <a:close/>
                      <a:moveTo>
                        <a:pt x="488" y="108"/>
                      </a:moveTo>
                      <a:lnTo>
                        <a:pt x="484" y="104"/>
                      </a:lnTo>
                      <a:lnTo>
                        <a:pt x="484" y="100"/>
                      </a:lnTo>
                      <a:lnTo>
                        <a:pt x="488" y="104"/>
                      </a:lnTo>
                      <a:lnTo>
                        <a:pt x="488" y="108"/>
                      </a:lnTo>
                      <a:lnTo>
                        <a:pt x="488" y="108"/>
                      </a:lnTo>
                      <a:lnTo>
                        <a:pt x="488" y="108"/>
                      </a:lnTo>
                      <a:close/>
                      <a:moveTo>
                        <a:pt x="122" y="108"/>
                      </a:moveTo>
                      <a:lnTo>
                        <a:pt x="118" y="108"/>
                      </a:lnTo>
                      <a:lnTo>
                        <a:pt x="122" y="108"/>
                      </a:lnTo>
                      <a:lnTo>
                        <a:pt x="122" y="108"/>
                      </a:lnTo>
                      <a:lnTo>
                        <a:pt x="122" y="108"/>
                      </a:lnTo>
                      <a:close/>
                      <a:moveTo>
                        <a:pt x="454" y="108"/>
                      </a:moveTo>
                      <a:lnTo>
                        <a:pt x="454" y="112"/>
                      </a:lnTo>
                      <a:lnTo>
                        <a:pt x="450" y="112"/>
                      </a:lnTo>
                      <a:lnTo>
                        <a:pt x="450" y="108"/>
                      </a:lnTo>
                      <a:lnTo>
                        <a:pt x="454" y="108"/>
                      </a:lnTo>
                      <a:lnTo>
                        <a:pt x="454" y="108"/>
                      </a:lnTo>
                      <a:lnTo>
                        <a:pt x="454" y="108"/>
                      </a:lnTo>
                      <a:close/>
                      <a:moveTo>
                        <a:pt x="378" y="108"/>
                      </a:moveTo>
                      <a:lnTo>
                        <a:pt x="374" y="108"/>
                      </a:lnTo>
                      <a:lnTo>
                        <a:pt x="378" y="108"/>
                      </a:lnTo>
                      <a:lnTo>
                        <a:pt x="378" y="108"/>
                      </a:lnTo>
                      <a:lnTo>
                        <a:pt x="378" y="108"/>
                      </a:lnTo>
                      <a:close/>
                      <a:moveTo>
                        <a:pt x="378" y="112"/>
                      </a:moveTo>
                      <a:lnTo>
                        <a:pt x="374" y="112"/>
                      </a:lnTo>
                      <a:lnTo>
                        <a:pt x="374" y="108"/>
                      </a:lnTo>
                      <a:lnTo>
                        <a:pt x="378" y="108"/>
                      </a:lnTo>
                      <a:lnTo>
                        <a:pt x="378" y="112"/>
                      </a:lnTo>
                      <a:lnTo>
                        <a:pt x="378" y="112"/>
                      </a:lnTo>
                      <a:lnTo>
                        <a:pt x="378" y="112"/>
                      </a:lnTo>
                      <a:close/>
                      <a:moveTo>
                        <a:pt x="454" y="112"/>
                      </a:moveTo>
                      <a:lnTo>
                        <a:pt x="454" y="116"/>
                      </a:lnTo>
                      <a:lnTo>
                        <a:pt x="454" y="112"/>
                      </a:lnTo>
                      <a:lnTo>
                        <a:pt x="454" y="112"/>
                      </a:lnTo>
                      <a:lnTo>
                        <a:pt x="454" y="112"/>
                      </a:lnTo>
                      <a:close/>
                      <a:moveTo>
                        <a:pt x="562" y="120"/>
                      </a:moveTo>
                      <a:lnTo>
                        <a:pt x="562" y="122"/>
                      </a:lnTo>
                      <a:lnTo>
                        <a:pt x="562" y="120"/>
                      </a:lnTo>
                      <a:lnTo>
                        <a:pt x="562" y="120"/>
                      </a:lnTo>
                      <a:lnTo>
                        <a:pt x="562" y="120"/>
                      </a:lnTo>
                      <a:close/>
                      <a:moveTo>
                        <a:pt x="434" y="138"/>
                      </a:moveTo>
                      <a:lnTo>
                        <a:pt x="434" y="142"/>
                      </a:lnTo>
                      <a:lnTo>
                        <a:pt x="434" y="146"/>
                      </a:lnTo>
                      <a:lnTo>
                        <a:pt x="434" y="142"/>
                      </a:lnTo>
                      <a:lnTo>
                        <a:pt x="434" y="138"/>
                      </a:lnTo>
                      <a:lnTo>
                        <a:pt x="434" y="138"/>
                      </a:lnTo>
                      <a:lnTo>
                        <a:pt x="434" y="138"/>
                      </a:lnTo>
                      <a:close/>
                      <a:moveTo>
                        <a:pt x="472" y="164"/>
                      </a:moveTo>
                      <a:lnTo>
                        <a:pt x="476" y="164"/>
                      </a:lnTo>
                      <a:lnTo>
                        <a:pt x="472" y="164"/>
                      </a:lnTo>
                      <a:lnTo>
                        <a:pt x="472" y="164"/>
                      </a:lnTo>
                      <a:lnTo>
                        <a:pt x="472" y="164"/>
                      </a:lnTo>
                      <a:close/>
                      <a:moveTo>
                        <a:pt x="540" y="170"/>
                      </a:moveTo>
                      <a:lnTo>
                        <a:pt x="540" y="174"/>
                      </a:lnTo>
                      <a:lnTo>
                        <a:pt x="544" y="174"/>
                      </a:lnTo>
                      <a:lnTo>
                        <a:pt x="540" y="174"/>
                      </a:lnTo>
                      <a:lnTo>
                        <a:pt x="540" y="170"/>
                      </a:lnTo>
                      <a:lnTo>
                        <a:pt x="540" y="170"/>
                      </a:lnTo>
                      <a:lnTo>
                        <a:pt x="540" y="170"/>
                      </a:lnTo>
                      <a:close/>
                      <a:moveTo>
                        <a:pt x="536" y="194"/>
                      </a:moveTo>
                      <a:lnTo>
                        <a:pt x="536" y="196"/>
                      </a:lnTo>
                      <a:lnTo>
                        <a:pt x="536" y="200"/>
                      </a:lnTo>
                      <a:lnTo>
                        <a:pt x="532" y="204"/>
                      </a:lnTo>
                      <a:lnTo>
                        <a:pt x="532" y="200"/>
                      </a:lnTo>
                      <a:lnTo>
                        <a:pt x="536" y="196"/>
                      </a:lnTo>
                      <a:lnTo>
                        <a:pt x="536" y="194"/>
                      </a:lnTo>
                      <a:lnTo>
                        <a:pt x="536" y="194"/>
                      </a:lnTo>
                      <a:lnTo>
                        <a:pt x="536" y="194"/>
                      </a:lnTo>
                      <a:close/>
                      <a:moveTo>
                        <a:pt x="532" y="200"/>
                      </a:moveTo>
                      <a:lnTo>
                        <a:pt x="532" y="204"/>
                      </a:lnTo>
                      <a:lnTo>
                        <a:pt x="528" y="204"/>
                      </a:lnTo>
                      <a:lnTo>
                        <a:pt x="528" y="200"/>
                      </a:lnTo>
                      <a:lnTo>
                        <a:pt x="528" y="196"/>
                      </a:lnTo>
                      <a:lnTo>
                        <a:pt x="532" y="196"/>
                      </a:lnTo>
                      <a:lnTo>
                        <a:pt x="532" y="200"/>
                      </a:lnTo>
                      <a:lnTo>
                        <a:pt x="532" y="200"/>
                      </a:lnTo>
                      <a:lnTo>
                        <a:pt x="532" y="200"/>
                      </a:lnTo>
                      <a:close/>
                      <a:moveTo>
                        <a:pt x="550" y="204"/>
                      </a:moveTo>
                      <a:lnTo>
                        <a:pt x="550" y="208"/>
                      </a:lnTo>
                      <a:lnTo>
                        <a:pt x="554" y="208"/>
                      </a:lnTo>
                      <a:lnTo>
                        <a:pt x="554" y="212"/>
                      </a:lnTo>
                      <a:lnTo>
                        <a:pt x="550" y="208"/>
                      </a:lnTo>
                      <a:lnTo>
                        <a:pt x="550" y="204"/>
                      </a:lnTo>
                      <a:lnTo>
                        <a:pt x="550" y="204"/>
                      </a:lnTo>
                      <a:lnTo>
                        <a:pt x="550" y="204"/>
                      </a:lnTo>
                      <a:close/>
                      <a:moveTo>
                        <a:pt x="554" y="208"/>
                      </a:moveTo>
                      <a:lnTo>
                        <a:pt x="558" y="212"/>
                      </a:lnTo>
                      <a:lnTo>
                        <a:pt x="554" y="212"/>
                      </a:lnTo>
                      <a:lnTo>
                        <a:pt x="554" y="208"/>
                      </a:lnTo>
                      <a:lnTo>
                        <a:pt x="554" y="208"/>
                      </a:lnTo>
                      <a:lnTo>
                        <a:pt x="554" y="208"/>
                      </a:lnTo>
                      <a:close/>
                      <a:moveTo>
                        <a:pt x="562" y="208"/>
                      </a:moveTo>
                      <a:lnTo>
                        <a:pt x="562" y="212"/>
                      </a:lnTo>
                      <a:lnTo>
                        <a:pt x="562" y="208"/>
                      </a:lnTo>
                      <a:lnTo>
                        <a:pt x="562" y="208"/>
                      </a:lnTo>
                      <a:lnTo>
                        <a:pt x="562" y="208"/>
                      </a:lnTo>
                      <a:close/>
                      <a:moveTo>
                        <a:pt x="558" y="216"/>
                      </a:moveTo>
                      <a:lnTo>
                        <a:pt x="558" y="220"/>
                      </a:lnTo>
                      <a:lnTo>
                        <a:pt x="558" y="216"/>
                      </a:lnTo>
                      <a:lnTo>
                        <a:pt x="558" y="216"/>
                      </a:lnTo>
                      <a:lnTo>
                        <a:pt x="558" y="216"/>
                      </a:lnTo>
                      <a:close/>
                      <a:moveTo>
                        <a:pt x="614" y="216"/>
                      </a:moveTo>
                      <a:lnTo>
                        <a:pt x="614" y="220"/>
                      </a:lnTo>
                      <a:lnTo>
                        <a:pt x="618" y="220"/>
                      </a:lnTo>
                      <a:lnTo>
                        <a:pt x="614" y="220"/>
                      </a:lnTo>
                      <a:lnTo>
                        <a:pt x="614" y="216"/>
                      </a:lnTo>
                      <a:lnTo>
                        <a:pt x="614" y="216"/>
                      </a:lnTo>
                      <a:lnTo>
                        <a:pt x="614" y="216"/>
                      </a:lnTo>
                      <a:close/>
                      <a:moveTo>
                        <a:pt x="472" y="222"/>
                      </a:moveTo>
                      <a:lnTo>
                        <a:pt x="472" y="226"/>
                      </a:lnTo>
                      <a:lnTo>
                        <a:pt x="472" y="222"/>
                      </a:lnTo>
                      <a:lnTo>
                        <a:pt x="472" y="222"/>
                      </a:lnTo>
                      <a:lnTo>
                        <a:pt x="472" y="222"/>
                      </a:lnTo>
                      <a:close/>
                      <a:moveTo>
                        <a:pt x="520" y="222"/>
                      </a:moveTo>
                      <a:lnTo>
                        <a:pt x="520" y="226"/>
                      </a:lnTo>
                      <a:lnTo>
                        <a:pt x="520" y="222"/>
                      </a:lnTo>
                      <a:lnTo>
                        <a:pt x="516" y="222"/>
                      </a:lnTo>
                      <a:lnTo>
                        <a:pt x="520" y="222"/>
                      </a:lnTo>
                      <a:lnTo>
                        <a:pt x="520" y="222"/>
                      </a:lnTo>
                      <a:lnTo>
                        <a:pt x="520" y="222"/>
                      </a:lnTo>
                      <a:close/>
                      <a:moveTo>
                        <a:pt x="364" y="226"/>
                      </a:moveTo>
                      <a:lnTo>
                        <a:pt x="360" y="226"/>
                      </a:lnTo>
                      <a:lnTo>
                        <a:pt x="364" y="226"/>
                      </a:lnTo>
                      <a:lnTo>
                        <a:pt x="364" y="226"/>
                      </a:lnTo>
                      <a:lnTo>
                        <a:pt x="364" y="226"/>
                      </a:lnTo>
                      <a:close/>
                      <a:moveTo>
                        <a:pt x="506" y="230"/>
                      </a:moveTo>
                      <a:lnTo>
                        <a:pt x="510" y="226"/>
                      </a:lnTo>
                      <a:lnTo>
                        <a:pt x="510" y="230"/>
                      </a:lnTo>
                      <a:lnTo>
                        <a:pt x="506" y="230"/>
                      </a:lnTo>
                      <a:lnTo>
                        <a:pt x="506" y="230"/>
                      </a:lnTo>
                      <a:lnTo>
                        <a:pt x="506" y="230"/>
                      </a:lnTo>
                      <a:close/>
                      <a:moveTo>
                        <a:pt x="458" y="230"/>
                      </a:moveTo>
                      <a:lnTo>
                        <a:pt x="454" y="234"/>
                      </a:lnTo>
                      <a:lnTo>
                        <a:pt x="454" y="230"/>
                      </a:lnTo>
                      <a:lnTo>
                        <a:pt x="458" y="230"/>
                      </a:lnTo>
                      <a:lnTo>
                        <a:pt x="458" y="230"/>
                      </a:lnTo>
                      <a:lnTo>
                        <a:pt x="458" y="230"/>
                      </a:lnTo>
                      <a:close/>
                      <a:moveTo>
                        <a:pt x="502" y="246"/>
                      </a:moveTo>
                      <a:lnTo>
                        <a:pt x="506" y="242"/>
                      </a:lnTo>
                      <a:lnTo>
                        <a:pt x="510" y="242"/>
                      </a:lnTo>
                      <a:lnTo>
                        <a:pt x="506" y="242"/>
                      </a:lnTo>
                      <a:lnTo>
                        <a:pt x="506" y="246"/>
                      </a:lnTo>
                      <a:lnTo>
                        <a:pt x="502" y="246"/>
                      </a:lnTo>
                      <a:lnTo>
                        <a:pt x="502" y="246"/>
                      </a:lnTo>
                      <a:lnTo>
                        <a:pt x="502" y="246"/>
                      </a:lnTo>
                      <a:close/>
                      <a:moveTo>
                        <a:pt x="290" y="252"/>
                      </a:moveTo>
                      <a:lnTo>
                        <a:pt x="286" y="252"/>
                      </a:lnTo>
                      <a:lnTo>
                        <a:pt x="286" y="250"/>
                      </a:lnTo>
                      <a:lnTo>
                        <a:pt x="290" y="250"/>
                      </a:lnTo>
                      <a:lnTo>
                        <a:pt x="290" y="252"/>
                      </a:lnTo>
                      <a:lnTo>
                        <a:pt x="290" y="252"/>
                      </a:lnTo>
                      <a:lnTo>
                        <a:pt x="290" y="252"/>
                      </a:lnTo>
                      <a:close/>
                      <a:moveTo>
                        <a:pt x="398" y="276"/>
                      </a:moveTo>
                      <a:lnTo>
                        <a:pt x="402" y="276"/>
                      </a:lnTo>
                      <a:lnTo>
                        <a:pt x="398" y="280"/>
                      </a:lnTo>
                      <a:lnTo>
                        <a:pt x="398" y="276"/>
                      </a:lnTo>
                      <a:lnTo>
                        <a:pt x="398" y="276"/>
                      </a:lnTo>
                      <a:lnTo>
                        <a:pt x="398" y="276"/>
                      </a:lnTo>
                      <a:close/>
                      <a:moveTo>
                        <a:pt x="4" y="4"/>
                      </a:move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118" y="116"/>
                      </a:moveTo>
                      <a:lnTo>
                        <a:pt x="118" y="120"/>
                      </a:lnTo>
                      <a:lnTo>
                        <a:pt x="122" y="120"/>
                      </a:lnTo>
                      <a:lnTo>
                        <a:pt x="126" y="120"/>
                      </a:lnTo>
                      <a:lnTo>
                        <a:pt x="130" y="120"/>
                      </a:lnTo>
                      <a:lnTo>
                        <a:pt x="130" y="122"/>
                      </a:lnTo>
                      <a:lnTo>
                        <a:pt x="130" y="126"/>
                      </a:lnTo>
                      <a:lnTo>
                        <a:pt x="130" y="130"/>
                      </a:lnTo>
                      <a:lnTo>
                        <a:pt x="134" y="130"/>
                      </a:lnTo>
                      <a:lnTo>
                        <a:pt x="134" y="134"/>
                      </a:lnTo>
                      <a:lnTo>
                        <a:pt x="130" y="134"/>
                      </a:lnTo>
                      <a:lnTo>
                        <a:pt x="134" y="134"/>
                      </a:lnTo>
                      <a:lnTo>
                        <a:pt x="136" y="138"/>
                      </a:lnTo>
                      <a:lnTo>
                        <a:pt x="136" y="142"/>
                      </a:lnTo>
                      <a:lnTo>
                        <a:pt x="134" y="142"/>
                      </a:lnTo>
                      <a:lnTo>
                        <a:pt x="134" y="146"/>
                      </a:lnTo>
                      <a:lnTo>
                        <a:pt x="134" y="150"/>
                      </a:lnTo>
                      <a:lnTo>
                        <a:pt x="134" y="146"/>
                      </a:lnTo>
                      <a:lnTo>
                        <a:pt x="136" y="146"/>
                      </a:lnTo>
                      <a:lnTo>
                        <a:pt x="136" y="142"/>
                      </a:lnTo>
                      <a:lnTo>
                        <a:pt x="140" y="142"/>
                      </a:lnTo>
                      <a:lnTo>
                        <a:pt x="144" y="142"/>
                      </a:lnTo>
                      <a:lnTo>
                        <a:pt x="148" y="142"/>
                      </a:lnTo>
                      <a:lnTo>
                        <a:pt x="148" y="146"/>
                      </a:lnTo>
                      <a:lnTo>
                        <a:pt x="148" y="150"/>
                      </a:lnTo>
                      <a:lnTo>
                        <a:pt x="148" y="152"/>
                      </a:lnTo>
                      <a:lnTo>
                        <a:pt x="152" y="152"/>
                      </a:lnTo>
                      <a:lnTo>
                        <a:pt x="156" y="156"/>
                      </a:lnTo>
                      <a:lnTo>
                        <a:pt x="152" y="156"/>
                      </a:lnTo>
                      <a:lnTo>
                        <a:pt x="152" y="160"/>
                      </a:lnTo>
                      <a:lnTo>
                        <a:pt x="152" y="164"/>
                      </a:lnTo>
                      <a:lnTo>
                        <a:pt x="152" y="166"/>
                      </a:lnTo>
                      <a:lnTo>
                        <a:pt x="152" y="170"/>
                      </a:lnTo>
                      <a:lnTo>
                        <a:pt x="152" y="174"/>
                      </a:lnTo>
                      <a:lnTo>
                        <a:pt x="152" y="178"/>
                      </a:lnTo>
                      <a:lnTo>
                        <a:pt x="152" y="182"/>
                      </a:lnTo>
                      <a:lnTo>
                        <a:pt x="152" y="186"/>
                      </a:lnTo>
                      <a:lnTo>
                        <a:pt x="152" y="190"/>
                      </a:lnTo>
                      <a:lnTo>
                        <a:pt x="152" y="196"/>
                      </a:lnTo>
                      <a:lnTo>
                        <a:pt x="152" y="200"/>
                      </a:lnTo>
                      <a:lnTo>
                        <a:pt x="148" y="200"/>
                      </a:lnTo>
                      <a:lnTo>
                        <a:pt x="148" y="204"/>
                      </a:lnTo>
                      <a:lnTo>
                        <a:pt x="148" y="200"/>
                      </a:lnTo>
                      <a:lnTo>
                        <a:pt x="144" y="196"/>
                      </a:lnTo>
                      <a:lnTo>
                        <a:pt x="144" y="194"/>
                      </a:lnTo>
                      <a:lnTo>
                        <a:pt x="140" y="194"/>
                      </a:lnTo>
                      <a:lnTo>
                        <a:pt x="140" y="196"/>
                      </a:lnTo>
                      <a:lnTo>
                        <a:pt x="140" y="200"/>
                      </a:lnTo>
                      <a:lnTo>
                        <a:pt x="136" y="200"/>
                      </a:lnTo>
                      <a:lnTo>
                        <a:pt x="136" y="196"/>
                      </a:lnTo>
                      <a:lnTo>
                        <a:pt x="134" y="196"/>
                      </a:lnTo>
                      <a:lnTo>
                        <a:pt x="134" y="200"/>
                      </a:lnTo>
                      <a:lnTo>
                        <a:pt x="134" y="204"/>
                      </a:lnTo>
                      <a:lnTo>
                        <a:pt x="134" y="200"/>
                      </a:lnTo>
                      <a:lnTo>
                        <a:pt x="130" y="200"/>
                      </a:lnTo>
                      <a:lnTo>
                        <a:pt x="130" y="196"/>
                      </a:lnTo>
                      <a:lnTo>
                        <a:pt x="126" y="196"/>
                      </a:lnTo>
                      <a:lnTo>
                        <a:pt x="126" y="194"/>
                      </a:lnTo>
                      <a:lnTo>
                        <a:pt x="122" y="190"/>
                      </a:lnTo>
                      <a:lnTo>
                        <a:pt x="122" y="186"/>
                      </a:lnTo>
                      <a:lnTo>
                        <a:pt x="118" y="186"/>
                      </a:lnTo>
                      <a:lnTo>
                        <a:pt x="114" y="186"/>
                      </a:lnTo>
                      <a:lnTo>
                        <a:pt x="114" y="182"/>
                      </a:lnTo>
                      <a:lnTo>
                        <a:pt x="110" y="182"/>
                      </a:lnTo>
                      <a:lnTo>
                        <a:pt x="110" y="178"/>
                      </a:lnTo>
                      <a:lnTo>
                        <a:pt x="106" y="178"/>
                      </a:lnTo>
                      <a:lnTo>
                        <a:pt x="106" y="174"/>
                      </a:lnTo>
                      <a:lnTo>
                        <a:pt x="104" y="174"/>
                      </a:lnTo>
                      <a:lnTo>
                        <a:pt x="104" y="170"/>
                      </a:lnTo>
                      <a:lnTo>
                        <a:pt x="100" y="170"/>
                      </a:lnTo>
                      <a:lnTo>
                        <a:pt x="100" y="166"/>
                      </a:lnTo>
                      <a:lnTo>
                        <a:pt x="100" y="164"/>
                      </a:lnTo>
                      <a:lnTo>
                        <a:pt x="96" y="164"/>
                      </a:lnTo>
                      <a:lnTo>
                        <a:pt x="96" y="160"/>
                      </a:lnTo>
                      <a:lnTo>
                        <a:pt x="92" y="156"/>
                      </a:lnTo>
                      <a:lnTo>
                        <a:pt x="88" y="156"/>
                      </a:lnTo>
                      <a:lnTo>
                        <a:pt x="88" y="152"/>
                      </a:lnTo>
                      <a:lnTo>
                        <a:pt x="88" y="150"/>
                      </a:lnTo>
                      <a:lnTo>
                        <a:pt x="84" y="150"/>
                      </a:lnTo>
                      <a:lnTo>
                        <a:pt x="84" y="146"/>
                      </a:lnTo>
                      <a:lnTo>
                        <a:pt x="80" y="146"/>
                      </a:lnTo>
                      <a:lnTo>
                        <a:pt x="80" y="142"/>
                      </a:lnTo>
                      <a:lnTo>
                        <a:pt x="80" y="138"/>
                      </a:lnTo>
                      <a:lnTo>
                        <a:pt x="80" y="134"/>
                      </a:lnTo>
                      <a:lnTo>
                        <a:pt x="78" y="130"/>
                      </a:lnTo>
                      <a:lnTo>
                        <a:pt x="78" y="126"/>
                      </a:lnTo>
                      <a:lnTo>
                        <a:pt x="74" y="122"/>
                      </a:lnTo>
                      <a:lnTo>
                        <a:pt x="74" y="120"/>
                      </a:lnTo>
                      <a:lnTo>
                        <a:pt x="74" y="116"/>
                      </a:lnTo>
                      <a:lnTo>
                        <a:pt x="70" y="116"/>
                      </a:lnTo>
                      <a:lnTo>
                        <a:pt x="70" y="112"/>
                      </a:lnTo>
                      <a:lnTo>
                        <a:pt x="66" y="112"/>
                      </a:lnTo>
                      <a:lnTo>
                        <a:pt x="66" y="108"/>
                      </a:lnTo>
                      <a:lnTo>
                        <a:pt x="66" y="104"/>
                      </a:lnTo>
                      <a:lnTo>
                        <a:pt x="62" y="100"/>
                      </a:lnTo>
                      <a:lnTo>
                        <a:pt x="58" y="96"/>
                      </a:lnTo>
                      <a:lnTo>
                        <a:pt x="58" y="100"/>
                      </a:lnTo>
                      <a:lnTo>
                        <a:pt x="54" y="96"/>
                      </a:lnTo>
                      <a:lnTo>
                        <a:pt x="54" y="92"/>
                      </a:lnTo>
                      <a:lnTo>
                        <a:pt x="54" y="90"/>
                      </a:lnTo>
                      <a:lnTo>
                        <a:pt x="54" y="86"/>
                      </a:lnTo>
                      <a:lnTo>
                        <a:pt x="50" y="82"/>
                      </a:lnTo>
                      <a:lnTo>
                        <a:pt x="50" y="78"/>
                      </a:lnTo>
                      <a:lnTo>
                        <a:pt x="50" y="74"/>
                      </a:lnTo>
                      <a:lnTo>
                        <a:pt x="50" y="70"/>
                      </a:lnTo>
                      <a:lnTo>
                        <a:pt x="48" y="70"/>
                      </a:lnTo>
                      <a:lnTo>
                        <a:pt x="48" y="66"/>
                      </a:lnTo>
                      <a:lnTo>
                        <a:pt x="44" y="66"/>
                      </a:lnTo>
                      <a:lnTo>
                        <a:pt x="40" y="66"/>
                      </a:lnTo>
                      <a:lnTo>
                        <a:pt x="40" y="64"/>
                      </a:lnTo>
                      <a:lnTo>
                        <a:pt x="36" y="64"/>
                      </a:lnTo>
                      <a:lnTo>
                        <a:pt x="36" y="60"/>
                      </a:lnTo>
                      <a:lnTo>
                        <a:pt x="36" y="56"/>
                      </a:lnTo>
                      <a:lnTo>
                        <a:pt x="34" y="56"/>
                      </a:lnTo>
                      <a:lnTo>
                        <a:pt x="34" y="52"/>
                      </a:lnTo>
                      <a:lnTo>
                        <a:pt x="30" y="52"/>
                      </a:lnTo>
                      <a:lnTo>
                        <a:pt x="30" y="48"/>
                      </a:lnTo>
                      <a:lnTo>
                        <a:pt x="26" y="44"/>
                      </a:lnTo>
                      <a:lnTo>
                        <a:pt x="26" y="40"/>
                      </a:lnTo>
                      <a:lnTo>
                        <a:pt x="22" y="36"/>
                      </a:lnTo>
                      <a:lnTo>
                        <a:pt x="18" y="36"/>
                      </a:lnTo>
                      <a:lnTo>
                        <a:pt x="18" y="34"/>
                      </a:lnTo>
                      <a:lnTo>
                        <a:pt x="14" y="34"/>
                      </a:lnTo>
                      <a:lnTo>
                        <a:pt x="14" y="30"/>
                      </a:lnTo>
                      <a:lnTo>
                        <a:pt x="10" y="30"/>
                      </a:lnTo>
                      <a:lnTo>
                        <a:pt x="10" y="26"/>
                      </a:lnTo>
                      <a:lnTo>
                        <a:pt x="8" y="26"/>
                      </a:lnTo>
                      <a:lnTo>
                        <a:pt x="8" y="22"/>
                      </a:lnTo>
                      <a:lnTo>
                        <a:pt x="4" y="18"/>
                      </a:lnTo>
                      <a:lnTo>
                        <a:pt x="4" y="14"/>
                      </a:lnTo>
                      <a:lnTo>
                        <a:pt x="0" y="10"/>
                      </a:lnTo>
                      <a:lnTo>
                        <a:pt x="0" y="6"/>
                      </a:lnTo>
                      <a:lnTo>
                        <a:pt x="4" y="6"/>
                      </a:lnTo>
                      <a:lnTo>
                        <a:pt x="8" y="6"/>
                      </a:lnTo>
                      <a:lnTo>
                        <a:pt x="10" y="6"/>
                      </a:lnTo>
                      <a:lnTo>
                        <a:pt x="10" y="10"/>
                      </a:lnTo>
                      <a:lnTo>
                        <a:pt x="14" y="10"/>
                      </a:lnTo>
                      <a:lnTo>
                        <a:pt x="18" y="14"/>
                      </a:lnTo>
                      <a:lnTo>
                        <a:pt x="22" y="14"/>
                      </a:lnTo>
                      <a:lnTo>
                        <a:pt x="22" y="10"/>
                      </a:lnTo>
                      <a:lnTo>
                        <a:pt x="26" y="10"/>
                      </a:lnTo>
                      <a:lnTo>
                        <a:pt x="30" y="14"/>
                      </a:lnTo>
                      <a:lnTo>
                        <a:pt x="34" y="14"/>
                      </a:lnTo>
                      <a:lnTo>
                        <a:pt x="34" y="10"/>
                      </a:lnTo>
                      <a:lnTo>
                        <a:pt x="34" y="14"/>
                      </a:lnTo>
                      <a:lnTo>
                        <a:pt x="36" y="14"/>
                      </a:lnTo>
                      <a:lnTo>
                        <a:pt x="36" y="18"/>
                      </a:lnTo>
                      <a:lnTo>
                        <a:pt x="40" y="18"/>
                      </a:lnTo>
                      <a:lnTo>
                        <a:pt x="40" y="22"/>
                      </a:lnTo>
                      <a:lnTo>
                        <a:pt x="40" y="26"/>
                      </a:lnTo>
                      <a:lnTo>
                        <a:pt x="44" y="26"/>
                      </a:lnTo>
                      <a:lnTo>
                        <a:pt x="44" y="30"/>
                      </a:lnTo>
                      <a:lnTo>
                        <a:pt x="44" y="34"/>
                      </a:lnTo>
                      <a:lnTo>
                        <a:pt x="48" y="34"/>
                      </a:lnTo>
                      <a:lnTo>
                        <a:pt x="48" y="36"/>
                      </a:lnTo>
                      <a:lnTo>
                        <a:pt x="50" y="36"/>
                      </a:lnTo>
                      <a:lnTo>
                        <a:pt x="50" y="40"/>
                      </a:lnTo>
                      <a:lnTo>
                        <a:pt x="54" y="40"/>
                      </a:lnTo>
                      <a:lnTo>
                        <a:pt x="58" y="40"/>
                      </a:lnTo>
                      <a:lnTo>
                        <a:pt x="62" y="48"/>
                      </a:lnTo>
                      <a:lnTo>
                        <a:pt x="66" y="48"/>
                      </a:lnTo>
                      <a:lnTo>
                        <a:pt x="66" y="52"/>
                      </a:lnTo>
                      <a:lnTo>
                        <a:pt x="66" y="56"/>
                      </a:lnTo>
                      <a:lnTo>
                        <a:pt x="70" y="60"/>
                      </a:lnTo>
                      <a:lnTo>
                        <a:pt x="70" y="56"/>
                      </a:lnTo>
                      <a:lnTo>
                        <a:pt x="66" y="56"/>
                      </a:lnTo>
                      <a:lnTo>
                        <a:pt x="70" y="56"/>
                      </a:lnTo>
                      <a:lnTo>
                        <a:pt x="70" y="60"/>
                      </a:lnTo>
                      <a:lnTo>
                        <a:pt x="70" y="56"/>
                      </a:lnTo>
                      <a:lnTo>
                        <a:pt x="74" y="60"/>
                      </a:lnTo>
                      <a:lnTo>
                        <a:pt x="74" y="64"/>
                      </a:lnTo>
                      <a:lnTo>
                        <a:pt x="78" y="66"/>
                      </a:lnTo>
                      <a:lnTo>
                        <a:pt x="80" y="66"/>
                      </a:lnTo>
                      <a:lnTo>
                        <a:pt x="80" y="70"/>
                      </a:lnTo>
                      <a:lnTo>
                        <a:pt x="80" y="66"/>
                      </a:lnTo>
                      <a:lnTo>
                        <a:pt x="80" y="64"/>
                      </a:lnTo>
                      <a:lnTo>
                        <a:pt x="84" y="64"/>
                      </a:lnTo>
                      <a:lnTo>
                        <a:pt x="80" y="64"/>
                      </a:lnTo>
                      <a:lnTo>
                        <a:pt x="84" y="64"/>
                      </a:lnTo>
                      <a:lnTo>
                        <a:pt x="84" y="66"/>
                      </a:lnTo>
                      <a:lnTo>
                        <a:pt x="88" y="66"/>
                      </a:lnTo>
                      <a:lnTo>
                        <a:pt x="88" y="70"/>
                      </a:lnTo>
                      <a:lnTo>
                        <a:pt x="88" y="74"/>
                      </a:lnTo>
                      <a:lnTo>
                        <a:pt x="92" y="74"/>
                      </a:lnTo>
                      <a:lnTo>
                        <a:pt x="96" y="74"/>
                      </a:lnTo>
                      <a:lnTo>
                        <a:pt x="96" y="78"/>
                      </a:lnTo>
                      <a:lnTo>
                        <a:pt x="100" y="78"/>
                      </a:lnTo>
                      <a:lnTo>
                        <a:pt x="100" y="82"/>
                      </a:lnTo>
                      <a:lnTo>
                        <a:pt x="100" y="86"/>
                      </a:lnTo>
                      <a:lnTo>
                        <a:pt x="104" y="90"/>
                      </a:lnTo>
                      <a:lnTo>
                        <a:pt x="106" y="90"/>
                      </a:lnTo>
                      <a:lnTo>
                        <a:pt x="110" y="90"/>
                      </a:lnTo>
                      <a:lnTo>
                        <a:pt x="110" y="92"/>
                      </a:lnTo>
                      <a:lnTo>
                        <a:pt x="110" y="96"/>
                      </a:lnTo>
                      <a:lnTo>
                        <a:pt x="106" y="96"/>
                      </a:lnTo>
                      <a:lnTo>
                        <a:pt x="104" y="100"/>
                      </a:lnTo>
                      <a:lnTo>
                        <a:pt x="104" y="96"/>
                      </a:lnTo>
                      <a:lnTo>
                        <a:pt x="104" y="100"/>
                      </a:lnTo>
                      <a:lnTo>
                        <a:pt x="106" y="100"/>
                      </a:lnTo>
                      <a:lnTo>
                        <a:pt x="106" y="96"/>
                      </a:lnTo>
                      <a:lnTo>
                        <a:pt x="110" y="96"/>
                      </a:lnTo>
                      <a:lnTo>
                        <a:pt x="114" y="96"/>
                      </a:lnTo>
                      <a:lnTo>
                        <a:pt x="114" y="92"/>
                      </a:lnTo>
                      <a:lnTo>
                        <a:pt x="118" y="92"/>
                      </a:lnTo>
                      <a:lnTo>
                        <a:pt x="122" y="96"/>
                      </a:lnTo>
                      <a:lnTo>
                        <a:pt x="122" y="100"/>
                      </a:lnTo>
                      <a:lnTo>
                        <a:pt x="122" y="104"/>
                      </a:lnTo>
                      <a:lnTo>
                        <a:pt x="118" y="104"/>
                      </a:lnTo>
                      <a:lnTo>
                        <a:pt x="114" y="104"/>
                      </a:lnTo>
                      <a:lnTo>
                        <a:pt x="114" y="108"/>
                      </a:lnTo>
                      <a:lnTo>
                        <a:pt x="118" y="104"/>
                      </a:lnTo>
                      <a:lnTo>
                        <a:pt x="118" y="108"/>
                      </a:lnTo>
                      <a:lnTo>
                        <a:pt x="114" y="108"/>
                      </a:lnTo>
                      <a:lnTo>
                        <a:pt x="118" y="108"/>
                      </a:lnTo>
                      <a:lnTo>
                        <a:pt x="118" y="112"/>
                      </a:lnTo>
                      <a:lnTo>
                        <a:pt x="114" y="112"/>
                      </a:lnTo>
                      <a:lnTo>
                        <a:pt x="114" y="116"/>
                      </a:lnTo>
                      <a:lnTo>
                        <a:pt x="118" y="116"/>
                      </a:lnTo>
                      <a:lnTo>
                        <a:pt x="118" y="116"/>
                      </a:lnTo>
                      <a:lnTo>
                        <a:pt x="118" y="116"/>
                      </a:lnTo>
                      <a:close/>
                      <a:moveTo>
                        <a:pt x="204" y="66"/>
                      </a:moveTo>
                      <a:lnTo>
                        <a:pt x="204" y="70"/>
                      </a:lnTo>
                      <a:lnTo>
                        <a:pt x="204" y="74"/>
                      </a:lnTo>
                      <a:lnTo>
                        <a:pt x="208" y="78"/>
                      </a:lnTo>
                      <a:lnTo>
                        <a:pt x="208" y="82"/>
                      </a:lnTo>
                      <a:lnTo>
                        <a:pt x="212" y="82"/>
                      </a:lnTo>
                      <a:lnTo>
                        <a:pt x="216" y="86"/>
                      </a:lnTo>
                      <a:lnTo>
                        <a:pt x="216" y="90"/>
                      </a:lnTo>
                      <a:lnTo>
                        <a:pt x="220" y="90"/>
                      </a:lnTo>
                      <a:lnTo>
                        <a:pt x="220" y="86"/>
                      </a:lnTo>
                      <a:lnTo>
                        <a:pt x="222" y="86"/>
                      </a:lnTo>
                      <a:lnTo>
                        <a:pt x="226" y="86"/>
                      </a:lnTo>
                      <a:lnTo>
                        <a:pt x="230" y="86"/>
                      </a:lnTo>
                      <a:lnTo>
                        <a:pt x="234" y="86"/>
                      </a:lnTo>
                      <a:lnTo>
                        <a:pt x="238" y="86"/>
                      </a:lnTo>
                      <a:lnTo>
                        <a:pt x="238" y="82"/>
                      </a:lnTo>
                      <a:lnTo>
                        <a:pt x="242" y="82"/>
                      </a:lnTo>
                      <a:lnTo>
                        <a:pt x="242" y="78"/>
                      </a:lnTo>
                      <a:lnTo>
                        <a:pt x="246" y="74"/>
                      </a:lnTo>
                      <a:lnTo>
                        <a:pt x="248" y="74"/>
                      </a:lnTo>
                      <a:lnTo>
                        <a:pt x="252" y="74"/>
                      </a:lnTo>
                      <a:lnTo>
                        <a:pt x="252" y="78"/>
                      </a:lnTo>
                      <a:lnTo>
                        <a:pt x="256" y="78"/>
                      </a:lnTo>
                      <a:lnTo>
                        <a:pt x="260" y="82"/>
                      </a:lnTo>
                      <a:lnTo>
                        <a:pt x="264" y="82"/>
                      </a:lnTo>
                      <a:lnTo>
                        <a:pt x="264" y="78"/>
                      </a:lnTo>
                      <a:lnTo>
                        <a:pt x="268" y="78"/>
                      </a:lnTo>
                      <a:lnTo>
                        <a:pt x="272" y="78"/>
                      </a:lnTo>
                      <a:lnTo>
                        <a:pt x="276" y="78"/>
                      </a:lnTo>
                      <a:lnTo>
                        <a:pt x="276" y="74"/>
                      </a:lnTo>
                      <a:lnTo>
                        <a:pt x="276" y="70"/>
                      </a:lnTo>
                      <a:lnTo>
                        <a:pt x="278" y="70"/>
                      </a:lnTo>
                      <a:lnTo>
                        <a:pt x="278" y="66"/>
                      </a:lnTo>
                      <a:lnTo>
                        <a:pt x="278" y="64"/>
                      </a:lnTo>
                      <a:lnTo>
                        <a:pt x="282" y="60"/>
                      </a:lnTo>
                      <a:lnTo>
                        <a:pt x="282" y="52"/>
                      </a:lnTo>
                      <a:lnTo>
                        <a:pt x="286" y="52"/>
                      </a:lnTo>
                      <a:lnTo>
                        <a:pt x="286" y="48"/>
                      </a:lnTo>
                      <a:lnTo>
                        <a:pt x="286" y="44"/>
                      </a:lnTo>
                      <a:lnTo>
                        <a:pt x="290" y="44"/>
                      </a:lnTo>
                      <a:lnTo>
                        <a:pt x="290" y="40"/>
                      </a:lnTo>
                      <a:lnTo>
                        <a:pt x="290" y="36"/>
                      </a:lnTo>
                      <a:lnTo>
                        <a:pt x="290" y="34"/>
                      </a:lnTo>
                      <a:lnTo>
                        <a:pt x="290" y="30"/>
                      </a:lnTo>
                      <a:lnTo>
                        <a:pt x="294" y="30"/>
                      </a:lnTo>
                      <a:lnTo>
                        <a:pt x="294" y="26"/>
                      </a:lnTo>
                      <a:lnTo>
                        <a:pt x="294" y="30"/>
                      </a:lnTo>
                      <a:lnTo>
                        <a:pt x="298" y="30"/>
                      </a:lnTo>
                      <a:lnTo>
                        <a:pt x="302" y="30"/>
                      </a:lnTo>
                      <a:lnTo>
                        <a:pt x="304" y="30"/>
                      </a:lnTo>
                      <a:lnTo>
                        <a:pt x="308" y="30"/>
                      </a:lnTo>
                      <a:lnTo>
                        <a:pt x="312" y="30"/>
                      </a:lnTo>
                      <a:lnTo>
                        <a:pt x="316" y="30"/>
                      </a:lnTo>
                      <a:lnTo>
                        <a:pt x="316" y="34"/>
                      </a:lnTo>
                      <a:lnTo>
                        <a:pt x="316" y="30"/>
                      </a:lnTo>
                      <a:lnTo>
                        <a:pt x="312" y="34"/>
                      </a:lnTo>
                      <a:lnTo>
                        <a:pt x="316" y="34"/>
                      </a:lnTo>
                      <a:lnTo>
                        <a:pt x="316" y="36"/>
                      </a:lnTo>
                      <a:lnTo>
                        <a:pt x="320" y="36"/>
                      </a:lnTo>
                      <a:lnTo>
                        <a:pt x="320" y="40"/>
                      </a:lnTo>
                      <a:lnTo>
                        <a:pt x="316" y="40"/>
                      </a:lnTo>
                      <a:lnTo>
                        <a:pt x="312" y="40"/>
                      </a:lnTo>
                      <a:lnTo>
                        <a:pt x="308" y="40"/>
                      </a:lnTo>
                      <a:lnTo>
                        <a:pt x="312" y="40"/>
                      </a:lnTo>
                      <a:lnTo>
                        <a:pt x="312" y="44"/>
                      </a:lnTo>
                      <a:lnTo>
                        <a:pt x="316" y="44"/>
                      </a:lnTo>
                      <a:lnTo>
                        <a:pt x="312" y="44"/>
                      </a:lnTo>
                      <a:lnTo>
                        <a:pt x="312" y="48"/>
                      </a:lnTo>
                      <a:lnTo>
                        <a:pt x="316" y="48"/>
                      </a:lnTo>
                      <a:lnTo>
                        <a:pt x="320" y="52"/>
                      </a:lnTo>
                      <a:lnTo>
                        <a:pt x="320" y="56"/>
                      </a:lnTo>
                      <a:lnTo>
                        <a:pt x="320" y="60"/>
                      </a:lnTo>
                      <a:lnTo>
                        <a:pt x="324" y="60"/>
                      </a:lnTo>
                      <a:lnTo>
                        <a:pt x="324" y="64"/>
                      </a:lnTo>
                      <a:lnTo>
                        <a:pt x="324" y="66"/>
                      </a:lnTo>
                      <a:lnTo>
                        <a:pt x="320" y="66"/>
                      </a:lnTo>
                      <a:lnTo>
                        <a:pt x="320" y="70"/>
                      </a:lnTo>
                      <a:lnTo>
                        <a:pt x="324" y="74"/>
                      </a:lnTo>
                      <a:lnTo>
                        <a:pt x="328" y="74"/>
                      </a:lnTo>
                      <a:lnTo>
                        <a:pt x="328" y="78"/>
                      </a:lnTo>
                      <a:lnTo>
                        <a:pt x="332" y="78"/>
                      </a:lnTo>
                      <a:lnTo>
                        <a:pt x="334" y="82"/>
                      </a:lnTo>
                      <a:lnTo>
                        <a:pt x="334" y="86"/>
                      </a:lnTo>
                      <a:lnTo>
                        <a:pt x="338" y="86"/>
                      </a:lnTo>
                      <a:lnTo>
                        <a:pt x="334" y="86"/>
                      </a:lnTo>
                      <a:lnTo>
                        <a:pt x="334" y="90"/>
                      </a:lnTo>
                      <a:lnTo>
                        <a:pt x="332" y="90"/>
                      </a:lnTo>
                      <a:lnTo>
                        <a:pt x="328" y="90"/>
                      </a:lnTo>
                      <a:lnTo>
                        <a:pt x="324" y="86"/>
                      </a:lnTo>
                      <a:lnTo>
                        <a:pt x="324" y="82"/>
                      </a:lnTo>
                      <a:lnTo>
                        <a:pt x="320" y="82"/>
                      </a:lnTo>
                      <a:lnTo>
                        <a:pt x="320" y="86"/>
                      </a:lnTo>
                      <a:lnTo>
                        <a:pt x="324" y="86"/>
                      </a:lnTo>
                      <a:lnTo>
                        <a:pt x="324" y="90"/>
                      </a:lnTo>
                      <a:lnTo>
                        <a:pt x="320" y="90"/>
                      </a:lnTo>
                      <a:lnTo>
                        <a:pt x="320" y="92"/>
                      </a:lnTo>
                      <a:lnTo>
                        <a:pt x="316" y="92"/>
                      </a:lnTo>
                      <a:lnTo>
                        <a:pt x="316" y="96"/>
                      </a:lnTo>
                      <a:lnTo>
                        <a:pt x="316" y="100"/>
                      </a:lnTo>
                      <a:lnTo>
                        <a:pt x="316" y="104"/>
                      </a:lnTo>
                      <a:lnTo>
                        <a:pt x="316" y="108"/>
                      </a:lnTo>
                      <a:lnTo>
                        <a:pt x="316" y="112"/>
                      </a:lnTo>
                      <a:lnTo>
                        <a:pt x="316" y="108"/>
                      </a:lnTo>
                      <a:lnTo>
                        <a:pt x="316" y="112"/>
                      </a:lnTo>
                      <a:lnTo>
                        <a:pt x="316" y="116"/>
                      </a:lnTo>
                      <a:lnTo>
                        <a:pt x="312" y="116"/>
                      </a:lnTo>
                      <a:lnTo>
                        <a:pt x="312" y="120"/>
                      </a:lnTo>
                      <a:lnTo>
                        <a:pt x="308" y="120"/>
                      </a:lnTo>
                      <a:lnTo>
                        <a:pt x="308" y="122"/>
                      </a:lnTo>
                      <a:lnTo>
                        <a:pt x="304" y="122"/>
                      </a:lnTo>
                      <a:lnTo>
                        <a:pt x="304" y="120"/>
                      </a:lnTo>
                      <a:lnTo>
                        <a:pt x="304" y="122"/>
                      </a:lnTo>
                      <a:lnTo>
                        <a:pt x="304" y="126"/>
                      </a:lnTo>
                      <a:lnTo>
                        <a:pt x="302" y="126"/>
                      </a:lnTo>
                      <a:lnTo>
                        <a:pt x="302" y="130"/>
                      </a:lnTo>
                      <a:lnTo>
                        <a:pt x="298" y="130"/>
                      </a:lnTo>
                      <a:lnTo>
                        <a:pt x="298" y="134"/>
                      </a:lnTo>
                      <a:lnTo>
                        <a:pt x="302" y="134"/>
                      </a:lnTo>
                      <a:lnTo>
                        <a:pt x="302" y="138"/>
                      </a:lnTo>
                      <a:lnTo>
                        <a:pt x="298" y="138"/>
                      </a:lnTo>
                      <a:lnTo>
                        <a:pt x="302" y="142"/>
                      </a:lnTo>
                      <a:lnTo>
                        <a:pt x="302" y="138"/>
                      </a:lnTo>
                      <a:lnTo>
                        <a:pt x="302" y="142"/>
                      </a:lnTo>
                      <a:lnTo>
                        <a:pt x="304" y="142"/>
                      </a:lnTo>
                      <a:lnTo>
                        <a:pt x="302" y="142"/>
                      </a:lnTo>
                      <a:lnTo>
                        <a:pt x="302" y="146"/>
                      </a:lnTo>
                      <a:lnTo>
                        <a:pt x="298" y="146"/>
                      </a:lnTo>
                      <a:lnTo>
                        <a:pt x="302" y="150"/>
                      </a:lnTo>
                      <a:lnTo>
                        <a:pt x="302" y="152"/>
                      </a:lnTo>
                      <a:lnTo>
                        <a:pt x="298" y="152"/>
                      </a:lnTo>
                      <a:lnTo>
                        <a:pt x="298" y="150"/>
                      </a:lnTo>
                      <a:lnTo>
                        <a:pt x="298" y="152"/>
                      </a:lnTo>
                      <a:lnTo>
                        <a:pt x="298" y="156"/>
                      </a:lnTo>
                      <a:lnTo>
                        <a:pt x="298" y="160"/>
                      </a:lnTo>
                      <a:lnTo>
                        <a:pt x="294" y="160"/>
                      </a:lnTo>
                      <a:lnTo>
                        <a:pt x="294" y="164"/>
                      </a:lnTo>
                      <a:lnTo>
                        <a:pt x="290" y="164"/>
                      </a:lnTo>
                      <a:lnTo>
                        <a:pt x="290" y="166"/>
                      </a:lnTo>
                      <a:lnTo>
                        <a:pt x="286" y="166"/>
                      </a:lnTo>
                      <a:lnTo>
                        <a:pt x="282" y="166"/>
                      </a:lnTo>
                      <a:lnTo>
                        <a:pt x="282" y="170"/>
                      </a:lnTo>
                      <a:lnTo>
                        <a:pt x="278" y="170"/>
                      </a:lnTo>
                      <a:lnTo>
                        <a:pt x="276" y="174"/>
                      </a:lnTo>
                      <a:lnTo>
                        <a:pt x="276" y="170"/>
                      </a:lnTo>
                      <a:lnTo>
                        <a:pt x="276" y="166"/>
                      </a:lnTo>
                      <a:lnTo>
                        <a:pt x="276" y="164"/>
                      </a:lnTo>
                      <a:lnTo>
                        <a:pt x="272" y="164"/>
                      </a:lnTo>
                      <a:lnTo>
                        <a:pt x="272" y="160"/>
                      </a:lnTo>
                      <a:lnTo>
                        <a:pt x="268" y="160"/>
                      </a:lnTo>
                      <a:lnTo>
                        <a:pt x="264" y="160"/>
                      </a:lnTo>
                      <a:lnTo>
                        <a:pt x="260" y="160"/>
                      </a:lnTo>
                      <a:lnTo>
                        <a:pt x="260" y="156"/>
                      </a:lnTo>
                      <a:lnTo>
                        <a:pt x="256" y="156"/>
                      </a:lnTo>
                      <a:lnTo>
                        <a:pt x="252" y="156"/>
                      </a:lnTo>
                      <a:lnTo>
                        <a:pt x="252" y="152"/>
                      </a:lnTo>
                      <a:lnTo>
                        <a:pt x="252" y="156"/>
                      </a:lnTo>
                      <a:lnTo>
                        <a:pt x="248" y="160"/>
                      </a:lnTo>
                      <a:lnTo>
                        <a:pt x="246" y="160"/>
                      </a:lnTo>
                      <a:lnTo>
                        <a:pt x="242" y="160"/>
                      </a:lnTo>
                      <a:lnTo>
                        <a:pt x="238" y="160"/>
                      </a:lnTo>
                      <a:lnTo>
                        <a:pt x="238" y="164"/>
                      </a:lnTo>
                      <a:lnTo>
                        <a:pt x="234" y="164"/>
                      </a:lnTo>
                      <a:lnTo>
                        <a:pt x="234" y="160"/>
                      </a:lnTo>
                      <a:lnTo>
                        <a:pt x="234" y="156"/>
                      </a:lnTo>
                      <a:lnTo>
                        <a:pt x="234" y="152"/>
                      </a:lnTo>
                      <a:lnTo>
                        <a:pt x="234" y="150"/>
                      </a:lnTo>
                      <a:lnTo>
                        <a:pt x="234" y="152"/>
                      </a:lnTo>
                      <a:lnTo>
                        <a:pt x="230" y="152"/>
                      </a:lnTo>
                      <a:lnTo>
                        <a:pt x="226" y="152"/>
                      </a:lnTo>
                      <a:lnTo>
                        <a:pt x="226" y="156"/>
                      </a:lnTo>
                      <a:lnTo>
                        <a:pt x="222" y="156"/>
                      </a:lnTo>
                      <a:lnTo>
                        <a:pt x="220" y="152"/>
                      </a:lnTo>
                      <a:lnTo>
                        <a:pt x="222" y="152"/>
                      </a:lnTo>
                      <a:lnTo>
                        <a:pt x="220" y="152"/>
                      </a:lnTo>
                      <a:lnTo>
                        <a:pt x="220" y="156"/>
                      </a:lnTo>
                      <a:lnTo>
                        <a:pt x="220" y="152"/>
                      </a:lnTo>
                      <a:lnTo>
                        <a:pt x="216" y="152"/>
                      </a:lnTo>
                      <a:lnTo>
                        <a:pt x="212" y="152"/>
                      </a:lnTo>
                      <a:lnTo>
                        <a:pt x="212" y="150"/>
                      </a:lnTo>
                      <a:lnTo>
                        <a:pt x="212" y="146"/>
                      </a:lnTo>
                      <a:lnTo>
                        <a:pt x="212" y="142"/>
                      </a:lnTo>
                      <a:lnTo>
                        <a:pt x="212" y="138"/>
                      </a:lnTo>
                      <a:lnTo>
                        <a:pt x="212" y="134"/>
                      </a:lnTo>
                      <a:lnTo>
                        <a:pt x="208" y="134"/>
                      </a:lnTo>
                      <a:lnTo>
                        <a:pt x="208" y="130"/>
                      </a:lnTo>
                      <a:lnTo>
                        <a:pt x="212" y="130"/>
                      </a:lnTo>
                      <a:lnTo>
                        <a:pt x="212" y="126"/>
                      </a:lnTo>
                      <a:lnTo>
                        <a:pt x="212" y="122"/>
                      </a:lnTo>
                      <a:lnTo>
                        <a:pt x="208" y="122"/>
                      </a:lnTo>
                      <a:lnTo>
                        <a:pt x="208" y="120"/>
                      </a:lnTo>
                      <a:lnTo>
                        <a:pt x="204" y="120"/>
                      </a:lnTo>
                      <a:lnTo>
                        <a:pt x="200" y="116"/>
                      </a:lnTo>
                      <a:lnTo>
                        <a:pt x="200" y="120"/>
                      </a:lnTo>
                      <a:lnTo>
                        <a:pt x="200" y="116"/>
                      </a:lnTo>
                      <a:lnTo>
                        <a:pt x="204" y="116"/>
                      </a:lnTo>
                      <a:lnTo>
                        <a:pt x="200" y="112"/>
                      </a:lnTo>
                      <a:lnTo>
                        <a:pt x="196" y="112"/>
                      </a:lnTo>
                      <a:lnTo>
                        <a:pt x="196" y="108"/>
                      </a:lnTo>
                      <a:lnTo>
                        <a:pt x="196" y="104"/>
                      </a:lnTo>
                      <a:lnTo>
                        <a:pt x="196" y="100"/>
                      </a:lnTo>
                      <a:lnTo>
                        <a:pt x="196" y="96"/>
                      </a:lnTo>
                      <a:lnTo>
                        <a:pt x="192" y="96"/>
                      </a:lnTo>
                      <a:lnTo>
                        <a:pt x="192" y="92"/>
                      </a:lnTo>
                      <a:lnTo>
                        <a:pt x="192" y="90"/>
                      </a:lnTo>
                      <a:lnTo>
                        <a:pt x="192" y="86"/>
                      </a:lnTo>
                      <a:lnTo>
                        <a:pt x="196" y="86"/>
                      </a:lnTo>
                      <a:lnTo>
                        <a:pt x="192" y="86"/>
                      </a:lnTo>
                      <a:lnTo>
                        <a:pt x="192" y="82"/>
                      </a:lnTo>
                      <a:lnTo>
                        <a:pt x="196" y="82"/>
                      </a:lnTo>
                      <a:lnTo>
                        <a:pt x="200" y="78"/>
                      </a:lnTo>
                      <a:lnTo>
                        <a:pt x="196" y="78"/>
                      </a:lnTo>
                      <a:lnTo>
                        <a:pt x="196" y="82"/>
                      </a:lnTo>
                      <a:lnTo>
                        <a:pt x="196" y="78"/>
                      </a:lnTo>
                      <a:lnTo>
                        <a:pt x="196" y="74"/>
                      </a:lnTo>
                      <a:lnTo>
                        <a:pt x="200" y="74"/>
                      </a:lnTo>
                      <a:lnTo>
                        <a:pt x="200" y="70"/>
                      </a:lnTo>
                      <a:lnTo>
                        <a:pt x="204" y="66"/>
                      </a:lnTo>
                      <a:lnTo>
                        <a:pt x="204" y="66"/>
                      </a:lnTo>
                      <a:lnTo>
                        <a:pt x="204" y="66"/>
                      </a:lnTo>
                      <a:close/>
                      <a:moveTo>
                        <a:pt x="182" y="36"/>
                      </a:moveTo>
                      <a:lnTo>
                        <a:pt x="182" y="34"/>
                      </a:lnTo>
                      <a:lnTo>
                        <a:pt x="182" y="30"/>
                      </a:lnTo>
                      <a:lnTo>
                        <a:pt x="186" y="30"/>
                      </a:lnTo>
                      <a:lnTo>
                        <a:pt x="186" y="34"/>
                      </a:lnTo>
                      <a:lnTo>
                        <a:pt x="186" y="36"/>
                      </a:lnTo>
                      <a:lnTo>
                        <a:pt x="186" y="40"/>
                      </a:lnTo>
                      <a:lnTo>
                        <a:pt x="182" y="40"/>
                      </a:lnTo>
                      <a:lnTo>
                        <a:pt x="182" y="36"/>
                      </a:lnTo>
                      <a:lnTo>
                        <a:pt x="186" y="36"/>
                      </a:lnTo>
                      <a:lnTo>
                        <a:pt x="182" y="36"/>
                      </a:lnTo>
                      <a:lnTo>
                        <a:pt x="182" y="36"/>
                      </a:lnTo>
                      <a:lnTo>
                        <a:pt x="182" y="36"/>
                      </a:lnTo>
                      <a:close/>
                      <a:moveTo>
                        <a:pt x="148" y="52"/>
                      </a:moveTo>
                      <a:lnTo>
                        <a:pt x="148" y="48"/>
                      </a:lnTo>
                      <a:lnTo>
                        <a:pt x="152" y="52"/>
                      </a:lnTo>
                      <a:lnTo>
                        <a:pt x="148" y="52"/>
                      </a:lnTo>
                      <a:lnTo>
                        <a:pt x="148" y="56"/>
                      </a:lnTo>
                      <a:lnTo>
                        <a:pt x="148" y="52"/>
                      </a:lnTo>
                      <a:lnTo>
                        <a:pt x="148" y="52"/>
                      </a:lnTo>
                      <a:lnTo>
                        <a:pt x="148" y="52"/>
                      </a:lnTo>
                      <a:close/>
                      <a:moveTo>
                        <a:pt x="18" y="64"/>
                      </a:moveTo>
                      <a:lnTo>
                        <a:pt x="14" y="64"/>
                      </a:lnTo>
                      <a:lnTo>
                        <a:pt x="14" y="60"/>
                      </a:lnTo>
                      <a:lnTo>
                        <a:pt x="10" y="60"/>
                      </a:lnTo>
                      <a:lnTo>
                        <a:pt x="10" y="56"/>
                      </a:lnTo>
                      <a:lnTo>
                        <a:pt x="8" y="56"/>
                      </a:lnTo>
                      <a:lnTo>
                        <a:pt x="10" y="52"/>
                      </a:lnTo>
                      <a:lnTo>
                        <a:pt x="10" y="56"/>
                      </a:lnTo>
                      <a:lnTo>
                        <a:pt x="14" y="56"/>
                      </a:lnTo>
                      <a:lnTo>
                        <a:pt x="14" y="60"/>
                      </a:lnTo>
                      <a:lnTo>
                        <a:pt x="18" y="60"/>
                      </a:lnTo>
                      <a:lnTo>
                        <a:pt x="18" y="64"/>
                      </a:lnTo>
                      <a:lnTo>
                        <a:pt x="18" y="64"/>
                      </a:lnTo>
                      <a:lnTo>
                        <a:pt x="18" y="64"/>
                      </a:lnTo>
                      <a:close/>
                      <a:moveTo>
                        <a:pt x="468" y="66"/>
                      </a:moveTo>
                      <a:lnTo>
                        <a:pt x="468" y="64"/>
                      </a:lnTo>
                      <a:lnTo>
                        <a:pt x="468" y="60"/>
                      </a:lnTo>
                      <a:lnTo>
                        <a:pt x="472" y="56"/>
                      </a:lnTo>
                      <a:lnTo>
                        <a:pt x="472" y="60"/>
                      </a:lnTo>
                      <a:lnTo>
                        <a:pt x="472" y="64"/>
                      </a:lnTo>
                      <a:lnTo>
                        <a:pt x="472" y="66"/>
                      </a:lnTo>
                      <a:lnTo>
                        <a:pt x="468" y="66"/>
                      </a:lnTo>
                      <a:lnTo>
                        <a:pt x="468" y="66"/>
                      </a:lnTo>
                      <a:lnTo>
                        <a:pt x="468" y="66"/>
                      </a:lnTo>
                      <a:close/>
                      <a:moveTo>
                        <a:pt x="30" y="66"/>
                      </a:moveTo>
                      <a:lnTo>
                        <a:pt x="30" y="64"/>
                      </a:lnTo>
                      <a:lnTo>
                        <a:pt x="26" y="64"/>
                      </a:lnTo>
                      <a:lnTo>
                        <a:pt x="30" y="64"/>
                      </a:lnTo>
                      <a:lnTo>
                        <a:pt x="30" y="66"/>
                      </a:lnTo>
                      <a:lnTo>
                        <a:pt x="30" y="66"/>
                      </a:lnTo>
                      <a:lnTo>
                        <a:pt x="30" y="66"/>
                      </a:lnTo>
                      <a:close/>
                      <a:moveTo>
                        <a:pt x="460" y="112"/>
                      </a:moveTo>
                      <a:lnTo>
                        <a:pt x="460" y="108"/>
                      </a:lnTo>
                      <a:lnTo>
                        <a:pt x="458" y="104"/>
                      </a:lnTo>
                      <a:lnTo>
                        <a:pt x="460" y="104"/>
                      </a:lnTo>
                      <a:lnTo>
                        <a:pt x="460" y="100"/>
                      </a:lnTo>
                      <a:lnTo>
                        <a:pt x="458" y="96"/>
                      </a:lnTo>
                      <a:lnTo>
                        <a:pt x="458" y="92"/>
                      </a:lnTo>
                      <a:lnTo>
                        <a:pt x="458" y="90"/>
                      </a:lnTo>
                      <a:lnTo>
                        <a:pt x="458" y="86"/>
                      </a:lnTo>
                      <a:lnTo>
                        <a:pt x="454" y="86"/>
                      </a:lnTo>
                      <a:lnTo>
                        <a:pt x="454" y="82"/>
                      </a:lnTo>
                      <a:lnTo>
                        <a:pt x="458" y="82"/>
                      </a:lnTo>
                      <a:lnTo>
                        <a:pt x="458" y="78"/>
                      </a:lnTo>
                      <a:lnTo>
                        <a:pt x="458" y="74"/>
                      </a:lnTo>
                      <a:lnTo>
                        <a:pt x="458" y="70"/>
                      </a:lnTo>
                      <a:lnTo>
                        <a:pt x="460" y="70"/>
                      </a:lnTo>
                      <a:lnTo>
                        <a:pt x="460" y="66"/>
                      </a:lnTo>
                      <a:lnTo>
                        <a:pt x="464" y="64"/>
                      </a:lnTo>
                      <a:lnTo>
                        <a:pt x="464" y="66"/>
                      </a:lnTo>
                      <a:lnTo>
                        <a:pt x="460" y="70"/>
                      </a:lnTo>
                      <a:lnTo>
                        <a:pt x="464" y="70"/>
                      </a:lnTo>
                      <a:lnTo>
                        <a:pt x="464" y="74"/>
                      </a:lnTo>
                      <a:lnTo>
                        <a:pt x="464" y="78"/>
                      </a:lnTo>
                      <a:lnTo>
                        <a:pt x="460" y="82"/>
                      </a:lnTo>
                      <a:lnTo>
                        <a:pt x="458" y="86"/>
                      </a:lnTo>
                      <a:lnTo>
                        <a:pt x="460" y="90"/>
                      </a:lnTo>
                      <a:lnTo>
                        <a:pt x="460" y="86"/>
                      </a:lnTo>
                      <a:lnTo>
                        <a:pt x="464" y="86"/>
                      </a:lnTo>
                      <a:lnTo>
                        <a:pt x="464" y="82"/>
                      </a:lnTo>
                      <a:lnTo>
                        <a:pt x="464" y="78"/>
                      </a:lnTo>
                      <a:lnTo>
                        <a:pt x="468" y="78"/>
                      </a:lnTo>
                      <a:lnTo>
                        <a:pt x="468" y="74"/>
                      </a:lnTo>
                      <a:lnTo>
                        <a:pt x="472" y="74"/>
                      </a:lnTo>
                      <a:lnTo>
                        <a:pt x="472" y="82"/>
                      </a:lnTo>
                      <a:lnTo>
                        <a:pt x="472" y="86"/>
                      </a:lnTo>
                      <a:lnTo>
                        <a:pt x="468" y="86"/>
                      </a:lnTo>
                      <a:lnTo>
                        <a:pt x="468" y="90"/>
                      </a:lnTo>
                      <a:lnTo>
                        <a:pt x="468" y="92"/>
                      </a:lnTo>
                      <a:lnTo>
                        <a:pt x="472" y="92"/>
                      </a:lnTo>
                      <a:lnTo>
                        <a:pt x="472" y="96"/>
                      </a:lnTo>
                      <a:lnTo>
                        <a:pt x="476" y="96"/>
                      </a:lnTo>
                      <a:lnTo>
                        <a:pt x="476" y="100"/>
                      </a:lnTo>
                      <a:lnTo>
                        <a:pt x="476" y="96"/>
                      </a:lnTo>
                      <a:lnTo>
                        <a:pt x="472" y="96"/>
                      </a:lnTo>
                      <a:lnTo>
                        <a:pt x="468" y="96"/>
                      </a:lnTo>
                      <a:lnTo>
                        <a:pt x="464" y="96"/>
                      </a:lnTo>
                      <a:lnTo>
                        <a:pt x="464" y="92"/>
                      </a:lnTo>
                      <a:lnTo>
                        <a:pt x="460" y="92"/>
                      </a:lnTo>
                      <a:lnTo>
                        <a:pt x="460" y="96"/>
                      </a:lnTo>
                      <a:lnTo>
                        <a:pt x="460" y="100"/>
                      </a:lnTo>
                      <a:lnTo>
                        <a:pt x="460" y="104"/>
                      </a:lnTo>
                      <a:lnTo>
                        <a:pt x="464" y="108"/>
                      </a:lnTo>
                      <a:lnTo>
                        <a:pt x="464" y="112"/>
                      </a:lnTo>
                      <a:lnTo>
                        <a:pt x="468" y="116"/>
                      </a:lnTo>
                      <a:lnTo>
                        <a:pt x="468" y="120"/>
                      </a:lnTo>
                      <a:lnTo>
                        <a:pt x="468" y="116"/>
                      </a:lnTo>
                      <a:lnTo>
                        <a:pt x="464" y="116"/>
                      </a:lnTo>
                      <a:lnTo>
                        <a:pt x="464" y="112"/>
                      </a:lnTo>
                      <a:lnTo>
                        <a:pt x="460" y="112"/>
                      </a:lnTo>
                      <a:lnTo>
                        <a:pt x="460" y="112"/>
                      </a:lnTo>
                      <a:lnTo>
                        <a:pt x="460" y="112"/>
                      </a:lnTo>
                      <a:close/>
                      <a:moveTo>
                        <a:pt x="92" y="70"/>
                      </a:moveTo>
                      <a:lnTo>
                        <a:pt x="92" y="74"/>
                      </a:lnTo>
                      <a:lnTo>
                        <a:pt x="88" y="74"/>
                      </a:lnTo>
                      <a:lnTo>
                        <a:pt x="88" y="70"/>
                      </a:lnTo>
                      <a:lnTo>
                        <a:pt x="88" y="66"/>
                      </a:lnTo>
                      <a:lnTo>
                        <a:pt x="92" y="66"/>
                      </a:lnTo>
                      <a:lnTo>
                        <a:pt x="92" y="70"/>
                      </a:lnTo>
                      <a:lnTo>
                        <a:pt x="92" y="70"/>
                      </a:lnTo>
                      <a:lnTo>
                        <a:pt x="92" y="70"/>
                      </a:lnTo>
                      <a:close/>
                      <a:moveTo>
                        <a:pt x="398" y="120"/>
                      </a:moveTo>
                      <a:lnTo>
                        <a:pt x="394" y="120"/>
                      </a:lnTo>
                      <a:lnTo>
                        <a:pt x="390" y="120"/>
                      </a:lnTo>
                      <a:lnTo>
                        <a:pt x="390" y="122"/>
                      </a:lnTo>
                      <a:lnTo>
                        <a:pt x="386" y="122"/>
                      </a:lnTo>
                      <a:lnTo>
                        <a:pt x="386" y="126"/>
                      </a:lnTo>
                      <a:lnTo>
                        <a:pt x="382" y="126"/>
                      </a:lnTo>
                      <a:lnTo>
                        <a:pt x="382" y="130"/>
                      </a:lnTo>
                      <a:lnTo>
                        <a:pt x="378" y="130"/>
                      </a:lnTo>
                      <a:lnTo>
                        <a:pt x="374" y="130"/>
                      </a:lnTo>
                      <a:lnTo>
                        <a:pt x="374" y="134"/>
                      </a:lnTo>
                      <a:lnTo>
                        <a:pt x="372" y="134"/>
                      </a:lnTo>
                      <a:lnTo>
                        <a:pt x="368" y="134"/>
                      </a:lnTo>
                      <a:lnTo>
                        <a:pt x="368" y="138"/>
                      </a:lnTo>
                      <a:lnTo>
                        <a:pt x="372" y="138"/>
                      </a:lnTo>
                      <a:lnTo>
                        <a:pt x="374" y="138"/>
                      </a:lnTo>
                      <a:lnTo>
                        <a:pt x="374" y="142"/>
                      </a:lnTo>
                      <a:lnTo>
                        <a:pt x="378" y="146"/>
                      </a:lnTo>
                      <a:lnTo>
                        <a:pt x="378" y="150"/>
                      </a:lnTo>
                      <a:lnTo>
                        <a:pt x="382" y="150"/>
                      </a:lnTo>
                      <a:lnTo>
                        <a:pt x="382" y="152"/>
                      </a:lnTo>
                      <a:lnTo>
                        <a:pt x="382" y="156"/>
                      </a:lnTo>
                      <a:lnTo>
                        <a:pt x="386" y="156"/>
                      </a:lnTo>
                      <a:lnTo>
                        <a:pt x="382" y="156"/>
                      </a:lnTo>
                      <a:lnTo>
                        <a:pt x="382" y="160"/>
                      </a:lnTo>
                      <a:lnTo>
                        <a:pt x="382" y="164"/>
                      </a:lnTo>
                      <a:lnTo>
                        <a:pt x="382" y="166"/>
                      </a:lnTo>
                      <a:lnTo>
                        <a:pt x="386" y="166"/>
                      </a:lnTo>
                      <a:lnTo>
                        <a:pt x="386" y="170"/>
                      </a:lnTo>
                      <a:lnTo>
                        <a:pt x="390" y="170"/>
                      </a:lnTo>
                      <a:lnTo>
                        <a:pt x="390" y="174"/>
                      </a:lnTo>
                      <a:lnTo>
                        <a:pt x="390" y="170"/>
                      </a:lnTo>
                      <a:lnTo>
                        <a:pt x="390" y="174"/>
                      </a:lnTo>
                      <a:lnTo>
                        <a:pt x="390" y="178"/>
                      </a:lnTo>
                      <a:lnTo>
                        <a:pt x="386" y="178"/>
                      </a:lnTo>
                      <a:lnTo>
                        <a:pt x="382" y="178"/>
                      </a:lnTo>
                      <a:lnTo>
                        <a:pt x="378" y="178"/>
                      </a:lnTo>
                      <a:lnTo>
                        <a:pt x="378" y="182"/>
                      </a:lnTo>
                      <a:lnTo>
                        <a:pt x="378" y="186"/>
                      </a:lnTo>
                      <a:lnTo>
                        <a:pt x="374" y="186"/>
                      </a:lnTo>
                      <a:lnTo>
                        <a:pt x="372" y="182"/>
                      </a:lnTo>
                      <a:lnTo>
                        <a:pt x="372" y="178"/>
                      </a:lnTo>
                      <a:lnTo>
                        <a:pt x="372" y="174"/>
                      </a:lnTo>
                      <a:lnTo>
                        <a:pt x="374" y="174"/>
                      </a:lnTo>
                      <a:lnTo>
                        <a:pt x="374" y="170"/>
                      </a:lnTo>
                      <a:lnTo>
                        <a:pt x="372" y="170"/>
                      </a:lnTo>
                      <a:lnTo>
                        <a:pt x="368" y="170"/>
                      </a:lnTo>
                      <a:lnTo>
                        <a:pt x="368" y="166"/>
                      </a:lnTo>
                      <a:lnTo>
                        <a:pt x="364" y="164"/>
                      </a:lnTo>
                      <a:lnTo>
                        <a:pt x="364" y="160"/>
                      </a:lnTo>
                      <a:lnTo>
                        <a:pt x="364" y="156"/>
                      </a:lnTo>
                      <a:lnTo>
                        <a:pt x="364" y="152"/>
                      </a:lnTo>
                      <a:lnTo>
                        <a:pt x="364" y="150"/>
                      </a:lnTo>
                      <a:lnTo>
                        <a:pt x="360" y="146"/>
                      </a:lnTo>
                      <a:lnTo>
                        <a:pt x="360" y="150"/>
                      </a:lnTo>
                      <a:lnTo>
                        <a:pt x="358" y="152"/>
                      </a:lnTo>
                      <a:lnTo>
                        <a:pt x="354" y="152"/>
                      </a:lnTo>
                      <a:lnTo>
                        <a:pt x="354" y="156"/>
                      </a:lnTo>
                      <a:lnTo>
                        <a:pt x="358" y="156"/>
                      </a:lnTo>
                      <a:lnTo>
                        <a:pt x="358" y="160"/>
                      </a:lnTo>
                      <a:lnTo>
                        <a:pt x="358" y="164"/>
                      </a:lnTo>
                      <a:lnTo>
                        <a:pt x="358" y="166"/>
                      </a:lnTo>
                      <a:lnTo>
                        <a:pt x="358" y="170"/>
                      </a:lnTo>
                      <a:lnTo>
                        <a:pt x="358" y="174"/>
                      </a:lnTo>
                      <a:lnTo>
                        <a:pt x="358" y="178"/>
                      </a:lnTo>
                      <a:lnTo>
                        <a:pt x="358" y="182"/>
                      </a:lnTo>
                      <a:lnTo>
                        <a:pt x="358" y="186"/>
                      </a:lnTo>
                      <a:lnTo>
                        <a:pt x="354" y="190"/>
                      </a:lnTo>
                      <a:lnTo>
                        <a:pt x="358" y="194"/>
                      </a:lnTo>
                      <a:lnTo>
                        <a:pt x="358" y="196"/>
                      </a:lnTo>
                      <a:lnTo>
                        <a:pt x="354" y="196"/>
                      </a:lnTo>
                      <a:lnTo>
                        <a:pt x="350" y="196"/>
                      </a:lnTo>
                      <a:lnTo>
                        <a:pt x="350" y="200"/>
                      </a:lnTo>
                      <a:lnTo>
                        <a:pt x="346" y="200"/>
                      </a:lnTo>
                      <a:lnTo>
                        <a:pt x="346" y="196"/>
                      </a:lnTo>
                      <a:lnTo>
                        <a:pt x="342" y="196"/>
                      </a:lnTo>
                      <a:lnTo>
                        <a:pt x="342" y="194"/>
                      </a:lnTo>
                      <a:lnTo>
                        <a:pt x="342" y="190"/>
                      </a:lnTo>
                      <a:lnTo>
                        <a:pt x="346" y="186"/>
                      </a:lnTo>
                      <a:lnTo>
                        <a:pt x="342" y="186"/>
                      </a:lnTo>
                      <a:lnTo>
                        <a:pt x="342" y="182"/>
                      </a:lnTo>
                      <a:lnTo>
                        <a:pt x="346" y="182"/>
                      </a:lnTo>
                      <a:lnTo>
                        <a:pt x="346" y="178"/>
                      </a:lnTo>
                      <a:lnTo>
                        <a:pt x="346" y="174"/>
                      </a:lnTo>
                      <a:lnTo>
                        <a:pt x="346" y="170"/>
                      </a:lnTo>
                      <a:lnTo>
                        <a:pt x="346" y="166"/>
                      </a:lnTo>
                      <a:lnTo>
                        <a:pt x="342" y="164"/>
                      </a:lnTo>
                      <a:lnTo>
                        <a:pt x="346" y="164"/>
                      </a:lnTo>
                      <a:lnTo>
                        <a:pt x="342" y="160"/>
                      </a:lnTo>
                      <a:lnTo>
                        <a:pt x="338" y="160"/>
                      </a:lnTo>
                      <a:lnTo>
                        <a:pt x="338" y="164"/>
                      </a:lnTo>
                      <a:lnTo>
                        <a:pt x="338" y="160"/>
                      </a:lnTo>
                      <a:lnTo>
                        <a:pt x="338" y="164"/>
                      </a:lnTo>
                      <a:lnTo>
                        <a:pt x="334" y="164"/>
                      </a:lnTo>
                      <a:lnTo>
                        <a:pt x="334" y="160"/>
                      </a:lnTo>
                      <a:lnTo>
                        <a:pt x="334" y="156"/>
                      </a:lnTo>
                      <a:lnTo>
                        <a:pt x="334" y="152"/>
                      </a:lnTo>
                      <a:lnTo>
                        <a:pt x="334" y="150"/>
                      </a:lnTo>
                      <a:lnTo>
                        <a:pt x="338" y="146"/>
                      </a:lnTo>
                      <a:lnTo>
                        <a:pt x="338" y="142"/>
                      </a:lnTo>
                      <a:lnTo>
                        <a:pt x="338" y="138"/>
                      </a:lnTo>
                      <a:lnTo>
                        <a:pt x="342" y="138"/>
                      </a:lnTo>
                      <a:lnTo>
                        <a:pt x="342" y="134"/>
                      </a:lnTo>
                      <a:lnTo>
                        <a:pt x="342" y="138"/>
                      </a:lnTo>
                      <a:lnTo>
                        <a:pt x="342" y="134"/>
                      </a:lnTo>
                      <a:lnTo>
                        <a:pt x="342" y="130"/>
                      </a:lnTo>
                      <a:lnTo>
                        <a:pt x="342" y="126"/>
                      </a:lnTo>
                      <a:lnTo>
                        <a:pt x="342" y="122"/>
                      </a:lnTo>
                      <a:lnTo>
                        <a:pt x="342" y="120"/>
                      </a:lnTo>
                      <a:lnTo>
                        <a:pt x="346" y="120"/>
                      </a:lnTo>
                      <a:lnTo>
                        <a:pt x="346" y="116"/>
                      </a:lnTo>
                      <a:lnTo>
                        <a:pt x="346" y="112"/>
                      </a:lnTo>
                      <a:lnTo>
                        <a:pt x="350" y="116"/>
                      </a:lnTo>
                      <a:lnTo>
                        <a:pt x="350" y="120"/>
                      </a:lnTo>
                      <a:lnTo>
                        <a:pt x="350" y="116"/>
                      </a:lnTo>
                      <a:lnTo>
                        <a:pt x="350" y="112"/>
                      </a:lnTo>
                      <a:lnTo>
                        <a:pt x="346" y="112"/>
                      </a:lnTo>
                      <a:lnTo>
                        <a:pt x="346" y="108"/>
                      </a:lnTo>
                      <a:lnTo>
                        <a:pt x="350" y="108"/>
                      </a:lnTo>
                      <a:lnTo>
                        <a:pt x="350" y="104"/>
                      </a:lnTo>
                      <a:lnTo>
                        <a:pt x="346" y="104"/>
                      </a:lnTo>
                      <a:lnTo>
                        <a:pt x="346" y="100"/>
                      </a:lnTo>
                      <a:lnTo>
                        <a:pt x="346" y="104"/>
                      </a:lnTo>
                      <a:lnTo>
                        <a:pt x="350" y="104"/>
                      </a:lnTo>
                      <a:lnTo>
                        <a:pt x="350" y="100"/>
                      </a:lnTo>
                      <a:lnTo>
                        <a:pt x="350" y="96"/>
                      </a:lnTo>
                      <a:lnTo>
                        <a:pt x="350" y="92"/>
                      </a:lnTo>
                      <a:lnTo>
                        <a:pt x="354" y="92"/>
                      </a:lnTo>
                      <a:lnTo>
                        <a:pt x="350" y="92"/>
                      </a:lnTo>
                      <a:lnTo>
                        <a:pt x="350" y="90"/>
                      </a:lnTo>
                      <a:lnTo>
                        <a:pt x="354" y="90"/>
                      </a:lnTo>
                      <a:lnTo>
                        <a:pt x="354" y="86"/>
                      </a:lnTo>
                      <a:lnTo>
                        <a:pt x="358" y="86"/>
                      </a:lnTo>
                      <a:lnTo>
                        <a:pt x="358" y="90"/>
                      </a:lnTo>
                      <a:lnTo>
                        <a:pt x="360" y="90"/>
                      </a:lnTo>
                      <a:lnTo>
                        <a:pt x="360" y="86"/>
                      </a:lnTo>
                      <a:lnTo>
                        <a:pt x="364" y="82"/>
                      </a:lnTo>
                      <a:lnTo>
                        <a:pt x="360" y="82"/>
                      </a:lnTo>
                      <a:lnTo>
                        <a:pt x="364" y="78"/>
                      </a:lnTo>
                      <a:lnTo>
                        <a:pt x="368" y="78"/>
                      </a:lnTo>
                      <a:lnTo>
                        <a:pt x="368" y="82"/>
                      </a:lnTo>
                      <a:lnTo>
                        <a:pt x="372" y="82"/>
                      </a:lnTo>
                      <a:lnTo>
                        <a:pt x="372" y="86"/>
                      </a:lnTo>
                      <a:lnTo>
                        <a:pt x="374" y="86"/>
                      </a:lnTo>
                      <a:lnTo>
                        <a:pt x="378" y="82"/>
                      </a:lnTo>
                      <a:lnTo>
                        <a:pt x="378" y="86"/>
                      </a:lnTo>
                      <a:lnTo>
                        <a:pt x="382" y="86"/>
                      </a:lnTo>
                      <a:lnTo>
                        <a:pt x="386" y="86"/>
                      </a:lnTo>
                      <a:lnTo>
                        <a:pt x="390" y="86"/>
                      </a:lnTo>
                      <a:lnTo>
                        <a:pt x="390" y="90"/>
                      </a:lnTo>
                      <a:lnTo>
                        <a:pt x="394" y="86"/>
                      </a:lnTo>
                      <a:lnTo>
                        <a:pt x="398" y="86"/>
                      </a:lnTo>
                      <a:lnTo>
                        <a:pt x="402" y="86"/>
                      </a:lnTo>
                      <a:lnTo>
                        <a:pt x="402" y="90"/>
                      </a:lnTo>
                      <a:lnTo>
                        <a:pt x="402" y="86"/>
                      </a:lnTo>
                      <a:lnTo>
                        <a:pt x="404" y="90"/>
                      </a:lnTo>
                      <a:lnTo>
                        <a:pt x="408" y="86"/>
                      </a:lnTo>
                      <a:lnTo>
                        <a:pt x="412" y="86"/>
                      </a:lnTo>
                      <a:lnTo>
                        <a:pt x="412" y="82"/>
                      </a:lnTo>
                      <a:lnTo>
                        <a:pt x="416" y="82"/>
                      </a:lnTo>
                      <a:lnTo>
                        <a:pt x="416" y="78"/>
                      </a:lnTo>
                      <a:lnTo>
                        <a:pt x="420" y="78"/>
                      </a:lnTo>
                      <a:lnTo>
                        <a:pt x="420" y="74"/>
                      </a:lnTo>
                      <a:lnTo>
                        <a:pt x="424" y="74"/>
                      </a:lnTo>
                      <a:lnTo>
                        <a:pt x="424" y="78"/>
                      </a:lnTo>
                      <a:lnTo>
                        <a:pt x="424" y="82"/>
                      </a:lnTo>
                      <a:lnTo>
                        <a:pt x="420" y="82"/>
                      </a:lnTo>
                      <a:lnTo>
                        <a:pt x="420" y="86"/>
                      </a:lnTo>
                      <a:lnTo>
                        <a:pt x="416" y="90"/>
                      </a:lnTo>
                      <a:lnTo>
                        <a:pt x="416" y="92"/>
                      </a:lnTo>
                      <a:lnTo>
                        <a:pt x="412" y="92"/>
                      </a:lnTo>
                      <a:lnTo>
                        <a:pt x="412" y="96"/>
                      </a:lnTo>
                      <a:lnTo>
                        <a:pt x="408" y="96"/>
                      </a:lnTo>
                      <a:lnTo>
                        <a:pt x="404" y="96"/>
                      </a:lnTo>
                      <a:lnTo>
                        <a:pt x="402" y="96"/>
                      </a:lnTo>
                      <a:lnTo>
                        <a:pt x="398" y="96"/>
                      </a:lnTo>
                      <a:lnTo>
                        <a:pt x="394" y="96"/>
                      </a:lnTo>
                      <a:lnTo>
                        <a:pt x="394" y="92"/>
                      </a:lnTo>
                      <a:lnTo>
                        <a:pt x="390" y="92"/>
                      </a:lnTo>
                      <a:lnTo>
                        <a:pt x="386" y="92"/>
                      </a:lnTo>
                      <a:lnTo>
                        <a:pt x="382" y="92"/>
                      </a:lnTo>
                      <a:lnTo>
                        <a:pt x="378" y="92"/>
                      </a:lnTo>
                      <a:lnTo>
                        <a:pt x="378" y="96"/>
                      </a:lnTo>
                      <a:lnTo>
                        <a:pt x="374" y="96"/>
                      </a:lnTo>
                      <a:lnTo>
                        <a:pt x="374" y="92"/>
                      </a:lnTo>
                      <a:lnTo>
                        <a:pt x="372" y="92"/>
                      </a:lnTo>
                      <a:lnTo>
                        <a:pt x="368" y="92"/>
                      </a:lnTo>
                      <a:lnTo>
                        <a:pt x="368" y="96"/>
                      </a:lnTo>
                      <a:lnTo>
                        <a:pt x="364" y="96"/>
                      </a:lnTo>
                      <a:lnTo>
                        <a:pt x="364" y="92"/>
                      </a:lnTo>
                      <a:lnTo>
                        <a:pt x="360" y="92"/>
                      </a:lnTo>
                      <a:lnTo>
                        <a:pt x="358" y="92"/>
                      </a:lnTo>
                      <a:lnTo>
                        <a:pt x="358" y="96"/>
                      </a:lnTo>
                      <a:lnTo>
                        <a:pt x="354" y="96"/>
                      </a:lnTo>
                      <a:lnTo>
                        <a:pt x="354" y="100"/>
                      </a:lnTo>
                      <a:lnTo>
                        <a:pt x="354" y="104"/>
                      </a:lnTo>
                      <a:lnTo>
                        <a:pt x="350" y="104"/>
                      </a:lnTo>
                      <a:lnTo>
                        <a:pt x="350" y="108"/>
                      </a:lnTo>
                      <a:lnTo>
                        <a:pt x="354" y="112"/>
                      </a:lnTo>
                      <a:lnTo>
                        <a:pt x="354" y="116"/>
                      </a:lnTo>
                      <a:lnTo>
                        <a:pt x="354" y="120"/>
                      </a:lnTo>
                      <a:lnTo>
                        <a:pt x="358" y="120"/>
                      </a:lnTo>
                      <a:lnTo>
                        <a:pt x="360" y="120"/>
                      </a:lnTo>
                      <a:lnTo>
                        <a:pt x="360" y="122"/>
                      </a:lnTo>
                      <a:lnTo>
                        <a:pt x="360" y="126"/>
                      </a:lnTo>
                      <a:lnTo>
                        <a:pt x="364" y="126"/>
                      </a:lnTo>
                      <a:lnTo>
                        <a:pt x="368" y="126"/>
                      </a:lnTo>
                      <a:lnTo>
                        <a:pt x="368" y="122"/>
                      </a:lnTo>
                      <a:lnTo>
                        <a:pt x="372" y="120"/>
                      </a:lnTo>
                      <a:lnTo>
                        <a:pt x="372" y="116"/>
                      </a:lnTo>
                      <a:lnTo>
                        <a:pt x="374" y="116"/>
                      </a:lnTo>
                      <a:lnTo>
                        <a:pt x="374" y="120"/>
                      </a:lnTo>
                      <a:lnTo>
                        <a:pt x="378" y="120"/>
                      </a:lnTo>
                      <a:lnTo>
                        <a:pt x="382" y="120"/>
                      </a:lnTo>
                      <a:lnTo>
                        <a:pt x="382" y="116"/>
                      </a:lnTo>
                      <a:lnTo>
                        <a:pt x="386" y="116"/>
                      </a:lnTo>
                      <a:lnTo>
                        <a:pt x="390" y="116"/>
                      </a:lnTo>
                      <a:lnTo>
                        <a:pt x="394" y="116"/>
                      </a:lnTo>
                      <a:lnTo>
                        <a:pt x="390" y="116"/>
                      </a:lnTo>
                      <a:lnTo>
                        <a:pt x="390" y="112"/>
                      </a:lnTo>
                      <a:lnTo>
                        <a:pt x="394" y="112"/>
                      </a:lnTo>
                      <a:lnTo>
                        <a:pt x="398" y="112"/>
                      </a:lnTo>
                      <a:lnTo>
                        <a:pt x="398" y="116"/>
                      </a:lnTo>
                      <a:lnTo>
                        <a:pt x="398" y="120"/>
                      </a:lnTo>
                      <a:lnTo>
                        <a:pt x="398" y="120"/>
                      </a:lnTo>
                      <a:lnTo>
                        <a:pt x="398" y="120"/>
                      </a:lnTo>
                      <a:close/>
                      <a:moveTo>
                        <a:pt x="104" y="78"/>
                      </a:moveTo>
                      <a:lnTo>
                        <a:pt x="104" y="82"/>
                      </a:lnTo>
                      <a:lnTo>
                        <a:pt x="104" y="78"/>
                      </a:lnTo>
                      <a:lnTo>
                        <a:pt x="100" y="78"/>
                      </a:lnTo>
                      <a:lnTo>
                        <a:pt x="96" y="78"/>
                      </a:lnTo>
                      <a:lnTo>
                        <a:pt x="96" y="74"/>
                      </a:lnTo>
                      <a:lnTo>
                        <a:pt x="100" y="74"/>
                      </a:lnTo>
                      <a:lnTo>
                        <a:pt x="104" y="78"/>
                      </a:lnTo>
                      <a:lnTo>
                        <a:pt x="104" y="78"/>
                      </a:lnTo>
                      <a:lnTo>
                        <a:pt x="104" y="78"/>
                      </a:lnTo>
                      <a:close/>
                      <a:moveTo>
                        <a:pt x="36" y="92"/>
                      </a:moveTo>
                      <a:lnTo>
                        <a:pt x="36" y="90"/>
                      </a:lnTo>
                      <a:lnTo>
                        <a:pt x="34" y="90"/>
                      </a:lnTo>
                      <a:lnTo>
                        <a:pt x="34" y="86"/>
                      </a:lnTo>
                      <a:lnTo>
                        <a:pt x="30" y="86"/>
                      </a:lnTo>
                      <a:lnTo>
                        <a:pt x="30" y="82"/>
                      </a:lnTo>
                      <a:lnTo>
                        <a:pt x="30" y="78"/>
                      </a:lnTo>
                      <a:lnTo>
                        <a:pt x="34" y="78"/>
                      </a:lnTo>
                      <a:lnTo>
                        <a:pt x="36" y="82"/>
                      </a:lnTo>
                      <a:lnTo>
                        <a:pt x="40" y="86"/>
                      </a:lnTo>
                      <a:lnTo>
                        <a:pt x="36" y="90"/>
                      </a:lnTo>
                      <a:lnTo>
                        <a:pt x="36" y="92"/>
                      </a:lnTo>
                      <a:lnTo>
                        <a:pt x="36" y="92"/>
                      </a:lnTo>
                      <a:lnTo>
                        <a:pt x="36" y="92"/>
                      </a:lnTo>
                      <a:close/>
                      <a:moveTo>
                        <a:pt x="104" y="82"/>
                      </a:moveTo>
                      <a:lnTo>
                        <a:pt x="104" y="86"/>
                      </a:lnTo>
                      <a:lnTo>
                        <a:pt x="100" y="86"/>
                      </a:lnTo>
                      <a:lnTo>
                        <a:pt x="100" y="82"/>
                      </a:lnTo>
                      <a:lnTo>
                        <a:pt x="100" y="78"/>
                      </a:lnTo>
                      <a:lnTo>
                        <a:pt x="104" y="82"/>
                      </a:lnTo>
                      <a:lnTo>
                        <a:pt x="104" y="82"/>
                      </a:lnTo>
                      <a:lnTo>
                        <a:pt x="104" y="82"/>
                      </a:lnTo>
                      <a:close/>
                      <a:moveTo>
                        <a:pt x="134" y="86"/>
                      </a:moveTo>
                      <a:lnTo>
                        <a:pt x="134" y="90"/>
                      </a:lnTo>
                      <a:lnTo>
                        <a:pt x="134" y="86"/>
                      </a:lnTo>
                      <a:lnTo>
                        <a:pt x="130" y="86"/>
                      </a:lnTo>
                      <a:lnTo>
                        <a:pt x="130" y="82"/>
                      </a:lnTo>
                      <a:lnTo>
                        <a:pt x="134" y="82"/>
                      </a:lnTo>
                      <a:lnTo>
                        <a:pt x="134" y="86"/>
                      </a:lnTo>
                      <a:lnTo>
                        <a:pt x="134" y="86"/>
                      </a:lnTo>
                      <a:lnTo>
                        <a:pt x="134" y="86"/>
                      </a:lnTo>
                      <a:close/>
                      <a:moveTo>
                        <a:pt x="126" y="82"/>
                      </a:moveTo>
                      <a:lnTo>
                        <a:pt x="126" y="86"/>
                      </a:lnTo>
                      <a:lnTo>
                        <a:pt x="122" y="86"/>
                      </a:lnTo>
                      <a:lnTo>
                        <a:pt x="122" y="82"/>
                      </a:lnTo>
                      <a:lnTo>
                        <a:pt x="126" y="82"/>
                      </a:lnTo>
                      <a:lnTo>
                        <a:pt x="126" y="82"/>
                      </a:lnTo>
                      <a:lnTo>
                        <a:pt x="126" y="82"/>
                      </a:lnTo>
                      <a:close/>
                      <a:moveTo>
                        <a:pt x="110" y="90"/>
                      </a:moveTo>
                      <a:lnTo>
                        <a:pt x="110" y="86"/>
                      </a:lnTo>
                      <a:lnTo>
                        <a:pt x="106" y="86"/>
                      </a:lnTo>
                      <a:lnTo>
                        <a:pt x="106" y="82"/>
                      </a:lnTo>
                      <a:lnTo>
                        <a:pt x="110" y="82"/>
                      </a:lnTo>
                      <a:lnTo>
                        <a:pt x="110" y="86"/>
                      </a:lnTo>
                      <a:lnTo>
                        <a:pt x="114" y="86"/>
                      </a:lnTo>
                      <a:lnTo>
                        <a:pt x="114" y="90"/>
                      </a:lnTo>
                      <a:lnTo>
                        <a:pt x="110" y="90"/>
                      </a:lnTo>
                      <a:lnTo>
                        <a:pt x="110" y="90"/>
                      </a:lnTo>
                      <a:lnTo>
                        <a:pt x="110" y="90"/>
                      </a:lnTo>
                      <a:close/>
                      <a:moveTo>
                        <a:pt x="110" y="90"/>
                      </a:moveTo>
                      <a:lnTo>
                        <a:pt x="106" y="90"/>
                      </a:lnTo>
                      <a:lnTo>
                        <a:pt x="104" y="90"/>
                      </a:lnTo>
                      <a:lnTo>
                        <a:pt x="104" y="86"/>
                      </a:lnTo>
                      <a:lnTo>
                        <a:pt x="104" y="82"/>
                      </a:lnTo>
                      <a:lnTo>
                        <a:pt x="104" y="86"/>
                      </a:lnTo>
                      <a:lnTo>
                        <a:pt x="106" y="86"/>
                      </a:lnTo>
                      <a:lnTo>
                        <a:pt x="110" y="86"/>
                      </a:lnTo>
                      <a:lnTo>
                        <a:pt x="110" y="90"/>
                      </a:lnTo>
                      <a:lnTo>
                        <a:pt x="110" y="90"/>
                      </a:lnTo>
                      <a:lnTo>
                        <a:pt x="110" y="90"/>
                      </a:lnTo>
                      <a:close/>
                      <a:moveTo>
                        <a:pt x="118" y="86"/>
                      </a:moveTo>
                      <a:lnTo>
                        <a:pt x="114" y="86"/>
                      </a:lnTo>
                      <a:lnTo>
                        <a:pt x="114" y="82"/>
                      </a:lnTo>
                      <a:lnTo>
                        <a:pt x="114" y="86"/>
                      </a:lnTo>
                      <a:lnTo>
                        <a:pt x="118" y="86"/>
                      </a:lnTo>
                      <a:lnTo>
                        <a:pt x="118" y="86"/>
                      </a:lnTo>
                      <a:lnTo>
                        <a:pt x="118" y="86"/>
                      </a:lnTo>
                      <a:close/>
                      <a:moveTo>
                        <a:pt x="126" y="90"/>
                      </a:moveTo>
                      <a:lnTo>
                        <a:pt x="126" y="86"/>
                      </a:lnTo>
                      <a:lnTo>
                        <a:pt x="130" y="90"/>
                      </a:lnTo>
                      <a:lnTo>
                        <a:pt x="126" y="90"/>
                      </a:lnTo>
                      <a:lnTo>
                        <a:pt x="126" y="90"/>
                      </a:lnTo>
                      <a:lnTo>
                        <a:pt x="126" y="90"/>
                      </a:lnTo>
                      <a:close/>
                      <a:moveTo>
                        <a:pt x="118" y="90"/>
                      </a:moveTo>
                      <a:lnTo>
                        <a:pt x="118" y="92"/>
                      </a:lnTo>
                      <a:lnTo>
                        <a:pt x="114" y="92"/>
                      </a:lnTo>
                      <a:lnTo>
                        <a:pt x="114" y="90"/>
                      </a:lnTo>
                      <a:lnTo>
                        <a:pt x="114" y="86"/>
                      </a:lnTo>
                      <a:lnTo>
                        <a:pt x="114" y="90"/>
                      </a:lnTo>
                      <a:lnTo>
                        <a:pt x="118" y="90"/>
                      </a:lnTo>
                      <a:lnTo>
                        <a:pt x="118" y="90"/>
                      </a:lnTo>
                      <a:lnTo>
                        <a:pt x="118" y="90"/>
                      </a:lnTo>
                      <a:close/>
                      <a:moveTo>
                        <a:pt x="134" y="100"/>
                      </a:moveTo>
                      <a:lnTo>
                        <a:pt x="134" y="96"/>
                      </a:lnTo>
                      <a:lnTo>
                        <a:pt x="134" y="100"/>
                      </a:lnTo>
                      <a:lnTo>
                        <a:pt x="134" y="100"/>
                      </a:lnTo>
                      <a:lnTo>
                        <a:pt x="134" y="100"/>
                      </a:lnTo>
                      <a:close/>
                      <a:moveTo>
                        <a:pt x="50" y="100"/>
                      </a:moveTo>
                      <a:lnTo>
                        <a:pt x="48" y="100"/>
                      </a:lnTo>
                      <a:lnTo>
                        <a:pt x="50" y="100"/>
                      </a:lnTo>
                      <a:lnTo>
                        <a:pt x="50" y="100"/>
                      </a:lnTo>
                      <a:lnTo>
                        <a:pt x="50" y="100"/>
                      </a:lnTo>
                      <a:close/>
                      <a:moveTo>
                        <a:pt x="136" y="108"/>
                      </a:moveTo>
                      <a:lnTo>
                        <a:pt x="134" y="108"/>
                      </a:lnTo>
                      <a:lnTo>
                        <a:pt x="134" y="104"/>
                      </a:lnTo>
                      <a:lnTo>
                        <a:pt x="134" y="108"/>
                      </a:lnTo>
                      <a:lnTo>
                        <a:pt x="130" y="108"/>
                      </a:lnTo>
                      <a:lnTo>
                        <a:pt x="130" y="104"/>
                      </a:lnTo>
                      <a:lnTo>
                        <a:pt x="134" y="104"/>
                      </a:lnTo>
                      <a:lnTo>
                        <a:pt x="134" y="100"/>
                      </a:lnTo>
                      <a:lnTo>
                        <a:pt x="134" y="104"/>
                      </a:lnTo>
                      <a:lnTo>
                        <a:pt x="136" y="104"/>
                      </a:lnTo>
                      <a:lnTo>
                        <a:pt x="136" y="108"/>
                      </a:lnTo>
                      <a:lnTo>
                        <a:pt x="136" y="108"/>
                      </a:lnTo>
                      <a:lnTo>
                        <a:pt x="136" y="108"/>
                      </a:lnTo>
                      <a:close/>
                      <a:moveTo>
                        <a:pt x="48" y="108"/>
                      </a:moveTo>
                      <a:lnTo>
                        <a:pt x="44" y="104"/>
                      </a:lnTo>
                      <a:lnTo>
                        <a:pt x="44" y="100"/>
                      </a:lnTo>
                      <a:lnTo>
                        <a:pt x="44" y="104"/>
                      </a:lnTo>
                      <a:lnTo>
                        <a:pt x="48" y="104"/>
                      </a:lnTo>
                      <a:lnTo>
                        <a:pt x="48" y="108"/>
                      </a:lnTo>
                      <a:lnTo>
                        <a:pt x="48" y="108"/>
                      </a:lnTo>
                      <a:lnTo>
                        <a:pt x="48" y="108"/>
                      </a:lnTo>
                      <a:close/>
                      <a:moveTo>
                        <a:pt x="502" y="112"/>
                      </a:moveTo>
                      <a:lnTo>
                        <a:pt x="502" y="108"/>
                      </a:lnTo>
                      <a:lnTo>
                        <a:pt x="498" y="108"/>
                      </a:lnTo>
                      <a:lnTo>
                        <a:pt x="494" y="108"/>
                      </a:lnTo>
                      <a:lnTo>
                        <a:pt x="494" y="104"/>
                      </a:lnTo>
                      <a:lnTo>
                        <a:pt x="498" y="108"/>
                      </a:lnTo>
                      <a:lnTo>
                        <a:pt x="498" y="104"/>
                      </a:lnTo>
                      <a:lnTo>
                        <a:pt x="494" y="104"/>
                      </a:lnTo>
                      <a:lnTo>
                        <a:pt x="498" y="104"/>
                      </a:lnTo>
                      <a:lnTo>
                        <a:pt x="502" y="104"/>
                      </a:lnTo>
                      <a:lnTo>
                        <a:pt x="506" y="104"/>
                      </a:lnTo>
                      <a:lnTo>
                        <a:pt x="510" y="104"/>
                      </a:lnTo>
                      <a:lnTo>
                        <a:pt x="510" y="108"/>
                      </a:lnTo>
                      <a:lnTo>
                        <a:pt x="506" y="108"/>
                      </a:lnTo>
                      <a:lnTo>
                        <a:pt x="502" y="104"/>
                      </a:lnTo>
                      <a:lnTo>
                        <a:pt x="502" y="108"/>
                      </a:lnTo>
                      <a:lnTo>
                        <a:pt x="506" y="108"/>
                      </a:lnTo>
                      <a:lnTo>
                        <a:pt x="506" y="112"/>
                      </a:lnTo>
                      <a:lnTo>
                        <a:pt x="502" y="112"/>
                      </a:lnTo>
                      <a:lnTo>
                        <a:pt x="502" y="112"/>
                      </a:lnTo>
                      <a:lnTo>
                        <a:pt x="502" y="112"/>
                      </a:lnTo>
                      <a:close/>
                      <a:moveTo>
                        <a:pt x="48" y="112"/>
                      </a:moveTo>
                      <a:lnTo>
                        <a:pt x="44" y="112"/>
                      </a:lnTo>
                      <a:lnTo>
                        <a:pt x="44" y="108"/>
                      </a:lnTo>
                      <a:lnTo>
                        <a:pt x="48" y="108"/>
                      </a:lnTo>
                      <a:lnTo>
                        <a:pt x="48" y="112"/>
                      </a:lnTo>
                      <a:lnTo>
                        <a:pt x="48" y="112"/>
                      </a:lnTo>
                      <a:lnTo>
                        <a:pt x="48" y="112"/>
                      </a:lnTo>
                      <a:close/>
                      <a:moveTo>
                        <a:pt x="458" y="108"/>
                      </a:moveTo>
                      <a:lnTo>
                        <a:pt x="460" y="112"/>
                      </a:lnTo>
                      <a:lnTo>
                        <a:pt x="458" y="112"/>
                      </a:lnTo>
                      <a:lnTo>
                        <a:pt x="458" y="116"/>
                      </a:lnTo>
                      <a:lnTo>
                        <a:pt x="460" y="116"/>
                      </a:lnTo>
                      <a:lnTo>
                        <a:pt x="460" y="120"/>
                      </a:lnTo>
                      <a:lnTo>
                        <a:pt x="460" y="116"/>
                      </a:lnTo>
                      <a:lnTo>
                        <a:pt x="458" y="116"/>
                      </a:lnTo>
                      <a:lnTo>
                        <a:pt x="454" y="112"/>
                      </a:lnTo>
                      <a:lnTo>
                        <a:pt x="454" y="108"/>
                      </a:lnTo>
                      <a:lnTo>
                        <a:pt x="458" y="108"/>
                      </a:lnTo>
                      <a:lnTo>
                        <a:pt x="458" y="108"/>
                      </a:lnTo>
                      <a:lnTo>
                        <a:pt x="458" y="108"/>
                      </a:lnTo>
                      <a:close/>
                      <a:moveTo>
                        <a:pt x="134" y="108"/>
                      </a:moveTo>
                      <a:lnTo>
                        <a:pt x="134" y="112"/>
                      </a:lnTo>
                      <a:lnTo>
                        <a:pt x="130" y="112"/>
                      </a:lnTo>
                      <a:lnTo>
                        <a:pt x="130" y="108"/>
                      </a:lnTo>
                      <a:lnTo>
                        <a:pt x="134" y="108"/>
                      </a:lnTo>
                      <a:lnTo>
                        <a:pt x="134" y="108"/>
                      </a:lnTo>
                      <a:lnTo>
                        <a:pt x="134" y="108"/>
                      </a:lnTo>
                      <a:close/>
                      <a:moveTo>
                        <a:pt x="622" y="226"/>
                      </a:moveTo>
                      <a:lnTo>
                        <a:pt x="622" y="222"/>
                      </a:lnTo>
                      <a:lnTo>
                        <a:pt x="622" y="226"/>
                      </a:lnTo>
                      <a:lnTo>
                        <a:pt x="618" y="222"/>
                      </a:lnTo>
                      <a:lnTo>
                        <a:pt x="614" y="220"/>
                      </a:lnTo>
                      <a:lnTo>
                        <a:pt x="618" y="220"/>
                      </a:lnTo>
                      <a:lnTo>
                        <a:pt x="622" y="220"/>
                      </a:lnTo>
                      <a:lnTo>
                        <a:pt x="622" y="222"/>
                      </a:lnTo>
                      <a:lnTo>
                        <a:pt x="622" y="220"/>
                      </a:lnTo>
                      <a:lnTo>
                        <a:pt x="618" y="220"/>
                      </a:lnTo>
                      <a:lnTo>
                        <a:pt x="614" y="216"/>
                      </a:lnTo>
                      <a:lnTo>
                        <a:pt x="614" y="212"/>
                      </a:lnTo>
                      <a:lnTo>
                        <a:pt x="610" y="212"/>
                      </a:lnTo>
                      <a:lnTo>
                        <a:pt x="610" y="208"/>
                      </a:lnTo>
                      <a:lnTo>
                        <a:pt x="610" y="204"/>
                      </a:lnTo>
                      <a:lnTo>
                        <a:pt x="610" y="200"/>
                      </a:lnTo>
                      <a:lnTo>
                        <a:pt x="606" y="200"/>
                      </a:lnTo>
                      <a:lnTo>
                        <a:pt x="610" y="200"/>
                      </a:lnTo>
                      <a:lnTo>
                        <a:pt x="610" y="196"/>
                      </a:lnTo>
                      <a:lnTo>
                        <a:pt x="610" y="200"/>
                      </a:lnTo>
                      <a:lnTo>
                        <a:pt x="606" y="200"/>
                      </a:lnTo>
                      <a:lnTo>
                        <a:pt x="606" y="196"/>
                      </a:lnTo>
                      <a:lnTo>
                        <a:pt x="606" y="194"/>
                      </a:lnTo>
                      <a:lnTo>
                        <a:pt x="606" y="196"/>
                      </a:lnTo>
                      <a:lnTo>
                        <a:pt x="602" y="194"/>
                      </a:lnTo>
                      <a:lnTo>
                        <a:pt x="600" y="190"/>
                      </a:lnTo>
                      <a:lnTo>
                        <a:pt x="596" y="190"/>
                      </a:lnTo>
                      <a:lnTo>
                        <a:pt x="596" y="186"/>
                      </a:lnTo>
                      <a:lnTo>
                        <a:pt x="592" y="186"/>
                      </a:lnTo>
                      <a:lnTo>
                        <a:pt x="588" y="186"/>
                      </a:lnTo>
                      <a:lnTo>
                        <a:pt x="584" y="182"/>
                      </a:lnTo>
                      <a:lnTo>
                        <a:pt x="580" y="182"/>
                      </a:lnTo>
                      <a:lnTo>
                        <a:pt x="576" y="182"/>
                      </a:lnTo>
                      <a:lnTo>
                        <a:pt x="576" y="178"/>
                      </a:lnTo>
                      <a:lnTo>
                        <a:pt x="572" y="178"/>
                      </a:lnTo>
                      <a:lnTo>
                        <a:pt x="570" y="178"/>
                      </a:lnTo>
                      <a:lnTo>
                        <a:pt x="566" y="178"/>
                      </a:lnTo>
                      <a:lnTo>
                        <a:pt x="562" y="174"/>
                      </a:lnTo>
                      <a:lnTo>
                        <a:pt x="558" y="174"/>
                      </a:lnTo>
                      <a:lnTo>
                        <a:pt x="558" y="170"/>
                      </a:lnTo>
                      <a:lnTo>
                        <a:pt x="562" y="170"/>
                      </a:lnTo>
                      <a:lnTo>
                        <a:pt x="558" y="166"/>
                      </a:lnTo>
                      <a:lnTo>
                        <a:pt x="558" y="170"/>
                      </a:lnTo>
                      <a:lnTo>
                        <a:pt x="554" y="170"/>
                      </a:lnTo>
                      <a:lnTo>
                        <a:pt x="554" y="166"/>
                      </a:lnTo>
                      <a:lnTo>
                        <a:pt x="554" y="170"/>
                      </a:lnTo>
                      <a:lnTo>
                        <a:pt x="550" y="170"/>
                      </a:lnTo>
                      <a:lnTo>
                        <a:pt x="550" y="166"/>
                      </a:lnTo>
                      <a:lnTo>
                        <a:pt x="546" y="166"/>
                      </a:lnTo>
                      <a:lnTo>
                        <a:pt x="546" y="164"/>
                      </a:lnTo>
                      <a:lnTo>
                        <a:pt x="544" y="164"/>
                      </a:lnTo>
                      <a:lnTo>
                        <a:pt x="544" y="160"/>
                      </a:lnTo>
                      <a:lnTo>
                        <a:pt x="544" y="156"/>
                      </a:lnTo>
                      <a:lnTo>
                        <a:pt x="546" y="156"/>
                      </a:lnTo>
                      <a:lnTo>
                        <a:pt x="546" y="152"/>
                      </a:lnTo>
                      <a:lnTo>
                        <a:pt x="544" y="152"/>
                      </a:lnTo>
                      <a:lnTo>
                        <a:pt x="544" y="156"/>
                      </a:lnTo>
                      <a:lnTo>
                        <a:pt x="544" y="160"/>
                      </a:lnTo>
                      <a:lnTo>
                        <a:pt x="544" y="164"/>
                      </a:lnTo>
                      <a:lnTo>
                        <a:pt x="540" y="166"/>
                      </a:lnTo>
                      <a:lnTo>
                        <a:pt x="540" y="170"/>
                      </a:lnTo>
                      <a:lnTo>
                        <a:pt x="536" y="170"/>
                      </a:lnTo>
                      <a:lnTo>
                        <a:pt x="532" y="170"/>
                      </a:lnTo>
                      <a:lnTo>
                        <a:pt x="532" y="166"/>
                      </a:lnTo>
                      <a:lnTo>
                        <a:pt x="532" y="164"/>
                      </a:lnTo>
                      <a:lnTo>
                        <a:pt x="532" y="160"/>
                      </a:lnTo>
                      <a:lnTo>
                        <a:pt x="532" y="156"/>
                      </a:lnTo>
                      <a:lnTo>
                        <a:pt x="532" y="160"/>
                      </a:lnTo>
                      <a:lnTo>
                        <a:pt x="528" y="160"/>
                      </a:lnTo>
                      <a:lnTo>
                        <a:pt x="528" y="156"/>
                      </a:lnTo>
                      <a:lnTo>
                        <a:pt x="528" y="152"/>
                      </a:lnTo>
                      <a:lnTo>
                        <a:pt x="524" y="152"/>
                      </a:lnTo>
                      <a:lnTo>
                        <a:pt x="520" y="152"/>
                      </a:lnTo>
                      <a:lnTo>
                        <a:pt x="520" y="150"/>
                      </a:lnTo>
                      <a:lnTo>
                        <a:pt x="524" y="150"/>
                      </a:lnTo>
                      <a:lnTo>
                        <a:pt x="528" y="150"/>
                      </a:lnTo>
                      <a:lnTo>
                        <a:pt x="532" y="150"/>
                      </a:lnTo>
                      <a:lnTo>
                        <a:pt x="536" y="146"/>
                      </a:lnTo>
                      <a:lnTo>
                        <a:pt x="540" y="146"/>
                      </a:lnTo>
                      <a:lnTo>
                        <a:pt x="544" y="146"/>
                      </a:lnTo>
                      <a:lnTo>
                        <a:pt x="544" y="150"/>
                      </a:lnTo>
                      <a:lnTo>
                        <a:pt x="544" y="146"/>
                      </a:lnTo>
                      <a:lnTo>
                        <a:pt x="546" y="146"/>
                      </a:lnTo>
                      <a:lnTo>
                        <a:pt x="546" y="150"/>
                      </a:lnTo>
                      <a:lnTo>
                        <a:pt x="546" y="146"/>
                      </a:lnTo>
                      <a:lnTo>
                        <a:pt x="546" y="142"/>
                      </a:lnTo>
                      <a:lnTo>
                        <a:pt x="546" y="138"/>
                      </a:lnTo>
                      <a:lnTo>
                        <a:pt x="544" y="142"/>
                      </a:lnTo>
                      <a:lnTo>
                        <a:pt x="540" y="142"/>
                      </a:lnTo>
                      <a:lnTo>
                        <a:pt x="536" y="142"/>
                      </a:lnTo>
                      <a:lnTo>
                        <a:pt x="532" y="142"/>
                      </a:lnTo>
                      <a:lnTo>
                        <a:pt x="528" y="142"/>
                      </a:lnTo>
                      <a:lnTo>
                        <a:pt x="524" y="142"/>
                      </a:lnTo>
                      <a:lnTo>
                        <a:pt x="524" y="138"/>
                      </a:lnTo>
                      <a:lnTo>
                        <a:pt x="520" y="138"/>
                      </a:lnTo>
                      <a:lnTo>
                        <a:pt x="520" y="134"/>
                      </a:lnTo>
                      <a:lnTo>
                        <a:pt x="520" y="130"/>
                      </a:lnTo>
                      <a:lnTo>
                        <a:pt x="516" y="130"/>
                      </a:lnTo>
                      <a:lnTo>
                        <a:pt x="514" y="126"/>
                      </a:lnTo>
                      <a:lnTo>
                        <a:pt x="510" y="126"/>
                      </a:lnTo>
                      <a:lnTo>
                        <a:pt x="506" y="126"/>
                      </a:lnTo>
                      <a:lnTo>
                        <a:pt x="506" y="122"/>
                      </a:lnTo>
                      <a:lnTo>
                        <a:pt x="510" y="122"/>
                      </a:lnTo>
                      <a:lnTo>
                        <a:pt x="510" y="120"/>
                      </a:lnTo>
                      <a:lnTo>
                        <a:pt x="510" y="116"/>
                      </a:lnTo>
                      <a:lnTo>
                        <a:pt x="514" y="116"/>
                      </a:lnTo>
                      <a:lnTo>
                        <a:pt x="516" y="116"/>
                      </a:lnTo>
                      <a:lnTo>
                        <a:pt x="520" y="116"/>
                      </a:lnTo>
                      <a:lnTo>
                        <a:pt x="520" y="112"/>
                      </a:lnTo>
                      <a:lnTo>
                        <a:pt x="524" y="108"/>
                      </a:lnTo>
                      <a:lnTo>
                        <a:pt x="528" y="108"/>
                      </a:lnTo>
                      <a:lnTo>
                        <a:pt x="532" y="108"/>
                      </a:lnTo>
                      <a:lnTo>
                        <a:pt x="532" y="112"/>
                      </a:lnTo>
                      <a:lnTo>
                        <a:pt x="536" y="112"/>
                      </a:lnTo>
                      <a:lnTo>
                        <a:pt x="540" y="112"/>
                      </a:lnTo>
                      <a:lnTo>
                        <a:pt x="540" y="116"/>
                      </a:lnTo>
                      <a:lnTo>
                        <a:pt x="544" y="116"/>
                      </a:lnTo>
                      <a:lnTo>
                        <a:pt x="546" y="116"/>
                      </a:lnTo>
                      <a:lnTo>
                        <a:pt x="550" y="116"/>
                      </a:lnTo>
                      <a:lnTo>
                        <a:pt x="550" y="120"/>
                      </a:lnTo>
                      <a:lnTo>
                        <a:pt x="550" y="122"/>
                      </a:lnTo>
                      <a:lnTo>
                        <a:pt x="554" y="126"/>
                      </a:lnTo>
                      <a:lnTo>
                        <a:pt x="550" y="126"/>
                      </a:lnTo>
                      <a:lnTo>
                        <a:pt x="550" y="130"/>
                      </a:lnTo>
                      <a:lnTo>
                        <a:pt x="550" y="134"/>
                      </a:lnTo>
                      <a:lnTo>
                        <a:pt x="550" y="138"/>
                      </a:lnTo>
                      <a:lnTo>
                        <a:pt x="550" y="142"/>
                      </a:lnTo>
                      <a:lnTo>
                        <a:pt x="550" y="146"/>
                      </a:lnTo>
                      <a:lnTo>
                        <a:pt x="554" y="146"/>
                      </a:lnTo>
                      <a:lnTo>
                        <a:pt x="554" y="150"/>
                      </a:lnTo>
                      <a:lnTo>
                        <a:pt x="554" y="152"/>
                      </a:lnTo>
                      <a:lnTo>
                        <a:pt x="558" y="150"/>
                      </a:lnTo>
                      <a:lnTo>
                        <a:pt x="554" y="150"/>
                      </a:lnTo>
                      <a:lnTo>
                        <a:pt x="554" y="146"/>
                      </a:lnTo>
                      <a:lnTo>
                        <a:pt x="558" y="146"/>
                      </a:lnTo>
                      <a:lnTo>
                        <a:pt x="558" y="150"/>
                      </a:lnTo>
                      <a:lnTo>
                        <a:pt x="558" y="152"/>
                      </a:lnTo>
                      <a:lnTo>
                        <a:pt x="562" y="152"/>
                      </a:lnTo>
                      <a:lnTo>
                        <a:pt x="562" y="156"/>
                      </a:lnTo>
                      <a:lnTo>
                        <a:pt x="562" y="160"/>
                      </a:lnTo>
                      <a:lnTo>
                        <a:pt x="566" y="160"/>
                      </a:lnTo>
                      <a:lnTo>
                        <a:pt x="570" y="160"/>
                      </a:lnTo>
                      <a:lnTo>
                        <a:pt x="570" y="156"/>
                      </a:lnTo>
                      <a:lnTo>
                        <a:pt x="572" y="156"/>
                      </a:lnTo>
                      <a:lnTo>
                        <a:pt x="572" y="152"/>
                      </a:lnTo>
                      <a:lnTo>
                        <a:pt x="576" y="152"/>
                      </a:lnTo>
                      <a:lnTo>
                        <a:pt x="576" y="150"/>
                      </a:lnTo>
                      <a:lnTo>
                        <a:pt x="580" y="150"/>
                      </a:lnTo>
                      <a:lnTo>
                        <a:pt x="580" y="146"/>
                      </a:lnTo>
                      <a:lnTo>
                        <a:pt x="580" y="142"/>
                      </a:lnTo>
                      <a:lnTo>
                        <a:pt x="584" y="142"/>
                      </a:lnTo>
                      <a:lnTo>
                        <a:pt x="588" y="142"/>
                      </a:lnTo>
                      <a:lnTo>
                        <a:pt x="592" y="138"/>
                      </a:lnTo>
                      <a:lnTo>
                        <a:pt x="596" y="138"/>
                      </a:lnTo>
                      <a:lnTo>
                        <a:pt x="596" y="134"/>
                      </a:lnTo>
                      <a:lnTo>
                        <a:pt x="592" y="134"/>
                      </a:lnTo>
                      <a:lnTo>
                        <a:pt x="596" y="134"/>
                      </a:lnTo>
                      <a:lnTo>
                        <a:pt x="596" y="130"/>
                      </a:lnTo>
                      <a:lnTo>
                        <a:pt x="600" y="130"/>
                      </a:lnTo>
                      <a:lnTo>
                        <a:pt x="602" y="126"/>
                      </a:lnTo>
                      <a:lnTo>
                        <a:pt x="606" y="126"/>
                      </a:lnTo>
                      <a:lnTo>
                        <a:pt x="606" y="130"/>
                      </a:lnTo>
                      <a:lnTo>
                        <a:pt x="610" y="130"/>
                      </a:lnTo>
                      <a:lnTo>
                        <a:pt x="614" y="134"/>
                      </a:lnTo>
                      <a:lnTo>
                        <a:pt x="618" y="134"/>
                      </a:lnTo>
                      <a:lnTo>
                        <a:pt x="618" y="138"/>
                      </a:lnTo>
                      <a:lnTo>
                        <a:pt x="622" y="138"/>
                      </a:lnTo>
                      <a:lnTo>
                        <a:pt x="626" y="138"/>
                      </a:lnTo>
                      <a:lnTo>
                        <a:pt x="626" y="142"/>
                      </a:lnTo>
                      <a:lnTo>
                        <a:pt x="628" y="142"/>
                      </a:lnTo>
                      <a:lnTo>
                        <a:pt x="632" y="142"/>
                      </a:lnTo>
                      <a:lnTo>
                        <a:pt x="636" y="142"/>
                      </a:lnTo>
                      <a:lnTo>
                        <a:pt x="636" y="146"/>
                      </a:lnTo>
                      <a:lnTo>
                        <a:pt x="640" y="146"/>
                      </a:lnTo>
                      <a:lnTo>
                        <a:pt x="644" y="146"/>
                      </a:lnTo>
                      <a:lnTo>
                        <a:pt x="644" y="150"/>
                      </a:lnTo>
                      <a:lnTo>
                        <a:pt x="644" y="146"/>
                      </a:lnTo>
                      <a:lnTo>
                        <a:pt x="648" y="146"/>
                      </a:lnTo>
                      <a:lnTo>
                        <a:pt x="648" y="186"/>
                      </a:lnTo>
                      <a:lnTo>
                        <a:pt x="648" y="204"/>
                      </a:lnTo>
                      <a:lnTo>
                        <a:pt x="648" y="212"/>
                      </a:lnTo>
                      <a:lnTo>
                        <a:pt x="648" y="216"/>
                      </a:lnTo>
                      <a:lnTo>
                        <a:pt x="648" y="220"/>
                      </a:lnTo>
                      <a:lnTo>
                        <a:pt x="648" y="256"/>
                      </a:lnTo>
                      <a:lnTo>
                        <a:pt x="644" y="256"/>
                      </a:lnTo>
                      <a:lnTo>
                        <a:pt x="644" y="252"/>
                      </a:lnTo>
                      <a:lnTo>
                        <a:pt x="640" y="250"/>
                      </a:lnTo>
                      <a:lnTo>
                        <a:pt x="640" y="246"/>
                      </a:lnTo>
                      <a:lnTo>
                        <a:pt x="636" y="246"/>
                      </a:lnTo>
                      <a:lnTo>
                        <a:pt x="632" y="242"/>
                      </a:lnTo>
                      <a:lnTo>
                        <a:pt x="636" y="242"/>
                      </a:lnTo>
                      <a:lnTo>
                        <a:pt x="636" y="238"/>
                      </a:lnTo>
                      <a:lnTo>
                        <a:pt x="632" y="238"/>
                      </a:lnTo>
                      <a:lnTo>
                        <a:pt x="632" y="242"/>
                      </a:lnTo>
                      <a:lnTo>
                        <a:pt x="628" y="242"/>
                      </a:lnTo>
                      <a:lnTo>
                        <a:pt x="626" y="242"/>
                      </a:lnTo>
                      <a:lnTo>
                        <a:pt x="622" y="242"/>
                      </a:lnTo>
                      <a:lnTo>
                        <a:pt x="618" y="242"/>
                      </a:lnTo>
                      <a:lnTo>
                        <a:pt x="618" y="246"/>
                      </a:lnTo>
                      <a:lnTo>
                        <a:pt x="618" y="242"/>
                      </a:lnTo>
                      <a:lnTo>
                        <a:pt x="618" y="238"/>
                      </a:lnTo>
                      <a:lnTo>
                        <a:pt x="622" y="234"/>
                      </a:lnTo>
                      <a:lnTo>
                        <a:pt x="618" y="234"/>
                      </a:lnTo>
                      <a:lnTo>
                        <a:pt x="622" y="234"/>
                      </a:lnTo>
                      <a:lnTo>
                        <a:pt x="622" y="230"/>
                      </a:lnTo>
                      <a:lnTo>
                        <a:pt x="618" y="230"/>
                      </a:lnTo>
                      <a:lnTo>
                        <a:pt x="618" y="226"/>
                      </a:lnTo>
                      <a:lnTo>
                        <a:pt x="614" y="226"/>
                      </a:lnTo>
                      <a:lnTo>
                        <a:pt x="614" y="222"/>
                      </a:lnTo>
                      <a:lnTo>
                        <a:pt x="618" y="226"/>
                      </a:lnTo>
                      <a:lnTo>
                        <a:pt x="622" y="226"/>
                      </a:lnTo>
                      <a:lnTo>
                        <a:pt x="622" y="226"/>
                      </a:lnTo>
                      <a:lnTo>
                        <a:pt x="622" y="226"/>
                      </a:lnTo>
                      <a:close/>
                      <a:moveTo>
                        <a:pt x="502" y="108"/>
                      </a:moveTo>
                      <a:lnTo>
                        <a:pt x="502" y="112"/>
                      </a:lnTo>
                      <a:lnTo>
                        <a:pt x="498" y="112"/>
                      </a:lnTo>
                      <a:lnTo>
                        <a:pt x="502" y="108"/>
                      </a:lnTo>
                      <a:lnTo>
                        <a:pt x="502" y="108"/>
                      </a:lnTo>
                      <a:lnTo>
                        <a:pt x="502" y="108"/>
                      </a:lnTo>
                      <a:close/>
                      <a:moveTo>
                        <a:pt x="570" y="116"/>
                      </a:moveTo>
                      <a:lnTo>
                        <a:pt x="572" y="116"/>
                      </a:lnTo>
                      <a:lnTo>
                        <a:pt x="576" y="116"/>
                      </a:lnTo>
                      <a:lnTo>
                        <a:pt x="576" y="120"/>
                      </a:lnTo>
                      <a:lnTo>
                        <a:pt x="580" y="120"/>
                      </a:lnTo>
                      <a:lnTo>
                        <a:pt x="580" y="122"/>
                      </a:lnTo>
                      <a:lnTo>
                        <a:pt x="584" y="122"/>
                      </a:lnTo>
                      <a:lnTo>
                        <a:pt x="580" y="122"/>
                      </a:lnTo>
                      <a:lnTo>
                        <a:pt x="576" y="122"/>
                      </a:lnTo>
                      <a:lnTo>
                        <a:pt x="572" y="122"/>
                      </a:lnTo>
                      <a:lnTo>
                        <a:pt x="572" y="120"/>
                      </a:lnTo>
                      <a:lnTo>
                        <a:pt x="572" y="116"/>
                      </a:lnTo>
                      <a:lnTo>
                        <a:pt x="570" y="116"/>
                      </a:lnTo>
                      <a:lnTo>
                        <a:pt x="570" y="112"/>
                      </a:lnTo>
                      <a:lnTo>
                        <a:pt x="570" y="116"/>
                      </a:lnTo>
                      <a:lnTo>
                        <a:pt x="570" y="116"/>
                      </a:lnTo>
                      <a:lnTo>
                        <a:pt x="570" y="116"/>
                      </a:lnTo>
                      <a:close/>
                      <a:moveTo>
                        <a:pt x="506" y="116"/>
                      </a:moveTo>
                      <a:lnTo>
                        <a:pt x="502" y="120"/>
                      </a:lnTo>
                      <a:lnTo>
                        <a:pt x="498" y="120"/>
                      </a:lnTo>
                      <a:lnTo>
                        <a:pt x="498" y="116"/>
                      </a:lnTo>
                      <a:lnTo>
                        <a:pt x="502" y="116"/>
                      </a:lnTo>
                      <a:lnTo>
                        <a:pt x="506" y="116"/>
                      </a:lnTo>
                      <a:lnTo>
                        <a:pt x="506" y="116"/>
                      </a:lnTo>
                      <a:lnTo>
                        <a:pt x="506" y="116"/>
                      </a:lnTo>
                      <a:close/>
                      <a:moveTo>
                        <a:pt x="506" y="120"/>
                      </a:moveTo>
                      <a:lnTo>
                        <a:pt x="506" y="122"/>
                      </a:lnTo>
                      <a:lnTo>
                        <a:pt x="506" y="126"/>
                      </a:lnTo>
                      <a:lnTo>
                        <a:pt x="502" y="122"/>
                      </a:lnTo>
                      <a:lnTo>
                        <a:pt x="502" y="120"/>
                      </a:lnTo>
                      <a:lnTo>
                        <a:pt x="506" y="120"/>
                      </a:lnTo>
                      <a:lnTo>
                        <a:pt x="506" y="120"/>
                      </a:lnTo>
                      <a:lnTo>
                        <a:pt x="506" y="120"/>
                      </a:lnTo>
                      <a:close/>
                      <a:moveTo>
                        <a:pt x="58" y="130"/>
                      </a:moveTo>
                      <a:lnTo>
                        <a:pt x="54" y="130"/>
                      </a:lnTo>
                      <a:lnTo>
                        <a:pt x="58" y="130"/>
                      </a:lnTo>
                      <a:lnTo>
                        <a:pt x="58" y="134"/>
                      </a:lnTo>
                      <a:lnTo>
                        <a:pt x="54" y="134"/>
                      </a:lnTo>
                      <a:lnTo>
                        <a:pt x="50" y="130"/>
                      </a:lnTo>
                      <a:lnTo>
                        <a:pt x="50" y="126"/>
                      </a:lnTo>
                      <a:lnTo>
                        <a:pt x="48" y="122"/>
                      </a:lnTo>
                      <a:lnTo>
                        <a:pt x="48" y="120"/>
                      </a:lnTo>
                      <a:lnTo>
                        <a:pt x="50" y="120"/>
                      </a:lnTo>
                      <a:lnTo>
                        <a:pt x="54" y="122"/>
                      </a:lnTo>
                      <a:lnTo>
                        <a:pt x="54" y="126"/>
                      </a:lnTo>
                      <a:lnTo>
                        <a:pt x="58" y="130"/>
                      </a:lnTo>
                      <a:lnTo>
                        <a:pt x="58" y="130"/>
                      </a:lnTo>
                      <a:lnTo>
                        <a:pt x="58" y="130"/>
                      </a:lnTo>
                      <a:close/>
                      <a:moveTo>
                        <a:pt x="208" y="120"/>
                      </a:moveTo>
                      <a:lnTo>
                        <a:pt x="208" y="122"/>
                      </a:lnTo>
                      <a:lnTo>
                        <a:pt x="204" y="122"/>
                      </a:lnTo>
                      <a:lnTo>
                        <a:pt x="200" y="122"/>
                      </a:lnTo>
                      <a:lnTo>
                        <a:pt x="200" y="120"/>
                      </a:lnTo>
                      <a:lnTo>
                        <a:pt x="204" y="120"/>
                      </a:lnTo>
                      <a:lnTo>
                        <a:pt x="208" y="120"/>
                      </a:lnTo>
                      <a:lnTo>
                        <a:pt x="208" y="120"/>
                      </a:lnTo>
                      <a:lnTo>
                        <a:pt x="208" y="120"/>
                      </a:lnTo>
                      <a:close/>
                      <a:moveTo>
                        <a:pt x="490" y="122"/>
                      </a:moveTo>
                      <a:lnTo>
                        <a:pt x="488" y="122"/>
                      </a:lnTo>
                      <a:lnTo>
                        <a:pt x="490" y="122"/>
                      </a:lnTo>
                      <a:lnTo>
                        <a:pt x="490" y="122"/>
                      </a:lnTo>
                      <a:lnTo>
                        <a:pt x="490" y="122"/>
                      </a:lnTo>
                      <a:close/>
                      <a:moveTo>
                        <a:pt x="402" y="122"/>
                      </a:moveTo>
                      <a:lnTo>
                        <a:pt x="402" y="126"/>
                      </a:lnTo>
                      <a:lnTo>
                        <a:pt x="398" y="126"/>
                      </a:lnTo>
                      <a:lnTo>
                        <a:pt x="398" y="130"/>
                      </a:lnTo>
                      <a:lnTo>
                        <a:pt x="394" y="130"/>
                      </a:lnTo>
                      <a:lnTo>
                        <a:pt x="394" y="126"/>
                      </a:lnTo>
                      <a:lnTo>
                        <a:pt x="394" y="130"/>
                      </a:lnTo>
                      <a:lnTo>
                        <a:pt x="390" y="130"/>
                      </a:lnTo>
                      <a:lnTo>
                        <a:pt x="390" y="126"/>
                      </a:lnTo>
                      <a:lnTo>
                        <a:pt x="390" y="122"/>
                      </a:lnTo>
                      <a:lnTo>
                        <a:pt x="394" y="122"/>
                      </a:lnTo>
                      <a:lnTo>
                        <a:pt x="398" y="122"/>
                      </a:lnTo>
                      <a:lnTo>
                        <a:pt x="398" y="126"/>
                      </a:lnTo>
                      <a:lnTo>
                        <a:pt x="398" y="122"/>
                      </a:lnTo>
                      <a:lnTo>
                        <a:pt x="402" y="122"/>
                      </a:lnTo>
                      <a:lnTo>
                        <a:pt x="402" y="122"/>
                      </a:lnTo>
                      <a:lnTo>
                        <a:pt x="402" y="122"/>
                      </a:lnTo>
                      <a:close/>
                      <a:moveTo>
                        <a:pt x="464" y="130"/>
                      </a:moveTo>
                      <a:lnTo>
                        <a:pt x="460" y="130"/>
                      </a:lnTo>
                      <a:lnTo>
                        <a:pt x="458" y="130"/>
                      </a:lnTo>
                      <a:lnTo>
                        <a:pt x="454" y="130"/>
                      </a:lnTo>
                      <a:lnTo>
                        <a:pt x="454" y="126"/>
                      </a:lnTo>
                      <a:lnTo>
                        <a:pt x="458" y="126"/>
                      </a:lnTo>
                      <a:lnTo>
                        <a:pt x="460" y="126"/>
                      </a:lnTo>
                      <a:lnTo>
                        <a:pt x="464" y="130"/>
                      </a:lnTo>
                      <a:lnTo>
                        <a:pt x="464" y="130"/>
                      </a:lnTo>
                      <a:lnTo>
                        <a:pt x="464" y="130"/>
                      </a:lnTo>
                      <a:close/>
                      <a:moveTo>
                        <a:pt x="160" y="152"/>
                      </a:moveTo>
                      <a:lnTo>
                        <a:pt x="156" y="152"/>
                      </a:lnTo>
                      <a:lnTo>
                        <a:pt x="152" y="150"/>
                      </a:lnTo>
                      <a:lnTo>
                        <a:pt x="152" y="146"/>
                      </a:lnTo>
                      <a:lnTo>
                        <a:pt x="152" y="142"/>
                      </a:lnTo>
                      <a:lnTo>
                        <a:pt x="148" y="138"/>
                      </a:lnTo>
                      <a:lnTo>
                        <a:pt x="144" y="138"/>
                      </a:lnTo>
                      <a:lnTo>
                        <a:pt x="140" y="138"/>
                      </a:lnTo>
                      <a:lnTo>
                        <a:pt x="140" y="134"/>
                      </a:lnTo>
                      <a:lnTo>
                        <a:pt x="144" y="134"/>
                      </a:lnTo>
                      <a:lnTo>
                        <a:pt x="144" y="130"/>
                      </a:lnTo>
                      <a:lnTo>
                        <a:pt x="148" y="130"/>
                      </a:lnTo>
                      <a:lnTo>
                        <a:pt x="148" y="134"/>
                      </a:lnTo>
                      <a:lnTo>
                        <a:pt x="152" y="134"/>
                      </a:lnTo>
                      <a:lnTo>
                        <a:pt x="148" y="130"/>
                      </a:lnTo>
                      <a:lnTo>
                        <a:pt x="152" y="126"/>
                      </a:lnTo>
                      <a:lnTo>
                        <a:pt x="152" y="130"/>
                      </a:lnTo>
                      <a:lnTo>
                        <a:pt x="156" y="134"/>
                      </a:lnTo>
                      <a:lnTo>
                        <a:pt x="156" y="138"/>
                      </a:lnTo>
                      <a:lnTo>
                        <a:pt x="156" y="142"/>
                      </a:lnTo>
                      <a:lnTo>
                        <a:pt x="156" y="146"/>
                      </a:lnTo>
                      <a:lnTo>
                        <a:pt x="160" y="146"/>
                      </a:lnTo>
                      <a:lnTo>
                        <a:pt x="164" y="146"/>
                      </a:lnTo>
                      <a:lnTo>
                        <a:pt x="164" y="150"/>
                      </a:lnTo>
                      <a:lnTo>
                        <a:pt x="164" y="152"/>
                      </a:lnTo>
                      <a:lnTo>
                        <a:pt x="164" y="156"/>
                      </a:lnTo>
                      <a:lnTo>
                        <a:pt x="160" y="156"/>
                      </a:lnTo>
                      <a:lnTo>
                        <a:pt x="160" y="152"/>
                      </a:lnTo>
                      <a:lnTo>
                        <a:pt x="160" y="152"/>
                      </a:lnTo>
                      <a:lnTo>
                        <a:pt x="160" y="152"/>
                      </a:lnTo>
                      <a:close/>
                      <a:moveTo>
                        <a:pt x="192" y="130"/>
                      </a:moveTo>
                      <a:lnTo>
                        <a:pt x="196" y="130"/>
                      </a:lnTo>
                      <a:lnTo>
                        <a:pt x="192" y="130"/>
                      </a:lnTo>
                      <a:lnTo>
                        <a:pt x="192" y="130"/>
                      </a:lnTo>
                      <a:lnTo>
                        <a:pt x="192" y="130"/>
                      </a:lnTo>
                      <a:close/>
                      <a:moveTo>
                        <a:pt x="570" y="130"/>
                      </a:moveTo>
                      <a:lnTo>
                        <a:pt x="572" y="130"/>
                      </a:lnTo>
                      <a:lnTo>
                        <a:pt x="576" y="130"/>
                      </a:lnTo>
                      <a:lnTo>
                        <a:pt x="580" y="130"/>
                      </a:lnTo>
                      <a:lnTo>
                        <a:pt x="584" y="130"/>
                      </a:lnTo>
                      <a:lnTo>
                        <a:pt x="588" y="130"/>
                      </a:lnTo>
                      <a:lnTo>
                        <a:pt x="588" y="134"/>
                      </a:lnTo>
                      <a:lnTo>
                        <a:pt x="592" y="134"/>
                      </a:lnTo>
                      <a:lnTo>
                        <a:pt x="588" y="134"/>
                      </a:lnTo>
                      <a:lnTo>
                        <a:pt x="584" y="134"/>
                      </a:lnTo>
                      <a:lnTo>
                        <a:pt x="580" y="134"/>
                      </a:lnTo>
                      <a:lnTo>
                        <a:pt x="576" y="134"/>
                      </a:lnTo>
                      <a:lnTo>
                        <a:pt x="572" y="130"/>
                      </a:lnTo>
                      <a:lnTo>
                        <a:pt x="570" y="130"/>
                      </a:lnTo>
                      <a:lnTo>
                        <a:pt x="570" y="130"/>
                      </a:lnTo>
                      <a:lnTo>
                        <a:pt x="570" y="130"/>
                      </a:lnTo>
                      <a:close/>
                      <a:moveTo>
                        <a:pt x="412" y="130"/>
                      </a:moveTo>
                      <a:lnTo>
                        <a:pt x="416" y="130"/>
                      </a:lnTo>
                      <a:lnTo>
                        <a:pt x="420" y="130"/>
                      </a:lnTo>
                      <a:lnTo>
                        <a:pt x="424" y="130"/>
                      </a:lnTo>
                      <a:lnTo>
                        <a:pt x="428" y="134"/>
                      </a:lnTo>
                      <a:lnTo>
                        <a:pt x="424" y="134"/>
                      </a:lnTo>
                      <a:lnTo>
                        <a:pt x="420" y="134"/>
                      </a:lnTo>
                      <a:lnTo>
                        <a:pt x="416" y="134"/>
                      </a:lnTo>
                      <a:lnTo>
                        <a:pt x="416" y="138"/>
                      </a:lnTo>
                      <a:lnTo>
                        <a:pt x="412" y="138"/>
                      </a:lnTo>
                      <a:lnTo>
                        <a:pt x="412" y="134"/>
                      </a:lnTo>
                      <a:lnTo>
                        <a:pt x="412" y="130"/>
                      </a:lnTo>
                      <a:lnTo>
                        <a:pt x="412" y="130"/>
                      </a:lnTo>
                      <a:lnTo>
                        <a:pt x="412" y="130"/>
                      </a:lnTo>
                      <a:close/>
                      <a:moveTo>
                        <a:pt x="498" y="130"/>
                      </a:moveTo>
                      <a:lnTo>
                        <a:pt x="498" y="134"/>
                      </a:lnTo>
                      <a:lnTo>
                        <a:pt x="498" y="138"/>
                      </a:lnTo>
                      <a:lnTo>
                        <a:pt x="494" y="138"/>
                      </a:lnTo>
                      <a:lnTo>
                        <a:pt x="490" y="138"/>
                      </a:lnTo>
                      <a:lnTo>
                        <a:pt x="488" y="134"/>
                      </a:lnTo>
                      <a:lnTo>
                        <a:pt x="490" y="134"/>
                      </a:lnTo>
                      <a:lnTo>
                        <a:pt x="490" y="130"/>
                      </a:lnTo>
                      <a:lnTo>
                        <a:pt x="494" y="130"/>
                      </a:lnTo>
                      <a:lnTo>
                        <a:pt x="498" y="130"/>
                      </a:lnTo>
                      <a:lnTo>
                        <a:pt x="498" y="130"/>
                      </a:lnTo>
                      <a:lnTo>
                        <a:pt x="498" y="130"/>
                      </a:lnTo>
                      <a:close/>
                      <a:moveTo>
                        <a:pt x="428" y="134"/>
                      </a:moveTo>
                      <a:lnTo>
                        <a:pt x="430" y="134"/>
                      </a:lnTo>
                      <a:lnTo>
                        <a:pt x="434" y="134"/>
                      </a:lnTo>
                      <a:lnTo>
                        <a:pt x="438" y="134"/>
                      </a:lnTo>
                      <a:lnTo>
                        <a:pt x="434" y="134"/>
                      </a:lnTo>
                      <a:lnTo>
                        <a:pt x="430" y="134"/>
                      </a:lnTo>
                      <a:lnTo>
                        <a:pt x="428" y="134"/>
                      </a:lnTo>
                      <a:lnTo>
                        <a:pt x="428" y="134"/>
                      </a:lnTo>
                      <a:lnTo>
                        <a:pt x="428" y="134"/>
                      </a:lnTo>
                      <a:close/>
                      <a:moveTo>
                        <a:pt x="66" y="142"/>
                      </a:moveTo>
                      <a:lnTo>
                        <a:pt x="62" y="142"/>
                      </a:lnTo>
                      <a:lnTo>
                        <a:pt x="62" y="138"/>
                      </a:lnTo>
                      <a:lnTo>
                        <a:pt x="66" y="142"/>
                      </a:lnTo>
                      <a:lnTo>
                        <a:pt x="66" y="142"/>
                      </a:lnTo>
                      <a:lnTo>
                        <a:pt x="66" y="142"/>
                      </a:lnTo>
                      <a:close/>
                      <a:moveTo>
                        <a:pt x="70" y="150"/>
                      </a:moveTo>
                      <a:lnTo>
                        <a:pt x="70" y="152"/>
                      </a:lnTo>
                      <a:lnTo>
                        <a:pt x="70" y="150"/>
                      </a:lnTo>
                      <a:lnTo>
                        <a:pt x="66" y="150"/>
                      </a:lnTo>
                      <a:lnTo>
                        <a:pt x="66" y="146"/>
                      </a:lnTo>
                      <a:lnTo>
                        <a:pt x="70" y="146"/>
                      </a:lnTo>
                      <a:lnTo>
                        <a:pt x="70" y="150"/>
                      </a:lnTo>
                      <a:lnTo>
                        <a:pt x="70" y="150"/>
                      </a:lnTo>
                      <a:lnTo>
                        <a:pt x="70" y="150"/>
                      </a:lnTo>
                      <a:close/>
                      <a:moveTo>
                        <a:pt x="186" y="152"/>
                      </a:moveTo>
                      <a:lnTo>
                        <a:pt x="186" y="156"/>
                      </a:lnTo>
                      <a:lnTo>
                        <a:pt x="182" y="156"/>
                      </a:lnTo>
                      <a:lnTo>
                        <a:pt x="178" y="156"/>
                      </a:lnTo>
                      <a:lnTo>
                        <a:pt x="178" y="152"/>
                      </a:lnTo>
                      <a:lnTo>
                        <a:pt x="178" y="156"/>
                      </a:lnTo>
                      <a:lnTo>
                        <a:pt x="174" y="156"/>
                      </a:lnTo>
                      <a:lnTo>
                        <a:pt x="174" y="152"/>
                      </a:lnTo>
                      <a:lnTo>
                        <a:pt x="174" y="150"/>
                      </a:lnTo>
                      <a:lnTo>
                        <a:pt x="178" y="146"/>
                      </a:lnTo>
                      <a:lnTo>
                        <a:pt x="182" y="146"/>
                      </a:lnTo>
                      <a:lnTo>
                        <a:pt x="186" y="150"/>
                      </a:lnTo>
                      <a:lnTo>
                        <a:pt x="186" y="152"/>
                      </a:lnTo>
                      <a:lnTo>
                        <a:pt x="186" y="152"/>
                      </a:lnTo>
                      <a:lnTo>
                        <a:pt x="186" y="152"/>
                      </a:lnTo>
                      <a:close/>
                      <a:moveTo>
                        <a:pt x="74" y="160"/>
                      </a:moveTo>
                      <a:lnTo>
                        <a:pt x="74" y="156"/>
                      </a:lnTo>
                      <a:lnTo>
                        <a:pt x="70" y="152"/>
                      </a:lnTo>
                      <a:lnTo>
                        <a:pt x="70" y="150"/>
                      </a:lnTo>
                      <a:lnTo>
                        <a:pt x="74" y="152"/>
                      </a:lnTo>
                      <a:lnTo>
                        <a:pt x="74" y="156"/>
                      </a:lnTo>
                      <a:lnTo>
                        <a:pt x="74" y="160"/>
                      </a:lnTo>
                      <a:lnTo>
                        <a:pt x="74" y="160"/>
                      </a:lnTo>
                      <a:lnTo>
                        <a:pt x="74" y="160"/>
                      </a:lnTo>
                      <a:close/>
                      <a:moveTo>
                        <a:pt x="502" y="166"/>
                      </a:moveTo>
                      <a:lnTo>
                        <a:pt x="498" y="166"/>
                      </a:lnTo>
                      <a:lnTo>
                        <a:pt x="498" y="164"/>
                      </a:lnTo>
                      <a:lnTo>
                        <a:pt x="494" y="164"/>
                      </a:lnTo>
                      <a:lnTo>
                        <a:pt x="490" y="160"/>
                      </a:lnTo>
                      <a:lnTo>
                        <a:pt x="488" y="160"/>
                      </a:lnTo>
                      <a:lnTo>
                        <a:pt x="484" y="160"/>
                      </a:lnTo>
                      <a:lnTo>
                        <a:pt x="488" y="160"/>
                      </a:lnTo>
                      <a:lnTo>
                        <a:pt x="484" y="160"/>
                      </a:lnTo>
                      <a:lnTo>
                        <a:pt x="480" y="160"/>
                      </a:lnTo>
                      <a:lnTo>
                        <a:pt x="476" y="160"/>
                      </a:lnTo>
                      <a:lnTo>
                        <a:pt x="476" y="156"/>
                      </a:lnTo>
                      <a:lnTo>
                        <a:pt x="476" y="160"/>
                      </a:lnTo>
                      <a:lnTo>
                        <a:pt x="472" y="160"/>
                      </a:lnTo>
                      <a:lnTo>
                        <a:pt x="468" y="160"/>
                      </a:lnTo>
                      <a:lnTo>
                        <a:pt x="468" y="156"/>
                      </a:lnTo>
                      <a:lnTo>
                        <a:pt x="464" y="156"/>
                      </a:lnTo>
                      <a:lnTo>
                        <a:pt x="464" y="160"/>
                      </a:lnTo>
                      <a:lnTo>
                        <a:pt x="460" y="164"/>
                      </a:lnTo>
                      <a:lnTo>
                        <a:pt x="460" y="160"/>
                      </a:lnTo>
                      <a:lnTo>
                        <a:pt x="460" y="156"/>
                      </a:lnTo>
                      <a:lnTo>
                        <a:pt x="464" y="156"/>
                      </a:lnTo>
                      <a:lnTo>
                        <a:pt x="464" y="152"/>
                      </a:lnTo>
                      <a:lnTo>
                        <a:pt x="468" y="152"/>
                      </a:lnTo>
                      <a:lnTo>
                        <a:pt x="472" y="152"/>
                      </a:lnTo>
                      <a:lnTo>
                        <a:pt x="476" y="152"/>
                      </a:lnTo>
                      <a:lnTo>
                        <a:pt x="480" y="152"/>
                      </a:lnTo>
                      <a:lnTo>
                        <a:pt x="484" y="152"/>
                      </a:lnTo>
                      <a:lnTo>
                        <a:pt x="484" y="150"/>
                      </a:lnTo>
                      <a:lnTo>
                        <a:pt x="488" y="150"/>
                      </a:lnTo>
                      <a:lnTo>
                        <a:pt x="488" y="152"/>
                      </a:lnTo>
                      <a:lnTo>
                        <a:pt x="490" y="152"/>
                      </a:lnTo>
                      <a:lnTo>
                        <a:pt x="494" y="152"/>
                      </a:lnTo>
                      <a:lnTo>
                        <a:pt x="498" y="152"/>
                      </a:lnTo>
                      <a:lnTo>
                        <a:pt x="502" y="156"/>
                      </a:lnTo>
                      <a:lnTo>
                        <a:pt x="502" y="160"/>
                      </a:lnTo>
                      <a:lnTo>
                        <a:pt x="506" y="164"/>
                      </a:lnTo>
                      <a:lnTo>
                        <a:pt x="502" y="166"/>
                      </a:lnTo>
                      <a:lnTo>
                        <a:pt x="502" y="166"/>
                      </a:lnTo>
                      <a:lnTo>
                        <a:pt x="502" y="166"/>
                      </a:lnTo>
                      <a:close/>
                      <a:moveTo>
                        <a:pt x="164" y="152"/>
                      </a:moveTo>
                      <a:lnTo>
                        <a:pt x="166" y="152"/>
                      </a:lnTo>
                      <a:lnTo>
                        <a:pt x="164" y="152"/>
                      </a:lnTo>
                      <a:lnTo>
                        <a:pt x="164" y="152"/>
                      </a:lnTo>
                      <a:lnTo>
                        <a:pt x="164" y="152"/>
                      </a:lnTo>
                      <a:close/>
                      <a:moveTo>
                        <a:pt x="438" y="156"/>
                      </a:moveTo>
                      <a:lnTo>
                        <a:pt x="442" y="156"/>
                      </a:lnTo>
                      <a:lnTo>
                        <a:pt x="446" y="156"/>
                      </a:lnTo>
                      <a:lnTo>
                        <a:pt x="450" y="156"/>
                      </a:lnTo>
                      <a:lnTo>
                        <a:pt x="450" y="160"/>
                      </a:lnTo>
                      <a:lnTo>
                        <a:pt x="454" y="160"/>
                      </a:lnTo>
                      <a:lnTo>
                        <a:pt x="454" y="164"/>
                      </a:lnTo>
                      <a:lnTo>
                        <a:pt x="450" y="164"/>
                      </a:lnTo>
                      <a:lnTo>
                        <a:pt x="450" y="166"/>
                      </a:lnTo>
                      <a:lnTo>
                        <a:pt x="446" y="166"/>
                      </a:lnTo>
                      <a:lnTo>
                        <a:pt x="442" y="166"/>
                      </a:lnTo>
                      <a:lnTo>
                        <a:pt x="438" y="164"/>
                      </a:lnTo>
                      <a:lnTo>
                        <a:pt x="434" y="160"/>
                      </a:lnTo>
                      <a:lnTo>
                        <a:pt x="434" y="156"/>
                      </a:lnTo>
                      <a:lnTo>
                        <a:pt x="438" y="156"/>
                      </a:lnTo>
                      <a:lnTo>
                        <a:pt x="438" y="156"/>
                      </a:lnTo>
                      <a:lnTo>
                        <a:pt x="438" y="156"/>
                      </a:lnTo>
                      <a:close/>
                      <a:moveTo>
                        <a:pt x="298" y="160"/>
                      </a:moveTo>
                      <a:lnTo>
                        <a:pt x="298" y="164"/>
                      </a:lnTo>
                      <a:lnTo>
                        <a:pt x="298" y="166"/>
                      </a:lnTo>
                      <a:lnTo>
                        <a:pt x="298" y="170"/>
                      </a:lnTo>
                      <a:lnTo>
                        <a:pt x="294" y="170"/>
                      </a:lnTo>
                      <a:lnTo>
                        <a:pt x="298" y="166"/>
                      </a:lnTo>
                      <a:lnTo>
                        <a:pt x="294" y="166"/>
                      </a:lnTo>
                      <a:lnTo>
                        <a:pt x="294" y="164"/>
                      </a:lnTo>
                      <a:lnTo>
                        <a:pt x="294" y="160"/>
                      </a:lnTo>
                      <a:lnTo>
                        <a:pt x="298" y="160"/>
                      </a:lnTo>
                      <a:lnTo>
                        <a:pt x="298" y="156"/>
                      </a:lnTo>
                      <a:lnTo>
                        <a:pt x="298" y="160"/>
                      </a:lnTo>
                      <a:lnTo>
                        <a:pt x="298" y="160"/>
                      </a:lnTo>
                      <a:lnTo>
                        <a:pt x="298" y="160"/>
                      </a:lnTo>
                      <a:close/>
                      <a:moveTo>
                        <a:pt x="458" y="156"/>
                      </a:moveTo>
                      <a:lnTo>
                        <a:pt x="458" y="160"/>
                      </a:lnTo>
                      <a:lnTo>
                        <a:pt x="458" y="156"/>
                      </a:lnTo>
                      <a:lnTo>
                        <a:pt x="458" y="156"/>
                      </a:lnTo>
                      <a:lnTo>
                        <a:pt x="458" y="156"/>
                      </a:lnTo>
                      <a:close/>
                      <a:moveTo>
                        <a:pt x="464" y="164"/>
                      </a:moveTo>
                      <a:lnTo>
                        <a:pt x="468" y="164"/>
                      </a:lnTo>
                      <a:lnTo>
                        <a:pt x="468" y="166"/>
                      </a:lnTo>
                      <a:lnTo>
                        <a:pt x="464" y="166"/>
                      </a:lnTo>
                      <a:lnTo>
                        <a:pt x="468" y="164"/>
                      </a:lnTo>
                      <a:lnTo>
                        <a:pt x="464" y="164"/>
                      </a:lnTo>
                      <a:lnTo>
                        <a:pt x="464" y="166"/>
                      </a:lnTo>
                      <a:lnTo>
                        <a:pt x="460" y="166"/>
                      </a:lnTo>
                      <a:lnTo>
                        <a:pt x="460" y="164"/>
                      </a:lnTo>
                      <a:lnTo>
                        <a:pt x="464" y="164"/>
                      </a:lnTo>
                      <a:lnTo>
                        <a:pt x="464" y="164"/>
                      </a:lnTo>
                      <a:lnTo>
                        <a:pt x="464" y="164"/>
                      </a:lnTo>
                      <a:close/>
                      <a:moveTo>
                        <a:pt x="468" y="164"/>
                      </a:moveTo>
                      <a:lnTo>
                        <a:pt x="472" y="164"/>
                      </a:lnTo>
                      <a:lnTo>
                        <a:pt x="468" y="164"/>
                      </a:lnTo>
                      <a:lnTo>
                        <a:pt x="468" y="164"/>
                      </a:lnTo>
                      <a:lnTo>
                        <a:pt x="468" y="164"/>
                      </a:lnTo>
                      <a:close/>
                      <a:moveTo>
                        <a:pt x="394" y="170"/>
                      </a:moveTo>
                      <a:lnTo>
                        <a:pt x="398" y="170"/>
                      </a:lnTo>
                      <a:lnTo>
                        <a:pt x="394" y="174"/>
                      </a:lnTo>
                      <a:lnTo>
                        <a:pt x="394" y="170"/>
                      </a:lnTo>
                      <a:lnTo>
                        <a:pt x="394" y="170"/>
                      </a:lnTo>
                      <a:lnTo>
                        <a:pt x="394" y="170"/>
                      </a:lnTo>
                      <a:close/>
                      <a:moveTo>
                        <a:pt x="394" y="178"/>
                      </a:moveTo>
                      <a:lnTo>
                        <a:pt x="398" y="178"/>
                      </a:lnTo>
                      <a:lnTo>
                        <a:pt x="398" y="182"/>
                      </a:lnTo>
                      <a:lnTo>
                        <a:pt x="398" y="186"/>
                      </a:lnTo>
                      <a:lnTo>
                        <a:pt x="394" y="182"/>
                      </a:lnTo>
                      <a:lnTo>
                        <a:pt x="394" y="186"/>
                      </a:lnTo>
                      <a:lnTo>
                        <a:pt x="394" y="190"/>
                      </a:lnTo>
                      <a:lnTo>
                        <a:pt x="398" y="194"/>
                      </a:lnTo>
                      <a:lnTo>
                        <a:pt x="394" y="194"/>
                      </a:lnTo>
                      <a:lnTo>
                        <a:pt x="390" y="194"/>
                      </a:lnTo>
                      <a:lnTo>
                        <a:pt x="390" y="196"/>
                      </a:lnTo>
                      <a:lnTo>
                        <a:pt x="390" y="200"/>
                      </a:lnTo>
                      <a:lnTo>
                        <a:pt x="386" y="200"/>
                      </a:lnTo>
                      <a:lnTo>
                        <a:pt x="386" y="196"/>
                      </a:lnTo>
                      <a:lnTo>
                        <a:pt x="386" y="194"/>
                      </a:lnTo>
                      <a:lnTo>
                        <a:pt x="390" y="194"/>
                      </a:lnTo>
                      <a:lnTo>
                        <a:pt x="390" y="190"/>
                      </a:lnTo>
                      <a:lnTo>
                        <a:pt x="390" y="186"/>
                      </a:lnTo>
                      <a:lnTo>
                        <a:pt x="390" y="182"/>
                      </a:lnTo>
                      <a:lnTo>
                        <a:pt x="390" y="178"/>
                      </a:lnTo>
                      <a:lnTo>
                        <a:pt x="394" y="178"/>
                      </a:lnTo>
                      <a:lnTo>
                        <a:pt x="394" y="178"/>
                      </a:lnTo>
                      <a:lnTo>
                        <a:pt x="394" y="178"/>
                      </a:lnTo>
                      <a:close/>
                      <a:moveTo>
                        <a:pt x="390" y="182"/>
                      </a:moveTo>
                      <a:lnTo>
                        <a:pt x="390" y="186"/>
                      </a:lnTo>
                      <a:lnTo>
                        <a:pt x="386" y="190"/>
                      </a:lnTo>
                      <a:lnTo>
                        <a:pt x="386" y="194"/>
                      </a:lnTo>
                      <a:lnTo>
                        <a:pt x="382" y="194"/>
                      </a:lnTo>
                      <a:lnTo>
                        <a:pt x="382" y="190"/>
                      </a:lnTo>
                      <a:lnTo>
                        <a:pt x="382" y="186"/>
                      </a:lnTo>
                      <a:lnTo>
                        <a:pt x="382" y="182"/>
                      </a:lnTo>
                      <a:lnTo>
                        <a:pt x="386" y="182"/>
                      </a:lnTo>
                      <a:lnTo>
                        <a:pt x="390" y="182"/>
                      </a:lnTo>
                      <a:lnTo>
                        <a:pt x="390" y="182"/>
                      </a:lnTo>
                      <a:lnTo>
                        <a:pt x="390" y="182"/>
                      </a:lnTo>
                      <a:close/>
                      <a:moveTo>
                        <a:pt x="378" y="190"/>
                      </a:moveTo>
                      <a:lnTo>
                        <a:pt x="378" y="194"/>
                      </a:lnTo>
                      <a:lnTo>
                        <a:pt x="378" y="196"/>
                      </a:lnTo>
                      <a:lnTo>
                        <a:pt x="374" y="194"/>
                      </a:lnTo>
                      <a:lnTo>
                        <a:pt x="374" y="190"/>
                      </a:lnTo>
                      <a:lnTo>
                        <a:pt x="378" y="190"/>
                      </a:lnTo>
                      <a:lnTo>
                        <a:pt x="378" y="190"/>
                      </a:lnTo>
                      <a:lnTo>
                        <a:pt x="378" y="190"/>
                      </a:lnTo>
                      <a:close/>
                      <a:moveTo>
                        <a:pt x="104" y="196"/>
                      </a:moveTo>
                      <a:lnTo>
                        <a:pt x="100" y="196"/>
                      </a:lnTo>
                      <a:lnTo>
                        <a:pt x="96" y="194"/>
                      </a:lnTo>
                      <a:lnTo>
                        <a:pt x="100" y="194"/>
                      </a:lnTo>
                      <a:lnTo>
                        <a:pt x="104" y="194"/>
                      </a:lnTo>
                      <a:lnTo>
                        <a:pt x="104" y="196"/>
                      </a:lnTo>
                      <a:lnTo>
                        <a:pt x="104" y="196"/>
                      </a:lnTo>
                      <a:lnTo>
                        <a:pt x="104" y="196"/>
                      </a:lnTo>
                      <a:close/>
                      <a:moveTo>
                        <a:pt x="554" y="194"/>
                      </a:moveTo>
                      <a:lnTo>
                        <a:pt x="558" y="194"/>
                      </a:lnTo>
                      <a:lnTo>
                        <a:pt x="558" y="196"/>
                      </a:lnTo>
                      <a:lnTo>
                        <a:pt x="558" y="200"/>
                      </a:lnTo>
                      <a:lnTo>
                        <a:pt x="558" y="204"/>
                      </a:lnTo>
                      <a:lnTo>
                        <a:pt x="554" y="204"/>
                      </a:lnTo>
                      <a:lnTo>
                        <a:pt x="554" y="200"/>
                      </a:lnTo>
                      <a:lnTo>
                        <a:pt x="550" y="200"/>
                      </a:lnTo>
                      <a:lnTo>
                        <a:pt x="554" y="200"/>
                      </a:lnTo>
                      <a:lnTo>
                        <a:pt x="554" y="196"/>
                      </a:lnTo>
                      <a:lnTo>
                        <a:pt x="554" y="194"/>
                      </a:lnTo>
                      <a:lnTo>
                        <a:pt x="554" y="194"/>
                      </a:lnTo>
                      <a:lnTo>
                        <a:pt x="554" y="194"/>
                      </a:lnTo>
                      <a:close/>
                      <a:moveTo>
                        <a:pt x="248" y="200"/>
                      </a:moveTo>
                      <a:lnTo>
                        <a:pt x="246" y="200"/>
                      </a:lnTo>
                      <a:lnTo>
                        <a:pt x="248" y="200"/>
                      </a:lnTo>
                      <a:lnTo>
                        <a:pt x="248" y="200"/>
                      </a:lnTo>
                      <a:lnTo>
                        <a:pt x="248" y="200"/>
                      </a:lnTo>
                      <a:close/>
                      <a:moveTo>
                        <a:pt x="358" y="200"/>
                      </a:moveTo>
                      <a:lnTo>
                        <a:pt x="358" y="204"/>
                      </a:lnTo>
                      <a:lnTo>
                        <a:pt x="360" y="204"/>
                      </a:lnTo>
                      <a:lnTo>
                        <a:pt x="358" y="208"/>
                      </a:lnTo>
                      <a:lnTo>
                        <a:pt x="358" y="212"/>
                      </a:lnTo>
                      <a:lnTo>
                        <a:pt x="358" y="208"/>
                      </a:lnTo>
                      <a:lnTo>
                        <a:pt x="358" y="204"/>
                      </a:lnTo>
                      <a:lnTo>
                        <a:pt x="358" y="200"/>
                      </a:lnTo>
                      <a:lnTo>
                        <a:pt x="358" y="200"/>
                      </a:lnTo>
                      <a:lnTo>
                        <a:pt x="358" y="200"/>
                      </a:lnTo>
                      <a:close/>
                      <a:moveTo>
                        <a:pt x="212" y="238"/>
                      </a:moveTo>
                      <a:lnTo>
                        <a:pt x="208" y="238"/>
                      </a:lnTo>
                      <a:lnTo>
                        <a:pt x="204" y="234"/>
                      </a:lnTo>
                      <a:lnTo>
                        <a:pt x="200" y="234"/>
                      </a:lnTo>
                      <a:lnTo>
                        <a:pt x="196" y="234"/>
                      </a:lnTo>
                      <a:lnTo>
                        <a:pt x="192" y="234"/>
                      </a:lnTo>
                      <a:lnTo>
                        <a:pt x="190" y="234"/>
                      </a:lnTo>
                      <a:lnTo>
                        <a:pt x="186" y="234"/>
                      </a:lnTo>
                      <a:lnTo>
                        <a:pt x="182" y="234"/>
                      </a:lnTo>
                      <a:lnTo>
                        <a:pt x="178" y="234"/>
                      </a:lnTo>
                      <a:lnTo>
                        <a:pt x="178" y="230"/>
                      </a:lnTo>
                      <a:lnTo>
                        <a:pt x="174" y="230"/>
                      </a:lnTo>
                      <a:lnTo>
                        <a:pt x="170" y="230"/>
                      </a:lnTo>
                      <a:lnTo>
                        <a:pt x="166" y="230"/>
                      </a:lnTo>
                      <a:lnTo>
                        <a:pt x="164" y="230"/>
                      </a:lnTo>
                      <a:lnTo>
                        <a:pt x="160" y="230"/>
                      </a:lnTo>
                      <a:lnTo>
                        <a:pt x="160" y="226"/>
                      </a:lnTo>
                      <a:lnTo>
                        <a:pt x="160" y="222"/>
                      </a:lnTo>
                      <a:lnTo>
                        <a:pt x="160" y="220"/>
                      </a:lnTo>
                      <a:lnTo>
                        <a:pt x="160" y="222"/>
                      </a:lnTo>
                      <a:lnTo>
                        <a:pt x="156" y="222"/>
                      </a:lnTo>
                      <a:lnTo>
                        <a:pt x="156" y="220"/>
                      </a:lnTo>
                      <a:lnTo>
                        <a:pt x="152" y="220"/>
                      </a:lnTo>
                      <a:lnTo>
                        <a:pt x="148" y="220"/>
                      </a:lnTo>
                      <a:lnTo>
                        <a:pt x="144" y="220"/>
                      </a:lnTo>
                      <a:lnTo>
                        <a:pt x="140" y="220"/>
                      </a:lnTo>
                      <a:lnTo>
                        <a:pt x="144" y="220"/>
                      </a:lnTo>
                      <a:lnTo>
                        <a:pt x="144" y="216"/>
                      </a:lnTo>
                      <a:lnTo>
                        <a:pt x="144" y="220"/>
                      </a:lnTo>
                      <a:lnTo>
                        <a:pt x="148" y="216"/>
                      </a:lnTo>
                      <a:lnTo>
                        <a:pt x="148" y="212"/>
                      </a:lnTo>
                      <a:lnTo>
                        <a:pt x="152" y="212"/>
                      </a:lnTo>
                      <a:lnTo>
                        <a:pt x="152" y="208"/>
                      </a:lnTo>
                      <a:lnTo>
                        <a:pt x="152" y="204"/>
                      </a:lnTo>
                      <a:lnTo>
                        <a:pt x="152" y="200"/>
                      </a:lnTo>
                      <a:lnTo>
                        <a:pt x="156" y="200"/>
                      </a:lnTo>
                      <a:lnTo>
                        <a:pt x="156" y="204"/>
                      </a:lnTo>
                      <a:lnTo>
                        <a:pt x="160" y="204"/>
                      </a:lnTo>
                      <a:lnTo>
                        <a:pt x="164" y="204"/>
                      </a:lnTo>
                      <a:lnTo>
                        <a:pt x="166" y="204"/>
                      </a:lnTo>
                      <a:lnTo>
                        <a:pt x="170" y="204"/>
                      </a:lnTo>
                      <a:lnTo>
                        <a:pt x="174" y="204"/>
                      </a:lnTo>
                      <a:lnTo>
                        <a:pt x="174" y="208"/>
                      </a:lnTo>
                      <a:lnTo>
                        <a:pt x="178" y="208"/>
                      </a:lnTo>
                      <a:lnTo>
                        <a:pt x="182" y="212"/>
                      </a:lnTo>
                      <a:lnTo>
                        <a:pt x="186" y="212"/>
                      </a:lnTo>
                      <a:lnTo>
                        <a:pt x="186" y="208"/>
                      </a:lnTo>
                      <a:lnTo>
                        <a:pt x="186" y="212"/>
                      </a:lnTo>
                      <a:lnTo>
                        <a:pt x="190" y="212"/>
                      </a:lnTo>
                      <a:lnTo>
                        <a:pt x="190" y="216"/>
                      </a:lnTo>
                      <a:lnTo>
                        <a:pt x="190" y="220"/>
                      </a:lnTo>
                      <a:lnTo>
                        <a:pt x="192" y="220"/>
                      </a:lnTo>
                      <a:lnTo>
                        <a:pt x="196" y="220"/>
                      </a:lnTo>
                      <a:lnTo>
                        <a:pt x="200" y="220"/>
                      </a:lnTo>
                      <a:lnTo>
                        <a:pt x="204" y="220"/>
                      </a:lnTo>
                      <a:lnTo>
                        <a:pt x="208" y="220"/>
                      </a:lnTo>
                      <a:lnTo>
                        <a:pt x="212" y="220"/>
                      </a:lnTo>
                      <a:lnTo>
                        <a:pt x="216" y="220"/>
                      </a:lnTo>
                      <a:lnTo>
                        <a:pt x="216" y="222"/>
                      </a:lnTo>
                      <a:lnTo>
                        <a:pt x="216" y="220"/>
                      </a:lnTo>
                      <a:lnTo>
                        <a:pt x="220" y="220"/>
                      </a:lnTo>
                      <a:lnTo>
                        <a:pt x="220" y="216"/>
                      </a:lnTo>
                      <a:lnTo>
                        <a:pt x="220" y="212"/>
                      </a:lnTo>
                      <a:lnTo>
                        <a:pt x="222" y="212"/>
                      </a:lnTo>
                      <a:lnTo>
                        <a:pt x="226" y="216"/>
                      </a:lnTo>
                      <a:lnTo>
                        <a:pt x="230" y="216"/>
                      </a:lnTo>
                      <a:lnTo>
                        <a:pt x="234" y="216"/>
                      </a:lnTo>
                      <a:lnTo>
                        <a:pt x="234" y="220"/>
                      </a:lnTo>
                      <a:lnTo>
                        <a:pt x="238" y="220"/>
                      </a:lnTo>
                      <a:lnTo>
                        <a:pt x="242" y="220"/>
                      </a:lnTo>
                      <a:lnTo>
                        <a:pt x="246" y="220"/>
                      </a:lnTo>
                      <a:lnTo>
                        <a:pt x="246" y="222"/>
                      </a:lnTo>
                      <a:lnTo>
                        <a:pt x="248" y="222"/>
                      </a:lnTo>
                      <a:lnTo>
                        <a:pt x="248" y="226"/>
                      </a:lnTo>
                      <a:lnTo>
                        <a:pt x="246" y="222"/>
                      </a:lnTo>
                      <a:lnTo>
                        <a:pt x="246" y="226"/>
                      </a:lnTo>
                      <a:lnTo>
                        <a:pt x="248" y="226"/>
                      </a:lnTo>
                      <a:lnTo>
                        <a:pt x="248" y="230"/>
                      </a:lnTo>
                      <a:lnTo>
                        <a:pt x="252" y="234"/>
                      </a:lnTo>
                      <a:lnTo>
                        <a:pt x="256" y="234"/>
                      </a:lnTo>
                      <a:lnTo>
                        <a:pt x="260" y="234"/>
                      </a:lnTo>
                      <a:lnTo>
                        <a:pt x="264" y="234"/>
                      </a:lnTo>
                      <a:lnTo>
                        <a:pt x="268" y="234"/>
                      </a:lnTo>
                      <a:lnTo>
                        <a:pt x="268" y="230"/>
                      </a:lnTo>
                      <a:lnTo>
                        <a:pt x="268" y="234"/>
                      </a:lnTo>
                      <a:lnTo>
                        <a:pt x="272" y="234"/>
                      </a:lnTo>
                      <a:lnTo>
                        <a:pt x="272" y="238"/>
                      </a:lnTo>
                      <a:lnTo>
                        <a:pt x="272" y="242"/>
                      </a:lnTo>
                      <a:lnTo>
                        <a:pt x="272" y="246"/>
                      </a:lnTo>
                      <a:lnTo>
                        <a:pt x="272" y="250"/>
                      </a:lnTo>
                      <a:lnTo>
                        <a:pt x="276" y="250"/>
                      </a:lnTo>
                      <a:lnTo>
                        <a:pt x="276" y="252"/>
                      </a:lnTo>
                      <a:lnTo>
                        <a:pt x="272" y="252"/>
                      </a:lnTo>
                      <a:lnTo>
                        <a:pt x="272" y="250"/>
                      </a:lnTo>
                      <a:lnTo>
                        <a:pt x="268" y="250"/>
                      </a:lnTo>
                      <a:lnTo>
                        <a:pt x="264" y="250"/>
                      </a:lnTo>
                      <a:lnTo>
                        <a:pt x="260" y="246"/>
                      </a:lnTo>
                      <a:lnTo>
                        <a:pt x="256" y="246"/>
                      </a:lnTo>
                      <a:lnTo>
                        <a:pt x="256" y="242"/>
                      </a:lnTo>
                      <a:lnTo>
                        <a:pt x="252" y="242"/>
                      </a:lnTo>
                      <a:lnTo>
                        <a:pt x="252" y="246"/>
                      </a:lnTo>
                      <a:lnTo>
                        <a:pt x="248" y="246"/>
                      </a:lnTo>
                      <a:lnTo>
                        <a:pt x="246" y="246"/>
                      </a:lnTo>
                      <a:lnTo>
                        <a:pt x="242" y="246"/>
                      </a:lnTo>
                      <a:lnTo>
                        <a:pt x="238" y="246"/>
                      </a:lnTo>
                      <a:lnTo>
                        <a:pt x="234" y="242"/>
                      </a:lnTo>
                      <a:lnTo>
                        <a:pt x="234" y="246"/>
                      </a:lnTo>
                      <a:lnTo>
                        <a:pt x="230" y="246"/>
                      </a:lnTo>
                      <a:lnTo>
                        <a:pt x="230" y="242"/>
                      </a:lnTo>
                      <a:lnTo>
                        <a:pt x="226" y="242"/>
                      </a:lnTo>
                      <a:lnTo>
                        <a:pt x="222" y="242"/>
                      </a:lnTo>
                      <a:lnTo>
                        <a:pt x="220" y="242"/>
                      </a:lnTo>
                      <a:lnTo>
                        <a:pt x="216" y="242"/>
                      </a:lnTo>
                      <a:lnTo>
                        <a:pt x="212" y="238"/>
                      </a:lnTo>
                      <a:lnTo>
                        <a:pt x="212" y="238"/>
                      </a:lnTo>
                      <a:lnTo>
                        <a:pt x="212" y="238"/>
                      </a:lnTo>
                      <a:close/>
                      <a:moveTo>
                        <a:pt x="554" y="204"/>
                      </a:moveTo>
                      <a:lnTo>
                        <a:pt x="558" y="204"/>
                      </a:lnTo>
                      <a:lnTo>
                        <a:pt x="558" y="208"/>
                      </a:lnTo>
                      <a:lnTo>
                        <a:pt x="558" y="212"/>
                      </a:lnTo>
                      <a:lnTo>
                        <a:pt x="554" y="208"/>
                      </a:lnTo>
                      <a:lnTo>
                        <a:pt x="554" y="204"/>
                      </a:lnTo>
                      <a:lnTo>
                        <a:pt x="554" y="204"/>
                      </a:lnTo>
                      <a:lnTo>
                        <a:pt x="554" y="204"/>
                      </a:lnTo>
                      <a:close/>
                      <a:moveTo>
                        <a:pt x="550" y="208"/>
                      </a:moveTo>
                      <a:lnTo>
                        <a:pt x="554" y="208"/>
                      </a:lnTo>
                      <a:lnTo>
                        <a:pt x="554" y="212"/>
                      </a:lnTo>
                      <a:lnTo>
                        <a:pt x="554" y="216"/>
                      </a:lnTo>
                      <a:lnTo>
                        <a:pt x="554" y="220"/>
                      </a:lnTo>
                      <a:lnTo>
                        <a:pt x="550" y="220"/>
                      </a:lnTo>
                      <a:lnTo>
                        <a:pt x="550" y="212"/>
                      </a:lnTo>
                      <a:lnTo>
                        <a:pt x="550" y="208"/>
                      </a:lnTo>
                      <a:lnTo>
                        <a:pt x="550" y="208"/>
                      </a:lnTo>
                      <a:lnTo>
                        <a:pt x="550" y="208"/>
                      </a:lnTo>
                      <a:close/>
                      <a:moveTo>
                        <a:pt x="140" y="212"/>
                      </a:moveTo>
                      <a:lnTo>
                        <a:pt x="140" y="216"/>
                      </a:lnTo>
                      <a:lnTo>
                        <a:pt x="140" y="212"/>
                      </a:lnTo>
                      <a:lnTo>
                        <a:pt x="140" y="212"/>
                      </a:lnTo>
                      <a:lnTo>
                        <a:pt x="140" y="212"/>
                      </a:lnTo>
                      <a:close/>
                      <a:moveTo>
                        <a:pt x="286" y="220"/>
                      </a:moveTo>
                      <a:lnTo>
                        <a:pt x="290" y="220"/>
                      </a:lnTo>
                      <a:lnTo>
                        <a:pt x="286" y="220"/>
                      </a:lnTo>
                      <a:lnTo>
                        <a:pt x="286" y="222"/>
                      </a:lnTo>
                      <a:lnTo>
                        <a:pt x="282" y="222"/>
                      </a:lnTo>
                      <a:lnTo>
                        <a:pt x="282" y="220"/>
                      </a:lnTo>
                      <a:lnTo>
                        <a:pt x="286" y="220"/>
                      </a:lnTo>
                      <a:lnTo>
                        <a:pt x="286" y="220"/>
                      </a:lnTo>
                      <a:lnTo>
                        <a:pt x="286" y="220"/>
                      </a:lnTo>
                      <a:close/>
                      <a:moveTo>
                        <a:pt x="252" y="220"/>
                      </a:moveTo>
                      <a:lnTo>
                        <a:pt x="256" y="220"/>
                      </a:lnTo>
                      <a:lnTo>
                        <a:pt x="260" y="220"/>
                      </a:lnTo>
                      <a:lnTo>
                        <a:pt x="264" y="220"/>
                      </a:lnTo>
                      <a:lnTo>
                        <a:pt x="268" y="220"/>
                      </a:lnTo>
                      <a:lnTo>
                        <a:pt x="268" y="222"/>
                      </a:lnTo>
                      <a:lnTo>
                        <a:pt x="264" y="222"/>
                      </a:lnTo>
                      <a:lnTo>
                        <a:pt x="260" y="222"/>
                      </a:lnTo>
                      <a:lnTo>
                        <a:pt x="260" y="226"/>
                      </a:lnTo>
                      <a:lnTo>
                        <a:pt x="256" y="226"/>
                      </a:lnTo>
                      <a:lnTo>
                        <a:pt x="252" y="226"/>
                      </a:lnTo>
                      <a:lnTo>
                        <a:pt x="252" y="222"/>
                      </a:lnTo>
                      <a:lnTo>
                        <a:pt x="252" y="226"/>
                      </a:lnTo>
                      <a:lnTo>
                        <a:pt x="248" y="222"/>
                      </a:lnTo>
                      <a:lnTo>
                        <a:pt x="248" y="220"/>
                      </a:lnTo>
                      <a:lnTo>
                        <a:pt x="252" y="220"/>
                      </a:lnTo>
                      <a:lnTo>
                        <a:pt x="252" y="220"/>
                      </a:lnTo>
                      <a:lnTo>
                        <a:pt x="252" y="220"/>
                      </a:lnTo>
                      <a:close/>
                      <a:moveTo>
                        <a:pt x="516" y="222"/>
                      </a:moveTo>
                      <a:lnTo>
                        <a:pt x="516" y="226"/>
                      </a:lnTo>
                      <a:lnTo>
                        <a:pt x="516" y="230"/>
                      </a:lnTo>
                      <a:lnTo>
                        <a:pt x="514" y="234"/>
                      </a:lnTo>
                      <a:lnTo>
                        <a:pt x="514" y="238"/>
                      </a:lnTo>
                      <a:lnTo>
                        <a:pt x="510" y="238"/>
                      </a:lnTo>
                      <a:lnTo>
                        <a:pt x="506" y="238"/>
                      </a:lnTo>
                      <a:lnTo>
                        <a:pt x="510" y="234"/>
                      </a:lnTo>
                      <a:lnTo>
                        <a:pt x="510" y="230"/>
                      </a:lnTo>
                      <a:lnTo>
                        <a:pt x="514" y="226"/>
                      </a:lnTo>
                      <a:lnTo>
                        <a:pt x="514" y="222"/>
                      </a:lnTo>
                      <a:lnTo>
                        <a:pt x="516" y="222"/>
                      </a:lnTo>
                      <a:lnTo>
                        <a:pt x="516" y="222"/>
                      </a:lnTo>
                      <a:lnTo>
                        <a:pt x="516" y="222"/>
                      </a:lnTo>
                      <a:close/>
                      <a:moveTo>
                        <a:pt x="614" y="226"/>
                      </a:moveTo>
                      <a:lnTo>
                        <a:pt x="618" y="226"/>
                      </a:lnTo>
                      <a:lnTo>
                        <a:pt x="618" y="230"/>
                      </a:lnTo>
                      <a:lnTo>
                        <a:pt x="622" y="230"/>
                      </a:lnTo>
                      <a:lnTo>
                        <a:pt x="618" y="234"/>
                      </a:lnTo>
                      <a:lnTo>
                        <a:pt x="618" y="238"/>
                      </a:lnTo>
                      <a:lnTo>
                        <a:pt x="618" y="242"/>
                      </a:lnTo>
                      <a:lnTo>
                        <a:pt x="614" y="242"/>
                      </a:lnTo>
                      <a:lnTo>
                        <a:pt x="610" y="246"/>
                      </a:lnTo>
                      <a:lnTo>
                        <a:pt x="606" y="246"/>
                      </a:lnTo>
                      <a:lnTo>
                        <a:pt x="602" y="246"/>
                      </a:lnTo>
                      <a:lnTo>
                        <a:pt x="600" y="246"/>
                      </a:lnTo>
                      <a:lnTo>
                        <a:pt x="602" y="242"/>
                      </a:lnTo>
                      <a:lnTo>
                        <a:pt x="602" y="238"/>
                      </a:lnTo>
                      <a:lnTo>
                        <a:pt x="602" y="234"/>
                      </a:lnTo>
                      <a:lnTo>
                        <a:pt x="606" y="230"/>
                      </a:lnTo>
                      <a:lnTo>
                        <a:pt x="610" y="230"/>
                      </a:lnTo>
                      <a:lnTo>
                        <a:pt x="610" y="226"/>
                      </a:lnTo>
                      <a:lnTo>
                        <a:pt x="614" y="226"/>
                      </a:lnTo>
                      <a:lnTo>
                        <a:pt x="614" y="226"/>
                      </a:lnTo>
                      <a:lnTo>
                        <a:pt x="614" y="226"/>
                      </a:lnTo>
                      <a:close/>
                      <a:moveTo>
                        <a:pt x="488" y="234"/>
                      </a:moveTo>
                      <a:lnTo>
                        <a:pt x="490" y="234"/>
                      </a:lnTo>
                      <a:lnTo>
                        <a:pt x="490" y="238"/>
                      </a:lnTo>
                      <a:lnTo>
                        <a:pt x="488" y="238"/>
                      </a:lnTo>
                      <a:lnTo>
                        <a:pt x="488" y="234"/>
                      </a:lnTo>
                      <a:lnTo>
                        <a:pt x="488" y="234"/>
                      </a:lnTo>
                      <a:lnTo>
                        <a:pt x="488" y="234"/>
                      </a:lnTo>
                      <a:close/>
                      <a:moveTo>
                        <a:pt x="272" y="242"/>
                      </a:moveTo>
                      <a:lnTo>
                        <a:pt x="276" y="242"/>
                      </a:lnTo>
                      <a:lnTo>
                        <a:pt x="278" y="242"/>
                      </a:lnTo>
                      <a:lnTo>
                        <a:pt x="282" y="242"/>
                      </a:lnTo>
                      <a:lnTo>
                        <a:pt x="282" y="238"/>
                      </a:lnTo>
                      <a:lnTo>
                        <a:pt x="286" y="242"/>
                      </a:lnTo>
                      <a:lnTo>
                        <a:pt x="290" y="242"/>
                      </a:lnTo>
                      <a:lnTo>
                        <a:pt x="290" y="246"/>
                      </a:lnTo>
                      <a:lnTo>
                        <a:pt x="286" y="250"/>
                      </a:lnTo>
                      <a:lnTo>
                        <a:pt x="282" y="250"/>
                      </a:lnTo>
                      <a:lnTo>
                        <a:pt x="282" y="252"/>
                      </a:lnTo>
                      <a:lnTo>
                        <a:pt x="282" y="250"/>
                      </a:lnTo>
                      <a:lnTo>
                        <a:pt x="278" y="246"/>
                      </a:lnTo>
                      <a:lnTo>
                        <a:pt x="276" y="246"/>
                      </a:lnTo>
                      <a:lnTo>
                        <a:pt x="276" y="242"/>
                      </a:lnTo>
                      <a:lnTo>
                        <a:pt x="272" y="242"/>
                      </a:lnTo>
                      <a:lnTo>
                        <a:pt x="272" y="242"/>
                      </a:lnTo>
                      <a:lnTo>
                        <a:pt x="272" y="242"/>
                      </a:lnTo>
                      <a:close/>
                      <a:moveTo>
                        <a:pt x="390" y="250"/>
                      </a:moveTo>
                      <a:lnTo>
                        <a:pt x="386" y="250"/>
                      </a:lnTo>
                      <a:lnTo>
                        <a:pt x="386" y="252"/>
                      </a:lnTo>
                      <a:lnTo>
                        <a:pt x="382" y="252"/>
                      </a:lnTo>
                      <a:lnTo>
                        <a:pt x="378" y="252"/>
                      </a:lnTo>
                      <a:lnTo>
                        <a:pt x="374" y="252"/>
                      </a:lnTo>
                      <a:lnTo>
                        <a:pt x="372" y="252"/>
                      </a:lnTo>
                      <a:lnTo>
                        <a:pt x="368" y="252"/>
                      </a:lnTo>
                      <a:lnTo>
                        <a:pt x="364" y="256"/>
                      </a:lnTo>
                      <a:lnTo>
                        <a:pt x="364" y="252"/>
                      </a:lnTo>
                      <a:lnTo>
                        <a:pt x="360" y="252"/>
                      </a:lnTo>
                      <a:lnTo>
                        <a:pt x="358" y="252"/>
                      </a:lnTo>
                      <a:lnTo>
                        <a:pt x="354" y="252"/>
                      </a:lnTo>
                      <a:lnTo>
                        <a:pt x="350" y="252"/>
                      </a:lnTo>
                      <a:lnTo>
                        <a:pt x="350" y="250"/>
                      </a:lnTo>
                      <a:lnTo>
                        <a:pt x="350" y="246"/>
                      </a:lnTo>
                      <a:lnTo>
                        <a:pt x="354" y="246"/>
                      </a:lnTo>
                      <a:lnTo>
                        <a:pt x="354" y="242"/>
                      </a:lnTo>
                      <a:lnTo>
                        <a:pt x="358" y="242"/>
                      </a:lnTo>
                      <a:lnTo>
                        <a:pt x="360" y="246"/>
                      </a:lnTo>
                      <a:lnTo>
                        <a:pt x="364" y="246"/>
                      </a:lnTo>
                      <a:lnTo>
                        <a:pt x="368" y="246"/>
                      </a:lnTo>
                      <a:lnTo>
                        <a:pt x="368" y="250"/>
                      </a:lnTo>
                      <a:lnTo>
                        <a:pt x="372" y="250"/>
                      </a:lnTo>
                      <a:lnTo>
                        <a:pt x="374" y="246"/>
                      </a:lnTo>
                      <a:lnTo>
                        <a:pt x="378" y="246"/>
                      </a:lnTo>
                      <a:lnTo>
                        <a:pt x="378" y="250"/>
                      </a:lnTo>
                      <a:lnTo>
                        <a:pt x="382" y="250"/>
                      </a:lnTo>
                      <a:lnTo>
                        <a:pt x="386" y="250"/>
                      </a:lnTo>
                      <a:lnTo>
                        <a:pt x="386" y="246"/>
                      </a:lnTo>
                      <a:lnTo>
                        <a:pt x="390" y="246"/>
                      </a:lnTo>
                      <a:lnTo>
                        <a:pt x="394" y="242"/>
                      </a:lnTo>
                      <a:lnTo>
                        <a:pt x="390" y="242"/>
                      </a:lnTo>
                      <a:lnTo>
                        <a:pt x="394" y="242"/>
                      </a:lnTo>
                      <a:lnTo>
                        <a:pt x="394" y="246"/>
                      </a:lnTo>
                      <a:lnTo>
                        <a:pt x="390" y="246"/>
                      </a:lnTo>
                      <a:lnTo>
                        <a:pt x="390" y="250"/>
                      </a:lnTo>
                      <a:lnTo>
                        <a:pt x="390" y="250"/>
                      </a:lnTo>
                      <a:lnTo>
                        <a:pt x="390" y="250"/>
                      </a:lnTo>
                      <a:close/>
                      <a:moveTo>
                        <a:pt x="338" y="250"/>
                      </a:moveTo>
                      <a:lnTo>
                        <a:pt x="338" y="252"/>
                      </a:lnTo>
                      <a:lnTo>
                        <a:pt x="334" y="252"/>
                      </a:lnTo>
                      <a:lnTo>
                        <a:pt x="334" y="250"/>
                      </a:lnTo>
                      <a:lnTo>
                        <a:pt x="332" y="252"/>
                      </a:lnTo>
                      <a:lnTo>
                        <a:pt x="334" y="252"/>
                      </a:lnTo>
                      <a:lnTo>
                        <a:pt x="332" y="252"/>
                      </a:lnTo>
                      <a:lnTo>
                        <a:pt x="328" y="252"/>
                      </a:lnTo>
                      <a:lnTo>
                        <a:pt x="328" y="250"/>
                      </a:lnTo>
                      <a:lnTo>
                        <a:pt x="328" y="252"/>
                      </a:lnTo>
                      <a:lnTo>
                        <a:pt x="324" y="252"/>
                      </a:lnTo>
                      <a:lnTo>
                        <a:pt x="320" y="256"/>
                      </a:lnTo>
                      <a:lnTo>
                        <a:pt x="320" y="252"/>
                      </a:lnTo>
                      <a:lnTo>
                        <a:pt x="316" y="256"/>
                      </a:lnTo>
                      <a:lnTo>
                        <a:pt x="312" y="256"/>
                      </a:lnTo>
                      <a:lnTo>
                        <a:pt x="308" y="256"/>
                      </a:lnTo>
                      <a:lnTo>
                        <a:pt x="304" y="256"/>
                      </a:lnTo>
                      <a:lnTo>
                        <a:pt x="304" y="252"/>
                      </a:lnTo>
                      <a:lnTo>
                        <a:pt x="304" y="250"/>
                      </a:lnTo>
                      <a:lnTo>
                        <a:pt x="308" y="250"/>
                      </a:lnTo>
                      <a:lnTo>
                        <a:pt x="308" y="246"/>
                      </a:lnTo>
                      <a:lnTo>
                        <a:pt x="312" y="246"/>
                      </a:lnTo>
                      <a:lnTo>
                        <a:pt x="316" y="246"/>
                      </a:lnTo>
                      <a:lnTo>
                        <a:pt x="316" y="250"/>
                      </a:lnTo>
                      <a:lnTo>
                        <a:pt x="320" y="250"/>
                      </a:lnTo>
                      <a:lnTo>
                        <a:pt x="324" y="252"/>
                      </a:lnTo>
                      <a:lnTo>
                        <a:pt x="324" y="250"/>
                      </a:lnTo>
                      <a:lnTo>
                        <a:pt x="328" y="250"/>
                      </a:lnTo>
                      <a:lnTo>
                        <a:pt x="324" y="246"/>
                      </a:lnTo>
                      <a:lnTo>
                        <a:pt x="320" y="246"/>
                      </a:lnTo>
                      <a:lnTo>
                        <a:pt x="320" y="242"/>
                      </a:lnTo>
                      <a:lnTo>
                        <a:pt x="324" y="242"/>
                      </a:lnTo>
                      <a:lnTo>
                        <a:pt x="328" y="242"/>
                      </a:lnTo>
                      <a:lnTo>
                        <a:pt x="328" y="246"/>
                      </a:lnTo>
                      <a:lnTo>
                        <a:pt x="328" y="242"/>
                      </a:lnTo>
                      <a:lnTo>
                        <a:pt x="332" y="242"/>
                      </a:lnTo>
                      <a:lnTo>
                        <a:pt x="332" y="246"/>
                      </a:lnTo>
                      <a:lnTo>
                        <a:pt x="332" y="250"/>
                      </a:lnTo>
                      <a:lnTo>
                        <a:pt x="332" y="246"/>
                      </a:lnTo>
                      <a:lnTo>
                        <a:pt x="334" y="246"/>
                      </a:lnTo>
                      <a:lnTo>
                        <a:pt x="338" y="246"/>
                      </a:lnTo>
                      <a:lnTo>
                        <a:pt x="338" y="250"/>
                      </a:lnTo>
                      <a:lnTo>
                        <a:pt x="338" y="250"/>
                      </a:lnTo>
                      <a:lnTo>
                        <a:pt x="338" y="250"/>
                      </a:lnTo>
                      <a:close/>
                      <a:moveTo>
                        <a:pt x="460" y="242"/>
                      </a:moveTo>
                      <a:lnTo>
                        <a:pt x="464" y="242"/>
                      </a:lnTo>
                      <a:lnTo>
                        <a:pt x="460" y="242"/>
                      </a:lnTo>
                      <a:lnTo>
                        <a:pt x="460" y="242"/>
                      </a:lnTo>
                      <a:lnTo>
                        <a:pt x="460" y="242"/>
                      </a:lnTo>
                      <a:close/>
                      <a:moveTo>
                        <a:pt x="316" y="246"/>
                      </a:moveTo>
                      <a:lnTo>
                        <a:pt x="316" y="242"/>
                      </a:lnTo>
                      <a:lnTo>
                        <a:pt x="320" y="242"/>
                      </a:lnTo>
                      <a:lnTo>
                        <a:pt x="316" y="242"/>
                      </a:lnTo>
                      <a:lnTo>
                        <a:pt x="316" y="246"/>
                      </a:lnTo>
                      <a:lnTo>
                        <a:pt x="316" y="246"/>
                      </a:lnTo>
                      <a:lnTo>
                        <a:pt x="316" y="246"/>
                      </a:lnTo>
                      <a:close/>
                      <a:moveTo>
                        <a:pt x="618" y="242"/>
                      </a:moveTo>
                      <a:lnTo>
                        <a:pt x="618" y="246"/>
                      </a:lnTo>
                      <a:lnTo>
                        <a:pt x="614" y="246"/>
                      </a:lnTo>
                      <a:lnTo>
                        <a:pt x="614" y="242"/>
                      </a:lnTo>
                      <a:lnTo>
                        <a:pt x="618" y="242"/>
                      </a:lnTo>
                      <a:lnTo>
                        <a:pt x="618" y="242"/>
                      </a:lnTo>
                      <a:lnTo>
                        <a:pt x="618" y="242"/>
                      </a:lnTo>
                      <a:close/>
                      <a:moveTo>
                        <a:pt x="476" y="242"/>
                      </a:moveTo>
                      <a:lnTo>
                        <a:pt x="480" y="242"/>
                      </a:lnTo>
                      <a:lnTo>
                        <a:pt x="476" y="242"/>
                      </a:lnTo>
                      <a:lnTo>
                        <a:pt x="476" y="242"/>
                      </a:lnTo>
                      <a:lnTo>
                        <a:pt x="476" y="242"/>
                      </a:lnTo>
                      <a:close/>
                      <a:moveTo>
                        <a:pt x="298" y="242"/>
                      </a:moveTo>
                      <a:lnTo>
                        <a:pt x="302" y="242"/>
                      </a:lnTo>
                      <a:lnTo>
                        <a:pt x="304" y="246"/>
                      </a:lnTo>
                      <a:lnTo>
                        <a:pt x="304" y="250"/>
                      </a:lnTo>
                      <a:lnTo>
                        <a:pt x="302" y="250"/>
                      </a:lnTo>
                      <a:lnTo>
                        <a:pt x="302" y="252"/>
                      </a:lnTo>
                      <a:lnTo>
                        <a:pt x="298" y="252"/>
                      </a:lnTo>
                      <a:lnTo>
                        <a:pt x="294" y="252"/>
                      </a:lnTo>
                      <a:lnTo>
                        <a:pt x="298" y="250"/>
                      </a:lnTo>
                      <a:lnTo>
                        <a:pt x="294" y="250"/>
                      </a:lnTo>
                      <a:lnTo>
                        <a:pt x="298" y="246"/>
                      </a:lnTo>
                      <a:lnTo>
                        <a:pt x="298" y="242"/>
                      </a:lnTo>
                      <a:lnTo>
                        <a:pt x="298" y="242"/>
                      </a:lnTo>
                      <a:lnTo>
                        <a:pt x="298" y="242"/>
                      </a:lnTo>
                      <a:close/>
                      <a:moveTo>
                        <a:pt x="394" y="246"/>
                      </a:moveTo>
                      <a:lnTo>
                        <a:pt x="394" y="242"/>
                      </a:lnTo>
                      <a:lnTo>
                        <a:pt x="398" y="242"/>
                      </a:lnTo>
                      <a:lnTo>
                        <a:pt x="398" y="246"/>
                      </a:lnTo>
                      <a:lnTo>
                        <a:pt x="394" y="246"/>
                      </a:lnTo>
                      <a:lnTo>
                        <a:pt x="394" y="246"/>
                      </a:lnTo>
                      <a:lnTo>
                        <a:pt x="394" y="246"/>
                      </a:lnTo>
                      <a:close/>
                      <a:moveTo>
                        <a:pt x="342" y="246"/>
                      </a:moveTo>
                      <a:lnTo>
                        <a:pt x="346" y="246"/>
                      </a:lnTo>
                      <a:lnTo>
                        <a:pt x="346" y="250"/>
                      </a:lnTo>
                      <a:lnTo>
                        <a:pt x="342" y="250"/>
                      </a:lnTo>
                      <a:lnTo>
                        <a:pt x="342" y="252"/>
                      </a:lnTo>
                      <a:lnTo>
                        <a:pt x="342" y="250"/>
                      </a:lnTo>
                      <a:lnTo>
                        <a:pt x="342" y="246"/>
                      </a:lnTo>
                      <a:lnTo>
                        <a:pt x="342" y="246"/>
                      </a:lnTo>
                      <a:lnTo>
                        <a:pt x="342" y="246"/>
                      </a:lnTo>
                      <a:close/>
                      <a:moveTo>
                        <a:pt x="390" y="250"/>
                      </a:moveTo>
                      <a:lnTo>
                        <a:pt x="394" y="246"/>
                      </a:lnTo>
                      <a:lnTo>
                        <a:pt x="394" y="250"/>
                      </a:lnTo>
                      <a:lnTo>
                        <a:pt x="390" y="250"/>
                      </a:lnTo>
                      <a:lnTo>
                        <a:pt x="390" y="250"/>
                      </a:lnTo>
                      <a:lnTo>
                        <a:pt x="390" y="250"/>
                      </a:lnTo>
                      <a:close/>
                      <a:moveTo>
                        <a:pt x="346" y="252"/>
                      </a:moveTo>
                      <a:lnTo>
                        <a:pt x="346" y="250"/>
                      </a:lnTo>
                      <a:lnTo>
                        <a:pt x="346" y="252"/>
                      </a:lnTo>
                      <a:lnTo>
                        <a:pt x="346" y="252"/>
                      </a:lnTo>
                      <a:lnTo>
                        <a:pt x="346" y="252"/>
                      </a:lnTo>
                      <a:close/>
                      <a:moveTo>
                        <a:pt x="338" y="268"/>
                      </a:moveTo>
                      <a:lnTo>
                        <a:pt x="334" y="264"/>
                      </a:lnTo>
                      <a:lnTo>
                        <a:pt x="338" y="264"/>
                      </a:lnTo>
                      <a:lnTo>
                        <a:pt x="342" y="260"/>
                      </a:lnTo>
                      <a:lnTo>
                        <a:pt x="342" y="264"/>
                      </a:lnTo>
                      <a:lnTo>
                        <a:pt x="346" y="260"/>
                      </a:lnTo>
                      <a:lnTo>
                        <a:pt x="346" y="264"/>
                      </a:lnTo>
                      <a:lnTo>
                        <a:pt x="350" y="264"/>
                      </a:lnTo>
                      <a:lnTo>
                        <a:pt x="350" y="260"/>
                      </a:lnTo>
                      <a:lnTo>
                        <a:pt x="350" y="264"/>
                      </a:lnTo>
                      <a:lnTo>
                        <a:pt x="354" y="264"/>
                      </a:lnTo>
                      <a:lnTo>
                        <a:pt x="354" y="268"/>
                      </a:lnTo>
                      <a:lnTo>
                        <a:pt x="358" y="268"/>
                      </a:lnTo>
                      <a:lnTo>
                        <a:pt x="360" y="268"/>
                      </a:lnTo>
                      <a:lnTo>
                        <a:pt x="360" y="272"/>
                      </a:lnTo>
                      <a:lnTo>
                        <a:pt x="364" y="272"/>
                      </a:lnTo>
                      <a:lnTo>
                        <a:pt x="364" y="276"/>
                      </a:lnTo>
                      <a:lnTo>
                        <a:pt x="360" y="276"/>
                      </a:lnTo>
                      <a:lnTo>
                        <a:pt x="360" y="280"/>
                      </a:lnTo>
                      <a:lnTo>
                        <a:pt x="358" y="280"/>
                      </a:lnTo>
                      <a:lnTo>
                        <a:pt x="354" y="280"/>
                      </a:lnTo>
                      <a:lnTo>
                        <a:pt x="354" y="276"/>
                      </a:lnTo>
                      <a:lnTo>
                        <a:pt x="350" y="276"/>
                      </a:lnTo>
                      <a:lnTo>
                        <a:pt x="350" y="272"/>
                      </a:lnTo>
                      <a:lnTo>
                        <a:pt x="346" y="272"/>
                      </a:lnTo>
                      <a:lnTo>
                        <a:pt x="346" y="268"/>
                      </a:lnTo>
                      <a:lnTo>
                        <a:pt x="342" y="268"/>
                      </a:lnTo>
                      <a:lnTo>
                        <a:pt x="338" y="268"/>
                      </a:lnTo>
                      <a:lnTo>
                        <a:pt x="338" y="268"/>
                      </a:lnTo>
                      <a:lnTo>
                        <a:pt x="338" y="268"/>
                      </a:lnTo>
                      <a:close/>
                      <a:moveTo>
                        <a:pt x="374" y="282"/>
                      </a:moveTo>
                      <a:lnTo>
                        <a:pt x="374" y="280"/>
                      </a:lnTo>
                      <a:lnTo>
                        <a:pt x="378" y="280"/>
                      </a:lnTo>
                      <a:lnTo>
                        <a:pt x="378" y="282"/>
                      </a:lnTo>
                      <a:lnTo>
                        <a:pt x="374" y="282"/>
                      </a:lnTo>
                      <a:lnTo>
                        <a:pt x="374" y="282"/>
                      </a:lnTo>
                      <a:lnTo>
                        <a:pt x="374" y="282"/>
                      </a:lnTo>
                      <a:close/>
                      <a:moveTo>
                        <a:pt x="390" y="286"/>
                      </a:moveTo>
                      <a:lnTo>
                        <a:pt x="394" y="286"/>
                      </a:lnTo>
                      <a:lnTo>
                        <a:pt x="394" y="282"/>
                      </a:lnTo>
                      <a:lnTo>
                        <a:pt x="398" y="282"/>
                      </a:lnTo>
                      <a:lnTo>
                        <a:pt x="398" y="280"/>
                      </a:lnTo>
                      <a:lnTo>
                        <a:pt x="398" y="282"/>
                      </a:lnTo>
                      <a:lnTo>
                        <a:pt x="398" y="286"/>
                      </a:lnTo>
                      <a:lnTo>
                        <a:pt x="394" y="286"/>
                      </a:lnTo>
                      <a:lnTo>
                        <a:pt x="394" y="290"/>
                      </a:lnTo>
                      <a:lnTo>
                        <a:pt x="390" y="290"/>
                      </a:lnTo>
                      <a:lnTo>
                        <a:pt x="390" y="286"/>
                      </a:lnTo>
                      <a:lnTo>
                        <a:pt x="390" y="286"/>
                      </a:lnTo>
                      <a:lnTo>
                        <a:pt x="390" y="286"/>
                      </a:lnTo>
                      <a:close/>
                      <a:moveTo>
                        <a:pt x="434" y="234"/>
                      </a:moveTo>
                      <a:lnTo>
                        <a:pt x="438" y="234"/>
                      </a:lnTo>
                      <a:lnTo>
                        <a:pt x="442" y="234"/>
                      </a:lnTo>
                      <a:lnTo>
                        <a:pt x="442" y="230"/>
                      </a:lnTo>
                      <a:lnTo>
                        <a:pt x="446" y="230"/>
                      </a:lnTo>
                      <a:lnTo>
                        <a:pt x="446" y="234"/>
                      </a:lnTo>
                      <a:lnTo>
                        <a:pt x="442" y="234"/>
                      </a:lnTo>
                      <a:lnTo>
                        <a:pt x="442" y="238"/>
                      </a:lnTo>
                      <a:lnTo>
                        <a:pt x="438" y="238"/>
                      </a:lnTo>
                      <a:lnTo>
                        <a:pt x="434" y="238"/>
                      </a:lnTo>
                      <a:lnTo>
                        <a:pt x="430" y="238"/>
                      </a:lnTo>
                      <a:lnTo>
                        <a:pt x="434" y="234"/>
                      </a:lnTo>
                      <a:lnTo>
                        <a:pt x="434" y="234"/>
                      </a:lnTo>
                      <a:lnTo>
                        <a:pt x="434" y="234"/>
                      </a:lnTo>
                      <a:close/>
                      <a:moveTo>
                        <a:pt x="412" y="242"/>
                      </a:moveTo>
                      <a:lnTo>
                        <a:pt x="416" y="242"/>
                      </a:lnTo>
                      <a:lnTo>
                        <a:pt x="420" y="242"/>
                      </a:lnTo>
                      <a:lnTo>
                        <a:pt x="424" y="242"/>
                      </a:lnTo>
                      <a:lnTo>
                        <a:pt x="424" y="246"/>
                      </a:lnTo>
                      <a:lnTo>
                        <a:pt x="420" y="246"/>
                      </a:lnTo>
                      <a:lnTo>
                        <a:pt x="416" y="246"/>
                      </a:lnTo>
                      <a:lnTo>
                        <a:pt x="412" y="246"/>
                      </a:lnTo>
                      <a:lnTo>
                        <a:pt x="412" y="242"/>
                      </a:lnTo>
                      <a:lnTo>
                        <a:pt x="412" y="242"/>
                      </a:lnTo>
                      <a:lnTo>
                        <a:pt x="412" y="242"/>
                      </a:lnTo>
                      <a:close/>
                      <a:moveTo>
                        <a:pt x="404" y="246"/>
                      </a:moveTo>
                      <a:lnTo>
                        <a:pt x="408" y="246"/>
                      </a:lnTo>
                      <a:lnTo>
                        <a:pt x="408" y="242"/>
                      </a:lnTo>
                      <a:lnTo>
                        <a:pt x="412" y="242"/>
                      </a:lnTo>
                      <a:lnTo>
                        <a:pt x="412" y="246"/>
                      </a:lnTo>
                      <a:lnTo>
                        <a:pt x="408" y="246"/>
                      </a:lnTo>
                      <a:lnTo>
                        <a:pt x="408" y="250"/>
                      </a:lnTo>
                      <a:lnTo>
                        <a:pt x="408" y="246"/>
                      </a:lnTo>
                      <a:lnTo>
                        <a:pt x="404" y="246"/>
                      </a:lnTo>
                      <a:lnTo>
                        <a:pt x="404" y="246"/>
                      </a:lnTo>
                      <a:lnTo>
                        <a:pt x="404" y="246"/>
                      </a:lnTo>
                      <a:close/>
                      <a:moveTo>
                        <a:pt x="398" y="250"/>
                      </a:moveTo>
                      <a:lnTo>
                        <a:pt x="398" y="246"/>
                      </a:lnTo>
                      <a:lnTo>
                        <a:pt x="402" y="246"/>
                      </a:lnTo>
                      <a:lnTo>
                        <a:pt x="398" y="246"/>
                      </a:lnTo>
                      <a:lnTo>
                        <a:pt x="398" y="242"/>
                      </a:lnTo>
                      <a:lnTo>
                        <a:pt x="402" y="242"/>
                      </a:lnTo>
                      <a:lnTo>
                        <a:pt x="402" y="246"/>
                      </a:lnTo>
                      <a:lnTo>
                        <a:pt x="404" y="242"/>
                      </a:lnTo>
                      <a:lnTo>
                        <a:pt x="404" y="246"/>
                      </a:lnTo>
                      <a:lnTo>
                        <a:pt x="402" y="246"/>
                      </a:lnTo>
                      <a:lnTo>
                        <a:pt x="402" y="250"/>
                      </a:lnTo>
                      <a:lnTo>
                        <a:pt x="398" y="250"/>
                      </a:lnTo>
                      <a:lnTo>
                        <a:pt x="398" y="250"/>
                      </a:lnTo>
                      <a:lnTo>
                        <a:pt x="398" y="250"/>
                      </a:lnTo>
                      <a:close/>
                      <a:moveTo>
                        <a:pt x="424" y="264"/>
                      </a:moveTo>
                      <a:lnTo>
                        <a:pt x="420" y="264"/>
                      </a:lnTo>
                      <a:lnTo>
                        <a:pt x="420" y="268"/>
                      </a:lnTo>
                      <a:lnTo>
                        <a:pt x="420" y="272"/>
                      </a:lnTo>
                      <a:lnTo>
                        <a:pt x="416" y="272"/>
                      </a:lnTo>
                      <a:lnTo>
                        <a:pt x="416" y="276"/>
                      </a:lnTo>
                      <a:lnTo>
                        <a:pt x="412" y="276"/>
                      </a:lnTo>
                      <a:lnTo>
                        <a:pt x="408" y="276"/>
                      </a:lnTo>
                      <a:lnTo>
                        <a:pt x="408" y="280"/>
                      </a:lnTo>
                      <a:lnTo>
                        <a:pt x="404" y="280"/>
                      </a:lnTo>
                      <a:lnTo>
                        <a:pt x="402" y="280"/>
                      </a:lnTo>
                      <a:lnTo>
                        <a:pt x="402" y="276"/>
                      </a:lnTo>
                      <a:lnTo>
                        <a:pt x="404" y="276"/>
                      </a:lnTo>
                      <a:lnTo>
                        <a:pt x="402" y="276"/>
                      </a:lnTo>
                      <a:lnTo>
                        <a:pt x="402" y="272"/>
                      </a:lnTo>
                      <a:lnTo>
                        <a:pt x="402" y="268"/>
                      </a:lnTo>
                      <a:lnTo>
                        <a:pt x="404" y="264"/>
                      </a:lnTo>
                      <a:lnTo>
                        <a:pt x="404" y="260"/>
                      </a:lnTo>
                      <a:lnTo>
                        <a:pt x="408" y="260"/>
                      </a:lnTo>
                      <a:lnTo>
                        <a:pt x="408" y="264"/>
                      </a:lnTo>
                      <a:lnTo>
                        <a:pt x="412" y="264"/>
                      </a:lnTo>
                      <a:lnTo>
                        <a:pt x="412" y="260"/>
                      </a:lnTo>
                      <a:lnTo>
                        <a:pt x="416" y="260"/>
                      </a:lnTo>
                      <a:lnTo>
                        <a:pt x="416" y="256"/>
                      </a:lnTo>
                      <a:lnTo>
                        <a:pt x="420" y="256"/>
                      </a:lnTo>
                      <a:lnTo>
                        <a:pt x="424" y="256"/>
                      </a:lnTo>
                      <a:lnTo>
                        <a:pt x="424" y="260"/>
                      </a:lnTo>
                      <a:lnTo>
                        <a:pt x="420" y="260"/>
                      </a:lnTo>
                      <a:lnTo>
                        <a:pt x="424" y="264"/>
                      </a:lnTo>
                      <a:lnTo>
                        <a:pt x="424" y="264"/>
                      </a:lnTo>
                      <a:lnTo>
                        <a:pt x="424" y="26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0" name="Freeform 29"/>
                <p:cNvSpPr>
                  <a:spLocks noEditPoints="1"/>
                </p:cNvSpPr>
                <p:nvPr/>
              </p:nvSpPr>
              <p:spPr bwMode="auto">
                <a:xfrm>
                  <a:off x="5381625" y="3438593"/>
                  <a:ext cx="431800" cy="431800"/>
                </a:xfrm>
                <a:custGeom>
                  <a:avLst/>
                  <a:gdLst>
                    <a:gd name="T0" fmla="*/ 250 w 272"/>
                    <a:gd name="T1" fmla="*/ 156 h 272"/>
                    <a:gd name="T2" fmla="*/ 242 w 272"/>
                    <a:gd name="T3" fmla="*/ 178 h 272"/>
                    <a:gd name="T4" fmla="*/ 246 w 272"/>
                    <a:gd name="T5" fmla="*/ 198 h 272"/>
                    <a:gd name="T6" fmla="*/ 264 w 272"/>
                    <a:gd name="T7" fmla="*/ 212 h 272"/>
                    <a:gd name="T8" fmla="*/ 268 w 272"/>
                    <a:gd name="T9" fmla="*/ 232 h 272"/>
                    <a:gd name="T10" fmla="*/ 264 w 272"/>
                    <a:gd name="T11" fmla="*/ 242 h 272"/>
                    <a:gd name="T12" fmla="*/ 258 w 272"/>
                    <a:gd name="T13" fmla="*/ 250 h 272"/>
                    <a:gd name="T14" fmla="*/ 250 w 272"/>
                    <a:gd name="T15" fmla="*/ 264 h 272"/>
                    <a:gd name="T16" fmla="*/ 238 w 272"/>
                    <a:gd name="T17" fmla="*/ 268 h 272"/>
                    <a:gd name="T18" fmla="*/ 228 w 272"/>
                    <a:gd name="T19" fmla="*/ 264 h 272"/>
                    <a:gd name="T20" fmla="*/ 204 w 272"/>
                    <a:gd name="T21" fmla="*/ 262 h 272"/>
                    <a:gd name="T22" fmla="*/ 190 w 272"/>
                    <a:gd name="T23" fmla="*/ 258 h 272"/>
                    <a:gd name="T24" fmla="*/ 182 w 272"/>
                    <a:gd name="T25" fmla="*/ 234 h 272"/>
                    <a:gd name="T26" fmla="*/ 164 w 272"/>
                    <a:gd name="T27" fmla="*/ 238 h 272"/>
                    <a:gd name="T28" fmla="*/ 144 w 272"/>
                    <a:gd name="T29" fmla="*/ 242 h 272"/>
                    <a:gd name="T30" fmla="*/ 126 w 272"/>
                    <a:gd name="T31" fmla="*/ 234 h 272"/>
                    <a:gd name="T32" fmla="*/ 116 w 272"/>
                    <a:gd name="T33" fmla="*/ 224 h 272"/>
                    <a:gd name="T34" fmla="*/ 100 w 272"/>
                    <a:gd name="T35" fmla="*/ 208 h 272"/>
                    <a:gd name="T36" fmla="*/ 94 w 272"/>
                    <a:gd name="T37" fmla="*/ 194 h 272"/>
                    <a:gd name="T38" fmla="*/ 86 w 272"/>
                    <a:gd name="T39" fmla="*/ 178 h 272"/>
                    <a:gd name="T40" fmla="*/ 74 w 272"/>
                    <a:gd name="T41" fmla="*/ 176 h 272"/>
                    <a:gd name="T42" fmla="*/ 68 w 272"/>
                    <a:gd name="T43" fmla="*/ 182 h 272"/>
                    <a:gd name="T44" fmla="*/ 56 w 272"/>
                    <a:gd name="T45" fmla="*/ 164 h 272"/>
                    <a:gd name="T46" fmla="*/ 52 w 272"/>
                    <a:gd name="T47" fmla="*/ 148 h 272"/>
                    <a:gd name="T48" fmla="*/ 44 w 272"/>
                    <a:gd name="T49" fmla="*/ 134 h 272"/>
                    <a:gd name="T50" fmla="*/ 30 w 272"/>
                    <a:gd name="T51" fmla="*/ 120 h 272"/>
                    <a:gd name="T52" fmla="*/ 18 w 272"/>
                    <a:gd name="T53" fmla="*/ 108 h 272"/>
                    <a:gd name="T54" fmla="*/ 26 w 272"/>
                    <a:gd name="T55" fmla="*/ 96 h 272"/>
                    <a:gd name="T56" fmla="*/ 26 w 272"/>
                    <a:gd name="T57" fmla="*/ 90 h 272"/>
                    <a:gd name="T58" fmla="*/ 30 w 272"/>
                    <a:gd name="T59" fmla="*/ 74 h 272"/>
                    <a:gd name="T60" fmla="*/ 18 w 272"/>
                    <a:gd name="T61" fmla="*/ 66 h 272"/>
                    <a:gd name="T62" fmla="*/ 12 w 272"/>
                    <a:gd name="T63" fmla="*/ 52 h 272"/>
                    <a:gd name="T64" fmla="*/ 4 w 272"/>
                    <a:gd name="T65" fmla="*/ 34 h 272"/>
                    <a:gd name="T66" fmla="*/ 4 w 272"/>
                    <a:gd name="T67" fmla="*/ 14 h 272"/>
                    <a:gd name="T68" fmla="*/ 4 w 272"/>
                    <a:gd name="T69" fmla="*/ 4 h 272"/>
                    <a:gd name="T70" fmla="*/ 14 w 272"/>
                    <a:gd name="T71" fmla="*/ 8 h 272"/>
                    <a:gd name="T72" fmla="*/ 34 w 272"/>
                    <a:gd name="T73" fmla="*/ 14 h 272"/>
                    <a:gd name="T74" fmla="*/ 48 w 272"/>
                    <a:gd name="T75" fmla="*/ 4 h 272"/>
                    <a:gd name="T76" fmla="*/ 60 w 272"/>
                    <a:gd name="T77" fmla="*/ 10 h 272"/>
                    <a:gd name="T78" fmla="*/ 64 w 272"/>
                    <a:gd name="T79" fmla="*/ 26 h 272"/>
                    <a:gd name="T80" fmla="*/ 90 w 272"/>
                    <a:gd name="T81" fmla="*/ 26 h 272"/>
                    <a:gd name="T82" fmla="*/ 108 w 272"/>
                    <a:gd name="T83" fmla="*/ 26 h 272"/>
                    <a:gd name="T84" fmla="*/ 122 w 272"/>
                    <a:gd name="T85" fmla="*/ 36 h 272"/>
                    <a:gd name="T86" fmla="*/ 142 w 272"/>
                    <a:gd name="T87" fmla="*/ 44 h 272"/>
                    <a:gd name="T88" fmla="*/ 156 w 272"/>
                    <a:gd name="T89" fmla="*/ 34 h 272"/>
                    <a:gd name="T90" fmla="*/ 174 w 272"/>
                    <a:gd name="T91" fmla="*/ 30 h 272"/>
                    <a:gd name="T92" fmla="*/ 186 w 272"/>
                    <a:gd name="T93" fmla="*/ 26 h 272"/>
                    <a:gd name="T94" fmla="*/ 208 w 272"/>
                    <a:gd name="T95" fmla="*/ 36 h 272"/>
                    <a:gd name="T96" fmla="*/ 216 w 272"/>
                    <a:gd name="T97" fmla="*/ 44 h 272"/>
                    <a:gd name="T98" fmla="*/ 234 w 272"/>
                    <a:gd name="T99" fmla="*/ 60 h 272"/>
                    <a:gd name="T100" fmla="*/ 242 w 272"/>
                    <a:gd name="T101" fmla="*/ 74 h 272"/>
                    <a:gd name="T102" fmla="*/ 242 w 272"/>
                    <a:gd name="T103" fmla="*/ 92 h 272"/>
                    <a:gd name="T104" fmla="*/ 234 w 272"/>
                    <a:gd name="T105" fmla="*/ 108 h 272"/>
                    <a:gd name="T106" fmla="*/ 234 w 272"/>
                    <a:gd name="T107" fmla="*/ 122 h 272"/>
                    <a:gd name="T108" fmla="*/ 238 w 272"/>
                    <a:gd name="T109" fmla="*/ 146 h 272"/>
                    <a:gd name="T110" fmla="*/ 168 w 272"/>
                    <a:gd name="T111" fmla="*/ 238 h 272"/>
                    <a:gd name="T112" fmla="*/ 172 w 272"/>
                    <a:gd name="T113" fmla="*/ 242 h 272"/>
                    <a:gd name="T114" fmla="*/ 168 w 272"/>
                    <a:gd name="T115" fmla="*/ 242 h 272"/>
                    <a:gd name="T116" fmla="*/ 174 w 272"/>
                    <a:gd name="T117" fmla="*/ 238 h 2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72" h="272">
                      <a:moveTo>
                        <a:pt x="238" y="146"/>
                      </a:moveTo>
                      <a:lnTo>
                        <a:pt x="238" y="148"/>
                      </a:lnTo>
                      <a:lnTo>
                        <a:pt x="238" y="152"/>
                      </a:lnTo>
                      <a:lnTo>
                        <a:pt x="242" y="156"/>
                      </a:lnTo>
                      <a:lnTo>
                        <a:pt x="246" y="156"/>
                      </a:lnTo>
                      <a:lnTo>
                        <a:pt x="250" y="156"/>
                      </a:lnTo>
                      <a:lnTo>
                        <a:pt x="250" y="160"/>
                      </a:lnTo>
                      <a:lnTo>
                        <a:pt x="254" y="160"/>
                      </a:lnTo>
                      <a:lnTo>
                        <a:pt x="254" y="164"/>
                      </a:lnTo>
                      <a:lnTo>
                        <a:pt x="250" y="168"/>
                      </a:lnTo>
                      <a:lnTo>
                        <a:pt x="246" y="176"/>
                      </a:lnTo>
                      <a:lnTo>
                        <a:pt x="242" y="178"/>
                      </a:lnTo>
                      <a:lnTo>
                        <a:pt x="242" y="182"/>
                      </a:lnTo>
                      <a:lnTo>
                        <a:pt x="238" y="182"/>
                      </a:lnTo>
                      <a:lnTo>
                        <a:pt x="238" y="186"/>
                      </a:lnTo>
                      <a:lnTo>
                        <a:pt x="242" y="186"/>
                      </a:lnTo>
                      <a:lnTo>
                        <a:pt x="246" y="194"/>
                      </a:lnTo>
                      <a:lnTo>
                        <a:pt x="246" y="198"/>
                      </a:lnTo>
                      <a:lnTo>
                        <a:pt x="250" y="202"/>
                      </a:lnTo>
                      <a:lnTo>
                        <a:pt x="250" y="206"/>
                      </a:lnTo>
                      <a:lnTo>
                        <a:pt x="254" y="208"/>
                      </a:lnTo>
                      <a:lnTo>
                        <a:pt x="258" y="208"/>
                      </a:lnTo>
                      <a:lnTo>
                        <a:pt x="262" y="212"/>
                      </a:lnTo>
                      <a:lnTo>
                        <a:pt x="264" y="212"/>
                      </a:lnTo>
                      <a:lnTo>
                        <a:pt x="264" y="216"/>
                      </a:lnTo>
                      <a:lnTo>
                        <a:pt x="264" y="220"/>
                      </a:lnTo>
                      <a:lnTo>
                        <a:pt x="264" y="224"/>
                      </a:lnTo>
                      <a:lnTo>
                        <a:pt x="264" y="228"/>
                      </a:lnTo>
                      <a:lnTo>
                        <a:pt x="264" y="232"/>
                      </a:lnTo>
                      <a:lnTo>
                        <a:pt x="268" y="232"/>
                      </a:lnTo>
                      <a:lnTo>
                        <a:pt x="272" y="232"/>
                      </a:lnTo>
                      <a:lnTo>
                        <a:pt x="272" y="234"/>
                      </a:lnTo>
                      <a:lnTo>
                        <a:pt x="272" y="238"/>
                      </a:lnTo>
                      <a:lnTo>
                        <a:pt x="272" y="242"/>
                      </a:lnTo>
                      <a:lnTo>
                        <a:pt x="268" y="242"/>
                      </a:lnTo>
                      <a:lnTo>
                        <a:pt x="264" y="242"/>
                      </a:lnTo>
                      <a:lnTo>
                        <a:pt x="264" y="246"/>
                      </a:lnTo>
                      <a:lnTo>
                        <a:pt x="262" y="246"/>
                      </a:lnTo>
                      <a:lnTo>
                        <a:pt x="258" y="246"/>
                      </a:lnTo>
                      <a:lnTo>
                        <a:pt x="258" y="250"/>
                      </a:lnTo>
                      <a:lnTo>
                        <a:pt x="258" y="246"/>
                      </a:lnTo>
                      <a:lnTo>
                        <a:pt x="258" y="250"/>
                      </a:lnTo>
                      <a:lnTo>
                        <a:pt x="254" y="250"/>
                      </a:lnTo>
                      <a:lnTo>
                        <a:pt x="254" y="254"/>
                      </a:lnTo>
                      <a:lnTo>
                        <a:pt x="254" y="258"/>
                      </a:lnTo>
                      <a:lnTo>
                        <a:pt x="250" y="258"/>
                      </a:lnTo>
                      <a:lnTo>
                        <a:pt x="250" y="262"/>
                      </a:lnTo>
                      <a:lnTo>
                        <a:pt x="250" y="264"/>
                      </a:lnTo>
                      <a:lnTo>
                        <a:pt x="250" y="268"/>
                      </a:lnTo>
                      <a:lnTo>
                        <a:pt x="246" y="268"/>
                      </a:lnTo>
                      <a:lnTo>
                        <a:pt x="246" y="272"/>
                      </a:lnTo>
                      <a:lnTo>
                        <a:pt x="242" y="272"/>
                      </a:lnTo>
                      <a:lnTo>
                        <a:pt x="242" y="268"/>
                      </a:lnTo>
                      <a:lnTo>
                        <a:pt x="238" y="268"/>
                      </a:lnTo>
                      <a:lnTo>
                        <a:pt x="234" y="268"/>
                      </a:lnTo>
                      <a:lnTo>
                        <a:pt x="234" y="264"/>
                      </a:lnTo>
                      <a:lnTo>
                        <a:pt x="232" y="264"/>
                      </a:lnTo>
                      <a:lnTo>
                        <a:pt x="232" y="268"/>
                      </a:lnTo>
                      <a:lnTo>
                        <a:pt x="232" y="264"/>
                      </a:lnTo>
                      <a:lnTo>
                        <a:pt x="228" y="264"/>
                      </a:lnTo>
                      <a:lnTo>
                        <a:pt x="224" y="264"/>
                      </a:lnTo>
                      <a:lnTo>
                        <a:pt x="220" y="264"/>
                      </a:lnTo>
                      <a:lnTo>
                        <a:pt x="216" y="264"/>
                      </a:lnTo>
                      <a:lnTo>
                        <a:pt x="212" y="264"/>
                      </a:lnTo>
                      <a:lnTo>
                        <a:pt x="208" y="262"/>
                      </a:lnTo>
                      <a:lnTo>
                        <a:pt x="204" y="262"/>
                      </a:lnTo>
                      <a:lnTo>
                        <a:pt x="202" y="262"/>
                      </a:lnTo>
                      <a:lnTo>
                        <a:pt x="202" y="264"/>
                      </a:lnTo>
                      <a:lnTo>
                        <a:pt x="198" y="262"/>
                      </a:lnTo>
                      <a:lnTo>
                        <a:pt x="194" y="262"/>
                      </a:lnTo>
                      <a:lnTo>
                        <a:pt x="190" y="262"/>
                      </a:lnTo>
                      <a:lnTo>
                        <a:pt x="190" y="258"/>
                      </a:lnTo>
                      <a:lnTo>
                        <a:pt x="186" y="258"/>
                      </a:lnTo>
                      <a:lnTo>
                        <a:pt x="186" y="254"/>
                      </a:lnTo>
                      <a:lnTo>
                        <a:pt x="186" y="246"/>
                      </a:lnTo>
                      <a:lnTo>
                        <a:pt x="186" y="242"/>
                      </a:lnTo>
                      <a:lnTo>
                        <a:pt x="182" y="238"/>
                      </a:lnTo>
                      <a:lnTo>
                        <a:pt x="182" y="234"/>
                      </a:lnTo>
                      <a:lnTo>
                        <a:pt x="178" y="234"/>
                      </a:lnTo>
                      <a:lnTo>
                        <a:pt x="174" y="234"/>
                      </a:lnTo>
                      <a:lnTo>
                        <a:pt x="172" y="234"/>
                      </a:lnTo>
                      <a:lnTo>
                        <a:pt x="168" y="234"/>
                      </a:lnTo>
                      <a:lnTo>
                        <a:pt x="164" y="234"/>
                      </a:lnTo>
                      <a:lnTo>
                        <a:pt x="164" y="238"/>
                      </a:lnTo>
                      <a:lnTo>
                        <a:pt x="164" y="242"/>
                      </a:lnTo>
                      <a:lnTo>
                        <a:pt x="160" y="242"/>
                      </a:lnTo>
                      <a:lnTo>
                        <a:pt x="156" y="242"/>
                      </a:lnTo>
                      <a:lnTo>
                        <a:pt x="152" y="246"/>
                      </a:lnTo>
                      <a:lnTo>
                        <a:pt x="148" y="242"/>
                      </a:lnTo>
                      <a:lnTo>
                        <a:pt x="144" y="242"/>
                      </a:lnTo>
                      <a:lnTo>
                        <a:pt x="142" y="242"/>
                      </a:lnTo>
                      <a:lnTo>
                        <a:pt x="138" y="242"/>
                      </a:lnTo>
                      <a:lnTo>
                        <a:pt x="134" y="238"/>
                      </a:lnTo>
                      <a:lnTo>
                        <a:pt x="134" y="234"/>
                      </a:lnTo>
                      <a:lnTo>
                        <a:pt x="130" y="234"/>
                      </a:lnTo>
                      <a:lnTo>
                        <a:pt x="126" y="234"/>
                      </a:lnTo>
                      <a:lnTo>
                        <a:pt x="126" y="232"/>
                      </a:lnTo>
                      <a:lnTo>
                        <a:pt x="122" y="232"/>
                      </a:lnTo>
                      <a:lnTo>
                        <a:pt x="122" y="228"/>
                      </a:lnTo>
                      <a:lnTo>
                        <a:pt x="118" y="228"/>
                      </a:lnTo>
                      <a:lnTo>
                        <a:pt x="118" y="224"/>
                      </a:lnTo>
                      <a:lnTo>
                        <a:pt x="116" y="224"/>
                      </a:lnTo>
                      <a:lnTo>
                        <a:pt x="112" y="220"/>
                      </a:lnTo>
                      <a:lnTo>
                        <a:pt x="108" y="220"/>
                      </a:lnTo>
                      <a:lnTo>
                        <a:pt x="104" y="220"/>
                      </a:lnTo>
                      <a:lnTo>
                        <a:pt x="104" y="216"/>
                      </a:lnTo>
                      <a:lnTo>
                        <a:pt x="100" y="212"/>
                      </a:lnTo>
                      <a:lnTo>
                        <a:pt x="100" y="208"/>
                      </a:lnTo>
                      <a:lnTo>
                        <a:pt x="100" y="206"/>
                      </a:lnTo>
                      <a:lnTo>
                        <a:pt x="98" y="206"/>
                      </a:lnTo>
                      <a:lnTo>
                        <a:pt x="98" y="202"/>
                      </a:lnTo>
                      <a:lnTo>
                        <a:pt x="98" y="198"/>
                      </a:lnTo>
                      <a:lnTo>
                        <a:pt x="94" y="198"/>
                      </a:lnTo>
                      <a:lnTo>
                        <a:pt x="94" y="194"/>
                      </a:lnTo>
                      <a:lnTo>
                        <a:pt x="94" y="190"/>
                      </a:lnTo>
                      <a:lnTo>
                        <a:pt x="90" y="190"/>
                      </a:lnTo>
                      <a:lnTo>
                        <a:pt x="90" y="186"/>
                      </a:lnTo>
                      <a:lnTo>
                        <a:pt x="90" y="182"/>
                      </a:lnTo>
                      <a:lnTo>
                        <a:pt x="86" y="182"/>
                      </a:lnTo>
                      <a:lnTo>
                        <a:pt x="86" y="178"/>
                      </a:lnTo>
                      <a:lnTo>
                        <a:pt x="82" y="178"/>
                      </a:lnTo>
                      <a:lnTo>
                        <a:pt x="78" y="182"/>
                      </a:lnTo>
                      <a:lnTo>
                        <a:pt x="78" y="178"/>
                      </a:lnTo>
                      <a:lnTo>
                        <a:pt x="74" y="178"/>
                      </a:lnTo>
                      <a:lnTo>
                        <a:pt x="70" y="176"/>
                      </a:lnTo>
                      <a:lnTo>
                        <a:pt x="74" y="176"/>
                      </a:lnTo>
                      <a:lnTo>
                        <a:pt x="74" y="172"/>
                      </a:lnTo>
                      <a:lnTo>
                        <a:pt x="70" y="172"/>
                      </a:lnTo>
                      <a:lnTo>
                        <a:pt x="68" y="176"/>
                      </a:lnTo>
                      <a:lnTo>
                        <a:pt x="70" y="178"/>
                      </a:lnTo>
                      <a:lnTo>
                        <a:pt x="70" y="182"/>
                      </a:lnTo>
                      <a:lnTo>
                        <a:pt x="68" y="182"/>
                      </a:lnTo>
                      <a:lnTo>
                        <a:pt x="64" y="182"/>
                      </a:lnTo>
                      <a:lnTo>
                        <a:pt x="64" y="178"/>
                      </a:lnTo>
                      <a:lnTo>
                        <a:pt x="60" y="176"/>
                      </a:lnTo>
                      <a:lnTo>
                        <a:pt x="56" y="176"/>
                      </a:lnTo>
                      <a:lnTo>
                        <a:pt x="56" y="172"/>
                      </a:lnTo>
                      <a:lnTo>
                        <a:pt x="56" y="164"/>
                      </a:lnTo>
                      <a:lnTo>
                        <a:pt x="52" y="164"/>
                      </a:lnTo>
                      <a:lnTo>
                        <a:pt x="52" y="160"/>
                      </a:lnTo>
                      <a:lnTo>
                        <a:pt x="52" y="156"/>
                      </a:lnTo>
                      <a:lnTo>
                        <a:pt x="52" y="152"/>
                      </a:lnTo>
                      <a:lnTo>
                        <a:pt x="56" y="148"/>
                      </a:lnTo>
                      <a:lnTo>
                        <a:pt x="52" y="148"/>
                      </a:lnTo>
                      <a:lnTo>
                        <a:pt x="52" y="146"/>
                      </a:lnTo>
                      <a:lnTo>
                        <a:pt x="52" y="142"/>
                      </a:lnTo>
                      <a:lnTo>
                        <a:pt x="48" y="142"/>
                      </a:lnTo>
                      <a:lnTo>
                        <a:pt x="48" y="138"/>
                      </a:lnTo>
                      <a:lnTo>
                        <a:pt x="44" y="138"/>
                      </a:lnTo>
                      <a:lnTo>
                        <a:pt x="44" y="134"/>
                      </a:lnTo>
                      <a:lnTo>
                        <a:pt x="40" y="134"/>
                      </a:lnTo>
                      <a:lnTo>
                        <a:pt x="38" y="130"/>
                      </a:lnTo>
                      <a:lnTo>
                        <a:pt x="34" y="126"/>
                      </a:lnTo>
                      <a:lnTo>
                        <a:pt x="30" y="126"/>
                      </a:lnTo>
                      <a:lnTo>
                        <a:pt x="30" y="122"/>
                      </a:lnTo>
                      <a:lnTo>
                        <a:pt x="30" y="120"/>
                      </a:lnTo>
                      <a:lnTo>
                        <a:pt x="26" y="120"/>
                      </a:lnTo>
                      <a:lnTo>
                        <a:pt x="26" y="116"/>
                      </a:lnTo>
                      <a:lnTo>
                        <a:pt x="22" y="116"/>
                      </a:lnTo>
                      <a:lnTo>
                        <a:pt x="22" y="112"/>
                      </a:lnTo>
                      <a:lnTo>
                        <a:pt x="22" y="108"/>
                      </a:lnTo>
                      <a:lnTo>
                        <a:pt x="18" y="108"/>
                      </a:lnTo>
                      <a:lnTo>
                        <a:pt x="22" y="108"/>
                      </a:lnTo>
                      <a:lnTo>
                        <a:pt x="22" y="104"/>
                      </a:lnTo>
                      <a:lnTo>
                        <a:pt x="22" y="100"/>
                      </a:lnTo>
                      <a:lnTo>
                        <a:pt x="18" y="100"/>
                      </a:lnTo>
                      <a:lnTo>
                        <a:pt x="22" y="96"/>
                      </a:lnTo>
                      <a:lnTo>
                        <a:pt x="26" y="96"/>
                      </a:lnTo>
                      <a:lnTo>
                        <a:pt x="22" y="96"/>
                      </a:lnTo>
                      <a:lnTo>
                        <a:pt x="22" y="92"/>
                      </a:lnTo>
                      <a:lnTo>
                        <a:pt x="26" y="92"/>
                      </a:lnTo>
                      <a:lnTo>
                        <a:pt x="26" y="90"/>
                      </a:lnTo>
                      <a:lnTo>
                        <a:pt x="26" y="92"/>
                      </a:lnTo>
                      <a:lnTo>
                        <a:pt x="26" y="90"/>
                      </a:lnTo>
                      <a:lnTo>
                        <a:pt x="30" y="90"/>
                      </a:lnTo>
                      <a:lnTo>
                        <a:pt x="30" y="86"/>
                      </a:lnTo>
                      <a:lnTo>
                        <a:pt x="30" y="82"/>
                      </a:lnTo>
                      <a:lnTo>
                        <a:pt x="26" y="78"/>
                      </a:lnTo>
                      <a:lnTo>
                        <a:pt x="30" y="78"/>
                      </a:lnTo>
                      <a:lnTo>
                        <a:pt x="30" y="74"/>
                      </a:lnTo>
                      <a:lnTo>
                        <a:pt x="34" y="74"/>
                      </a:lnTo>
                      <a:lnTo>
                        <a:pt x="30" y="74"/>
                      </a:lnTo>
                      <a:lnTo>
                        <a:pt x="26" y="74"/>
                      </a:lnTo>
                      <a:lnTo>
                        <a:pt x="22" y="70"/>
                      </a:lnTo>
                      <a:lnTo>
                        <a:pt x="18" y="70"/>
                      </a:lnTo>
                      <a:lnTo>
                        <a:pt x="18" y="66"/>
                      </a:lnTo>
                      <a:lnTo>
                        <a:pt x="18" y="64"/>
                      </a:lnTo>
                      <a:lnTo>
                        <a:pt x="14" y="64"/>
                      </a:lnTo>
                      <a:lnTo>
                        <a:pt x="14" y="60"/>
                      </a:lnTo>
                      <a:lnTo>
                        <a:pt x="14" y="56"/>
                      </a:lnTo>
                      <a:lnTo>
                        <a:pt x="12" y="56"/>
                      </a:lnTo>
                      <a:lnTo>
                        <a:pt x="12" y="52"/>
                      </a:lnTo>
                      <a:lnTo>
                        <a:pt x="12" y="48"/>
                      </a:lnTo>
                      <a:lnTo>
                        <a:pt x="12" y="44"/>
                      </a:lnTo>
                      <a:lnTo>
                        <a:pt x="8" y="44"/>
                      </a:lnTo>
                      <a:lnTo>
                        <a:pt x="8" y="40"/>
                      </a:lnTo>
                      <a:lnTo>
                        <a:pt x="8" y="36"/>
                      </a:lnTo>
                      <a:lnTo>
                        <a:pt x="4" y="34"/>
                      </a:lnTo>
                      <a:lnTo>
                        <a:pt x="4" y="30"/>
                      </a:lnTo>
                      <a:lnTo>
                        <a:pt x="8" y="26"/>
                      </a:lnTo>
                      <a:lnTo>
                        <a:pt x="4" y="26"/>
                      </a:lnTo>
                      <a:lnTo>
                        <a:pt x="4" y="22"/>
                      </a:lnTo>
                      <a:lnTo>
                        <a:pt x="4" y="18"/>
                      </a:lnTo>
                      <a:lnTo>
                        <a:pt x="4" y="14"/>
                      </a:lnTo>
                      <a:lnTo>
                        <a:pt x="4" y="10"/>
                      </a:lnTo>
                      <a:lnTo>
                        <a:pt x="0" y="8"/>
                      </a:lnTo>
                      <a:lnTo>
                        <a:pt x="0" y="4"/>
                      </a:lnTo>
                      <a:lnTo>
                        <a:pt x="4" y="4"/>
                      </a:lnTo>
                      <a:lnTo>
                        <a:pt x="4" y="8"/>
                      </a:lnTo>
                      <a:lnTo>
                        <a:pt x="4" y="4"/>
                      </a:lnTo>
                      <a:lnTo>
                        <a:pt x="8" y="4"/>
                      </a:lnTo>
                      <a:lnTo>
                        <a:pt x="8" y="0"/>
                      </a:lnTo>
                      <a:lnTo>
                        <a:pt x="12" y="0"/>
                      </a:lnTo>
                      <a:lnTo>
                        <a:pt x="12" y="4"/>
                      </a:lnTo>
                      <a:lnTo>
                        <a:pt x="14" y="4"/>
                      </a:lnTo>
                      <a:lnTo>
                        <a:pt x="14" y="8"/>
                      </a:lnTo>
                      <a:lnTo>
                        <a:pt x="18" y="10"/>
                      </a:lnTo>
                      <a:lnTo>
                        <a:pt x="18" y="14"/>
                      </a:lnTo>
                      <a:lnTo>
                        <a:pt x="22" y="14"/>
                      </a:lnTo>
                      <a:lnTo>
                        <a:pt x="26" y="14"/>
                      </a:lnTo>
                      <a:lnTo>
                        <a:pt x="30" y="14"/>
                      </a:lnTo>
                      <a:lnTo>
                        <a:pt x="34" y="14"/>
                      </a:lnTo>
                      <a:lnTo>
                        <a:pt x="38" y="14"/>
                      </a:lnTo>
                      <a:lnTo>
                        <a:pt x="38" y="10"/>
                      </a:lnTo>
                      <a:lnTo>
                        <a:pt x="40" y="10"/>
                      </a:lnTo>
                      <a:lnTo>
                        <a:pt x="44" y="8"/>
                      </a:lnTo>
                      <a:lnTo>
                        <a:pt x="48" y="8"/>
                      </a:lnTo>
                      <a:lnTo>
                        <a:pt x="48" y="4"/>
                      </a:lnTo>
                      <a:lnTo>
                        <a:pt x="52" y="0"/>
                      </a:lnTo>
                      <a:lnTo>
                        <a:pt x="56" y="0"/>
                      </a:lnTo>
                      <a:lnTo>
                        <a:pt x="60" y="4"/>
                      </a:lnTo>
                      <a:lnTo>
                        <a:pt x="64" y="8"/>
                      </a:lnTo>
                      <a:lnTo>
                        <a:pt x="60" y="8"/>
                      </a:lnTo>
                      <a:lnTo>
                        <a:pt x="60" y="10"/>
                      </a:lnTo>
                      <a:lnTo>
                        <a:pt x="60" y="14"/>
                      </a:lnTo>
                      <a:lnTo>
                        <a:pt x="56" y="14"/>
                      </a:lnTo>
                      <a:lnTo>
                        <a:pt x="60" y="18"/>
                      </a:lnTo>
                      <a:lnTo>
                        <a:pt x="60" y="22"/>
                      </a:lnTo>
                      <a:lnTo>
                        <a:pt x="64" y="22"/>
                      </a:lnTo>
                      <a:lnTo>
                        <a:pt x="64" y="26"/>
                      </a:lnTo>
                      <a:lnTo>
                        <a:pt x="68" y="26"/>
                      </a:lnTo>
                      <a:lnTo>
                        <a:pt x="68" y="22"/>
                      </a:lnTo>
                      <a:lnTo>
                        <a:pt x="70" y="22"/>
                      </a:lnTo>
                      <a:lnTo>
                        <a:pt x="82" y="26"/>
                      </a:lnTo>
                      <a:lnTo>
                        <a:pt x="86" y="26"/>
                      </a:lnTo>
                      <a:lnTo>
                        <a:pt x="90" y="26"/>
                      </a:lnTo>
                      <a:lnTo>
                        <a:pt x="94" y="22"/>
                      </a:lnTo>
                      <a:lnTo>
                        <a:pt x="98" y="22"/>
                      </a:lnTo>
                      <a:lnTo>
                        <a:pt x="100" y="22"/>
                      </a:lnTo>
                      <a:lnTo>
                        <a:pt x="104" y="18"/>
                      </a:lnTo>
                      <a:lnTo>
                        <a:pt x="104" y="22"/>
                      </a:lnTo>
                      <a:lnTo>
                        <a:pt x="108" y="26"/>
                      </a:lnTo>
                      <a:lnTo>
                        <a:pt x="112" y="30"/>
                      </a:lnTo>
                      <a:lnTo>
                        <a:pt x="112" y="34"/>
                      </a:lnTo>
                      <a:lnTo>
                        <a:pt x="116" y="34"/>
                      </a:lnTo>
                      <a:lnTo>
                        <a:pt x="116" y="36"/>
                      </a:lnTo>
                      <a:lnTo>
                        <a:pt x="118" y="36"/>
                      </a:lnTo>
                      <a:lnTo>
                        <a:pt x="122" y="36"/>
                      </a:lnTo>
                      <a:lnTo>
                        <a:pt x="126" y="36"/>
                      </a:lnTo>
                      <a:lnTo>
                        <a:pt x="126" y="40"/>
                      </a:lnTo>
                      <a:lnTo>
                        <a:pt x="130" y="40"/>
                      </a:lnTo>
                      <a:lnTo>
                        <a:pt x="134" y="44"/>
                      </a:lnTo>
                      <a:lnTo>
                        <a:pt x="138" y="44"/>
                      </a:lnTo>
                      <a:lnTo>
                        <a:pt x="142" y="44"/>
                      </a:lnTo>
                      <a:lnTo>
                        <a:pt x="144" y="44"/>
                      </a:lnTo>
                      <a:lnTo>
                        <a:pt x="148" y="44"/>
                      </a:lnTo>
                      <a:lnTo>
                        <a:pt x="152" y="40"/>
                      </a:lnTo>
                      <a:lnTo>
                        <a:pt x="152" y="36"/>
                      </a:lnTo>
                      <a:lnTo>
                        <a:pt x="156" y="36"/>
                      </a:lnTo>
                      <a:lnTo>
                        <a:pt x="156" y="34"/>
                      </a:lnTo>
                      <a:lnTo>
                        <a:pt x="160" y="34"/>
                      </a:lnTo>
                      <a:lnTo>
                        <a:pt x="160" y="30"/>
                      </a:lnTo>
                      <a:lnTo>
                        <a:pt x="164" y="30"/>
                      </a:lnTo>
                      <a:lnTo>
                        <a:pt x="168" y="30"/>
                      </a:lnTo>
                      <a:lnTo>
                        <a:pt x="172" y="30"/>
                      </a:lnTo>
                      <a:lnTo>
                        <a:pt x="174" y="30"/>
                      </a:lnTo>
                      <a:lnTo>
                        <a:pt x="174" y="26"/>
                      </a:lnTo>
                      <a:lnTo>
                        <a:pt x="178" y="26"/>
                      </a:lnTo>
                      <a:lnTo>
                        <a:pt x="182" y="26"/>
                      </a:lnTo>
                      <a:lnTo>
                        <a:pt x="182" y="30"/>
                      </a:lnTo>
                      <a:lnTo>
                        <a:pt x="186" y="30"/>
                      </a:lnTo>
                      <a:lnTo>
                        <a:pt x="186" y="26"/>
                      </a:lnTo>
                      <a:lnTo>
                        <a:pt x="190" y="30"/>
                      </a:lnTo>
                      <a:lnTo>
                        <a:pt x="190" y="34"/>
                      </a:lnTo>
                      <a:lnTo>
                        <a:pt x="194" y="34"/>
                      </a:lnTo>
                      <a:lnTo>
                        <a:pt x="202" y="36"/>
                      </a:lnTo>
                      <a:lnTo>
                        <a:pt x="204" y="40"/>
                      </a:lnTo>
                      <a:lnTo>
                        <a:pt x="208" y="36"/>
                      </a:lnTo>
                      <a:lnTo>
                        <a:pt x="208" y="40"/>
                      </a:lnTo>
                      <a:lnTo>
                        <a:pt x="208" y="36"/>
                      </a:lnTo>
                      <a:lnTo>
                        <a:pt x="212" y="36"/>
                      </a:lnTo>
                      <a:lnTo>
                        <a:pt x="212" y="40"/>
                      </a:lnTo>
                      <a:lnTo>
                        <a:pt x="216" y="40"/>
                      </a:lnTo>
                      <a:lnTo>
                        <a:pt x="216" y="44"/>
                      </a:lnTo>
                      <a:lnTo>
                        <a:pt x="220" y="48"/>
                      </a:lnTo>
                      <a:lnTo>
                        <a:pt x="224" y="48"/>
                      </a:lnTo>
                      <a:lnTo>
                        <a:pt x="228" y="52"/>
                      </a:lnTo>
                      <a:lnTo>
                        <a:pt x="228" y="56"/>
                      </a:lnTo>
                      <a:lnTo>
                        <a:pt x="232" y="60"/>
                      </a:lnTo>
                      <a:lnTo>
                        <a:pt x="234" y="60"/>
                      </a:lnTo>
                      <a:lnTo>
                        <a:pt x="238" y="60"/>
                      </a:lnTo>
                      <a:lnTo>
                        <a:pt x="242" y="60"/>
                      </a:lnTo>
                      <a:lnTo>
                        <a:pt x="242" y="64"/>
                      </a:lnTo>
                      <a:lnTo>
                        <a:pt x="242" y="66"/>
                      </a:lnTo>
                      <a:lnTo>
                        <a:pt x="242" y="70"/>
                      </a:lnTo>
                      <a:lnTo>
                        <a:pt x="242" y="74"/>
                      </a:lnTo>
                      <a:lnTo>
                        <a:pt x="242" y="78"/>
                      </a:lnTo>
                      <a:lnTo>
                        <a:pt x="246" y="78"/>
                      </a:lnTo>
                      <a:lnTo>
                        <a:pt x="242" y="82"/>
                      </a:lnTo>
                      <a:lnTo>
                        <a:pt x="242" y="86"/>
                      </a:lnTo>
                      <a:lnTo>
                        <a:pt x="242" y="90"/>
                      </a:lnTo>
                      <a:lnTo>
                        <a:pt x="242" y="92"/>
                      </a:lnTo>
                      <a:lnTo>
                        <a:pt x="238" y="96"/>
                      </a:lnTo>
                      <a:lnTo>
                        <a:pt x="234" y="96"/>
                      </a:lnTo>
                      <a:lnTo>
                        <a:pt x="238" y="100"/>
                      </a:lnTo>
                      <a:lnTo>
                        <a:pt x="234" y="100"/>
                      </a:lnTo>
                      <a:lnTo>
                        <a:pt x="234" y="104"/>
                      </a:lnTo>
                      <a:lnTo>
                        <a:pt x="234" y="108"/>
                      </a:lnTo>
                      <a:lnTo>
                        <a:pt x="234" y="112"/>
                      </a:lnTo>
                      <a:lnTo>
                        <a:pt x="234" y="116"/>
                      </a:lnTo>
                      <a:lnTo>
                        <a:pt x="238" y="116"/>
                      </a:lnTo>
                      <a:lnTo>
                        <a:pt x="238" y="120"/>
                      </a:lnTo>
                      <a:lnTo>
                        <a:pt x="234" y="120"/>
                      </a:lnTo>
                      <a:lnTo>
                        <a:pt x="234" y="122"/>
                      </a:lnTo>
                      <a:lnTo>
                        <a:pt x="234" y="126"/>
                      </a:lnTo>
                      <a:lnTo>
                        <a:pt x="234" y="130"/>
                      </a:lnTo>
                      <a:lnTo>
                        <a:pt x="234" y="134"/>
                      </a:lnTo>
                      <a:lnTo>
                        <a:pt x="238" y="138"/>
                      </a:lnTo>
                      <a:lnTo>
                        <a:pt x="238" y="142"/>
                      </a:lnTo>
                      <a:lnTo>
                        <a:pt x="238" y="146"/>
                      </a:lnTo>
                      <a:lnTo>
                        <a:pt x="238" y="146"/>
                      </a:lnTo>
                      <a:lnTo>
                        <a:pt x="238" y="146"/>
                      </a:lnTo>
                      <a:close/>
                      <a:moveTo>
                        <a:pt x="164" y="238"/>
                      </a:moveTo>
                      <a:lnTo>
                        <a:pt x="164" y="242"/>
                      </a:lnTo>
                      <a:lnTo>
                        <a:pt x="164" y="238"/>
                      </a:lnTo>
                      <a:lnTo>
                        <a:pt x="168" y="238"/>
                      </a:lnTo>
                      <a:lnTo>
                        <a:pt x="164" y="238"/>
                      </a:lnTo>
                      <a:lnTo>
                        <a:pt x="164" y="238"/>
                      </a:lnTo>
                      <a:lnTo>
                        <a:pt x="164" y="238"/>
                      </a:lnTo>
                      <a:close/>
                      <a:moveTo>
                        <a:pt x="174" y="238"/>
                      </a:moveTo>
                      <a:lnTo>
                        <a:pt x="172" y="238"/>
                      </a:lnTo>
                      <a:lnTo>
                        <a:pt x="172" y="242"/>
                      </a:lnTo>
                      <a:lnTo>
                        <a:pt x="168" y="242"/>
                      </a:lnTo>
                      <a:lnTo>
                        <a:pt x="164" y="242"/>
                      </a:lnTo>
                      <a:lnTo>
                        <a:pt x="160" y="246"/>
                      </a:lnTo>
                      <a:lnTo>
                        <a:pt x="160" y="242"/>
                      </a:lnTo>
                      <a:lnTo>
                        <a:pt x="164" y="242"/>
                      </a:lnTo>
                      <a:lnTo>
                        <a:pt x="168" y="242"/>
                      </a:lnTo>
                      <a:lnTo>
                        <a:pt x="168" y="238"/>
                      </a:lnTo>
                      <a:lnTo>
                        <a:pt x="172" y="238"/>
                      </a:lnTo>
                      <a:lnTo>
                        <a:pt x="172" y="234"/>
                      </a:lnTo>
                      <a:lnTo>
                        <a:pt x="174" y="238"/>
                      </a:lnTo>
                      <a:lnTo>
                        <a:pt x="174" y="238"/>
                      </a:lnTo>
                      <a:lnTo>
                        <a:pt x="174" y="23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1" name="Freeform 30"/>
                <p:cNvSpPr>
                  <a:spLocks/>
                </p:cNvSpPr>
                <p:nvPr/>
              </p:nvSpPr>
              <p:spPr bwMode="auto">
                <a:xfrm>
                  <a:off x="5264150" y="3508443"/>
                  <a:ext cx="219075" cy="244475"/>
                </a:xfrm>
                <a:custGeom>
                  <a:avLst/>
                  <a:gdLst>
                    <a:gd name="T0" fmla="*/ 4 w 138"/>
                    <a:gd name="T1" fmla="*/ 90 h 154"/>
                    <a:gd name="T2" fmla="*/ 14 w 138"/>
                    <a:gd name="T3" fmla="*/ 68 h 154"/>
                    <a:gd name="T4" fmla="*/ 34 w 138"/>
                    <a:gd name="T5" fmla="*/ 56 h 154"/>
                    <a:gd name="T6" fmla="*/ 34 w 138"/>
                    <a:gd name="T7" fmla="*/ 40 h 154"/>
                    <a:gd name="T8" fmla="*/ 38 w 138"/>
                    <a:gd name="T9" fmla="*/ 38 h 154"/>
                    <a:gd name="T10" fmla="*/ 38 w 138"/>
                    <a:gd name="T11" fmla="*/ 34 h 154"/>
                    <a:gd name="T12" fmla="*/ 38 w 138"/>
                    <a:gd name="T13" fmla="*/ 18 h 154"/>
                    <a:gd name="T14" fmla="*/ 52 w 138"/>
                    <a:gd name="T15" fmla="*/ 4 h 154"/>
                    <a:gd name="T16" fmla="*/ 56 w 138"/>
                    <a:gd name="T17" fmla="*/ 0 h 154"/>
                    <a:gd name="T18" fmla="*/ 60 w 138"/>
                    <a:gd name="T19" fmla="*/ 0 h 154"/>
                    <a:gd name="T20" fmla="*/ 74 w 138"/>
                    <a:gd name="T21" fmla="*/ 4 h 154"/>
                    <a:gd name="T22" fmla="*/ 74 w 138"/>
                    <a:gd name="T23" fmla="*/ 0 h 154"/>
                    <a:gd name="T24" fmla="*/ 78 w 138"/>
                    <a:gd name="T25" fmla="*/ 4 h 154"/>
                    <a:gd name="T26" fmla="*/ 82 w 138"/>
                    <a:gd name="T27" fmla="*/ 4 h 154"/>
                    <a:gd name="T28" fmla="*/ 86 w 138"/>
                    <a:gd name="T29" fmla="*/ 4 h 154"/>
                    <a:gd name="T30" fmla="*/ 86 w 138"/>
                    <a:gd name="T31" fmla="*/ 8 h 154"/>
                    <a:gd name="T32" fmla="*/ 86 w 138"/>
                    <a:gd name="T33" fmla="*/ 10 h 154"/>
                    <a:gd name="T34" fmla="*/ 90 w 138"/>
                    <a:gd name="T35" fmla="*/ 14 h 154"/>
                    <a:gd name="T36" fmla="*/ 90 w 138"/>
                    <a:gd name="T37" fmla="*/ 18 h 154"/>
                    <a:gd name="T38" fmla="*/ 94 w 138"/>
                    <a:gd name="T39" fmla="*/ 18 h 154"/>
                    <a:gd name="T40" fmla="*/ 96 w 138"/>
                    <a:gd name="T41" fmla="*/ 26 h 154"/>
                    <a:gd name="T42" fmla="*/ 100 w 138"/>
                    <a:gd name="T43" fmla="*/ 30 h 154"/>
                    <a:gd name="T44" fmla="*/ 104 w 138"/>
                    <a:gd name="T45" fmla="*/ 30 h 154"/>
                    <a:gd name="T46" fmla="*/ 108 w 138"/>
                    <a:gd name="T47" fmla="*/ 30 h 154"/>
                    <a:gd name="T48" fmla="*/ 104 w 138"/>
                    <a:gd name="T49" fmla="*/ 30 h 154"/>
                    <a:gd name="T50" fmla="*/ 104 w 138"/>
                    <a:gd name="T51" fmla="*/ 38 h 154"/>
                    <a:gd name="T52" fmla="*/ 104 w 138"/>
                    <a:gd name="T53" fmla="*/ 40 h 154"/>
                    <a:gd name="T54" fmla="*/ 100 w 138"/>
                    <a:gd name="T55" fmla="*/ 44 h 154"/>
                    <a:gd name="T56" fmla="*/ 96 w 138"/>
                    <a:gd name="T57" fmla="*/ 48 h 154"/>
                    <a:gd name="T58" fmla="*/ 100 w 138"/>
                    <a:gd name="T59" fmla="*/ 52 h 154"/>
                    <a:gd name="T60" fmla="*/ 96 w 138"/>
                    <a:gd name="T61" fmla="*/ 56 h 154"/>
                    <a:gd name="T62" fmla="*/ 96 w 138"/>
                    <a:gd name="T63" fmla="*/ 60 h 154"/>
                    <a:gd name="T64" fmla="*/ 96 w 138"/>
                    <a:gd name="T65" fmla="*/ 64 h 154"/>
                    <a:gd name="T66" fmla="*/ 100 w 138"/>
                    <a:gd name="T67" fmla="*/ 70 h 154"/>
                    <a:gd name="T68" fmla="*/ 100 w 138"/>
                    <a:gd name="T69" fmla="*/ 74 h 154"/>
                    <a:gd name="T70" fmla="*/ 104 w 138"/>
                    <a:gd name="T71" fmla="*/ 74 h 154"/>
                    <a:gd name="T72" fmla="*/ 104 w 138"/>
                    <a:gd name="T73" fmla="*/ 78 h 154"/>
                    <a:gd name="T74" fmla="*/ 104 w 138"/>
                    <a:gd name="T75" fmla="*/ 82 h 154"/>
                    <a:gd name="T76" fmla="*/ 108 w 138"/>
                    <a:gd name="T77" fmla="*/ 82 h 154"/>
                    <a:gd name="T78" fmla="*/ 112 w 138"/>
                    <a:gd name="T79" fmla="*/ 86 h 154"/>
                    <a:gd name="T80" fmla="*/ 116 w 138"/>
                    <a:gd name="T81" fmla="*/ 90 h 154"/>
                    <a:gd name="T82" fmla="*/ 120 w 138"/>
                    <a:gd name="T83" fmla="*/ 94 h 154"/>
                    <a:gd name="T84" fmla="*/ 126 w 138"/>
                    <a:gd name="T85" fmla="*/ 98 h 154"/>
                    <a:gd name="T86" fmla="*/ 130 w 138"/>
                    <a:gd name="T87" fmla="*/ 104 h 154"/>
                    <a:gd name="T88" fmla="*/ 126 w 138"/>
                    <a:gd name="T89" fmla="*/ 116 h 154"/>
                    <a:gd name="T90" fmla="*/ 130 w 138"/>
                    <a:gd name="T91" fmla="*/ 120 h 154"/>
                    <a:gd name="T92" fmla="*/ 130 w 138"/>
                    <a:gd name="T93" fmla="*/ 130 h 154"/>
                    <a:gd name="T94" fmla="*/ 138 w 138"/>
                    <a:gd name="T95" fmla="*/ 134 h 154"/>
                    <a:gd name="T96" fmla="*/ 138 w 138"/>
                    <a:gd name="T97" fmla="*/ 138 h 154"/>
                    <a:gd name="T98" fmla="*/ 134 w 138"/>
                    <a:gd name="T99" fmla="*/ 138 h 154"/>
                    <a:gd name="T100" fmla="*/ 130 w 138"/>
                    <a:gd name="T101" fmla="*/ 138 h 154"/>
                    <a:gd name="T102" fmla="*/ 124 w 138"/>
                    <a:gd name="T103" fmla="*/ 134 h 154"/>
                    <a:gd name="T104" fmla="*/ 120 w 138"/>
                    <a:gd name="T105" fmla="*/ 138 h 154"/>
                    <a:gd name="T106" fmla="*/ 116 w 138"/>
                    <a:gd name="T107" fmla="*/ 150 h 154"/>
                    <a:gd name="T108" fmla="*/ 112 w 138"/>
                    <a:gd name="T109" fmla="*/ 154 h 154"/>
                    <a:gd name="T110" fmla="*/ 104 w 138"/>
                    <a:gd name="T111" fmla="*/ 154 h 154"/>
                    <a:gd name="T112" fmla="*/ 38 w 138"/>
                    <a:gd name="T113" fmla="*/ 112 h 154"/>
                    <a:gd name="T114" fmla="*/ 8 w 138"/>
                    <a:gd name="T115" fmla="*/ 98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38" h="154">
                      <a:moveTo>
                        <a:pt x="8" y="98"/>
                      </a:moveTo>
                      <a:lnTo>
                        <a:pt x="8" y="98"/>
                      </a:lnTo>
                      <a:lnTo>
                        <a:pt x="8" y="94"/>
                      </a:lnTo>
                      <a:lnTo>
                        <a:pt x="4" y="94"/>
                      </a:lnTo>
                      <a:lnTo>
                        <a:pt x="4" y="94"/>
                      </a:lnTo>
                      <a:lnTo>
                        <a:pt x="4" y="90"/>
                      </a:lnTo>
                      <a:lnTo>
                        <a:pt x="0" y="74"/>
                      </a:lnTo>
                      <a:lnTo>
                        <a:pt x="0" y="74"/>
                      </a:lnTo>
                      <a:lnTo>
                        <a:pt x="4" y="74"/>
                      </a:lnTo>
                      <a:lnTo>
                        <a:pt x="8" y="70"/>
                      </a:lnTo>
                      <a:lnTo>
                        <a:pt x="12" y="68"/>
                      </a:lnTo>
                      <a:lnTo>
                        <a:pt x="14" y="68"/>
                      </a:lnTo>
                      <a:lnTo>
                        <a:pt x="18" y="64"/>
                      </a:lnTo>
                      <a:lnTo>
                        <a:pt x="18" y="64"/>
                      </a:lnTo>
                      <a:lnTo>
                        <a:pt x="22" y="64"/>
                      </a:lnTo>
                      <a:lnTo>
                        <a:pt x="26" y="60"/>
                      </a:lnTo>
                      <a:lnTo>
                        <a:pt x="34" y="56"/>
                      </a:lnTo>
                      <a:lnTo>
                        <a:pt x="34" y="56"/>
                      </a:lnTo>
                      <a:lnTo>
                        <a:pt x="34" y="52"/>
                      </a:lnTo>
                      <a:lnTo>
                        <a:pt x="34" y="48"/>
                      </a:lnTo>
                      <a:lnTo>
                        <a:pt x="34" y="44"/>
                      </a:lnTo>
                      <a:lnTo>
                        <a:pt x="34" y="44"/>
                      </a:lnTo>
                      <a:lnTo>
                        <a:pt x="34" y="40"/>
                      </a:lnTo>
                      <a:lnTo>
                        <a:pt x="34" y="40"/>
                      </a:lnTo>
                      <a:lnTo>
                        <a:pt x="34" y="40"/>
                      </a:lnTo>
                      <a:lnTo>
                        <a:pt x="34" y="40"/>
                      </a:lnTo>
                      <a:lnTo>
                        <a:pt x="34" y="40"/>
                      </a:lnTo>
                      <a:lnTo>
                        <a:pt x="38" y="38"/>
                      </a:lnTo>
                      <a:lnTo>
                        <a:pt x="38" y="38"/>
                      </a:lnTo>
                      <a:lnTo>
                        <a:pt x="38" y="38"/>
                      </a:lnTo>
                      <a:lnTo>
                        <a:pt x="38" y="38"/>
                      </a:lnTo>
                      <a:lnTo>
                        <a:pt x="38" y="38"/>
                      </a:lnTo>
                      <a:lnTo>
                        <a:pt x="38" y="38"/>
                      </a:lnTo>
                      <a:lnTo>
                        <a:pt x="38" y="34"/>
                      </a:lnTo>
                      <a:lnTo>
                        <a:pt x="38" y="34"/>
                      </a:lnTo>
                      <a:lnTo>
                        <a:pt x="38" y="34"/>
                      </a:lnTo>
                      <a:lnTo>
                        <a:pt x="38" y="30"/>
                      </a:lnTo>
                      <a:lnTo>
                        <a:pt x="38" y="30"/>
                      </a:lnTo>
                      <a:lnTo>
                        <a:pt x="38" y="26"/>
                      </a:lnTo>
                      <a:lnTo>
                        <a:pt x="38" y="26"/>
                      </a:lnTo>
                      <a:lnTo>
                        <a:pt x="38" y="18"/>
                      </a:lnTo>
                      <a:lnTo>
                        <a:pt x="38" y="18"/>
                      </a:lnTo>
                      <a:lnTo>
                        <a:pt x="38" y="14"/>
                      </a:lnTo>
                      <a:lnTo>
                        <a:pt x="44" y="14"/>
                      </a:lnTo>
                      <a:lnTo>
                        <a:pt x="52" y="8"/>
                      </a:lnTo>
                      <a:lnTo>
                        <a:pt x="52" y="8"/>
                      </a:lnTo>
                      <a:lnTo>
                        <a:pt x="52" y="4"/>
                      </a:lnTo>
                      <a:lnTo>
                        <a:pt x="52" y="4"/>
                      </a:lnTo>
                      <a:lnTo>
                        <a:pt x="52" y="4"/>
                      </a:lnTo>
                      <a:lnTo>
                        <a:pt x="52" y="4"/>
                      </a:lnTo>
                      <a:lnTo>
                        <a:pt x="56" y="4"/>
                      </a:lnTo>
                      <a:lnTo>
                        <a:pt x="56" y="4"/>
                      </a:lnTo>
                      <a:lnTo>
                        <a:pt x="56" y="0"/>
                      </a:lnTo>
                      <a:lnTo>
                        <a:pt x="56" y="0"/>
                      </a:lnTo>
                      <a:lnTo>
                        <a:pt x="56" y="0"/>
                      </a:lnTo>
                      <a:lnTo>
                        <a:pt x="60" y="0"/>
                      </a:lnTo>
                      <a:lnTo>
                        <a:pt x="60" y="0"/>
                      </a:lnTo>
                      <a:lnTo>
                        <a:pt x="60" y="0"/>
                      </a:lnTo>
                      <a:lnTo>
                        <a:pt x="60" y="0"/>
                      </a:lnTo>
                      <a:lnTo>
                        <a:pt x="60" y="0"/>
                      </a:lnTo>
                      <a:lnTo>
                        <a:pt x="64" y="0"/>
                      </a:lnTo>
                      <a:lnTo>
                        <a:pt x="68" y="4"/>
                      </a:lnTo>
                      <a:lnTo>
                        <a:pt x="70" y="4"/>
                      </a:lnTo>
                      <a:lnTo>
                        <a:pt x="70" y="4"/>
                      </a:lnTo>
                      <a:lnTo>
                        <a:pt x="74" y="4"/>
                      </a:lnTo>
                      <a:lnTo>
                        <a:pt x="74" y="4"/>
                      </a:lnTo>
                      <a:lnTo>
                        <a:pt x="74" y="0"/>
                      </a:lnTo>
                      <a:lnTo>
                        <a:pt x="74" y="0"/>
                      </a:lnTo>
                      <a:lnTo>
                        <a:pt x="74" y="0"/>
                      </a:lnTo>
                      <a:lnTo>
                        <a:pt x="74" y="0"/>
                      </a:lnTo>
                      <a:lnTo>
                        <a:pt x="74" y="0"/>
                      </a:lnTo>
                      <a:lnTo>
                        <a:pt x="74" y="0"/>
                      </a:lnTo>
                      <a:lnTo>
                        <a:pt x="78" y="0"/>
                      </a:lnTo>
                      <a:lnTo>
                        <a:pt x="78" y="4"/>
                      </a:lnTo>
                      <a:lnTo>
                        <a:pt x="78" y="4"/>
                      </a:lnTo>
                      <a:lnTo>
                        <a:pt x="78" y="4"/>
                      </a:lnTo>
                      <a:lnTo>
                        <a:pt x="78" y="4"/>
                      </a:lnTo>
                      <a:lnTo>
                        <a:pt x="78" y="4"/>
                      </a:lnTo>
                      <a:lnTo>
                        <a:pt x="78" y="8"/>
                      </a:lnTo>
                      <a:lnTo>
                        <a:pt x="78" y="8"/>
                      </a:lnTo>
                      <a:lnTo>
                        <a:pt x="78" y="8"/>
                      </a:lnTo>
                      <a:lnTo>
                        <a:pt x="78" y="8"/>
                      </a:lnTo>
                      <a:lnTo>
                        <a:pt x="82" y="8"/>
                      </a:lnTo>
                      <a:lnTo>
                        <a:pt x="82" y="4"/>
                      </a:lnTo>
                      <a:lnTo>
                        <a:pt x="82" y="4"/>
                      </a:lnTo>
                      <a:lnTo>
                        <a:pt x="82" y="4"/>
                      </a:lnTo>
                      <a:lnTo>
                        <a:pt x="82" y="4"/>
                      </a:lnTo>
                      <a:lnTo>
                        <a:pt x="82" y="4"/>
                      </a:lnTo>
                      <a:lnTo>
                        <a:pt x="82" y="4"/>
                      </a:lnTo>
                      <a:lnTo>
                        <a:pt x="86" y="4"/>
                      </a:lnTo>
                      <a:lnTo>
                        <a:pt x="86" y="4"/>
                      </a:lnTo>
                      <a:lnTo>
                        <a:pt x="86" y="4"/>
                      </a:lnTo>
                      <a:lnTo>
                        <a:pt x="86" y="4"/>
                      </a:lnTo>
                      <a:lnTo>
                        <a:pt x="86" y="4"/>
                      </a:lnTo>
                      <a:lnTo>
                        <a:pt x="86" y="8"/>
                      </a:lnTo>
                      <a:lnTo>
                        <a:pt x="86" y="8"/>
                      </a:lnTo>
                      <a:lnTo>
                        <a:pt x="86" y="8"/>
                      </a:lnTo>
                      <a:lnTo>
                        <a:pt x="86" y="8"/>
                      </a:lnTo>
                      <a:lnTo>
                        <a:pt x="86" y="8"/>
                      </a:lnTo>
                      <a:lnTo>
                        <a:pt x="86" y="10"/>
                      </a:lnTo>
                      <a:lnTo>
                        <a:pt x="86" y="10"/>
                      </a:lnTo>
                      <a:lnTo>
                        <a:pt x="86" y="10"/>
                      </a:lnTo>
                      <a:lnTo>
                        <a:pt x="86" y="10"/>
                      </a:lnTo>
                      <a:lnTo>
                        <a:pt x="86" y="10"/>
                      </a:lnTo>
                      <a:lnTo>
                        <a:pt x="90" y="10"/>
                      </a:lnTo>
                      <a:lnTo>
                        <a:pt x="90" y="10"/>
                      </a:lnTo>
                      <a:lnTo>
                        <a:pt x="90" y="10"/>
                      </a:lnTo>
                      <a:lnTo>
                        <a:pt x="90" y="14"/>
                      </a:lnTo>
                      <a:lnTo>
                        <a:pt x="90" y="14"/>
                      </a:lnTo>
                      <a:lnTo>
                        <a:pt x="90" y="14"/>
                      </a:lnTo>
                      <a:lnTo>
                        <a:pt x="90" y="14"/>
                      </a:lnTo>
                      <a:lnTo>
                        <a:pt x="90" y="14"/>
                      </a:lnTo>
                      <a:lnTo>
                        <a:pt x="90" y="18"/>
                      </a:lnTo>
                      <a:lnTo>
                        <a:pt x="90" y="18"/>
                      </a:lnTo>
                      <a:lnTo>
                        <a:pt x="90" y="18"/>
                      </a:lnTo>
                      <a:lnTo>
                        <a:pt x="90" y="18"/>
                      </a:lnTo>
                      <a:lnTo>
                        <a:pt x="90" y="18"/>
                      </a:lnTo>
                      <a:lnTo>
                        <a:pt x="94" y="18"/>
                      </a:lnTo>
                      <a:lnTo>
                        <a:pt x="94" y="18"/>
                      </a:lnTo>
                      <a:lnTo>
                        <a:pt x="94" y="18"/>
                      </a:lnTo>
                      <a:lnTo>
                        <a:pt x="94" y="18"/>
                      </a:lnTo>
                      <a:lnTo>
                        <a:pt x="94" y="22"/>
                      </a:lnTo>
                      <a:lnTo>
                        <a:pt x="94" y="22"/>
                      </a:lnTo>
                      <a:lnTo>
                        <a:pt x="94" y="26"/>
                      </a:lnTo>
                      <a:lnTo>
                        <a:pt x="94" y="26"/>
                      </a:lnTo>
                      <a:lnTo>
                        <a:pt x="96" y="26"/>
                      </a:lnTo>
                      <a:lnTo>
                        <a:pt x="96" y="26"/>
                      </a:lnTo>
                      <a:lnTo>
                        <a:pt x="96" y="26"/>
                      </a:lnTo>
                      <a:lnTo>
                        <a:pt x="96" y="26"/>
                      </a:lnTo>
                      <a:lnTo>
                        <a:pt x="96" y="26"/>
                      </a:lnTo>
                      <a:lnTo>
                        <a:pt x="96" y="26"/>
                      </a:lnTo>
                      <a:lnTo>
                        <a:pt x="100" y="30"/>
                      </a:lnTo>
                      <a:lnTo>
                        <a:pt x="100" y="30"/>
                      </a:lnTo>
                      <a:lnTo>
                        <a:pt x="100" y="30"/>
                      </a:lnTo>
                      <a:lnTo>
                        <a:pt x="100" y="30"/>
                      </a:lnTo>
                      <a:lnTo>
                        <a:pt x="100" y="30"/>
                      </a:lnTo>
                      <a:lnTo>
                        <a:pt x="100" y="30"/>
                      </a:lnTo>
                      <a:lnTo>
                        <a:pt x="104" y="30"/>
                      </a:lnTo>
                      <a:lnTo>
                        <a:pt x="104" y="30"/>
                      </a:lnTo>
                      <a:lnTo>
                        <a:pt x="104" y="30"/>
                      </a:lnTo>
                      <a:lnTo>
                        <a:pt x="104" y="30"/>
                      </a:lnTo>
                      <a:lnTo>
                        <a:pt x="104" y="30"/>
                      </a:lnTo>
                      <a:lnTo>
                        <a:pt x="108" y="30"/>
                      </a:lnTo>
                      <a:lnTo>
                        <a:pt x="108" y="30"/>
                      </a:lnTo>
                      <a:lnTo>
                        <a:pt x="108" y="30"/>
                      </a:lnTo>
                      <a:lnTo>
                        <a:pt x="108" y="30"/>
                      </a:lnTo>
                      <a:lnTo>
                        <a:pt x="108" y="30"/>
                      </a:lnTo>
                      <a:lnTo>
                        <a:pt x="108" y="30"/>
                      </a:lnTo>
                      <a:lnTo>
                        <a:pt x="104" y="30"/>
                      </a:lnTo>
                      <a:lnTo>
                        <a:pt x="104" y="30"/>
                      </a:lnTo>
                      <a:lnTo>
                        <a:pt x="104" y="30"/>
                      </a:lnTo>
                      <a:lnTo>
                        <a:pt x="104" y="30"/>
                      </a:lnTo>
                      <a:lnTo>
                        <a:pt x="104" y="34"/>
                      </a:lnTo>
                      <a:lnTo>
                        <a:pt x="100" y="34"/>
                      </a:lnTo>
                      <a:lnTo>
                        <a:pt x="104" y="38"/>
                      </a:lnTo>
                      <a:lnTo>
                        <a:pt x="104" y="38"/>
                      </a:lnTo>
                      <a:lnTo>
                        <a:pt x="104" y="38"/>
                      </a:lnTo>
                      <a:lnTo>
                        <a:pt x="104" y="38"/>
                      </a:lnTo>
                      <a:lnTo>
                        <a:pt x="104" y="40"/>
                      </a:lnTo>
                      <a:lnTo>
                        <a:pt x="104" y="40"/>
                      </a:lnTo>
                      <a:lnTo>
                        <a:pt x="104" y="40"/>
                      </a:lnTo>
                      <a:lnTo>
                        <a:pt x="104" y="40"/>
                      </a:lnTo>
                      <a:lnTo>
                        <a:pt x="104" y="44"/>
                      </a:lnTo>
                      <a:lnTo>
                        <a:pt x="104" y="44"/>
                      </a:lnTo>
                      <a:lnTo>
                        <a:pt x="100" y="44"/>
                      </a:lnTo>
                      <a:lnTo>
                        <a:pt x="100" y="44"/>
                      </a:lnTo>
                      <a:lnTo>
                        <a:pt x="100" y="44"/>
                      </a:lnTo>
                      <a:lnTo>
                        <a:pt x="100" y="44"/>
                      </a:lnTo>
                      <a:lnTo>
                        <a:pt x="100" y="44"/>
                      </a:lnTo>
                      <a:lnTo>
                        <a:pt x="100" y="48"/>
                      </a:lnTo>
                      <a:lnTo>
                        <a:pt x="100" y="44"/>
                      </a:lnTo>
                      <a:lnTo>
                        <a:pt x="100" y="48"/>
                      </a:lnTo>
                      <a:lnTo>
                        <a:pt x="100" y="48"/>
                      </a:lnTo>
                      <a:lnTo>
                        <a:pt x="96" y="48"/>
                      </a:lnTo>
                      <a:lnTo>
                        <a:pt x="96" y="48"/>
                      </a:lnTo>
                      <a:lnTo>
                        <a:pt x="96" y="48"/>
                      </a:lnTo>
                      <a:lnTo>
                        <a:pt x="96" y="48"/>
                      </a:lnTo>
                      <a:lnTo>
                        <a:pt x="96" y="52"/>
                      </a:lnTo>
                      <a:lnTo>
                        <a:pt x="96" y="52"/>
                      </a:lnTo>
                      <a:lnTo>
                        <a:pt x="100" y="52"/>
                      </a:lnTo>
                      <a:lnTo>
                        <a:pt x="96" y="52"/>
                      </a:lnTo>
                      <a:lnTo>
                        <a:pt x="96" y="52"/>
                      </a:lnTo>
                      <a:lnTo>
                        <a:pt x="96" y="52"/>
                      </a:lnTo>
                      <a:lnTo>
                        <a:pt x="94" y="56"/>
                      </a:lnTo>
                      <a:lnTo>
                        <a:pt x="96" y="56"/>
                      </a:lnTo>
                      <a:lnTo>
                        <a:pt x="96" y="56"/>
                      </a:lnTo>
                      <a:lnTo>
                        <a:pt x="96" y="56"/>
                      </a:lnTo>
                      <a:lnTo>
                        <a:pt x="96" y="56"/>
                      </a:lnTo>
                      <a:lnTo>
                        <a:pt x="96" y="56"/>
                      </a:lnTo>
                      <a:lnTo>
                        <a:pt x="96" y="60"/>
                      </a:lnTo>
                      <a:lnTo>
                        <a:pt x="96" y="60"/>
                      </a:lnTo>
                      <a:lnTo>
                        <a:pt x="96" y="60"/>
                      </a:lnTo>
                      <a:lnTo>
                        <a:pt x="96" y="64"/>
                      </a:lnTo>
                      <a:lnTo>
                        <a:pt x="94" y="64"/>
                      </a:lnTo>
                      <a:lnTo>
                        <a:pt x="94" y="64"/>
                      </a:lnTo>
                      <a:lnTo>
                        <a:pt x="94" y="64"/>
                      </a:lnTo>
                      <a:lnTo>
                        <a:pt x="96" y="64"/>
                      </a:lnTo>
                      <a:lnTo>
                        <a:pt x="96" y="64"/>
                      </a:lnTo>
                      <a:lnTo>
                        <a:pt x="96" y="68"/>
                      </a:lnTo>
                      <a:lnTo>
                        <a:pt x="96" y="68"/>
                      </a:lnTo>
                      <a:lnTo>
                        <a:pt x="96" y="68"/>
                      </a:lnTo>
                      <a:lnTo>
                        <a:pt x="96" y="70"/>
                      </a:lnTo>
                      <a:lnTo>
                        <a:pt x="100" y="70"/>
                      </a:lnTo>
                      <a:lnTo>
                        <a:pt x="100" y="70"/>
                      </a:lnTo>
                      <a:lnTo>
                        <a:pt x="100" y="70"/>
                      </a:lnTo>
                      <a:lnTo>
                        <a:pt x="100" y="70"/>
                      </a:lnTo>
                      <a:lnTo>
                        <a:pt x="100" y="70"/>
                      </a:lnTo>
                      <a:lnTo>
                        <a:pt x="100" y="70"/>
                      </a:lnTo>
                      <a:lnTo>
                        <a:pt x="100" y="70"/>
                      </a:lnTo>
                      <a:lnTo>
                        <a:pt x="100" y="74"/>
                      </a:lnTo>
                      <a:lnTo>
                        <a:pt x="100" y="74"/>
                      </a:lnTo>
                      <a:lnTo>
                        <a:pt x="100" y="74"/>
                      </a:lnTo>
                      <a:lnTo>
                        <a:pt x="104" y="74"/>
                      </a:lnTo>
                      <a:lnTo>
                        <a:pt x="104" y="74"/>
                      </a:lnTo>
                      <a:lnTo>
                        <a:pt x="104" y="74"/>
                      </a:lnTo>
                      <a:lnTo>
                        <a:pt x="104" y="74"/>
                      </a:lnTo>
                      <a:lnTo>
                        <a:pt x="104" y="74"/>
                      </a:lnTo>
                      <a:lnTo>
                        <a:pt x="104" y="74"/>
                      </a:lnTo>
                      <a:lnTo>
                        <a:pt x="104" y="78"/>
                      </a:lnTo>
                      <a:lnTo>
                        <a:pt x="104" y="78"/>
                      </a:lnTo>
                      <a:lnTo>
                        <a:pt x="104" y="78"/>
                      </a:lnTo>
                      <a:lnTo>
                        <a:pt x="104" y="78"/>
                      </a:lnTo>
                      <a:lnTo>
                        <a:pt x="104" y="82"/>
                      </a:lnTo>
                      <a:lnTo>
                        <a:pt x="104" y="82"/>
                      </a:lnTo>
                      <a:lnTo>
                        <a:pt x="104" y="82"/>
                      </a:lnTo>
                      <a:lnTo>
                        <a:pt x="104" y="82"/>
                      </a:lnTo>
                      <a:lnTo>
                        <a:pt x="104" y="82"/>
                      </a:lnTo>
                      <a:lnTo>
                        <a:pt x="104" y="82"/>
                      </a:lnTo>
                      <a:lnTo>
                        <a:pt x="104" y="82"/>
                      </a:lnTo>
                      <a:lnTo>
                        <a:pt x="108" y="82"/>
                      </a:lnTo>
                      <a:lnTo>
                        <a:pt x="108" y="82"/>
                      </a:lnTo>
                      <a:lnTo>
                        <a:pt x="108" y="82"/>
                      </a:lnTo>
                      <a:lnTo>
                        <a:pt x="108" y="82"/>
                      </a:lnTo>
                      <a:lnTo>
                        <a:pt x="108" y="82"/>
                      </a:lnTo>
                      <a:lnTo>
                        <a:pt x="108" y="82"/>
                      </a:lnTo>
                      <a:lnTo>
                        <a:pt x="112" y="86"/>
                      </a:lnTo>
                      <a:lnTo>
                        <a:pt x="112" y="86"/>
                      </a:lnTo>
                      <a:lnTo>
                        <a:pt x="112" y="86"/>
                      </a:lnTo>
                      <a:lnTo>
                        <a:pt x="112" y="86"/>
                      </a:lnTo>
                      <a:lnTo>
                        <a:pt x="112" y="86"/>
                      </a:lnTo>
                      <a:lnTo>
                        <a:pt x="116" y="90"/>
                      </a:lnTo>
                      <a:lnTo>
                        <a:pt x="116" y="90"/>
                      </a:lnTo>
                      <a:lnTo>
                        <a:pt x="116" y="90"/>
                      </a:lnTo>
                      <a:lnTo>
                        <a:pt x="116" y="90"/>
                      </a:lnTo>
                      <a:lnTo>
                        <a:pt x="116" y="90"/>
                      </a:lnTo>
                      <a:lnTo>
                        <a:pt x="116" y="90"/>
                      </a:lnTo>
                      <a:lnTo>
                        <a:pt x="120" y="90"/>
                      </a:lnTo>
                      <a:lnTo>
                        <a:pt x="120" y="90"/>
                      </a:lnTo>
                      <a:lnTo>
                        <a:pt x="120" y="94"/>
                      </a:lnTo>
                      <a:lnTo>
                        <a:pt x="120" y="94"/>
                      </a:lnTo>
                      <a:lnTo>
                        <a:pt x="120" y="94"/>
                      </a:lnTo>
                      <a:lnTo>
                        <a:pt x="120" y="94"/>
                      </a:lnTo>
                      <a:lnTo>
                        <a:pt x="120" y="94"/>
                      </a:lnTo>
                      <a:lnTo>
                        <a:pt x="124" y="94"/>
                      </a:lnTo>
                      <a:lnTo>
                        <a:pt x="124" y="94"/>
                      </a:lnTo>
                      <a:lnTo>
                        <a:pt x="124" y="94"/>
                      </a:lnTo>
                      <a:lnTo>
                        <a:pt x="124" y="98"/>
                      </a:lnTo>
                      <a:lnTo>
                        <a:pt x="126" y="98"/>
                      </a:lnTo>
                      <a:lnTo>
                        <a:pt x="126" y="100"/>
                      </a:lnTo>
                      <a:lnTo>
                        <a:pt x="126" y="100"/>
                      </a:lnTo>
                      <a:lnTo>
                        <a:pt x="126" y="104"/>
                      </a:lnTo>
                      <a:lnTo>
                        <a:pt x="130" y="104"/>
                      </a:lnTo>
                      <a:lnTo>
                        <a:pt x="130" y="104"/>
                      </a:lnTo>
                      <a:lnTo>
                        <a:pt x="130" y="104"/>
                      </a:lnTo>
                      <a:lnTo>
                        <a:pt x="126" y="108"/>
                      </a:lnTo>
                      <a:lnTo>
                        <a:pt x="126" y="108"/>
                      </a:lnTo>
                      <a:lnTo>
                        <a:pt x="126" y="112"/>
                      </a:lnTo>
                      <a:lnTo>
                        <a:pt x="126" y="112"/>
                      </a:lnTo>
                      <a:lnTo>
                        <a:pt x="126" y="112"/>
                      </a:lnTo>
                      <a:lnTo>
                        <a:pt x="126" y="116"/>
                      </a:lnTo>
                      <a:lnTo>
                        <a:pt x="126" y="116"/>
                      </a:lnTo>
                      <a:lnTo>
                        <a:pt x="126" y="116"/>
                      </a:lnTo>
                      <a:lnTo>
                        <a:pt x="126" y="116"/>
                      </a:lnTo>
                      <a:lnTo>
                        <a:pt x="126" y="120"/>
                      </a:lnTo>
                      <a:lnTo>
                        <a:pt x="130" y="120"/>
                      </a:lnTo>
                      <a:lnTo>
                        <a:pt x="130" y="120"/>
                      </a:lnTo>
                      <a:lnTo>
                        <a:pt x="130" y="120"/>
                      </a:lnTo>
                      <a:lnTo>
                        <a:pt x="130" y="120"/>
                      </a:lnTo>
                      <a:lnTo>
                        <a:pt x="130" y="128"/>
                      </a:lnTo>
                      <a:lnTo>
                        <a:pt x="130" y="128"/>
                      </a:lnTo>
                      <a:lnTo>
                        <a:pt x="130" y="128"/>
                      </a:lnTo>
                      <a:lnTo>
                        <a:pt x="130" y="130"/>
                      </a:lnTo>
                      <a:lnTo>
                        <a:pt x="134" y="130"/>
                      </a:lnTo>
                      <a:lnTo>
                        <a:pt x="134" y="130"/>
                      </a:lnTo>
                      <a:lnTo>
                        <a:pt x="134" y="130"/>
                      </a:lnTo>
                      <a:lnTo>
                        <a:pt x="134" y="130"/>
                      </a:lnTo>
                      <a:lnTo>
                        <a:pt x="138" y="134"/>
                      </a:lnTo>
                      <a:lnTo>
                        <a:pt x="138" y="134"/>
                      </a:lnTo>
                      <a:lnTo>
                        <a:pt x="138" y="134"/>
                      </a:lnTo>
                      <a:lnTo>
                        <a:pt x="138" y="138"/>
                      </a:lnTo>
                      <a:lnTo>
                        <a:pt x="138" y="138"/>
                      </a:lnTo>
                      <a:lnTo>
                        <a:pt x="138" y="138"/>
                      </a:lnTo>
                      <a:lnTo>
                        <a:pt x="138" y="138"/>
                      </a:lnTo>
                      <a:lnTo>
                        <a:pt x="138" y="138"/>
                      </a:lnTo>
                      <a:lnTo>
                        <a:pt x="138" y="138"/>
                      </a:lnTo>
                      <a:lnTo>
                        <a:pt x="138" y="138"/>
                      </a:lnTo>
                      <a:lnTo>
                        <a:pt x="134" y="138"/>
                      </a:lnTo>
                      <a:lnTo>
                        <a:pt x="134" y="138"/>
                      </a:lnTo>
                      <a:lnTo>
                        <a:pt x="134" y="138"/>
                      </a:lnTo>
                      <a:lnTo>
                        <a:pt x="134" y="138"/>
                      </a:lnTo>
                      <a:lnTo>
                        <a:pt x="134" y="138"/>
                      </a:lnTo>
                      <a:lnTo>
                        <a:pt x="134" y="138"/>
                      </a:lnTo>
                      <a:lnTo>
                        <a:pt x="134" y="138"/>
                      </a:lnTo>
                      <a:lnTo>
                        <a:pt x="134" y="138"/>
                      </a:lnTo>
                      <a:lnTo>
                        <a:pt x="130" y="138"/>
                      </a:lnTo>
                      <a:lnTo>
                        <a:pt x="130" y="138"/>
                      </a:lnTo>
                      <a:lnTo>
                        <a:pt x="130" y="138"/>
                      </a:lnTo>
                      <a:lnTo>
                        <a:pt x="130" y="138"/>
                      </a:lnTo>
                      <a:lnTo>
                        <a:pt x="126" y="134"/>
                      </a:lnTo>
                      <a:lnTo>
                        <a:pt x="124" y="134"/>
                      </a:lnTo>
                      <a:lnTo>
                        <a:pt x="124" y="134"/>
                      </a:lnTo>
                      <a:lnTo>
                        <a:pt x="124" y="134"/>
                      </a:lnTo>
                      <a:lnTo>
                        <a:pt x="120" y="138"/>
                      </a:lnTo>
                      <a:lnTo>
                        <a:pt x="120" y="138"/>
                      </a:lnTo>
                      <a:lnTo>
                        <a:pt x="120" y="138"/>
                      </a:lnTo>
                      <a:lnTo>
                        <a:pt x="120" y="138"/>
                      </a:lnTo>
                      <a:lnTo>
                        <a:pt x="120" y="138"/>
                      </a:lnTo>
                      <a:lnTo>
                        <a:pt x="120" y="138"/>
                      </a:lnTo>
                      <a:lnTo>
                        <a:pt x="120" y="142"/>
                      </a:lnTo>
                      <a:lnTo>
                        <a:pt x="116" y="146"/>
                      </a:lnTo>
                      <a:lnTo>
                        <a:pt x="116" y="146"/>
                      </a:lnTo>
                      <a:lnTo>
                        <a:pt x="116" y="146"/>
                      </a:lnTo>
                      <a:lnTo>
                        <a:pt x="116" y="146"/>
                      </a:lnTo>
                      <a:lnTo>
                        <a:pt x="116" y="150"/>
                      </a:lnTo>
                      <a:lnTo>
                        <a:pt x="116" y="150"/>
                      </a:lnTo>
                      <a:lnTo>
                        <a:pt x="112" y="150"/>
                      </a:lnTo>
                      <a:lnTo>
                        <a:pt x="112" y="154"/>
                      </a:lnTo>
                      <a:lnTo>
                        <a:pt x="112" y="154"/>
                      </a:lnTo>
                      <a:lnTo>
                        <a:pt x="112" y="154"/>
                      </a:lnTo>
                      <a:lnTo>
                        <a:pt x="112" y="154"/>
                      </a:lnTo>
                      <a:lnTo>
                        <a:pt x="112" y="154"/>
                      </a:lnTo>
                      <a:lnTo>
                        <a:pt x="112" y="154"/>
                      </a:lnTo>
                      <a:lnTo>
                        <a:pt x="112" y="154"/>
                      </a:lnTo>
                      <a:lnTo>
                        <a:pt x="112" y="154"/>
                      </a:lnTo>
                      <a:lnTo>
                        <a:pt x="108" y="154"/>
                      </a:lnTo>
                      <a:lnTo>
                        <a:pt x="104" y="154"/>
                      </a:lnTo>
                      <a:lnTo>
                        <a:pt x="86" y="154"/>
                      </a:lnTo>
                      <a:lnTo>
                        <a:pt x="70" y="138"/>
                      </a:lnTo>
                      <a:lnTo>
                        <a:pt x="60" y="130"/>
                      </a:lnTo>
                      <a:lnTo>
                        <a:pt x="60" y="128"/>
                      </a:lnTo>
                      <a:lnTo>
                        <a:pt x="48" y="116"/>
                      </a:lnTo>
                      <a:lnTo>
                        <a:pt x="38" y="112"/>
                      </a:lnTo>
                      <a:lnTo>
                        <a:pt x="22" y="100"/>
                      </a:lnTo>
                      <a:lnTo>
                        <a:pt x="18" y="100"/>
                      </a:lnTo>
                      <a:lnTo>
                        <a:pt x="12" y="98"/>
                      </a:lnTo>
                      <a:lnTo>
                        <a:pt x="8" y="98"/>
                      </a:lnTo>
                      <a:lnTo>
                        <a:pt x="8" y="98"/>
                      </a:lnTo>
                      <a:lnTo>
                        <a:pt x="8" y="9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2" name="Freeform 31"/>
                <p:cNvSpPr>
                  <a:spLocks noEditPoints="1"/>
                </p:cNvSpPr>
                <p:nvPr/>
              </p:nvSpPr>
              <p:spPr bwMode="auto">
                <a:xfrm>
                  <a:off x="5162550" y="3632268"/>
                  <a:ext cx="28575" cy="107950"/>
                </a:xfrm>
                <a:custGeom>
                  <a:avLst/>
                  <a:gdLst>
                    <a:gd name="T0" fmla="*/ 14 w 18"/>
                    <a:gd name="T1" fmla="*/ 46 h 68"/>
                    <a:gd name="T2" fmla="*/ 14 w 18"/>
                    <a:gd name="T3" fmla="*/ 50 h 68"/>
                    <a:gd name="T4" fmla="*/ 12 w 18"/>
                    <a:gd name="T5" fmla="*/ 56 h 68"/>
                    <a:gd name="T6" fmla="*/ 12 w 18"/>
                    <a:gd name="T7" fmla="*/ 60 h 68"/>
                    <a:gd name="T8" fmla="*/ 12 w 18"/>
                    <a:gd name="T9" fmla="*/ 60 h 68"/>
                    <a:gd name="T10" fmla="*/ 12 w 18"/>
                    <a:gd name="T11" fmla="*/ 68 h 68"/>
                    <a:gd name="T12" fmla="*/ 8 w 18"/>
                    <a:gd name="T13" fmla="*/ 68 h 68"/>
                    <a:gd name="T14" fmla="*/ 8 w 18"/>
                    <a:gd name="T15" fmla="*/ 68 h 68"/>
                    <a:gd name="T16" fmla="*/ 4 w 18"/>
                    <a:gd name="T17" fmla="*/ 52 h 68"/>
                    <a:gd name="T18" fmla="*/ 4 w 18"/>
                    <a:gd name="T19" fmla="*/ 46 h 68"/>
                    <a:gd name="T20" fmla="*/ 0 w 18"/>
                    <a:gd name="T21" fmla="*/ 38 h 68"/>
                    <a:gd name="T22" fmla="*/ 4 w 18"/>
                    <a:gd name="T23" fmla="*/ 34 h 68"/>
                    <a:gd name="T24" fmla="*/ 4 w 18"/>
                    <a:gd name="T25" fmla="*/ 30 h 68"/>
                    <a:gd name="T26" fmla="*/ 4 w 18"/>
                    <a:gd name="T27" fmla="*/ 26 h 68"/>
                    <a:gd name="T28" fmla="*/ 8 w 18"/>
                    <a:gd name="T29" fmla="*/ 22 h 68"/>
                    <a:gd name="T30" fmla="*/ 8 w 18"/>
                    <a:gd name="T31" fmla="*/ 20 h 68"/>
                    <a:gd name="T32" fmla="*/ 12 w 18"/>
                    <a:gd name="T33" fmla="*/ 8 h 68"/>
                    <a:gd name="T34" fmla="*/ 12 w 18"/>
                    <a:gd name="T35" fmla="*/ 8 h 68"/>
                    <a:gd name="T36" fmla="*/ 12 w 18"/>
                    <a:gd name="T37" fmla="*/ 8 h 68"/>
                    <a:gd name="T38" fmla="*/ 12 w 18"/>
                    <a:gd name="T39" fmla="*/ 4 h 68"/>
                    <a:gd name="T40" fmla="*/ 14 w 18"/>
                    <a:gd name="T41" fmla="*/ 4 h 68"/>
                    <a:gd name="T42" fmla="*/ 18 w 18"/>
                    <a:gd name="T43" fmla="*/ 4 h 68"/>
                    <a:gd name="T44" fmla="*/ 18 w 18"/>
                    <a:gd name="T45" fmla="*/ 0 h 68"/>
                    <a:gd name="T46" fmla="*/ 18 w 18"/>
                    <a:gd name="T47" fmla="*/ 0 h 68"/>
                    <a:gd name="T48" fmla="*/ 18 w 18"/>
                    <a:gd name="T49" fmla="*/ 0 h 68"/>
                    <a:gd name="T50" fmla="*/ 18 w 18"/>
                    <a:gd name="T51" fmla="*/ 4 h 68"/>
                    <a:gd name="T52" fmla="*/ 18 w 18"/>
                    <a:gd name="T53" fmla="*/ 8 h 68"/>
                    <a:gd name="T54" fmla="*/ 18 w 18"/>
                    <a:gd name="T55" fmla="*/ 8 h 68"/>
                    <a:gd name="T56" fmla="*/ 18 w 18"/>
                    <a:gd name="T57" fmla="*/ 12 h 68"/>
                    <a:gd name="T58" fmla="*/ 18 w 18"/>
                    <a:gd name="T59" fmla="*/ 16 h 68"/>
                    <a:gd name="T60" fmla="*/ 14 w 18"/>
                    <a:gd name="T61" fmla="*/ 12 h 68"/>
                    <a:gd name="T62" fmla="*/ 14 w 18"/>
                    <a:gd name="T63" fmla="*/ 12 h 68"/>
                    <a:gd name="T64" fmla="*/ 12 w 18"/>
                    <a:gd name="T65" fmla="*/ 16 h 68"/>
                    <a:gd name="T66" fmla="*/ 12 w 18"/>
                    <a:gd name="T67" fmla="*/ 20 h 68"/>
                    <a:gd name="T68" fmla="*/ 12 w 18"/>
                    <a:gd name="T69" fmla="*/ 22 h 68"/>
                    <a:gd name="T70" fmla="*/ 12 w 18"/>
                    <a:gd name="T71" fmla="*/ 26 h 68"/>
                    <a:gd name="T72" fmla="*/ 12 w 18"/>
                    <a:gd name="T73" fmla="*/ 26 h 68"/>
                    <a:gd name="T74" fmla="*/ 12 w 18"/>
                    <a:gd name="T75" fmla="*/ 26 h 68"/>
                    <a:gd name="T76" fmla="*/ 12 w 18"/>
                    <a:gd name="T77" fmla="*/ 30 h 68"/>
                    <a:gd name="T78" fmla="*/ 8 w 18"/>
                    <a:gd name="T79" fmla="*/ 34 h 68"/>
                    <a:gd name="T80" fmla="*/ 12 w 18"/>
                    <a:gd name="T81" fmla="*/ 34 h 68"/>
                    <a:gd name="T82" fmla="*/ 14 w 18"/>
                    <a:gd name="T83" fmla="*/ 34 h 68"/>
                    <a:gd name="T84" fmla="*/ 18 w 18"/>
                    <a:gd name="T85" fmla="*/ 30 h 68"/>
                    <a:gd name="T86" fmla="*/ 18 w 18"/>
                    <a:gd name="T87" fmla="*/ 34 h 68"/>
                    <a:gd name="T88" fmla="*/ 18 w 18"/>
                    <a:gd name="T89" fmla="*/ 38 h 68"/>
                    <a:gd name="T90" fmla="*/ 14 w 18"/>
                    <a:gd name="T91" fmla="*/ 42 h 68"/>
                    <a:gd name="T92" fmla="*/ 14 w 18"/>
                    <a:gd name="T93" fmla="*/ 26 h 68"/>
                    <a:gd name="T94" fmla="*/ 14 w 18"/>
                    <a:gd name="T95" fmla="*/ 26 h 68"/>
                    <a:gd name="T96" fmla="*/ 14 w 18"/>
                    <a:gd name="T97" fmla="*/ 26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8" h="68">
                      <a:moveTo>
                        <a:pt x="14" y="42"/>
                      </a:moveTo>
                      <a:lnTo>
                        <a:pt x="14" y="42"/>
                      </a:lnTo>
                      <a:lnTo>
                        <a:pt x="14" y="42"/>
                      </a:lnTo>
                      <a:lnTo>
                        <a:pt x="14" y="46"/>
                      </a:lnTo>
                      <a:lnTo>
                        <a:pt x="14" y="46"/>
                      </a:lnTo>
                      <a:lnTo>
                        <a:pt x="14" y="46"/>
                      </a:lnTo>
                      <a:lnTo>
                        <a:pt x="14" y="50"/>
                      </a:lnTo>
                      <a:lnTo>
                        <a:pt x="14" y="50"/>
                      </a:lnTo>
                      <a:lnTo>
                        <a:pt x="12" y="52"/>
                      </a:lnTo>
                      <a:lnTo>
                        <a:pt x="12" y="52"/>
                      </a:lnTo>
                      <a:lnTo>
                        <a:pt x="12" y="52"/>
                      </a:lnTo>
                      <a:lnTo>
                        <a:pt x="12" y="56"/>
                      </a:lnTo>
                      <a:lnTo>
                        <a:pt x="12" y="56"/>
                      </a:lnTo>
                      <a:lnTo>
                        <a:pt x="12" y="56"/>
                      </a:lnTo>
                      <a:lnTo>
                        <a:pt x="12" y="60"/>
                      </a:lnTo>
                      <a:lnTo>
                        <a:pt x="12" y="60"/>
                      </a:lnTo>
                      <a:lnTo>
                        <a:pt x="12" y="60"/>
                      </a:lnTo>
                      <a:lnTo>
                        <a:pt x="12" y="60"/>
                      </a:lnTo>
                      <a:lnTo>
                        <a:pt x="12" y="60"/>
                      </a:lnTo>
                      <a:lnTo>
                        <a:pt x="12" y="60"/>
                      </a:lnTo>
                      <a:lnTo>
                        <a:pt x="12" y="68"/>
                      </a:lnTo>
                      <a:lnTo>
                        <a:pt x="12" y="68"/>
                      </a:lnTo>
                      <a:lnTo>
                        <a:pt x="12" y="68"/>
                      </a:lnTo>
                      <a:lnTo>
                        <a:pt x="12" y="68"/>
                      </a:lnTo>
                      <a:lnTo>
                        <a:pt x="12" y="68"/>
                      </a:lnTo>
                      <a:lnTo>
                        <a:pt x="12" y="68"/>
                      </a:lnTo>
                      <a:lnTo>
                        <a:pt x="12" y="68"/>
                      </a:lnTo>
                      <a:lnTo>
                        <a:pt x="8" y="68"/>
                      </a:lnTo>
                      <a:lnTo>
                        <a:pt x="8" y="68"/>
                      </a:lnTo>
                      <a:lnTo>
                        <a:pt x="8" y="68"/>
                      </a:lnTo>
                      <a:lnTo>
                        <a:pt x="8" y="68"/>
                      </a:lnTo>
                      <a:lnTo>
                        <a:pt x="8" y="68"/>
                      </a:lnTo>
                      <a:lnTo>
                        <a:pt x="8" y="64"/>
                      </a:lnTo>
                      <a:lnTo>
                        <a:pt x="8" y="60"/>
                      </a:lnTo>
                      <a:lnTo>
                        <a:pt x="8" y="56"/>
                      </a:lnTo>
                      <a:lnTo>
                        <a:pt x="4" y="52"/>
                      </a:lnTo>
                      <a:lnTo>
                        <a:pt x="4" y="52"/>
                      </a:lnTo>
                      <a:lnTo>
                        <a:pt x="4" y="52"/>
                      </a:lnTo>
                      <a:lnTo>
                        <a:pt x="4" y="50"/>
                      </a:lnTo>
                      <a:lnTo>
                        <a:pt x="4" y="46"/>
                      </a:lnTo>
                      <a:lnTo>
                        <a:pt x="4" y="46"/>
                      </a:lnTo>
                      <a:lnTo>
                        <a:pt x="0" y="38"/>
                      </a:lnTo>
                      <a:lnTo>
                        <a:pt x="0" y="38"/>
                      </a:lnTo>
                      <a:lnTo>
                        <a:pt x="0" y="38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26"/>
                      </a:lnTo>
                      <a:lnTo>
                        <a:pt x="8" y="26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2"/>
                      </a:lnTo>
                      <a:lnTo>
                        <a:pt x="12" y="8"/>
                      </a:lnTo>
                      <a:lnTo>
                        <a:pt x="12" y="8"/>
                      </a:lnTo>
                      <a:lnTo>
                        <a:pt x="12" y="8"/>
                      </a:lnTo>
                      <a:lnTo>
                        <a:pt x="12" y="8"/>
                      </a:lnTo>
                      <a:lnTo>
                        <a:pt x="12" y="8"/>
                      </a:lnTo>
                      <a:lnTo>
                        <a:pt x="12" y="8"/>
                      </a:lnTo>
                      <a:lnTo>
                        <a:pt x="12" y="8"/>
                      </a:lnTo>
                      <a:lnTo>
                        <a:pt x="12" y="8"/>
                      </a:lnTo>
                      <a:lnTo>
                        <a:pt x="12" y="8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8" y="4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8" y="12"/>
                      </a:lnTo>
                      <a:lnTo>
                        <a:pt x="18" y="12"/>
                      </a:lnTo>
                      <a:lnTo>
                        <a:pt x="18" y="12"/>
                      </a:lnTo>
                      <a:lnTo>
                        <a:pt x="18" y="12"/>
                      </a:lnTo>
                      <a:lnTo>
                        <a:pt x="18" y="16"/>
                      </a:lnTo>
                      <a:lnTo>
                        <a:pt x="18" y="16"/>
                      </a:lnTo>
                      <a:lnTo>
                        <a:pt x="18" y="16"/>
                      </a:lnTo>
                      <a:lnTo>
                        <a:pt x="14" y="16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2" y="16"/>
                      </a:lnTo>
                      <a:lnTo>
                        <a:pt x="12" y="16"/>
                      </a:lnTo>
                      <a:lnTo>
                        <a:pt x="12" y="16"/>
                      </a:lnTo>
                      <a:lnTo>
                        <a:pt x="12" y="16"/>
                      </a:lnTo>
                      <a:lnTo>
                        <a:pt x="12" y="16"/>
                      </a:lnTo>
                      <a:lnTo>
                        <a:pt x="12" y="16"/>
                      </a:lnTo>
                      <a:lnTo>
                        <a:pt x="12" y="20"/>
                      </a:lnTo>
                      <a:lnTo>
                        <a:pt x="12" y="20"/>
                      </a:lnTo>
                      <a:lnTo>
                        <a:pt x="12" y="20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2" y="34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12" y="34"/>
                      </a:lnTo>
                      <a:lnTo>
                        <a:pt x="12" y="34"/>
                      </a:lnTo>
                      <a:lnTo>
                        <a:pt x="14" y="34"/>
                      </a:lnTo>
                      <a:lnTo>
                        <a:pt x="14" y="34"/>
                      </a:lnTo>
                      <a:lnTo>
                        <a:pt x="14" y="34"/>
                      </a:lnTo>
                      <a:lnTo>
                        <a:pt x="14" y="34"/>
                      </a:lnTo>
                      <a:lnTo>
                        <a:pt x="14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4" y="38"/>
                      </a:lnTo>
                      <a:lnTo>
                        <a:pt x="14" y="38"/>
                      </a:lnTo>
                      <a:lnTo>
                        <a:pt x="18" y="38"/>
                      </a:lnTo>
                      <a:lnTo>
                        <a:pt x="18" y="38"/>
                      </a:lnTo>
                      <a:lnTo>
                        <a:pt x="18" y="38"/>
                      </a:lnTo>
                      <a:lnTo>
                        <a:pt x="14" y="42"/>
                      </a:lnTo>
                      <a:lnTo>
                        <a:pt x="14" y="42"/>
                      </a:lnTo>
                      <a:lnTo>
                        <a:pt x="14" y="42"/>
                      </a:lnTo>
                      <a:lnTo>
                        <a:pt x="14" y="42"/>
                      </a:lnTo>
                      <a:close/>
                      <a:moveTo>
                        <a:pt x="14" y="26"/>
                      </a:move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3" name="Freeform 32"/>
                <p:cNvSpPr>
                  <a:spLocks noEditPoints="1"/>
                </p:cNvSpPr>
                <p:nvPr/>
              </p:nvSpPr>
              <p:spPr bwMode="auto">
                <a:xfrm>
                  <a:off x="7165975" y="3254443"/>
                  <a:ext cx="498475" cy="638175"/>
                </a:xfrm>
                <a:custGeom>
                  <a:avLst/>
                  <a:gdLst>
                    <a:gd name="T0" fmla="*/ 98 w 314"/>
                    <a:gd name="T1" fmla="*/ 250 h 402"/>
                    <a:gd name="T2" fmla="*/ 278 w 314"/>
                    <a:gd name="T3" fmla="*/ 70 h 402"/>
                    <a:gd name="T4" fmla="*/ 240 w 314"/>
                    <a:gd name="T5" fmla="*/ 60 h 402"/>
                    <a:gd name="T6" fmla="*/ 248 w 314"/>
                    <a:gd name="T7" fmla="*/ 78 h 402"/>
                    <a:gd name="T8" fmla="*/ 228 w 314"/>
                    <a:gd name="T9" fmla="*/ 66 h 402"/>
                    <a:gd name="T10" fmla="*/ 244 w 314"/>
                    <a:gd name="T11" fmla="*/ 48 h 402"/>
                    <a:gd name="T12" fmla="*/ 258 w 314"/>
                    <a:gd name="T13" fmla="*/ 26 h 402"/>
                    <a:gd name="T14" fmla="*/ 270 w 314"/>
                    <a:gd name="T15" fmla="*/ 12 h 402"/>
                    <a:gd name="T16" fmla="*/ 296 w 314"/>
                    <a:gd name="T17" fmla="*/ 34 h 402"/>
                    <a:gd name="T18" fmla="*/ 310 w 314"/>
                    <a:gd name="T19" fmla="*/ 42 h 402"/>
                    <a:gd name="T20" fmla="*/ 296 w 314"/>
                    <a:gd name="T21" fmla="*/ 52 h 402"/>
                    <a:gd name="T22" fmla="*/ 252 w 314"/>
                    <a:gd name="T23" fmla="*/ 8 h 402"/>
                    <a:gd name="T24" fmla="*/ 226 w 314"/>
                    <a:gd name="T25" fmla="*/ 66 h 402"/>
                    <a:gd name="T26" fmla="*/ 136 w 314"/>
                    <a:gd name="T27" fmla="*/ 216 h 402"/>
                    <a:gd name="T28" fmla="*/ 116 w 314"/>
                    <a:gd name="T29" fmla="*/ 224 h 402"/>
                    <a:gd name="T30" fmla="*/ 120 w 314"/>
                    <a:gd name="T31" fmla="*/ 208 h 402"/>
                    <a:gd name="T32" fmla="*/ 136 w 314"/>
                    <a:gd name="T33" fmla="*/ 194 h 402"/>
                    <a:gd name="T34" fmla="*/ 166 w 314"/>
                    <a:gd name="T35" fmla="*/ 190 h 402"/>
                    <a:gd name="T36" fmla="*/ 176 w 314"/>
                    <a:gd name="T37" fmla="*/ 194 h 402"/>
                    <a:gd name="T38" fmla="*/ 188 w 314"/>
                    <a:gd name="T39" fmla="*/ 164 h 402"/>
                    <a:gd name="T40" fmla="*/ 192 w 314"/>
                    <a:gd name="T41" fmla="*/ 172 h 402"/>
                    <a:gd name="T42" fmla="*/ 218 w 314"/>
                    <a:gd name="T43" fmla="*/ 148 h 402"/>
                    <a:gd name="T44" fmla="*/ 236 w 314"/>
                    <a:gd name="T45" fmla="*/ 118 h 402"/>
                    <a:gd name="T46" fmla="*/ 232 w 314"/>
                    <a:gd name="T47" fmla="*/ 96 h 402"/>
                    <a:gd name="T48" fmla="*/ 248 w 314"/>
                    <a:gd name="T49" fmla="*/ 90 h 402"/>
                    <a:gd name="T50" fmla="*/ 252 w 314"/>
                    <a:gd name="T51" fmla="*/ 82 h 402"/>
                    <a:gd name="T52" fmla="*/ 262 w 314"/>
                    <a:gd name="T53" fmla="*/ 116 h 402"/>
                    <a:gd name="T54" fmla="*/ 254 w 314"/>
                    <a:gd name="T55" fmla="*/ 142 h 402"/>
                    <a:gd name="T56" fmla="*/ 244 w 314"/>
                    <a:gd name="T57" fmla="*/ 172 h 402"/>
                    <a:gd name="T58" fmla="*/ 236 w 314"/>
                    <a:gd name="T59" fmla="*/ 202 h 402"/>
                    <a:gd name="T60" fmla="*/ 228 w 314"/>
                    <a:gd name="T61" fmla="*/ 198 h 402"/>
                    <a:gd name="T62" fmla="*/ 214 w 314"/>
                    <a:gd name="T63" fmla="*/ 202 h 402"/>
                    <a:gd name="T64" fmla="*/ 196 w 314"/>
                    <a:gd name="T65" fmla="*/ 208 h 402"/>
                    <a:gd name="T66" fmla="*/ 184 w 314"/>
                    <a:gd name="T67" fmla="*/ 212 h 402"/>
                    <a:gd name="T68" fmla="*/ 176 w 314"/>
                    <a:gd name="T69" fmla="*/ 230 h 402"/>
                    <a:gd name="T70" fmla="*/ 166 w 314"/>
                    <a:gd name="T71" fmla="*/ 212 h 402"/>
                    <a:gd name="T72" fmla="*/ 210 w 314"/>
                    <a:gd name="T73" fmla="*/ 148 h 402"/>
                    <a:gd name="T74" fmla="*/ 214 w 314"/>
                    <a:gd name="T75" fmla="*/ 142 h 402"/>
                    <a:gd name="T76" fmla="*/ 80 w 314"/>
                    <a:gd name="T77" fmla="*/ 216 h 402"/>
                    <a:gd name="T78" fmla="*/ 158 w 314"/>
                    <a:gd name="T79" fmla="*/ 220 h 402"/>
                    <a:gd name="T80" fmla="*/ 150 w 314"/>
                    <a:gd name="T81" fmla="*/ 234 h 402"/>
                    <a:gd name="T82" fmla="*/ 132 w 314"/>
                    <a:gd name="T83" fmla="*/ 246 h 402"/>
                    <a:gd name="T84" fmla="*/ 124 w 314"/>
                    <a:gd name="T85" fmla="*/ 234 h 402"/>
                    <a:gd name="T86" fmla="*/ 146 w 314"/>
                    <a:gd name="T87" fmla="*/ 220 h 402"/>
                    <a:gd name="T88" fmla="*/ 80 w 314"/>
                    <a:gd name="T89" fmla="*/ 224 h 402"/>
                    <a:gd name="T90" fmla="*/ 128 w 314"/>
                    <a:gd name="T91" fmla="*/ 220 h 402"/>
                    <a:gd name="T92" fmla="*/ 90 w 314"/>
                    <a:gd name="T93" fmla="*/ 238 h 402"/>
                    <a:gd name="T94" fmla="*/ 106 w 314"/>
                    <a:gd name="T95" fmla="*/ 230 h 402"/>
                    <a:gd name="T96" fmla="*/ 120 w 314"/>
                    <a:gd name="T97" fmla="*/ 246 h 402"/>
                    <a:gd name="T98" fmla="*/ 106 w 314"/>
                    <a:gd name="T99" fmla="*/ 272 h 402"/>
                    <a:gd name="T100" fmla="*/ 98 w 314"/>
                    <a:gd name="T101" fmla="*/ 272 h 402"/>
                    <a:gd name="T102" fmla="*/ 98 w 314"/>
                    <a:gd name="T103" fmla="*/ 258 h 402"/>
                    <a:gd name="T104" fmla="*/ 98 w 314"/>
                    <a:gd name="T105" fmla="*/ 246 h 402"/>
                    <a:gd name="T106" fmla="*/ 90 w 314"/>
                    <a:gd name="T107" fmla="*/ 228 h 402"/>
                    <a:gd name="T108" fmla="*/ 86 w 314"/>
                    <a:gd name="T109" fmla="*/ 234 h 402"/>
                    <a:gd name="T110" fmla="*/ 76 w 314"/>
                    <a:gd name="T111" fmla="*/ 250 h 402"/>
                    <a:gd name="T112" fmla="*/ 90 w 314"/>
                    <a:gd name="T113" fmla="*/ 258 h 402"/>
                    <a:gd name="T114" fmla="*/ 98 w 314"/>
                    <a:gd name="T115" fmla="*/ 294 h 402"/>
                    <a:gd name="T116" fmla="*/ 86 w 314"/>
                    <a:gd name="T117" fmla="*/ 324 h 402"/>
                    <a:gd name="T118" fmla="*/ 60 w 314"/>
                    <a:gd name="T119" fmla="*/ 362 h 402"/>
                    <a:gd name="T120" fmla="*/ 68 w 314"/>
                    <a:gd name="T121" fmla="*/ 354 h 402"/>
                    <a:gd name="T122" fmla="*/ 12 w 314"/>
                    <a:gd name="T123" fmla="*/ 398 h 4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314" h="402">
                      <a:moveTo>
                        <a:pt x="128" y="228"/>
                      </a:moveTo>
                      <a:lnTo>
                        <a:pt x="124" y="228"/>
                      </a:lnTo>
                      <a:lnTo>
                        <a:pt x="124" y="224"/>
                      </a:lnTo>
                      <a:lnTo>
                        <a:pt x="124" y="228"/>
                      </a:lnTo>
                      <a:lnTo>
                        <a:pt x="124" y="224"/>
                      </a:lnTo>
                      <a:lnTo>
                        <a:pt x="128" y="224"/>
                      </a:lnTo>
                      <a:lnTo>
                        <a:pt x="128" y="228"/>
                      </a:lnTo>
                      <a:lnTo>
                        <a:pt x="128" y="228"/>
                      </a:lnTo>
                      <a:lnTo>
                        <a:pt x="128" y="228"/>
                      </a:lnTo>
                      <a:close/>
                      <a:moveTo>
                        <a:pt x="94" y="254"/>
                      </a:moveTo>
                      <a:lnTo>
                        <a:pt x="98" y="250"/>
                      </a:lnTo>
                      <a:lnTo>
                        <a:pt x="98" y="254"/>
                      </a:lnTo>
                      <a:lnTo>
                        <a:pt x="94" y="254"/>
                      </a:lnTo>
                      <a:lnTo>
                        <a:pt x="94" y="254"/>
                      </a:lnTo>
                      <a:lnTo>
                        <a:pt x="94" y="254"/>
                      </a:lnTo>
                      <a:close/>
                      <a:moveTo>
                        <a:pt x="288" y="56"/>
                      </a:moveTo>
                      <a:lnTo>
                        <a:pt x="284" y="60"/>
                      </a:lnTo>
                      <a:lnTo>
                        <a:pt x="282" y="60"/>
                      </a:lnTo>
                      <a:lnTo>
                        <a:pt x="282" y="62"/>
                      </a:lnTo>
                      <a:lnTo>
                        <a:pt x="282" y="66"/>
                      </a:lnTo>
                      <a:lnTo>
                        <a:pt x="282" y="70"/>
                      </a:lnTo>
                      <a:lnTo>
                        <a:pt x="278" y="70"/>
                      </a:lnTo>
                      <a:lnTo>
                        <a:pt x="274" y="66"/>
                      </a:lnTo>
                      <a:lnTo>
                        <a:pt x="270" y="66"/>
                      </a:lnTo>
                      <a:lnTo>
                        <a:pt x="266" y="62"/>
                      </a:lnTo>
                      <a:lnTo>
                        <a:pt x="262" y="62"/>
                      </a:lnTo>
                      <a:lnTo>
                        <a:pt x="262" y="60"/>
                      </a:lnTo>
                      <a:lnTo>
                        <a:pt x="258" y="60"/>
                      </a:lnTo>
                      <a:lnTo>
                        <a:pt x="254" y="60"/>
                      </a:lnTo>
                      <a:lnTo>
                        <a:pt x="252" y="62"/>
                      </a:lnTo>
                      <a:lnTo>
                        <a:pt x="248" y="62"/>
                      </a:lnTo>
                      <a:lnTo>
                        <a:pt x="244" y="60"/>
                      </a:lnTo>
                      <a:lnTo>
                        <a:pt x="240" y="60"/>
                      </a:lnTo>
                      <a:lnTo>
                        <a:pt x="240" y="62"/>
                      </a:lnTo>
                      <a:lnTo>
                        <a:pt x="236" y="62"/>
                      </a:lnTo>
                      <a:lnTo>
                        <a:pt x="236" y="66"/>
                      </a:lnTo>
                      <a:lnTo>
                        <a:pt x="240" y="66"/>
                      </a:lnTo>
                      <a:lnTo>
                        <a:pt x="244" y="66"/>
                      </a:lnTo>
                      <a:lnTo>
                        <a:pt x="244" y="70"/>
                      </a:lnTo>
                      <a:lnTo>
                        <a:pt x="248" y="70"/>
                      </a:lnTo>
                      <a:lnTo>
                        <a:pt x="248" y="74"/>
                      </a:lnTo>
                      <a:lnTo>
                        <a:pt x="252" y="74"/>
                      </a:lnTo>
                      <a:lnTo>
                        <a:pt x="248" y="74"/>
                      </a:lnTo>
                      <a:lnTo>
                        <a:pt x="248" y="78"/>
                      </a:lnTo>
                      <a:lnTo>
                        <a:pt x="244" y="74"/>
                      </a:lnTo>
                      <a:lnTo>
                        <a:pt x="240" y="78"/>
                      </a:lnTo>
                      <a:lnTo>
                        <a:pt x="240" y="82"/>
                      </a:lnTo>
                      <a:lnTo>
                        <a:pt x="236" y="82"/>
                      </a:lnTo>
                      <a:lnTo>
                        <a:pt x="232" y="82"/>
                      </a:lnTo>
                      <a:lnTo>
                        <a:pt x="232" y="78"/>
                      </a:lnTo>
                      <a:lnTo>
                        <a:pt x="236" y="74"/>
                      </a:lnTo>
                      <a:lnTo>
                        <a:pt x="236" y="70"/>
                      </a:lnTo>
                      <a:lnTo>
                        <a:pt x="232" y="70"/>
                      </a:lnTo>
                      <a:lnTo>
                        <a:pt x="232" y="66"/>
                      </a:lnTo>
                      <a:lnTo>
                        <a:pt x="228" y="66"/>
                      </a:lnTo>
                      <a:lnTo>
                        <a:pt x="228" y="62"/>
                      </a:lnTo>
                      <a:lnTo>
                        <a:pt x="232" y="62"/>
                      </a:lnTo>
                      <a:lnTo>
                        <a:pt x="232" y="60"/>
                      </a:lnTo>
                      <a:lnTo>
                        <a:pt x="232" y="56"/>
                      </a:lnTo>
                      <a:lnTo>
                        <a:pt x="236" y="56"/>
                      </a:lnTo>
                      <a:lnTo>
                        <a:pt x="240" y="56"/>
                      </a:lnTo>
                      <a:lnTo>
                        <a:pt x="240" y="52"/>
                      </a:lnTo>
                      <a:lnTo>
                        <a:pt x="240" y="48"/>
                      </a:lnTo>
                      <a:lnTo>
                        <a:pt x="240" y="46"/>
                      </a:lnTo>
                      <a:lnTo>
                        <a:pt x="244" y="46"/>
                      </a:lnTo>
                      <a:lnTo>
                        <a:pt x="244" y="48"/>
                      </a:lnTo>
                      <a:lnTo>
                        <a:pt x="248" y="48"/>
                      </a:lnTo>
                      <a:lnTo>
                        <a:pt x="252" y="48"/>
                      </a:lnTo>
                      <a:lnTo>
                        <a:pt x="252" y="46"/>
                      </a:lnTo>
                      <a:lnTo>
                        <a:pt x="254" y="46"/>
                      </a:lnTo>
                      <a:lnTo>
                        <a:pt x="254" y="42"/>
                      </a:lnTo>
                      <a:lnTo>
                        <a:pt x="252" y="38"/>
                      </a:lnTo>
                      <a:lnTo>
                        <a:pt x="254" y="38"/>
                      </a:lnTo>
                      <a:lnTo>
                        <a:pt x="254" y="34"/>
                      </a:lnTo>
                      <a:lnTo>
                        <a:pt x="258" y="34"/>
                      </a:lnTo>
                      <a:lnTo>
                        <a:pt x="258" y="30"/>
                      </a:lnTo>
                      <a:lnTo>
                        <a:pt x="258" y="26"/>
                      </a:lnTo>
                      <a:lnTo>
                        <a:pt x="258" y="22"/>
                      </a:lnTo>
                      <a:lnTo>
                        <a:pt x="258" y="20"/>
                      </a:lnTo>
                      <a:lnTo>
                        <a:pt x="258" y="16"/>
                      </a:lnTo>
                      <a:lnTo>
                        <a:pt x="258" y="12"/>
                      </a:lnTo>
                      <a:lnTo>
                        <a:pt x="254" y="8"/>
                      </a:lnTo>
                      <a:lnTo>
                        <a:pt x="258" y="4"/>
                      </a:lnTo>
                      <a:lnTo>
                        <a:pt x="262" y="0"/>
                      </a:lnTo>
                      <a:lnTo>
                        <a:pt x="262" y="4"/>
                      </a:lnTo>
                      <a:lnTo>
                        <a:pt x="266" y="4"/>
                      </a:lnTo>
                      <a:lnTo>
                        <a:pt x="266" y="8"/>
                      </a:lnTo>
                      <a:lnTo>
                        <a:pt x="270" y="12"/>
                      </a:lnTo>
                      <a:lnTo>
                        <a:pt x="270" y="16"/>
                      </a:lnTo>
                      <a:lnTo>
                        <a:pt x="274" y="16"/>
                      </a:lnTo>
                      <a:lnTo>
                        <a:pt x="274" y="20"/>
                      </a:lnTo>
                      <a:lnTo>
                        <a:pt x="278" y="20"/>
                      </a:lnTo>
                      <a:lnTo>
                        <a:pt x="278" y="22"/>
                      </a:lnTo>
                      <a:lnTo>
                        <a:pt x="282" y="26"/>
                      </a:lnTo>
                      <a:lnTo>
                        <a:pt x="284" y="26"/>
                      </a:lnTo>
                      <a:lnTo>
                        <a:pt x="284" y="30"/>
                      </a:lnTo>
                      <a:lnTo>
                        <a:pt x="288" y="30"/>
                      </a:lnTo>
                      <a:lnTo>
                        <a:pt x="292" y="30"/>
                      </a:lnTo>
                      <a:lnTo>
                        <a:pt x="296" y="34"/>
                      </a:lnTo>
                      <a:lnTo>
                        <a:pt x="300" y="34"/>
                      </a:lnTo>
                      <a:lnTo>
                        <a:pt x="302" y="34"/>
                      </a:lnTo>
                      <a:lnTo>
                        <a:pt x="302" y="30"/>
                      </a:lnTo>
                      <a:lnTo>
                        <a:pt x="306" y="30"/>
                      </a:lnTo>
                      <a:lnTo>
                        <a:pt x="306" y="26"/>
                      </a:lnTo>
                      <a:lnTo>
                        <a:pt x="310" y="26"/>
                      </a:lnTo>
                      <a:lnTo>
                        <a:pt x="306" y="30"/>
                      </a:lnTo>
                      <a:lnTo>
                        <a:pt x="306" y="34"/>
                      </a:lnTo>
                      <a:lnTo>
                        <a:pt x="306" y="38"/>
                      </a:lnTo>
                      <a:lnTo>
                        <a:pt x="306" y="42"/>
                      </a:lnTo>
                      <a:lnTo>
                        <a:pt x="310" y="42"/>
                      </a:lnTo>
                      <a:lnTo>
                        <a:pt x="306" y="42"/>
                      </a:lnTo>
                      <a:lnTo>
                        <a:pt x="306" y="46"/>
                      </a:lnTo>
                      <a:lnTo>
                        <a:pt x="310" y="46"/>
                      </a:lnTo>
                      <a:lnTo>
                        <a:pt x="314" y="46"/>
                      </a:lnTo>
                      <a:lnTo>
                        <a:pt x="310" y="46"/>
                      </a:lnTo>
                      <a:lnTo>
                        <a:pt x="310" y="48"/>
                      </a:lnTo>
                      <a:lnTo>
                        <a:pt x="306" y="48"/>
                      </a:lnTo>
                      <a:lnTo>
                        <a:pt x="302" y="52"/>
                      </a:lnTo>
                      <a:lnTo>
                        <a:pt x="302" y="48"/>
                      </a:lnTo>
                      <a:lnTo>
                        <a:pt x="300" y="52"/>
                      </a:lnTo>
                      <a:lnTo>
                        <a:pt x="296" y="52"/>
                      </a:lnTo>
                      <a:lnTo>
                        <a:pt x="292" y="52"/>
                      </a:lnTo>
                      <a:lnTo>
                        <a:pt x="288" y="52"/>
                      </a:lnTo>
                      <a:lnTo>
                        <a:pt x="288" y="56"/>
                      </a:lnTo>
                      <a:lnTo>
                        <a:pt x="288" y="56"/>
                      </a:lnTo>
                      <a:lnTo>
                        <a:pt x="288" y="56"/>
                      </a:lnTo>
                      <a:close/>
                      <a:moveTo>
                        <a:pt x="248" y="4"/>
                      </a:moveTo>
                      <a:lnTo>
                        <a:pt x="248" y="8"/>
                      </a:lnTo>
                      <a:lnTo>
                        <a:pt x="248" y="4"/>
                      </a:lnTo>
                      <a:lnTo>
                        <a:pt x="248" y="4"/>
                      </a:lnTo>
                      <a:lnTo>
                        <a:pt x="248" y="4"/>
                      </a:lnTo>
                      <a:close/>
                      <a:moveTo>
                        <a:pt x="252" y="8"/>
                      </a:moveTo>
                      <a:lnTo>
                        <a:pt x="252" y="12"/>
                      </a:lnTo>
                      <a:lnTo>
                        <a:pt x="252" y="8"/>
                      </a:lnTo>
                      <a:lnTo>
                        <a:pt x="252" y="8"/>
                      </a:lnTo>
                      <a:lnTo>
                        <a:pt x="252" y="8"/>
                      </a:lnTo>
                      <a:close/>
                      <a:moveTo>
                        <a:pt x="226" y="66"/>
                      </a:moveTo>
                      <a:lnTo>
                        <a:pt x="228" y="66"/>
                      </a:lnTo>
                      <a:lnTo>
                        <a:pt x="226" y="66"/>
                      </a:lnTo>
                      <a:lnTo>
                        <a:pt x="226" y="70"/>
                      </a:lnTo>
                      <a:lnTo>
                        <a:pt x="226" y="66"/>
                      </a:lnTo>
                      <a:lnTo>
                        <a:pt x="226" y="66"/>
                      </a:lnTo>
                      <a:lnTo>
                        <a:pt x="226" y="66"/>
                      </a:lnTo>
                      <a:close/>
                      <a:moveTo>
                        <a:pt x="154" y="208"/>
                      </a:moveTo>
                      <a:lnTo>
                        <a:pt x="150" y="208"/>
                      </a:lnTo>
                      <a:lnTo>
                        <a:pt x="150" y="212"/>
                      </a:lnTo>
                      <a:lnTo>
                        <a:pt x="146" y="212"/>
                      </a:lnTo>
                      <a:lnTo>
                        <a:pt x="150" y="212"/>
                      </a:lnTo>
                      <a:lnTo>
                        <a:pt x="146" y="216"/>
                      </a:lnTo>
                      <a:lnTo>
                        <a:pt x="142" y="212"/>
                      </a:lnTo>
                      <a:lnTo>
                        <a:pt x="142" y="216"/>
                      </a:lnTo>
                      <a:lnTo>
                        <a:pt x="140" y="216"/>
                      </a:lnTo>
                      <a:lnTo>
                        <a:pt x="136" y="220"/>
                      </a:lnTo>
                      <a:lnTo>
                        <a:pt x="136" y="216"/>
                      </a:lnTo>
                      <a:lnTo>
                        <a:pt x="132" y="216"/>
                      </a:lnTo>
                      <a:lnTo>
                        <a:pt x="132" y="220"/>
                      </a:lnTo>
                      <a:lnTo>
                        <a:pt x="128" y="220"/>
                      </a:lnTo>
                      <a:lnTo>
                        <a:pt x="128" y="216"/>
                      </a:lnTo>
                      <a:lnTo>
                        <a:pt x="124" y="216"/>
                      </a:lnTo>
                      <a:lnTo>
                        <a:pt x="124" y="220"/>
                      </a:lnTo>
                      <a:lnTo>
                        <a:pt x="124" y="224"/>
                      </a:lnTo>
                      <a:lnTo>
                        <a:pt x="120" y="224"/>
                      </a:lnTo>
                      <a:lnTo>
                        <a:pt x="124" y="228"/>
                      </a:lnTo>
                      <a:lnTo>
                        <a:pt x="120" y="228"/>
                      </a:lnTo>
                      <a:lnTo>
                        <a:pt x="116" y="224"/>
                      </a:lnTo>
                      <a:lnTo>
                        <a:pt x="112" y="224"/>
                      </a:lnTo>
                      <a:lnTo>
                        <a:pt x="110" y="224"/>
                      </a:lnTo>
                      <a:lnTo>
                        <a:pt x="106" y="224"/>
                      </a:lnTo>
                      <a:lnTo>
                        <a:pt x="106" y="220"/>
                      </a:lnTo>
                      <a:lnTo>
                        <a:pt x="106" y="216"/>
                      </a:lnTo>
                      <a:lnTo>
                        <a:pt x="110" y="216"/>
                      </a:lnTo>
                      <a:lnTo>
                        <a:pt x="112" y="216"/>
                      </a:lnTo>
                      <a:lnTo>
                        <a:pt x="112" y="212"/>
                      </a:lnTo>
                      <a:lnTo>
                        <a:pt x="116" y="212"/>
                      </a:lnTo>
                      <a:lnTo>
                        <a:pt x="116" y="208"/>
                      </a:lnTo>
                      <a:lnTo>
                        <a:pt x="120" y="208"/>
                      </a:lnTo>
                      <a:lnTo>
                        <a:pt x="120" y="204"/>
                      </a:lnTo>
                      <a:lnTo>
                        <a:pt x="124" y="204"/>
                      </a:lnTo>
                      <a:lnTo>
                        <a:pt x="124" y="202"/>
                      </a:lnTo>
                      <a:lnTo>
                        <a:pt x="128" y="202"/>
                      </a:lnTo>
                      <a:lnTo>
                        <a:pt x="128" y="198"/>
                      </a:lnTo>
                      <a:lnTo>
                        <a:pt x="132" y="198"/>
                      </a:lnTo>
                      <a:lnTo>
                        <a:pt x="128" y="198"/>
                      </a:lnTo>
                      <a:lnTo>
                        <a:pt x="132" y="198"/>
                      </a:lnTo>
                      <a:lnTo>
                        <a:pt x="132" y="194"/>
                      </a:lnTo>
                      <a:lnTo>
                        <a:pt x="136" y="198"/>
                      </a:lnTo>
                      <a:lnTo>
                        <a:pt x="136" y="194"/>
                      </a:lnTo>
                      <a:lnTo>
                        <a:pt x="140" y="194"/>
                      </a:lnTo>
                      <a:lnTo>
                        <a:pt x="140" y="198"/>
                      </a:lnTo>
                      <a:lnTo>
                        <a:pt x="142" y="198"/>
                      </a:lnTo>
                      <a:lnTo>
                        <a:pt x="142" y="194"/>
                      </a:lnTo>
                      <a:lnTo>
                        <a:pt x="142" y="198"/>
                      </a:lnTo>
                      <a:lnTo>
                        <a:pt x="146" y="198"/>
                      </a:lnTo>
                      <a:lnTo>
                        <a:pt x="150" y="194"/>
                      </a:lnTo>
                      <a:lnTo>
                        <a:pt x="154" y="194"/>
                      </a:lnTo>
                      <a:lnTo>
                        <a:pt x="158" y="194"/>
                      </a:lnTo>
                      <a:lnTo>
                        <a:pt x="162" y="194"/>
                      </a:lnTo>
                      <a:lnTo>
                        <a:pt x="166" y="190"/>
                      </a:lnTo>
                      <a:lnTo>
                        <a:pt x="166" y="194"/>
                      </a:lnTo>
                      <a:lnTo>
                        <a:pt x="170" y="198"/>
                      </a:lnTo>
                      <a:lnTo>
                        <a:pt x="170" y="194"/>
                      </a:lnTo>
                      <a:lnTo>
                        <a:pt x="170" y="198"/>
                      </a:lnTo>
                      <a:lnTo>
                        <a:pt x="170" y="194"/>
                      </a:lnTo>
                      <a:lnTo>
                        <a:pt x="170" y="198"/>
                      </a:lnTo>
                      <a:lnTo>
                        <a:pt x="172" y="198"/>
                      </a:lnTo>
                      <a:lnTo>
                        <a:pt x="172" y="194"/>
                      </a:lnTo>
                      <a:lnTo>
                        <a:pt x="176" y="194"/>
                      </a:lnTo>
                      <a:lnTo>
                        <a:pt x="176" y="190"/>
                      </a:lnTo>
                      <a:lnTo>
                        <a:pt x="176" y="194"/>
                      </a:lnTo>
                      <a:lnTo>
                        <a:pt x="176" y="190"/>
                      </a:lnTo>
                      <a:lnTo>
                        <a:pt x="176" y="186"/>
                      </a:lnTo>
                      <a:lnTo>
                        <a:pt x="176" y="182"/>
                      </a:lnTo>
                      <a:lnTo>
                        <a:pt x="180" y="182"/>
                      </a:lnTo>
                      <a:lnTo>
                        <a:pt x="180" y="178"/>
                      </a:lnTo>
                      <a:lnTo>
                        <a:pt x="184" y="178"/>
                      </a:lnTo>
                      <a:lnTo>
                        <a:pt x="184" y="174"/>
                      </a:lnTo>
                      <a:lnTo>
                        <a:pt x="188" y="174"/>
                      </a:lnTo>
                      <a:lnTo>
                        <a:pt x="188" y="172"/>
                      </a:lnTo>
                      <a:lnTo>
                        <a:pt x="188" y="168"/>
                      </a:lnTo>
                      <a:lnTo>
                        <a:pt x="188" y="164"/>
                      </a:lnTo>
                      <a:lnTo>
                        <a:pt x="188" y="160"/>
                      </a:lnTo>
                      <a:lnTo>
                        <a:pt x="192" y="160"/>
                      </a:lnTo>
                      <a:lnTo>
                        <a:pt x="192" y="156"/>
                      </a:lnTo>
                      <a:lnTo>
                        <a:pt x="196" y="156"/>
                      </a:lnTo>
                      <a:lnTo>
                        <a:pt x="196" y="160"/>
                      </a:lnTo>
                      <a:lnTo>
                        <a:pt x="192" y="160"/>
                      </a:lnTo>
                      <a:lnTo>
                        <a:pt x="192" y="164"/>
                      </a:lnTo>
                      <a:lnTo>
                        <a:pt x="188" y="164"/>
                      </a:lnTo>
                      <a:lnTo>
                        <a:pt x="188" y="168"/>
                      </a:lnTo>
                      <a:lnTo>
                        <a:pt x="192" y="168"/>
                      </a:lnTo>
                      <a:lnTo>
                        <a:pt x="192" y="172"/>
                      </a:lnTo>
                      <a:lnTo>
                        <a:pt x="196" y="172"/>
                      </a:lnTo>
                      <a:lnTo>
                        <a:pt x="196" y="168"/>
                      </a:lnTo>
                      <a:lnTo>
                        <a:pt x="198" y="168"/>
                      </a:lnTo>
                      <a:lnTo>
                        <a:pt x="202" y="168"/>
                      </a:lnTo>
                      <a:lnTo>
                        <a:pt x="206" y="164"/>
                      </a:lnTo>
                      <a:lnTo>
                        <a:pt x="210" y="164"/>
                      </a:lnTo>
                      <a:lnTo>
                        <a:pt x="214" y="160"/>
                      </a:lnTo>
                      <a:lnTo>
                        <a:pt x="214" y="156"/>
                      </a:lnTo>
                      <a:lnTo>
                        <a:pt x="218" y="156"/>
                      </a:lnTo>
                      <a:lnTo>
                        <a:pt x="218" y="152"/>
                      </a:lnTo>
                      <a:lnTo>
                        <a:pt x="218" y="148"/>
                      </a:lnTo>
                      <a:lnTo>
                        <a:pt x="222" y="148"/>
                      </a:lnTo>
                      <a:lnTo>
                        <a:pt x="226" y="148"/>
                      </a:lnTo>
                      <a:lnTo>
                        <a:pt x="226" y="146"/>
                      </a:lnTo>
                      <a:lnTo>
                        <a:pt x="226" y="142"/>
                      </a:lnTo>
                      <a:lnTo>
                        <a:pt x="228" y="138"/>
                      </a:lnTo>
                      <a:lnTo>
                        <a:pt x="228" y="134"/>
                      </a:lnTo>
                      <a:lnTo>
                        <a:pt x="228" y="130"/>
                      </a:lnTo>
                      <a:lnTo>
                        <a:pt x="232" y="126"/>
                      </a:lnTo>
                      <a:lnTo>
                        <a:pt x="232" y="122"/>
                      </a:lnTo>
                      <a:lnTo>
                        <a:pt x="232" y="118"/>
                      </a:lnTo>
                      <a:lnTo>
                        <a:pt x="236" y="118"/>
                      </a:lnTo>
                      <a:lnTo>
                        <a:pt x="236" y="116"/>
                      </a:lnTo>
                      <a:lnTo>
                        <a:pt x="232" y="116"/>
                      </a:lnTo>
                      <a:lnTo>
                        <a:pt x="232" y="112"/>
                      </a:lnTo>
                      <a:lnTo>
                        <a:pt x="228" y="112"/>
                      </a:lnTo>
                      <a:lnTo>
                        <a:pt x="228" y="108"/>
                      </a:lnTo>
                      <a:lnTo>
                        <a:pt x="228" y="112"/>
                      </a:lnTo>
                      <a:lnTo>
                        <a:pt x="232" y="112"/>
                      </a:lnTo>
                      <a:lnTo>
                        <a:pt x="232" y="108"/>
                      </a:lnTo>
                      <a:lnTo>
                        <a:pt x="232" y="104"/>
                      </a:lnTo>
                      <a:lnTo>
                        <a:pt x="232" y="100"/>
                      </a:lnTo>
                      <a:lnTo>
                        <a:pt x="232" y="96"/>
                      </a:lnTo>
                      <a:lnTo>
                        <a:pt x="236" y="96"/>
                      </a:lnTo>
                      <a:lnTo>
                        <a:pt x="236" y="92"/>
                      </a:lnTo>
                      <a:lnTo>
                        <a:pt x="240" y="90"/>
                      </a:lnTo>
                      <a:lnTo>
                        <a:pt x="236" y="90"/>
                      </a:lnTo>
                      <a:lnTo>
                        <a:pt x="240" y="90"/>
                      </a:lnTo>
                      <a:lnTo>
                        <a:pt x="240" y="86"/>
                      </a:lnTo>
                      <a:lnTo>
                        <a:pt x="244" y="86"/>
                      </a:lnTo>
                      <a:lnTo>
                        <a:pt x="244" y="90"/>
                      </a:lnTo>
                      <a:lnTo>
                        <a:pt x="244" y="92"/>
                      </a:lnTo>
                      <a:lnTo>
                        <a:pt x="248" y="92"/>
                      </a:lnTo>
                      <a:lnTo>
                        <a:pt x="248" y="90"/>
                      </a:lnTo>
                      <a:lnTo>
                        <a:pt x="248" y="92"/>
                      </a:lnTo>
                      <a:lnTo>
                        <a:pt x="252" y="92"/>
                      </a:lnTo>
                      <a:lnTo>
                        <a:pt x="252" y="90"/>
                      </a:lnTo>
                      <a:lnTo>
                        <a:pt x="252" y="86"/>
                      </a:lnTo>
                      <a:lnTo>
                        <a:pt x="248" y="86"/>
                      </a:lnTo>
                      <a:lnTo>
                        <a:pt x="244" y="90"/>
                      </a:lnTo>
                      <a:lnTo>
                        <a:pt x="244" y="86"/>
                      </a:lnTo>
                      <a:lnTo>
                        <a:pt x="244" y="82"/>
                      </a:lnTo>
                      <a:lnTo>
                        <a:pt x="248" y="78"/>
                      </a:lnTo>
                      <a:lnTo>
                        <a:pt x="248" y="82"/>
                      </a:lnTo>
                      <a:lnTo>
                        <a:pt x="252" y="82"/>
                      </a:lnTo>
                      <a:lnTo>
                        <a:pt x="254" y="82"/>
                      </a:lnTo>
                      <a:lnTo>
                        <a:pt x="254" y="86"/>
                      </a:lnTo>
                      <a:lnTo>
                        <a:pt x="254" y="92"/>
                      </a:lnTo>
                      <a:lnTo>
                        <a:pt x="254" y="96"/>
                      </a:lnTo>
                      <a:lnTo>
                        <a:pt x="254" y="100"/>
                      </a:lnTo>
                      <a:lnTo>
                        <a:pt x="258" y="100"/>
                      </a:lnTo>
                      <a:lnTo>
                        <a:pt x="258" y="104"/>
                      </a:lnTo>
                      <a:lnTo>
                        <a:pt x="258" y="108"/>
                      </a:lnTo>
                      <a:lnTo>
                        <a:pt x="262" y="108"/>
                      </a:lnTo>
                      <a:lnTo>
                        <a:pt x="262" y="112"/>
                      </a:lnTo>
                      <a:lnTo>
                        <a:pt x="262" y="116"/>
                      </a:lnTo>
                      <a:lnTo>
                        <a:pt x="262" y="118"/>
                      </a:lnTo>
                      <a:lnTo>
                        <a:pt x="262" y="122"/>
                      </a:lnTo>
                      <a:lnTo>
                        <a:pt x="258" y="122"/>
                      </a:lnTo>
                      <a:lnTo>
                        <a:pt x="258" y="126"/>
                      </a:lnTo>
                      <a:lnTo>
                        <a:pt x="258" y="130"/>
                      </a:lnTo>
                      <a:lnTo>
                        <a:pt x="254" y="130"/>
                      </a:lnTo>
                      <a:lnTo>
                        <a:pt x="258" y="130"/>
                      </a:lnTo>
                      <a:lnTo>
                        <a:pt x="254" y="130"/>
                      </a:lnTo>
                      <a:lnTo>
                        <a:pt x="254" y="134"/>
                      </a:lnTo>
                      <a:lnTo>
                        <a:pt x="254" y="138"/>
                      </a:lnTo>
                      <a:lnTo>
                        <a:pt x="254" y="142"/>
                      </a:lnTo>
                      <a:lnTo>
                        <a:pt x="252" y="142"/>
                      </a:lnTo>
                      <a:lnTo>
                        <a:pt x="248" y="142"/>
                      </a:lnTo>
                      <a:lnTo>
                        <a:pt x="248" y="146"/>
                      </a:lnTo>
                      <a:lnTo>
                        <a:pt x="248" y="148"/>
                      </a:lnTo>
                      <a:lnTo>
                        <a:pt x="248" y="152"/>
                      </a:lnTo>
                      <a:lnTo>
                        <a:pt x="248" y="156"/>
                      </a:lnTo>
                      <a:lnTo>
                        <a:pt x="248" y="160"/>
                      </a:lnTo>
                      <a:lnTo>
                        <a:pt x="248" y="164"/>
                      </a:lnTo>
                      <a:lnTo>
                        <a:pt x="248" y="168"/>
                      </a:lnTo>
                      <a:lnTo>
                        <a:pt x="244" y="168"/>
                      </a:lnTo>
                      <a:lnTo>
                        <a:pt x="244" y="172"/>
                      </a:lnTo>
                      <a:lnTo>
                        <a:pt x="244" y="174"/>
                      </a:lnTo>
                      <a:lnTo>
                        <a:pt x="244" y="178"/>
                      </a:lnTo>
                      <a:lnTo>
                        <a:pt x="240" y="182"/>
                      </a:lnTo>
                      <a:lnTo>
                        <a:pt x="244" y="182"/>
                      </a:lnTo>
                      <a:lnTo>
                        <a:pt x="244" y="186"/>
                      </a:lnTo>
                      <a:lnTo>
                        <a:pt x="244" y="190"/>
                      </a:lnTo>
                      <a:lnTo>
                        <a:pt x="244" y="194"/>
                      </a:lnTo>
                      <a:lnTo>
                        <a:pt x="240" y="194"/>
                      </a:lnTo>
                      <a:lnTo>
                        <a:pt x="240" y="198"/>
                      </a:lnTo>
                      <a:lnTo>
                        <a:pt x="240" y="202"/>
                      </a:lnTo>
                      <a:lnTo>
                        <a:pt x="236" y="202"/>
                      </a:lnTo>
                      <a:lnTo>
                        <a:pt x="236" y="204"/>
                      </a:lnTo>
                      <a:lnTo>
                        <a:pt x="232" y="204"/>
                      </a:lnTo>
                      <a:lnTo>
                        <a:pt x="232" y="208"/>
                      </a:lnTo>
                      <a:lnTo>
                        <a:pt x="228" y="204"/>
                      </a:lnTo>
                      <a:lnTo>
                        <a:pt x="232" y="204"/>
                      </a:lnTo>
                      <a:lnTo>
                        <a:pt x="232" y="202"/>
                      </a:lnTo>
                      <a:lnTo>
                        <a:pt x="232" y="198"/>
                      </a:lnTo>
                      <a:lnTo>
                        <a:pt x="236" y="194"/>
                      </a:lnTo>
                      <a:lnTo>
                        <a:pt x="232" y="194"/>
                      </a:lnTo>
                      <a:lnTo>
                        <a:pt x="228" y="194"/>
                      </a:lnTo>
                      <a:lnTo>
                        <a:pt x="228" y="198"/>
                      </a:lnTo>
                      <a:lnTo>
                        <a:pt x="228" y="202"/>
                      </a:lnTo>
                      <a:lnTo>
                        <a:pt x="226" y="198"/>
                      </a:lnTo>
                      <a:lnTo>
                        <a:pt x="226" y="202"/>
                      </a:lnTo>
                      <a:lnTo>
                        <a:pt x="222" y="202"/>
                      </a:lnTo>
                      <a:lnTo>
                        <a:pt x="222" y="204"/>
                      </a:lnTo>
                      <a:lnTo>
                        <a:pt x="222" y="208"/>
                      </a:lnTo>
                      <a:lnTo>
                        <a:pt x="218" y="212"/>
                      </a:lnTo>
                      <a:lnTo>
                        <a:pt x="218" y="208"/>
                      </a:lnTo>
                      <a:lnTo>
                        <a:pt x="218" y="204"/>
                      </a:lnTo>
                      <a:lnTo>
                        <a:pt x="218" y="202"/>
                      </a:lnTo>
                      <a:lnTo>
                        <a:pt x="214" y="202"/>
                      </a:lnTo>
                      <a:lnTo>
                        <a:pt x="214" y="204"/>
                      </a:lnTo>
                      <a:lnTo>
                        <a:pt x="210" y="208"/>
                      </a:lnTo>
                      <a:lnTo>
                        <a:pt x="206" y="212"/>
                      </a:lnTo>
                      <a:lnTo>
                        <a:pt x="210" y="212"/>
                      </a:lnTo>
                      <a:lnTo>
                        <a:pt x="206" y="212"/>
                      </a:lnTo>
                      <a:lnTo>
                        <a:pt x="202" y="212"/>
                      </a:lnTo>
                      <a:lnTo>
                        <a:pt x="198" y="212"/>
                      </a:lnTo>
                      <a:lnTo>
                        <a:pt x="196" y="212"/>
                      </a:lnTo>
                      <a:lnTo>
                        <a:pt x="192" y="212"/>
                      </a:lnTo>
                      <a:lnTo>
                        <a:pt x="196" y="212"/>
                      </a:lnTo>
                      <a:lnTo>
                        <a:pt x="196" y="208"/>
                      </a:lnTo>
                      <a:lnTo>
                        <a:pt x="192" y="208"/>
                      </a:lnTo>
                      <a:lnTo>
                        <a:pt x="192" y="204"/>
                      </a:lnTo>
                      <a:lnTo>
                        <a:pt x="192" y="208"/>
                      </a:lnTo>
                      <a:lnTo>
                        <a:pt x="192" y="212"/>
                      </a:lnTo>
                      <a:lnTo>
                        <a:pt x="188" y="208"/>
                      </a:lnTo>
                      <a:lnTo>
                        <a:pt x="188" y="204"/>
                      </a:lnTo>
                      <a:lnTo>
                        <a:pt x="192" y="204"/>
                      </a:lnTo>
                      <a:lnTo>
                        <a:pt x="188" y="204"/>
                      </a:lnTo>
                      <a:lnTo>
                        <a:pt x="188" y="208"/>
                      </a:lnTo>
                      <a:lnTo>
                        <a:pt x="184" y="208"/>
                      </a:lnTo>
                      <a:lnTo>
                        <a:pt x="184" y="212"/>
                      </a:lnTo>
                      <a:lnTo>
                        <a:pt x="188" y="212"/>
                      </a:lnTo>
                      <a:lnTo>
                        <a:pt x="188" y="216"/>
                      </a:lnTo>
                      <a:lnTo>
                        <a:pt x="192" y="216"/>
                      </a:lnTo>
                      <a:lnTo>
                        <a:pt x="192" y="220"/>
                      </a:lnTo>
                      <a:lnTo>
                        <a:pt x="188" y="220"/>
                      </a:lnTo>
                      <a:lnTo>
                        <a:pt x="184" y="220"/>
                      </a:lnTo>
                      <a:lnTo>
                        <a:pt x="180" y="220"/>
                      </a:lnTo>
                      <a:lnTo>
                        <a:pt x="180" y="224"/>
                      </a:lnTo>
                      <a:lnTo>
                        <a:pt x="180" y="228"/>
                      </a:lnTo>
                      <a:lnTo>
                        <a:pt x="176" y="228"/>
                      </a:lnTo>
                      <a:lnTo>
                        <a:pt x="176" y="230"/>
                      </a:lnTo>
                      <a:lnTo>
                        <a:pt x="172" y="234"/>
                      </a:lnTo>
                      <a:lnTo>
                        <a:pt x="170" y="230"/>
                      </a:lnTo>
                      <a:lnTo>
                        <a:pt x="170" y="228"/>
                      </a:lnTo>
                      <a:lnTo>
                        <a:pt x="166" y="228"/>
                      </a:lnTo>
                      <a:lnTo>
                        <a:pt x="166" y="224"/>
                      </a:lnTo>
                      <a:lnTo>
                        <a:pt x="166" y="220"/>
                      </a:lnTo>
                      <a:lnTo>
                        <a:pt x="166" y="216"/>
                      </a:lnTo>
                      <a:lnTo>
                        <a:pt x="170" y="216"/>
                      </a:lnTo>
                      <a:lnTo>
                        <a:pt x="170" y="212"/>
                      </a:lnTo>
                      <a:lnTo>
                        <a:pt x="170" y="208"/>
                      </a:lnTo>
                      <a:lnTo>
                        <a:pt x="166" y="212"/>
                      </a:lnTo>
                      <a:lnTo>
                        <a:pt x="162" y="212"/>
                      </a:lnTo>
                      <a:lnTo>
                        <a:pt x="158" y="208"/>
                      </a:lnTo>
                      <a:lnTo>
                        <a:pt x="154" y="208"/>
                      </a:lnTo>
                      <a:lnTo>
                        <a:pt x="154" y="212"/>
                      </a:lnTo>
                      <a:lnTo>
                        <a:pt x="154" y="208"/>
                      </a:lnTo>
                      <a:lnTo>
                        <a:pt x="154" y="208"/>
                      </a:lnTo>
                      <a:lnTo>
                        <a:pt x="154" y="208"/>
                      </a:lnTo>
                      <a:close/>
                      <a:moveTo>
                        <a:pt x="214" y="142"/>
                      </a:moveTo>
                      <a:lnTo>
                        <a:pt x="214" y="146"/>
                      </a:lnTo>
                      <a:lnTo>
                        <a:pt x="210" y="146"/>
                      </a:lnTo>
                      <a:lnTo>
                        <a:pt x="210" y="148"/>
                      </a:lnTo>
                      <a:lnTo>
                        <a:pt x="214" y="146"/>
                      </a:lnTo>
                      <a:lnTo>
                        <a:pt x="214" y="148"/>
                      </a:lnTo>
                      <a:lnTo>
                        <a:pt x="210" y="152"/>
                      </a:lnTo>
                      <a:lnTo>
                        <a:pt x="206" y="152"/>
                      </a:lnTo>
                      <a:lnTo>
                        <a:pt x="210" y="152"/>
                      </a:lnTo>
                      <a:lnTo>
                        <a:pt x="210" y="148"/>
                      </a:lnTo>
                      <a:lnTo>
                        <a:pt x="210" y="146"/>
                      </a:lnTo>
                      <a:lnTo>
                        <a:pt x="210" y="142"/>
                      </a:lnTo>
                      <a:lnTo>
                        <a:pt x="214" y="142"/>
                      </a:lnTo>
                      <a:lnTo>
                        <a:pt x="214" y="142"/>
                      </a:lnTo>
                      <a:lnTo>
                        <a:pt x="214" y="142"/>
                      </a:lnTo>
                      <a:close/>
                      <a:moveTo>
                        <a:pt x="140" y="178"/>
                      </a:moveTo>
                      <a:lnTo>
                        <a:pt x="140" y="182"/>
                      </a:lnTo>
                      <a:lnTo>
                        <a:pt x="136" y="182"/>
                      </a:lnTo>
                      <a:lnTo>
                        <a:pt x="140" y="178"/>
                      </a:lnTo>
                      <a:lnTo>
                        <a:pt x="140" y="178"/>
                      </a:lnTo>
                      <a:lnTo>
                        <a:pt x="140" y="178"/>
                      </a:lnTo>
                      <a:close/>
                      <a:moveTo>
                        <a:pt x="84" y="212"/>
                      </a:moveTo>
                      <a:lnTo>
                        <a:pt x="84" y="216"/>
                      </a:lnTo>
                      <a:lnTo>
                        <a:pt x="84" y="220"/>
                      </a:lnTo>
                      <a:lnTo>
                        <a:pt x="84" y="216"/>
                      </a:lnTo>
                      <a:lnTo>
                        <a:pt x="80" y="216"/>
                      </a:lnTo>
                      <a:lnTo>
                        <a:pt x="84" y="212"/>
                      </a:lnTo>
                      <a:lnTo>
                        <a:pt x="84" y="212"/>
                      </a:lnTo>
                      <a:lnTo>
                        <a:pt x="84" y="212"/>
                      </a:lnTo>
                      <a:close/>
                      <a:moveTo>
                        <a:pt x="158" y="220"/>
                      </a:moveTo>
                      <a:lnTo>
                        <a:pt x="158" y="216"/>
                      </a:lnTo>
                      <a:lnTo>
                        <a:pt x="162" y="216"/>
                      </a:lnTo>
                      <a:lnTo>
                        <a:pt x="162" y="212"/>
                      </a:lnTo>
                      <a:lnTo>
                        <a:pt x="162" y="216"/>
                      </a:lnTo>
                      <a:lnTo>
                        <a:pt x="162" y="220"/>
                      </a:lnTo>
                      <a:lnTo>
                        <a:pt x="158" y="220"/>
                      </a:lnTo>
                      <a:lnTo>
                        <a:pt x="158" y="220"/>
                      </a:lnTo>
                      <a:lnTo>
                        <a:pt x="158" y="220"/>
                      </a:lnTo>
                      <a:close/>
                      <a:moveTo>
                        <a:pt x="154" y="212"/>
                      </a:moveTo>
                      <a:lnTo>
                        <a:pt x="154" y="216"/>
                      </a:lnTo>
                      <a:lnTo>
                        <a:pt x="150" y="216"/>
                      </a:lnTo>
                      <a:lnTo>
                        <a:pt x="150" y="212"/>
                      </a:lnTo>
                      <a:lnTo>
                        <a:pt x="154" y="212"/>
                      </a:lnTo>
                      <a:lnTo>
                        <a:pt x="154" y="212"/>
                      </a:lnTo>
                      <a:lnTo>
                        <a:pt x="154" y="212"/>
                      </a:lnTo>
                      <a:close/>
                      <a:moveTo>
                        <a:pt x="154" y="230"/>
                      </a:moveTo>
                      <a:lnTo>
                        <a:pt x="154" y="234"/>
                      </a:lnTo>
                      <a:lnTo>
                        <a:pt x="150" y="234"/>
                      </a:lnTo>
                      <a:lnTo>
                        <a:pt x="150" y="238"/>
                      </a:lnTo>
                      <a:lnTo>
                        <a:pt x="150" y="234"/>
                      </a:lnTo>
                      <a:lnTo>
                        <a:pt x="146" y="234"/>
                      </a:lnTo>
                      <a:lnTo>
                        <a:pt x="146" y="230"/>
                      </a:lnTo>
                      <a:lnTo>
                        <a:pt x="142" y="230"/>
                      </a:lnTo>
                      <a:lnTo>
                        <a:pt x="142" y="234"/>
                      </a:lnTo>
                      <a:lnTo>
                        <a:pt x="140" y="234"/>
                      </a:lnTo>
                      <a:lnTo>
                        <a:pt x="140" y="238"/>
                      </a:lnTo>
                      <a:lnTo>
                        <a:pt x="136" y="242"/>
                      </a:lnTo>
                      <a:lnTo>
                        <a:pt x="136" y="246"/>
                      </a:lnTo>
                      <a:lnTo>
                        <a:pt x="132" y="246"/>
                      </a:lnTo>
                      <a:lnTo>
                        <a:pt x="128" y="246"/>
                      </a:lnTo>
                      <a:lnTo>
                        <a:pt x="132" y="246"/>
                      </a:lnTo>
                      <a:lnTo>
                        <a:pt x="132" y="242"/>
                      </a:lnTo>
                      <a:lnTo>
                        <a:pt x="128" y="242"/>
                      </a:lnTo>
                      <a:lnTo>
                        <a:pt x="128" y="246"/>
                      </a:lnTo>
                      <a:lnTo>
                        <a:pt x="128" y="242"/>
                      </a:lnTo>
                      <a:lnTo>
                        <a:pt x="128" y="238"/>
                      </a:lnTo>
                      <a:lnTo>
                        <a:pt x="124" y="238"/>
                      </a:lnTo>
                      <a:lnTo>
                        <a:pt x="124" y="234"/>
                      </a:lnTo>
                      <a:lnTo>
                        <a:pt x="120" y="234"/>
                      </a:lnTo>
                      <a:lnTo>
                        <a:pt x="124" y="234"/>
                      </a:lnTo>
                      <a:lnTo>
                        <a:pt x="128" y="230"/>
                      </a:lnTo>
                      <a:lnTo>
                        <a:pt x="128" y="228"/>
                      </a:lnTo>
                      <a:lnTo>
                        <a:pt x="132" y="228"/>
                      </a:lnTo>
                      <a:lnTo>
                        <a:pt x="132" y="224"/>
                      </a:lnTo>
                      <a:lnTo>
                        <a:pt x="132" y="220"/>
                      </a:lnTo>
                      <a:lnTo>
                        <a:pt x="136" y="220"/>
                      </a:lnTo>
                      <a:lnTo>
                        <a:pt x="136" y="224"/>
                      </a:lnTo>
                      <a:lnTo>
                        <a:pt x="140" y="224"/>
                      </a:lnTo>
                      <a:lnTo>
                        <a:pt x="142" y="224"/>
                      </a:lnTo>
                      <a:lnTo>
                        <a:pt x="142" y="220"/>
                      </a:lnTo>
                      <a:lnTo>
                        <a:pt x="146" y="220"/>
                      </a:lnTo>
                      <a:lnTo>
                        <a:pt x="146" y="216"/>
                      </a:lnTo>
                      <a:lnTo>
                        <a:pt x="150" y="216"/>
                      </a:lnTo>
                      <a:lnTo>
                        <a:pt x="154" y="220"/>
                      </a:lnTo>
                      <a:lnTo>
                        <a:pt x="158" y="220"/>
                      </a:lnTo>
                      <a:lnTo>
                        <a:pt x="158" y="224"/>
                      </a:lnTo>
                      <a:lnTo>
                        <a:pt x="158" y="228"/>
                      </a:lnTo>
                      <a:lnTo>
                        <a:pt x="154" y="230"/>
                      </a:lnTo>
                      <a:lnTo>
                        <a:pt x="154" y="230"/>
                      </a:lnTo>
                      <a:lnTo>
                        <a:pt x="154" y="230"/>
                      </a:lnTo>
                      <a:close/>
                      <a:moveTo>
                        <a:pt x="84" y="220"/>
                      </a:moveTo>
                      <a:lnTo>
                        <a:pt x="80" y="224"/>
                      </a:lnTo>
                      <a:lnTo>
                        <a:pt x="80" y="220"/>
                      </a:lnTo>
                      <a:lnTo>
                        <a:pt x="80" y="216"/>
                      </a:lnTo>
                      <a:lnTo>
                        <a:pt x="84" y="216"/>
                      </a:lnTo>
                      <a:lnTo>
                        <a:pt x="84" y="220"/>
                      </a:lnTo>
                      <a:lnTo>
                        <a:pt x="84" y="220"/>
                      </a:lnTo>
                      <a:lnTo>
                        <a:pt x="84" y="220"/>
                      </a:lnTo>
                      <a:close/>
                      <a:moveTo>
                        <a:pt x="128" y="220"/>
                      </a:moveTo>
                      <a:lnTo>
                        <a:pt x="124" y="220"/>
                      </a:lnTo>
                      <a:lnTo>
                        <a:pt x="128" y="220"/>
                      </a:lnTo>
                      <a:lnTo>
                        <a:pt x="128" y="220"/>
                      </a:lnTo>
                      <a:lnTo>
                        <a:pt x="128" y="220"/>
                      </a:lnTo>
                      <a:close/>
                      <a:moveTo>
                        <a:pt x="86" y="250"/>
                      </a:moveTo>
                      <a:lnTo>
                        <a:pt x="90" y="250"/>
                      </a:lnTo>
                      <a:lnTo>
                        <a:pt x="90" y="246"/>
                      </a:lnTo>
                      <a:lnTo>
                        <a:pt x="86" y="246"/>
                      </a:lnTo>
                      <a:lnTo>
                        <a:pt x="86" y="242"/>
                      </a:lnTo>
                      <a:lnTo>
                        <a:pt x="90" y="242"/>
                      </a:lnTo>
                      <a:lnTo>
                        <a:pt x="90" y="246"/>
                      </a:lnTo>
                      <a:lnTo>
                        <a:pt x="90" y="242"/>
                      </a:lnTo>
                      <a:lnTo>
                        <a:pt x="86" y="238"/>
                      </a:lnTo>
                      <a:lnTo>
                        <a:pt x="86" y="234"/>
                      </a:lnTo>
                      <a:lnTo>
                        <a:pt x="90" y="238"/>
                      </a:lnTo>
                      <a:lnTo>
                        <a:pt x="90" y="234"/>
                      </a:lnTo>
                      <a:lnTo>
                        <a:pt x="90" y="230"/>
                      </a:lnTo>
                      <a:lnTo>
                        <a:pt x="90" y="234"/>
                      </a:lnTo>
                      <a:lnTo>
                        <a:pt x="94" y="234"/>
                      </a:lnTo>
                      <a:lnTo>
                        <a:pt x="94" y="230"/>
                      </a:lnTo>
                      <a:lnTo>
                        <a:pt x="98" y="230"/>
                      </a:lnTo>
                      <a:lnTo>
                        <a:pt x="98" y="228"/>
                      </a:lnTo>
                      <a:lnTo>
                        <a:pt x="102" y="224"/>
                      </a:lnTo>
                      <a:lnTo>
                        <a:pt x="106" y="224"/>
                      </a:lnTo>
                      <a:lnTo>
                        <a:pt x="106" y="228"/>
                      </a:lnTo>
                      <a:lnTo>
                        <a:pt x="106" y="230"/>
                      </a:lnTo>
                      <a:lnTo>
                        <a:pt x="110" y="230"/>
                      </a:lnTo>
                      <a:lnTo>
                        <a:pt x="112" y="230"/>
                      </a:lnTo>
                      <a:lnTo>
                        <a:pt x="116" y="230"/>
                      </a:lnTo>
                      <a:lnTo>
                        <a:pt x="116" y="234"/>
                      </a:lnTo>
                      <a:lnTo>
                        <a:pt x="112" y="234"/>
                      </a:lnTo>
                      <a:lnTo>
                        <a:pt x="112" y="238"/>
                      </a:lnTo>
                      <a:lnTo>
                        <a:pt x="116" y="238"/>
                      </a:lnTo>
                      <a:lnTo>
                        <a:pt x="120" y="238"/>
                      </a:lnTo>
                      <a:lnTo>
                        <a:pt x="116" y="238"/>
                      </a:lnTo>
                      <a:lnTo>
                        <a:pt x="120" y="242"/>
                      </a:lnTo>
                      <a:lnTo>
                        <a:pt x="120" y="246"/>
                      </a:lnTo>
                      <a:lnTo>
                        <a:pt x="116" y="246"/>
                      </a:lnTo>
                      <a:lnTo>
                        <a:pt x="116" y="250"/>
                      </a:lnTo>
                      <a:lnTo>
                        <a:pt x="116" y="254"/>
                      </a:lnTo>
                      <a:lnTo>
                        <a:pt x="112" y="254"/>
                      </a:lnTo>
                      <a:lnTo>
                        <a:pt x="112" y="258"/>
                      </a:lnTo>
                      <a:lnTo>
                        <a:pt x="112" y="260"/>
                      </a:lnTo>
                      <a:lnTo>
                        <a:pt x="112" y="264"/>
                      </a:lnTo>
                      <a:lnTo>
                        <a:pt x="112" y="268"/>
                      </a:lnTo>
                      <a:lnTo>
                        <a:pt x="112" y="272"/>
                      </a:lnTo>
                      <a:lnTo>
                        <a:pt x="110" y="272"/>
                      </a:lnTo>
                      <a:lnTo>
                        <a:pt x="106" y="272"/>
                      </a:lnTo>
                      <a:lnTo>
                        <a:pt x="110" y="272"/>
                      </a:lnTo>
                      <a:lnTo>
                        <a:pt x="110" y="276"/>
                      </a:lnTo>
                      <a:lnTo>
                        <a:pt x="106" y="276"/>
                      </a:lnTo>
                      <a:lnTo>
                        <a:pt x="102" y="280"/>
                      </a:lnTo>
                      <a:lnTo>
                        <a:pt x="102" y="276"/>
                      </a:lnTo>
                      <a:lnTo>
                        <a:pt x="102" y="272"/>
                      </a:lnTo>
                      <a:lnTo>
                        <a:pt x="102" y="268"/>
                      </a:lnTo>
                      <a:lnTo>
                        <a:pt x="102" y="264"/>
                      </a:lnTo>
                      <a:lnTo>
                        <a:pt x="102" y="268"/>
                      </a:lnTo>
                      <a:lnTo>
                        <a:pt x="98" y="268"/>
                      </a:lnTo>
                      <a:lnTo>
                        <a:pt x="98" y="272"/>
                      </a:lnTo>
                      <a:lnTo>
                        <a:pt x="102" y="272"/>
                      </a:lnTo>
                      <a:lnTo>
                        <a:pt x="102" y="276"/>
                      </a:lnTo>
                      <a:lnTo>
                        <a:pt x="98" y="276"/>
                      </a:lnTo>
                      <a:lnTo>
                        <a:pt x="94" y="276"/>
                      </a:lnTo>
                      <a:lnTo>
                        <a:pt x="94" y="272"/>
                      </a:lnTo>
                      <a:lnTo>
                        <a:pt x="98" y="268"/>
                      </a:lnTo>
                      <a:lnTo>
                        <a:pt x="94" y="264"/>
                      </a:lnTo>
                      <a:lnTo>
                        <a:pt x="94" y="260"/>
                      </a:lnTo>
                      <a:lnTo>
                        <a:pt x="94" y="258"/>
                      </a:lnTo>
                      <a:lnTo>
                        <a:pt x="94" y="260"/>
                      </a:lnTo>
                      <a:lnTo>
                        <a:pt x="98" y="258"/>
                      </a:lnTo>
                      <a:lnTo>
                        <a:pt x="98" y="254"/>
                      </a:lnTo>
                      <a:lnTo>
                        <a:pt x="102" y="250"/>
                      </a:lnTo>
                      <a:lnTo>
                        <a:pt x="98" y="250"/>
                      </a:lnTo>
                      <a:lnTo>
                        <a:pt x="102" y="246"/>
                      </a:lnTo>
                      <a:lnTo>
                        <a:pt x="98" y="246"/>
                      </a:lnTo>
                      <a:lnTo>
                        <a:pt x="98" y="242"/>
                      </a:lnTo>
                      <a:lnTo>
                        <a:pt x="98" y="238"/>
                      </a:lnTo>
                      <a:lnTo>
                        <a:pt x="94" y="238"/>
                      </a:lnTo>
                      <a:lnTo>
                        <a:pt x="94" y="242"/>
                      </a:lnTo>
                      <a:lnTo>
                        <a:pt x="94" y="246"/>
                      </a:lnTo>
                      <a:lnTo>
                        <a:pt x="98" y="246"/>
                      </a:lnTo>
                      <a:lnTo>
                        <a:pt x="98" y="250"/>
                      </a:lnTo>
                      <a:lnTo>
                        <a:pt x="94" y="250"/>
                      </a:lnTo>
                      <a:lnTo>
                        <a:pt x="94" y="246"/>
                      </a:lnTo>
                      <a:lnTo>
                        <a:pt x="90" y="246"/>
                      </a:lnTo>
                      <a:lnTo>
                        <a:pt x="90" y="250"/>
                      </a:lnTo>
                      <a:lnTo>
                        <a:pt x="86" y="250"/>
                      </a:lnTo>
                      <a:lnTo>
                        <a:pt x="86" y="250"/>
                      </a:lnTo>
                      <a:lnTo>
                        <a:pt x="86" y="250"/>
                      </a:lnTo>
                      <a:close/>
                      <a:moveTo>
                        <a:pt x="86" y="230"/>
                      </a:moveTo>
                      <a:lnTo>
                        <a:pt x="86" y="228"/>
                      </a:lnTo>
                      <a:lnTo>
                        <a:pt x="90" y="228"/>
                      </a:lnTo>
                      <a:lnTo>
                        <a:pt x="86" y="228"/>
                      </a:lnTo>
                      <a:lnTo>
                        <a:pt x="86" y="230"/>
                      </a:lnTo>
                      <a:lnTo>
                        <a:pt x="86" y="230"/>
                      </a:lnTo>
                      <a:lnTo>
                        <a:pt x="86" y="230"/>
                      </a:lnTo>
                      <a:close/>
                      <a:moveTo>
                        <a:pt x="86" y="234"/>
                      </a:moveTo>
                      <a:lnTo>
                        <a:pt x="86" y="238"/>
                      </a:lnTo>
                      <a:lnTo>
                        <a:pt x="84" y="238"/>
                      </a:lnTo>
                      <a:lnTo>
                        <a:pt x="84" y="234"/>
                      </a:lnTo>
                      <a:lnTo>
                        <a:pt x="86" y="234"/>
                      </a:lnTo>
                      <a:lnTo>
                        <a:pt x="86" y="234"/>
                      </a:lnTo>
                      <a:lnTo>
                        <a:pt x="86" y="234"/>
                      </a:lnTo>
                      <a:close/>
                      <a:moveTo>
                        <a:pt x="80" y="242"/>
                      </a:moveTo>
                      <a:lnTo>
                        <a:pt x="80" y="246"/>
                      </a:lnTo>
                      <a:lnTo>
                        <a:pt x="80" y="242"/>
                      </a:lnTo>
                      <a:lnTo>
                        <a:pt x="80" y="238"/>
                      </a:lnTo>
                      <a:lnTo>
                        <a:pt x="80" y="242"/>
                      </a:lnTo>
                      <a:lnTo>
                        <a:pt x="80" y="242"/>
                      </a:lnTo>
                      <a:lnTo>
                        <a:pt x="80" y="242"/>
                      </a:lnTo>
                      <a:close/>
                      <a:moveTo>
                        <a:pt x="72" y="250"/>
                      </a:moveTo>
                      <a:lnTo>
                        <a:pt x="72" y="246"/>
                      </a:lnTo>
                      <a:lnTo>
                        <a:pt x="76" y="246"/>
                      </a:lnTo>
                      <a:lnTo>
                        <a:pt x="76" y="250"/>
                      </a:lnTo>
                      <a:lnTo>
                        <a:pt x="72" y="250"/>
                      </a:lnTo>
                      <a:lnTo>
                        <a:pt x="72" y="250"/>
                      </a:lnTo>
                      <a:lnTo>
                        <a:pt x="72" y="250"/>
                      </a:lnTo>
                      <a:close/>
                      <a:moveTo>
                        <a:pt x="90" y="258"/>
                      </a:moveTo>
                      <a:lnTo>
                        <a:pt x="90" y="254"/>
                      </a:lnTo>
                      <a:lnTo>
                        <a:pt x="94" y="250"/>
                      </a:lnTo>
                      <a:lnTo>
                        <a:pt x="94" y="254"/>
                      </a:lnTo>
                      <a:lnTo>
                        <a:pt x="94" y="258"/>
                      </a:lnTo>
                      <a:lnTo>
                        <a:pt x="90" y="258"/>
                      </a:lnTo>
                      <a:lnTo>
                        <a:pt x="90" y="258"/>
                      </a:lnTo>
                      <a:lnTo>
                        <a:pt x="90" y="258"/>
                      </a:lnTo>
                      <a:close/>
                      <a:moveTo>
                        <a:pt x="106" y="284"/>
                      </a:moveTo>
                      <a:lnTo>
                        <a:pt x="106" y="286"/>
                      </a:lnTo>
                      <a:lnTo>
                        <a:pt x="106" y="290"/>
                      </a:lnTo>
                      <a:lnTo>
                        <a:pt x="106" y="286"/>
                      </a:lnTo>
                      <a:lnTo>
                        <a:pt x="106" y="284"/>
                      </a:lnTo>
                      <a:lnTo>
                        <a:pt x="106" y="284"/>
                      </a:lnTo>
                      <a:lnTo>
                        <a:pt x="106" y="284"/>
                      </a:lnTo>
                      <a:close/>
                      <a:moveTo>
                        <a:pt x="98" y="290"/>
                      </a:moveTo>
                      <a:lnTo>
                        <a:pt x="102" y="290"/>
                      </a:lnTo>
                      <a:lnTo>
                        <a:pt x="102" y="294"/>
                      </a:lnTo>
                      <a:lnTo>
                        <a:pt x="98" y="294"/>
                      </a:lnTo>
                      <a:lnTo>
                        <a:pt x="98" y="290"/>
                      </a:lnTo>
                      <a:lnTo>
                        <a:pt x="98" y="290"/>
                      </a:lnTo>
                      <a:lnTo>
                        <a:pt x="98" y="290"/>
                      </a:lnTo>
                      <a:close/>
                      <a:moveTo>
                        <a:pt x="86" y="324"/>
                      </a:moveTo>
                      <a:lnTo>
                        <a:pt x="86" y="328"/>
                      </a:lnTo>
                      <a:lnTo>
                        <a:pt x="84" y="328"/>
                      </a:lnTo>
                      <a:lnTo>
                        <a:pt x="84" y="332"/>
                      </a:lnTo>
                      <a:lnTo>
                        <a:pt x="80" y="328"/>
                      </a:lnTo>
                      <a:lnTo>
                        <a:pt x="84" y="328"/>
                      </a:lnTo>
                      <a:lnTo>
                        <a:pt x="86" y="324"/>
                      </a:lnTo>
                      <a:lnTo>
                        <a:pt x="86" y="324"/>
                      </a:lnTo>
                      <a:lnTo>
                        <a:pt x="86" y="324"/>
                      </a:lnTo>
                      <a:close/>
                      <a:moveTo>
                        <a:pt x="76" y="336"/>
                      </a:moveTo>
                      <a:lnTo>
                        <a:pt x="80" y="340"/>
                      </a:lnTo>
                      <a:lnTo>
                        <a:pt x="76" y="340"/>
                      </a:lnTo>
                      <a:lnTo>
                        <a:pt x="76" y="336"/>
                      </a:lnTo>
                      <a:lnTo>
                        <a:pt x="76" y="336"/>
                      </a:lnTo>
                      <a:lnTo>
                        <a:pt x="76" y="336"/>
                      </a:lnTo>
                      <a:close/>
                      <a:moveTo>
                        <a:pt x="68" y="354"/>
                      </a:moveTo>
                      <a:lnTo>
                        <a:pt x="68" y="358"/>
                      </a:lnTo>
                      <a:lnTo>
                        <a:pt x="64" y="362"/>
                      </a:lnTo>
                      <a:lnTo>
                        <a:pt x="60" y="362"/>
                      </a:lnTo>
                      <a:lnTo>
                        <a:pt x="60" y="366"/>
                      </a:lnTo>
                      <a:lnTo>
                        <a:pt x="60" y="370"/>
                      </a:lnTo>
                      <a:lnTo>
                        <a:pt x="56" y="370"/>
                      </a:lnTo>
                      <a:lnTo>
                        <a:pt x="56" y="366"/>
                      </a:lnTo>
                      <a:lnTo>
                        <a:pt x="60" y="366"/>
                      </a:lnTo>
                      <a:lnTo>
                        <a:pt x="60" y="362"/>
                      </a:lnTo>
                      <a:lnTo>
                        <a:pt x="64" y="362"/>
                      </a:lnTo>
                      <a:lnTo>
                        <a:pt x="64" y="358"/>
                      </a:lnTo>
                      <a:lnTo>
                        <a:pt x="60" y="358"/>
                      </a:lnTo>
                      <a:lnTo>
                        <a:pt x="64" y="358"/>
                      </a:lnTo>
                      <a:lnTo>
                        <a:pt x="68" y="354"/>
                      </a:lnTo>
                      <a:lnTo>
                        <a:pt x="68" y="354"/>
                      </a:lnTo>
                      <a:lnTo>
                        <a:pt x="68" y="354"/>
                      </a:lnTo>
                      <a:close/>
                      <a:moveTo>
                        <a:pt x="24" y="392"/>
                      </a:moveTo>
                      <a:lnTo>
                        <a:pt x="28" y="392"/>
                      </a:lnTo>
                      <a:lnTo>
                        <a:pt x="24" y="392"/>
                      </a:lnTo>
                      <a:lnTo>
                        <a:pt x="24" y="392"/>
                      </a:lnTo>
                      <a:lnTo>
                        <a:pt x="24" y="392"/>
                      </a:lnTo>
                      <a:close/>
                      <a:moveTo>
                        <a:pt x="8" y="398"/>
                      </a:moveTo>
                      <a:lnTo>
                        <a:pt x="12" y="398"/>
                      </a:lnTo>
                      <a:lnTo>
                        <a:pt x="12" y="396"/>
                      </a:lnTo>
                      <a:lnTo>
                        <a:pt x="12" y="398"/>
                      </a:lnTo>
                      <a:lnTo>
                        <a:pt x="8" y="398"/>
                      </a:lnTo>
                      <a:lnTo>
                        <a:pt x="8" y="398"/>
                      </a:lnTo>
                      <a:lnTo>
                        <a:pt x="8" y="398"/>
                      </a:lnTo>
                      <a:close/>
                      <a:moveTo>
                        <a:pt x="4" y="398"/>
                      </a:moveTo>
                      <a:lnTo>
                        <a:pt x="4" y="402"/>
                      </a:lnTo>
                      <a:lnTo>
                        <a:pt x="0" y="402"/>
                      </a:lnTo>
                      <a:lnTo>
                        <a:pt x="0" y="398"/>
                      </a:lnTo>
                      <a:lnTo>
                        <a:pt x="4" y="398"/>
                      </a:lnTo>
                      <a:lnTo>
                        <a:pt x="4" y="398"/>
                      </a:lnTo>
                      <a:lnTo>
                        <a:pt x="4" y="39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4" name="Freeform 33"/>
                <p:cNvSpPr>
                  <a:spLocks/>
                </p:cNvSpPr>
                <p:nvPr/>
              </p:nvSpPr>
              <p:spPr bwMode="auto">
                <a:xfrm>
                  <a:off x="5181600" y="3625918"/>
                  <a:ext cx="92075" cy="127000"/>
                </a:xfrm>
                <a:custGeom>
                  <a:avLst/>
                  <a:gdLst>
                    <a:gd name="T0" fmla="*/ 6 w 58"/>
                    <a:gd name="T1" fmla="*/ 34 h 80"/>
                    <a:gd name="T2" fmla="*/ 6 w 58"/>
                    <a:gd name="T3" fmla="*/ 34 h 80"/>
                    <a:gd name="T4" fmla="*/ 6 w 58"/>
                    <a:gd name="T5" fmla="*/ 30 h 80"/>
                    <a:gd name="T6" fmla="*/ 6 w 58"/>
                    <a:gd name="T7" fmla="*/ 30 h 80"/>
                    <a:gd name="T8" fmla="*/ 6 w 58"/>
                    <a:gd name="T9" fmla="*/ 26 h 80"/>
                    <a:gd name="T10" fmla="*/ 6 w 58"/>
                    <a:gd name="T11" fmla="*/ 26 h 80"/>
                    <a:gd name="T12" fmla="*/ 6 w 58"/>
                    <a:gd name="T13" fmla="*/ 24 h 80"/>
                    <a:gd name="T14" fmla="*/ 6 w 58"/>
                    <a:gd name="T15" fmla="*/ 20 h 80"/>
                    <a:gd name="T16" fmla="*/ 6 w 58"/>
                    <a:gd name="T17" fmla="*/ 16 h 80"/>
                    <a:gd name="T18" fmla="*/ 6 w 58"/>
                    <a:gd name="T19" fmla="*/ 16 h 80"/>
                    <a:gd name="T20" fmla="*/ 6 w 58"/>
                    <a:gd name="T21" fmla="*/ 12 h 80"/>
                    <a:gd name="T22" fmla="*/ 10 w 58"/>
                    <a:gd name="T23" fmla="*/ 12 h 80"/>
                    <a:gd name="T24" fmla="*/ 14 w 58"/>
                    <a:gd name="T25" fmla="*/ 16 h 80"/>
                    <a:gd name="T26" fmla="*/ 14 w 58"/>
                    <a:gd name="T27" fmla="*/ 16 h 80"/>
                    <a:gd name="T28" fmla="*/ 14 w 58"/>
                    <a:gd name="T29" fmla="*/ 16 h 80"/>
                    <a:gd name="T30" fmla="*/ 18 w 58"/>
                    <a:gd name="T31" fmla="*/ 20 h 80"/>
                    <a:gd name="T32" fmla="*/ 18 w 58"/>
                    <a:gd name="T33" fmla="*/ 20 h 80"/>
                    <a:gd name="T34" fmla="*/ 22 w 58"/>
                    <a:gd name="T35" fmla="*/ 20 h 80"/>
                    <a:gd name="T36" fmla="*/ 22 w 58"/>
                    <a:gd name="T37" fmla="*/ 20 h 80"/>
                    <a:gd name="T38" fmla="*/ 26 w 58"/>
                    <a:gd name="T39" fmla="*/ 20 h 80"/>
                    <a:gd name="T40" fmla="*/ 32 w 58"/>
                    <a:gd name="T41" fmla="*/ 16 h 80"/>
                    <a:gd name="T42" fmla="*/ 32 w 58"/>
                    <a:gd name="T43" fmla="*/ 16 h 80"/>
                    <a:gd name="T44" fmla="*/ 40 w 58"/>
                    <a:gd name="T45" fmla="*/ 8 h 80"/>
                    <a:gd name="T46" fmla="*/ 48 w 58"/>
                    <a:gd name="T47" fmla="*/ 4 h 80"/>
                    <a:gd name="T48" fmla="*/ 52 w 58"/>
                    <a:gd name="T49" fmla="*/ 0 h 80"/>
                    <a:gd name="T50" fmla="*/ 54 w 58"/>
                    <a:gd name="T51" fmla="*/ 20 h 80"/>
                    <a:gd name="T52" fmla="*/ 58 w 58"/>
                    <a:gd name="T53" fmla="*/ 20 h 80"/>
                    <a:gd name="T54" fmla="*/ 58 w 58"/>
                    <a:gd name="T55" fmla="*/ 24 h 80"/>
                    <a:gd name="T56" fmla="*/ 54 w 58"/>
                    <a:gd name="T57" fmla="*/ 26 h 80"/>
                    <a:gd name="T58" fmla="*/ 40 w 58"/>
                    <a:gd name="T59" fmla="*/ 30 h 80"/>
                    <a:gd name="T60" fmla="*/ 36 w 58"/>
                    <a:gd name="T61" fmla="*/ 34 h 80"/>
                    <a:gd name="T62" fmla="*/ 28 w 58"/>
                    <a:gd name="T63" fmla="*/ 34 h 80"/>
                    <a:gd name="T64" fmla="*/ 32 w 58"/>
                    <a:gd name="T65" fmla="*/ 42 h 80"/>
                    <a:gd name="T66" fmla="*/ 36 w 58"/>
                    <a:gd name="T67" fmla="*/ 46 h 80"/>
                    <a:gd name="T68" fmla="*/ 36 w 58"/>
                    <a:gd name="T69" fmla="*/ 56 h 80"/>
                    <a:gd name="T70" fmla="*/ 32 w 58"/>
                    <a:gd name="T71" fmla="*/ 64 h 80"/>
                    <a:gd name="T72" fmla="*/ 22 w 58"/>
                    <a:gd name="T73" fmla="*/ 68 h 80"/>
                    <a:gd name="T74" fmla="*/ 18 w 58"/>
                    <a:gd name="T75" fmla="*/ 76 h 80"/>
                    <a:gd name="T76" fmla="*/ 6 w 58"/>
                    <a:gd name="T77" fmla="*/ 76 h 80"/>
                    <a:gd name="T78" fmla="*/ 0 w 58"/>
                    <a:gd name="T79" fmla="*/ 76 h 80"/>
                    <a:gd name="T80" fmla="*/ 0 w 58"/>
                    <a:gd name="T81" fmla="*/ 76 h 80"/>
                    <a:gd name="T82" fmla="*/ 0 w 58"/>
                    <a:gd name="T83" fmla="*/ 72 h 80"/>
                    <a:gd name="T84" fmla="*/ 0 w 58"/>
                    <a:gd name="T85" fmla="*/ 72 h 80"/>
                    <a:gd name="T86" fmla="*/ 0 w 58"/>
                    <a:gd name="T87" fmla="*/ 72 h 80"/>
                    <a:gd name="T88" fmla="*/ 0 w 58"/>
                    <a:gd name="T89" fmla="*/ 64 h 80"/>
                    <a:gd name="T90" fmla="*/ 0 w 58"/>
                    <a:gd name="T91" fmla="*/ 64 h 80"/>
                    <a:gd name="T92" fmla="*/ 0 w 58"/>
                    <a:gd name="T93" fmla="*/ 64 h 80"/>
                    <a:gd name="T94" fmla="*/ 0 w 58"/>
                    <a:gd name="T95" fmla="*/ 60 h 80"/>
                    <a:gd name="T96" fmla="*/ 0 w 58"/>
                    <a:gd name="T97" fmla="*/ 56 h 80"/>
                    <a:gd name="T98" fmla="*/ 0 w 58"/>
                    <a:gd name="T99" fmla="*/ 56 h 80"/>
                    <a:gd name="T100" fmla="*/ 2 w 58"/>
                    <a:gd name="T101" fmla="*/ 54 h 80"/>
                    <a:gd name="T102" fmla="*/ 2 w 58"/>
                    <a:gd name="T103" fmla="*/ 50 h 80"/>
                    <a:gd name="T104" fmla="*/ 2 w 58"/>
                    <a:gd name="T105" fmla="*/ 46 h 80"/>
                    <a:gd name="T106" fmla="*/ 2 w 58"/>
                    <a:gd name="T107" fmla="*/ 46 h 80"/>
                    <a:gd name="T108" fmla="*/ 6 w 58"/>
                    <a:gd name="T109" fmla="*/ 42 h 80"/>
                    <a:gd name="T110" fmla="*/ 6 w 58"/>
                    <a:gd name="T111" fmla="*/ 42 h 80"/>
                    <a:gd name="T112" fmla="*/ 2 w 58"/>
                    <a:gd name="T113" fmla="*/ 42 h 80"/>
                    <a:gd name="T114" fmla="*/ 6 w 58"/>
                    <a:gd name="T115" fmla="*/ 38 h 80"/>
                    <a:gd name="T116" fmla="*/ 6 w 58"/>
                    <a:gd name="T117" fmla="*/ 38 h 80"/>
                    <a:gd name="T118" fmla="*/ 6 w 58"/>
                    <a:gd name="T119" fmla="*/ 34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58" h="80">
                      <a:moveTo>
                        <a:pt x="6" y="34"/>
                      </a:moveTo>
                      <a:lnTo>
                        <a:pt x="6" y="34"/>
                      </a:lnTo>
                      <a:lnTo>
                        <a:pt x="6" y="34"/>
                      </a:lnTo>
                      <a:lnTo>
                        <a:pt x="6" y="34"/>
                      </a:lnTo>
                      <a:lnTo>
                        <a:pt x="6" y="34"/>
                      </a:lnTo>
                      <a:lnTo>
                        <a:pt x="6" y="30"/>
                      </a:lnTo>
                      <a:lnTo>
                        <a:pt x="6" y="30"/>
                      </a:lnTo>
                      <a:lnTo>
                        <a:pt x="6" y="30"/>
                      </a:lnTo>
                      <a:lnTo>
                        <a:pt x="6" y="30"/>
                      </a:lnTo>
                      <a:lnTo>
                        <a:pt x="6" y="26"/>
                      </a:lnTo>
                      <a:lnTo>
                        <a:pt x="6" y="26"/>
                      </a:lnTo>
                      <a:lnTo>
                        <a:pt x="6" y="26"/>
                      </a:lnTo>
                      <a:lnTo>
                        <a:pt x="6" y="24"/>
                      </a:lnTo>
                      <a:lnTo>
                        <a:pt x="6" y="24"/>
                      </a:lnTo>
                      <a:lnTo>
                        <a:pt x="6" y="20"/>
                      </a:lnTo>
                      <a:lnTo>
                        <a:pt x="6" y="20"/>
                      </a:lnTo>
                      <a:lnTo>
                        <a:pt x="6" y="20"/>
                      </a:lnTo>
                      <a:lnTo>
                        <a:pt x="6" y="16"/>
                      </a:lnTo>
                      <a:lnTo>
                        <a:pt x="6" y="16"/>
                      </a:lnTo>
                      <a:lnTo>
                        <a:pt x="6" y="16"/>
                      </a:lnTo>
                      <a:lnTo>
                        <a:pt x="6" y="16"/>
                      </a:lnTo>
                      <a:lnTo>
                        <a:pt x="6" y="12"/>
                      </a:lnTo>
                      <a:lnTo>
                        <a:pt x="10" y="12"/>
                      </a:lnTo>
                      <a:lnTo>
                        <a:pt x="10" y="12"/>
                      </a:lnTo>
                      <a:lnTo>
                        <a:pt x="10" y="12"/>
                      </a:lnTo>
                      <a:lnTo>
                        <a:pt x="14" y="16"/>
                      </a:lnTo>
                      <a:lnTo>
                        <a:pt x="14" y="16"/>
                      </a:lnTo>
                      <a:lnTo>
                        <a:pt x="14" y="16"/>
                      </a:lnTo>
                      <a:lnTo>
                        <a:pt x="14" y="16"/>
                      </a:lnTo>
                      <a:lnTo>
                        <a:pt x="14" y="16"/>
                      </a:lnTo>
                      <a:lnTo>
                        <a:pt x="14" y="16"/>
                      </a:lnTo>
                      <a:lnTo>
                        <a:pt x="18" y="20"/>
                      </a:lnTo>
                      <a:lnTo>
                        <a:pt x="18" y="20"/>
                      </a:lnTo>
                      <a:lnTo>
                        <a:pt x="18" y="20"/>
                      </a:lnTo>
                      <a:lnTo>
                        <a:pt x="18" y="20"/>
                      </a:lnTo>
                      <a:lnTo>
                        <a:pt x="22" y="20"/>
                      </a:lnTo>
                      <a:lnTo>
                        <a:pt x="22" y="20"/>
                      </a:lnTo>
                      <a:lnTo>
                        <a:pt x="22" y="20"/>
                      </a:lnTo>
                      <a:lnTo>
                        <a:pt x="26" y="20"/>
                      </a:lnTo>
                      <a:lnTo>
                        <a:pt x="26" y="20"/>
                      </a:lnTo>
                      <a:lnTo>
                        <a:pt x="28" y="16"/>
                      </a:lnTo>
                      <a:lnTo>
                        <a:pt x="32" y="16"/>
                      </a:lnTo>
                      <a:lnTo>
                        <a:pt x="32" y="16"/>
                      </a:lnTo>
                      <a:lnTo>
                        <a:pt x="32" y="16"/>
                      </a:lnTo>
                      <a:lnTo>
                        <a:pt x="36" y="12"/>
                      </a:lnTo>
                      <a:lnTo>
                        <a:pt x="40" y="8"/>
                      </a:lnTo>
                      <a:lnTo>
                        <a:pt x="44" y="4"/>
                      </a:lnTo>
                      <a:lnTo>
                        <a:pt x="48" y="4"/>
                      </a:lnTo>
                      <a:lnTo>
                        <a:pt x="52" y="0"/>
                      </a:lnTo>
                      <a:lnTo>
                        <a:pt x="52" y="0"/>
                      </a:lnTo>
                      <a:lnTo>
                        <a:pt x="54" y="16"/>
                      </a:lnTo>
                      <a:lnTo>
                        <a:pt x="54" y="20"/>
                      </a:lnTo>
                      <a:lnTo>
                        <a:pt x="54" y="20"/>
                      </a:lnTo>
                      <a:lnTo>
                        <a:pt x="58" y="20"/>
                      </a:lnTo>
                      <a:lnTo>
                        <a:pt x="58" y="24"/>
                      </a:lnTo>
                      <a:lnTo>
                        <a:pt x="58" y="24"/>
                      </a:lnTo>
                      <a:lnTo>
                        <a:pt x="54" y="26"/>
                      </a:lnTo>
                      <a:lnTo>
                        <a:pt x="54" y="26"/>
                      </a:lnTo>
                      <a:lnTo>
                        <a:pt x="48" y="30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36" y="34"/>
                      </a:lnTo>
                      <a:lnTo>
                        <a:pt x="32" y="34"/>
                      </a:lnTo>
                      <a:lnTo>
                        <a:pt x="28" y="34"/>
                      </a:lnTo>
                      <a:lnTo>
                        <a:pt x="26" y="34"/>
                      </a:lnTo>
                      <a:lnTo>
                        <a:pt x="32" y="42"/>
                      </a:lnTo>
                      <a:lnTo>
                        <a:pt x="32" y="46"/>
                      </a:lnTo>
                      <a:lnTo>
                        <a:pt x="36" y="46"/>
                      </a:lnTo>
                      <a:lnTo>
                        <a:pt x="40" y="54"/>
                      </a:lnTo>
                      <a:lnTo>
                        <a:pt x="36" y="56"/>
                      </a:lnTo>
                      <a:lnTo>
                        <a:pt x="32" y="64"/>
                      </a:lnTo>
                      <a:lnTo>
                        <a:pt x="32" y="64"/>
                      </a:lnTo>
                      <a:lnTo>
                        <a:pt x="28" y="64"/>
                      </a:lnTo>
                      <a:lnTo>
                        <a:pt x="22" y="68"/>
                      </a:lnTo>
                      <a:lnTo>
                        <a:pt x="22" y="72"/>
                      </a:lnTo>
                      <a:lnTo>
                        <a:pt x="18" y="76"/>
                      </a:lnTo>
                      <a:lnTo>
                        <a:pt x="14" y="80"/>
                      </a:lnTo>
                      <a:lnTo>
                        <a:pt x="6" y="76"/>
                      </a:lnTo>
                      <a:lnTo>
                        <a:pt x="2" y="76"/>
                      </a:lnTo>
                      <a:lnTo>
                        <a:pt x="0" y="76"/>
                      </a:lnTo>
                      <a:lnTo>
                        <a:pt x="0" y="76"/>
                      </a:lnTo>
                      <a:lnTo>
                        <a:pt x="0" y="76"/>
                      </a:lnTo>
                      <a:lnTo>
                        <a:pt x="0" y="72"/>
                      </a:lnTo>
                      <a:lnTo>
                        <a:pt x="0" y="72"/>
                      </a:lnTo>
                      <a:lnTo>
                        <a:pt x="0" y="72"/>
                      </a:lnTo>
                      <a:lnTo>
                        <a:pt x="0" y="72"/>
                      </a:lnTo>
                      <a:lnTo>
                        <a:pt x="0" y="72"/>
                      </a:lnTo>
                      <a:lnTo>
                        <a:pt x="0" y="72"/>
                      </a:lnTo>
                      <a:lnTo>
                        <a:pt x="0" y="64"/>
                      </a:lnTo>
                      <a:lnTo>
                        <a:pt x="0" y="64"/>
                      </a:lnTo>
                      <a:lnTo>
                        <a:pt x="0" y="64"/>
                      </a:lnTo>
                      <a:lnTo>
                        <a:pt x="0" y="64"/>
                      </a:lnTo>
                      <a:lnTo>
                        <a:pt x="0" y="64"/>
                      </a:lnTo>
                      <a:lnTo>
                        <a:pt x="0" y="64"/>
                      </a:lnTo>
                      <a:lnTo>
                        <a:pt x="0" y="60"/>
                      </a:lnTo>
                      <a:lnTo>
                        <a:pt x="0" y="60"/>
                      </a:lnTo>
                      <a:lnTo>
                        <a:pt x="0" y="60"/>
                      </a:lnTo>
                      <a:lnTo>
                        <a:pt x="0" y="56"/>
                      </a:lnTo>
                      <a:lnTo>
                        <a:pt x="0" y="56"/>
                      </a:lnTo>
                      <a:lnTo>
                        <a:pt x="0" y="56"/>
                      </a:lnTo>
                      <a:lnTo>
                        <a:pt x="2" y="54"/>
                      </a:lnTo>
                      <a:lnTo>
                        <a:pt x="2" y="54"/>
                      </a:lnTo>
                      <a:lnTo>
                        <a:pt x="2" y="50"/>
                      </a:lnTo>
                      <a:lnTo>
                        <a:pt x="2" y="50"/>
                      </a:lnTo>
                      <a:lnTo>
                        <a:pt x="2" y="50"/>
                      </a:lnTo>
                      <a:lnTo>
                        <a:pt x="2" y="46"/>
                      </a:lnTo>
                      <a:lnTo>
                        <a:pt x="2" y="46"/>
                      </a:lnTo>
                      <a:lnTo>
                        <a:pt x="2" y="46"/>
                      </a:lnTo>
                      <a:lnTo>
                        <a:pt x="2" y="46"/>
                      </a:lnTo>
                      <a:lnTo>
                        <a:pt x="6" y="42"/>
                      </a:lnTo>
                      <a:lnTo>
                        <a:pt x="6" y="42"/>
                      </a:lnTo>
                      <a:lnTo>
                        <a:pt x="6" y="42"/>
                      </a:lnTo>
                      <a:lnTo>
                        <a:pt x="2" y="42"/>
                      </a:lnTo>
                      <a:lnTo>
                        <a:pt x="2" y="42"/>
                      </a:lnTo>
                      <a:lnTo>
                        <a:pt x="6" y="38"/>
                      </a:lnTo>
                      <a:lnTo>
                        <a:pt x="6" y="38"/>
                      </a:lnTo>
                      <a:lnTo>
                        <a:pt x="6" y="38"/>
                      </a:lnTo>
                      <a:lnTo>
                        <a:pt x="6" y="38"/>
                      </a:lnTo>
                      <a:lnTo>
                        <a:pt x="6" y="34"/>
                      </a:lnTo>
                      <a:lnTo>
                        <a:pt x="6" y="34"/>
                      </a:lnTo>
                      <a:lnTo>
                        <a:pt x="6" y="3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5" name="Freeform 34"/>
                <p:cNvSpPr>
                  <a:spLocks/>
                </p:cNvSpPr>
                <p:nvPr/>
              </p:nvSpPr>
              <p:spPr bwMode="auto">
                <a:xfrm>
                  <a:off x="5435600" y="2927418"/>
                  <a:ext cx="917575" cy="479425"/>
                </a:xfrm>
                <a:custGeom>
                  <a:avLst/>
                  <a:gdLst>
                    <a:gd name="T0" fmla="*/ 388 w 578"/>
                    <a:gd name="T1" fmla="*/ 254 h 302"/>
                    <a:gd name="T2" fmla="*/ 372 w 578"/>
                    <a:gd name="T3" fmla="*/ 262 h 302"/>
                    <a:gd name="T4" fmla="*/ 342 w 578"/>
                    <a:gd name="T5" fmla="*/ 272 h 302"/>
                    <a:gd name="T6" fmla="*/ 316 w 578"/>
                    <a:gd name="T7" fmla="*/ 294 h 302"/>
                    <a:gd name="T8" fmla="*/ 306 w 578"/>
                    <a:gd name="T9" fmla="*/ 292 h 302"/>
                    <a:gd name="T10" fmla="*/ 278 w 578"/>
                    <a:gd name="T11" fmla="*/ 272 h 302"/>
                    <a:gd name="T12" fmla="*/ 264 w 578"/>
                    <a:gd name="T13" fmla="*/ 248 h 302"/>
                    <a:gd name="T14" fmla="*/ 220 w 578"/>
                    <a:gd name="T15" fmla="*/ 248 h 302"/>
                    <a:gd name="T16" fmla="*/ 156 w 578"/>
                    <a:gd name="T17" fmla="*/ 210 h 302"/>
                    <a:gd name="T18" fmla="*/ 136 w 578"/>
                    <a:gd name="T19" fmla="*/ 254 h 302"/>
                    <a:gd name="T20" fmla="*/ 134 w 578"/>
                    <a:gd name="T21" fmla="*/ 292 h 302"/>
                    <a:gd name="T22" fmla="*/ 110 w 578"/>
                    <a:gd name="T23" fmla="*/ 268 h 302"/>
                    <a:gd name="T24" fmla="*/ 76 w 578"/>
                    <a:gd name="T25" fmla="*/ 288 h 302"/>
                    <a:gd name="T26" fmla="*/ 44 w 578"/>
                    <a:gd name="T27" fmla="*/ 258 h 302"/>
                    <a:gd name="T28" fmla="*/ 36 w 578"/>
                    <a:gd name="T29" fmla="*/ 214 h 302"/>
                    <a:gd name="T30" fmla="*/ 36 w 578"/>
                    <a:gd name="T31" fmla="*/ 188 h 302"/>
                    <a:gd name="T32" fmla="*/ 30 w 578"/>
                    <a:gd name="T33" fmla="*/ 168 h 302"/>
                    <a:gd name="T34" fmla="*/ 6 w 578"/>
                    <a:gd name="T35" fmla="*/ 150 h 302"/>
                    <a:gd name="T36" fmla="*/ 6 w 578"/>
                    <a:gd name="T37" fmla="*/ 128 h 302"/>
                    <a:gd name="T38" fmla="*/ 18 w 578"/>
                    <a:gd name="T39" fmla="*/ 110 h 302"/>
                    <a:gd name="T40" fmla="*/ 34 w 578"/>
                    <a:gd name="T41" fmla="*/ 112 h 302"/>
                    <a:gd name="T42" fmla="*/ 44 w 578"/>
                    <a:gd name="T43" fmla="*/ 90 h 302"/>
                    <a:gd name="T44" fmla="*/ 62 w 578"/>
                    <a:gd name="T45" fmla="*/ 84 h 302"/>
                    <a:gd name="T46" fmla="*/ 76 w 578"/>
                    <a:gd name="T47" fmla="*/ 80 h 302"/>
                    <a:gd name="T48" fmla="*/ 100 w 578"/>
                    <a:gd name="T49" fmla="*/ 84 h 302"/>
                    <a:gd name="T50" fmla="*/ 114 w 578"/>
                    <a:gd name="T51" fmla="*/ 102 h 302"/>
                    <a:gd name="T52" fmla="*/ 130 w 578"/>
                    <a:gd name="T53" fmla="*/ 106 h 302"/>
                    <a:gd name="T54" fmla="*/ 160 w 578"/>
                    <a:gd name="T55" fmla="*/ 98 h 302"/>
                    <a:gd name="T56" fmla="*/ 178 w 578"/>
                    <a:gd name="T57" fmla="*/ 102 h 302"/>
                    <a:gd name="T58" fmla="*/ 204 w 578"/>
                    <a:gd name="T59" fmla="*/ 102 h 302"/>
                    <a:gd name="T60" fmla="*/ 204 w 578"/>
                    <a:gd name="T61" fmla="*/ 84 h 302"/>
                    <a:gd name="T62" fmla="*/ 204 w 578"/>
                    <a:gd name="T63" fmla="*/ 68 h 302"/>
                    <a:gd name="T64" fmla="*/ 216 w 578"/>
                    <a:gd name="T65" fmla="*/ 54 h 302"/>
                    <a:gd name="T66" fmla="*/ 208 w 578"/>
                    <a:gd name="T67" fmla="*/ 46 h 302"/>
                    <a:gd name="T68" fmla="*/ 208 w 578"/>
                    <a:gd name="T69" fmla="*/ 38 h 302"/>
                    <a:gd name="T70" fmla="*/ 226 w 578"/>
                    <a:gd name="T71" fmla="*/ 30 h 302"/>
                    <a:gd name="T72" fmla="*/ 256 w 578"/>
                    <a:gd name="T73" fmla="*/ 24 h 302"/>
                    <a:gd name="T74" fmla="*/ 276 w 578"/>
                    <a:gd name="T75" fmla="*/ 20 h 302"/>
                    <a:gd name="T76" fmla="*/ 306 w 578"/>
                    <a:gd name="T77" fmla="*/ 8 h 302"/>
                    <a:gd name="T78" fmla="*/ 332 w 578"/>
                    <a:gd name="T79" fmla="*/ 4 h 302"/>
                    <a:gd name="T80" fmla="*/ 354 w 578"/>
                    <a:gd name="T81" fmla="*/ 16 h 302"/>
                    <a:gd name="T82" fmla="*/ 366 w 578"/>
                    <a:gd name="T83" fmla="*/ 28 h 302"/>
                    <a:gd name="T84" fmla="*/ 368 w 578"/>
                    <a:gd name="T85" fmla="*/ 30 h 302"/>
                    <a:gd name="T86" fmla="*/ 380 w 578"/>
                    <a:gd name="T87" fmla="*/ 34 h 302"/>
                    <a:gd name="T88" fmla="*/ 398 w 578"/>
                    <a:gd name="T89" fmla="*/ 38 h 302"/>
                    <a:gd name="T90" fmla="*/ 420 w 578"/>
                    <a:gd name="T91" fmla="*/ 24 h 302"/>
                    <a:gd name="T92" fmla="*/ 436 w 578"/>
                    <a:gd name="T93" fmla="*/ 38 h 302"/>
                    <a:gd name="T94" fmla="*/ 462 w 578"/>
                    <a:gd name="T95" fmla="*/ 68 h 302"/>
                    <a:gd name="T96" fmla="*/ 480 w 578"/>
                    <a:gd name="T97" fmla="*/ 90 h 302"/>
                    <a:gd name="T98" fmla="*/ 498 w 578"/>
                    <a:gd name="T99" fmla="*/ 98 h 302"/>
                    <a:gd name="T100" fmla="*/ 524 w 578"/>
                    <a:gd name="T101" fmla="*/ 94 h 302"/>
                    <a:gd name="T102" fmla="*/ 548 w 578"/>
                    <a:gd name="T103" fmla="*/ 116 h 302"/>
                    <a:gd name="T104" fmla="*/ 566 w 578"/>
                    <a:gd name="T105" fmla="*/ 124 h 302"/>
                    <a:gd name="T106" fmla="*/ 570 w 578"/>
                    <a:gd name="T107" fmla="*/ 136 h 302"/>
                    <a:gd name="T108" fmla="*/ 554 w 578"/>
                    <a:gd name="T109" fmla="*/ 158 h 302"/>
                    <a:gd name="T110" fmla="*/ 540 w 578"/>
                    <a:gd name="T111" fmla="*/ 176 h 302"/>
                    <a:gd name="T112" fmla="*/ 514 w 578"/>
                    <a:gd name="T113" fmla="*/ 188 h 302"/>
                    <a:gd name="T114" fmla="*/ 514 w 578"/>
                    <a:gd name="T115" fmla="*/ 214 h 302"/>
                    <a:gd name="T116" fmla="*/ 484 w 578"/>
                    <a:gd name="T117" fmla="*/ 214 h 302"/>
                    <a:gd name="T118" fmla="*/ 480 w 578"/>
                    <a:gd name="T119" fmla="*/ 232 h 302"/>
                    <a:gd name="T120" fmla="*/ 484 w 578"/>
                    <a:gd name="T121" fmla="*/ 258 h 302"/>
                    <a:gd name="T122" fmla="*/ 466 w 578"/>
                    <a:gd name="T123" fmla="*/ 268 h 302"/>
                    <a:gd name="T124" fmla="*/ 436 w 578"/>
                    <a:gd name="T125" fmla="*/ 258 h 3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578" h="302">
                      <a:moveTo>
                        <a:pt x="416" y="258"/>
                      </a:moveTo>
                      <a:lnTo>
                        <a:pt x="412" y="262"/>
                      </a:lnTo>
                      <a:lnTo>
                        <a:pt x="408" y="262"/>
                      </a:lnTo>
                      <a:lnTo>
                        <a:pt x="408" y="258"/>
                      </a:lnTo>
                      <a:lnTo>
                        <a:pt x="406" y="258"/>
                      </a:lnTo>
                      <a:lnTo>
                        <a:pt x="402" y="258"/>
                      </a:lnTo>
                      <a:lnTo>
                        <a:pt x="398" y="254"/>
                      </a:lnTo>
                      <a:lnTo>
                        <a:pt x="394" y="254"/>
                      </a:lnTo>
                      <a:lnTo>
                        <a:pt x="392" y="254"/>
                      </a:lnTo>
                      <a:lnTo>
                        <a:pt x="388" y="254"/>
                      </a:lnTo>
                      <a:lnTo>
                        <a:pt x="384" y="254"/>
                      </a:lnTo>
                      <a:lnTo>
                        <a:pt x="384" y="258"/>
                      </a:lnTo>
                      <a:lnTo>
                        <a:pt x="384" y="262"/>
                      </a:lnTo>
                      <a:lnTo>
                        <a:pt x="384" y="266"/>
                      </a:lnTo>
                      <a:lnTo>
                        <a:pt x="384" y="268"/>
                      </a:lnTo>
                      <a:lnTo>
                        <a:pt x="380" y="268"/>
                      </a:lnTo>
                      <a:lnTo>
                        <a:pt x="380" y="266"/>
                      </a:lnTo>
                      <a:lnTo>
                        <a:pt x="376" y="266"/>
                      </a:lnTo>
                      <a:lnTo>
                        <a:pt x="372" y="266"/>
                      </a:lnTo>
                      <a:lnTo>
                        <a:pt x="372" y="262"/>
                      </a:lnTo>
                      <a:lnTo>
                        <a:pt x="368" y="262"/>
                      </a:lnTo>
                      <a:lnTo>
                        <a:pt x="366" y="262"/>
                      </a:lnTo>
                      <a:lnTo>
                        <a:pt x="362" y="262"/>
                      </a:lnTo>
                      <a:lnTo>
                        <a:pt x="358" y="262"/>
                      </a:lnTo>
                      <a:lnTo>
                        <a:pt x="354" y="262"/>
                      </a:lnTo>
                      <a:lnTo>
                        <a:pt x="350" y="262"/>
                      </a:lnTo>
                      <a:lnTo>
                        <a:pt x="350" y="266"/>
                      </a:lnTo>
                      <a:lnTo>
                        <a:pt x="346" y="268"/>
                      </a:lnTo>
                      <a:lnTo>
                        <a:pt x="346" y="272"/>
                      </a:lnTo>
                      <a:lnTo>
                        <a:pt x="342" y="272"/>
                      </a:lnTo>
                      <a:lnTo>
                        <a:pt x="342" y="276"/>
                      </a:lnTo>
                      <a:lnTo>
                        <a:pt x="338" y="272"/>
                      </a:lnTo>
                      <a:lnTo>
                        <a:pt x="338" y="276"/>
                      </a:lnTo>
                      <a:lnTo>
                        <a:pt x="336" y="280"/>
                      </a:lnTo>
                      <a:lnTo>
                        <a:pt x="332" y="284"/>
                      </a:lnTo>
                      <a:lnTo>
                        <a:pt x="328" y="284"/>
                      </a:lnTo>
                      <a:lnTo>
                        <a:pt x="324" y="288"/>
                      </a:lnTo>
                      <a:lnTo>
                        <a:pt x="320" y="288"/>
                      </a:lnTo>
                      <a:lnTo>
                        <a:pt x="320" y="292"/>
                      </a:lnTo>
                      <a:lnTo>
                        <a:pt x="316" y="294"/>
                      </a:lnTo>
                      <a:lnTo>
                        <a:pt x="316" y="298"/>
                      </a:lnTo>
                      <a:lnTo>
                        <a:pt x="312" y="298"/>
                      </a:lnTo>
                      <a:lnTo>
                        <a:pt x="312" y="302"/>
                      </a:lnTo>
                      <a:lnTo>
                        <a:pt x="316" y="302"/>
                      </a:lnTo>
                      <a:lnTo>
                        <a:pt x="312" y="302"/>
                      </a:lnTo>
                      <a:lnTo>
                        <a:pt x="308" y="302"/>
                      </a:lnTo>
                      <a:lnTo>
                        <a:pt x="306" y="298"/>
                      </a:lnTo>
                      <a:lnTo>
                        <a:pt x="308" y="294"/>
                      </a:lnTo>
                      <a:lnTo>
                        <a:pt x="306" y="294"/>
                      </a:lnTo>
                      <a:lnTo>
                        <a:pt x="306" y="292"/>
                      </a:lnTo>
                      <a:lnTo>
                        <a:pt x="302" y="292"/>
                      </a:lnTo>
                      <a:lnTo>
                        <a:pt x="298" y="292"/>
                      </a:lnTo>
                      <a:lnTo>
                        <a:pt x="294" y="292"/>
                      </a:lnTo>
                      <a:lnTo>
                        <a:pt x="290" y="292"/>
                      </a:lnTo>
                      <a:lnTo>
                        <a:pt x="286" y="292"/>
                      </a:lnTo>
                      <a:lnTo>
                        <a:pt x="286" y="288"/>
                      </a:lnTo>
                      <a:lnTo>
                        <a:pt x="286" y="280"/>
                      </a:lnTo>
                      <a:lnTo>
                        <a:pt x="282" y="276"/>
                      </a:lnTo>
                      <a:lnTo>
                        <a:pt x="278" y="276"/>
                      </a:lnTo>
                      <a:lnTo>
                        <a:pt x="278" y="272"/>
                      </a:lnTo>
                      <a:lnTo>
                        <a:pt x="278" y="268"/>
                      </a:lnTo>
                      <a:lnTo>
                        <a:pt x="278" y="266"/>
                      </a:lnTo>
                      <a:lnTo>
                        <a:pt x="278" y="262"/>
                      </a:lnTo>
                      <a:lnTo>
                        <a:pt x="278" y="258"/>
                      </a:lnTo>
                      <a:lnTo>
                        <a:pt x="276" y="258"/>
                      </a:lnTo>
                      <a:lnTo>
                        <a:pt x="272" y="254"/>
                      </a:lnTo>
                      <a:lnTo>
                        <a:pt x="272" y="252"/>
                      </a:lnTo>
                      <a:lnTo>
                        <a:pt x="268" y="252"/>
                      </a:lnTo>
                      <a:lnTo>
                        <a:pt x="268" y="248"/>
                      </a:lnTo>
                      <a:lnTo>
                        <a:pt x="264" y="248"/>
                      </a:lnTo>
                      <a:lnTo>
                        <a:pt x="264" y="244"/>
                      </a:lnTo>
                      <a:lnTo>
                        <a:pt x="260" y="244"/>
                      </a:lnTo>
                      <a:lnTo>
                        <a:pt x="256" y="248"/>
                      </a:lnTo>
                      <a:lnTo>
                        <a:pt x="250" y="248"/>
                      </a:lnTo>
                      <a:lnTo>
                        <a:pt x="246" y="248"/>
                      </a:lnTo>
                      <a:lnTo>
                        <a:pt x="242" y="244"/>
                      </a:lnTo>
                      <a:lnTo>
                        <a:pt x="238" y="244"/>
                      </a:lnTo>
                      <a:lnTo>
                        <a:pt x="230" y="248"/>
                      </a:lnTo>
                      <a:lnTo>
                        <a:pt x="226" y="248"/>
                      </a:lnTo>
                      <a:lnTo>
                        <a:pt x="220" y="248"/>
                      </a:lnTo>
                      <a:lnTo>
                        <a:pt x="220" y="244"/>
                      </a:lnTo>
                      <a:lnTo>
                        <a:pt x="216" y="240"/>
                      </a:lnTo>
                      <a:lnTo>
                        <a:pt x="212" y="236"/>
                      </a:lnTo>
                      <a:lnTo>
                        <a:pt x="208" y="232"/>
                      </a:lnTo>
                      <a:lnTo>
                        <a:pt x="186" y="218"/>
                      </a:lnTo>
                      <a:lnTo>
                        <a:pt x="170" y="206"/>
                      </a:lnTo>
                      <a:lnTo>
                        <a:pt x="166" y="206"/>
                      </a:lnTo>
                      <a:lnTo>
                        <a:pt x="164" y="210"/>
                      </a:lnTo>
                      <a:lnTo>
                        <a:pt x="160" y="210"/>
                      </a:lnTo>
                      <a:lnTo>
                        <a:pt x="156" y="210"/>
                      </a:lnTo>
                      <a:lnTo>
                        <a:pt x="152" y="214"/>
                      </a:lnTo>
                      <a:lnTo>
                        <a:pt x="144" y="214"/>
                      </a:lnTo>
                      <a:lnTo>
                        <a:pt x="140" y="218"/>
                      </a:lnTo>
                      <a:lnTo>
                        <a:pt x="136" y="218"/>
                      </a:lnTo>
                      <a:lnTo>
                        <a:pt x="136" y="222"/>
                      </a:lnTo>
                      <a:lnTo>
                        <a:pt x="136" y="228"/>
                      </a:lnTo>
                      <a:lnTo>
                        <a:pt x="136" y="240"/>
                      </a:lnTo>
                      <a:lnTo>
                        <a:pt x="136" y="244"/>
                      </a:lnTo>
                      <a:lnTo>
                        <a:pt x="136" y="252"/>
                      </a:lnTo>
                      <a:lnTo>
                        <a:pt x="136" y="254"/>
                      </a:lnTo>
                      <a:lnTo>
                        <a:pt x="136" y="258"/>
                      </a:lnTo>
                      <a:lnTo>
                        <a:pt x="136" y="262"/>
                      </a:lnTo>
                      <a:lnTo>
                        <a:pt x="136" y="266"/>
                      </a:lnTo>
                      <a:lnTo>
                        <a:pt x="136" y="272"/>
                      </a:lnTo>
                      <a:lnTo>
                        <a:pt x="136" y="280"/>
                      </a:lnTo>
                      <a:lnTo>
                        <a:pt x="136" y="284"/>
                      </a:lnTo>
                      <a:lnTo>
                        <a:pt x="136" y="288"/>
                      </a:lnTo>
                      <a:lnTo>
                        <a:pt x="136" y="292"/>
                      </a:lnTo>
                      <a:lnTo>
                        <a:pt x="134" y="288"/>
                      </a:lnTo>
                      <a:lnTo>
                        <a:pt x="134" y="292"/>
                      </a:lnTo>
                      <a:lnTo>
                        <a:pt x="130" y="292"/>
                      </a:lnTo>
                      <a:lnTo>
                        <a:pt x="126" y="292"/>
                      </a:lnTo>
                      <a:lnTo>
                        <a:pt x="126" y="288"/>
                      </a:lnTo>
                      <a:lnTo>
                        <a:pt x="126" y="284"/>
                      </a:lnTo>
                      <a:lnTo>
                        <a:pt x="122" y="284"/>
                      </a:lnTo>
                      <a:lnTo>
                        <a:pt x="122" y="280"/>
                      </a:lnTo>
                      <a:lnTo>
                        <a:pt x="118" y="276"/>
                      </a:lnTo>
                      <a:lnTo>
                        <a:pt x="114" y="272"/>
                      </a:lnTo>
                      <a:lnTo>
                        <a:pt x="110" y="272"/>
                      </a:lnTo>
                      <a:lnTo>
                        <a:pt x="110" y="268"/>
                      </a:lnTo>
                      <a:lnTo>
                        <a:pt x="106" y="268"/>
                      </a:lnTo>
                      <a:lnTo>
                        <a:pt x="104" y="268"/>
                      </a:lnTo>
                      <a:lnTo>
                        <a:pt x="100" y="272"/>
                      </a:lnTo>
                      <a:lnTo>
                        <a:pt x="96" y="272"/>
                      </a:lnTo>
                      <a:lnTo>
                        <a:pt x="92" y="272"/>
                      </a:lnTo>
                      <a:lnTo>
                        <a:pt x="92" y="276"/>
                      </a:lnTo>
                      <a:lnTo>
                        <a:pt x="88" y="276"/>
                      </a:lnTo>
                      <a:lnTo>
                        <a:pt x="84" y="280"/>
                      </a:lnTo>
                      <a:lnTo>
                        <a:pt x="80" y="284"/>
                      </a:lnTo>
                      <a:lnTo>
                        <a:pt x="76" y="288"/>
                      </a:lnTo>
                      <a:lnTo>
                        <a:pt x="74" y="288"/>
                      </a:lnTo>
                      <a:lnTo>
                        <a:pt x="66" y="292"/>
                      </a:lnTo>
                      <a:lnTo>
                        <a:pt x="66" y="288"/>
                      </a:lnTo>
                      <a:lnTo>
                        <a:pt x="62" y="284"/>
                      </a:lnTo>
                      <a:lnTo>
                        <a:pt x="60" y="280"/>
                      </a:lnTo>
                      <a:lnTo>
                        <a:pt x="60" y="276"/>
                      </a:lnTo>
                      <a:lnTo>
                        <a:pt x="56" y="272"/>
                      </a:lnTo>
                      <a:lnTo>
                        <a:pt x="52" y="268"/>
                      </a:lnTo>
                      <a:lnTo>
                        <a:pt x="48" y="262"/>
                      </a:lnTo>
                      <a:lnTo>
                        <a:pt x="44" y="258"/>
                      </a:lnTo>
                      <a:lnTo>
                        <a:pt x="44" y="254"/>
                      </a:lnTo>
                      <a:lnTo>
                        <a:pt x="40" y="252"/>
                      </a:lnTo>
                      <a:lnTo>
                        <a:pt x="40" y="248"/>
                      </a:lnTo>
                      <a:lnTo>
                        <a:pt x="36" y="240"/>
                      </a:lnTo>
                      <a:lnTo>
                        <a:pt x="36" y="236"/>
                      </a:lnTo>
                      <a:lnTo>
                        <a:pt x="36" y="232"/>
                      </a:lnTo>
                      <a:lnTo>
                        <a:pt x="34" y="224"/>
                      </a:lnTo>
                      <a:lnTo>
                        <a:pt x="34" y="222"/>
                      </a:lnTo>
                      <a:lnTo>
                        <a:pt x="34" y="218"/>
                      </a:lnTo>
                      <a:lnTo>
                        <a:pt x="36" y="214"/>
                      </a:lnTo>
                      <a:lnTo>
                        <a:pt x="40" y="210"/>
                      </a:lnTo>
                      <a:lnTo>
                        <a:pt x="44" y="206"/>
                      </a:lnTo>
                      <a:lnTo>
                        <a:pt x="48" y="202"/>
                      </a:lnTo>
                      <a:lnTo>
                        <a:pt x="52" y="202"/>
                      </a:lnTo>
                      <a:lnTo>
                        <a:pt x="52" y="198"/>
                      </a:lnTo>
                      <a:lnTo>
                        <a:pt x="48" y="198"/>
                      </a:lnTo>
                      <a:lnTo>
                        <a:pt x="44" y="196"/>
                      </a:lnTo>
                      <a:lnTo>
                        <a:pt x="40" y="196"/>
                      </a:lnTo>
                      <a:lnTo>
                        <a:pt x="40" y="192"/>
                      </a:lnTo>
                      <a:lnTo>
                        <a:pt x="36" y="188"/>
                      </a:lnTo>
                      <a:lnTo>
                        <a:pt x="34" y="188"/>
                      </a:lnTo>
                      <a:lnTo>
                        <a:pt x="30" y="188"/>
                      </a:lnTo>
                      <a:lnTo>
                        <a:pt x="30" y="184"/>
                      </a:lnTo>
                      <a:lnTo>
                        <a:pt x="34" y="180"/>
                      </a:lnTo>
                      <a:lnTo>
                        <a:pt x="34" y="184"/>
                      </a:lnTo>
                      <a:lnTo>
                        <a:pt x="36" y="184"/>
                      </a:lnTo>
                      <a:lnTo>
                        <a:pt x="36" y="180"/>
                      </a:lnTo>
                      <a:lnTo>
                        <a:pt x="34" y="176"/>
                      </a:lnTo>
                      <a:lnTo>
                        <a:pt x="34" y="172"/>
                      </a:lnTo>
                      <a:lnTo>
                        <a:pt x="30" y="168"/>
                      </a:lnTo>
                      <a:lnTo>
                        <a:pt x="26" y="166"/>
                      </a:lnTo>
                      <a:lnTo>
                        <a:pt x="26" y="162"/>
                      </a:lnTo>
                      <a:lnTo>
                        <a:pt x="22" y="162"/>
                      </a:lnTo>
                      <a:lnTo>
                        <a:pt x="18" y="162"/>
                      </a:lnTo>
                      <a:lnTo>
                        <a:pt x="14" y="162"/>
                      </a:lnTo>
                      <a:lnTo>
                        <a:pt x="10" y="162"/>
                      </a:lnTo>
                      <a:lnTo>
                        <a:pt x="10" y="158"/>
                      </a:lnTo>
                      <a:lnTo>
                        <a:pt x="10" y="154"/>
                      </a:lnTo>
                      <a:lnTo>
                        <a:pt x="10" y="150"/>
                      </a:lnTo>
                      <a:lnTo>
                        <a:pt x="6" y="150"/>
                      </a:lnTo>
                      <a:lnTo>
                        <a:pt x="4" y="150"/>
                      </a:lnTo>
                      <a:lnTo>
                        <a:pt x="0" y="146"/>
                      </a:lnTo>
                      <a:lnTo>
                        <a:pt x="4" y="146"/>
                      </a:lnTo>
                      <a:lnTo>
                        <a:pt x="4" y="142"/>
                      </a:lnTo>
                      <a:lnTo>
                        <a:pt x="6" y="140"/>
                      </a:lnTo>
                      <a:lnTo>
                        <a:pt x="6" y="136"/>
                      </a:lnTo>
                      <a:lnTo>
                        <a:pt x="10" y="136"/>
                      </a:lnTo>
                      <a:lnTo>
                        <a:pt x="10" y="132"/>
                      </a:lnTo>
                      <a:lnTo>
                        <a:pt x="6" y="132"/>
                      </a:lnTo>
                      <a:lnTo>
                        <a:pt x="6" y="128"/>
                      </a:lnTo>
                      <a:lnTo>
                        <a:pt x="6" y="124"/>
                      </a:lnTo>
                      <a:lnTo>
                        <a:pt x="6" y="116"/>
                      </a:lnTo>
                      <a:lnTo>
                        <a:pt x="10" y="116"/>
                      </a:lnTo>
                      <a:lnTo>
                        <a:pt x="14" y="116"/>
                      </a:lnTo>
                      <a:lnTo>
                        <a:pt x="14" y="112"/>
                      </a:lnTo>
                      <a:lnTo>
                        <a:pt x="10" y="112"/>
                      </a:lnTo>
                      <a:lnTo>
                        <a:pt x="14" y="110"/>
                      </a:lnTo>
                      <a:lnTo>
                        <a:pt x="14" y="106"/>
                      </a:lnTo>
                      <a:lnTo>
                        <a:pt x="18" y="106"/>
                      </a:lnTo>
                      <a:lnTo>
                        <a:pt x="18" y="110"/>
                      </a:lnTo>
                      <a:lnTo>
                        <a:pt x="22" y="110"/>
                      </a:lnTo>
                      <a:lnTo>
                        <a:pt x="22" y="112"/>
                      </a:lnTo>
                      <a:lnTo>
                        <a:pt x="26" y="112"/>
                      </a:lnTo>
                      <a:lnTo>
                        <a:pt x="26" y="116"/>
                      </a:lnTo>
                      <a:lnTo>
                        <a:pt x="30" y="120"/>
                      </a:lnTo>
                      <a:lnTo>
                        <a:pt x="30" y="116"/>
                      </a:lnTo>
                      <a:lnTo>
                        <a:pt x="34" y="116"/>
                      </a:lnTo>
                      <a:lnTo>
                        <a:pt x="36" y="116"/>
                      </a:lnTo>
                      <a:lnTo>
                        <a:pt x="36" y="112"/>
                      </a:lnTo>
                      <a:lnTo>
                        <a:pt x="34" y="112"/>
                      </a:lnTo>
                      <a:lnTo>
                        <a:pt x="34" y="110"/>
                      </a:lnTo>
                      <a:lnTo>
                        <a:pt x="34" y="106"/>
                      </a:lnTo>
                      <a:lnTo>
                        <a:pt x="34" y="102"/>
                      </a:lnTo>
                      <a:lnTo>
                        <a:pt x="36" y="102"/>
                      </a:lnTo>
                      <a:lnTo>
                        <a:pt x="36" y="98"/>
                      </a:lnTo>
                      <a:lnTo>
                        <a:pt x="40" y="98"/>
                      </a:lnTo>
                      <a:lnTo>
                        <a:pt x="44" y="98"/>
                      </a:lnTo>
                      <a:lnTo>
                        <a:pt x="40" y="94"/>
                      </a:lnTo>
                      <a:lnTo>
                        <a:pt x="44" y="94"/>
                      </a:lnTo>
                      <a:lnTo>
                        <a:pt x="44" y="90"/>
                      </a:lnTo>
                      <a:lnTo>
                        <a:pt x="44" y="94"/>
                      </a:lnTo>
                      <a:lnTo>
                        <a:pt x="48" y="90"/>
                      </a:lnTo>
                      <a:lnTo>
                        <a:pt x="52" y="90"/>
                      </a:lnTo>
                      <a:lnTo>
                        <a:pt x="56" y="90"/>
                      </a:lnTo>
                      <a:lnTo>
                        <a:pt x="56" y="86"/>
                      </a:lnTo>
                      <a:lnTo>
                        <a:pt x="60" y="86"/>
                      </a:lnTo>
                      <a:lnTo>
                        <a:pt x="60" y="84"/>
                      </a:lnTo>
                      <a:lnTo>
                        <a:pt x="60" y="80"/>
                      </a:lnTo>
                      <a:lnTo>
                        <a:pt x="60" y="84"/>
                      </a:lnTo>
                      <a:lnTo>
                        <a:pt x="62" y="84"/>
                      </a:lnTo>
                      <a:lnTo>
                        <a:pt x="62" y="80"/>
                      </a:lnTo>
                      <a:lnTo>
                        <a:pt x="66" y="80"/>
                      </a:lnTo>
                      <a:lnTo>
                        <a:pt x="70" y="80"/>
                      </a:lnTo>
                      <a:lnTo>
                        <a:pt x="70" y="84"/>
                      </a:lnTo>
                      <a:lnTo>
                        <a:pt x="74" y="84"/>
                      </a:lnTo>
                      <a:lnTo>
                        <a:pt x="74" y="86"/>
                      </a:lnTo>
                      <a:lnTo>
                        <a:pt x="76" y="84"/>
                      </a:lnTo>
                      <a:lnTo>
                        <a:pt x="74" y="84"/>
                      </a:lnTo>
                      <a:lnTo>
                        <a:pt x="76" y="84"/>
                      </a:lnTo>
                      <a:lnTo>
                        <a:pt x="76" y="80"/>
                      </a:lnTo>
                      <a:lnTo>
                        <a:pt x="80" y="80"/>
                      </a:lnTo>
                      <a:lnTo>
                        <a:pt x="84" y="80"/>
                      </a:lnTo>
                      <a:lnTo>
                        <a:pt x="84" y="84"/>
                      </a:lnTo>
                      <a:lnTo>
                        <a:pt x="88" y="86"/>
                      </a:lnTo>
                      <a:lnTo>
                        <a:pt x="88" y="84"/>
                      </a:lnTo>
                      <a:lnTo>
                        <a:pt x="92" y="84"/>
                      </a:lnTo>
                      <a:lnTo>
                        <a:pt x="92" y="86"/>
                      </a:lnTo>
                      <a:lnTo>
                        <a:pt x="92" y="84"/>
                      </a:lnTo>
                      <a:lnTo>
                        <a:pt x="96" y="84"/>
                      </a:lnTo>
                      <a:lnTo>
                        <a:pt x="100" y="84"/>
                      </a:lnTo>
                      <a:lnTo>
                        <a:pt x="104" y="86"/>
                      </a:lnTo>
                      <a:lnTo>
                        <a:pt x="100" y="86"/>
                      </a:lnTo>
                      <a:lnTo>
                        <a:pt x="104" y="90"/>
                      </a:lnTo>
                      <a:lnTo>
                        <a:pt x="106" y="90"/>
                      </a:lnTo>
                      <a:lnTo>
                        <a:pt x="106" y="94"/>
                      </a:lnTo>
                      <a:lnTo>
                        <a:pt x="110" y="94"/>
                      </a:lnTo>
                      <a:lnTo>
                        <a:pt x="110" y="98"/>
                      </a:lnTo>
                      <a:lnTo>
                        <a:pt x="114" y="98"/>
                      </a:lnTo>
                      <a:lnTo>
                        <a:pt x="110" y="102"/>
                      </a:lnTo>
                      <a:lnTo>
                        <a:pt x="114" y="102"/>
                      </a:lnTo>
                      <a:lnTo>
                        <a:pt x="114" y="106"/>
                      </a:lnTo>
                      <a:lnTo>
                        <a:pt x="118" y="102"/>
                      </a:lnTo>
                      <a:lnTo>
                        <a:pt x="114" y="102"/>
                      </a:lnTo>
                      <a:lnTo>
                        <a:pt x="114" y="98"/>
                      </a:lnTo>
                      <a:lnTo>
                        <a:pt x="114" y="94"/>
                      </a:lnTo>
                      <a:lnTo>
                        <a:pt x="118" y="94"/>
                      </a:lnTo>
                      <a:lnTo>
                        <a:pt x="122" y="98"/>
                      </a:lnTo>
                      <a:lnTo>
                        <a:pt x="126" y="102"/>
                      </a:lnTo>
                      <a:lnTo>
                        <a:pt x="130" y="102"/>
                      </a:lnTo>
                      <a:lnTo>
                        <a:pt x="130" y="106"/>
                      </a:lnTo>
                      <a:lnTo>
                        <a:pt x="134" y="102"/>
                      </a:lnTo>
                      <a:lnTo>
                        <a:pt x="136" y="102"/>
                      </a:lnTo>
                      <a:lnTo>
                        <a:pt x="136" y="98"/>
                      </a:lnTo>
                      <a:lnTo>
                        <a:pt x="140" y="98"/>
                      </a:lnTo>
                      <a:lnTo>
                        <a:pt x="140" y="94"/>
                      </a:lnTo>
                      <a:lnTo>
                        <a:pt x="144" y="94"/>
                      </a:lnTo>
                      <a:lnTo>
                        <a:pt x="148" y="94"/>
                      </a:lnTo>
                      <a:lnTo>
                        <a:pt x="152" y="94"/>
                      </a:lnTo>
                      <a:lnTo>
                        <a:pt x="156" y="98"/>
                      </a:lnTo>
                      <a:lnTo>
                        <a:pt x="160" y="98"/>
                      </a:lnTo>
                      <a:lnTo>
                        <a:pt x="160" y="94"/>
                      </a:lnTo>
                      <a:lnTo>
                        <a:pt x="160" y="90"/>
                      </a:lnTo>
                      <a:lnTo>
                        <a:pt x="164" y="94"/>
                      </a:lnTo>
                      <a:lnTo>
                        <a:pt x="166" y="94"/>
                      </a:lnTo>
                      <a:lnTo>
                        <a:pt x="166" y="90"/>
                      </a:lnTo>
                      <a:lnTo>
                        <a:pt x="170" y="90"/>
                      </a:lnTo>
                      <a:lnTo>
                        <a:pt x="170" y="94"/>
                      </a:lnTo>
                      <a:lnTo>
                        <a:pt x="170" y="98"/>
                      </a:lnTo>
                      <a:lnTo>
                        <a:pt x="174" y="98"/>
                      </a:lnTo>
                      <a:lnTo>
                        <a:pt x="178" y="102"/>
                      </a:lnTo>
                      <a:lnTo>
                        <a:pt x="182" y="102"/>
                      </a:lnTo>
                      <a:lnTo>
                        <a:pt x="186" y="102"/>
                      </a:lnTo>
                      <a:lnTo>
                        <a:pt x="186" y="106"/>
                      </a:lnTo>
                      <a:lnTo>
                        <a:pt x="190" y="106"/>
                      </a:lnTo>
                      <a:lnTo>
                        <a:pt x="190" y="102"/>
                      </a:lnTo>
                      <a:lnTo>
                        <a:pt x="190" y="98"/>
                      </a:lnTo>
                      <a:lnTo>
                        <a:pt x="192" y="98"/>
                      </a:lnTo>
                      <a:lnTo>
                        <a:pt x="196" y="102"/>
                      </a:lnTo>
                      <a:lnTo>
                        <a:pt x="200" y="102"/>
                      </a:lnTo>
                      <a:lnTo>
                        <a:pt x="204" y="102"/>
                      </a:lnTo>
                      <a:lnTo>
                        <a:pt x="208" y="102"/>
                      </a:lnTo>
                      <a:lnTo>
                        <a:pt x="212" y="98"/>
                      </a:lnTo>
                      <a:lnTo>
                        <a:pt x="212" y="94"/>
                      </a:lnTo>
                      <a:lnTo>
                        <a:pt x="216" y="90"/>
                      </a:lnTo>
                      <a:lnTo>
                        <a:pt x="216" y="86"/>
                      </a:lnTo>
                      <a:lnTo>
                        <a:pt x="212" y="86"/>
                      </a:lnTo>
                      <a:lnTo>
                        <a:pt x="208" y="84"/>
                      </a:lnTo>
                      <a:lnTo>
                        <a:pt x="208" y="86"/>
                      </a:lnTo>
                      <a:lnTo>
                        <a:pt x="208" y="84"/>
                      </a:lnTo>
                      <a:lnTo>
                        <a:pt x="204" y="84"/>
                      </a:lnTo>
                      <a:lnTo>
                        <a:pt x="200" y="84"/>
                      </a:lnTo>
                      <a:lnTo>
                        <a:pt x="196" y="80"/>
                      </a:lnTo>
                      <a:lnTo>
                        <a:pt x="200" y="80"/>
                      </a:lnTo>
                      <a:lnTo>
                        <a:pt x="196" y="80"/>
                      </a:lnTo>
                      <a:lnTo>
                        <a:pt x="196" y="76"/>
                      </a:lnTo>
                      <a:lnTo>
                        <a:pt x="192" y="76"/>
                      </a:lnTo>
                      <a:lnTo>
                        <a:pt x="192" y="72"/>
                      </a:lnTo>
                      <a:lnTo>
                        <a:pt x="196" y="72"/>
                      </a:lnTo>
                      <a:lnTo>
                        <a:pt x="200" y="72"/>
                      </a:lnTo>
                      <a:lnTo>
                        <a:pt x="204" y="68"/>
                      </a:lnTo>
                      <a:lnTo>
                        <a:pt x="208" y="68"/>
                      </a:lnTo>
                      <a:lnTo>
                        <a:pt x="208" y="64"/>
                      </a:lnTo>
                      <a:lnTo>
                        <a:pt x="204" y="64"/>
                      </a:lnTo>
                      <a:lnTo>
                        <a:pt x="204" y="60"/>
                      </a:lnTo>
                      <a:lnTo>
                        <a:pt x="200" y="60"/>
                      </a:lnTo>
                      <a:lnTo>
                        <a:pt x="200" y="56"/>
                      </a:lnTo>
                      <a:lnTo>
                        <a:pt x="204" y="56"/>
                      </a:lnTo>
                      <a:lnTo>
                        <a:pt x="208" y="54"/>
                      </a:lnTo>
                      <a:lnTo>
                        <a:pt x="212" y="54"/>
                      </a:lnTo>
                      <a:lnTo>
                        <a:pt x="216" y="54"/>
                      </a:lnTo>
                      <a:lnTo>
                        <a:pt x="220" y="54"/>
                      </a:lnTo>
                      <a:lnTo>
                        <a:pt x="222" y="54"/>
                      </a:lnTo>
                      <a:lnTo>
                        <a:pt x="222" y="50"/>
                      </a:lnTo>
                      <a:lnTo>
                        <a:pt x="220" y="50"/>
                      </a:lnTo>
                      <a:lnTo>
                        <a:pt x="216" y="50"/>
                      </a:lnTo>
                      <a:lnTo>
                        <a:pt x="216" y="46"/>
                      </a:lnTo>
                      <a:lnTo>
                        <a:pt x="216" y="50"/>
                      </a:lnTo>
                      <a:lnTo>
                        <a:pt x="212" y="50"/>
                      </a:lnTo>
                      <a:lnTo>
                        <a:pt x="212" y="46"/>
                      </a:lnTo>
                      <a:lnTo>
                        <a:pt x="208" y="46"/>
                      </a:lnTo>
                      <a:lnTo>
                        <a:pt x="208" y="42"/>
                      </a:lnTo>
                      <a:lnTo>
                        <a:pt x="212" y="42"/>
                      </a:lnTo>
                      <a:lnTo>
                        <a:pt x="216" y="42"/>
                      </a:lnTo>
                      <a:lnTo>
                        <a:pt x="216" y="38"/>
                      </a:lnTo>
                      <a:lnTo>
                        <a:pt x="212" y="38"/>
                      </a:lnTo>
                      <a:lnTo>
                        <a:pt x="212" y="42"/>
                      </a:lnTo>
                      <a:lnTo>
                        <a:pt x="208" y="42"/>
                      </a:lnTo>
                      <a:lnTo>
                        <a:pt x="208" y="38"/>
                      </a:lnTo>
                      <a:lnTo>
                        <a:pt x="204" y="38"/>
                      </a:lnTo>
                      <a:lnTo>
                        <a:pt x="208" y="38"/>
                      </a:lnTo>
                      <a:lnTo>
                        <a:pt x="208" y="34"/>
                      </a:lnTo>
                      <a:lnTo>
                        <a:pt x="204" y="34"/>
                      </a:lnTo>
                      <a:lnTo>
                        <a:pt x="208" y="30"/>
                      </a:lnTo>
                      <a:lnTo>
                        <a:pt x="212" y="30"/>
                      </a:lnTo>
                      <a:lnTo>
                        <a:pt x="216" y="30"/>
                      </a:lnTo>
                      <a:lnTo>
                        <a:pt x="220" y="30"/>
                      </a:lnTo>
                      <a:lnTo>
                        <a:pt x="222" y="30"/>
                      </a:lnTo>
                      <a:lnTo>
                        <a:pt x="226" y="30"/>
                      </a:lnTo>
                      <a:lnTo>
                        <a:pt x="226" y="34"/>
                      </a:lnTo>
                      <a:lnTo>
                        <a:pt x="226" y="30"/>
                      </a:lnTo>
                      <a:lnTo>
                        <a:pt x="230" y="30"/>
                      </a:lnTo>
                      <a:lnTo>
                        <a:pt x="234" y="30"/>
                      </a:lnTo>
                      <a:lnTo>
                        <a:pt x="234" y="28"/>
                      </a:lnTo>
                      <a:lnTo>
                        <a:pt x="238" y="28"/>
                      </a:lnTo>
                      <a:lnTo>
                        <a:pt x="242" y="28"/>
                      </a:lnTo>
                      <a:lnTo>
                        <a:pt x="246" y="28"/>
                      </a:lnTo>
                      <a:lnTo>
                        <a:pt x="250" y="28"/>
                      </a:lnTo>
                      <a:lnTo>
                        <a:pt x="250" y="24"/>
                      </a:lnTo>
                      <a:lnTo>
                        <a:pt x="252" y="24"/>
                      </a:lnTo>
                      <a:lnTo>
                        <a:pt x="256" y="24"/>
                      </a:lnTo>
                      <a:lnTo>
                        <a:pt x="260" y="24"/>
                      </a:lnTo>
                      <a:lnTo>
                        <a:pt x="264" y="24"/>
                      </a:lnTo>
                      <a:lnTo>
                        <a:pt x="268" y="24"/>
                      </a:lnTo>
                      <a:lnTo>
                        <a:pt x="264" y="24"/>
                      </a:lnTo>
                      <a:lnTo>
                        <a:pt x="264" y="20"/>
                      </a:lnTo>
                      <a:lnTo>
                        <a:pt x="268" y="20"/>
                      </a:lnTo>
                      <a:lnTo>
                        <a:pt x="268" y="16"/>
                      </a:lnTo>
                      <a:lnTo>
                        <a:pt x="272" y="16"/>
                      </a:lnTo>
                      <a:lnTo>
                        <a:pt x="272" y="20"/>
                      </a:lnTo>
                      <a:lnTo>
                        <a:pt x="276" y="20"/>
                      </a:lnTo>
                      <a:lnTo>
                        <a:pt x="276" y="16"/>
                      </a:lnTo>
                      <a:lnTo>
                        <a:pt x="278" y="16"/>
                      </a:lnTo>
                      <a:lnTo>
                        <a:pt x="282" y="16"/>
                      </a:lnTo>
                      <a:lnTo>
                        <a:pt x="286" y="16"/>
                      </a:lnTo>
                      <a:lnTo>
                        <a:pt x="290" y="16"/>
                      </a:lnTo>
                      <a:lnTo>
                        <a:pt x="294" y="12"/>
                      </a:lnTo>
                      <a:lnTo>
                        <a:pt x="298" y="12"/>
                      </a:lnTo>
                      <a:lnTo>
                        <a:pt x="302" y="12"/>
                      </a:lnTo>
                      <a:lnTo>
                        <a:pt x="302" y="8"/>
                      </a:lnTo>
                      <a:lnTo>
                        <a:pt x="306" y="8"/>
                      </a:lnTo>
                      <a:lnTo>
                        <a:pt x="306" y="12"/>
                      </a:lnTo>
                      <a:lnTo>
                        <a:pt x="308" y="8"/>
                      </a:lnTo>
                      <a:lnTo>
                        <a:pt x="308" y="4"/>
                      </a:lnTo>
                      <a:lnTo>
                        <a:pt x="312" y="4"/>
                      </a:lnTo>
                      <a:lnTo>
                        <a:pt x="316" y="0"/>
                      </a:lnTo>
                      <a:lnTo>
                        <a:pt x="320" y="4"/>
                      </a:lnTo>
                      <a:lnTo>
                        <a:pt x="320" y="0"/>
                      </a:lnTo>
                      <a:lnTo>
                        <a:pt x="324" y="0"/>
                      </a:lnTo>
                      <a:lnTo>
                        <a:pt x="328" y="0"/>
                      </a:lnTo>
                      <a:lnTo>
                        <a:pt x="332" y="4"/>
                      </a:lnTo>
                      <a:lnTo>
                        <a:pt x="336" y="4"/>
                      </a:lnTo>
                      <a:lnTo>
                        <a:pt x="338" y="4"/>
                      </a:lnTo>
                      <a:lnTo>
                        <a:pt x="342" y="4"/>
                      </a:lnTo>
                      <a:lnTo>
                        <a:pt x="342" y="0"/>
                      </a:lnTo>
                      <a:lnTo>
                        <a:pt x="346" y="0"/>
                      </a:lnTo>
                      <a:lnTo>
                        <a:pt x="346" y="4"/>
                      </a:lnTo>
                      <a:lnTo>
                        <a:pt x="346" y="8"/>
                      </a:lnTo>
                      <a:lnTo>
                        <a:pt x="346" y="12"/>
                      </a:lnTo>
                      <a:lnTo>
                        <a:pt x="350" y="16"/>
                      </a:lnTo>
                      <a:lnTo>
                        <a:pt x="354" y="16"/>
                      </a:lnTo>
                      <a:lnTo>
                        <a:pt x="350" y="16"/>
                      </a:lnTo>
                      <a:lnTo>
                        <a:pt x="350" y="20"/>
                      </a:lnTo>
                      <a:lnTo>
                        <a:pt x="350" y="24"/>
                      </a:lnTo>
                      <a:lnTo>
                        <a:pt x="346" y="24"/>
                      </a:lnTo>
                      <a:lnTo>
                        <a:pt x="350" y="24"/>
                      </a:lnTo>
                      <a:lnTo>
                        <a:pt x="350" y="28"/>
                      </a:lnTo>
                      <a:lnTo>
                        <a:pt x="354" y="28"/>
                      </a:lnTo>
                      <a:lnTo>
                        <a:pt x="358" y="28"/>
                      </a:lnTo>
                      <a:lnTo>
                        <a:pt x="362" y="28"/>
                      </a:lnTo>
                      <a:lnTo>
                        <a:pt x="366" y="28"/>
                      </a:lnTo>
                      <a:lnTo>
                        <a:pt x="362" y="24"/>
                      </a:lnTo>
                      <a:lnTo>
                        <a:pt x="366" y="24"/>
                      </a:lnTo>
                      <a:lnTo>
                        <a:pt x="368" y="28"/>
                      </a:lnTo>
                      <a:lnTo>
                        <a:pt x="366" y="28"/>
                      </a:lnTo>
                      <a:lnTo>
                        <a:pt x="368" y="28"/>
                      </a:lnTo>
                      <a:lnTo>
                        <a:pt x="368" y="30"/>
                      </a:lnTo>
                      <a:lnTo>
                        <a:pt x="368" y="34"/>
                      </a:lnTo>
                      <a:lnTo>
                        <a:pt x="368" y="30"/>
                      </a:lnTo>
                      <a:lnTo>
                        <a:pt x="372" y="30"/>
                      </a:lnTo>
                      <a:lnTo>
                        <a:pt x="368" y="30"/>
                      </a:lnTo>
                      <a:lnTo>
                        <a:pt x="368" y="28"/>
                      </a:lnTo>
                      <a:lnTo>
                        <a:pt x="372" y="28"/>
                      </a:lnTo>
                      <a:lnTo>
                        <a:pt x="376" y="28"/>
                      </a:lnTo>
                      <a:lnTo>
                        <a:pt x="376" y="30"/>
                      </a:lnTo>
                      <a:lnTo>
                        <a:pt x="380" y="30"/>
                      </a:lnTo>
                      <a:lnTo>
                        <a:pt x="384" y="30"/>
                      </a:lnTo>
                      <a:lnTo>
                        <a:pt x="388" y="30"/>
                      </a:lnTo>
                      <a:lnTo>
                        <a:pt x="388" y="34"/>
                      </a:lnTo>
                      <a:lnTo>
                        <a:pt x="384" y="34"/>
                      </a:lnTo>
                      <a:lnTo>
                        <a:pt x="380" y="34"/>
                      </a:lnTo>
                      <a:lnTo>
                        <a:pt x="380" y="38"/>
                      </a:lnTo>
                      <a:lnTo>
                        <a:pt x="380" y="42"/>
                      </a:lnTo>
                      <a:lnTo>
                        <a:pt x="384" y="42"/>
                      </a:lnTo>
                      <a:lnTo>
                        <a:pt x="380" y="42"/>
                      </a:lnTo>
                      <a:lnTo>
                        <a:pt x="384" y="42"/>
                      </a:lnTo>
                      <a:lnTo>
                        <a:pt x="388" y="38"/>
                      </a:lnTo>
                      <a:lnTo>
                        <a:pt x="392" y="38"/>
                      </a:lnTo>
                      <a:lnTo>
                        <a:pt x="394" y="38"/>
                      </a:lnTo>
                      <a:lnTo>
                        <a:pt x="394" y="42"/>
                      </a:lnTo>
                      <a:lnTo>
                        <a:pt x="398" y="38"/>
                      </a:lnTo>
                      <a:lnTo>
                        <a:pt x="394" y="38"/>
                      </a:lnTo>
                      <a:lnTo>
                        <a:pt x="398" y="38"/>
                      </a:lnTo>
                      <a:lnTo>
                        <a:pt x="398" y="34"/>
                      </a:lnTo>
                      <a:lnTo>
                        <a:pt x="402" y="34"/>
                      </a:lnTo>
                      <a:lnTo>
                        <a:pt x="406" y="34"/>
                      </a:lnTo>
                      <a:lnTo>
                        <a:pt x="408" y="30"/>
                      </a:lnTo>
                      <a:lnTo>
                        <a:pt x="412" y="28"/>
                      </a:lnTo>
                      <a:lnTo>
                        <a:pt x="416" y="28"/>
                      </a:lnTo>
                      <a:lnTo>
                        <a:pt x="420" y="28"/>
                      </a:lnTo>
                      <a:lnTo>
                        <a:pt x="420" y="24"/>
                      </a:lnTo>
                      <a:lnTo>
                        <a:pt x="424" y="24"/>
                      </a:lnTo>
                      <a:lnTo>
                        <a:pt x="428" y="24"/>
                      </a:lnTo>
                      <a:lnTo>
                        <a:pt x="428" y="20"/>
                      </a:lnTo>
                      <a:lnTo>
                        <a:pt x="432" y="24"/>
                      </a:lnTo>
                      <a:lnTo>
                        <a:pt x="428" y="28"/>
                      </a:lnTo>
                      <a:lnTo>
                        <a:pt x="424" y="28"/>
                      </a:lnTo>
                      <a:lnTo>
                        <a:pt x="424" y="30"/>
                      </a:lnTo>
                      <a:lnTo>
                        <a:pt x="428" y="34"/>
                      </a:lnTo>
                      <a:lnTo>
                        <a:pt x="432" y="34"/>
                      </a:lnTo>
                      <a:lnTo>
                        <a:pt x="436" y="38"/>
                      </a:lnTo>
                      <a:lnTo>
                        <a:pt x="438" y="42"/>
                      </a:lnTo>
                      <a:lnTo>
                        <a:pt x="442" y="46"/>
                      </a:lnTo>
                      <a:lnTo>
                        <a:pt x="446" y="46"/>
                      </a:lnTo>
                      <a:lnTo>
                        <a:pt x="446" y="50"/>
                      </a:lnTo>
                      <a:lnTo>
                        <a:pt x="450" y="56"/>
                      </a:lnTo>
                      <a:lnTo>
                        <a:pt x="454" y="56"/>
                      </a:lnTo>
                      <a:lnTo>
                        <a:pt x="454" y="60"/>
                      </a:lnTo>
                      <a:lnTo>
                        <a:pt x="454" y="64"/>
                      </a:lnTo>
                      <a:lnTo>
                        <a:pt x="458" y="64"/>
                      </a:lnTo>
                      <a:lnTo>
                        <a:pt x="462" y="68"/>
                      </a:lnTo>
                      <a:lnTo>
                        <a:pt x="466" y="80"/>
                      </a:lnTo>
                      <a:lnTo>
                        <a:pt x="468" y="84"/>
                      </a:lnTo>
                      <a:lnTo>
                        <a:pt x="468" y="86"/>
                      </a:lnTo>
                      <a:lnTo>
                        <a:pt x="468" y="90"/>
                      </a:lnTo>
                      <a:lnTo>
                        <a:pt x="472" y="90"/>
                      </a:lnTo>
                      <a:lnTo>
                        <a:pt x="472" y="98"/>
                      </a:lnTo>
                      <a:lnTo>
                        <a:pt x="476" y="98"/>
                      </a:lnTo>
                      <a:lnTo>
                        <a:pt x="480" y="98"/>
                      </a:lnTo>
                      <a:lnTo>
                        <a:pt x="480" y="94"/>
                      </a:lnTo>
                      <a:lnTo>
                        <a:pt x="480" y="90"/>
                      </a:lnTo>
                      <a:lnTo>
                        <a:pt x="484" y="90"/>
                      </a:lnTo>
                      <a:lnTo>
                        <a:pt x="484" y="86"/>
                      </a:lnTo>
                      <a:lnTo>
                        <a:pt x="488" y="90"/>
                      </a:lnTo>
                      <a:lnTo>
                        <a:pt x="492" y="90"/>
                      </a:lnTo>
                      <a:lnTo>
                        <a:pt x="492" y="94"/>
                      </a:lnTo>
                      <a:lnTo>
                        <a:pt x="496" y="94"/>
                      </a:lnTo>
                      <a:lnTo>
                        <a:pt x="496" y="98"/>
                      </a:lnTo>
                      <a:lnTo>
                        <a:pt x="496" y="102"/>
                      </a:lnTo>
                      <a:lnTo>
                        <a:pt x="498" y="102"/>
                      </a:lnTo>
                      <a:lnTo>
                        <a:pt x="498" y="98"/>
                      </a:lnTo>
                      <a:lnTo>
                        <a:pt x="502" y="98"/>
                      </a:lnTo>
                      <a:lnTo>
                        <a:pt x="502" y="102"/>
                      </a:lnTo>
                      <a:lnTo>
                        <a:pt x="506" y="102"/>
                      </a:lnTo>
                      <a:lnTo>
                        <a:pt x="510" y="98"/>
                      </a:lnTo>
                      <a:lnTo>
                        <a:pt x="510" y="102"/>
                      </a:lnTo>
                      <a:lnTo>
                        <a:pt x="514" y="98"/>
                      </a:lnTo>
                      <a:lnTo>
                        <a:pt x="518" y="98"/>
                      </a:lnTo>
                      <a:lnTo>
                        <a:pt x="518" y="94"/>
                      </a:lnTo>
                      <a:lnTo>
                        <a:pt x="522" y="94"/>
                      </a:lnTo>
                      <a:lnTo>
                        <a:pt x="524" y="94"/>
                      </a:lnTo>
                      <a:lnTo>
                        <a:pt x="528" y="98"/>
                      </a:lnTo>
                      <a:lnTo>
                        <a:pt x="532" y="98"/>
                      </a:lnTo>
                      <a:lnTo>
                        <a:pt x="532" y="102"/>
                      </a:lnTo>
                      <a:lnTo>
                        <a:pt x="536" y="106"/>
                      </a:lnTo>
                      <a:lnTo>
                        <a:pt x="536" y="110"/>
                      </a:lnTo>
                      <a:lnTo>
                        <a:pt x="536" y="112"/>
                      </a:lnTo>
                      <a:lnTo>
                        <a:pt x="540" y="112"/>
                      </a:lnTo>
                      <a:lnTo>
                        <a:pt x="544" y="112"/>
                      </a:lnTo>
                      <a:lnTo>
                        <a:pt x="548" y="112"/>
                      </a:lnTo>
                      <a:lnTo>
                        <a:pt x="548" y="116"/>
                      </a:lnTo>
                      <a:lnTo>
                        <a:pt x="544" y="116"/>
                      </a:lnTo>
                      <a:lnTo>
                        <a:pt x="548" y="116"/>
                      </a:lnTo>
                      <a:lnTo>
                        <a:pt x="548" y="120"/>
                      </a:lnTo>
                      <a:lnTo>
                        <a:pt x="548" y="124"/>
                      </a:lnTo>
                      <a:lnTo>
                        <a:pt x="552" y="124"/>
                      </a:lnTo>
                      <a:lnTo>
                        <a:pt x="554" y="124"/>
                      </a:lnTo>
                      <a:lnTo>
                        <a:pt x="558" y="124"/>
                      </a:lnTo>
                      <a:lnTo>
                        <a:pt x="562" y="128"/>
                      </a:lnTo>
                      <a:lnTo>
                        <a:pt x="562" y="124"/>
                      </a:lnTo>
                      <a:lnTo>
                        <a:pt x="566" y="124"/>
                      </a:lnTo>
                      <a:lnTo>
                        <a:pt x="566" y="120"/>
                      </a:lnTo>
                      <a:lnTo>
                        <a:pt x="570" y="120"/>
                      </a:lnTo>
                      <a:lnTo>
                        <a:pt x="570" y="124"/>
                      </a:lnTo>
                      <a:lnTo>
                        <a:pt x="574" y="124"/>
                      </a:lnTo>
                      <a:lnTo>
                        <a:pt x="574" y="128"/>
                      </a:lnTo>
                      <a:lnTo>
                        <a:pt x="574" y="132"/>
                      </a:lnTo>
                      <a:lnTo>
                        <a:pt x="578" y="132"/>
                      </a:lnTo>
                      <a:lnTo>
                        <a:pt x="578" y="136"/>
                      </a:lnTo>
                      <a:lnTo>
                        <a:pt x="574" y="136"/>
                      </a:lnTo>
                      <a:lnTo>
                        <a:pt x="570" y="136"/>
                      </a:lnTo>
                      <a:lnTo>
                        <a:pt x="570" y="140"/>
                      </a:lnTo>
                      <a:lnTo>
                        <a:pt x="570" y="142"/>
                      </a:lnTo>
                      <a:lnTo>
                        <a:pt x="570" y="146"/>
                      </a:lnTo>
                      <a:lnTo>
                        <a:pt x="566" y="146"/>
                      </a:lnTo>
                      <a:lnTo>
                        <a:pt x="562" y="146"/>
                      </a:lnTo>
                      <a:lnTo>
                        <a:pt x="558" y="146"/>
                      </a:lnTo>
                      <a:lnTo>
                        <a:pt x="558" y="150"/>
                      </a:lnTo>
                      <a:lnTo>
                        <a:pt x="554" y="150"/>
                      </a:lnTo>
                      <a:lnTo>
                        <a:pt x="554" y="154"/>
                      </a:lnTo>
                      <a:lnTo>
                        <a:pt x="554" y="158"/>
                      </a:lnTo>
                      <a:lnTo>
                        <a:pt x="554" y="162"/>
                      </a:lnTo>
                      <a:lnTo>
                        <a:pt x="554" y="166"/>
                      </a:lnTo>
                      <a:lnTo>
                        <a:pt x="554" y="168"/>
                      </a:lnTo>
                      <a:lnTo>
                        <a:pt x="554" y="172"/>
                      </a:lnTo>
                      <a:lnTo>
                        <a:pt x="554" y="176"/>
                      </a:lnTo>
                      <a:lnTo>
                        <a:pt x="552" y="176"/>
                      </a:lnTo>
                      <a:lnTo>
                        <a:pt x="548" y="176"/>
                      </a:lnTo>
                      <a:lnTo>
                        <a:pt x="548" y="180"/>
                      </a:lnTo>
                      <a:lnTo>
                        <a:pt x="544" y="180"/>
                      </a:lnTo>
                      <a:lnTo>
                        <a:pt x="540" y="176"/>
                      </a:lnTo>
                      <a:lnTo>
                        <a:pt x="536" y="176"/>
                      </a:lnTo>
                      <a:lnTo>
                        <a:pt x="532" y="176"/>
                      </a:lnTo>
                      <a:lnTo>
                        <a:pt x="528" y="176"/>
                      </a:lnTo>
                      <a:lnTo>
                        <a:pt x="524" y="176"/>
                      </a:lnTo>
                      <a:lnTo>
                        <a:pt x="522" y="172"/>
                      </a:lnTo>
                      <a:lnTo>
                        <a:pt x="518" y="172"/>
                      </a:lnTo>
                      <a:lnTo>
                        <a:pt x="518" y="176"/>
                      </a:lnTo>
                      <a:lnTo>
                        <a:pt x="518" y="180"/>
                      </a:lnTo>
                      <a:lnTo>
                        <a:pt x="514" y="184"/>
                      </a:lnTo>
                      <a:lnTo>
                        <a:pt x="514" y="188"/>
                      </a:lnTo>
                      <a:lnTo>
                        <a:pt x="514" y="192"/>
                      </a:lnTo>
                      <a:lnTo>
                        <a:pt x="510" y="192"/>
                      </a:lnTo>
                      <a:lnTo>
                        <a:pt x="510" y="196"/>
                      </a:lnTo>
                      <a:lnTo>
                        <a:pt x="510" y="198"/>
                      </a:lnTo>
                      <a:lnTo>
                        <a:pt x="510" y="202"/>
                      </a:lnTo>
                      <a:lnTo>
                        <a:pt x="506" y="206"/>
                      </a:lnTo>
                      <a:lnTo>
                        <a:pt x="510" y="206"/>
                      </a:lnTo>
                      <a:lnTo>
                        <a:pt x="510" y="210"/>
                      </a:lnTo>
                      <a:lnTo>
                        <a:pt x="514" y="210"/>
                      </a:lnTo>
                      <a:lnTo>
                        <a:pt x="514" y="214"/>
                      </a:lnTo>
                      <a:lnTo>
                        <a:pt x="510" y="214"/>
                      </a:lnTo>
                      <a:lnTo>
                        <a:pt x="506" y="214"/>
                      </a:lnTo>
                      <a:lnTo>
                        <a:pt x="502" y="214"/>
                      </a:lnTo>
                      <a:lnTo>
                        <a:pt x="498" y="214"/>
                      </a:lnTo>
                      <a:lnTo>
                        <a:pt x="498" y="210"/>
                      </a:lnTo>
                      <a:lnTo>
                        <a:pt x="496" y="210"/>
                      </a:lnTo>
                      <a:lnTo>
                        <a:pt x="496" y="214"/>
                      </a:lnTo>
                      <a:lnTo>
                        <a:pt x="492" y="214"/>
                      </a:lnTo>
                      <a:lnTo>
                        <a:pt x="488" y="214"/>
                      </a:lnTo>
                      <a:lnTo>
                        <a:pt x="484" y="214"/>
                      </a:lnTo>
                      <a:lnTo>
                        <a:pt x="480" y="218"/>
                      </a:lnTo>
                      <a:lnTo>
                        <a:pt x="476" y="218"/>
                      </a:lnTo>
                      <a:lnTo>
                        <a:pt x="472" y="222"/>
                      </a:lnTo>
                      <a:lnTo>
                        <a:pt x="476" y="222"/>
                      </a:lnTo>
                      <a:lnTo>
                        <a:pt x="480" y="222"/>
                      </a:lnTo>
                      <a:lnTo>
                        <a:pt x="484" y="222"/>
                      </a:lnTo>
                      <a:lnTo>
                        <a:pt x="484" y="224"/>
                      </a:lnTo>
                      <a:lnTo>
                        <a:pt x="480" y="224"/>
                      </a:lnTo>
                      <a:lnTo>
                        <a:pt x="480" y="228"/>
                      </a:lnTo>
                      <a:lnTo>
                        <a:pt x="480" y="232"/>
                      </a:lnTo>
                      <a:lnTo>
                        <a:pt x="480" y="236"/>
                      </a:lnTo>
                      <a:lnTo>
                        <a:pt x="480" y="240"/>
                      </a:lnTo>
                      <a:lnTo>
                        <a:pt x="484" y="240"/>
                      </a:lnTo>
                      <a:lnTo>
                        <a:pt x="484" y="244"/>
                      </a:lnTo>
                      <a:lnTo>
                        <a:pt x="484" y="248"/>
                      </a:lnTo>
                      <a:lnTo>
                        <a:pt x="488" y="252"/>
                      </a:lnTo>
                      <a:lnTo>
                        <a:pt x="488" y="254"/>
                      </a:lnTo>
                      <a:lnTo>
                        <a:pt x="484" y="254"/>
                      </a:lnTo>
                      <a:lnTo>
                        <a:pt x="480" y="258"/>
                      </a:lnTo>
                      <a:lnTo>
                        <a:pt x="484" y="258"/>
                      </a:lnTo>
                      <a:lnTo>
                        <a:pt x="480" y="262"/>
                      </a:lnTo>
                      <a:lnTo>
                        <a:pt x="476" y="266"/>
                      </a:lnTo>
                      <a:lnTo>
                        <a:pt x="476" y="268"/>
                      </a:lnTo>
                      <a:lnTo>
                        <a:pt x="480" y="268"/>
                      </a:lnTo>
                      <a:lnTo>
                        <a:pt x="480" y="272"/>
                      </a:lnTo>
                      <a:lnTo>
                        <a:pt x="476" y="272"/>
                      </a:lnTo>
                      <a:lnTo>
                        <a:pt x="476" y="268"/>
                      </a:lnTo>
                      <a:lnTo>
                        <a:pt x="472" y="268"/>
                      </a:lnTo>
                      <a:lnTo>
                        <a:pt x="468" y="268"/>
                      </a:lnTo>
                      <a:lnTo>
                        <a:pt x="466" y="268"/>
                      </a:lnTo>
                      <a:lnTo>
                        <a:pt x="466" y="266"/>
                      </a:lnTo>
                      <a:lnTo>
                        <a:pt x="466" y="262"/>
                      </a:lnTo>
                      <a:lnTo>
                        <a:pt x="462" y="262"/>
                      </a:lnTo>
                      <a:lnTo>
                        <a:pt x="458" y="262"/>
                      </a:lnTo>
                      <a:lnTo>
                        <a:pt x="454" y="258"/>
                      </a:lnTo>
                      <a:lnTo>
                        <a:pt x="450" y="258"/>
                      </a:lnTo>
                      <a:lnTo>
                        <a:pt x="446" y="258"/>
                      </a:lnTo>
                      <a:lnTo>
                        <a:pt x="442" y="258"/>
                      </a:lnTo>
                      <a:lnTo>
                        <a:pt x="438" y="258"/>
                      </a:lnTo>
                      <a:lnTo>
                        <a:pt x="436" y="258"/>
                      </a:lnTo>
                      <a:lnTo>
                        <a:pt x="432" y="258"/>
                      </a:lnTo>
                      <a:lnTo>
                        <a:pt x="428" y="258"/>
                      </a:lnTo>
                      <a:lnTo>
                        <a:pt x="424" y="258"/>
                      </a:lnTo>
                      <a:lnTo>
                        <a:pt x="420" y="258"/>
                      </a:lnTo>
                      <a:lnTo>
                        <a:pt x="416" y="258"/>
                      </a:lnTo>
                      <a:lnTo>
                        <a:pt x="416" y="258"/>
                      </a:lnTo>
                      <a:lnTo>
                        <a:pt x="416" y="25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6" name="Freeform 35"/>
                <p:cNvSpPr>
                  <a:spLocks noEditPoints="1"/>
                </p:cNvSpPr>
                <p:nvPr/>
              </p:nvSpPr>
              <p:spPr bwMode="auto">
                <a:xfrm>
                  <a:off x="5441950" y="3724343"/>
                  <a:ext cx="41275" cy="44450"/>
                </a:xfrm>
                <a:custGeom>
                  <a:avLst/>
                  <a:gdLst>
                    <a:gd name="T0" fmla="*/ 10 w 26"/>
                    <a:gd name="T1" fmla="*/ 22 h 28"/>
                    <a:gd name="T2" fmla="*/ 4 w 26"/>
                    <a:gd name="T3" fmla="*/ 18 h 28"/>
                    <a:gd name="T4" fmla="*/ 0 w 26"/>
                    <a:gd name="T5" fmla="*/ 18 h 28"/>
                    <a:gd name="T6" fmla="*/ 0 w 26"/>
                    <a:gd name="T7" fmla="*/ 18 h 28"/>
                    <a:gd name="T8" fmla="*/ 0 w 26"/>
                    <a:gd name="T9" fmla="*/ 18 h 28"/>
                    <a:gd name="T10" fmla="*/ 0 w 26"/>
                    <a:gd name="T11" fmla="*/ 18 h 28"/>
                    <a:gd name="T12" fmla="*/ 0 w 26"/>
                    <a:gd name="T13" fmla="*/ 18 h 28"/>
                    <a:gd name="T14" fmla="*/ 4 w 26"/>
                    <a:gd name="T15" fmla="*/ 14 h 28"/>
                    <a:gd name="T16" fmla="*/ 4 w 26"/>
                    <a:gd name="T17" fmla="*/ 10 h 28"/>
                    <a:gd name="T18" fmla="*/ 4 w 26"/>
                    <a:gd name="T19" fmla="*/ 10 h 28"/>
                    <a:gd name="T20" fmla="*/ 6 w 26"/>
                    <a:gd name="T21" fmla="*/ 6 h 28"/>
                    <a:gd name="T22" fmla="*/ 6 w 26"/>
                    <a:gd name="T23" fmla="*/ 2 h 28"/>
                    <a:gd name="T24" fmla="*/ 6 w 26"/>
                    <a:gd name="T25" fmla="*/ 2 h 28"/>
                    <a:gd name="T26" fmla="*/ 6 w 26"/>
                    <a:gd name="T27" fmla="*/ 2 h 28"/>
                    <a:gd name="T28" fmla="*/ 10 w 26"/>
                    <a:gd name="T29" fmla="*/ 0 h 28"/>
                    <a:gd name="T30" fmla="*/ 14 w 26"/>
                    <a:gd name="T31" fmla="*/ 0 h 28"/>
                    <a:gd name="T32" fmla="*/ 18 w 26"/>
                    <a:gd name="T33" fmla="*/ 2 h 28"/>
                    <a:gd name="T34" fmla="*/ 18 w 26"/>
                    <a:gd name="T35" fmla="*/ 6 h 28"/>
                    <a:gd name="T36" fmla="*/ 18 w 26"/>
                    <a:gd name="T37" fmla="*/ 6 h 28"/>
                    <a:gd name="T38" fmla="*/ 18 w 26"/>
                    <a:gd name="T39" fmla="*/ 6 h 28"/>
                    <a:gd name="T40" fmla="*/ 22 w 26"/>
                    <a:gd name="T41" fmla="*/ 10 h 28"/>
                    <a:gd name="T42" fmla="*/ 22 w 26"/>
                    <a:gd name="T43" fmla="*/ 10 h 28"/>
                    <a:gd name="T44" fmla="*/ 18 w 26"/>
                    <a:gd name="T45" fmla="*/ 10 h 28"/>
                    <a:gd name="T46" fmla="*/ 18 w 26"/>
                    <a:gd name="T47" fmla="*/ 10 h 28"/>
                    <a:gd name="T48" fmla="*/ 14 w 26"/>
                    <a:gd name="T49" fmla="*/ 14 h 28"/>
                    <a:gd name="T50" fmla="*/ 14 w 26"/>
                    <a:gd name="T51" fmla="*/ 14 h 28"/>
                    <a:gd name="T52" fmla="*/ 18 w 26"/>
                    <a:gd name="T53" fmla="*/ 14 h 28"/>
                    <a:gd name="T54" fmla="*/ 18 w 26"/>
                    <a:gd name="T55" fmla="*/ 14 h 28"/>
                    <a:gd name="T56" fmla="*/ 18 w 26"/>
                    <a:gd name="T57" fmla="*/ 14 h 28"/>
                    <a:gd name="T58" fmla="*/ 18 w 26"/>
                    <a:gd name="T59" fmla="*/ 14 h 28"/>
                    <a:gd name="T60" fmla="*/ 18 w 26"/>
                    <a:gd name="T61" fmla="*/ 18 h 28"/>
                    <a:gd name="T62" fmla="*/ 22 w 26"/>
                    <a:gd name="T63" fmla="*/ 18 h 28"/>
                    <a:gd name="T64" fmla="*/ 22 w 26"/>
                    <a:gd name="T65" fmla="*/ 22 h 28"/>
                    <a:gd name="T66" fmla="*/ 22 w 26"/>
                    <a:gd name="T67" fmla="*/ 26 h 28"/>
                    <a:gd name="T68" fmla="*/ 26 w 26"/>
                    <a:gd name="T69" fmla="*/ 26 h 28"/>
                    <a:gd name="T70" fmla="*/ 26 w 26"/>
                    <a:gd name="T71" fmla="*/ 26 h 28"/>
                    <a:gd name="T72" fmla="*/ 22 w 26"/>
                    <a:gd name="T73" fmla="*/ 28 h 28"/>
                    <a:gd name="T74" fmla="*/ 14 w 26"/>
                    <a:gd name="T75" fmla="*/ 28 h 28"/>
                    <a:gd name="T76" fmla="*/ 14 w 26"/>
                    <a:gd name="T77" fmla="*/ 26 h 28"/>
                    <a:gd name="T78" fmla="*/ 14 w 26"/>
                    <a:gd name="T79" fmla="*/ 26 h 28"/>
                    <a:gd name="T80" fmla="*/ 10 w 26"/>
                    <a:gd name="T81" fmla="*/ 22 h 28"/>
                    <a:gd name="T82" fmla="*/ 10 w 26"/>
                    <a:gd name="T83" fmla="*/ 22 h 28"/>
                    <a:gd name="T84" fmla="*/ 10 w 26"/>
                    <a:gd name="T85" fmla="*/ 22 h 28"/>
                    <a:gd name="T86" fmla="*/ 22 w 26"/>
                    <a:gd name="T87" fmla="*/ 2 h 28"/>
                    <a:gd name="T88" fmla="*/ 22 w 26"/>
                    <a:gd name="T89" fmla="*/ 6 h 28"/>
                    <a:gd name="T90" fmla="*/ 22 w 26"/>
                    <a:gd name="T91" fmla="*/ 6 h 28"/>
                    <a:gd name="T92" fmla="*/ 26 w 26"/>
                    <a:gd name="T93" fmla="*/ 6 h 28"/>
                    <a:gd name="T94" fmla="*/ 26 w 26"/>
                    <a:gd name="T95" fmla="*/ 6 h 28"/>
                    <a:gd name="T96" fmla="*/ 22 w 26"/>
                    <a:gd name="T97" fmla="*/ 6 h 28"/>
                    <a:gd name="T98" fmla="*/ 22 w 26"/>
                    <a:gd name="T99" fmla="*/ 10 h 28"/>
                    <a:gd name="T100" fmla="*/ 22 w 26"/>
                    <a:gd name="T101" fmla="*/ 10 h 28"/>
                    <a:gd name="T102" fmla="*/ 22 w 26"/>
                    <a:gd name="T103" fmla="*/ 10 h 28"/>
                    <a:gd name="T104" fmla="*/ 22 w 26"/>
                    <a:gd name="T105" fmla="*/ 10 h 28"/>
                    <a:gd name="T106" fmla="*/ 22 w 26"/>
                    <a:gd name="T107" fmla="*/ 10 h 28"/>
                    <a:gd name="T108" fmla="*/ 22 w 26"/>
                    <a:gd name="T109" fmla="*/ 10 h 28"/>
                    <a:gd name="T110" fmla="*/ 22 w 26"/>
                    <a:gd name="T111" fmla="*/ 2 h 28"/>
                    <a:gd name="T112" fmla="*/ 22 w 26"/>
                    <a:gd name="T113" fmla="*/ 2 h 28"/>
                    <a:gd name="T114" fmla="*/ 22 w 26"/>
                    <a:gd name="T115" fmla="*/ 2 h 28"/>
                    <a:gd name="T116" fmla="*/ 22 w 26"/>
                    <a:gd name="T117" fmla="*/ 2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6" h="28">
                      <a:moveTo>
                        <a:pt x="10" y="22"/>
                      </a:moveTo>
                      <a:lnTo>
                        <a:pt x="10" y="22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0"/>
                      </a:lnTo>
                      <a:lnTo>
                        <a:pt x="4" y="10"/>
                      </a:lnTo>
                      <a:lnTo>
                        <a:pt x="4" y="10"/>
                      </a:lnTo>
                      <a:lnTo>
                        <a:pt x="4" y="10"/>
                      </a:lnTo>
                      <a:lnTo>
                        <a:pt x="6" y="6"/>
                      </a:ln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4" y="0"/>
                      </a:ln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18" y="10"/>
                      </a:lnTo>
                      <a:lnTo>
                        <a:pt x="18" y="10"/>
                      </a:lnTo>
                      <a:lnTo>
                        <a:pt x="18" y="10"/>
                      </a:lnTo>
                      <a:lnTo>
                        <a:pt x="18" y="10"/>
                      </a:lnTo>
                      <a:lnTo>
                        <a:pt x="14" y="14"/>
                      </a:lnTo>
                      <a:lnTo>
                        <a:pt x="14" y="14"/>
                      </a:lnTo>
                      <a:lnTo>
                        <a:pt x="14" y="14"/>
                      </a:lnTo>
                      <a:lnTo>
                        <a:pt x="18" y="14"/>
                      </a:lnTo>
                      <a:lnTo>
                        <a:pt x="18" y="14"/>
                      </a:lnTo>
                      <a:lnTo>
                        <a:pt x="18" y="14"/>
                      </a:lnTo>
                      <a:lnTo>
                        <a:pt x="18" y="14"/>
                      </a:lnTo>
                      <a:lnTo>
                        <a:pt x="18" y="14"/>
                      </a:lnTo>
                      <a:lnTo>
                        <a:pt x="18" y="14"/>
                      </a:lnTo>
                      <a:lnTo>
                        <a:pt x="18" y="14"/>
                      </a:lnTo>
                      <a:lnTo>
                        <a:pt x="18" y="14"/>
                      </a:lnTo>
                      <a:lnTo>
                        <a:pt x="18" y="14"/>
                      </a:lnTo>
                      <a:lnTo>
                        <a:pt x="18" y="18"/>
                      </a:lnTo>
                      <a:lnTo>
                        <a:pt x="22" y="18"/>
                      </a:lnTo>
                      <a:lnTo>
                        <a:pt x="22" y="18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2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8"/>
                      </a:lnTo>
                      <a:lnTo>
                        <a:pt x="22" y="28"/>
                      </a:lnTo>
                      <a:lnTo>
                        <a:pt x="14" y="28"/>
                      </a:lnTo>
                      <a:lnTo>
                        <a:pt x="14" y="28"/>
                      </a:lnTo>
                      <a:lnTo>
                        <a:pt x="14" y="28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10" y="22"/>
                      </a:lnTo>
                      <a:close/>
                      <a:moveTo>
                        <a:pt x="22" y="2"/>
                      </a:moveTo>
                      <a:lnTo>
                        <a:pt x="22" y="2"/>
                      </a:lnTo>
                      <a:lnTo>
                        <a:pt x="22" y="2"/>
                      </a:lnTo>
                      <a:lnTo>
                        <a:pt x="22" y="6"/>
                      </a:lnTo>
                      <a:lnTo>
                        <a:pt x="22" y="6"/>
                      </a:lnTo>
                      <a:lnTo>
                        <a:pt x="22" y="6"/>
                      </a:lnTo>
                      <a:lnTo>
                        <a:pt x="22" y="6"/>
                      </a:lnTo>
                      <a:lnTo>
                        <a:pt x="26" y="6"/>
                      </a:lnTo>
                      <a:lnTo>
                        <a:pt x="26" y="6"/>
                      </a:lnTo>
                      <a:lnTo>
                        <a:pt x="26" y="6"/>
                      </a:lnTo>
                      <a:lnTo>
                        <a:pt x="22" y="6"/>
                      </a:lnTo>
                      <a:lnTo>
                        <a:pt x="22" y="6"/>
                      </a:lnTo>
                      <a:lnTo>
                        <a:pt x="22" y="6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18" y="6"/>
                      </a:lnTo>
                      <a:lnTo>
                        <a:pt x="22" y="2"/>
                      </a:lnTo>
                      <a:lnTo>
                        <a:pt x="22" y="2"/>
                      </a:lnTo>
                      <a:lnTo>
                        <a:pt x="22" y="2"/>
                      </a:lnTo>
                      <a:lnTo>
                        <a:pt x="22" y="2"/>
                      </a:lnTo>
                      <a:lnTo>
                        <a:pt x="22" y="2"/>
                      </a:lnTo>
                      <a:lnTo>
                        <a:pt x="22" y="2"/>
                      </a:lnTo>
                      <a:lnTo>
                        <a:pt x="22" y="2"/>
                      </a:lnTo>
                      <a:lnTo>
                        <a:pt x="22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7" name="Freeform 36"/>
                <p:cNvSpPr>
                  <a:spLocks/>
                </p:cNvSpPr>
                <p:nvPr/>
              </p:nvSpPr>
              <p:spPr bwMode="auto">
                <a:xfrm>
                  <a:off x="5949950" y="3333818"/>
                  <a:ext cx="247650" cy="120650"/>
                </a:xfrm>
                <a:custGeom>
                  <a:avLst/>
                  <a:gdLst>
                    <a:gd name="T0" fmla="*/ 74 w 156"/>
                    <a:gd name="T1" fmla="*/ 54 h 76"/>
                    <a:gd name="T2" fmla="*/ 68 w 156"/>
                    <a:gd name="T3" fmla="*/ 58 h 76"/>
                    <a:gd name="T4" fmla="*/ 68 w 156"/>
                    <a:gd name="T5" fmla="*/ 66 h 76"/>
                    <a:gd name="T6" fmla="*/ 60 w 156"/>
                    <a:gd name="T7" fmla="*/ 68 h 76"/>
                    <a:gd name="T8" fmla="*/ 52 w 156"/>
                    <a:gd name="T9" fmla="*/ 72 h 76"/>
                    <a:gd name="T10" fmla="*/ 42 w 156"/>
                    <a:gd name="T11" fmla="*/ 72 h 76"/>
                    <a:gd name="T12" fmla="*/ 38 w 156"/>
                    <a:gd name="T13" fmla="*/ 72 h 76"/>
                    <a:gd name="T14" fmla="*/ 30 w 156"/>
                    <a:gd name="T15" fmla="*/ 68 h 76"/>
                    <a:gd name="T16" fmla="*/ 30 w 156"/>
                    <a:gd name="T17" fmla="*/ 68 h 76"/>
                    <a:gd name="T18" fmla="*/ 22 w 156"/>
                    <a:gd name="T19" fmla="*/ 68 h 76"/>
                    <a:gd name="T20" fmla="*/ 14 w 156"/>
                    <a:gd name="T21" fmla="*/ 66 h 76"/>
                    <a:gd name="T22" fmla="*/ 8 w 156"/>
                    <a:gd name="T23" fmla="*/ 68 h 76"/>
                    <a:gd name="T24" fmla="*/ 0 w 156"/>
                    <a:gd name="T25" fmla="*/ 66 h 76"/>
                    <a:gd name="T26" fmla="*/ 0 w 156"/>
                    <a:gd name="T27" fmla="*/ 62 h 76"/>
                    <a:gd name="T28" fmla="*/ 8 w 156"/>
                    <a:gd name="T29" fmla="*/ 58 h 76"/>
                    <a:gd name="T30" fmla="*/ 18 w 156"/>
                    <a:gd name="T31" fmla="*/ 58 h 76"/>
                    <a:gd name="T32" fmla="*/ 18 w 156"/>
                    <a:gd name="T33" fmla="*/ 62 h 76"/>
                    <a:gd name="T34" fmla="*/ 22 w 156"/>
                    <a:gd name="T35" fmla="*/ 54 h 76"/>
                    <a:gd name="T36" fmla="*/ 34 w 156"/>
                    <a:gd name="T37" fmla="*/ 58 h 76"/>
                    <a:gd name="T38" fmla="*/ 44 w 156"/>
                    <a:gd name="T39" fmla="*/ 50 h 76"/>
                    <a:gd name="T40" fmla="*/ 48 w 156"/>
                    <a:gd name="T41" fmla="*/ 50 h 76"/>
                    <a:gd name="T42" fmla="*/ 52 w 156"/>
                    <a:gd name="T43" fmla="*/ 42 h 76"/>
                    <a:gd name="T44" fmla="*/ 48 w 156"/>
                    <a:gd name="T45" fmla="*/ 42 h 76"/>
                    <a:gd name="T46" fmla="*/ 42 w 156"/>
                    <a:gd name="T47" fmla="*/ 36 h 76"/>
                    <a:gd name="T48" fmla="*/ 34 w 156"/>
                    <a:gd name="T49" fmla="*/ 28 h 76"/>
                    <a:gd name="T50" fmla="*/ 30 w 156"/>
                    <a:gd name="T51" fmla="*/ 36 h 76"/>
                    <a:gd name="T52" fmla="*/ 30 w 156"/>
                    <a:gd name="T53" fmla="*/ 40 h 76"/>
                    <a:gd name="T54" fmla="*/ 22 w 156"/>
                    <a:gd name="T55" fmla="*/ 32 h 76"/>
                    <a:gd name="T56" fmla="*/ 12 w 156"/>
                    <a:gd name="T57" fmla="*/ 32 h 76"/>
                    <a:gd name="T58" fmla="*/ 14 w 156"/>
                    <a:gd name="T59" fmla="*/ 24 h 76"/>
                    <a:gd name="T60" fmla="*/ 22 w 156"/>
                    <a:gd name="T61" fmla="*/ 20 h 76"/>
                    <a:gd name="T62" fmla="*/ 22 w 156"/>
                    <a:gd name="T63" fmla="*/ 16 h 76"/>
                    <a:gd name="T64" fmla="*/ 26 w 156"/>
                    <a:gd name="T65" fmla="*/ 6 h 76"/>
                    <a:gd name="T66" fmla="*/ 38 w 156"/>
                    <a:gd name="T67" fmla="*/ 6 h 76"/>
                    <a:gd name="T68" fmla="*/ 48 w 156"/>
                    <a:gd name="T69" fmla="*/ 6 h 76"/>
                    <a:gd name="T70" fmla="*/ 56 w 156"/>
                    <a:gd name="T71" fmla="*/ 10 h 76"/>
                    <a:gd name="T72" fmla="*/ 60 w 156"/>
                    <a:gd name="T73" fmla="*/ 10 h 76"/>
                    <a:gd name="T74" fmla="*/ 60 w 156"/>
                    <a:gd name="T75" fmla="*/ 0 h 76"/>
                    <a:gd name="T76" fmla="*/ 72 w 156"/>
                    <a:gd name="T77" fmla="*/ 0 h 76"/>
                    <a:gd name="T78" fmla="*/ 82 w 156"/>
                    <a:gd name="T79" fmla="*/ 4 h 76"/>
                    <a:gd name="T80" fmla="*/ 88 w 156"/>
                    <a:gd name="T81" fmla="*/ 6 h 76"/>
                    <a:gd name="T82" fmla="*/ 100 w 156"/>
                    <a:gd name="T83" fmla="*/ 4 h 76"/>
                    <a:gd name="T84" fmla="*/ 112 w 156"/>
                    <a:gd name="T85" fmla="*/ 4 h 76"/>
                    <a:gd name="T86" fmla="*/ 122 w 156"/>
                    <a:gd name="T87" fmla="*/ 4 h 76"/>
                    <a:gd name="T88" fmla="*/ 134 w 156"/>
                    <a:gd name="T89" fmla="*/ 6 h 76"/>
                    <a:gd name="T90" fmla="*/ 142 w 156"/>
                    <a:gd name="T91" fmla="*/ 10 h 76"/>
                    <a:gd name="T92" fmla="*/ 148 w 156"/>
                    <a:gd name="T93" fmla="*/ 14 h 76"/>
                    <a:gd name="T94" fmla="*/ 156 w 156"/>
                    <a:gd name="T95" fmla="*/ 16 h 76"/>
                    <a:gd name="T96" fmla="*/ 148 w 156"/>
                    <a:gd name="T97" fmla="*/ 20 h 76"/>
                    <a:gd name="T98" fmla="*/ 142 w 156"/>
                    <a:gd name="T99" fmla="*/ 24 h 76"/>
                    <a:gd name="T100" fmla="*/ 134 w 156"/>
                    <a:gd name="T101" fmla="*/ 28 h 76"/>
                    <a:gd name="T102" fmla="*/ 126 w 156"/>
                    <a:gd name="T103" fmla="*/ 36 h 76"/>
                    <a:gd name="T104" fmla="*/ 118 w 156"/>
                    <a:gd name="T105" fmla="*/ 40 h 76"/>
                    <a:gd name="T106" fmla="*/ 108 w 156"/>
                    <a:gd name="T107" fmla="*/ 40 h 76"/>
                    <a:gd name="T108" fmla="*/ 104 w 156"/>
                    <a:gd name="T109" fmla="*/ 50 h 76"/>
                    <a:gd name="T110" fmla="*/ 100 w 156"/>
                    <a:gd name="T111" fmla="*/ 50 h 76"/>
                    <a:gd name="T112" fmla="*/ 88 w 156"/>
                    <a:gd name="T113" fmla="*/ 54 h 76"/>
                    <a:gd name="T114" fmla="*/ 86 w 156"/>
                    <a:gd name="T115" fmla="*/ 46 h 76"/>
                    <a:gd name="T116" fmla="*/ 78 w 156"/>
                    <a:gd name="T117" fmla="*/ 50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56" h="76">
                      <a:moveTo>
                        <a:pt x="78" y="50"/>
                      </a:moveTo>
                      <a:lnTo>
                        <a:pt x="78" y="54"/>
                      </a:lnTo>
                      <a:lnTo>
                        <a:pt x="74" y="54"/>
                      </a:lnTo>
                      <a:lnTo>
                        <a:pt x="74" y="58"/>
                      </a:lnTo>
                      <a:lnTo>
                        <a:pt x="72" y="58"/>
                      </a:lnTo>
                      <a:lnTo>
                        <a:pt x="68" y="58"/>
                      </a:lnTo>
                      <a:lnTo>
                        <a:pt x="64" y="62"/>
                      </a:lnTo>
                      <a:lnTo>
                        <a:pt x="64" y="66"/>
                      </a:lnTo>
                      <a:lnTo>
                        <a:pt x="68" y="66"/>
                      </a:lnTo>
                      <a:lnTo>
                        <a:pt x="68" y="68"/>
                      </a:lnTo>
                      <a:lnTo>
                        <a:pt x="64" y="68"/>
                      </a:lnTo>
                      <a:lnTo>
                        <a:pt x="60" y="68"/>
                      </a:lnTo>
                      <a:lnTo>
                        <a:pt x="56" y="68"/>
                      </a:lnTo>
                      <a:lnTo>
                        <a:pt x="56" y="72"/>
                      </a:lnTo>
                      <a:lnTo>
                        <a:pt x="52" y="72"/>
                      </a:lnTo>
                      <a:lnTo>
                        <a:pt x="48" y="72"/>
                      </a:lnTo>
                      <a:lnTo>
                        <a:pt x="44" y="72"/>
                      </a:lnTo>
                      <a:lnTo>
                        <a:pt x="42" y="72"/>
                      </a:lnTo>
                      <a:lnTo>
                        <a:pt x="42" y="76"/>
                      </a:lnTo>
                      <a:lnTo>
                        <a:pt x="42" y="72"/>
                      </a:lnTo>
                      <a:lnTo>
                        <a:pt x="38" y="72"/>
                      </a:lnTo>
                      <a:lnTo>
                        <a:pt x="34" y="72"/>
                      </a:lnTo>
                      <a:lnTo>
                        <a:pt x="34" y="68"/>
                      </a:lnTo>
                      <a:lnTo>
                        <a:pt x="30" y="68"/>
                      </a:lnTo>
                      <a:lnTo>
                        <a:pt x="34" y="68"/>
                      </a:lnTo>
                      <a:lnTo>
                        <a:pt x="30" y="66"/>
                      </a:lnTo>
                      <a:lnTo>
                        <a:pt x="30" y="68"/>
                      </a:lnTo>
                      <a:lnTo>
                        <a:pt x="26" y="68"/>
                      </a:lnTo>
                      <a:lnTo>
                        <a:pt x="22" y="72"/>
                      </a:lnTo>
                      <a:lnTo>
                        <a:pt x="22" y="68"/>
                      </a:lnTo>
                      <a:lnTo>
                        <a:pt x="18" y="68"/>
                      </a:lnTo>
                      <a:lnTo>
                        <a:pt x="18" y="66"/>
                      </a:lnTo>
                      <a:lnTo>
                        <a:pt x="14" y="66"/>
                      </a:lnTo>
                      <a:lnTo>
                        <a:pt x="14" y="68"/>
                      </a:lnTo>
                      <a:lnTo>
                        <a:pt x="12" y="68"/>
                      </a:lnTo>
                      <a:lnTo>
                        <a:pt x="8" y="68"/>
                      </a:lnTo>
                      <a:lnTo>
                        <a:pt x="4" y="68"/>
                      </a:lnTo>
                      <a:lnTo>
                        <a:pt x="0" y="68"/>
                      </a:lnTo>
                      <a:lnTo>
                        <a:pt x="0" y="66"/>
                      </a:lnTo>
                      <a:lnTo>
                        <a:pt x="0" y="62"/>
                      </a:lnTo>
                      <a:lnTo>
                        <a:pt x="0" y="58"/>
                      </a:lnTo>
                      <a:lnTo>
                        <a:pt x="0" y="62"/>
                      </a:lnTo>
                      <a:lnTo>
                        <a:pt x="4" y="62"/>
                      </a:lnTo>
                      <a:lnTo>
                        <a:pt x="4" y="58"/>
                      </a:lnTo>
                      <a:lnTo>
                        <a:pt x="8" y="58"/>
                      </a:lnTo>
                      <a:lnTo>
                        <a:pt x="12" y="54"/>
                      </a:lnTo>
                      <a:lnTo>
                        <a:pt x="14" y="58"/>
                      </a:lnTo>
                      <a:lnTo>
                        <a:pt x="18" y="58"/>
                      </a:lnTo>
                      <a:lnTo>
                        <a:pt x="18" y="62"/>
                      </a:lnTo>
                      <a:lnTo>
                        <a:pt x="14" y="62"/>
                      </a:lnTo>
                      <a:lnTo>
                        <a:pt x="18" y="62"/>
                      </a:lnTo>
                      <a:lnTo>
                        <a:pt x="18" y="58"/>
                      </a:lnTo>
                      <a:lnTo>
                        <a:pt x="22" y="58"/>
                      </a:lnTo>
                      <a:lnTo>
                        <a:pt x="22" y="54"/>
                      </a:lnTo>
                      <a:lnTo>
                        <a:pt x="26" y="54"/>
                      </a:lnTo>
                      <a:lnTo>
                        <a:pt x="30" y="54"/>
                      </a:lnTo>
                      <a:lnTo>
                        <a:pt x="34" y="58"/>
                      </a:lnTo>
                      <a:lnTo>
                        <a:pt x="38" y="54"/>
                      </a:lnTo>
                      <a:lnTo>
                        <a:pt x="42" y="50"/>
                      </a:lnTo>
                      <a:lnTo>
                        <a:pt x="44" y="50"/>
                      </a:lnTo>
                      <a:lnTo>
                        <a:pt x="44" y="46"/>
                      </a:lnTo>
                      <a:lnTo>
                        <a:pt x="44" y="50"/>
                      </a:lnTo>
                      <a:lnTo>
                        <a:pt x="48" y="50"/>
                      </a:lnTo>
                      <a:lnTo>
                        <a:pt x="48" y="46"/>
                      </a:lnTo>
                      <a:lnTo>
                        <a:pt x="52" y="46"/>
                      </a:lnTo>
                      <a:lnTo>
                        <a:pt x="52" y="42"/>
                      </a:lnTo>
                      <a:lnTo>
                        <a:pt x="56" y="42"/>
                      </a:lnTo>
                      <a:lnTo>
                        <a:pt x="52" y="42"/>
                      </a:lnTo>
                      <a:lnTo>
                        <a:pt x="48" y="42"/>
                      </a:lnTo>
                      <a:lnTo>
                        <a:pt x="44" y="40"/>
                      </a:lnTo>
                      <a:lnTo>
                        <a:pt x="42" y="40"/>
                      </a:lnTo>
                      <a:lnTo>
                        <a:pt x="42" y="36"/>
                      </a:lnTo>
                      <a:lnTo>
                        <a:pt x="38" y="36"/>
                      </a:lnTo>
                      <a:lnTo>
                        <a:pt x="38" y="32"/>
                      </a:lnTo>
                      <a:lnTo>
                        <a:pt x="34" y="28"/>
                      </a:lnTo>
                      <a:lnTo>
                        <a:pt x="34" y="32"/>
                      </a:lnTo>
                      <a:lnTo>
                        <a:pt x="34" y="36"/>
                      </a:lnTo>
                      <a:lnTo>
                        <a:pt x="30" y="36"/>
                      </a:lnTo>
                      <a:lnTo>
                        <a:pt x="30" y="32"/>
                      </a:lnTo>
                      <a:lnTo>
                        <a:pt x="30" y="36"/>
                      </a:lnTo>
                      <a:lnTo>
                        <a:pt x="30" y="40"/>
                      </a:lnTo>
                      <a:lnTo>
                        <a:pt x="26" y="36"/>
                      </a:lnTo>
                      <a:lnTo>
                        <a:pt x="22" y="36"/>
                      </a:lnTo>
                      <a:lnTo>
                        <a:pt x="22" y="32"/>
                      </a:lnTo>
                      <a:lnTo>
                        <a:pt x="18" y="32"/>
                      </a:lnTo>
                      <a:lnTo>
                        <a:pt x="14" y="32"/>
                      </a:lnTo>
                      <a:lnTo>
                        <a:pt x="12" y="32"/>
                      </a:lnTo>
                      <a:lnTo>
                        <a:pt x="12" y="28"/>
                      </a:lnTo>
                      <a:lnTo>
                        <a:pt x="14" y="28"/>
                      </a:lnTo>
                      <a:lnTo>
                        <a:pt x="14" y="24"/>
                      </a:lnTo>
                      <a:lnTo>
                        <a:pt x="18" y="24"/>
                      </a:lnTo>
                      <a:lnTo>
                        <a:pt x="18" y="20"/>
                      </a:lnTo>
                      <a:lnTo>
                        <a:pt x="22" y="20"/>
                      </a:lnTo>
                      <a:lnTo>
                        <a:pt x="26" y="16"/>
                      </a:lnTo>
                      <a:lnTo>
                        <a:pt x="26" y="14"/>
                      </a:lnTo>
                      <a:lnTo>
                        <a:pt x="22" y="16"/>
                      </a:lnTo>
                      <a:lnTo>
                        <a:pt x="22" y="14"/>
                      </a:lnTo>
                      <a:lnTo>
                        <a:pt x="26" y="10"/>
                      </a:lnTo>
                      <a:lnTo>
                        <a:pt x="26" y="6"/>
                      </a:lnTo>
                      <a:lnTo>
                        <a:pt x="30" y="6"/>
                      </a:lnTo>
                      <a:lnTo>
                        <a:pt x="34" y="6"/>
                      </a:lnTo>
                      <a:lnTo>
                        <a:pt x="38" y="6"/>
                      </a:lnTo>
                      <a:lnTo>
                        <a:pt x="42" y="6"/>
                      </a:lnTo>
                      <a:lnTo>
                        <a:pt x="44" y="6"/>
                      </a:lnTo>
                      <a:lnTo>
                        <a:pt x="48" y="6"/>
                      </a:lnTo>
                      <a:lnTo>
                        <a:pt x="48" y="10"/>
                      </a:lnTo>
                      <a:lnTo>
                        <a:pt x="52" y="10"/>
                      </a:lnTo>
                      <a:lnTo>
                        <a:pt x="56" y="10"/>
                      </a:lnTo>
                      <a:lnTo>
                        <a:pt x="56" y="14"/>
                      </a:lnTo>
                      <a:lnTo>
                        <a:pt x="60" y="14"/>
                      </a:lnTo>
                      <a:lnTo>
                        <a:pt x="60" y="10"/>
                      </a:lnTo>
                      <a:lnTo>
                        <a:pt x="60" y="6"/>
                      </a:lnTo>
                      <a:lnTo>
                        <a:pt x="60" y="4"/>
                      </a:lnTo>
                      <a:lnTo>
                        <a:pt x="60" y="0"/>
                      </a:lnTo>
                      <a:lnTo>
                        <a:pt x="64" y="0"/>
                      </a:lnTo>
                      <a:lnTo>
                        <a:pt x="68" y="0"/>
                      </a:lnTo>
                      <a:lnTo>
                        <a:pt x="72" y="0"/>
                      </a:lnTo>
                      <a:lnTo>
                        <a:pt x="74" y="0"/>
                      </a:lnTo>
                      <a:lnTo>
                        <a:pt x="78" y="4"/>
                      </a:lnTo>
                      <a:lnTo>
                        <a:pt x="82" y="4"/>
                      </a:lnTo>
                      <a:lnTo>
                        <a:pt x="86" y="4"/>
                      </a:lnTo>
                      <a:lnTo>
                        <a:pt x="86" y="6"/>
                      </a:lnTo>
                      <a:lnTo>
                        <a:pt x="88" y="6"/>
                      </a:lnTo>
                      <a:lnTo>
                        <a:pt x="92" y="4"/>
                      </a:lnTo>
                      <a:lnTo>
                        <a:pt x="96" y="4"/>
                      </a:lnTo>
                      <a:lnTo>
                        <a:pt x="100" y="4"/>
                      </a:lnTo>
                      <a:lnTo>
                        <a:pt x="104" y="4"/>
                      </a:lnTo>
                      <a:lnTo>
                        <a:pt x="108" y="4"/>
                      </a:lnTo>
                      <a:lnTo>
                        <a:pt x="112" y="4"/>
                      </a:lnTo>
                      <a:lnTo>
                        <a:pt x="116" y="4"/>
                      </a:lnTo>
                      <a:lnTo>
                        <a:pt x="118" y="4"/>
                      </a:lnTo>
                      <a:lnTo>
                        <a:pt x="122" y="4"/>
                      </a:lnTo>
                      <a:lnTo>
                        <a:pt x="126" y="4"/>
                      </a:lnTo>
                      <a:lnTo>
                        <a:pt x="130" y="4"/>
                      </a:lnTo>
                      <a:lnTo>
                        <a:pt x="134" y="6"/>
                      </a:lnTo>
                      <a:lnTo>
                        <a:pt x="138" y="6"/>
                      </a:lnTo>
                      <a:lnTo>
                        <a:pt x="142" y="6"/>
                      </a:lnTo>
                      <a:lnTo>
                        <a:pt x="142" y="10"/>
                      </a:lnTo>
                      <a:lnTo>
                        <a:pt x="142" y="14"/>
                      </a:lnTo>
                      <a:lnTo>
                        <a:pt x="146" y="14"/>
                      </a:lnTo>
                      <a:lnTo>
                        <a:pt x="148" y="14"/>
                      </a:lnTo>
                      <a:lnTo>
                        <a:pt x="152" y="14"/>
                      </a:lnTo>
                      <a:lnTo>
                        <a:pt x="152" y="16"/>
                      </a:lnTo>
                      <a:lnTo>
                        <a:pt x="156" y="16"/>
                      </a:lnTo>
                      <a:lnTo>
                        <a:pt x="156" y="20"/>
                      </a:lnTo>
                      <a:lnTo>
                        <a:pt x="152" y="20"/>
                      </a:lnTo>
                      <a:lnTo>
                        <a:pt x="148" y="20"/>
                      </a:lnTo>
                      <a:lnTo>
                        <a:pt x="148" y="24"/>
                      </a:lnTo>
                      <a:lnTo>
                        <a:pt x="146" y="24"/>
                      </a:lnTo>
                      <a:lnTo>
                        <a:pt x="142" y="24"/>
                      </a:lnTo>
                      <a:lnTo>
                        <a:pt x="138" y="24"/>
                      </a:lnTo>
                      <a:lnTo>
                        <a:pt x="138" y="28"/>
                      </a:lnTo>
                      <a:lnTo>
                        <a:pt x="134" y="28"/>
                      </a:lnTo>
                      <a:lnTo>
                        <a:pt x="130" y="32"/>
                      </a:lnTo>
                      <a:lnTo>
                        <a:pt x="126" y="32"/>
                      </a:lnTo>
                      <a:lnTo>
                        <a:pt x="126" y="36"/>
                      </a:lnTo>
                      <a:lnTo>
                        <a:pt x="126" y="40"/>
                      </a:lnTo>
                      <a:lnTo>
                        <a:pt x="122" y="40"/>
                      </a:lnTo>
                      <a:lnTo>
                        <a:pt x="118" y="40"/>
                      </a:lnTo>
                      <a:lnTo>
                        <a:pt x="116" y="40"/>
                      </a:lnTo>
                      <a:lnTo>
                        <a:pt x="112" y="40"/>
                      </a:lnTo>
                      <a:lnTo>
                        <a:pt x="108" y="40"/>
                      </a:lnTo>
                      <a:lnTo>
                        <a:pt x="104" y="40"/>
                      </a:lnTo>
                      <a:lnTo>
                        <a:pt x="104" y="46"/>
                      </a:lnTo>
                      <a:lnTo>
                        <a:pt x="104" y="50"/>
                      </a:lnTo>
                      <a:lnTo>
                        <a:pt x="100" y="50"/>
                      </a:lnTo>
                      <a:lnTo>
                        <a:pt x="100" y="54"/>
                      </a:lnTo>
                      <a:lnTo>
                        <a:pt x="100" y="50"/>
                      </a:lnTo>
                      <a:lnTo>
                        <a:pt x="96" y="50"/>
                      </a:lnTo>
                      <a:lnTo>
                        <a:pt x="92" y="54"/>
                      </a:lnTo>
                      <a:lnTo>
                        <a:pt x="88" y="54"/>
                      </a:lnTo>
                      <a:lnTo>
                        <a:pt x="88" y="50"/>
                      </a:lnTo>
                      <a:lnTo>
                        <a:pt x="88" y="46"/>
                      </a:lnTo>
                      <a:lnTo>
                        <a:pt x="86" y="46"/>
                      </a:lnTo>
                      <a:lnTo>
                        <a:pt x="86" y="50"/>
                      </a:lnTo>
                      <a:lnTo>
                        <a:pt x="82" y="50"/>
                      </a:lnTo>
                      <a:lnTo>
                        <a:pt x="78" y="50"/>
                      </a:lnTo>
                      <a:lnTo>
                        <a:pt x="78" y="50"/>
                      </a:lnTo>
                      <a:lnTo>
                        <a:pt x="78" y="5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8" name="Freeform 37"/>
                <p:cNvSpPr>
                  <a:spLocks/>
                </p:cNvSpPr>
                <p:nvPr/>
              </p:nvSpPr>
              <p:spPr bwMode="auto">
                <a:xfrm>
                  <a:off x="6638925" y="3943418"/>
                  <a:ext cx="174625" cy="234950"/>
                </a:xfrm>
                <a:custGeom>
                  <a:avLst/>
                  <a:gdLst>
                    <a:gd name="T0" fmla="*/ 54 w 110"/>
                    <a:gd name="T1" fmla="*/ 72 h 148"/>
                    <a:gd name="T2" fmla="*/ 46 w 110"/>
                    <a:gd name="T3" fmla="*/ 72 h 148"/>
                    <a:gd name="T4" fmla="*/ 34 w 110"/>
                    <a:gd name="T5" fmla="*/ 80 h 148"/>
                    <a:gd name="T6" fmla="*/ 26 w 110"/>
                    <a:gd name="T7" fmla="*/ 72 h 148"/>
                    <a:gd name="T8" fmla="*/ 20 w 110"/>
                    <a:gd name="T9" fmla="*/ 80 h 148"/>
                    <a:gd name="T10" fmla="*/ 12 w 110"/>
                    <a:gd name="T11" fmla="*/ 88 h 148"/>
                    <a:gd name="T12" fmla="*/ 16 w 110"/>
                    <a:gd name="T13" fmla="*/ 76 h 148"/>
                    <a:gd name="T14" fmla="*/ 16 w 110"/>
                    <a:gd name="T15" fmla="*/ 62 h 148"/>
                    <a:gd name="T16" fmla="*/ 16 w 110"/>
                    <a:gd name="T17" fmla="*/ 54 h 148"/>
                    <a:gd name="T18" fmla="*/ 4 w 110"/>
                    <a:gd name="T19" fmla="*/ 50 h 148"/>
                    <a:gd name="T20" fmla="*/ 4 w 110"/>
                    <a:gd name="T21" fmla="*/ 40 h 148"/>
                    <a:gd name="T22" fmla="*/ 0 w 110"/>
                    <a:gd name="T23" fmla="*/ 36 h 148"/>
                    <a:gd name="T24" fmla="*/ 8 w 110"/>
                    <a:gd name="T25" fmla="*/ 30 h 148"/>
                    <a:gd name="T26" fmla="*/ 8 w 110"/>
                    <a:gd name="T27" fmla="*/ 22 h 148"/>
                    <a:gd name="T28" fmla="*/ 16 w 110"/>
                    <a:gd name="T29" fmla="*/ 14 h 148"/>
                    <a:gd name="T30" fmla="*/ 24 w 110"/>
                    <a:gd name="T31" fmla="*/ 22 h 148"/>
                    <a:gd name="T32" fmla="*/ 24 w 110"/>
                    <a:gd name="T33" fmla="*/ 22 h 148"/>
                    <a:gd name="T34" fmla="*/ 20 w 110"/>
                    <a:gd name="T35" fmla="*/ 4 h 148"/>
                    <a:gd name="T36" fmla="*/ 30 w 110"/>
                    <a:gd name="T37" fmla="*/ 0 h 148"/>
                    <a:gd name="T38" fmla="*/ 38 w 110"/>
                    <a:gd name="T39" fmla="*/ 10 h 148"/>
                    <a:gd name="T40" fmla="*/ 38 w 110"/>
                    <a:gd name="T41" fmla="*/ 18 h 148"/>
                    <a:gd name="T42" fmla="*/ 42 w 110"/>
                    <a:gd name="T43" fmla="*/ 26 h 148"/>
                    <a:gd name="T44" fmla="*/ 50 w 110"/>
                    <a:gd name="T45" fmla="*/ 32 h 148"/>
                    <a:gd name="T46" fmla="*/ 60 w 110"/>
                    <a:gd name="T47" fmla="*/ 30 h 148"/>
                    <a:gd name="T48" fmla="*/ 68 w 110"/>
                    <a:gd name="T49" fmla="*/ 40 h 148"/>
                    <a:gd name="T50" fmla="*/ 64 w 110"/>
                    <a:gd name="T51" fmla="*/ 50 h 148"/>
                    <a:gd name="T52" fmla="*/ 56 w 110"/>
                    <a:gd name="T53" fmla="*/ 50 h 148"/>
                    <a:gd name="T54" fmla="*/ 54 w 110"/>
                    <a:gd name="T55" fmla="*/ 54 h 148"/>
                    <a:gd name="T56" fmla="*/ 64 w 110"/>
                    <a:gd name="T57" fmla="*/ 66 h 148"/>
                    <a:gd name="T58" fmla="*/ 72 w 110"/>
                    <a:gd name="T59" fmla="*/ 72 h 148"/>
                    <a:gd name="T60" fmla="*/ 80 w 110"/>
                    <a:gd name="T61" fmla="*/ 80 h 148"/>
                    <a:gd name="T62" fmla="*/ 86 w 110"/>
                    <a:gd name="T63" fmla="*/ 88 h 148"/>
                    <a:gd name="T64" fmla="*/ 90 w 110"/>
                    <a:gd name="T65" fmla="*/ 98 h 148"/>
                    <a:gd name="T66" fmla="*/ 98 w 110"/>
                    <a:gd name="T67" fmla="*/ 102 h 148"/>
                    <a:gd name="T68" fmla="*/ 106 w 110"/>
                    <a:gd name="T69" fmla="*/ 110 h 148"/>
                    <a:gd name="T70" fmla="*/ 102 w 110"/>
                    <a:gd name="T71" fmla="*/ 122 h 148"/>
                    <a:gd name="T72" fmla="*/ 106 w 110"/>
                    <a:gd name="T73" fmla="*/ 128 h 148"/>
                    <a:gd name="T74" fmla="*/ 102 w 110"/>
                    <a:gd name="T75" fmla="*/ 140 h 148"/>
                    <a:gd name="T76" fmla="*/ 90 w 110"/>
                    <a:gd name="T77" fmla="*/ 140 h 148"/>
                    <a:gd name="T78" fmla="*/ 86 w 110"/>
                    <a:gd name="T79" fmla="*/ 144 h 148"/>
                    <a:gd name="T80" fmla="*/ 80 w 110"/>
                    <a:gd name="T81" fmla="*/ 144 h 148"/>
                    <a:gd name="T82" fmla="*/ 72 w 110"/>
                    <a:gd name="T83" fmla="*/ 144 h 148"/>
                    <a:gd name="T84" fmla="*/ 76 w 110"/>
                    <a:gd name="T85" fmla="*/ 132 h 148"/>
                    <a:gd name="T86" fmla="*/ 80 w 110"/>
                    <a:gd name="T87" fmla="*/ 124 h 148"/>
                    <a:gd name="T88" fmla="*/ 76 w 110"/>
                    <a:gd name="T89" fmla="*/ 114 h 148"/>
                    <a:gd name="T90" fmla="*/ 68 w 110"/>
                    <a:gd name="T91" fmla="*/ 102 h 148"/>
                    <a:gd name="T92" fmla="*/ 64 w 110"/>
                    <a:gd name="T93" fmla="*/ 96 h 148"/>
                    <a:gd name="T94" fmla="*/ 64 w 110"/>
                    <a:gd name="T95" fmla="*/ 88 h 148"/>
                    <a:gd name="T96" fmla="*/ 60 w 110"/>
                    <a:gd name="T97" fmla="*/ 80 h 1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10" h="148">
                      <a:moveTo>
                        <a:pt x="60" y="80"/>
                      </a:moveTo>
                      <a:lnTo>
                        <a:pt x="56" y="76"/>
                      </a:lnTo>
                      <a:lnTo>
                        <a:pt x="56" y="72"/>
                      </a:lnTo>
                      <a:lnTo>
                        <a:pt x="54" y="72"/>
                      </a:lnTo>
                      <a:lnTo>
                        <a:pt x="50" y="72"/>
                      </a:lnTo>
                      <a:lnTo>
                        <a:pt x="50" y="70"/>
                      </a:lnTo>
                      <a:lnTo>
                        <a:pt x="46" y="70"/>
                      </a:lnTo>
                      <a:lnTo>
                        <a:pt x="46" y="72"/>
                      </a:lnTo>
                      <a:lnTo>
                        <a:pt x="42" y="76"/>
                      </a:lnTo>
                      <a:lnTo>
                        <a:pt x="38" y="76"/>
                      </a:lnTo>
                      <a:lnTo>
                        <a:pt x="38" y="80"/>
                      </a:lnTo>
                      <a:lnTo>
                        <a:pt x="34" y="80"/>
                      </a:lnTo>
                      <a:lnTo>
                        <a:pt x="34" y="76"/>
                      </a:lnTo>
                      <a:lnTo>
                        <a:pt x="30" y="76"/>
                      </a:lnTo>
                      <a:lnTo>
                        <a:pt x="30" y="72"/>
                      </a:lnTo>
                      <a:lnTo>
                        <a:pt x="26" y="72"/>
                      </a:lnTo>
                      <a:lnTo>
                        <a:pt x="26" y="76"/>
                      </a:lnTo>
                      <a:lnTo>
                        <a:pt x="24" y="76"/>
                      </a:lnTo>
                      <a:lnTo>
                        <a:pt x="24" y="80"/>
                      </a:lnTo>
                      <a:lnTo>
                        <a:pt x="20" y="80"/>
                      </a:lnTo>
                      <a:lnTo>
                        <a:pt x="20" y="84"/>
                      </a:lnTo>
                      <a:lnTo>
                        <a:pt x="16" y="84"/>
                      </a:lnTo>
                      <a:lnTo>
                        <a:pt x="16" y="88"/>
                      </a:lnTo>
                      <a:lnTo>
                        <a:pt x="12" y="88"/>
                      </a:lnTo>
                      <a:lnTo>
                        <a:pt x="12" y="84"/>
                      </a:lnTo>
                      <a:lnTo>
                        <a:pt x="12" y="80"/>
                      </a:lnTo>
                      <a:lnTo>
                        <a:pt x="16" y="80"/>
                      </a:lnTo>
                      <a:lnTo>
                        <a:pt x="16" y="76"/>
                      </a:lnTo>
                      <a:lnTo>
                        <a:pt x="16" y="72"/>
                      </a:lnTo>
                      <a:lnTo>
                        <a:pt x="16" y="70"/>
                      </a:lnTo>
                      <a:lnTo>
                        <a:pt x="16" y="66"/>
                      </a:lnTo>
                      <a:lnTo>
                        <a:pt x="16" y="62"/>
                      </a:lnTo>
                      <a:lnTo>
                        <a:pt x="20" y="62"/>
                      </a:lnTo>
                      <a:lnTo>
                        <a:pt x="20" y="58"/>
                      </a:lnTo>
                      <a:lnTo>
                        <a:pt x="16" y="58"/>
                      </a:lnTo>
                      <a:lnTo>
                        <a:pt x="16" y="54"/>
                      </a:lnTo>
                      <a:lnTo>
                        <a:pt x="16" y="50"/>
                      </a:lnTo>
                      <a:lnTo>
                        <a:pt x="12" y="50"/>
                      </a:lnTo>
                      <a:lnTo>
                        <a:pt x="8" y="50"/>
                      </a:lnTo>
                      <a:lnTo>
                        <a:pt x="4" y="50"/>
                      </a:lnTo>
                      <a:lnTo>
                        <a:pt x="4" y="46"/>
                      </a:lnTo>
                      <a:lnTo>
                        <a:pt x="8" y="44"/>
                      </a:lnTo>
                      <a:lnTo>
                        <a:pt x="8" y="40"/>
                      </a:lnTo>
                      <a:lnTo>
                        <a:pt x="4" y="40"/>
                      </a:lnTo>
                      <a:lnTo>
                        <a:pt x="4" y="36"/>
                      </a:lnTo>
                      <a:lnTo>
                        <a:pt x="0" y="36"/>
                      </a:lnTo>
                      <a:lnTo>
                        <a:pt x="0" y="40"/>
                      </a:lnTo>
                      <a:lnTo>
                        <a:pt x="0" y="36"/>
                      </a:lnTo>
                      <a:lnTo>
                        <a:pt x="0" y="32"/>
                      </a:lnTo>
                      <a:lnTo>
                        <a:pt x="0" y="30"/>
                      </a:lnTo>
                      <a:lnTo>
                        <a:pt x="4" y="30"/>
                      </a:lnTo>
                      <a:lnTo>
                        <a:pt x="8" y="30"/>
                      </a:lnTo>
                      <a:lnTo>
                        <a:pt x="4" y="30"/>
                      </a:lnTo>
                      <a:lnTo>
                        <a:pt x="4" y="26"/>
                      </a:lnTo>
                      <a:lnTo>
                        <a:pt x="8" y="26"/>
                      </a:lnTo>
                      <a:lnTo>
                        <a:pt x="8" y="22"/>
                      </a:lnTo>
                      <a:lnTo>
                        <a:pt x="12" y="22"/>
                      </a:lnTo>
                      <a:lnTo>
                        <a:pt x="12" y="18"/>
                      </a:lnTo>
                      <a:lnTo>
                        <a:pt x="16" y="18"/>
                      </a:lnTo>
                      <a:lnTo>
                        <a:pt x="16" y="14"/>
                      </a:lnTo>
                      <a:lnTo>
                        <a:pt x="16" y="18"/>
                      </a:lnTo>
                      <a:lnTo>
                        <a:pt x="16" y="22"/>
                      </a:lnTo>
                      <a:lnTo>
                        <a:pt x="20" y="22"/>
                      </a:lnTo>
                      <a:lnTo>
                        <a:pt x="24" y="22"/>
                      </a:lnTo>
                      <a:lnTo>
                        <a:pt x="24" y="26"/>
                      </a:lnTo>
                      <a:lnTo>
                        <a:pt x="24" y="22"/>
                      </a:lnTo>
                      <a:lnTo>
                        <a:pt x="26" y="22"/>
                      </a:lnTo>
                      <a:lnTo>
                        <a:pt x="24" y="22"/>
                      </a:lnTo>
                      <a:lnTo>
                        <a:pt x="24" y="18"/>
                      </a:lnTo>
                      <a:lnTo>
                        <a:pt x="24" y="14"/>
                      </a:lnTo>
                      <a:lnTo>
                        <a:pt x="24" y="10"/>
                      </a:lnTo>
                      <a:lnTo>
                        <a:pt x="20" y="4"/>
                      </a:lnTo>
                      <a:lnTo>
                        <a:pt x="24" y="4"/>
                      </a:lnTo>
                      <a:lnTo>
                        <a:pt x="24" y="0"/>
                      </a:lnTo>
                      <a:lnTo>
                        <a:pt x="26" y="0"/>
                      </a:lnTo>
                      <a:lnTo>
                        <a:pt x="30" y="0"/>
                      </a:lnTo>
                      <a:lnTo>
                        <a:pt x="30" y="4"/>
                      </a:lnTo>
                      <a:lnTo>
                        <a:pt x="34" y="6"/>
                      </a:lnTo>
                      <a:lnTo>
                        <a:pt x="34" y="10"/>
                      </a:lnTo>
                      <a:lnTo>
                        <a:pt x="38" y="10"/>
                      </a:lnTo>
                      <a:lnTo>
                        <a:pt x="38" y="14"/>
                      </a:lnTo>
                      <a:lnTo>
                        <a:pt x="42" y="14"/>
                      </a:lnTo>
                      <a:lnTo>
                        <a:pt x="42" y="18"/>
                      </a:lnTo>
                      <a:lnTo>
                        <a:pt x="38" y="18"/>
                      </a:lnTo>
                      <a:lnTo>
                        <a:pt x="42" y="18"/>
                      </a:lnTo>
                      <a:lnTo>
                        <a:pt x="38" y="22"/>
                      </a:lnTo>
                      <a:lnTo>
                        <a:pt x="42" y="22"/>
                      </a:lnTo>
                      <a:lnTo>
                        <a:pt x="42" y="26"/>
                      </a:lnTo>
                      <a:lnTo>
                        <a:pt x="42" y="30"/>
                      </a:lnTo>
                      <a:lnTo>
                        <a:pt x="46" y="30"/>
                      </a:lnTo>
                      <a:lnTo>
                        <a:pt x="50" y="30"/>
                      </a:lnTo>
                      <a:lnTo>
                        <a:pt x="50" y="32"/>
                      </a:lnTo>
                      <a:lnTo>
                        <a:pt x="54" y="32"/>
                      </a:lnTo>
                      <a:lnTo>
                        <a:pt x="54" y="30"/>
                      </a:lnTo>
                      <a:lnTo>
                        <a:pt x="56" y="26"/>
                      </a:lnTo>
                      <a:lnTo>
                        <a:pt x="60" y="30"/>
                      </a:lnTo>
                      <a:lnTo>
                        <a:pt x="64" y="32"/>
                      </a:lnTo>
                      <a:lnTo>
                        <a:pt x="60" y="36"/>
                      </a:lnTo>
                      <a:lnTo>
                        <a:pt x="64" y="36"/>
                      </a:lnTo>
                      <a:lnTo>
                        <a:pt x="68" y="40"/>
                      </a:lnTo>
                      <a:lnTo>
                        <a:pt x="68" y="44"/>
                      </a:lnTo>
                      <a:lnTo>
                        <a:pt x="68" y="46"/>
                      </a:lnTo>
                      <a:lnTo>
                        <a:pt x="64" y="46"/>
                      </a:lnTo>
                      <a:lnTo>
                        <a:pt x="64" y="50"/>
                      </a:lnTo>
                      <a:lnTo>
                        <a:pt x="60" y="50"/>
                      </a:lnTo>
                      <a:lnTo>
                        <a:pt x="60" y="46"/>
                      </a:lnTo>
                      <a:lnTo>
                        <a:pt x="56" y="46"/>
                      </a:lnTo>
                      <a:lnTo>
                        <a:pt x="56" y="50"/>
                      </a:lnTo>
                      <a:lnTo>
                        <a:pt x="56" y="46"/>
                      </a:lnTo>
                      <a:lnTo>
                        <a:pt x="56" y="50"/>
                      </a:lnTo>
                      <a:lnTo>
                        <a:pt x="56" y="54"/>
                      </a:lnTo>
                      <a:lnTo>
                        <a:pt x="54" y="54"/>
                      </a:lnTo>
                      <a:lnTo>
                        <a:pt x="56" y="58"/>
                      </a:lnTo>
                      <a:lnTo>
                        <a:pt x="60" y="58"/>
                      </a:lnTo>
                      <a:lnTo>
                        <a:pt x="64" y="62"/>
                      </a:lnTo>
                      <a:lnTo>
                        <a:pt x="64" y="66"/>
                      </a:lnTo>
                      <a:lnTo>
                        <a:pt x="68" y="66"/>
                      </a:lnTo>
                      <a:lnTo>
                        <a:pt x="72" y="66"/>
                      </a:lnTo>
                      <a:lnTo>
                        <a:pt x="72" y="70"/>
                      </a:lnTo>
                      <a:lnTo>
                        <a:pt x="72" y="72"/>
                      </a:lnTo>
                      <a:lnTo>
                        <a:pt x="76" y="72"/>
                      </a:lnTo>
                      <a:lnTo>
                        <a:pt x="76" y="76"/>
                      </a:lnTo>
                      <a:lnTo>
                        <a:pt x="80" y="76"/>
                      </a:lnTo>
                      <a:lnTo>
                        <a:pt x="80" y="80"/>
                      </a:lnTo>
                      <a:lnTo>
                        <a:pt x="80" y="84"/>
                      </a:lnTo>
                      <a:lnTo>
                        <a:pt x="84" y="84"/>
                      </a:lnTo>
                      <a:lnTo>
                        <a:pt x="84" y="88"/>
                      </a:lnTo>
                      <a:lnTo>
                        <a:pt x="86" y="88"/>
                      </a:lnTo>
                      <a:lnTo>
                        <a:pt x="86" y="92"/>
                      </a:lnTo>
                      <a:lnTo>
                        <a:pt x="90" y="92"/>
                      </a:lnTo>
                      <a:lnTo>
                        <a:pt x="90" y="96"/>
                      </a:lnTo>
                      <a:lnTo>
                        <a:pt x="90" y="98"/>
                      </a:lnTo>
                      <a:lnTo>
                        <a:pt x="90" y="102"/>
                      </a:lnTo>
                      <a:lnTo>
                        <a:pt x="94" y="106"/>
                      </a:lnTo>
                      <a:lnTo>
                        <a:pt x="94" y="102"/>
                      </a:lnTo>
                      <a:lnTo>
                        <a:pt x="98" y="102"/>
                      </a:lnTo>
                      <a:lnTo>
                        <a:pt x="98" y="106"/>
                      </a:lnTo>
                      <a:lnTo>
                        <a:pt x="102" y="106"/>
                      </a:lnTo>
                      <a:lnTo>
                        <a:pt x="102" y="110"/>
                      </a:lnTo>
                      <a:lnTo>
                        <a:pt x="106" y="110"/>
                      </a:lnTo>
                      <a:lnTo>
                        <a:pt x="106" y="114"/>
                      </a:lnTo>
                      <a:lnTo>
                        <a:pt x="102" y="114"/>
                      </a:lnTo>
                      <a:lnTo>
                        <a:pt x="102" y="118"/>
                      </a:lnTo>
                      <a:lnTo>
                        <a:pt x="102" y="122"/>
                      </a:lnTo>
                      <a:lnTo>
                        <a:pt x="106" y="122"/>
                      </a:lnTo>
                      <a:lnTo>
                        <a:pt x="106" y="124"/>
                      </a:lnTo>
                      <a:lnTo>
                        <a:pt x="110" y="124"/>
                      </a:lnTo>
                      <a:lnTo>
                        <a:pt x="106" y="128"/>
                      </a:lnTo>
                      <a:lnTo>
                        <a:pt x="106" y="132"/>
                      </a:lnTo>
                      <a:lnTo>
                        <a:pt x="106" y="136"/>
                      </a:lnTo>
                      <a:lnTo>
                        <a:pt x="102" y="136"/>
                      </a:lnTo>
                      <a:lnTo>
                        <a:pt x="102" y="140"/>
                      </a:lnTo>
                      <a:lnTo>
                        <a:pt x="94" y="144"/>
                      </a:lnTo>
                      <a:lnTo>
                        <a:pt x="94" y="140"/>
                      </a:lnTo>
                      <a:lnTo>
                        <a:pt x="90" y="136"/>
                      </a:lnTo>
                      <a:lnTo>
                        <a:pt x="90" y="140"/>
                      </a:lnTo>
                      <a:lnTo>
                        <a:pt x="86" y="140"/>
                      </a:lnTo>
                      <a:lnTo>
                        <a:pt x="84" y="140"/>
                      </a:lnTo>
                      <a:lnTo>
                        <a:pt x="84" y="144"/>
                      </a:lnTo>
                      <a:lnTo>
                        <a:pt x="86" y="144"/>
                      </a:lnTo>
                      <a:lnTo>
                        <a:pt x="86" y="148"/>
                      </a:lnTo>
                      <a:lnTo>
                        <a:pt x="84" y="148"/>
                      </a:lnTo>
                      <a:lnTo>
                        <a:pt x="80" y="148"/>
                      </a:lnTo>
                      <a:lnTo>
                        <a:pt x="80" y="144"/>
                      </a:lnTo>
                      <a:lnTo>
                        <a:pt x="76" y="144"/>
                      </a:lnTo>
                      <a:lnTo>
                        <a:pt x="76" y="148"/>
                      </a:lnTo>
                      <a:lnTo>
                        <a:pt x="76" y="144"/>
                      </a:lnTo>
                      <a:lnTo>
                        <a:pt x="72" y="144"/>
                      </a:lnTo>
                      <a:lnTo>
                        <a:pt x="72" y="140"/>
                      </a:lnTo>
                      <a:lnTo>
                        <a:pt x="76" y="140"/>
                      </a:lnTo>
                      <a:lnTo>
                        <a:pt x="76" y="136"/>
                      </a:lnTo>
                      <a:lnTo>
                        <a:pt x="76" y="132"/>
                      </a:lnTo>
                      <a:lnTo>
                        <a:pt x="80" y="132"/>
                      </a:lnTo>
                      <a:lnTo>
                        <a:pt x="80" y="128"/>
                      </a:lnTo>
                      <a:lnTo>
                        <a:pt x="76" y="128"/>
                      </a:lnTo>
                      <a:lnTo>
                        <a:pt x="80" y="124"/>
                      </a:lnTo>
                      <a:lnTo>
                        <a:pt x="80" y="122"/>
                      </a:lnTo>
                      <a:lnTo>
                        <a:pt x="80" y="118"/>
                      </a:lnTo>
                      <a:lnTo>
                        <a:pt x="76" y="118"/>
                      </a:lnTo>
                      <a:lnTo>
                        <a:pt x="76" y="114"/>
                      </a:lnTo>
                      <a:lnTo>
                        <a:pt x="72" y="114"/>
                      </a:lnTo>
                      <a:lnTo>
                        <a:pt x="72" y="110"/>
                      </a:lnTo>
                      <a:lnTo>
                        <a:pt x="68" y="106"/>
                      </a:lnTo>
                      <a:lnTo>
                        <a:pt x="68" y="102"/>
                      </a:lnTo>
                      <a:lnTo>
                        <a:pt x="64" y="102"/>
                      </a:lnTo>
                      <a:lnTo>
                        <a:pt x="68" y="102"/>
                      </a:lnTo>
                      <a:lnTo>
                        <a:pt x="68" y="98"/>
                      </a:lnTo>
                      <a:lnTo>
                        <a:pt x="64" y="96"/>
                      </a:lnTo>
                      <a:lnTo>
                        <a:pt x="68" y="96"/>
                      </a:lnTo>
                      <a:lnTo>
                        <a:pt x="68" y="92"/>
                      </a:lnTo>
                      <a:lnTo>
                        <a:pt x="68" y="88"/>
                      </a:lnTo>
                      <a:lnTo>
                        <a:pt x="64" y="88"/>
                      </a:lnTo>
                      <a:lnTo>
                        <a:pt x="64" y="84"/>
                      </a:lnTo>
                      <a:lnTo>
                        <a:pt x="60" y="84"/>
                      </a:lnTo>
                      <a:lnTo>
                        <a:pt x="60" y="80"/>
                      </a:lnTo>
                      <a:lnTo>
                        <a:pt x="60" y="80"/>
                      </a:lnTo>
                      <a:lnTo>
                        <a:pt x="60" y="8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9" name="Freeform 38"/>
                <p:cNvSpPr>
                  <a:spLocks/>
                </p:cNvSpPr>
                <p:nvPr/>
              </p:nvSpPr>
              <p:spPr bwMode="auto">
                <a:xfrm>
                  <a:off x="5181600" y="3590993"/>
                  <a:ext cx="34925" cy="47625"/>
                </a:xfrm>
                <a:custGeom>
                  <a:avLst/>
                  <a:gdLst>
                    <a:gd name="T0" fmla="*/ 14 w 22"/>
                    <a:gd name="T1" fmla="*/ 0 h 30"/>
                    <a:gd name="T2" fmla="*/ 14 w 22"/>
                    <a:gd name="T3" fmla="*/ 0 h 30"/>
                    <a:gd name="T4" fmla="*/ 14 w 22"/>
                    <a:gd name="T5" fmla="*/ 0 h 30"/>
                    <a:gd name="T6" fmla="*/ 18 w 22"/>
                    <a:gd name="T7" fmla="*/ 0 h 30"/>
                    <a:gd name="T8" fmla="*/ 18 w 22"/>
                    <a:gd name="T9" fmla="*/ 0 h 30"/>
                    <a:gd name="T10" fmla="*/ 18 w 22"/>
                    <a:gd name="T11" fmla="*/ 0 h 30"/>
                    <a:gd name="T12" fmla="*/ 18 w 22"/>
                    <a:gd name="T13" fmla="*/ 0 h 30"/>
                    <a:gd name="T14" fmla="*/ 22 w 22"/>
                    <a:gd name="T15" fmla="*/ 4 h 30"/>
                    <a:gd name="T16" fmla="*/ 22 w 22"/>
                    <a:gd name="T17" fmla="*/ 8 h 30"/>
                    <a:gd name="T18" fmla="*/ 22 w 22"/>
                    <a:gd name="T19" fmla="*/ 8 h 30"/>
                    <a:gd name="T20" fmla="*/ 18 w 22"/>
                    <a:gd name="T21" fmla="*/ 12 h 30"/>
                    <a:gd name="T22" fmla="*/ 18 w 22"/>
                    <a:gd name="T23" fmla="*/ 12 h 30"/>
                    <a:gd name="T24" fmla="*/ 18 w 22"/>
                    <a:gd name="T25" fmla="*/ 16 h 30"/>
                    <a:gd name="T26" fmla="*/ 18 w 22"/>
                    <a:gd name="T27" fmla="*/ 16 h 30"/>
                    <a:gd name="T28" fmla="*/ 18 w 22"/>
                    <a:gd name="T29" fmla="*/ 16 h 30"/>
                    <a:gd name="T30" fmla="*/ 14 w 22"/>
                    <a:gd name="T31" fmla="*/ 16 h 30"/>
                    <a:gd name="T32" fmla="*/ 10 w 22"/>
                    <a:gd name="T33" fmla="*/ 20 h 30"/>
                    <a:gd name="T34" fmla="*/ 14 w 22"/>
                    <a:gd name="T35" fmla="*/ 20 h 30"/>
                    <a:gd name="T36" fmla="*/ 14 w 22"/>
                    <a:gd name="T37" fmla="*/ 20 h 30"/>
                    <a:gd name="T38" fmla="*/ 10 w 22"/>
                    <a:gd name="T39" fmla="*/ 22 h 30"/>
                    <a:gd name="T40" fmla="*/ 10 w 22"/>
                    <a:gd name="T41" fmla="*/ 22 h 30"/>
                    <a:gd name="T42" fmla="*/ 10 w 22"/>
                    <a:gd name="T43" fmla="*/ 22 h 30"/>
                    <a:gd name="T44" fmla="*/ 10 w 22"/>
                    <a:gd name="T45" fmla="*/ 22 h 30"/>
                    <a:gd name="T46" fmla="*/ 6 w 22"/>
                    <a:gd name="T47" fmla="*/ 26 h 30"/>
                    <a:gd name="T48" fmla="*/ 6 w 22"/>
                    <a:gd name="T49" fmla="*/ 26 h 30"/>
                    <a:gd name="T50" fmla="*/ 6 w 22"/>
                    <a:gd name="T51" fmla="*/ 26 h 30"/>
                    <a:gd name="T52" fmla="*/ 6 w 22"/>
                    <a:gd name="T53" fmla="*/ 30 h 30"/>
                    <a:gd name="T54" fmla="*/ 2 w 22"/>
                    <a:gd name="T55" fmla="*/ 30 h 30"/>
                    <a:gd name="T56" fmla="*/ 2 w 22"/>
                    <a:gd name="T57" fmla="*/ 30 h 30"/>
                    <a:gd name="T58" fmla="*/ 0 w 22"/>
                    <a:gd name="T59" fmla="*/ 30 h 30"/>
                    <a:gd name="T60" fmla="*/ 0 w 22"/>
                    <a:gd name="T61" fmla="*/ 26 h 30"/>
                    <a:gd name="T62" fmla="*/ 2 w 22"/>
                    <a:gd name="T63" fmla="*/ 26 h 30"/>
                    <a:gd name="T64" fmla="*/ 2 w 22"/>
                    <a:gd name="T65" fmla="*/ 22 h 30"/>
                    <a:gd name="T66" fmla="*/ 2 w 22"/>
                    <a:gd name="T67" fmla="*/ 22 h 30"/>
                    <a:gd name="T68" fmla="*/ 2 w 22"/>
                    <a:gd name="T69" fmla="*/ 22 h 30"/>
                    <a:gd name="T70" fmla="*/ 2 w 22"/>
                    <a:gd name="T71" fmla="*/ 20 h 30"/>
                    <a:gd name="T72" fmla="*/ 2 w 22"/>
                    <a:gd name="T73" fmla="*/ 20 h 30"/>
                    <a:gd name="T74" fmla="*/ 6 w 22"/>
                    <a:gd name="T75" fmla="*/ 16 h 30"/>
                    <a:gd name="T76" fmla="*/ 6 w 22"/>
                    <a:gd name="T77" fmla="*/ 16 h 30"/>
                    <a:gd name="T78" fmla="*/ 6 w 22"/>
                    <a:gd name="T79" fmla="*/ 16 h 30"/>
                    <a:gd name="T80" fmla="*/ 6 w 22"/>
                    <a:gd name="T81" fmla="*/ 12 h 30"/>
                    <a:gd name="T82" fmla="*/ 6 w 22"/>
                    <a:gd name="T83" fmla="*/ 12 h 30"/>
                    <a:gd name="T84" fmla="*/ 6 w 22"/>
                    <a:gd name="T85" fmla="*/ 8 h 30"/>
                    <a:gd name="T86" fmla="*/ 6 w 22"/>
                    <a:gd name="T87" fmla="*/ 8 h 30"/>
                    <a:gd name="T88" fmla="*/ 6 w 22"/>
                    <a:gd name="T89" fmla="*/ 8 h 30"/>
                    <a:gd name="T90" fmla="*/ 10 w 22"/>
                    <a:gd name="T91" fmla="*/ 4 h 30"/>
                    <a:gd name="T92" fmla="*/ 14 w 22"/>
                    <a:gd name="T93" fmla="*/ 0 h 30"/>
                    <a:gd name="T94" fmla="*/ 14 w 22"/>
                    <a:gd name="T95" fmla="*/ 0 h 30"/>
                    <a:gd name="T96" fmla="*/ 14 w 22"/>
                    <a:gd name="T97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22" h="30">
                      <a:moveTo>
                        <a:pt x="14" y="0"/>
                      </a:move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4"/>
                      </a:lnTo>
                      <a:lnTo>
                        <a:pt x="18" y="0"/>
                      </a:lnTo>
                      <a:lnTo>
                        <a:pt x="18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8"/>
                      </a:lnTo>
                      <a:lnTo>
                        <a:pt x="22" y="8"/>
                      </a:lnTo>
                      <a:lnTo>
                        <a:pt x="22" y="8"/>
                      </a:lnTo>
                      <a:lnTo>
                        <a:pt x="18" y="12"/>
                      </a:lnTo>
                      <a:lnTo>
                        <a:pt x="18" y="12"/>
                      </a:lnTo>
                      <a:lnTo>
                        <a:pt x="18" y="12"/>
                      </a:lnTo>
                      <a:lnTo>
                        <a:pt x="18" y="12"/>
                      </a:lnTo>
                      <a:lnTo>
                        <a:pt x="18" y="16"/>
                      </a:lnTo>
                      <a:lnTo>
                        <a:pt x="18" y="16"/>
                      </a:lnTo>
                      <a:lnTo>
                        <a:pt x="18" y="16"/>
                      </a:lnTo>
                      <a:lnTo>
                        <a:pt x="18" y="16"/>
                      </a:lnTo>
                      <a:lnTo>
                        <a:pt x="18" y="16"/>
                      </a:lnTo>
                      <a:lnTo>
                        <a:pt x="18" y="16"/>
                      </a:lnTo>
                      <a:lnTo>
                        <a:pt x="14" y="16"/>
                      </a:lnTo>
                      <a:lnTo>
                        <a:pt x="14" y="16"/>
                      </a:lnTo>
                      <a:lnTo>
                        <a:pt x="14" y="16"/>
                      </a:lnTo>
                      <a:lnTo>
                        <a:pt x="10" y="20"/>
                      </a:lnTo>
                      <a:lnTo>
                        <a:pt x="10" y="20"/>
                      </a:lnTo>
                      <a:lnTo>
                        <a:pt x="14" y="20"/>
                      </a:lnTo>
                      <a:lnTo>
                        <a:pt x="14" y="20"/>
                      </a:lnTo>
                      <a:lnTo>
                        <a:pt x="14" y="20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6" y="26"/>
                      </a:lnTo>
                      <a:lnTo>
                        <a:pt x="6" y="26"/>
                      </a:lnTo>
                      <a:lnTo>
                        <a:pt x="6" y="26"/>
                      </a:lnTo>
                      <a:lnTo>
                        <a:pt x="6" y="26"/>
                      </a:lnTo>
                      <a:lnTo>
                        <a:pt x="6" y="26"/>
                      </a:lnTo>
                      <a:lnTo>
                        <a:pt x="6" y="26"/>
                      </a:lnTo>
                      <a:lnTo>
                        <a:pt x="6" y="30"/>
                      </a:lnTo>
                      <a:lnTo>
                        <a:pt x="2" y="30"/>
                      </a:lnTo>
                      <a:lnTo>
                        <a:pt x="2" y="30"/>
                      </a:lnTo>
                      <a:lnTo>
                        <a:pt x="2" y="30"/>
                      </a:lnTo>
                      <a:lnTo>
                        <a:pt x="2" y="30"/>
                      </a:lnTo>
                      <a:lnTo>
                        <a:pt x="2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26"/>
                      </a:lnTo>
                      <a:lnTo>
                        <a:pt x="2" y="26"/>
                      </a:lnTo>
                      <a:lnTo>
                        <a:pt x="2" y="26"/>
                      </a:lnTo>
                      <a:lnTo>
                        <a:pt x="2" y="26"/>
                      </a:lnTo>
                      <a:lnTo>
                        <a:pt x="2" y="22"/>
                      </a:lnTo>
                      <a:lnTo>
                        <a:pt x="2" y="22"/>
                      </a:lnTo>
                      <a:lnTo>
                        <a:pt x="2" y="22"/>
                      </a:lnTo>
                      <a:lnTo>
                        <a:pt x="2" y="22"/>
                      </a:lnTo>
                      <a:lnTo>
                        <a:pt x="2" y="22"/>
                      </a:lnTo>
                      <a:lnTo>
                        <a:pt x="2" y="20"/>
                      </a:lnTo>
                      <a:lnTo>
                        <a:pt x="2" y="20"/>
                      </a:lnTo>
                      <a:lnTo>
                        <a:pt x="2" y="20"/>
                      </a:lnTo>
                      <a:lnTo>
                        <a:pt x="2" y="20"/>
                      </a:lnTo>
                      <a:lnTo>
                        <a:pt x="2" y="16"/>
                      </a:lnTo>
                      <a:lnTo>
                        <a:pt x="6" y="16"/>
                      </a:lnTo>
                      <a:lnTo>
                        <a:pt x="6" y="16"/>
                      </a:lnTo>
                      <a:lnTo>
                        <a:pt x="6" y="16"/>
                      </a:lnTo>
                      <a:lnTo>
                        <a:pt x="6" y="16"/>
                      </a:lnTo>
                      <a:lnTo>
                        <a:pt x="6" y="16"/>
                      </a:lnTo>
                      <a:lnTo>
                        <a:pt x="6" y="16"/>
                      </a:lnTo>
                      <a:lnTo>
                        <a:pt x="6" y="12"/>
                      </a:lnTo>
                      <a:lnTo>
                        <a:pt x="6" y="16"/>
                      </a:lnTo>
                      <a:lnTo>
                        <a:pt x="6" y="12"/>
                      </a:lnTo>
                      <a:lnTo>
                        <a:pt x="6" y="12"/>
                      </a:lnTo>
                      <a:lnTo>
                        <a:pt x="6" y="8"/>
                      </a:lnTo>
                      <a:lnTo>
                        <a:pt x="6" y="8"/>
                      </a:lnTo>
                      <a:lnTo>
                        <a:pt x="6" y="8"/>
                      </a:lnTo>
                      <a:lnTo>
                        <a:pt x="6" y="8"/>
                      </a:lnTo>
                      <a:lnTo>
                        <a:pt x="6" y="8"/>
                      </a:lnTo>
                      <a:lnTo>
                        <a:pt x="6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Freeform 39"/>
                <p:cNvSpPr>
                  <a:spLocks noEditPoints="1"/>
                </p:cNvSpPr>
                <p:nvPr/>
              </p:nvSpPr>
              <p:spPr bwMode="auto">
                <a:xfrm>
                  <a:off x="6629400" y="4362518"/>
                  <a:ext cx="444500" cy="177800"/>
                </a:xfrm>
                <a:custGeom>
                  <a:avLst/>
                  <a:gdLst>
                    <a:gd name="T0" fmla="*/ 8 w 280"/>
                    <a:gd name="T1" fmla="*/ 14 h 112"/>
                    <a:gd name="T2" fmla="*/ 18 w 280"/>
                    <a:gd name="T3" fmla="*/ 18 h 112"/>
                    <a:gd name="T4" fmla="*/ 22 w 280"/>
                    <a:gd name="T5" fmla="*/ 30 h 112"/>
                    <a:gd name="T6" fmla="*/ 34 w 280"/>
                    <a:gd name="T7" fmla="*/ 26 h 112"/>
                    <a:gd name="T8" fmla="*/ 42 w 280"/>
                    <a:gd name="T9" fmla="*/ 26 h 112"/>
                    <a:gd name="T10" fmla="*/ 52 w 280"/>
                    <a:gd name="T11" fmla="*/ 36 h 112"/>
                    <a:gd name="T12" fmla="*/ 52 w 280"/>
                    <a:gd name="T13" fmla="*/ 56 h 112"/>
                    <a:gd name="T14" fmla="*/ 56 w 280"/>
                    <a:gd name="T15" fmla="*/ 66 h 112"/>
                    <a:gd name="T16" fmla="*/ 60 w 280"/>
                    <a:gd name="T17" fmla="*/ 86 h 112"/>
                    <a:gd name="T18" fmla="*/ 64 w 280"/>
                    <a:gd name="T19" fmla="*/ 100 h 112"/>
                    <a:gd name="T20" fmla="*/ 56 w 280"/>
                    <a:gd name="T21" fmla="*/ 100 h 112"/>
                    <a:gd name="T22" fmla="*/ 38 w 280"/>
                    <a:gd name="T23" fmla="*/ 90 h 112"/>
                    <a:gd name="T24" fmla="*/ 22 w 280"/>
                    <a:gd name="T25" fmla="*/ 78 h 112"/>
                    <a:gd name="T26" fmla="*/ 22 w 280"/>
                    <a:gd name="T27" fmla="*/ 64 h 112"/>
                    <a:gd name="T28" fmla="*/ 14 w 280"/>
                    <a:gd name="T29" fmla="*/ 52 h 112"/>
                    <a:gd name="T30" fmla="*/ 12 w 280"/>
                    <a:gd name="T31" fmla="*/ 30 h 112"/>
                    <a:gd name="T32" fmla="*/ 242 w 280"/>
                    <a:gd name="T33" fmla="*/ 4 h 112"/>
                    <a:gd name="T34" fmla="*/ 246 w 280"/>
                    <a:gd name="T35" fmla="*/ 0 h 112"/>
                    <a:gd name="T36" fmla="*/ 254 w 280"/>
                    <a:gd name="T37" fmla="*/ 10 h 112"/>
                    <a:gd name="T38" fmla="*/ 266 w 280"/>
                    <a:gd name="T39" fmla="*/ 44 h 112"/>
                    <a:gd name="T40" fmla="*/ 258 w 280"/>
                    <a:gd name="T41" fmla="*/ 52 h 112"/>
                    <a:gd name="T42" fmla="*/ 168 w 280"/>
                    <a:gd name="T43" fmla="*/ 86 h 112"/>
                    <a:gd name="T44" fmla="*/ 210 w 280"/>
                    <a:gd name="T45" fmla="*/ 48 h 112"/>
                    <a:gd name="T46" fmla="*/ 216 w 280"/>
                    <a:gd name="T47" fmla="*/ 44 h 112"/>
                    <a:gd name="T48" fmla="*/ 224 w 280"/>
                    <a:gd name="T49" fmla="*/ 52 h 112"/>
                    <a:gd name="T50" fmla="*/ 224 w 280"/>
                    <a:gd name="T51" fmla="*/ 36 h 112"/>
                    <a:gd name="T52" fmla="*/ 232 w 280"/>
                    <a:gd name="T53" fmla="*/ 30 h 112"/>
                    <a:gd name="T54" fmla="*/ 240 w 280"/>
                    <a:gd name="T55" fmla="*/ 14 h 112"/>
                    <a:gd name="T56" fmla="*/ 242 w 280"/>
                    <a:gd name="T57" fmla="*/ 10 h 112"/>
                    <a:gd name="T58" fmla="*/ 250 w 280"/>
                    <a:gd name="T59" fmla="*/ 10 h 112"/>
                    <a:gd name="T60" fmla="*/ 258 w 280"/>
                    <a:gd name="T61" fmla="*/ 18 h 112"/>
                    <a:gd name="T62" fmla="*/ 262 w 280"/>
                    <a:gd name="T63" fmla="*/ 26 h 112"/>
                    <a:gd name="T64" fmla="*/ 272 w 280"/>
                    <a:gd name="T65" fmla="*/ 30 h 112"/>
                    <a:gd name="T66" fmla="*/ 272 w 280"/>
                    <a:gd name="T67" fmla="*/ 36 h 112"/>
                    <a:gd name="T68" fmla="*/ 262 w 280"/>
                    <a:gd name="T69" fmla="*/ 40 h 112"/>
                    <a:gd name="T70" fmla="*/ 262 w 280"/>
                    <a:gd name="T71" fmla="*/ 52 h 112"/>
                    <a:gd name="T72" fmla="*/ 242 w 280"/>
                    <a:gd name="T73" fmla="*/ 52 h 112"/>
                    <a:gd name="T74" fmla="*/ 228 w 280"/>
                    <a:gd name="T75" fmla="*/ 52 h 112"/>
                    <a:gd name="T76" fmla="*/ 224 w 280"/>
                    <a:gd name="T77" fmla="*/ 70 h 112"/>
                    <a:gd name="T78" fmla="*/ 216 w 280"/>
                    <a:gd name="T79" fmla="*/ 92 h 112"/>
                    <a:gd name="T80" fmla="*/ 202 w 280"/>
                    <a:gd name="T81" fmla="*/ 100 h 112"/>
                    <a:gd name="T82" fmla="*/ 186 w 280"/>
                    <a:gd name="T83" fmla="*/ 96 h 112"/>
                    <a:gd name="T84" fmla="*/ 172 w 280"/>
                    <a:gd name="T85" fmla="*/ 108 h 112"/>
                    <a:gd name="T86" fmla="*/ 154 w 280"/>
                    <a:gd name="T87" fmla="*/ 112 h 112"/>
                    <a:gd name="T88" fmla="*/ 142 w 280"/>
                    <a:gd name="T89" fmla="*/ 92 h 112"/>
                    <a:gd name="T90" fmla="*/ 154 w 280"/>
                    <a:gd name="T91" fmla="*/ 92 h 112"/>
                    <a:gd name="T92" fmla="*/ 160 w 280"/>
                    <a:gd name="T93" fmla="*/ 100 h 112"/>
                    <a:gd name="T94" fmla="*/ 164 w 280"/>
                    <a:gd name="T95" fmla="*/ 92 h 112"/>
                    <a:gd name="T96" fmla="*/ 164 w 280"/>
                    <a:gd name="T97" fmla="*/ 86 h 112"/>
                    <a:gd name="T98" fmla="*/ 176 w 280"/>
                    <a:gd name="T99" fmla="*/ 74 h 112"/>
                    <a:gd name="T100" fmla="*/ 194 w 280"/>
                    <a:gd name="T101" fmla="*/ 66 h 112"/>
                    <a:gd name="T102" fmla="*/ 206 w 280"/>
                    <a:gd name="T103" fmla="*/ 48 h 112"/>
                    <a:gd name="T104" fmla="*/ 4 w 280"/>
                    <a:gd name="T105" fmla="*/ 14 h 112"/>
                    <a:gd name="T106" fmla="*/ 12 w 280"/>
                    <a:gd name="T107" fmla="*/ 34 h 112"/>
                    <a:gd name="T108" fmla="*/ 12 w 280"/>
                    <a:gd name="T109" fmla="*/ 34 h 112"/>
                    <a:gd name="T110" fmla="*/ 64 w 280"/>
                    <a:gd name="T111" fmla="*/ 74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280" h="112">
                      <a:moveTo>
                        <a:pt x="12" y="30"/>
                      </a:moveTo>
                      <a:lnTo>
                        <a:pt x="12" y="26"/>
                      </a:lnTo>
                      <a:lnTo>
                        <a:pt x="12" y="22"/>
                      </a:lnTo>
                      <a:lnTo>
                        <a:pt x="12" y="18"/>
                      </a:lnTo>
                      <a:lnTo>
                        <a:pt x="8" y="18"/>
                      </a:lnTo>
                      <a:lnTo>
                        <a:pt x="8" y="14"/>
                      </a:lnTo>
                      <a:lnTo>
                        <a:pt x="8" y="10"/>
                      </a:lnTo>
                      <a:lnTo>
                        <a:pt x="12" y="10"/>
                      </a:lnTo>
                      <a:lnTo>
                        <a:pt x="12" y="14"/>
                      </a:lnTo>
                      <a:lnTo>
                        <a:pt x="14" y="14"/>
                      </a:lnTo>
                      <a:lnTo>
                        <a:pt x="18" y="14"/>
                      </a:lnTo>
                      <a:lnTo>
                        <a:pt x="18" y="18"/>
                      </a:lnTo>
                      <a:lnTo>
                        <a:pt x="22" y="18"/>
                      </a:lnTo>
                      <a:lnTo>
                        <a:pt x="22" y="22"/>
                      </a:lnTo>
                      <a:lnTo>
                        <a:pt x="18" y="22"/>
                      </a:lnTo>
                      <a:lnTo>
                        <a:pt x="18" y="26"/>
                      </a:lnTo>
                      <a:lnTo>
                        <a:pt x="22" y="26"/>
                      </a:lnTo>
                      <a:lnTo>
                        <a:pt x="22" y="30"/>
                      </a:lnTo>
                      <a:lnTo>
                        <a:pt x="22" y="26"/>
                      </a:lnTo>
                      <a:lnTo>
                        <a:pt x="26" y="26"/>
                      </a:lnTo>
                      <a:lnTo>
                        <a:pt x="26" y="22"/>
                      </a:lnTo>
                      <a:lnTo>
                        <a:pt x="30" y="22"/>
                      </a:lnTo>
                      <a:lnTo>
                        <a:pt x="30" y="26"/>
                      </a:lnTo>
                      <a:lnTo>
                        <a:pt x="34" y="26"/>
                      </a:lnTo>
                      <a:lnTo>
                        <a:pt x="34" y="22"/>
                      </a:lnTo>
                      <a:lnTo>
                        <a:pt x="34" y="18"/>
                      </a:lnTo>
                      <a:lnTo>
                        <a:pt x="38" y="18"/>
                      </a:lnTo>
                      <a:lnTo>
                        <a:pt x="42" y="18"/>
                      </a:lnTo>
                      <a:lnTo>
                        <a:pt x="42" y="22"/>
                      </a:lnTo>
                      <a:lnTo>
                        <a:pt x="42" y="26"/>
                      </a:lnTo>
                      <a:lnTo>
                        <a:pt x="44" y="26"/>
                      </a:lnTo>
                      <a:lnTo>
                        <a:pt x="44" y="30"/>
                      </a:lnTo>
                      <a:lnTo>
                        <a:pt x="48" y="30"/>
                      </a:lnTo>
                      <a:lnTo>
                        <a:pt x="48" y="34"/>
                      </a:lnTo>
                      <a:lnTo>
                        <a:pt x="52" y="34"/>
                      </a:lnTo>
                      <a:lnTo>
                        <a:pt x="52" y="36"/>
                      </a:lnTo>
                      <a:lnTo>
                        <a:pt x="52" y="40"/>
                      </a:lnTo>
                      <a:lnTo>
                        <a:pt x="56" y="44"/>
                      </a:lnTo>
                      <a:lnTo>
                        <a:pt x="56" y="48"/>
                      </a:lnTo>
                      <a:lnTo>
                        <a:pt x="56" y="52"/>
                      </a:lnTo>
                      <a:lnTo>
                        <a:pt x="52" y="52"/>
                      </a:lnTo>
                      <a:lnTo>
                        <a:pt x="52" y="56"/>
                      </a:lnTo>
                      <a:lnTo>
                        <a:pt x="52" y="60"/>
                      </a:lnTo>
                      <a:lnTo>
                        <a:pt x="52" y="64"/>
                      </a:lnTo>
                      <a:lnTo>
                        <a:pt x="56" y="64"/>
                      </a:lnTo>
                      <a:lnTo>
                        <a:pt x="56" y="66"/>
                      </a:lnTo>
                      <a:lnTo>
                        <a:pt x="52" y="66"/>
                      </a:lnTo>
                      <a:lnTo>
                        <a:pt x="56" y="66"/>
                      </a:lnTo>
                      <a:lnTo>
                        <a:pt x="56" y="70"/>
                      </a:lnTo>
                      <a:lnTo>
                        <a:pt x="56" y="74"/>
                      </a:lnTo>
                      <a:lnTo>
                        <a:pt x="56" y="78"/>
                      </a:lnTo>
                      <a:lnTo>
                        <a:pt x="60" y="78"/>
                      </a:lnTo>
                      <a:lnTo>
                        <a:pt x="60" y="82"/>
                      </a:lnTo>
                      <a:lnTo>
                        <a:pt x="60" y="86"/>
                      </a:lnTo>
                      <a:lnTo>
                        <a:pt x="64" y="86"/>
                      </a:lnTo>
                      <a:lnTo>
                        <a:pt x="64" y="90"/>
                      </a:lnTo>
                      <a:lnTo>
                        <a:pt x="64" y="92"/>
                      </a:lnTo>
                      <a:lnTo>
                        <a:pt x="68" y="96"/>
                      </a:lnTo>
                      <a:lnTo>
                        <a:pt x="68" y="100"/>
                      </a:lnTo>
                      <a:lnTo>
                        <a:pt x="64" y="100"/>
                      </a:lnTo>
                      <a:lnTo>
                        <a:pt x="64" y="96"/>
                      </a:lnTo>
                      <a:lnTo>
                        <a:pt x="64" y="100"/>
                      </a:lnTo>
                      <a:lnTo>
                        <a:pt x="60" y="100"/>
                      </a:lnTo>
                      <a:lnTo>
                        <a:pt x="56" y="100"/>
                      </a:lnTo>
                      <a:lnTo>
                        <a:pt x="56" y="104"/>
                      </a:lnTo>
                      <a:lnTo>
                        <a:pt x="56" y="100"/>
                      </a:lnTo>
                      <a:lnTo>
                        <a:pt x="52" y="100"/>
                      </a:lnTo>
                      <a:lnTo>
                        <a:pt x="52" y="96"/>
                      </a:lnTo>
                      <a:lnTo>
                        <a:pt x="48" y="96"/>
                      </a:lnTo>
                      <a:lnTo>
                        <a:pt x="44" y="92"/>
                      </a:lnTo>
                      <a:lnTo>
                        <a:pt x="42" y="90"/>
                      </a:lnTo>
                      <a:lnTo>
                        <a:pt x="38" y="90"/>
                      </a:lnTo>
                      <a:lnTo>
                        <a:pt x="38" y="86"/>
                      </a:lnTo>
                      <a:lnTo>
                        <a:pt x="34" y="86"/>
                      </a:lnTo>
                      <a:lnTo>
                        <a:pt x="34" y="82"/>
                      </a:lnTo>
                      <a:lnTo>
                        <a:pt x="30" y="82"/>
                      </a:lnTo>
                      <a:lnTo>
                        <a:pt x="26" y="78"/>
                      </a:lnTo>
                      <a:lnTo>
                        <a:pt x="22" y="78"/>
                      </a:lnTo>
                      <a:lnTo>
                        <a:pt x="22" y="74"/>
                      </a:lnTo>
                      <a:lnTo>
                        <a:pt x="26" y="74"/>
                      </a:lnTo>
                      <a:lnTo>
                        <a:pt x="26" y="70"/>
                      </a:lnTo>
                      <a:lnTo>
                        <a:pt x="22" y="70"/>
                      </a:lnTo>
                      <a:lnTo>
                        <a:pt x="22" y="66"/>
                      </a:lnTo>
                      <a:lnTo>
                        <a:pt x="22" y="64"/>
                      </a:lnTo>
                      <a:lnTo>
                        <a:pt x="18" y="64"/>
                      </a:lnTo>
                      <a:lnTo>
                        <a:pt x="18" y="60"/>
                      </a:lnTo>
                      <a:lnTo>
                        <a:pt x="14" y="60"/>
                      </a:lnTo>
                      <a:lnTo>
                        <a:pt x="14" y="56"/>
                      </a:lnTo>
                      <a:lnTo>
                        <a:pt x="18" y="56"/>
                      </a:lnTo>
                      <a:lnTo>
                        <a:pt x="14" y="52"/>
                      </a:lnTo>
                      <a:lnTo>
                        <a:pt x="14" y="48"/>
                      </a:lnTo>
                      <a:lnTo>
                        <a:pt x="14" y="44"/>
                      </a:lnTo>
                      <a:lnTo>
                        <a:pt x="12" y="40"/>
                      </a:lnTo>
                      <a:lnTo>
                        <a:pt x="12" y="36"/>
                      </a:lnTo>
                      <a:lnTo>
                        <a:pt x="12" y="34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2" y="30"/>
                      </a:lnTo>
                      <a:close/>
                      <a:moveTo>
                        <a:pt x="242" y="4"/>
                      </a:moveTo>
                      <a:lnTo>
                        <a:pt x="246" y="0"/>
                      </a:lnTo>
                      <a:lnTo>
                        <a:pt x="242" y="4"/>
                      </a:lnTo>
                      <a:lnTo>
                        <a:pt x="242" y="4"/>
                      </a:lnTo>
                      <a:lnTo>
                        <a:pt x="242" y="4"/>
                      </a:lnTo>
                      <a:close/>
                      <a:moveTo>
                        <a:pt x="246" y="0"/>
                      </a:moveTo>
                      <a:lnTo>
                        <a:pt x="250" y="0"/>
                      </a:lnTo>
                      <a:lnTo>
                        <a:pt x="250" y="4"/>
                      </a:lnTo>
                      <a:lnTo>
                        <a:pt x="246" y="4"/>
                      </a:lnTo>
                      <a:lnTo>
                        <a:pt x="246" y="0"/>
                      </a:lnTo>
                      <a:lnTo>
                        <a:pt x="246" y="0"/>
                      </a:lnTo>
                      <a:lnTo>
                        <a:pt x="246" y="0"/>
                      </a:lnTo>
                      <a:close/>
                      <a:moveTo>
                        <a:pt x="250" y="10"/>
                      </a:moveTo>
                      <a:lnTo>
                        <a:pt x="254" y="10"/>
                      </a:lnTo>
                      <a:lnTo>
                        <a:pt x="254" y="6"/>
                      </a:lnTo>
                      <a:lnTo>
                        <a:pt x="254" y="10"/>
                      </a:lnTo>
                      <a:lnTo>
                        <a:pt x="250" y="10"/>
                      </a:lnTo>
                      <a:lnTo>
                        <a:pt x="250" y="10"/>
                      </a:lnTo>
                      <a:lnTo>
                        <a:pt x="250" y="10"/>
                      </a:lnTo>
                      <a:close/>
                      <a:moveTo>
                        <a:pt x="266" y="44"/>
                      </a:moveTo>
                      <a:lnTo>
                        <a:pt x="270" y="44"/>
                      </a:lnTo>
                      <a:lnTo>
                        <a:pt x="266" y="44"/>
                      </a:lnTo>
                      <a:lnTo>
                        <a:pt x="266" y="44"/>
                      </a:lnTo>
                      <a:lnTo>
                        <a:pt x="266" y="44"/>
                      </a:lnTo>
                      <a:close/>
                      <a:moveTo>
                        <a:pt x="258" y="52"/>
                      </a:moveTo>
                      <a:lnTo>
                        <a:pt x="254" y="52"/>
                      </a:lnTo>
                      <a:lnTo>
                        <a:pt x="258" y="52"/>
                      </a:lnTo>
                      <a:lnTo>
                        <a:pt x="258" y="52"/>
                      </a:lnTo>
                      <a:lnTo>
                        <a:pt x="258" y="52"/>
                      </a:lnTo>
                      <a:close/>
                      <a:moveTo>
                        <a:pt x="164" y="82"/>
                      </a:moveTo>
                      <a:lnTo>
                        <a:pt x="164" y="78"/>
                      </a:lnTo>
                      <a:lnTo>
                        <a:pt x="168" y="78"/>
                      </a:lnTo>
                      <a:lnTo>
                        <a:pt x="168" y="82"/>
                      </a:lnTo>
                      <a:lnTo>
                        <a:pt x="168" y="86"/>
                      </a:lnTo>
                      <a:lnTo>
                        <a:pt x="164" y="82"/>
                      </a:lnTo>
                      <a:lnTo>
                        <a:pt x="164" y="82"/>
                      </a:lnTo>
                      <a:lnTo>
                        <a:pt x="164" y="82"/>
                      </a:lnTo>
                      <a:close/>
                      <a:moveTo>
                        <a:pt x="206" y="44"/>
                      </a:moveTo>
                      <a:lnTo>
                        <a:pt x="206" y="48"/>
                      </a:lnTo>
                      <a:lnTo>
                        <a:pt x="210" y="48"/>
                      </a:lnTo>
                      <a:lnTo>
                        <a:pt x="210" y="52"/>
                      </a:lnTo>
                      <a:lnTo>
                        <a:pt x="214" y="56"/>
                      </a:lnTo>
                      <a:lnTo>
                        <a:pt x="216" y="56"/>
                      </a:lnTo>
                      <a:lnTo>
                        <a:pt x="216" y="52"/>
                      </a:lnTo>
                      <a:lnTo>
                        <a:pt x="216" y="48"/>
                      </a:lnTo>
                      <a:lnTo>
                        <a:pt x="216" y="44"/>
                      </a:lnTo>
                      <a:lnTo>
                        <a:pt x="216" y="40"/>
                      </a:lnTo>
                      <a:lnTo>
                        <a:pt x="220" y="40"/>
                      </a:lnTo>
                      <a:lnTo>
                        <a:pt x="216" y="44"/>
                      </a:lnTo>
                      <a:lnTo>
                        <a:pt x="220" y="44"/>
                      </a:lnTo>
                      <a:lnTo>
                        <a:pt x="220" y="48"/>
                      </a:lnTo>
                      <a:lnTo>
                        <a:pt x="224" y="52"/>
                      </a:lnTo>
                      <a:lnTo>
                        <a:pt x="224" y="48"/>
                      </a:lnTo>
                      <a:lnTo>
                        <a:pt x="220" y="48"/>
                      </a:lnTo>
                      <a:lnTo>
                        <a:pt x="220" y="44"/>
                      </a:lnTo>
                      <a:lnTo>
                        <a:pt x="220" y="40"/>
                      </a:lnTo>
                      <a:lnTo>
                        <a:pt x="224" y="40"/>
                      </a:lnTo>
                      <a:lnTo>
                        <a:pt x="224" y="36"/>
                      </a:lnTo>
                      <a:lnTo>
                        <a:pt x="228" y="36"/>
                      </a:lnTo>
                      <a:lnTo>
                        <a:pt x="224" y="36"/>
                      </a:lnTo>
                      <a:lnTo>
                        <a:pt x="224" y="34"/>
                      </a:lnTo>
                      <a:lnTo>
                        <a:pt x="224" y="30"/>
                      </a:lnTo>
                      <a:lnTo>
                        <a:pt x="228" y="30"/>
                      </a:lnTo>
                      <a:lnTo>
                        <a:pt x="232" y="30"/>
                      </a:lnTo>
                      <a:lnTo>
                        <a:pt x="232" y="26"/>
                      </a:lnTo>
                      <a:lnTo>
                        <a:pt x="232" y="22"/>
                      </a:lnTo>
                      <a:lnTo>
                        <a:pt x="236" y="22"/>
                      </a:lnTo>
                      <a:lnTo>
                        <a:pt x="236" y="18"/>
                      </a:lnTo>
                      <a:lnTo>
                        <a:pt x="236" y="14"/>
                      </a:lnTo>
                      <a:lnTo>
                        <a:pt x="240" y="14"/>
                      </a:lnTo>
                      <a:lnTo>
                        <a:pt x="240" y="10"/>
                      </a:lnTo>
                      <a:lnTo>
                        <a:pt x="242" y="10"/>
                      </a:lnTo>
                      <a:lnTo>
                        <a:pt x="242" y="6"/>
                      </a:lnTo>
                      <a:lnTo>
                        <a:pt x="242" y="4"/>
                      </a:lnTo>
                      <a:lnTo>
                        <a:pt x="242" y="6"/>
                      </a:lnTo>
                      <a:lnTo>
                        <a:pt x="242" y="10"/>
                      </a:lnTo>
                      <a:lnTo>
                        <a:pt x="246" y="10"/>
                      </a:lnTo>
                      <a:lnTo>
                        <a:pt x="246" y="6"/>
                      </a:lnTo>
                      <a:lnTo>
                        <a:pt x="246" y="4"/>
                      </a:lnTo>
                      <a:lnTo>
                        <a:pt x="250" y="4"/>
                      </a:lnTo>
                      <a:lnTo>
                        <a:pt x="250" y="6"/>
                      </a:lnTo>
                      <a:lnTo>
                        <a:pt x="250" y="10"/>
                      </a:lnTo>
                      <a:lnTo>
                        <a:pt x="254" y="10"/>
                      </a:lnTo>
                      <a:lnTo>
                        <a:pt x="254" y="14"/>
                      </a:lnTo>
                      <a:lnTo>
                        <a:pt x="254" y="10"/>
                      </a:lnTo>
                      <a:lnTo>
                        <a:pt x="254" y="14"/>
                      </a:lnTo>
                      <a:lnTo>
                        <a:pt x="258" y="14"/>
                      </a:lnTo>
                      <a:lnTo>
                        <a:pt x="258" y="18"/>
                      </a:lnTo>
                      <a:lnTo>
                        <a:pt x="254" y="18"/>
                      </a:lnTo>
                      <a:lnTo>
                        <a:pt x="258" y="22"/>
                      </a:lnTo>
                      <a:lnTo>
                        <a:pt x="254" y="22"/>
                      </a:lnTo>
                      <a:lnTo>
                        <a:pt x="258" y="22"/>
                      </a:lnTo>
                      <a:lnTo>
                        <a:pt x="262" y="22"/>
                      </a:lnTo>
                      <a:lnTo>
                        <a:pt x="262" y="26"/>
                      </a:lnTo>
                      <a:lnTo>
                        <a:pt x="258" y="26"/>
                      </a:lnTo>
                      <a:lnTo>
                        <a:pt x="262" y="26"/>
                      </a:lnTo>
                      <a:lnTo>
                        <a:pt x="266" y="26"/>
                      </a:lnTo>
                      <a:lnTo>
                        <a:pt x="270" y="26"/>
                      </a:lnTo>
                      <a:lnTo>
                        <a:pt x="270" y="30"/>
                      </a:lnTo>
                      <a:lnTo>
                        <a:pt x="272" y="30"/>
                      </a:lnTo>
                      <a:lnTo>
                        <a:pt x="272" y="34"/>
                      </a:lnTo>
                      <a:lnTo>
                        <a:pt x="276" y="34"/>
                      </a:lnTo>
                      <a:lnTo>
                        <a:pt x="280" y="34"/>
                      </a:lnTo>
                      <a:lnTo>
                        <a:pt x="280" y="36"/>
                      </a:lnTo>
                      <a:lnTo>
                        <a:pt x="276" y="36"/>
                      </a:lnTo>
                      <a:lnTo>
                        <a:pt x="272" y="36"/>
                      </a:lnTo>
                      <a:lnTo>
                        <a:pt x="272" y="40"/>
                      </a:lnTo>
                      <a:lnTo>
                        <a:pt x="270" y="40"/>
                      </a:lnTo>
                      <a:lnTo>
                        <a:pt x="266" y="40"/>
                      </a:lnTo>
                      <a:lnTo>
                        <a:pt x="266" y="36"/>
                      </a:lnTo>
                      <a:lnTo>
                        <a:pt x="266" y="40"/>
                      </a:lnTo>
                      <a:lnTo>
                        <a:pt x="262" y="40"/>
                      </a:lnTo>
                      <a:lnTo>
                        <a:pt x="266" y="44"/>
                      </a:lnTo>
                      <a:lnTo>
                        <a:pt x="270" y="44"/>
                      </a:lnTo>
                      <a:lnTo>
                        <a:pt x="270" y="48"/>
                      </a:lnTo>
                      <a:lnTo>
                        <a:pt x="270" y="52"/>
                      </a:lnTo>
                      <a:lnTo>
                        <a:pt x="266" y="52"/>
                      </a:lnTo>
                      <a:lnTo>
                        <a:pt x="262" y="52"/>
                      </a:lnTo>
                      <a:lnTo>
                        <a:pt x="258" y="52"/>
                      </a:lnTo>
                      <a:lnTo>
                        <a:pt x="258" y="48"/>
                      </a:lnTo>
                      <a:lnTo>
                        <a:pt x="254" y="52"/>
                      </a:lnTo>
                      <a:lnTo>
                        <a:pt x="250" y="52"/>
                      </a:lnTo>
                      <a:lnTo>
                        <a:pt x="246" y="52"/>
                      </a:lnTo>
                      <a:lnTo>
                        <a:pt x="242" y="52"/>
                      </a:lnTo>
                      <a:lnTo>
                        <a:pt x="240" y="52"/>
                      </a:lnTo>
                      <a:lnTo>
                        <a:pt x="236" y="52"/>
                      </a:lnTo>
                      <a:lnTo>
                        <a:pt x="232" y="52"/>
                      </a:lnTo>
                      <a:lnTo>
                        <a:pt x="232" y="48"/>
                      </a:lnTo>
                      <a:lnTo>
                        <a:pt x="232" y="52"/>
                      </a:lnTo>
                      <a:lnTo>
                        <a:pt x="228" y="52"/>
                      </a:lnTo>
                      <a:lnTo>
                        <a:pt x="228" y="56"/>
                      </a:lnTo>
                      <a:lnTo>
                        <a:pt x="228" y="60"/>
                      </a:lnTo>
                      <a:lnTo>
                        <a:pt x="228" y="64"/>
                      </a:lnTo>
                      <a:lnTo>
                        <a:pt x="228" y="66"/>
                      </a:lnTo>
                      <a:lnTo>
                        <a:pt x="224" y="66"/>
                      </a:lnTo>
                      <a:lnTo>
                        <a:pt x="224" y="70"/>
                      </a:lnTo>
                      <a:lnTo>
                        <a:pt x="224" y="74"/>
                      </a:lnTo>
                      <a:lnTo>
                        <a:pt x="220" y="74"/>
                      </a:lnTo>
                      <a:lnTo>
                        <a:pt x="220" y="82"/>
                      </a:lnTo>
                      <a:lnTo>
                        <a:pt x="216" y="86"/>
                      </a:lnTo>
                      <a:lnTo>
                        <a:pt x="216" y="90"/>
                      </a:lnTo>
                      <a:lnTo>
                        <a:pt x="216" y="92"/>
                      </a:lnTo>
                      <a:lnTo>
                        <a:pt x="214" y="92"/>
                      </a:lnTo>
                      <a:lnTo>
                        <a:pt x="214" y="96"/>
                      </a:lnTo>
                      <a:lnTo>
                        <a:pt x="214" y="100"/>
                      </a:lnTo>
                      <a:lnTo>
                        <a:pt x="210" y="100"/>
                      </a:lnTo>
                      <a:lnTo>
                        <a:pt x="206" y="100"/>
                      </a:lnTo>
                      <a:lnTo>
                        <a:pt x="202" y="100"/>
                      </a:lnTo>
                      <a:lnTo>
                        <a:pt x="202" y="104"/>
                      </a:lnTo>
                      <a:lnTo>
                        <a:pt x="198" y="104"/>
                      </a:lnTo>
                      <a:lnTo>
                        <a:pt x="194" y="100"/>
                      </a:lnTo>
                      <a:lnTo>
                        <a:pt x="190" y="100"/>
                      </a:lnTo>
                      <a:lnTo>
                        <a:pt x="190" y="96"/>
                      </a:lnTo>
                      <a:lnTo>
                        <a:pt x="186" y="96"/>
                      </a:lnTo>
                      <a:lnTo>
                        <a:pt x="184" y="96"/>
                      </a:lnTo>
                      <a:lnTo>
                        <a:pt x="180" y="100"/>
                      </a:lnTo>
                      <a:lnTo>
                        <a:pt x="180" y="104"/>
                      </a:lnTo>
                      <a:lnTo>
                        <a:pt x="176" y="104"/>
                      </a:lnTo>
                      <a:lnTo>
                        <a:pt x="176" y="108"/>
                      </a:lnTo>
                      <a:lnTo>
                        <a:pt x="172" y="108"/>
                      </a:lnTo>
                      <a:lnTo>
                        <a:pt x="168" y="108"/>
                      </a:lnTo>
                      <a:lnTo>
                        <a:pt x="164" y="108"/>
                      </a:lnTo>
                      <a:lnTo>
                        <a:pt x="160" y="108"/>
                      </a:lnTo>
                      <a:lnTo>
                        <a:pt x="156" y="108"/>
                      </a:lnTo>
                      <a:lnTo>
                        <a:pt x="156" y="112"/>
                      </a:lnTo>
                      <a:lnTo>
                        <a:pt x="154" y="112"/>
                      </a:lnTo>
                      <a:lnTo>
                        <a:pt x="154" y="108"/>
                      </a:lnTo>
                      <a:lnTo>
                        <a:pt x="150" y="104"/>
                      </a:lnTo>
                      <a:lnTo>
                        <a:pt x="146" y="104"/>
                      </a:lnTo>
                      <a:lnTo>
                        <a:pt x="146" y="100"/>
                      </a:lnTo>
                      <a:lnTo>
                        <a:pt x="142" y="96"/>
                      </a:lnTo>
                      <a:lnTo>
                        <a:pt x="142" y="92"/>
                      </a:lnTo>
                      <a:lnTo>
                        <a:pt x="142" y="90"/>
                      </a:lnTo>
                      <a:lnTo>
                        <a:pt x="142" y="92"/>
                      </a:lnTo>
                      <a:lnTo>
                        <a:pt x="146" y="92"/>
                      </a:lnTo>
                      <a:lnTo>
                        <a:pt x="146" y="96"/>
                      </a:lnTo>
                      <a:lnTo>
                        <a:pt x="150" y="96"/>
                      </a:lnTo>
                      <a:lnTo>
                        <a:pt x="154" y="92"/>
                      </a:lnTo>
                      <a:lnTo>
                        <a:pt x="154" y="96"/>
                      </a:lnTo>
                      <a:lnTo>
                        <a:pt x="156" y="96"/>
                      </a:lnTo>
                      <a:lnTo>
                        <a:pt x="156" y="100"/>
                      </a:lnTo>
                      <a:lnTo>
                        <a:pt x="156" y="96"/>
                      </a:lnTo>
                      <a:lnTo>
                        <a:pt x="160" y="96"/>
                      </a:lnTo>
                      <a:lnTo>
                        <a:pt x="160" y="100"/>
                      </a:lnTo>
                      <a:lnTo>
                        <a:pt x="164" y="100"/>
                      </a:lnTo>
                      <a:lnTo>
                        <a:pt x="168" y="100"/>
                      </a:lnTo>
                      <a:lnTo>
                        <a:pt x="164" y="100"/>
                      </a:lnTo>
                      <a:lnTo>
                        <a:pt x="160" y="100"/>
                      </a:lnTo>
                      <a:lnTo>
                        <a:pt x="160" y="96"/>
                      </a:lnTo>
                      <a:lnTo>
                        <a:pt x="164" y="92"/>
                      </a:lnTo>
                      <a:lnTo>
                        <a:pt x="164" y="90"/>
                      </a:lnTo>
                      <a:lnTo>
                        <a:pt x="168" y="90"/>
                      </a:lnTo>
                      <a:lnTo>
                        <a:pt x="164" y="90"/>
                      </a:lnTo>
                      <a:lnTo>
                        <a:pt x="164" y="86"/>
                      </a:lnTo>
                      <a:lnTo>
                        <a:pt x="164" y="82"/>
                      </a:lnTo>
                      <a:lnTo>
                        <a:pt x="164" y="86"/>
                      </a:lnTo>
                      <a:lnTo>
                        <a:pt x="168" y="86"/>
                      </a:lnTo>
                      <a:lnTo>
                        <a:pt x="168" y="82"/>
                      </a:lnTo>
                      <a:lnTo>
                        <a:pt x="168" y="78"/>
                      </a:lnTo>
                      <a:lnTo>
                        <a:pt x="172" y="78"/>
                      </a:lnTo>
                      <a:lnTo>
                        <a:pt x="172" y="74"/>
                      </a:lnTo>
                      <a:lnTo>
                        <a:pt x="176" y="74"/>
                      </a:lnTo>
                      <a:lnTo>
                        <a:pt x="180" y="74"/>
                      </a:lnTo>
                      <a:lnTo>
                        <a:pt x="184" y="74"/>
                      </a:lnTo>
                      <a:lnTo>
                        <a:pt x="186" y="74"/>
                      </a:lnTo>
                      <a:lnTo>
                        <a:pt x="186" y="70"/>
                      </a:lnTo>
                      <a:lnTo>
                        <a:pt x="190" y="70"/>
                      </a:lnTo>
                      <a:lnTo>
                        <a:pt x="194" y="66"/>
                      </a:lnTo>
                      <a:lnTo>
                        <a:pt x="194" y="64"/>
                      </a:lnTo>
                      <a:lnTo>
                        <a:pt x="198" y="60"/>
                      </a:lnTo>
                      <a:lnTo>
                        <a:pt x="198" y="56"/>
                      </a:lnTo>
                      <a:lnTo>
                        <a:pt x="202" y="56"/>
                      </a:lnTo>
                      <a:lnTo>
                        <a:pt x="202" y="52"/>
                      </a:lnTo>
                      <a:lnTo>
                        <a:pt x="206" y="48"/>
                      </a:lnTo>
                      <a:lnTo>
                        <a:pt x="202" y="48"/>
                      </a:lnTo>
                      <a:lnTo>
                        <a:pt x="202" y="44"/>
                      </a:lnTo>
                      <a:lnTo>
                        <a:pt x="206" y="44"/>
                      </a:lnTo>
                      <a:lnTo>
                        <a:pt x="206" y="44"/>
                      </a:lnTo>
                      <a:lnTo>
                        <a:pt x="206" y="44"/>
                      </a:lnTo>
                      <a:close/>
                      <a:moveTo>
                        <a:pt x="4" y="14"/>
                      </a:moveTo>
                      <a:lnTo>
                        <a:pt x="4" y="18"/>
                      </a:lnTo>
                      <a:lnTo>
                        <a:pt x="0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close/>
                      <a:moveTo>
                        <a:pt x="12" y="34"/>
                      </a:moveTo>
                      <a:lnTo>
                        <a:pt x="8" y="34"/>
                      </a:lnTo>
                      <a:lnTo>
                        <a:pt x="8" y="30"/>
                      </a:lnTo>
                      <a:lnTo>
                        <a:pt x="12" y="30"/>
                      </a:lnTo>
                      <a:lnTo>
                        <a:pt x="12" y="34"/>
                      </a:lnTo>
                      <a:lnTo>
                        <a:pt x="12" y="34"/>
                      </a:lnTo>
                      <a:lnTo>
                        <a:pt x="12" y="34"/>
                      </a:lnTo>
                      <a:close/>
                      <a:moveTo>
                        <a:pt x="64" y="74"/>
                      </a:moveTo>
                      <a:lnTo>
                        <a:pt x="64" y="78"/>
                      </a:lnTo>
                      <a:lnTo>
                        <a:pt x="68" y="78"/>
                      </a:lnTo>
                      <a:lnTo>
                        <a:pt x="64" y="78"/>
                      </a:lnTo>
                      <a:lnTo>
                        <a:pt x="64" y="74"/>
                      </a:lnTo>
                      <a:lnTo>
                        <a:pt x="64" y="74"/>
                      </a:lnTo>
                      <a:lnTo>
                        <a:pt x="64" y="7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1" name="Freeform 40"/>
                <p:cNvSpPr>
                  <a:spLocks noEditPoints="1"/>
                </p:cNvSpPr>
                <p:nvPr/>
              </p:nvSpPr>
              <p:spPr bwMode="auto">
                <a:xfrm>
                  <a:off x="6032500" y="4368868"/>
                  <a:ext cx="12700" cy="206375"/>
                </a:xfrm>
                <a:custGeom>
                  <a:avLst/>
                  <a:gdLst>
                    <a:gd name="T0" fmla="*/ 0 w 8"/>
                    <a:gd name="T1" fmla="*/ 0 h 130"/>
                    <a:gd name="T2" fmla="*/ 0 w 8"/>
                    <a:gd name="T3" fmla="*/ 0 h 130"/>
                    <a:gd name="T4" fmla="*/ 4 w 8"/>
                    <a:gd name="T5" fmla="*/ 6 h 130"/>
                    <a:gd name="T6" fmla="*/ 4 w 8"/>
                    <a:gd name="T7" fmla="*/ 2 h 130"/>
                    <a:gd name="T8" fmla="*/ 4 w 8"/>
                    <a:gd name="T9" fmla="*/ 2 h 130"/>
                    <a:gd name="T10" fmla="*/ 0 w 8"/>
                    <a:gd name="T11" fmla="*/ 10 h 130"/>
                    <a:gd name="T12" fmla="*/ 0 w 8"/>
                    <a:gd name="T13" fmla="*/ 10 h 130"/>
                    <a:gd name="T14" fmla="*/ 0 w 8"/>
                    <a:gd name="T15" fmla="*/ 18 h 130"/>
                    <a:gd name="T16" fmla="*/ 0 w 8"/>
                    <a:gd name="T17" fmla="*/ 18 h 130"/>
                    <a:gd name="T18" fmla="*/ 4 w 8"/>
                    <a:gd name="T19" fmla="*/ 22 h 130"/>
                    <a:gd name="T20" fmla="*/ 8 w 8"/>
                    <a:gd name="T21" fmla="*/ 22 h 130"/>
                    <a:gd name="T22" fmla="*/ 8 w 8"/>
                    <a:gd name="T23" fmla="*/ 30 h 130"/>
                    <a:gd name="T24" fmla="*/ 8 w 8"/>
                    <a:gd name="T25" fmla="*/ 30 h 130"/>
                    <a:gd name="T26" fmla="*/ 8 w 8"/>
                    <a:gd name="T27" fmla="*/ 30 h 130"/>
                    <a:gd name="T28" fmla="*/ 0 w 8"/>
                    <a:gd name="T29" fmla="*/ 36 h 130"/>
                    <a:gd name="T30" fmla="*/ 0 w 8"/>
                    <a:gd name="T31" fmla="*/ 36 h 130"/>
                    <a:gd name="T32" fmla="*/ 0 w 8"/>
                    <a:gd name="T33" fmla="*/ 44 h 130"/>
                    <a:gd name="T34" fmla="*/ 0 w 8"/>
                    <a:gd name="T35" fmla="*/ 44 h 130"/>
                    <a:gd name="T36" fmla="*/ 8 w 8"/>
                    <a:gd name="T37" fmla="*/ 48 h 130"/>
                    <a:gd name="T38" fmla="*/ 8 w 8"/>
                    <a:gd name="T39" fmla="*/ 48 h 130"/>
                    <a:gd name="T40" fmla="*/ 8 w 8"/>
                    <a:gd name="T41" fmla="*/ 48 h 130"/>
                    <a:gd name="T42" fmla="*/ 8 w 8"/>
                    <a:gd name="T43" fmla="*/ 62 h 130"/>
                    <a:gd name="T44" fmla="*/ 8 w 8"/>
                    <a:gd name="T45" fmla="*/ 62 h 130"/>
                    <a:gd name="T46" fmla="*/ 8 w 8"/>
                    <a:gd name="T47" fmla="*/ 62 h 130"/>
                    <a:gd name="T48" fmla="*/ 0 w 8"/>
                    <a:gd name="T49" fmla="*/ 66 h 130"/>
                    <a:gd name="T50" fmla="*/ 0 w 8"/>
                    <a:gd name="T51" fmla="*/ 66 h 130"/>
                    <a:gd name="T52" fmla="*/ 0 w 8"/>
                    <a:gd name="T53" fmla="*/ 66 h 130"/>
                    <a:gd name="T54" fmla="*/ 0 w 8"/>
                    <a:gd name="T55" fmla="*/ 66 h 130"/>
                    <a:gd name="T56" fmla="*/ 0 w 8"/>
                    <a:gd name="T57" fmla="*/ 70 h 130"/>
                    <a:gd name="T58" fmla="*/ 0 w 8"/>
                    <a:gd name="T59" fmla="*/ 70 h 130"/>
                    <a:gd name="T60" fmla="*/ 8 w 8"/>
                    <a:gd name="T61" fmla="*/ 70 h 130"/>
                    <a:gd name="T62" fmla="*/ 8 w 8"/>
                    <a:gd name="T63" fmla="*/ 70 h 130"/>
                    <a:gd name="T64" fmla="*/ 4 w 8"/>
                    <a:gd name="T65" fmla="*/ 78 h 130"/>
                    <a:gd name="T66" fmla="*/ 4 w 8"/>
                    <a:gd name="T67" fmla="*/ 82 h 130"/>
                    <a:gd name="T68" fmla="*/ 4 w 8"/>
                    <a:gd name="T69" fmla="*/ 78 h 130"/>
                    <a:gd name="T70" fmla="*/ 8 w 8"/>
                    <a:gd name="T71" fmla="*/ 88 h 130"/>
                    <a:gd name="T72" fmla="*/ 8 w 8"/>
                    <a:gd name="T73" fmla="*/ 88 h 130"/>
                    <a:gd name="T74" fmla="*/ 8 w 8"/>
                    <a:gd name="T75" fmla="*/ 88 h 130"/>
                    <a:gd name="T76" fmla="*/ 8 w 8"/>
                    <a:gd name="T77" fmla="*/ 114 h 130"/>
                    <a:gd name="T78" fmla="*/ 8 w 8"/>
                    <a:gd name="T79" fmla="*/ 114 h 130"/>
                    <a:gd name="T80" fmla="*/ 0 w 8"/>
                    <a:gd name="T81" fmla="*/ 118 h 130"/>
                    <a:gd name="T82" fmla="*/ 0 w 8"/>
                    <a:gd name="T83" fmla="*/ 114 h 130"/>
                    <a:gd name="T84" fmla="*/ 8 w 8"/>
                    <a:gd name="T85" fmla="*/ 126 h 130"/>
                    <a:gd name="T86" fmla="*/ 8 w 8"/>
                    <a:gd name="T87" fmla="*/ 126 h 130"/>
                    <a:gd name="T88" fmla="*/ 0 w 8"/>
                    <a:gd name="T89" fmla="*/ 130 h 130"/>
                    <a:gd name="T90" fmla="*/ 0 w 8"/>
                    <a:gd name="T91" fmla="*/ 130 h 130"/>
                    <a:gd name="T92" fmla="*/ 0 w 8"/>
                    <a:gd name="T93" fmla="*/ 130 h 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8" h="130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  <a:moveTo>
                        <a:pt x="4" y="2"/>
                      </a:move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close/>
                      <a:moveTo>
                        <a:pt x="0" y="10"/>
                      </a:move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close/>
                      <a:moveTo>
                        <a:pt x="0" y="18"/>
                      </a:move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8"/>
                      </a:lnTo>
                      <a:close/>
                      <a:moveTo>
                        <a:pt x="8" y="22"/>
                      </a:moveTo>
                      <a:lnTo>
                        <a:pt x="8" y="22"/>
                      </a:lnTo>
                      <a:lnTo>
                        <a:pt x="4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close/>
                      <a:moveTo>
                        <a:pt x="8" y="30"/>
                      </a:move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close/>
                      <a:moveTo>
                        <a:pt x="0" y="36"/>
                      </a:moveTo>
                      <a:lnTo>
                        <a:pt x="0" y="36"/>
                      </a:lnTo>
                      <a:lnTo>
                        <a:pt x="0" y="36"/>
                      </a:lnTo>
                      <a:lnTo>
                        <a:pt x="0" y="36"/>
                      </a:lnTo>
                      <a:lnTo>
                        <a:pt x="0" y="36"/>
                      </a:lnTo>
                      <a:lnTo>
                        <a:pt x="0" y="36"/>
                      </a:lnTo>
                      <a:close/>
                      <a:moveTo>
                        <a:pt x="0" y="44"/>
                      </a:moveTo>
                      <a:lnTo>
                        <a:pt x="0" y="44"/>
                      </a:lnTo>
                      <a:lnTo>
                        <a:pt x="0" y="44"/>
                      </a:lnTo>
                      <a:lnTo>
                        <a:pt x="0" y="44"/>
                      </a:lnTo>
                      <a:lnTo>
                        <a:pt x="0" y="44"/>
                      </a:lnTo>
                      <a:lnTo>
                        <a:pt x="0" y="44"/>
                      </a:lnTo>
                      <a:lnTo>
                        <a:pt x="0" y="44"/>
                      </a:lnTo>
                      <a:lnTo>
                        <a:pt x="0" y="44"/>
                      </a:lnTo>
                      <a:close/>
                      <a:moveTo>
                        <a:pt x="8" y="48"/>
                      </a:move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8" y="48"/>
                      </a:lnTo>
                      <a:close/>
                      <a:moveTo>
                        <a:pt x="8" y="62"/>
                      </a:moveTo>
                      <a:lnTo>
                        <a:pt x="8" y="62"/>
                      </a:lnTo>
                      <a:lnTo>
                        <a:pt x="8" y="62"/>
                      </a:lnTo>
                      <a:lnTo>
                        <a:pt x="8" y="62"/>
                      </a:lnTo>
                      <a:lnTo>
                        <a:pt x="8" y="62"/>
                      </a:lnTo>
                      <a:lnTo>
                        <a:pt x="8" y="62"/>
                      </a:lnTo>
                      <a:lnTo>
                        <a:pt x="8" y="62"/>
                      </a:lnTo>
                      <a:lnTo>
                        <a:pt x="8" y="62"/>
                      </a:lnTo>
                      <a:lnTo>
                        <a:pt x="8" y="62"/>
                      </a:lnTo>
                      <a:lnTo>
                        <a:pt x="8" y="62"/>
                      </a:lnTo>
                      <a:lnTo>
                        <a:pt x="8" y="62"/>
                      </a:lnTo>
                      <a:close/>
                      <a:moveTo>
                        <a:pt x="0" y="66"/>
                      </a:moveTo>
                      <a:lnTo>
                        <a:pt x="0" y="66"/>
                      </a:lnTo>
                      <a:lnTo>
                        <a:pt x="0" y="66"/>
                      </a:lnTo>
                      <a:lnTo>
                        <a:pt x="0" y="66"/>
                      </a:lnTo>
                      <a:lnTo>
                        <a:pt x="0" y="66"/>
                      </a:lnTo>
                      <a:lnTo>
                        <a:pt x="0" y="66"/>
                      </a:lnTo>
                      <a:lnTo>
                        <a:pt x="0" y="66"/>
                      </a:lnTo>
                      <a:lnTo>
                        <a:pt x="0" y="66"/>
                      </a:lnTo>
                      <a:lnTo>
                        <a:pt x="0" y="66"/>
                      </a:lnTo>
                      <a:lnTo>
                        <a:pt x="0" y="66"/>
                      </a:lnTo>
                      <a:lnTo>
                        <a:pt x="0" y="66"/>
                      </a:lnTo>
                      <a:lnTo>
                        <a:pt x="0" y="66"/>
                      </a:lnTo>
                      <a:close/>
                      <a:moveTo>
                        <a:pt x="0" y="70"/>
                      </a:moveTo>
                      <a:lnTo>
                        <a:pt x="0" y="70"/>
                      </a:lnTo>
                      <a:lnTo>
                        <a:pt x="0" y="70"/>
                      </a:lnTo>
                      <a:lnTo>
                        <a:pt x="0" y="70"/>
                      </a:lnTo>
                      <a:lnTo>
                        <a:pt x="0" y="70"/>
                      </a:lnTo>
                      <a:lnTo>
                        <a:pt x="0" y="70"/>
                      </a:lnTo>
                      <a:close/>
                      <a:moveTo>
                        <a:pt x="8" y="70"/>
                      </a:moveTo>
                      <a:lnTo>
                        <a:pt x="8" y="70"/>
                      </a:lnTo>
                      <a:lnTo>
                        <a:pt x="8" y="70"/>
                      </a:lnTo>
                      <a:lnTo>
                        <a:pt x="8" y="70"/>
                      </a:lnTo>
                      <a:lnTo>
                        <a:pt x="8" y="70"/>
                      </a:lnTo>
                      <a:lnTo>
                        <a:pt x="8" y="70"/>
                      </a:lnTo>
                      <a:close/>
                      <a:moveTo>
                        <a:pt x="4" y="78"/>
                      </a:moveTo>
                      <a:lnTo>
                        <a:pt x="4" y="78"/>
                      </a:lnTo>
                      <a:lnTo>
                        <a:pt x="4" y="78"/>
                      </a:lnTo>
                      <a:lnTo>
                        <a:pt x="4" y="82"/>
                      </a:lnTo>
                      <a:lnTo>
                        <a:pt x="4" y="78"/>
                      </a:lnTo>
                      <a:lnTo>
                        <a:pt x="4" y="78"/>
                      </a:lnTo>
                      <a:lnTo>
                        <a:pt x="4" y="78"/>
                      </a:lnTo>
                      <a:lnTo>
                        <a:pt x="4" y="78"/>
                      </a:lnTo>
                      <a:close/>
                      <a:moveTo>
                        <a:pt x="8" y="88"/>
                      </a:moveTo>
                      <a:lnTo>
                        <a:pt x="8" y="88"/>
                      </a:lnTo>
                      <a:lnTo>
                        <a:pt x="8" y="88"/>
                      </a:lnTo>
                      <a:lnTo>
                        <a:pt x="8" y="88"/>
                      </a:lnTo>
                      <a:lnTo>
                        <a:pt x="8" y="88"/>
                      </a:lnTo>
                      <a:lnTo>
                        <a:pt x="8" y="88"/>
                      </a:lnTo>
                      <a:lnTo>
                        <a:pt x="8" y="88"/>
                      </a:lnTo>
                      <a:lnTo>
                        <a:pt x="8" y="88"/>
                      </a:lnTo>
                      <a:close/>
                      <a:moveTo>
                        <a:pt x="8" y="114"/>
                      </a:moveTo>
                      <a:lnTo>
                        <a:pt x="8" y="114"/>
                      </a:lnTo>
                      <a:lnTo>
                        <a:pt x="8" y="114"/>
                      </a:lnTo>
                      <a:lnTo>
                        <a:pt x="8" y="114"/>
                      </a:lnTo>
                      <a:lnTo>
                        <a:pt x="8" y="114"/>
                      </a:lnTo>
                      <a:lnTo>
                        <a:pt x="8" y="114"/>
                      </a:lnTo>
                      <a:close/>
                      <a:moveTo>
                        <a:pt x="0" y="114"/>
                      </a:moveTo>
                      <a:lnTo>
                        <a:pt x="0" y="114"/>
                      </a:lnTo>
                      <a:lnTo>
                        <a:pt x="0" y="118"/>
                      </a:lnTo>
                      <a:lnTo>
                        <a:pt x="0" y="114"/>
                      </a:lnTo>
                      <a:lnTo>
                        <a:pt x="0" y="114"/>
                      </a:lnTo>
                      <a:lnTo>
                        <a:pt x="0" y="114"/>
                      </a:lnTo>
                      <a:lnTo>
                        <a:pt x="0" y="114"/>
                      </a:lnTo>
                      <a:close/>
                      <a:moveTo>
                        <a:pt x="8" y="126"/>
                      </a:moveTo>
                      <a:lnTo>
                        <a:pt x="8" y="126"/>
                      </a:lnTo>
                      <a:lnTo>
                        <a:pt x="8" y="126"/>
                      </a:lnTo>
                      <a:lnTo>
                        <a:pt x="8" y="126"/>
                      </a:lnTo>
                      <a:lnTo>
                        <a:pt x="8" y="126"/>
                      </a:lnTo>
                      <a:lnTo>
                        <a:pt x="8" y="126"/>
                      </a:lnTo>
                      <a:lnTo>
                        <a:pt x="8" y="126"/>
                      </a:lnTo>
                      <a:close/>
                      <a:moveTo>
                        <a:pt x="0" y="130"/>
                      </a:moveTo>
                      <a:lnTo>
                        <a:pt x="0" y="130"/>
                      </a:lnTo>
                      <a:lnTo>
                        <a:pt x="0" y="130"/>
                      </a:lnTo>
                      <a:lnTo>
                        <a:pt x="0" y="130"/>
                      </a:lnTo>
                      <a:lnTo>
                        <a:pt x="0" y="130"/>
                      </a:lnTo>
                      <a:lnTo>
                        <a:pt x="0" y="130"/>
                      </a:lnTo>
                      <a:lnTo>
                        <a:pt x="0" y="130"/>
                      </a:lnTo>
                      <a:lnTo>
                        <a:pt x="0" y="130"/>
                      </a:lnTo>
                      <a:lnTo>
                        <a:pt x="0" y="13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2" name="Freeform 41"/>
                <p:cNvSpPr>
                  <a:spLocks/>
                </p:cNvSpPr>
                <p:nvPr/>
              </p:nvSpPr>
              <p:spPr bwMode="auto">
                <a:xfrm>
                  <a:off x="6362700" y="3041718"/>
                  <a:ext cx="723900" cy="336550"/>
                </a:xfrm>
                <a:custGeom>
                  <a:avLst/>
                  <a:gdLst>
                    <a:gd name="T0" fmla="*/ 400 w 456"/>
                    <a:gd name="T1" fmla="*/ 134 h 212"/>
                    <a:gd name="T2" fmla="*/ 376 w 456"/>
                    <a:gd name="T3" fmla="*/ 142 h 212"/>
                    <a:gd name="T4" fmla="*/ 358 w 456"/>
                    <a:gd name="T5" fmla="*/ 150 h 212"/>
                    <a:gd name="T6" fmla="*/ 336 w 456"/>
                    <a:gd name="T7" fmla="*/ 154 h 212"/>
                    <a:gd name="T8" fmla="*/ 340 w 456"/>
                    <a:gd name="T9" fmla="*/ 176 h 212"/>
                    <a:gd name="T10" fmla="*/ 324 w 456"/>
                    <a:gd name="T11" fmla="*/ 186 h 212"/>
                    <a:gd name="T12" fmla="*/ 310 w 456"/>
                    <a:gd name="T13" fmla="*/ 198 h 212"/>
                    <a:gd name="T14" fmla="*/ 280 w 456"/>
                    <a:gd name="T15" fmla="*/ 198 h 212"/>
                    <a:gd name="T16" fmla="*/ 254 w 456"/>
                    <a:gd name="T17" fmla="*/ 208 h 212"/>
                    <a:gd name="T18" fmla="*/ 228 w 456"/>
                    <a:gd name="T19" fmla="*/ 208 h 212"/>
                    <a:gd name="T20" fmla="*/ 202 w 456"/>
                    <a:gd name="T21" fmla="*/ 198 h 212"/>
                    <a:gd name="T22" fmla="*/ 180 w 456"/>
                    <a:gd name="T23" fmla="*/ 190 h 212"/>
                    <a:gd name="T24" fmla="*/ 152 w 456"/>
                    <a:gd name="T25" fmla="*/ 194 h 212"/>
                    <a:gd name="T26" fmla="*/ 128 w 456"/>
                    <a:gd name="T27" fmla="*/ 190 h 212"/>
                    <a:gd name="T28" fmla="*/ 112 w 456"/>
                    <a:gd name="T29" fmla="*/ 176 h 212"/>
                    <a:gd name="T30" fmla="*/ 98 w 456"/>
                    <a:gd name="T31" fmla="*/ 160 h 212"/>
                    <a:gd name="T32" fmla="*/ 84 w 456"/>
                    <a:gd name="T33" fmla="*/ 150 h 212"/>
                    <a:gd name="T34" fmla="*/ 60 w 456"/>
                    <a:gd name="T35" fmla="*/ 146 h 212"/>
                    <a:gd name="T36" fmla="*/ 42 w 456"/>
                    <a:gd name="T37" fmla="*/ 134 h 212"/>
                    <a:gd name="T38" fmla="*/ 50 w 456"/>
                    <a:gd name="T39" fmla="*/ 112 h 212"/>
                    <a:gd name="T40" fmla="*/ 38 w 456"/>
                    <a:gd name="T41" fmla="*/ 98 h 212"/>
                    <a:gd name="T42" fmla="*/ 28 w 456"/>
                    <a:gd name="T43" fmla="*/ 86 h 212"/>
                    <a:gd name="T44" fmla="*/ 8 w 456"/>
                    <a:gd name="T45" fmla="*/ 74 h 212"/>
                    <a:gd name="T46" fmla="*/ 4 w 456"/>
                    <a:gd name="T47" fmla="*/ 60 h 212"/>
                    <a:gd name="T48" fmla="*/ 20 w 456"/>
                    <a:gd name="T49" fmla="*/ 52 h 212"/>
                    <a:gd name="T50" fmla="*/ 28 w 456"/>
                    <a:gd name="T51" fmla="*/ 48 h 212"/>
                    <a:gd name="T52" fmla="*/ 42 w 456"/>
                    <a:gd name="T53" fmla="*/ 38 h 212"/>
                    <a:gd name="T54" fmla="*/ 56 w 456"/>
                    <a:gd name="T55" fmla="*/ 30 h 212"/>
                    <a:gd name="T56" fmla="*/ 76 w 456"/>
                    <a:gd name="T57" fmla="*/ 26 h 212"/>
                    <a:gd name="T58" fmla="*/ 94 w 456"/>
                    <a:gd name="T59" fmla="*/ 34 h 212"/>
                    <a:gd name="T60" fmla="*/ 110 w 456"/>
                    <a:gd name="T61" fmla="*/ 44 h 212"/>
                    <a:gd name="T62" fmla="*/ 136 w 456"/>
                    <a:gd name="T63" fmla="*/ 48 h 212"/>
                    <a:gd name="T64" fmla="*/ 150 w 456"/>
                    <a:gd name="T65" fmla="*/ 38 h 212"/>
                    <a:gd name="T66" fmla="*/ 146 w 456"/>
                    <a:gd name="T67" fmla="*/ 12 h 212"/>
                    <a:gd name="T68" fmla="*/ 156 w 456"/>
                    <a:gd name="T69" fmla="*/ 4 h 212"/>
                    <a:gd name="T70" fmla="*/ 176 w 456"/>
                    <a:gd name="T71" fmla="*/ 8 h 212"/>
                    <a:gd name="T72" fmla="*/ 198 w 456"/>
                    <a:gd name="T73" fmla="*/ 12 h 212"/>
                    <a:gd name="T74" fmla="*/ 206 w 456"/>
                    <a:gd name="T75" fmla="*/ 30 h 212"/>
                    <a:gd name="T76" fmla="*/ 220 w 456"/>
                    <a:gd name="T77" fmla="*/ 42 h 212"/>
                    <a:gd name="T78" fmla="*/ 242 w 456"/>
                    <a:gd name="T79" fmla="*/ 34 h 212"/>
                    <a:gd name="T80" fmla="*/ 262 w 456"/>
                    <a:gd name="T81" fmla="*/ 38 h 212"/>
                    <a:gd name="T82" fmla="*/ 288 w 456"/>
                    <a:gd name="T83" fmla="*/ 44 h 212"/>
                    <a:gd name="T84" fmla="*/ 306 w 456"/>
                    <a:gd name="T85" fmla="*/ 56 h 212"/>
                    <a:gd name="T86" fmla="*/ 332 w 456"/>
                    <a:gd name="T87" fmla="*/ 60 h 212"/>
                    <a:gd name="T88" fmla="*/ 354 w 456"/>
                    <a:gd name="T89" fmla="*/ 52 h 212"/>
                    <a:gd name="T90" fmla="*/ 370 w 456"/>
                    <a:gd name="T91" fmla="*/ 42 h 212"/>
                    <a:gd name="T92" fmla="*/ 388 w 456"/>
                    <a:gd name="T93" fmla="*/ 42 h 212"/>
                    <a:gd name="T94" fmla="*/ 410 w 456"/>
                    <a:gd name="T95" fmla="*/ 44 h 212"/>
                    <a:gd name="T96" fmla="*/ 400 w 456"/>
                    <a:gd name="T97" fmla="*/ 68 h 212"/>
                    <a:gd name="T98" fmla="*/ 396 w 456"/>
                    <a:gd name="T99" fmla="*/ 86 h 212"/>
                    <a:gd name="T100" fmla="*/ 414 w 456"/>
                    <a:gd name="T101" fmla="*/ 90 h 212"/>
                    <a:gd name="T102" fmla="*/ 436 w 456"/>
                    <a:gd name="T103" fmla="*/ 86 h 212"/>
                    <a:gd name="T104" fmla="*/ 456 w 456"/>
                    <a:gd name="T105" fmla="*/ 104 h 212"/>
                    <a:gd name="T106" fmla="*/ 440 w 456"/>
                    <a:gd name="T107" fmla="*/ 108 h 212"/>
                    <a:gd name="T108" fmla="*/ 422 w 456"/>
                    <a:gd name="T109" fmla="*/ 116 h 212"/>
                    <a:gd name="T110" fmla="*/ 410 w 456"/>
                    <a:gd name="T111" fmla="*/ 120 h 2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456" h="212">
                      <a:moveTo>
                        <a:pt x="410" y="120"/>
                      </a:moveTo>
                      <a:lnTo>
                        <a:pt x="406" y="120"/>
                      </a:lnTo>
                      <a:lnTo>
                        <a:pt x="406" y="124"/>
                      </a:lnTo>
                      <a:lnTo>
                        <a:pt x="402" y="128"/>
                      </a:lnTo>
                      <a:lnTo>
                        <a:pt x="402" y="130"/>
                      </a:lnTo>
                      <a:lnTo>
                        <a:pt x="400" y="130"/>
                      </a:lnTo>
                      <a:lnTo>
                        <a:pt x="400" y="134"/>
                      </a:lnTo>
                      <a:lnTo>
                        <a:pt x="396" y="134"/>
                      </a:lnTo>
                      <a:lnTo>
                        <a:pt x="396" y="138"/>
                      </a:lnTo>
                      <a:lnTo>
                        <a:pt x="392" y="138"/>
                      </a:lnTo>
                      <a:lnTo>
                        <a:pt x="388" y="138"/>
                      </a:lnTo>
                      <a:lnTo>
                        <a:pt x="384" y="138"/>
                      </a:lnTo>
                      <a:lnTo>
                        <a:pt x="380" y="138"/>
                      </a:lnTo>
                      <a:lnTo>
                        <a:pt x="376" y="142"/>
                      </a:lnTo>
                      <a:lnTo>
                        <a:pt x="376" y="146"/>
                      </a:lnTo>
                      <a:lnTo>
                        <a:pt x="374" y="146"/>
                      </a:lnTo>
                      <a:lnTo>
                        <a:pt x="370" y="146"/>
                      </a:lnTo>
                      <a:lnTo>
                        <a:pt x="370" y="150"/>
                      </a:lnTo>
                      <a:lnTo>
                        <a:pt x="366" y="150"/>
                      </a:lnTo>
                      <a:lnTo>
                        <a:pt x="362" y="150"/>
                      </a:lnTo>
                      <a:lnTo>
                        <a:pt x="358" y="150"/>
                      </a:lnTo>
                      <a:lnTo>
                        <a:pt x="354" y="150"/>
                      </a:lnTo>
                      <a:lnTo>
                        <a:pt x="350" y="146"/>
                      </a:lnTo>
                      <a:lnTo>
                        <a:pt x="346" y="146"/>
                      </a:lnTo>
                      <a:lnTo>
                        <a:pt x="344" y="146"/>
                      </a:lnTo>
                      <a:lnTo>
                        <a:pt x="340" y="146"/>
                      </a:lnTo>
                      <a:lnTo>
                        <a:pt x="340" y="150"/>
                      </a:lnTo>
                      <a:lnTo>
                        <a:pt x="336" y="154"/>
                      </a:lnTo>
                      <a:lnTo>
                        <a:pt x="336" y="158"/>
                      </a:lnTo>
                      <a:lnTo>
                        <a:pt x="336" y="160"/>
                      </a:lnTo>
                      <a:lnTo>
                        <a:pt x="340" y="164"/>
                      </a:lnTo>
                      <a:lnTo>
                        <a:pt x="344" y="168"/>
                      </a:lnTo>
                      <a:lnTo>
                        <a:pt x="344" y="172"/>
                      </a:lnTo>
                      <a:lnTo>
                        <a:pt x="340" y="172"/>
                      </a:lnTo>
                      <a:lnTo>
                        <a:pt x="340" y="176"/>
                      </a:lnTo>
                      <a:lnTo>
                        <a:pt x="336" y="176"/>
                      </a:lnTo>
                      <a:lnTo>
                        <a:pt x="332" y="176"/>
                      </a:lnTo>
                      <a:lnTo>
                        <a:pt x="332" y="180"/>
                      </a:lnTo>
                      <a:lnTo>
                        <a:pt x="328" y="180"/>
                      </a:lnTo>
                      <a:lnTo>
                        <a:pt x="328" y="184"/>
                      </a:lnTo>
                      <a:lnTo>
                        <a:pt x="324" y="184"/>
                      </a:lnTo>
                      <a:lnTo>
                        <a:pt x="324" y="186"/>
                      </a:lnTo>
                      <a:lnTo>
                        <a:pt x="320" y="186"/>
                      </a:lnTo>
                      <a:lnTo>
                        <a:pt x="320" y="190"/>
                      </a:lnTo>
                      <a:lnTo>
                        <a:pt x="318" y="190"/>
                      </a:lnTo>
                      <a:lnTo>
                        <a:pt x="318" y="194"/>
                      </a:lnTo>
                      <a:lnTo>
                        <a:pt x="314" y="194"/>
                      </a:lnTo>
                      <a:lnTo>
                        <a:pt x="310" y="194"/>
                      </a:lnTo>
                      <a:lnTo>
                        <a:pt x="310" y="198"/>
                      </a:lnTo>
                      <a:lnTo>
                        <a:pt x="306" y="198"/>
                      </a:lnTo>
                      <a:lnTo>
                        <a:pt x="302" y="198"/>
                      </a:lnTo>
                      <a:lnTo>
                        <a:pt x="298" y="198"/>
                      </a:lnTo>
                      <a:lnTo>
                        <a:pt x="294" y="198"/>
                      </a:lnTo>
                      <a:lnTo>
                        <a:pt x="290" y="198"/>
                      </a:lnTo>
                      <a:lnTo>
                        <a:pt x="284" y="198"/>
                      </a:lnTo>
                      <a:lnTo>
                        <a:pt x="280" y="198"/>
                      </a:lnTo>
                      <a:lnTo>
                        <a:pt x="276" y="198"/>
                      </a:lnTo>
                      <a:lnTo>
                        <a:pt x="272" y="198"/>
                      </a:lnTo>
                      <a:lnTo>
                        <a:pt x="268" y="198"/>
                      </a:lnTo>
                      <a:lnTo>
                        <a:pt x="264" y="200"/>
                      </a:lnTo>
                      <a:lnTo>
                        <a:pt x="262" y="204"/>
                      </a:lnTo>
                      <a:lnTo>
                        <a:pt x="258" y="204"/>
                      </a:lnTo>
                      <a:lnTo>
                        <a:pt x="254" y="208"/>
                      </a:lnTo>
                      <a:lnTo>
                        <a:pt x="250" y="208"/>
                      </a:lnTo>
                      <a:lnTo>
                        <a:pt x="246" y="208"/>
                      </a:lnTo>
                      <a:lnTo>
                        <a:pt x="242" y="212"/>
                      </a:lnTo>
                      <a:lnTo>
                        <a:pt x="238" y="212"/>
                      </a:lnTo>
                      <a:lnTo>
                        <a:pt x="238" y="208"/>
                      </a:lnTo>
                      <a:lnTo>
                        <a:pt x="232" y="208"/>
                      </a:lnTo>
                      <a:lnTo>
                        <a:pt x="228" y="208"/>
                      </a:lnTo>
                      <a:lnTo>
                        <a:pt x="220" y="208"/>
                      </a:lnTo>
                      <a:lnTo>
                        <a:pt x="220" y="204"/>
                      </a:lnTo>
                      <a:lnTo>
                        <a:pt x="216" y="204"/>
                      </a:lnTo>
                      <a:lnTo>
                        <a:pt x="212" y="200"/>
                      </a:lnTo>
                      <a:lnTo>
                        <a:pt x="208" y="200"/>
                      </a:lnTo>
                      <a:lnTo>
                        <a:pt x="202" y="200"/>
                      </a:lnTo>
                      <a:lnTo>
                        <a:pt x="202" y="198"/>
                      </a:lnTo>
                      <a:lnTo>
                        <a:pt x="198" y="194"/>
                      </a:lnTo>
                      <a:lnTo>
                        <a:pt x="194" y="194"/>
                      </a:lnTo>
                      <a:lnTo>
                        <a:pt x="190" y="194"/>
                      </a:lnTo>
                      <a:lnTo>
                        <a:pt x="186" y="194"/>
                      </a:lnTo>
                      <a:lnTo>
                        <a:pt x="186" y="190"/>
                      </a:lnTo>
                      <a:lnTo>
                        <a:pt x="182" y="190"/>
                      </a:lnTo>
                      <a:lnTo>
                        <a:pt x="180" y="190"/>
                      </a:lnTo>
                      <a:lnTo>
                        <a:pt x="176" y="194"/>
                      </a:lnTo>
                      <a:lnTo>
                        <a:pt x="172" y="194"/>
                      </a:lnTo>
                      <a:lnTo>
                        <a:pt x="168" y="194"/>
                      </a:lnTo>
                      <a:lnTo>
                        <a:pt x="164" y="194"/>
                      </a:lnTo>
                      <a:lnTo>
                        <a:pt x="160" y="194"/>
                      </a:lnTo>
                      <a:lnTo>
                        <a:pt x="156" y="194"/>
                      </a:lnTo>
                      <a:lnTo>
                        <a:pt x="152" y="194"/>
                      </a:lnTo>
                      <a:lnTo>
                        <a:pt x="150" y="194"/>
                      </a:lnTo>
                      <a:lnTo>
                        <a:pt x="146" y="190"/>
                      </a:lnTo>
                      <a:lnTo>
                        <a:pt x="142" y="190"/>
                      </a:lnTo>
                      <a:lnTo>
                        <a:pt x="138" y="190"/>
                      </a:lnTo>
                      <a:lnTo>
                        <a:pt x="136" y="190"/>
                      </a:lnTo>
                      <a:lnTo>
                        <a:pt x="132" y="190"/>
                      </a:lnTo>
                      <a:lnTo>
                        <a:pt x="128" y="190"/>
                      </a:lnTo>
                      <a:lnTo>
                        <a:pt x="124" y="190"/>
                      </a:lnTo>
                      <a:lnTo>
                        <a:pt x="124" y="186"/>
                      </a:lnTo>
                      <a:lnTo>
                        <a:pt x="120" y="184"/>
                      </a:lnTo>
                      <a:lnTo>
                        <a:pt x="116" y="184"/>
                      </a:lnTo>
                      <a:lnTo>
                        <a:pt x="116" y="180"/>
                      </a:lnTo>
                      <a:lnTo>
                        <a:pt x="116" y="176"/>
                      </a:lnTo>
                      <a:lnTo>
                        <a:pt x="112" y="176"/>
                      </a:lnTo>
                      <a:lnTo>
                        <a:pt x="112" y="172"/>
                      </a:lnTo>
                      <a:lnTo>
                        <a:pt x="112" y="168"/>
                      </a:lnTo>
                      <a:lnTo>
                        <a:pt x="112" y="164"/>
                      </a:lnTo>
                      <a:lnTo>
                        <a:pt x="110" y="164"/>
                      </a:lnTo>
                      <a:lnTo>
                        <a:pt x="110" y="160"/>
                      </a:lnTo>
                      <a:lnTo>
                        <a:pt x="106" y="160"/>
                      </a:lnTo>
                      <a:lnTo>
                        <a:pt x="98" y="160"/>
                      </a:lnTo>
                      <a:lnTo>
                        <a:pt x="98" y="158"/>
                      </a:lnTo>
                      <a:lnTo>
                        <a:pt x="94" y="158"/>
                      </a:lnTo>
                      <a:lnTo>
                        <a:pt x="94" y="154"/>
                      </a:lnTo>
                      <a:lnTo>
                        <a:pt x="90" y="154"/>
                      </a:lnTo>
                      <a:lnTo>
                        <a:pt x="90" y="150"/>
                      </a:lnTo>
                      <a:lnTo>
                        <a:pt x="86" y="150"/>
                      </a:lnTo>
                      <a:lnTo>
                        <a:pt x="84" y="150"/>
                      </a:lnTo>
                      <a:lnTo>
                        <a:pt x="84" y="146"/>
                      </a:lnTo>
                      <a:lnTo>
                        <a:pt x="80" y="146"/>
                      </a:lnTo>
                      <a:lnTo>
                        <a:pt x="76" y="146"/>
                      </a:lnTo>
                      <a:lnTo>
                        <a:pt x="72" y="146"/>
                      </a:lnTo>
                      <a:lnTo>
                        <a:pt x="68" y="146"/>
                      </a:lnTo>
                      <a:lnTo>
                        <a:pt x="64" y="146"/>
                      </a:lnTo>
                      <a:lnTo>
                        <a:pt x="60" y="146"/>
                      </a:lnTo>
                      <a:lnTo>
                        <a:pt x="54" y="146"/>
                      </a:lnTo>
                      <a:lnTo>
                        <a:pt x="54" y="142"/>
                      </a:lnTo>
                      <a:lnTo>
                        <a:pt x="50" y="142"/>
                      </a:lnTo>
                      <a:lnTo>
                        <a:pt x="46" y="142"/>
                      </a:lnTo>
                      <a:lnTo>
                        <a:pt x="46" y="138"/>
                      </a:lnTo>
                      <a:lnTo>
                        <a:pt x="42" y="138"/>
                      </a:lnTo>
                      <a:lnTo>
                        <a:pt x="42" y="134"/>
                      </a:lnTo>
                      <a:lnTo>
                        <a:pt x="42" y="130"/>
                      </a:lnTo>
                      <a:lnTo>
                        <a:pt x="46" y="128"/>
                      </a:lnTo>
                      <a:lnTo>
                        <a:pt x="46" y="124"/>
                      </a:lnTo>
                      <a:lnTo>
                        <a:pt x="46" y="120"/>
                      </a:lnTo>
                      <a:lnTo>
                        <a:pt x="50" y="116"/>
                      </a:lnTo>
                      <a:lnTo>
                        <a:pt x="46" y="112"/>
                      </a:lnTo>
                      <a:lnTo>
                        <a:pt x="50" y="112"/>
                      </a:lnTo>
                      <a:lnTo>
                        <a:pt x="46" y="112"/>
                      </a:lnTo>
                      <a:lnTo>
                        <a:pt x="46" y="108"/>
                      </a:lnTo>
                      <a:lnTo>
                        <a:pt x="46" y="104"/>
                      </a:lnTo>
                      <a:lnTo>
                        <a:pt x="42" y="104"/>
                      </a:lnTo>
                      <a:lnTo>
                        <a:pt x="42" y="100"/>
                      </a:lnTo>
                      <a:lnTo>
                        <a:pt x="38" y="100"/>
                      </a:lnTo>
                      <a:lnTo>
                        <a:pt x="38" y="98"/>
                      </a:lnTo>
                      <a:lnTo>
                        <a:pt x="38" y="94"/>
                      </a:lnTo>
                      <a:lnTo>
                        <a:pt x="38" y="90"/>
                      </a:lnTo>
                      <a:lnTo>
                        <a:pt x="34" y="90"/>
                      </a:lnTo>
                      <a:lnTo>
                        <a:pt x="34" y="86"/>
                      </a:lnTo>
                      <a:lnTo>
                        <a:pt x="30" y="86"/>
                      </a:lnTo>
                      <a:lnTo>
                        <a:pt x="30" y="90"/>
                      </a:lnTo>
                      <a:lnTo>
                        <a:pt x="28" y="86"/>
                      </a:lnTo>
                      <a:lnTo>
                        <a:pt x="24" y="86"/>
                      </a:lnTo>
                      <a:lnTo>
                        <a:pt x="20" y="86"/>
                      </a:lnTo>
                      <a:lnTo>
                        <a:pt x="20" y="82"/>
                      </a:lnTo>
                      <a:lnTo>
                        <a:pt x="16" y="82"/>
                      </a:lnTo>
                      <a:lnTo>
                        <a:pt x="12" y="82"/>
                      </a:lnTo>
                      <a:lnTo>
                        <a:pt x="12" y="78"/>
                      </a:lnTo>
                      <a:lnTo>
                        <a:pt x="8" y="74"/>
                      </a:lnTo>
                      <a:lnTo>
                        <a:pt x="4" y="74"/>
                      </a:lnTo>
                      <a:lnTo>
                        <a:pt x="4" y="72"/>
                      </a:lnTo>
                      <a:lnTo>
                        <a:pt x="0" y="68"/>
                      </a:lnTo>
                      <a:lnTo>
                        <a:pt x="4" y="64"/>
                      </a:lnTo>
                      <a:lnTo>
                        <a:pt x="0" y="64"/>
                      </a:lnTo>
                      <a:lnTo>
                        <a:pt x="0" y="60"/>
                      </a:lnTo>
                      <a:lnTo>
                        <a:pt x="4" y="60"/>
                      </a:lnTo>
                      <a:lnTo>
                        <a:pt x="8" y="60"/>
                      </a:lnTo>
                      <a:lnTo>
                        <a:pt x="4" y="56"/>
                      </a:lnTo>
                      <a:lnTo>
                        <a:pt x="8" y="56"/>
                      </a:lnTo>
                      <a:lnTo>
                        <a:pt x="12" y="56"/>
                      </a:lnTo>
                      <a:lnTo>
                        <a:pt x="16" y="56"/>
                      </a:lnTo>
                      <a:lnTo>
                        <a:pt x="16" y="52"/>
                      </a:lnTo>
                      <a:lnTo>
                        <a:pt x="20" y="52"/>
                      </a:lnTo>
                      <a:lnTo>
                        <a:pt x="20" y="56"/>
                      </a:lnTo>
                      <a:lnTo>
                        <a:pt x="20" y="52"/>
                      </a:lnTo>
                      <a:lnTo>
                        <a:pt x="24" y="52"/>
                      </a:lnTo>
                      <a:lnTo>
                        <a:pt x="28" y="52"/>
                      </a:lnTo>
                      <a:lnTo>
                        <a:pt x="28" y="48"/>
                      </a:lnTo>
                      <a:lnTo>
                        <a:pt x="30" y="48"/>
                      </a:lnTo>
                      <a:lnTo>
                        <a:pt x="28" y="48"/>
                      </a:lnTo>
                      <a:lnTo>
                        <a:pt x="28" y="44"/>
                      </a:lnTo>
                      <a:lnTo>
                        <a:pt x="30" y="44"/>
                      </a:lnTo>
                      <a:lnTo>
                        <a:pt x="34" y="44"/>
                      </a:lnTo>
                      <a:lnTo>
                        <a:pt x="34" y="42"/>
                      </a:lnTo>
                      <a:lnTo>
                        <a:pt x="38" y="42"/>
                      </a:lnTo>
                      <a:lnTo>
                        <a:pt x="38" y="38"/>
                      </a:lnTo>
                      <a:lnTo>
                        <a:pt x="42" y="38"/>
                      </a:lnTo>
                      <a:lnTo>
                        <a:pt x="42" y="42"/>
                      </a:lnTo>
                      <a:lnTo>
                        <a:pt x="42" y="38"/>
                      </a:lnTo>
                      <a:lnTo>
                        <a:pt x="46" y="38"/>
                      </a:lnTo>
                      <a:lnTo>
                        <a:pt x="46" y="34"/>
                      </a:lnTo>
                      <a:lnTo>
                        <a:pt x="50" y="34"/>
                      </a:lnTo>
                      <a:lnTo>
                        <a:pt x="54" y="34"/>
                      </a:lnTo>
                      <a:lnTo>
                        <a:pt x="56" y="30"/>
                      </a:lnTo>
                      <a:lnTo>
                        <a:pt x="60" y="30"/>
                      </a:lnTo>
                      <a:lnTo>
                        <a:pt x="64" y="30"/>
                      </a:lnTo>
                      <a:lnTo>
                        <a:pt x="64" y="26"/>
                      </a:lnTo>
                      <a:lnTo>
                        <a:pt x="68" y="26"/>
                      </a:lnTo>
                      <a:lnTo>
                        <a:pt x="72" y="30"/>
                      </a:lnTo>
                      <a:lnTo>
                        <a:pt x="72" y="26"/>
                      </a:lnTo>
                      <a:lnTo>
                        <a:pt x="76" y="26"/>
                      </a:lnTo>
                      <a:lnTo>
                        <a:pt x="76" y="30"/>
                      </a:lnTo>
                      <a:lnTo>
                        <a:pt x="80" y="30"/>
                      </a:lnTo>
                      <a:lnTo>
                        <a:pt x="84" y="30"/>
                      </a:lnTo>
                      <a:lnTo>
                        <a:pt x="86" y="30"/>
                      </a:lnTo>
                      <a:lnTo>
                        <a:pt x="90" y="30"/>
                      </a:lnTo>
                      <a:lnTo>
                        <a:pt x="94" y="30"/>
                      </a:lnTo>
                      <a:lnTo>
                        <a:pt x="94" y="34"/>
                      </a:lnTo>
                      <a:lnTo>
                        <a:pt x="94" y="38"/>
                      </a:lnTo>
                      <a:lnTo>
                        <a:pt x="94" y="42"/>
                      </a:lnTo>
                      <a:lnTo>
                        <a:pt x="98" y="42"/>
                      </a:lnTo>
                      <a:lnTo>
                        <a:pt x="98" y="44"/>
                      </a:lnTo>
                      <a:lnTo>
                        <a:pt x="102" y="42"/>
                      </a:lnTo>
                      <a:lnTo>
                        <a:pt x="106" y="44"/>
                      </a:lnTo>
                      <a:lnTo>
                        <a:pt x="110" y="44"/>
                      </a:lnTo>
                      <a:lnTo>
                        <a:pt x="112" y="44"/>
                      </a:lnTo>
                      <a:lnTo>
                        <a:pt x="116" y="44"/>
                      </a:lnTo>
                      <a:lnTo>
                        <a:pt x="120" y="44"/>
                      </a:lnTo>
                      <a:lnTo>
                        <a:pt x="124" y="44"/>
                      </a:lnTo>
                      <a:lnTo>
                        <a:pt x="128" y="44"/>
                      </a:lnTo>
                      <a:lnTo>
                        <a:pt x="132" y="44"/>
                      </a:lnTo>
                      <a:lnTo>
                        <a:pt x="136" y="48"/>
                      </a:lnTo>
                      <a:lnTo>
                        <a:pt x="138" y="48"/>
                      </a:lnTo>
                      <a:lnTo>
                        <a:pt x="138" y="44"/>
                      </a:lnTo>
                      <a:lnTo>
                        <a:pt x="142" y="44"/>
                      </a:lnTo>
                      <a:lnTo>
                        <a:pt x="146" y="44"/>
                      </a:lnTo>
                      <a:lnTo>
                        <a:pt x="146" y="42"/>
                      </a:lnTo>
                      <a:lnTo>
                        <a:pt x="150" y="42"/>
                      </a:lnTo>
                      <a:lnTo>
                        <a:pt x="150" y="38"/>
                      </a:lnTo>
                      <a:lnTo>
                        <a:pt x="150" y="34"/>
                      </a:lnTo>
                      <a:lnTo>
                        <a:pt x="146" y="30"/>
                      </a:lnTo>
                      <a:lnTo>
                        <a:pt x="146" y="26"/>
                      </a:lnTo>
                      <a:lnTo>
                        <a:pt x="142" y="22"/>
                      </a:lnTo>
                      <a:lnTo>
                        <a:pt x="146" y="18"/>
                      </a:lnTo>
                      <a:lnTo>
                        <a:pt x="146" y="14"/>
                      </a:lnTo>
                      <a:lnTo>
                        <a:pt x="146" y="12"/>
                      </a:lnTo>
                      <a:lnTo>
                        <a:pt x="150" y="12"/>
                      </a:lnTo>
                      <a:lnTo>
                        <a:pt x="150" y="14"/>
                      </a:lnTo>
                      <a:lnTo>
                        <a:pt x="150" y="12"/>
                      </a:lnTo>
                      <a:lnTo>
                        <a:pt x="150" y="8"/>
                      </a:lnTo>
                      <a:lnTo>
                        <a:pt x="152" y="8"/>
                      </a:lnTo>
                      <a:lnTo>
                        <a:pt x="156" y="8"/>
                      </a:lnTo>
                      <a:lnTo>
                        <a:pt x="156" y="4"/>
                      </a:lnTo>
                      <a:lnTo>
                        <a:pt x="156" y="0"/>
                      </a:lnTo>
                      <a:lnTo>
                        <a:pt x="160" y="0"/>
                      </a:lnTo>
                      <a:lnTo>
                        <a:pt x="164" y="4"/>
                      </a:lnTo>
                      <a:lnTo>
                        <a:pt x="168" y="4"/>
                      </a:lnTo>
                      <a:lnTo>
                        <a:pt x="172" y="4"/>
                      </a:lnTo>
                      <a:lnTo>
                        <a:pt x="172" y="8"/>
                      </a:lnTo>
                      <a:lnTo>
                        <a:pt x="176" y="8"/>
                      </a:lnTo>
                      <a:lnTo>
                        <a:pt x="180" y="8"/>
                      </a:lnTo>
                      <a:lnTo>
                        <a:pt x="182" y="8"/>
                      </a:lnTo>
                      <a:lnTo>
                        <a:pt x="186" y="12"/>
                      </a:lnTo>
                      <a:lnTo>
                        <a:pt x="190" y="12"/>
                      </a:lnTo>
                      <a:lnTo>
                        <a:pt x="194" y="14"/>
                      </a:lnTo>
                      <a:lnTo>
                        <a:pt x="194" y="12"/>
                      </a:lnTo>
                      <a:lnTo>
                        <a:pt x="198" y="12"/>
                      </a:lnTo>
                      <a:lnTo>
                        <a:pt x="198" y="14"/>
                      </a:lnTo>
                      <a:lnTo>
                        <a:pt x="202" y="14"/>
                      </a:lnTo>
                      <a:lnTo>
                        <a:pt x="206" y="14"/>
                      </a:lnTo>
                      <a:lnTo>
                        <a:pt x="206" y="18"/>
                      </a:lnTo>
                      <a:lnTo>
                        <a:pt x="206" y="22"/>
                      </a:lnTo>
                      <a:lnTo>
                        <a:pt x="206" y="26"/>
                      </a:lnTo>
                      <a:lnTo>
                        <a:pt x="206" y="30"/>
                      </a:lnTo>
                      <a:lnTo>
                        <a:pt x="206" y="34"/>
                      </a:lnTo>
                      <a:lnTo>
                        <a:pt x="208" y="34"/>
                      </a:lnTo>
                      <a:lnTo>
                        <a:pt x="212" y="34"/>
                      </a:lnTo>
                      <a:lnTo>
                        <a:pt x="212" y="38"/>
                      </a:lnTo>
                      <a:lnTo>
                        <a:pt x="216" y="38"/>
                      </a:lnTo>
                      <a:lnTo>
                        <a:pt x="220" y="38"/>
                      </a:lnTo>
                      <a:lnTo>
                        <a:pt x="220" y="42"/>
                      </a:lnTo>
                      <a:lnTo>
                        <a:pt x="224" y="42"/>
                      </a:lnTo>
                      <a:lnTo>
                        <a:pt x="228" y="42"/>
                      </a:lnTo>
                      <a:lnTo>
                        <a:pt x="232" y="42"/>
                      </a:lnTo>
                      <a:lnTo>
                        <a:pt x="236" y="42"/>
                      </a:lnTo>
                      <a:lnTo>
                        <a:pt x="236" y="38"/>
                      </a:lnTo>
                      <a:lnTo>
                        <a:pt x="238" y="38"/>
                      </a:lnTo>
                      <a:lnTo>
                        <a:pt x="242" y="34"/>
                      </a:lnTo>
                      <a:lnTo>
                        <a:pt x="246" y="38"/>
                      </a:lnTo>
                      <a:lnTo>
                        <a:pt x="246" y="34"/>
                      </a:lnTo>
                      <a:lnTo>
                        <a:pt x="250" y="34"/>
                      </a:lnTo>
                      <a:lnTo>
                        <a:pt x="254" y="34"/>
                      </a:lnTo>
                      <a:lnTo>
                        <a:pt x="258" y="34"/>
                      </a:lnTo>
                      <a:lnTo>
                        <a:pt x="258" y="38"/>
                      </a:lnTo>
                      <a:lnTo>
                        <a:pt x="262" y="38"/>
                      </a:lnTo>
                      <a:lnTo>
                        <a:pt x="264" y="38"/>
                      </a:lnTo>
                      <a:lnTo>
                        <a:pt x="268" y="38"/>
                      </a:lnTo>
                      <a:lnTo>
                        <a:pt x="272" y="42"/>
                      </a:lnTo>
                      <a:lnTo>
                        <a:pt x="276" y="44"/>
                      </a:lnTo>
                      <a:lnTo>
                        <a:pt x="280" y="44"/>
                      </a:lnTo>
                      <a:lnTo>
                        <a:pt x="284" y="44"/>
                      </a:lnTo>
                      <a:lnTo>
                        <a:pt x="288" y="44"/>
                      </a:lnTo>
                      <a:lnTo>
                        <a:pt x="288" y="48"/>
                      </a:lnTo>
                      <a:lnTo>
                        <a:pt x="288" y="52"/>
                      </a:lnTo>
                      <a:lnTo>
                        <a:pt x="290" y="56"/>
                      </a:lnTo>
                      <a:lnTo>
                        <a:pt x="294" y="56"/>
                      </a:lnTo>
                      <a:lnTo>
                        <a:pt x="298" y="56"/>
                      </a:lnTo>
                      <a:lnTo>
                        <a:pt x="302" y="56"/>
                      </a:lnTo>
                      <a:lnTo>
                        <a:pt x="306" y="56"/>
                      </a:lnTo>
                      <a:lnTo>
                        <a:pt x="310" y="60"/>
                      </a:lnTo>
                      <a:lnTo>
                        <a:pt x="314" y="60"/>
                      </a:lnTo>
                      <a:lnTo>
                        <a:pt x="318" y="60"/>
                      </a:lnTo>
                      <a:lnTo>
                        <a:pt x="320" y="60"/>
                      </a:lnTo>
                      <a:lnTo>
                        <a:pt x="324" y="60"/>
                      </a:lnTo>
                      <a:lnTo>
                        <a:pt x="328" y="60"/>
                      </a:lnTo>
                      <a:lnTo>
                        <a:pt x="332" y="60"/>
                      </a:lnTo>
                      <a:lnTo>
                        <a:pt x="332" y="56"/>
                      </a:lnTo>
                      <a:lnTo>
                        <a:pt x="336" y="56"/>
                      </a:lnTo>
                      <a:lnTo>
                        <a:pt x="340" y="56"/>
                      </a:lnTo>
                      <a:lnTo>
                        <a:pt x="344" y="56"/>
                      </a:lnTo>
                      <a:lnTo>
                        <a:pt x="346" y="56"/>
                      </a:lnTo>
                      <a:lnTo>
                        <a:pt x="350" y="52"/>
                      </a:lnTo>
                      <a:lnTo>
                        <a:pt x="354" y="52"/>
                      </a:lnTo>
                      <a:lnTo>
                        <a:pt x="354" y="56"/>
                      </a:lnTo>
                      <a:lnTo>
                        <a:pt x="354" y="52"/>
                      </a:lnTo>
                      <a:lnTo>
                        <a:pt x="358" y="52"/>
                      </a:lnTo>
                      <a:lnTo>
                        <a:pt x="362" y="48"/>
                      </a:lnTo>
                      <a:lnTo>
                        <a:pt x="362" y="44"/>
                      </a:lnTo>
                      <a:lnTo>
                        <a:pt x="366" y="44"/>
                      </a:lnTo>
                      <a:lnTo>
                        <a:pt x="370" y="42"/>
                      </a:lnTo>
                      <a:lnTo>
                        <a:pt x="374" y="42"/>
                      </a:lnTo>
                      <a:lnTo>
                        <a:pt x="374" y="38"/>
                      </a:lnTo>
                      <a:lnTo>
                        <a:pt x="376" y="38"/>
                      </a:lnTo>
                      <a:lnTo>
                        <a:pt x="380" y="38"/>
                      </a:lnTo>
                      <a:lnTo>
                        <a:pt x="384" y="38"/>
                      </a:lnTo>
                      <a:lnTo>
                        <a:pt x="384" y="42"/>
                      </a:lnTo>
                      <a:lnTo>
                        <a:pt x="388" y="42"/>
                      </a:lnTo>
                      <a:lnTo>
                        <a:pt x="388" y="44"/>
                      </a:lnTo>
                      <a:lnTo>
                        <a:pt x="392" y="44"/>
                      </a:lnTo>
                      <a:lnTo>
                        <a:pt x="396" y="44"/>
                      </a:lnTo>
                      <a:lnTo>
                        <a:pt x="400" y="44"/>
                      </a:lnTo>
                      <a:lnTo>
                        <a:pt x="402" y="44"/>
                      </a:lnTo>
                      <a:lnTo>
                        <a:pt x="406" y="44"/>
                      </a:lnTo>
                      <a:lnTo>
                        <a:pt x="410" y="44"/>
                      </a:lnTo>
                      <a:lnTo>
                        <a:pt x="410" y="48"/>
                      </a:lnTo>
                      <a:lnTo>
                        <a:pt x="406" y="52"/>
                      </a:lnTo>
                      <a:lnTo>
                        <a:pt x="406" y="56"/>
                      </a:lnTo>
                      <a:lnTo>
                        <a:pt x="406" y="60"/>
                      </a:lnTo>
                      <a:lnTo>
                        <a:pt x="402" y="60"/>
                      </a:lnTo>
                      <a:lnTo>
                        <a:pt x="402" y="64"/>
                      </a:lnTo>
                      <a:lnTo>
                        <a:pt x="400" y="68"/>
                      </a:lnTo>
                      <a:lnTo>
                        <a:pt x="402" y="68"/>
                      </a:lnTo>
                      <a:lnTo>
                        <a:pt x="400" y="72"/>
                      </a:lnTo>
                      <a:lnTo>
                        <a:pt x="396" y="74"/>
                      </a:lnTo>
                      <a:lnTo>
                        <a:pt x="400" y="78"/>
                      </a:lnTo>
                      <a:lnTo>
                        <a:pt x="396" y="82"/>
                      </a:lnTo>
                      <a:lnTo>
                        <a:pt x="392" y="82"/>
                      </a:lnTo>
                      <a:lnTo>
                        <a:pt x="396" y="86"/>
                      </a:lnTo>
                      <a:lnTo>
                        <a:pt x="400" y="90"/>
                      </a:lnTo>
                      <a:lnTo>
                        <a:pt x="402" y="90"/>
                      </a:lnTo>
                      <a:lnTo>
                        <a:pt x="402" y="86"/>
                      </a:lnTo>
                      <a:lnTo>
                        <a:pt x="406" y="90"/>
                      </a:lnTo>
                      <a:lnTo>
                        <a:pt x="410" y="86"/>
                      </a:lnTo>
                      <a:lnTo>
                        <a:pt x="414" y="86"/>
                      </a:lnTo>
                      <a:lnTo>
                        <a:pt x="414" y="90"/>
                      </a:lnTo>
                      <a:lnTo>
                        <a:pt x="418" y="94"/>
                      </a:lnTo>
                      <a:lnTo>
                        <a:pt x="422" y="90"/>
                      </a:lnTo>
                      <a:lnTo>
                        <a:pt x="422" y="86"/>
                      </a:lnTo>
                      <a:lnTo>
                        <a:pt x="426" y="86"/>
                      </a:lnTo>
                      <a:lnTo>
                        <a:pt x="428" y="86"/>
                      </a:lnTo>
                      <a:lnTo>
                        <a:pt x="432" y="86"/>
                      </a:lnTo>
                      <a:lnTo>
                        <a:pt x="436" y="86"/>
                      </a:lnTo>
                      <a:lnTo>
                        <a:pt x="440" y="90"/>
                      </a:lnTo>
                      <a:lnTo>
                        <a:pt x="444" y="94"/>
                      </a:lnTo>
                      <a:lnTo>
                        <a:pt x="448" y="94"/>
                      </a:lnTo>
                      <a:lnTo>
                        <a:pt x="448" y="98"/>
                      </a:lnTo>
                      <a:lnTo>
                        <a:pt x="448" y="100"/>
                      </a:lnTo>
                      <a:lnTo>
                        <a:pt x="452" y="100"/>
                      </a:lnTo>
                      <a:lnTo>
                        <a:pt x="456" y="104"/>
                      </a:lnTo>
                      <a:lnTo>
                        <a:pt x="456" y="108"/>
                      </a:lnTo>
                      <a:lnTo>
                        <a:pt x="456" y="112"/>
                      </a:lnTo>
                      <a:lnTo>
                        <a:pt x="452" y="112"/>
                      </a:lnTo>
                      <a:lnTo>
                        <a:pt x="448" y="112"/>
                      </a:lnTo>
                      <a:lnTo>
                        <a:pt x="444" y="112"/>
                      </a:lnTo>
                      <a:lnTo>
                        <a:pt x="440" y="112"/>
                      </a:lnTo>
                      <a:lnTo>
                        <a:pt x="440" y="108"/>
                      </a:lnTo>
                      <a:lnTo>
                        <a:pt x="440" y="112"/>
                      </a:lnTo>
                      <a:lnTo>
                        <a:pt x="436" y="112"/>
                      </a:lnTo>
                      <a:lnTo>
                        <a:pt x="432" y="112"/>
                      </a:lnTo>
                      <a:lnTo>
                        <a:pt x="428" y="112"/>
                      </a:lnTo>
                      <a:lnTo>
                        <a:pt x="426" y="112"/>
                      </a:lnTo>
                      <a:lnTo>
                        <a:pt x="426" y="116"/>
                      </a:lnTo>
                      <a:lnTo>
                        <a:pt x="422" y="116"/>
                      </a:lnTo>
                      <a:lnTo>
                        <a:pt x="422" y="112"/>
                      </a:lnTo>
                      <a:lnTo>
                        <a:pt x="422" y="116"/>
                      </a:lnTo>
                      <a:lnTo>
                        <a:pt x="418" y="116"/>
                      </a:lnTo>
                      <a:lnTo>
                        <a:pt x="418" y="120"/>
                      </a:lnTo>
                      <a:lnTo>
                        <a:pt x="414" y="120"/>
                      </a:lnTo>
                      <a:lnTo>
                        <a:pt x="410" y="120"/>
                      </a:lnTo>
                      <a:lnTo>
                        <a:pt x="410" y="120"/>
                      </a:lnTo>
                      <a:lnTo>
                        <a:pt x="410" y="12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3" name="Freeform 42"/>
                <p:cNvSpPr>
                  <a:spLocks noEditPoints="1"/>
                </p:cNvSpPr>
                <p:nvPr/>
              </p:nvSpPr>
              <p:spPr bwMode="auto">
                <a:xfrm>
                  <a:off x="6464300" y="3768793"/>
                  <a:ext cx="200025" cy="520700"/>
                </a:xfrm>
                <a:custGeom>
                  <a:avLst/>
                  <a:gdLst>
                    <a:gd name="T0" fmla="*/ 88 w 126"/>
                    <a:gd name="T1" fmla="*/ 314 h 328"/>
                    <a:gd name="T2" fmla="*/ 88 w 126"/>
                    <a:gd name="T3" fmla="*/ 294 h 328"/>
                    <a:gd name="T4" fmla="*/ 88 w 126"/>
                    <a:gd name="T5" fmla="*/ 280 h 328"/>
                    <a:gd name="T6" fmla="*/ 86 w 126"/>
                    <a:gd name="T7" fmla="*/ 262 h 328"/>
                    <a:gd name="T8" fmla="*/ 78 w 126"/>
                    <a:gd name="T9" fmla="*/ 242 h 328"/>
                    <a:gd name="T10" fmla="*/ 78 w 126"/>
                    <a:gd name="T11" fmla="*/ 220 h 328"/>
                    <a:gd name="T12" fmla="*/ 72 w 126"/>
                    <a:gd name="T13" fmla="*/ 202 h 328"/>
                    <a:gd name="T14" fmla="*/ 64 w 126"/>
                    <a:gd name="T15" fmla="*/ 208 h 328"/>
                    <a:gd name="T16" fmla="*/ 56 w 126"/>
                    <a:gd name="T17" fmla="*/ 216 h 328"/>
                    <a:gd name="T18" fmla="*/ 42 w 126"/>
                    <a:gd name="T19" fmla="*/ 224 h 328"/>
                    <a:gd name="T20" fmla="*/ 38 w 126"/>
                    <a:gd name="T21" fmla="*/ 228 h 328"/>
                    <a:gd name="T22" fmla="*/ 34 w 126"/>
                    <a:gd name="T23" fmla="*/ 220 h 328"/>
                    <a:gd name="T24" fmla="*/ 30 w 126"/>
                    <a:gd name="T25" fmla="*/ 208 h 328"/>
                    <a:gd name="T26" fmla="*/ 30 w 126"/>
                    <a:gd name="T27" fmla="*/ 182 h 328"/>
                    <a:gd name="T28" fmla="*/ 22 w 126"/>
                    <a:gd name="T29" fmla="*/ 164 h 328"/>
                    <a:gd name="T30" fmla="*/ 18 w 126"/>
                    <a:gd name="T31" fmla="*/ 152 h 328"/>
                    <a:gd name="T32" fmla="*/ 12 w 126"/>
                    <a:gd name="T33" fmla="*/ 152 h 328"/>
                    <a:gd name="T34" fmla="*/ 12 w 126"/>
                    <a:gd name="T35" fmla="*/ 146 h 328"/>
                    <a:gd name="T36" fmla="*/ 8 w 126"/>
                    <a:gd name="T37" fmla="*/ 146 h 328"/>
                    <a:gd name="T38" fmla="*/ 4 w 126"/>
                    <a:gd name="T39" fmla="*/ 128 h 328"/>
                    <a:gd name="T40" fmla="*/ 12 w 126"/>
                    <a:gd name="T41" fmla="*/ 116 h 328"/>
                    <a:gd name="T42" fmla="*/ 12 w 126"/>
                    <a:gd name="T43" fmla="*/ 102 h 328"/>
                    <a:gd name="T44" fmla="*/ 16 w 126"/>
                    <a:gd name="T45" fmla="*/ 82 h 328"/>
                    <a:gd name="T46" fmla="*/ 30 w 126"/>
                    <a:gd name="T47" fmla="*/ 80 h 328"/>
                    <a:gd name="T48" fmla="*/ 38 w 126"/>
                    <a:gd name="T49" fmla="*/ 54 h 328"/>
                    <a:gd name="T50" fmla="*/ 46 w 126"/>
                    <a:gd name="T51" fmla="*/ 30 h 328"/>
                    <a:gd name="T52" fmla="*/ 72 w 126"/>
                    <a:gd name="T53" fmla="*/ 26 h 328"/>
                    <a:gd name="T54" fmla="*/ 72 w 126"/>
                    <a:gd name="T55" fmla="*/ 4 h 328"/>
                    <a:gd name="T56" fmla="*/ 86 w 126"/>
                    <a:gd name="T57" fmla="*/ 12 h 328"/>
                    <a:gd name="T58" fmla="*/ 92 w 126"/>
                    <a:gd name="T59" fmla="*/ 26 h 328"/>
                    <a:gd name="T60" fmla="*/ 92 w 126"/>
                    <a:gd name="T61" fmla="*/ 50 h 328"/>
                    <a:gd name="T62" fmla="*/ 78 w 126"/>
                    <a:gd name="T63" fmla="*/ 68 h 328"/>
                    <a:gd name="T64" fmla="*/ 78 w 126"/>
                    <a:gd name="T65" fmla="*/ 82 h 328"/>
                    <a:gd name="T66" fmla="*/ 92 w 126"/>
                    <a:gd name="T67" fmla="*/ 82 h 328"/>
                    <a:gd name="T68" fmla="*/ 104 w 126"/>
                    <a:gd name="T69" fmla="*/ 98 h 328"/>
                    <a:gd name="T70" fmla="*/ 104 w 126"/>
                    <a:gd name="T71" fmla="*/ 116 h 328"/>
                    <a:gd name="T72" fmla="*/ 122 w 126"/>
                    <a:gd name="T73" fmla="*/ 124 h 328"/>
                    <a:gd name="T74" fmla="*/ 114 w 126"/>
                    <a:gd name="T75" fmla="*/ 138 h 328"/>
                    <a:gd name="T76" fmla="*/ 104 w 126"/>
                    <a:gd name="T77" fmla="*/ 150 h 328"/>
                    <a:gd name="T78" fmla="*/ 88 w 126"/>
                    <a:gd name="T79" fmla="*/ 156 h 328"/>
                    <a:gd name="T80" fmla="*/ 78 w 126"/>
                    <a:gd name="T81" fmla="*/ 176 h 328"/>
                    <a:gd name="T82" fmla="*/ 78 w 126"/>
                    <a:gd name="T83" fmla="*/ 186 h 328"/>
                    <a:gd name="T84" fmla="*/ 88 w 126"/>
                    <a:gd name="T85" fmla="*/ 206 h 328"/>
                    <a:gd name="T86" fmla="*/ 88 w 126"/>
                    <a:gd name="T87" fmla="*/ 228 h 328"/>
                    <a:gd name="T88" fmla="*/ 88 w 126"/>
                    <a:gd name="T89" fmla="*/ 250 h 328"/>
                    <a:gd name="T90" fmla="*/ 100 w 126"/>
                    <a:gd name="T91" fmla="*/ 268 h 328"/>
                    <a:gd name="T92" fmla="*/ 104 w 126"/>
                    <a:gd name="T93" fmla="*/ 294 h 328"/>
                    <a:gd name="T94" fmla="*/ 92 w 126"/>
                    <a:gd name="T95" fmla="*/ 314 h 328"/>
                    <a:gd name="T96" fmla="*/ 22 w 126"/>
                    <a:gd name="T97" fmla="*/ 164 h 328"/>
                    <a:gd name="T98" fmla="*/ 8 w 126"/>
                    <a:gd name="T99" fmla="*/ 146 h 328"/>
                    <a:gd name="T100" fmla="*/ 26 w 126"/>
                    <a:gd name="T101" fmla="*/ 164 h 328"/>
                    <a:gd name="T102" fmla="*/ 74 w 126"/>
                    <a:gd name="T103" fmla="*/ 212 h 328"/>
                    <a:gd name="T104" fmla="*/ 34 w 126"/>
                    <a:gd name="T105" fmla="*/ 224 h 328"/>
                    <a:gd name="T106" fmla="*/ 82 w 126"/>
                    <a:gd name="T107" fmla="*/ 290 h 328"/>
                    <a:gd name="T108" fmla="*/ 86 w 126"/>
                    <a:gd name="T109" fmla="*/ 328 h 328"/>
                    <a:gd name="T110" fmla="*/ 86 w 126"/>
                    <a:gd name="T111" fmla="*/ 288 h 328"/>
                    <a:gd name="T112" fmla="*/ 82 w 126"/>
                    <a:gd name="T113" fmla="*/ 284 h 328"/>
                    <a:gd name="T114" fmla="*/ 88 w 126"/>
                    <a:gd name="T115" fmla="*/ 290 h 328"/>
                    <a:gd name="T116" fmla="*/ 86 w 126"/>
                    <a:gd name="T117" fmla="*/ 302 h 328"/>
                    <a:gd name="T118" fmla="*/ 82 w 126"/>
                    <a:gd name="T119" fmla="*/ 310 h 3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26" h="328">
                      <a:moveTo>
                        <a:pt x="92" y="314"/>
                      </a:moveTo>
                      <a:lnTo>
                        <a:pt x="92" y="318"/>
                      </a:lnTo>
                      <a:lnTo>
                        <a:pt x="92" y="320"/>
                      </a:lnTo>
                      <a:lnTo>
                        <a:pt x="88" y="324"/>
                      </a:lnTo>
                      <a:lnTo>
                        <a:pt x="88" y="328"/>
                      </a:lnTo>
                      <a:lnTo>
                        <a:pt x="88" y="324"/>
                      </a:lnTo>
                      <a:lnTo>
                        <a:pt x="88" y="320"/>
                      </a:lnTo>
                      <a:lnTo>
                        <a:pt x="88" y="314"/>
                      </a:lnTo>
                      <a:lnTo>
                        <a:pt x="92" y="310"/>
                      </a:lnTo>
                      <a:lnTo>
                        <a:pt x="92" y="306"/>
                      </a:lnTo>
                      <a:lnTo>
                        <a:pt x="92" y="302"/>
                      </a:lnTo>
                      <a:lnTo>
                        <a:pt x="92" y="298"/>
                      </a:lnTo>
                      <a:lnTo>
                        <a:pt x="92" y="294"/>
                      </a:lnTo>
                      <a:lnTo>
                        <a:pt x="92" y="298"/>
                      </a:lnTo>
                      <a:lnTo>
                        <a:pt x="88" y="298"/>
                      </a:lnTo>
                      <a:lnTo>
                        <a:pt x="88" y="294"/>
                      </a:lnTo>
                      <a:lnTo>
                        <a:pt x="92" y="290"/>
                      </a:lnTo>
                      <a:lnTo>
                        <a:pt x="88" y="290"/>
                      </a:lnTo>
                      <a:lnTo>
                        <a:pt x="92" y="288"/>
                      </a:lnTo>
                      <a:lnTo>
                        <a:pt x="88" y="288"/>
                      </a:lnTo>
                      <a:lnTo>
                        <a:pt x="92" y="288"/>
                      </a:lnTo>
                      <a:lnTo>
                        <a:pt x="88" y="288"/>
                      </a:lnTo>
                      <a:lnTo>
                        <a:pt x="88" y="284"/>
                      </a:lnTo>
                      <a:lnTo>
                        <a:pt x="88" y="280"/>
                      </a:lnTo>
                      <a:lnTo>
                        <a:pt x="88" y="276"/>
                      </a:lnTo>
                      <a:lnTo>
                        <a:pt x="88" y="272"/>
                      </a:lnTo>
                      <a:lnTo>
                        <a:pt x="88" y="268"/>
                      </a:lnTo>
                      <a:lnTo>
                        <a:pt x="88" y="264"/>
                      </a:lnTo>
                      <a:lnTo>
                        <a:pt x="86" y="264"/>
                      </a:lnTo>
                      <a:lnTo>
                        <a:pt x="86" y="262"/>
                      </a:lnTo>
                      <a:lnTo>
                        <a:pt x="86" y="258"/>
                      </a:lnTo>
                      <a:lnTo>
                        <a:pt x="86" y="262"/>
                      </a:lnTo>
                      <a:lnTo>
                        <a:pt x="86" y="264"/>
                      </a:lnTo>
                      <a:lnTo>
                        <a:pt x="82" y="264"/>
                      </a:lnTo>
                      <a:lnTo>
                        <a:pt x="82" y="262"/>
                      </a:lnTo>
                      <a:lnTo>
                        <a:pt x="82" y="258"/>
                      </a:lnTo>
                      <a:lnTo>
                        <a:pt x="82" y="254"/>
                      </a:lnTo>
                      <a:lnTo>
                        <a:pt x="82" y="250"/>
                      </a:lnTo>
                      <a:lnTo>
                        <a:pt x="78" y="246"/>
                      </a:lnTo>
                      <a:lnTo>
                        <a:pt x="78" y="242"/>
                      </a:lnTo>
                      <a:lnTo>
                        <a:pt x="78" y="238"/>
                      </a:lnTo>
                      <a:lnTo>
                        <a:pt x="78" y="234"/>
                      </a:lnTo>
                      <a:lnTo>
                        <a:pt x="78" y="232"/>
                      </a:lnTo>
                      <a:lnTo>
                        <a:pt x="78" y="228"/>
                      </a:lnTo>
                      <a:lnTo>
                        <a:pt x="78" y="224"/>
                      </a:lnTo>
                      <a:lnTo>
                        <a:pt x="74" y="224"/>
                      </a:lnTo>
                      <a:lnTo>
                        <a:pt x="74" y="220"/>
                      </a:lnTo>
                      <a:lnTo>
                        <a:pt x="78" y="220"/>
                      </a:lnTo>
                      <a:lnTo>
                        <a:pt x="78" y="216"/>
                      </a:lnTo>
                      <a:lnTo>
                        <a:pt x="74" y="216"/>
                      </a:lnTo>
                      <a:lnTo>
                        <a:pt x="78" y="212"/>
                      </a:lnTo>
                      <a:lnTo>
                        <a:pt x="74" y="212"/>
                      </a:lnTo>
                      <a:lnTo>
                        <a:pt x="72" y="212"/>
                      </a:lnTo>
                      <a:lnTo>
                        <a:pt x="72" y="208"/>
                      </a:lnTo>
                      <a:lnTo>
                        <a:pt x="72" y="206"/>
                      </a:lnTo>
                      <a:lnTo>
                        <a:pt x="72" y="202"/>
                      </a:lnTo>
                      <a:lnTo>
                        <a:pt x="68" y="202"/>
                      </a:lnTo>
                      <a:lnTo>
                        <a:pt x="68" y="198"/>
                      </a:lnTo>
                      <a:lnTo>
                        <a:pt x="68" y="202"/>
                      </a:lnTo>
                      <a:lnTo>
                        <a:pt x="68" y="206"/>
                      </a:lnTo>
                      <a:lnTo>
                        <a:pt x="64" y="206"/>
                      </a:lnTo>
                      <a:lnTo>
                        <a:pt x="64" y="208"/>
                      </a:lnTo>
                      <a:lnTo>
                        <a:pt x="68" y="208"/>
                      </a:lnTo>
                      <a:lnTo>
                        <a:pt x="64" y="208"/>
                      </a:lnTo>
                      <a:lnTo>
                        <a:pt x="64" y="212"/>
                      </a:lnTo>
                      <a:lnTo>
                        <a:pt x="60" y="212"/>
                      </a:lnTo>
                      <a:lnTo>
                        <a:pt x="56" y="212"/>
                      </a:lnTo>
                      <a:lnTo>
                        <a:pt x="56" y="208"/>
                      </a:lnTo>
                      <a:lnTo>
                        <a:pt x="56" y="212"/>
                      </a:lnTo>
                      <a:lnTo>
                        <a:pt x="56" y="216"/>
                      </a:lnTo>
                      <a:lnTo>
                        <a:pt x="52" y="216"/>
                      </a:lnTo>
                      <a:lnTo>
                        <a:pt x="56" y="216"/>
                      </a:lnTo>
                      <a:lnTo>
                        <a:pt x="52" y="220"/>
                      </a:lnTo>
                      <a:lnTo>
                        <a:pt x="48" y="220"/>
                      </a:lnTo>
                      <a:lnTo>
                        <a:pt x="48" y="224"/>
                      </a:lnTo>
                      <a:lnTo>
                        <a:pt x="46" y="228"/>
                      </a:lnTo>
                      <a:lnTo>
                        <a:pt x="46" y="224"/>
                      </a:lnTo>
                      <a:lnTo>
                        <a:pt x="46" y="220"/>
                      </a:lnTo>
                      <a:lnTo>
                        <a:pt x="46" y="224"/>
                      </a:lnTo>
                      <a:lnTo>
                        <a:pt x="42" y="224"/>
                      </a:lnTo>
                      <a:lnTo>
                        <a:pt x="46" y="224"/>
                      </a:lnTo>
                      <a:lnTo>
                        <a:pt x="42" y="224"/>
                      </a:lnTo>
                      <a:lnTo>
                        <a:pt x="42" y="228"/>
                      </a:lnTo>
                      <a:lnTo>
                        <a:pt x="42" y="224"/>
                      </a:lnTo>
                      <a:lnTo>
                        <a:pt x="42" y="220"/>
                      </a:lnTo>
                      <a:lnTo>
                        <a:pt x="42" y="224"/>
                      </a:lnTo>
                      <a:lnTo>
                        <a:pt x="42" y="228"/>
                      </a:lnTo>
                      <a:lnTo>
                        <a:pt x="38" y="228"/>
                      </a:lnTo>
                      <a:lnTo>
                        <a:pt x="38" y="224"/>
                      </a:lnTo>
                      <a:lnTo>
                        <a:pt x="38" y="220"/>
                      </a:lnTo>
                      <a:lnTo>
                        <a:pt x="38" y="224"/>
                      </a:lnTo>
                      <a:lnTo>
                        <a:pt x="34" y="224"/>
                      </a:lnTo>
                      <a:lnTo>
                        <a:pt x="38" y="220"/>
                      </a:lnTo>
                      <a:lnTo>
                        <a:pt x="34" y="220"/>
                      </a:lnTo>
                      <a:lnTo>
                        <a:pt x="34" y="224"/>
                      </a:lnTo>
                      <a:lnTo>
                        <a:pt x="34" y="220"/>
                      </a:lnTo>
                      <a:lnTo>
                        <a:pt x="34" y="216"/>
                      </a:lnTo>
                      <a:lnTo>
                        <a:pt x="34" y="220"/>
                      </a:lnTo>
                      <a:lnTo>
                        <a:pt x="30" y="220"/>
                      </a:lnTo>
                      <a:lnTo>
                        <a:pt x="30" y="224"/>
                      </a:lnTo>
                      <a:lnTo>
                        <a:pt x="26" y="224"/>
                      </a:lnTo>
                      <a:lnTo>
                        <a:pt x="30" y="216"/>
                      </a:lnTo>
                      <a:lnTo>
                        <a:pt x="30" y="212"/>
                      </a:lnTo>
                      <a:lnTo>
                        <a:pt x="30" y="208"/>
                      </a:lnTo>
                      <a:lnTo>
                        <a:pt x="30" y="206"/>
                      </a:lnTo>
                      <a:lnTo>
                        <a:pt x="34" y="202"/>
                      </a:lnTo>
                      <a:lnTo>
                        <a:pt x="34" y="198"/>
                      </a:lnTo>
                      <a:lnTo>
                        <a:pt x="34" y="194"/>
                      </a:lnTo>
                      <a:lnTo>
                        <a:pt x="34" y="190"/>
                      </a:lnTo>
                      <a:lnTo>
                        <a:pt x="30" y="186"/>
                      </a:lnTo>
                      <a:lnTo>
                        <a:pt x="34" y="186"/>
                      </a:lnTo>
                      <a:lnTo>
                        <a:pt x="30" y="182"/>
                      </a:lnTo>
                      <a:lnTo>
                        <a:pt x="30" y="180"/>
                      </a:lnTo>
                      <a:lnTo>
                        <a:pt x="30" y="176"/>
                      </a:lnTo>
                      <a:lnTo>
                        <a:pt x="26" y="172"/>
                      </a:lnTo>
                      <a:lnTo>
                        <a:pt x="26" y="176"/>
                      </a:lnTo>
                      <a:lnTo>
                        <a:pt x="26" y="172"/>
                      </a:lnTo>
                      <a:lnTo>
                        <a:pt x="26" y="168"/>
                      </a:lnTo>
                      <a:lnTo>
                        <a:pt x="22" y="168"/>
                      </a:lnTo>
                      <a:lnTo>
                        <a:pt x="22" y="164"/>
                      </a:lnTo>
                      <a:lnTo>
                        <a:pt x="26" y="164"/>
                      </a:lnTo>
                      <a:lnTo>
                        <a:pt x="22" y="160"/>
                      </a:lnTo>
                      <a:lnTo>
                        <a:pt x="22" y="156"/>
                      </a:lnTo>
                      <a:lnTo>
                        <a:pt x="18" y="156"/>
                      </a:lnTo>
                      <a:lnTo>
                        <a:pt x="22" y="152"/>
                      </a:lnTo>
                      <a:lnTo>
                        <a:pt x="22" y="156"/>
                      </a:lnTo>
                      <a:lnTo>
                        <a:pt x="22" y="152"/>
                      </a:lnTo>
                      <a:lnTo>
                        <a:pt x="18" y="152"/>
                      </a:lnTo>
                      <a:lnTo>
                        <a:pt x="18" y="156"/>
                      </a:lnTo>
                      <a:lnTo>
                        <a:pt x="18" y="152"/>
                      </a:lnTo>
                      <a:lnTo>
                        <a:pt x="16" y="152"/>
                      </a:lnTo>
                      <a:lnTo>
                        <a:pt x="12" y="152"/>
                      </a:lnTo>
                      <a:lnTo>
                        <a:pt x="16" y="152"/>
                      </a:lnTo>
                      <a:lnTo>
                        <a:pt x="16" y="156"/>
                      </a:lnTo>
                      <a:lnTo>
                        <a:pt x="16" y="152"/>
                      </a:lnTo>
                      <a:lnTo>
                        <a:pt x="12" y="152"/>
                      </a:lnTo>
                      <a:lnTo>
                        <a:pt x="12" y="156"/>
                      </a:lnTo>
                      <a:lnTo>
                        <a:pt x="16" y="156"/>
                      </a:lnTo>
                      <a:lnTo>
                        <a:pt x="12" y="156"/>
                      </a:lnTo>
                      <a:lnTo>
                        <a:pt x="12" y="152"/>
                      </a:lnTo>
                      <a:lnTo>
                        <a:pt x="12" y="150"/>
                      </a:lnTo>
                      <a:lnTo>
                        <a:pt x="12" y="146"/>
                      </a:lnTo>
                      <a:lnTo>
                        <a:pt x="12" y="142"/>
                      </a:lnTo>
                      <a:lnTo>
                        <a:pt x="12" y="146"/>
                      </a:lnTo>
                      <a:lnTo>
                        <a:pt x="12" y="150"/>
                      </a:lnTo>
                      <a:lnTo>
                        <a:pt x="8" y="150"/>
                      </a:lnTo>
                      <a:lnTo>
                        <a:pt x="12" y="146"/>
                      </a:lnTo>
                      <a:lnTo>
                        <a:pt x="8" y="146"/>
                      </a:lnTo>
                      <a:lnTo>
                        <a:pt x="8" y="142"/>
                      </a:lnTo>
                      <a:lnTo>
                        <a:pt x="8" y="146"/>
                      </a:lnTo>
                      <a:lnTo>
                        <a:pt x="8" y="150"/>
                      </a:lnTo>
                      <a:lnTo>
                        <a:pt x="8" y="146"/>
                      </a:lnTo>
                      <a:lnTo>
                        <a:pt x="4" y="146"/>
                      </a:lnTo>
                      <a:lnTo>
                        <a:pt x="4" y="142"/>
                      </a:lnTo>
                      <a:lnTo>
                        <a:pt x="4" y="138"/>
                      </a:lnTo>
                      <a:lnTo>
                        <a:pt x="0" y="138"/>
                      </a:lnTo>
                      <a:lnTo>
                        <a:pt x="0" y="136"/>
                      </a:lnTo>
                      <a:lnTo>
                        <a:pt x="0" y="132"/>
                      </a:lnTo>
                      <a:lnTo>
                        <a:pt x="0" y="128"/>
                      </a:lnTo>
                      <a:lnTo>
                        <a:pt x="4" y="128"/>
                      </a:lnTo>
                      <a:lnTo>
                        <a:pt x="4" y="132"/>
                      </a:lnTo>
                      <a:lnTo>
                        <a:pt x="8" y="132"/>
                      </a:lnTo>
                      <a:lnTo>
                        <a:pt x="8" y="128"/>
                      </a:lnTo>
                      <a:lnTo>
                        <a:pt x="4" y="128"/>
                      </a:lnTo>
                      <a:lnTo>
                        <a:pt x="4" y="124"/>
                      </a:lnTo>
                      <a:lnTo>
                        <a:pt x="4" y="120"/>
                      </a:lnTo>
                      <a:lnTo>
                        <a:pt x="8" y="116"/>
                      </a:lnTo>
                      <a:lnTo>
                        <a:pt x="12" y="116"/>
                      </a:lnTo>
                      <a:lnTo>
                        <a:pt x="12" y="112"/>
                      </a:lnTo>
                      <a:lnTo>
                        <a:pt x="12" y="116"/>
                      </a:lnTo>
                      <a:lnTo>
                        <a:pt x="16" y="116"/>
                      </a:lnTo>
                      <a:lnTo>
                        <a:pt x="16" y="112"/>
                      </a:lnTo>
                      <a:lnTo>
                        <a:pt x="16" y="110"/>
                      </a:lnTo>
                      <a:lnTo>
                        <a:pt x="12" y="110"/>
                      </a:lnTo>
                      <a:lnTo>
                        <a:pt x="12" y="106"/>
                      </a:lnTo>
                      <a:lnTo>
                        <a:pt x="12" y="102"/>
                      </a:lnTo>
                      <a:lnTo>
                        <a:pt x="12" y="98"/>
                      </a:lnTo>
                      <a:lnTo>
                        <a:pt x="16" y="98"/>
                      </a:lnTo>
                      <a:lnTo>
                        <a:pt x="16" y="102"/>
                      </a:lnTo>
                      <a:lnTo>
                        <a:pt x="16" y="98"/>
                      </a:lnTo>
                      <a:lnTo>
                        <a:pt x="16" y="94"/>
                      </a:lnTo>
                      <a:lnTo>
                        <a:pt x="18" y="90"/>
                      </a:lnTo>
                      <a:lnTo>
                        <a:pt x="16" y="86"/>
                      </a:lnTo>
                      <a:lnTo>
                        <a:pt x="16" y="82"/>
                      </a:lnTo>
                      <a:lnTo>
                        <a:pt x="16" y="80"/>
                      </a:lnTo>
                      <a:lnTo>
                        <a:pt x="16" y="82"/>
                      </a:lnTo>
                      <a:lnTo>
                        <a:pt x="18" y="82"/>
                      </a:lnTo>
                      <a:lnTo>
                        <a:pt x="22" y="82"/>
                      </a:lnTo>
                      <a:lnTo>
                        <a:pt x="26" y="82"/>
                      </a:lnTo>
                      <a:lnTo>
                        <a:pt x="26" y="86"/>
                      </a:lnTo>
                      <a:lnTo>
                        <a:pt x="30" y="82"/>
                      </a:lnTo>
                      <a:lnTo>
                        <a:pt x="30" y="80"/>
                      </a:lnTo>
                      <a:lnTo>
                        <a:pt x="30" y="76"/>
                      </a:lnTo>
                      <a:lnTo>
                        <a:pt x="34" y="72"/>
                      </a:lnTo>
                      <a:lnTo>
                        <a:pt x="34" y="68"/>
                      </a:lnTo>
                      <a:lnTo>
                        <a:pt x="38" y="64"/>
                      </a:lnTo>
                      <a:lnTo>
                        <a:pt x="34" y="60"/>
                      </a:lnTo>
                      <a:lnTo>
                        <a:pt x="34" y="56"/>
                      </a:lnTo>
                      <a:lnTo>
                        <a:pt x="38" y="56"/>
                      </a:lnTo>
                      <a:lnTo>
                        <a:pt x="38" y="54"/>
                      </a:lnTo>
                      <a:lnTo>
                        <a:pt x="42" y="54"/>
                      </a:lnTo>
                      <a:lnTo>
                        <a:pt x="42" y="50"/>
                      </a:lnTo>
                      <a:lnTo>
                        <a:pt x="42" y="46"/>
                      </a:lnTo>
                      <a:lnTo>
                        <a:pt x="42" y="42"/>
                      </a:lnTo>
                      <a:lnTo>
                        <a:pt x="42" y="38"/>
                      </a:lnTo>
                      <a:lnTo>
                        <a:pt x="42" y="34"/>
                      </a:lnTo>
                      <a:lnTo>
                        <a:pt x="46" y="34"/>
                      </a:lnTo>
                      <a:lnTo>
                        <a:pt x="46" y="30"/>
                      </a:lnTo>
                      <a:lnTo>
                        <a:pt x="48" y="30"/>
                      </a:lnTo>
                      <a:lnTo>
                        <a:pt x="52" y="26"/>
                      </a:lnTo>
                      <a:lnTo>
                        <a:pt x="56" y="24"/>
                      </a:lnTo>
                      <a:lnTo>
                        <a:pt x="60" y="24"/>
                      </a:lnTo>
                      <a:lnTo>
                        <a:pt x="64" y="24"/>
                      </a:lnTo>
                      <a:lnTo>
                        <a:pt x="68" y="24"/>
                      </a:lnTo>
                      <a:lnTo>
                        <a:pt x="68" y="26"/>
                      </a:lnTo>
                      <a:lnTo>
                        <a:pt x="72" y="26"/>
                      </a:lnTo>
                      <a:lnTo>
                        <a:pt x="68" y="24"/>
                      </a:lnTo>
                      <a:lnTo>
                        <a:pt x="68" y="20"/>
                      </a:lnTo>
                      <a:lnTo>
                        <a:pt x="68" y="16"/>
                      </a:lnTo>
                      <a:lnTo>
                        <a:pt x="72" y="16"/>
                      </a:lnTo>
                      <a:lnTo>
                        <a:pt x="72" y="12"/>
                      </a:lnTo>
                      <a:lnTo>
                        <a:pt x="74" y="12"/>
                      </a:lnTo>
                      <a:lnTo>
                        <a:pt x="72" y="8"/>
                      </a:lnTo>
                      <a:lnTo>
                        <a:pt x="72" y="4"/>
                      </a:lnTo>
                      <a:lnTo>
                        <a:pt x="74" y="4"/>
                      </a:lnTo>
                      <a:lnTo>
                        <a:pt x="74" y="0"/>
                      </a:lnTo>
                      <a:lnTo>
                        <a:pt x="78" y="0"/>
                      </a:lnTo>
                      <a:lnTo>
                        <a:pt x="78" y="4"/>
                      </a:lnTo>
                      <a:lnTo>
                        <a:pt x="82" y="4"/>
                      </a:lnTo>
                      <a:lnTo>
                        <a:pt x="82" y="8"/>
                      </a:lnTo>
                      <a:lnTo>
                        <a:pt x="82" y="12"/>
                      </a:lnTo>
                      <a:lnTo>
                        <a:pt x="86" y="12"/>
                      </a:lnTo>
                      <a:lnTo>
                        <a:pt x="86" y="16"/>
                      </a:lnTo>
                      <a:lnTo>
                        <a:pt x="86" y="20"/>
                      </a:lnTo>
                      <a:lnTo>
                        <a:pt x="88" y="20"/>
                      </a:lnTo>
                      <a:lnTo>
                        <a:pt x="88" y="16"/>
                      </a:lnTo>
                      <a:lnTo>
                        <a:pt x="88" y="20"/>
                      </a:lnTo>
                      <a:lnTo>
                        <a:pt x="92" y="20"/>
                      </a:lnTo>
                      <a:lnTo>
                        <a:pt x="92" y="24"/>
                      </a:lnTo>
                      <a:lnTo>
                        <a:pt x="92" y="26"/>
                      </a:lnTo>
                      <a:lnTo>
                        <a:pt x="92" y="30"/>
                      </a:lnTo>
                      <a:lnTo>
                        <a:pt x="92" y="34"/>
                      </a:lnTo>
                      <a:lnTo>
                        <a:pt x="92" y="38"/>
                      </a:lnTo>
                      <a:lnTo>
                        <a:pt x="92" y="42"/>
                      </a:lnTo>
                      <a:lnTo>
                        <a:pt x="92" y="46"/>
                      </a:lnTo>
                      <a:lnTo>
                        <a:pt x="88" y="46"/>
                      </a:lnTo>
                      <a:lnTo>
                        <a:pt x="88" y="50"/>
                      </a:lnTo>
                      <a:lnTo>
                        <a:pt x="92" y="50"/>
                      </a:lnTo>
                      <a:lnTo>
                        <a:pt x="88" y="50"/>
                      </a:lnTo>
                      <a:lnTo>
                        <a:pt x="88" y="54"/>
                      </a:lnTo>
                      <a:lnTo>
                        <a:pt x="86" y="54"/>
                      </a:lnTo>
                      <a:lnTo>
                        <a:pt x="82" y="56"/>
                      </a:lnTo>
                      <a:lnTo>
                        <a:pt x="82" y="60"/>
                      </a:lnTo>
                      <a:lnTo>
                        <a:pt x="78" y="60"/>
                      </a:lnTo>
                      <a:lnTo>
                        <a:pt x="78" y="64"/>
                      </a:lnTo>
                      <a:lnTo>
                        <a:pt x="78" y="68"/>
                      </a:lnTo>
                      <a:lnTo>
                        <a:pt x="74" y="68"/>
                      </a:lnTo>
                      <a:lnTo>
                        <a:pt x="74" y="72"/>
                      </a:lnTo>
                      <a:lnTo>
                        <a:pt x="74" y="76"/>
                      </a:lnTo>
                      <a:lnTo>
                        <a:pt x="78" y="76"/>
                      </a:lnTo>
                      <a:lnTo>
                        <a:pt x="78" y="80"/>
                      </a:lnTo>
                      <a:lnTo>
                        <a:pt x="78" y="82"/>
                      </a:lnTo>
                      <a:lnTo>
                        <a:pt x="74" y="82"/>
                      </a:lnTo>
                      <a:lnTo>
                        <a:pt x="78" y="82"/>
                      </a:lnTo>
                      <a:lnTo>
                        <a:pt x="78" y="86"/>
                      </a:lnTo>
                      <a:lnTo>
                        <a:pt x="78" y="82"/>
                      </a:lnTo>
                      <a:lnTo>
                        <a:pt x="82" y="82"/>
                      </a:lnTo>
                      <a:lnTo>
                        <a:pt x="82" y="80"/>
                      </a:lnTo>
                      <a:lnTo>
                        <a:pt x="86" y="80"/>
                      </a:lnTo>
                      <a:lnTo>
                        <a:pt x="88" y="80"/>
                      </a:lnTo>
                      <a:lnTo>
                        <a:pt x="92" y="80"/>
                      </a:lnTo>
                      <a:lnTo>
                        <a:pt x="92" y="82"/>
                      </a:lnTo>
                      <a:lnTo>
                        <a:pt x="88" y="82"/>
                      </a:lnTo>
                      <a:lnTo>
                        <a:pt x="92" y="86"/>
                      </a:lnTo>
                      <a:lnTo>
                        <a:pt x="92" y="90"/>
                      </a:lnTo>
                      <a:lnTo>
                        <a:pt x="92" y="94"/>
                      </a:lnTo>
                      <a:lnTo>
                        <a:pt x="92" y="98"/>
                      </a:lnTo>
                      <a:lnTo>
                        <a:pt x="96" y="98"/>
                      </a:lnTo>
                      <a:lnTo>
                        <a:pt x="100" y="98"/>
                      </a:lnTo>
                      <a:lnTo>
                        <a:pt x="104" y="98"/>
                      </a:lnTo>
                      <a:lnTo>
                        <a:pt x="104" y="102"/>
                      </a:lnTo>
                      <a:lnTo>
                        <a:pt x="100" y="102"/>
                      </a:lnTo>
                      <a:lnTo>
                        <a:pt x="100" y="106"/>
                      </a:lnTo>
                      <a:lnTo>
                        <a:pt x="100" y="110"/>
                      </a:lnTo>
                      <a:lnTo>
                        <a:pt x="100" y="112"/>
                      </a:lnTo>
                      <a:lnTo>
                        <a:pt x="96" y="116"/>
                      </a:lnTo>
                      <a:lnTo>
                        <a:pt x="100" y="116"/>
                      </a:lnTo>
                      <a:lnTo>
                        <a:pt x="104" y="116"/>
                      </a:lnTo>
                      <a:lnTo>
                        <a:pt x="108" y="116"/>
                      </a:lnTo>
                      <a:lnTo>
                        <a:pt x="108" y="120"/>
                      </a:lnTo>
                      <a:lnTo>
                        <a:pt x="108" y="124"/>
                      </a:lnTo>
                      <a:lnTo>
                        <a:pt x="112" y="124"/>
                      </a:lnTo>
                      <a:lnTo>
                        <a:pt x="112" y="128"/>
                      </a:lnTo>
                      <a:lnTo>
                        <a:pt x="114" y="128"/>
                      </a:lnTo>
                      <a:lnTo>
                        <a:pt x="118" y="128"/>
                      </a:lnTo>
                      <a:lnTo>
                        <a:pt x="122" y="124"/>
                      </a:lnTo>
                      <a:lnTo>
                        <a:pt x="126" y="124"/>
                      </a:lnTo>
                      <a:lnTo>
                        <a:pt x="126" y="128"/>
                      </a:lnTo>
                      <a:lnTo>
                        <a:pt x="122" y="128"/>
                      </a:lnTo>
                      <a:lnTo>
                        <a:pt x="122" y="132"/>
                      </a:lnTo>
                      <a:lnTo>
                        <a:pt x="118" y="132"/>
                      </a:lnTo>
                      <a:lnTo>
                        <a:pt x="118" y="136"/>
                      </a:lnTo>
                      <a:lnTo>
                        <a:pt x="114" y="136"/>
                      </a:lnTo>
                      <a:lnTo>
                        <a:pt x="114" y="138"/>
                      </a:lnTo>
                      <a:lnTo>
                        <a:pt x="118" y="138"/>
                      </a:lnTo>
                      <a:lnTo>
                        <a:pt x="114" y="138"/>
                      </a:lnTo>
                      <a:lnTo>
                        <a:pt x="112" y="138"/>
                      </a:lnTo>
                      <a:lnTo>
                        <a:pt x="112" y="142"/>
                      </a:lnTo>
                      <a:lnTo>
                        <a:pt x="112" y="146"/>
                      </a:lnTo>
                      <a:lnTo>
                        <a:pt x="108" y="146"/>
                      </a:lnTo>
                      <a:lnTo>
                        <a:pt x="104" y="146"/>
                      </a:lnTo>
                      <a:lnTo>
                        <a:pt x="104" y="150"/>
                      </a:lnTo>
                      <a:lnTo>
                        <a:pt x="100" y="150"/>
                      </a:lnTo>
                      <a:lnTo>
                        <a:pt x="100" y="152"/>
                      </a:lnTo>
                      <a:lnTo>
                        <a:pt x="100" y="150"/>
                      </a:lnTo>
                      <a:lnTo>
                        <a:pt x="96" y="150"/>
                      </a:lnTo>
                      <a:lnTo>
                        <a:pt x="96" y="152"/>
                      </a:lnTo>
                      <a:lnTo>
                        <a:pt x="96" y="156"/>
                      </a:lnTo>
                      <a:lnTo>
                        <a:pt x="92" y="156"/>
                      </a:lnTo>
                      <a:lnTo>
                        <a:pt x="88" y="156"/>
                      </a:lnTo>
                      <a:lnTo>
                        <a:pt x="86" y="156"/>
                      </a:lnTo>
                      <a:lnTo>
                        <a:pt x="82" y="156"/>
                      </a:lnTo>
                      <a:lnTo>
                        <a:pt x="82" y="160"/>
                      </a:lnTo>
                      <a:lnTo>
                        <a:pt x="78" y="160"/>
                      </a:lnTo>
                      <a:lnTo>
                        <a:pt x="78" y="164"/>
                      </a:lnTo>
                      <a:lnTo>
                        <a:pt x="78" y="168"/>
                      </a:lnTo>
                      <a:lnTo>
                        <a:pt x="78" y="172"/>
                      </a:lnTo>
                      <a:lnTo>
                        <a:pt x="78" y="176"/>
                      </a:lnTo>
                      <a:lnTo>
                        <a:pt x="78" y="180"/>
                      </a:lnTo>
                      <a:lnTo>
                        <a:pt x="74" y="180"/>
                      </a:lnTo>
                      <a:lnTo>
                        <a:pt x="72" y="180"/>
                      </a:lnTo>
                      <a:lnTo>
                        <a:pt x="74" y="180"/>
                      </a:lnTo>
                      <a:lnTo>
                        <a:pt x="74" y="182"/>
                      </a:lnTo>
                      <a:lnTo>
                        <a:pt x="78" y="182"/>
                      </a:lnTo>
                      <a:lnTo>
                        <a:pt x="74" y="182"/>
                      </a:lnTo>
                      <a:lnTo>
                        <a:pt x="78" y="186"/>
                      </a:lnTo>
                      <a:lnTo>
                        <a:pt x="78" y="190"/>
                      </a:lnTo>
                      <a:lnTo>
                        <a:pt x="78" y="194"/>
                      </a:lnTo>
                      <a:lnTo>
                        <a:pt x="82" y="194"/>
                      </a:lnTo>
                      <a:lnTo>
                        <a:pt x="82" y="198"/>
                      </a:lnTo>
                      <a:lnTo>
                        <a:pt x="82" y="202"/>
                      </a:lnTo>
                      <a:lnTo>
                        <a:pt x="86" y="202"/>
                      </a:lnTo>
                      <a:lnTo>
                        <a:pt x="86" y="206"/>
                      </a:lnTo>
                      <a:lnTo>
                        <a:pt x="88" y="206"/>
                      </a:lnTo>
                      <a:lnTo>
                        <a:pt x="88" y="208"/>
                      </a:lnTo>
                      <a:lnTo>
                        <a:pt x="88" y="212"/>
                      </a:lnTo>
                      <a:lnTo>
                        <a:pt x="88" y="216"/>
                      </a:lnTo>
                      <a:lnTo>
                        <a:pt x="92" y="216"/>
                      </a:lnTo>
                      <a:lnTo>
                        <a:pt x="92" y="220"/>
                      </a:lnTo>
                      <a:lnTo>
                        <a:pt x="88" y="220"/>
                      </a:lnTo>
                      <a:lnTo>
                        <a:pt x="88" y="224"/>
                      </a:lnTo>
                      <a:lnTo>
                        <a:pt x="88" y="228"/>
                      </a:lnTo>
                      <a:lnTo>
                        <a:pt x="88" y="232"/>
                      </a:lnTo>
                      <a:lnTo>
                        <a:pt x="88" y="234"/>
                      </a:lnTo>
                      <a:lnTo>
                        <a:pt x="86" y="234"/>
                      </a:lnTo>
                      <a:lnTo>
                        <a:pt x="86" y="238"/>
                      </a:lnTo>
                      <a:lnTo>
                        <a:pt x="86" y="242"/>
                      </a:lnTo>
                      <a:lnTo>
                        <a:pt x="86" y="246"/>
                      </a:lnTo>
                      <a:lnTo>
                        <a:pt x="88" y="246"/>
                      </a:lnTo>
                      <a:lnTo>
                        <a:pt x="88" y="250"/>
                      </a:lnTo>
                      <a:lnTo>
                        <a:pt x="88" y="254"/>
                      </a:lnTo>
                      <a:lnTo>
                        <a:pt x="92" y="254"/>
                      </a:lnTo>
                      <a:lnTo>
                        <a:pt x="92" y="258"/>
                      </a:lnTo>
                      <a:lnTo>
                        <a:pt x="96" y="258"/>
                      </a:lnTo>
                      <a:lnTo>
                        <a:pt x="96" y="262"/>
                      </a:lnTo>
                      <a:lnTo>
                        <a:pt x="96" y="264"/>
                      </a:lnTo>
                      <a:lnTo>
                        <a:pt x="96" y="268"/>
                      </a:lnTo>
                      <a:lnTo>
                        <a:pt x="100" y="268"/>
                      </a:lnTo>
                      <a:lnTo>
                        <a:pt x="100" y="272"/>
                      </a:lnTo>
                      <a:lnTo>
                        <a:pt x="96" y="272"/>
                      </a:lnTo>
                      <a:lnTo>
                        <a:pt x="100" y="280"/>
                      </a:lnTo>
                      <a:lnTo>
                        <a:pt x="100" y="284"/>
                      </a:lnTo>
                      <a:lnTo>
                        <a:pt x="100" y="288"/>
                      </a:lnTo>
                      <a:lnTo>
                        <a:pt x="104" y="288"/>
                      </a:lnTo>
                      <a:lnTo>
                        <a:pt x="104" y="290"/>
                      </a:lnTo>
                      <a:lnTo>
                        <a:pt x="104" y="294"/>
                      </a:lnTo>
                      <a:lnTo>
                        <a:pt x="104" y="298"/>
                      </a:lnTo>
                      <a:lnTo>
                        <a:pt x="100" y="298"/>
                      </a:lnTo>
                      <a:lnTo>
                        <a:pt x="100" y="302"/>
                      </a:lnTo>
                      <a:lnTo>
                        <a:pt x="100" y="306"/>
                      </a:lnTo>
                      <a:lnTo>
                        <a:pt x="96" y="310"/>
                      </a:lnTo>
                      <a:lnTo>
                        <a:pt x="92" y="314"/>
                      </a:lnTo>
                      <a:lnTo>
                        <a:pt x="92" y="314"/>
                      </a:lnTo>
                      <a:lnTo>
                        <a:pt x="92" y="314"/>
                      </a:lnTo>
                      <a:close/>
                      <a:moveTo>
                        <a:pt x="22" y="164"/>
                      </a:moveTo>
                      <a:lnTo>
                        <a:pt x="22" y="168"/>
                      </a:lnTo>
                      <a:lnTo>
                        <a:pt x="26" y="168"/>
                      </a:lnTo>
                      <a:lnTo>
                        <a:pt x="26" y="172"/>
                      </a:lnTo>
                      <a:lnTo>
                        <a:pt x="22" y="172"/>
                      </a:lnTo>
                      <a:lnTo>
                        <a:pt x="18" y="168"/>
                      </a:lnTo>
                      <a:lnTo>
                        <a:pt x="18" y="164"/>
                      </a:lnTo>
                      <a:lnTo>
                        <a:pt x="22" y="164"/>
                      </a:lnTo>
                      <a:lnTo>
                        <a:pt x="22" y="168"/>
                      </a:lnTo>
                      <a:lnTo>
                        <a:pt x="22" y="164"/>
                      </a:lnTo>
                      <a:lnTo>
                        <a:pt x="22" y="164"/>
                      </a:lnTo>
                      <a:lnTo>
                        <a:pt x="22" y="164"/>
                      </a:lnTo>
                      <a:close/>
                      <a:moveTo>
                        <a:pt x="8" y="146"/>
                      </a:moveTo>
                      <a:lnTo>
                        <a:pt x="8" y="150"/>
                      </a:lnTo>
                      <a:lnTo>
                        <a:pt x="8" y="146"/>
                      </a:lnTo>
                      <a:lnTo>
                        <a:pt x="8" y="146"/>
                      </a:lnTo>
                      <a:lnTo>
                        <a:pt x="8" y="146"/>
                      </a:lnTo>
                      <a:close/>
                      <a:moveTo>
                        <a:pt x="18" y="152"/>
                      </a:moveTo>
                      <a:lnTo>
                        <a:pt x="18" y="156"/>
                      </a:lnTo>
                      <a:lnTo>
                        <a:pt x="16" y="152"/>
                      </a:lnTo>
                      <a:lnTo>
                        <a:pt x="18" y="152"/>
                      </a:lnTo>
                      <a:lnTo>
                        <a:pt x="18" y="152"/>
                      </a:lnTo>
                      <a:lnTo>
                        <a:pt x="18" y="152"/>
                      </a:lnTo>
                      <a:close/>
                      <a:moveTo>
                        <a:pt x="26" y="164"/>
                      </a:moveTo>
                      <a:lnTo>
                        <a:pt x="22" y="164"/>
                      </a:lnTo>
                      <a:lnTo>
                        <a:pt x="18" y="164"/>
                      </a:lnTo>
                      <a:lnTo>
                        <a:pt x="18" y="160"/>
                      </a:lnTo>
                      <a:lnTo>
                        <a:pt x="22" y="160"/>
                      </a:lnTo>
                      <a:lnTo>
                        <a:pt x="26" y="164"/>
                      </a:lnTo>
                      <a:lnTo>
                        <a:pt x="26" y="164"/>
                      </a:lnTo>
                      <a:lnTo>
                        <a:pt x="26" y="164"/>
                      </a:lnTo>
                      <a:close/>
                      <a:moveTo>
                        <a:pt x="74" y="212"/>
                      </a:moveTo>
                      <a:lnTo>
                        <a:pt x="74" y="216"/>
                      </a:lnTo>
                      <a:lnTo>
                        <a:pt x="74" y="220"/>
                      </a:lnTo>
                      <a:lnTo>
                        <a:pt x="74" y="216"/>
                      </a:lnTo>
                      <a:lnTo>
                        <a:pt x="74" y="212"/>
                      </a:lnTo>
                      <a:lnTo>
                        <a:pt x="74" y="212"/>
                      </a:lnTo>
                      <a:lnTo>
                        <a:pt x="74" y="212"/>
                      </a:lnTo>
                      <a:close/>
                      <a:moveTo>
                        <a:pt x="34" y="220"/>
                      </a:moveTo>
                      <a:lnTo>
                        <a:pt x="34" y="224"/>
                      </a:lnTo>
                      <a:lnTo>
                        <a:pt x="30" y="224"/>
                      </a:lnTo>
                      <a:lnTo>
                        <a:pt x="34" y="220"/>
                      </a:lnTo>
                      <a:lnTo>
                        <a:pt x="34" y="220"/>
                      </a:lnTo>
                      <a:lnTo>
                        <a:pt x="34" y="220"/>
                      </a:lnTo>
                      <a:close/>
                      <a:moveTo>
                        <a:pt x="82" y="290"/>
                      </a:moveTo>
                      <a:lnTo>
                        <a:pt x="82" y="288"/>
                      </a:lnTo>
                      <a:lnTo>
                        <a:pt x="82" y="290"/>
                      </a:lnTo>
                      <a:lnTo>
                        <a:pt x="82" y="290"/>
                      </a:lnTo>
                      <a:lnTo>
                        <a:pt x="82" y="290"/>
                      </a:lnTo>
                      <a:close/>
                      <a:moveTo>
                        <a:pt x="86" y="328"/>
                      </a:moveTo>
                      <a:lnTo>
                        <a:pt x="82" y="328"/>
                      </a:lnTo>
                      <a:lnTo>
                        <a:pt x="86" y="328"/>
                      </a:lnTo>
                      <a:lnTo>
                        <a:pt x="86" y="324"/>
                      </a:lnTo>
                      <a:lnTo>
                        <a:pt x="86" y="328"/>
                      </a:lnTo>
                      <a:lnTo>
                        <a:pt x="86" y="328"/>
                      </a:lnTo>
                      <a:lnTo>
                        <a:pt x="86" y="328"/>
                      </a:lnTo>
                      <a:close/>
                      <a:moveTo>
                        <a:pt x="18" y="172"/>
                      </a:moveTo>
                      <a:lnTo>
                        <a:pt x="22" y="172"/>
                      </a:lnTo>
                      <a:lnTo>
                        <a:pt x="22" y="176"/>
                      </a:lnTo>
                      <a:lnTo>
                        <a:pt x="18" y="176"/>
                      </a:lnTo>
                      <a:lnTo>
                        <a:pt x="18" y="172"/>
                      </a:lnTo>
                      <a:lnTo>
                        <a:pt x="18" y="172"/>
                      </a:lnTo>
                      <a:lnTo>
                        <a:pt x="18" y="172"/>
                      </a:lnTo>
                      <a:close/>
                      <a:moveTo>
                        <a:pt x="86" y="288"/>
                      </a:moveTo>
                      <a:lnTo>
                        <a:pt x="86" y="284"/>
                      </a:lnTo>
                      <a:lnTo>
                        <a:pt x="86" y="280"/>
                      </a:lnTo>
                      <a:lnTo>
                        <a:pt x="88" y="284"/>
                      </a:lnTo>
                      <a:lnTo>
                        <a:pt x="86" y="288"/>
                      </a:lnTo>
                      <a:lnTo>
                        <a:pt x="86" y="288"/>
                      </a:lnTo>
                      <a:lnTo>
                        <a:pt x="86" y="288"/>
                      </a:lnTo>
                      <a:close/>
                      <a:moveTo>
                        <a:pt x="82" y="288"/>
                      </a:moveTo>
                      <a:lnTo>
                        <a:pt x="82" y="284"/>
                      </a:lnTo>
                      <a:lnTo>
                        <a:pt x="82" y="288"/>
                      </a:lnTo>
                      <a:lnTo>
                        <a:pt x="82" y="288"/>
                      </a:lnTo>
                      <a:lnTo>
                        <a:pt x="82" y="288"/>
                      </a:lnTo>
                      <a:close/>
                      <a:moveTo>
                        <a:pt x="88" y="290"/>
                      </a:moveTo>
                      <a:lnTo>
                        <a:pt x="88" y="294"/>
                      </a:lnTo>
                      <a:lnTo>
                        <a:pt x="88" y="290"/>
                      </a:lnTo>
                      <a:lnTo>
                        <a:pt x="88" y="290"/>
                      </a:lnTo>
                      <a:lnTo>
                        <a:pt x="88" y="290"/>
                      </a:lnTo>
                      <a:close/>
                      <a:moveTo>
                        <a:pt x="86" y="298"/>
                      </a:moveTo>
                      <a:lnTo>
                        <a:pt x="86" y="294"/>
                      </a:lnTo>
                      <a:lnTo>
                        <a:pt x="88" y="294"/>
                      </a:lnTo>
                      <a:lnTo>
                        <a:pt x="88" y="298"/>
                      </a:lnTo>
                      <a:lnTo>
                        <a:pt x="86" y="298"/>
                      </a:lnTo>
                      <a:lnTo>
                        <a:pt x="86" y="298"/>
                      </a:lnTo>
                      <a:lnTo>
                        <a:pt x="86" y="298"/>
                      </a:lnTo>
                      <a:close/>
                      <a:moveTo>
                        <a:pt x="86" y="302"/>
                      </a:moveTo>
                      <a:lnTo>
                        <a:pt x="86" y="298"/>
                      </a:lnTo>
                      <a:lnTo>
                        <a:pt x="86" y="294"/>
                      </a:lnTo>
                      <a:lnTo>
                        <a:pt x="86" y="298"/>
                      </a:lnTo>
                      <a:lnTo>
                        <a:pt x="86" y="302"/>
                      </a:lnTo>
                      <a:lnTo>
                        <a:pt x="86" y="302"/>
                      </a:lnTo>
                      <a:lnTo>
                        <a:pt x="86" y="302"/>
                      </a:lnTo>
                      <a:close/>
                      <a:moveTo>
                        <a:pt x="86" y="314"/>
                      </a:moveTo>
                      <a:lnTo>
                        <a:pt x="82" y="310"/>
                      </a:lnTo>
                      <a:lnTo>
                        <a:pt x="82" y="314"/>
                      </a:lnTo>
                      <a:lnTo>
                        <a:pt x="82" y="310"/>
                      </a:lnTo>
                      <a:lnTo>
                        <a:pt x="86" y="310"/>
                      </a:lnTo>
                      <a:lnTo>
                        <a:pt x="86" y="314"/>
                      </a:lnTo>
                      <a:lnTo>
                        <a:pt x="86" y="314"/>
                      </a:lnTo>
                      <a:lnTo>
                        <a:pt x="86" y="3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4" name="Freeform 43"/>
                <p:cNvSpPr>
                  <a:spLocks/>
                </p:cNvSpPr>
                <p:nvPr/>
              </p:nvSpPr>
              <p:spPr bwMode="auto">
                <a:xfrm>
                  <a:off x="6191250" y="3717993"/>
                  <a:ext cx="184150" cy="117475"/>
                </a:xfrm>
                <a:custGeom>
                  <a:avLst/>
                  <a:gdLst>
                    <a:gd name="T0" fmla="*/ 34 w 116"/>
                    <a:gd name="T1" fmla="*/ 48 h 74"/>
                    <a:gd name="T2" fmla="*/ 30 w 116"/>
                    <a:gd name="T3" fmla="*/ 44 h 74"/>
                    <a:gd name="T4" fmla="*/ 26 w 116"/>
                    <a:gd name="T5" fmla="*/ 44 h 74"/>
                    <a:gd name="T6" fmla="*/ 20 w 116"/>
                    <a:gd name="T7" fmla="*/ 40 h 74"/>
                    <a:gd name="T8" fmla="*/ 16 w 116"/>
                    <a:gd name="T9" fmla="*/ 36 h 74"/>
                    <a:gd name="T10" fmla="*/ 8 w 116"/>
                    <a:gd name="T11" fmla="*/ 30 h 74"/>
                    <a:gd name="T12" fmla="*/ 4 w 116"/>
                    <a:gd name="T13" fmla="*/ 30 h 74"/>
                    <a:gd name="T14" fmla="*/ 0 w 116"/>
                    <a:gd name="T15" fmla="*/ 22 h 74"/>
                    <a:gd name="T16" fmla="*/ 0 w 116"/>
                    <a:gd name="T17" fmla="*/ 18 h 74"/>
                    <a:gd name="T18" fmla="*/ 4 w 116"/>
                    <a:gd name="T19" fmla="*/ 14 h 74"/>
                    <a:gd name="T20" fmla="*/ 8 w 116"/>
                    <a:gd name="T21" fmla="*/ 10 h 74"/>
                    <a:gd name="T22" fmla="*/ 8 w 116"/>
                    <a:gd name="T23" fmla="*/ 6 h 74"/>
                    <a:gd name="T24" fmla="*/ 16 w 116"/>
                    <a:gd name="T25" fmla="*/ 4 h 74"/>
                    <a:gd name="T26" fmla="*/ 16 w 116"/>
                    <a:gd name="T27" fmla="*/ 6 h 74"/>
                    <a:gd name="T28" fmla="*/ 20 w 116"/>
                    <a:gd name="T29" fmla="*/ 0 h 74"/>
                    <a:gd name="T30" fmla="*/ 20 w 116"/>
                    <a:gd name="T31" fmla="*/ 0 h 74"/>
                    <a:gd name="T32" fmla="*/ 26 w 116"/>
                    <a:gd name="T33" fmla="*/ 0 h 74"/>
                    <a:gd name="T34" fmla="*/ 34 w 116"/>
                    <a:gd name="T35" fmla="*/ 6 h 74"/>
                    <a:gd name="T36" fmla="*/ 42 w 116"/>
                    <a:gd name="T37" fmla="*/ 10 h 74"/>
                    <a:gd name="T38" fmla="*/ 46 w 116"/>
                    <a:gd name="T39" fmla="*/ 14 h 74"/>
                    <a:gd name="T40" fmla="*/ 48 w 116"/>
                    <a:gd name="T41" fmla="*/ 22 h 74"/>
                    <a:gd name="T42" fmla="*/ 52 w 116"/>
                    <a:gd name="T43" fmla="*/ 22 h 74"/>
                    <a:gd name="T44" fmla="*/ 56 w 116"/>
                    <a:gd name="T45" fmla="*/ 22 h 74"/>
                    <a:gd name="T46" fmla="*/ 60 w 116"/>
                    <a:gd name="T47" fmla="*/ 26 h 74"/>
                    <a:gd name="T48" fmla="*/ 64 w 116"/>
                    <a:gd name="T49" fmla="*/ 30 h 74"/>
                    <a:gd name="T50" fmla="*/ 68 w 116"/>
                    <a:gd name="T51" fmla="*/ 32 h 74"/>
                    <a:gd name="T52" fmla="*/ 72 w 116"/>
                    <a:gd name="T53" fmla="*/ 32 h 74"/>
                    <a:gd name="T54" fmla="*/ 72 w 116"/>
                    <a:gd name="T55" fmla="*/ 36 h 74"/>
                    <a:gd name="T56" fmla="*/ 74 w 116"/>
                    <a:gd name="T57" fmla="*/ 36 h 74"/>
                    <a:gd name="T58" fmla="*/ 82 w 116"/>
                    <a:gd name="T59" fmla="*/ 40 h 74"/>
                    <a:gd name="T60" fmla="*/ 82 w 116"/>
                    <a:gd name="T61" fmla="*/ 44 h 74"/>
                    <a:gd name="T62" fmla="*/ 86 w 116"/>
                    <a:gd name="T63" fmla="*/ 40 h 74"/>
                    <a:gd name="T64" fmla="*/ 90 w 116"/>
                    <a:gd name="T65" fmla="*/ 44 h 74"/>
                    <a:gd name="T66" fmla="*/ 94 w 116"/>
                    <a:gd name="T67" fmla="*/ 40 h 74"/>
                    <a:gd name="T68" fmla="*/ 98 w 116"/>
                    <a:gd name="T69" fmla="*/ 44 h 74"/>
                    <a:gd name="T70" fmla="*/ 100 w 116"/>
                    <a:gd name="T71" fmla="*/ 44 h 74"/>
                    <a:gd name="T72" fmla="*/ 108 w 116"/>
                    <a:gd name="T73" fmla="*/ 48 h 74"/>
                    <a:gd name="T74" fmla="*/ 108 w 116"/>
                    <a:gd name="T75" fmla="*/ 44 h 74"/>
                    <a:gd name="T76" fmla="*/ 112 w 116"/>
                    <a:gd name="T77" fmla="*/ 44 h 74"/>
                    <a:gd name="T78" fmla="*/ 116 w 116"/>
                    <a:gd name="T79" fmla="*/ 48 h 74"/>
                    <a:gd name="T80" fmla="*/ 112 w 116"/>
                    <a:gd name="T81" fmla="*/ 56 h 74"/>
                    <a:gd name="T82" fmla="*/ 112 w 116"/>
                    <a:gd name="T83" fmla="*/ 62 h 74"/>
                    <a:gd name="T84" fmla="*/ 112 w 116"/>
                    <a:gd name="T85" fmla="*/ 70 h 74"/>
                    <a:gd name="T86" fmla="*/ 112 w 116"/>
                    <a:gd name="T87" fmla="*/ 70 h 74"/>
                    <a:gd name="T88" fmla="*/ 108 w 116"/>
                    <a:gd name="T89" fmla="*/ 70 h 74"/>
                    <a:gd name="T90" fmla="*/ 104 w 116"/>
                    <a:gd name="T91" fmla="*/ 70 h 74"/>
                    <a:gd name="T92" fmla="*/ 98 w 116"/>
                    <a:gd name="T93" fmla="*/ 70 h 74"/>
                    <a:gd name="T94" fmla="*/ 90 w 116"/>
                    <a:gd name="T95" fmla="*/ 70 h 74"/>
                    <a:gd name="T96" fmla="*/ 86 w 116"/>
                    <a:gd name="T97" fmla="*/ 66 h 74"/>
                    <a:gd name="T98" fmla="*/ 78 w 116"/>
                    <a:gd name="T99" fmla="*/ 66 h 74"/>
                    <a:gd name="T100" fmla="*/ 78 w 116"/>
                    <a:gd name="T101" fmla="*/ 62 h 74"/>
                    <a:gd name="T102" fmla="*/ 74 w 116"/>
                    <a:gd name="T103" fmla="*/ 66 h 74"/>
                    <a:gd name="T104" fmla="*/ 68 w 116"/>
                    <a:gd name="T105" fmla="*/ 60 h 74"/>
                    <a:gd name="T106" fmla="*/ 64 w 116"/>
                    <a:gd name="T107" fmla="*/ 60 h 74"/>
                    <a:gd name="T108" fmla="*/ 64 w 116"/>
                    <a:gd name="T109" fmla="*/ 56 h 74"/>
                    <a:gd name="T110" fmla="*/ 56 w 116"/>
                    <a:gd name="T111" fmla="*/ 52 h 74"/>
                    <a:gd name="T112" fmla="*/ 52 w 116"/>
                    <a:gd name="T113" fmla="*/ 56 h 74"/>
                    <a:gd name="T114" fmla="*/ 48 w 116"/>
                    <a:gd name="T115" fmla="*/ 52 h 74"/>
                    <a:gd name="T116" fmla="*/ 46 w 116"/>
                    <a:gd name="T117" fmla="*/ 56 h 74"/>
                    <a:gd name="T118" fmla="*/ 46 w 116"/>
                    <a:gd name="T119" fmla="*/ 52 h 74"/>
                    <a:gd name="T120" fmla="*/ 38 w 116"/>
                    <a:gd name="T121" fmla="*/ 52 h 74"/>
                    <a:gd name="T122" fmla="*/ 38 w 116"/>
                    <a:gd name="T123" fmla="*/ 48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16" h="74">
                      <a:moveTo>
                        <a:pt x="38" y="48"/>
                      </a:moveTo>
                      <a:lnTo>
                        <a:pt x="38" y="48"/>
                      </a:lnTo>
                      <a:lnTo>
                        <a:pt x="38" y="48"/>
                      </a:lnTo>
                      <a:lnTo>
                        <a:pt x="34" y="48"/>
                      </a:lnTo>
                      <a:lnTo>
                        <a:pt x="34" y="48"/>
                      </a:lnTo>
                      <a:lnTo>
                        <a:pt x="34" y="48"/>
                      </a:lnTo>
                      <a:lnTo>
                        <a:pt x="34" y="48"/>
                      </a:lnTo>
                      <a:lnTo>
                        <a:pt x="34" y="48"/>
                      </a:lnTo>
                      <a:lnTo>
                        <a:pt x="34" y="48"/>
                      </a:lnTo>
                      <a:lnTo>
                        <a:pt x="30" y="48"/>
                      </a:lnTo>
                      <a:lnTo>
                        <a:pt x="30" y="48"/>
                      </a:lnTo>
                      <a:lnTo>
                        <a:pt x="30" y="44"/>
                      </a:lnTo>
                      <a:lnTo>
                        <a:pt x="26" y="44"/>
                      </a:lnTo>
                      <a:lnTo>
                        <a:pt x="26" y="44"/>
                      </a:lnTo>
                      <a:lnTo>
                        <a:pt x="26" y="44"/>
                      </a:lnTo>
                      <a:lnTo>
                        <a:pt x="26" y="44"/>
                      </a:lnTo>
                      <a:lnTo>
                        <a:pt x="26" y="44"/>
                      </a:lnTo>
                      <a:lnTo>
                        <a:pt x="26" y="44"/>
                      </a:lnTo>
                      <a:lnTo>
                        <a:pt x="22" y="44"/>
                      </a:lnTo>
                      <a:lnTo>
                        <a:pt x="22" y="44"/>
                      </a:lnTo>
                      <a:lnTo>
                        <a:pt x="22" y="44"/>
                      </a:lnTo>
                      <a:lnTo>
                        <a:pt x="20" y="40"/>
                      </a:lnTo>
                      <a:lnTo>
                        <a:pt x="20" y="40"/>
                      </a:lnTo>
                      <a:lnTo>
                        <a:pt x="20" y="40"/>
                      </a:lnTo>
                      <a:lnTo>
                        <a:pt x="16" y="36"/>
                      </a:lnTo>
                      <a:lnTo>
                        <a:pt x="16" y="36"/>
                      </a:lnTo>
                      <a:lnTo>
                        <a:pt x="16" y="36"/>
                      </a:lnTo>
                      <a:lnTo>
                        <a:pt x="16" y="36"/>
                      </a:lnTo>
                      <a:lnTo>
                        <a:pt x="16" y="36"/>
                      </a:lnTo>
                      <a:lnTo>
                        <a:pt x="16" y="36"/>
                      </a:lnTo>
                      <a:lnTo>
                        <a:pt x="16" y="36"/>
                      </a:lnTo>
                      <a:lnTo>
                        <a:pt x="12" y="32"/>
                      </a:lnTo>
                      <a:lnTo>
                        <a:pt x="8" y="32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2"/>
                      </a:lnTo>
                      <a:lnTo>
                        <a:pt x="4" y="32"/>
                      </a:lnTo>
                      <a:lnTo>
                        <a:pt x="4" y="32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0" y="18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0"/>
                      </a:lnTo>
                      <a:lnTo>
                        <a:pt x="4" y="10"/>
                      </a:lnTo>
                      <a:lnTo>
                        <a:pt x="4" y="10"/>
                      </a:lnTo>
                      <a:lnTo>
                        <a:pt x="4" y="10"/>
                      </a:lnTo>
                      <a:lnTo>
                        <a:pt x="4" y="10"/>
                      </a:lnTo>
                      <a:lnTo>
                        <a:pt x="8" y="10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6"/>
                      </a:lnTo>
                      <a:lnTo>
                        <a:pt x="16" y="6"/>
                      </a:lnTo>
                      <a:lnTo>
                        <a:pt x="16" y="6"/>
                      </a:lnTo>
                      <a:lnTo>
                        <a:pt x="16" y="6"/>
                      </a:lnTo>
                      <a:lnTo>
                        <a:pt x="16" y="6"/>
                      </a:lnTo>
                      <a:lnTo>
                        <a:pt x="16" y="6"/>
                      </a:lnTo>
                      <a:lnTo>
                        <a:pt x="16" y="6"/>
                      </a:lnTo>
                      <a:lnTo>
                        <a:pt x="20" y="4"/>
                      </a:lnTo>
                      <a:lnTo>
                        <a:pt x="20" y="4"/>
                      </a:lnTo>
                      <a:lnTo>
                        <a:pt x="20" y="4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30" y="0"/>
                      </a:lnTo>
                      <a:lnTo>
                        <a:pt x="30" y="4"/>
                      </a:lnTo>
                      <a:lnTo>
                        <a:pt x="30" y="6"/>
                      </a:lnTo>
                      <a:lnTo>
                        <a:pt x="30" y="4"/>
                      </a:lnTo>
                      <a:lnTo>
                        <a:pt x="34" y="6"/>
                      </a:lnTo>
                      <a:lnTo>
                        <a:pt x="34" y="6"/>
                      </a:lnTo>
                      <a:lnTo>
                        <a:pt x="38" y="10"/>
                      </a:lnTo>
                      <a:lnTo>
                        <a:pt x="38" y="10"/>
                      </a:lnTo>
                      <a:lnTo>
                        <a:pt x="38" y="10"/>
                      </a:lnTo>
                      <a:lnTo>
                        <a:pt x="42" y="10"/>
                      </a:lnTo>
                      <a:lnTo>
                        <a:pt x="42" y="10"/>
                      </a:lnTo>
                      <a:lnTo>
                        <a:pt x="42" y="14"/>
                      </a:lnTo>
                      <a:lnTo>
                        <a:pt x="42" y="14"/>
                      </a:lnTo>
                      <a:lnTo>
                        <a:pt x="42" y="14"/>
                      </a:lnTo>
                      <a:lnTo>
                        <a:pt x="46" y="14"/>
                      </a:lnTo>
                      <a:lnTo>
                        <a:pt x="46" y="14"/>
                      </a:lnTo>
                      <a:lnTo>
                        <a:pt x="46" y="14"/>
                      </a:lnTo>
                      <a:lnTo>
                        <a:pt x="46" y="14"/>
                      </a:lnTo>
                      <a:lnTo>
                        <a:pt x="46" y="14"/>
                      </a:lnTo>
                      <a:lnTo>
                        <a:pt x="46" y="18"/>
                      </a:lnTo>
                      <a:lnTo>
                        <a:pt x="46" y="18"/>
                      </a:lnTo>
                      <a:lnTo>
                        <a:pt x="48" y="18"/>
                      </a:lnTo>
                      <a:lnTo>
                        <a:pt x="48" y="22"/>
                      </a:lnTo>
                      <a:lnTo>
                        <a:pt x="48" y="22"/>
                      </a:lnTo>
                      <a:lnTo>
                        <a:pt x="48" y="22"/>
                      </a:lnTo>
                      <a:lnTo>
                        <a:pt x="48" y="22"/>
                      </a:lnTo>
                      <a:lnTo>
                        <a:pt x="52" y="22"/>
                      </a:lnTo>
                      <a:lnTo>
                        <a:pt x="52" y="22"/>
                      </a:lnTo>
                      <a:lnTo>
                        <a:pt x="52" y="22"/>
                      </a:lnTo>
                      <a:lnTo>
                        <a:pt x="52" y="22"/>
                      </a:lnTo>
                      <a:lnTo>
                        <a:pt x="52" y="22"/>
                      </a:lnTo>
                      <a:lnTo>
                        <a:pt x="52" y="18"/>
                      </a:lnTo>
                      <a:lnTo>
                        <a:pt x="56" y="18"/>
                      </a:lnTo>
                      <a:lnTo>
                        <a:pt x="56" y="18"/>
                      </a:lnTo>
                      <a:lnTo>
                        <a:pt x="56" y="22"/>
                      </a:lnTo>
                      <a:lnTo>
                        <a:pt x="56" y="22"/>
                      </a:lnTo>
                      <a:lnTo>
                        <a:pt x="56" y="22"/>
                      </a:lnTo>
                      <a:lnTo>
                        <a:pt x="56" y="22"/>
                      </a:lnTo>
                      <a:lnTo>
                        <a:pt x="60" y="22"/>
                      </a:lnTo>
                      <a:lnTo>
                        <a:pt x="60" y="26"/>
                      </a:lnTo>
                      <a:lnTo>
                        <a:pt x="60" y="26"/>
                      </a:lnTo>
                      <a:lnTo>
                        <a:pt x="60" y="26"/>
                      </a:lnTo>
                      <a:lnTo>
                        <a:pt x="60" y="26"/>
                      </a:lnTo>
                      <a:lnTo>
                        <a:pt x="60" y="26"/>
                      </a:lnTo>
                      <a:lnTo>
                        <a:pt x="60" y="26"/>
                      </a:lnTo>
                      <a:lnTo>
                        <a:pt x="60" y="30"/>
                      </a:lnTo>
                      <a:lnTo>
                        <a:pt x="64" y="30"/>
                      </a:lnTo>
                      <a:lnTo>
                        <a:pt x="64" y="30"/>
                      </a:lnTo>
                      <a:lnTo>
                        <a:pt x="64" y="30"/>
                      </a:lnTo>
                      <a:lnTo>
                        <a:pt x="64" y="30"/>
                      </a:lnTo>
                      <a:lnTo>
                        <a:pt x="64" y="30"/>
                      </a:lnTo>
                      <a:lnTo>
                        <a:pt x="64" y="32"/>
                      </a:lnTo>
                      <a:lnTo>
                        <a:pt x="68" y="32"/>
                      </a:lnTo>
                      <a:lnTo>
                        <a:pt x="68" y="32"/>
                      </a:lnTo>
                      <a:lnTo>
                        <a:pt x="68" y="32"/>
                      </a:lnTo>
                      <a:lnTo>
                        <a:pt x="72" y="32"/>
                      </a:lnTo>
                      <a:lnTo>
                        <a:pt x="72" y="32"/>
                      </a:lnTo>
                      <a:lnTo>
                        <a:pt x="72" y="30"/>
                      </a:lnTo>
                      <a:lnTo>
                        <a:pt x="72" y="32"/>
                      </a:lnTo>
                      <a:lnTo>
                        <a:pt x="72" y="32"/>
                      </a:lnTo>
                      <a:lnTo>
                        <a:pt x="72" y="32"/>
                      </a:lnTo>
                      <a:lnTo>
                        <a:pt x="72" y="32"/>
                      </a:lnTo>
                      <a:lnTo>
                        <a:pt x="72" y="36"/>
                      </a:lnTo>
                      <a:lnTo>
                        <a:pt x="72" y="36"/>
                      </a:lnTo>
                      <a:lnTo>
                        <a:pt x="72" y="36"/>
                      </a:lnTo>
                      <a:lnTo>
                        <a:pt x="72" y="36"/>
                      </a:lnTo>
                      <a:lnTo>
                        <a:pt x="72" y="36"/>
                      </a:lnTo>
                      <a:lnTo>
                        <a:pt x="74" y="36"/>
                      </a:lnTo>
                      <a:lnTo>
                        <a:pt x="74" y="36"/>
                      </a:lnTo>
                      <a:lnTo>
                        <a:pt x="74" y="36"/>
                      </a:lnTo>
                      <a:lnTo>
                        <a:pt x="74" y="36"/>
                      </a:lnTo>
                      <a:lnTo>
                        <a:pt x="74" y="36"/>
                      </a:lnTo>
                      <a:lnTo>
                        <a:pt x="74" y="36"/>
                      </a:lnTo>
                      <a:lnTo>
                        <a:pt x="78" y="36"/>
                      </a:lnTo>
                      <a:lnTo>
                        <a:pt x="78" y="36"/>
                      </a:lnTo>
                      <a:lnTo>
                        <a:pt x="78" y="36"/>
                      </a:lnTo>
                      <a:lnTo>
                        <a:pt x="82" y="40"/>
                      </a:lnTo>
                      <a:lnTo>
                        <a:pt x="82" y="40"/>
                      </a:lnTo>
                      <a:lnTo>
                        <a:pt x="82" y="40"/>
                      </a:lnTo>
                      <a:lnTo>
                        <a:pt x="82" y="40"/>
                      </a:lnTo>
                      <a:lnTo>
                        <a:pt x="82" y="40"/>
                      </a:lnTo>
                      <a:lnTo>
                        <a:pt x="82" y="44"/>
                      </a:lnTo>
                      <a:lnTo>
                        <a:pt x="82" y="44"/>
                      </a:lnTo>
                      <a:lnTo>
                        <a:pt x="82" y="44"/>
                      </a:lnTo>
                      <a:lnTo>
                        <a:pt x="86" y="44"/>
                      </a:lnTo>
                      <a:lnTo>
                        <a:pt x="86" y="44"/>
                      </a:lnTo>
                      <a:lnTo>
                        <a:pt x="86" y="44"/>
                      </a:lnTo>
                      <a:lnTo>
                        <a:pt x="86" y="44"/>
                      </a:lnTo>
                      <a:lnTo>
                        <a:pt x="86" y="40"/>
                      </a:lnTo>
                      <a:lnTo>
                        <a:pt x="86" y="40"/>
                      </a:lnTo>
                      <a:lnTo>
                        <a:pt x="86" y="40"/>
                      </a:lnTo>
                      <a:lnTo>
                        <a:pt x="86" y="40"/>
                      </a:lnTo>
                      <a:lnTo>
                        <a:pt x="86" y="40"/>
                      </a:lnTo>
                      <a:lnTo>
                        <a:pt x="86" y="44"/>
                      </a:lnTo>
                      <a:lnTo>
                        <a:pt x="90" y="44"/>
                      </a:lnTo>
                      <a:lnTo>
                        <a:pt x="90" y="44"/>
                      </a:lnTo>
                      <a:lnTo>
                        <a:pt x="90" y="44"/>
                      </a:lnTo>
                      <a:lnTo>
                        <a:pt x="90" y="44"/>
                      </a:lnTo>
                      <a:lnTo>
                        <a:pt x="90" y="44"/>
                      </a:lnTo>
                      <a:lnTo>
                        <a:pt x="94" y="40"/>
                      </a:lnTo>
                      <a:lnTo>
                        <a:pt x="94" y="40"/>
                      </a:lnTo>
                      <a:lnTo>
                        <a:pt x="94" y="40"/>
                      </a:lnTo>
                      <a:lnTo>
                        <a:pt x="94" y="40"/>
                      </a:lnTo>
                      <a:lnTo>
                        <a:pt x="94" y="40"/>
                      </a:lnTo>
                      <a:lnTo>
                        <a:pt x="94" y="40"/>
                      </a:lnTo>
                      <a:lnTo>
                        <a:pt x="94" y="40"/>
                      </a:lnTo>
                      <a:lnTo>
                        <a:pt x="98" y="44"/>
                      </a:lnTo>
                      <a:lnTo>
                        <a:pt x="98" y="44"/>
                      </a:lnTo>
                      <a:lnTo>
                        <a:pt x="98" y="44"/>
                      </a:lnTo>
                      <a:lnTo>
                        <a:pt x="98" y="44"/>
                      </a:lnTo>
                      <a:lnTo>
                        <a:pt x="100" y="44"/>
                      </a:lnTo>
                      <a:lnTo>
                        <a:pt x="100" y="44"/>
                      </a:lnTo>
                      <a:lnTo>
                        <a:pt x="100" y="44"/>
                      </a:lnTo>
                      <a:lnTo>
                        <a:pt x="100" y="48"/>
                      </a:lnTo>
                      <a:lnTo>
                        <a:pt x="100" y="44"/>
                      </a:lnTo>
                      <a:lnTo>
                        <a:pt x="104" y="44"/>
                      </a:lnTo>
                      <a:lnTo>
                        <a:pt x="104" y="44"/>
                      </a:lnTo>
                      <a:lnTo>
                        <a:pt x="104" y="48"/>
                      </a:lnTo>
                      <a:lnTo>
                        <a:pt x="108" y="48"/>
                      </a:lnTo>
                      <a:lnTo>
                        <a:pt x="108" y="44"/>
                      </a:lnTo>
                      <a:lnTo>
                        <a:pt x="108" y="48"/>
                      </a:lnTo>
                      <a:lnTo>
                        <a:pt x="108" y="48"/>
                      </a:lnTo>
                      <a:lnTo>
                        <a:pt x="108" y="44"/>
                      </a:lnTo>
                      <a:lnTo>
                        <a:pt x="108" y="44"/>
                      </a:lnTo>
                      <a:lnTo>
                        <a:pt x="108" y="44"/>
                      </a:lnTo>
                      <a:lnTo>
                        <a:pt x="108" y="44"/>
                      </a:lnTo>
                      <a:lnTo>
                        <a:pt x="108" y="44"/>
                      </a:lnTo>
                      <a:lnTo>
                        <a:pt x="112" y="44"/>
                      </a:lnTo>
                      <a:lnTo>
                        <a:pt x="112" y="44"/>
                      </a:lnTo>
                      <a:lnTo>
                        <a:pt x="112" y="44"/>
                      </a:lnTo>
                      <a:lnTo>
                        <a:pt x="112" y="44"/>
                      </a:lnTo>
                      <a:lnTo>
                        <a:pt x="112" y="44"/>
                      </a:lnTo>
                      <a:lnTo>
                        <a:pt x="112" y="44"/>
                      </a:lnTo>
                      <a:lnTo>
                        <a:pt x="116" y="44"/>
                      </a:lnTo>
                      <a:lnTo>
                        <a:pt x="116" y="44"/>
                      </a:lnTo>
                      <a:lnTo>
                        <a:pt x="116" y="48"/>
                      </a:lnTo>
                      <a:lnTo>
                        <a:pt x="116" y="48"/>
                      </a:lnTo>
                      <a:lnTo>
                        <a:pt x="112" y="52"/>
                      </a:lnTo>
                      <a:lnTo>
                        <a:pt x="112" y="52"/>
                      </a:lnTo>
                      <a:lnTo>
                        <a:pt x="112" y="52"/>
                      </a:lnTo>
                      <a:lnTo>
                        <a:pt x="112" y="52"/>
                      </a:lnTo>
                      <a:lnTo>
                        <a:pt x="112" y="56"/>
                      </a:lnTo>
                      <a:lnTo>
                        <a:pt x="112" y="56"/>
                      </a:lnTo>
                      <a:lnTo>
                        <a:pt x="112" y="60"/>
                      </a:lnTo>
                      <a:lnTo>
                        <a:pt x="112" y="60"/>
                      </a:lnTo>
                      <a:lnTo>
                        <a:pt x="112" y="60"/>
                      </a:lnTo>
                      <a:lnTo>
                        <a:pt x="112" y="60"/>
                      </a:lnTo>
                      <a:lnTo>
                        <a:pt x="112" y="60"/>
                      </a:lnTo>
                      <a:lnTo>
                        <a:pt x="112" y="62"/>
                      </a:lnTo>
                      <a:lnTo>
                        <a:pt x="116" y="62"/>
                      </a:lnTo>
                      <a:lnTo>
                        <a:pt x="116" y="66"/>
                      </a:lnTo>
                      <a:lnTo>
                        <a:pt x="116" y="66"/>
                      </a:lnTo>
                      <a:lnTo>
                        <a:pt x="116" y="66"/>
                      </a:lnTo>
                      <a:lnTo>
                        <a:pt x="116" y="66"/>
                      </a:lnTo>
                      <a:lnTo>
                        <a:pt x="112" y="70"/>
                      </a:lnTo>
                      <a:lnTo>
                        <a:pt x="112" y="70"/>
                      </a:lnTo>
                      <a:lnTo>
                        <a:pt x="112" y="70"/>
                      </a:lnTo>
                      <a:lnTo>
                        <a:pt x="112" y="70"/>
                      </a:lnTo>
                      <a:lnTo>
                        <a:pt x="112" y="74"/>
                      </a:lnTo>
                      <a:lnTo>
                        <a:pt x="112" y="70"/>
                      </a:lnTo>
                      <a:lnTo>
                        <a:pt x="112" y="70"/>
                      </a:lnTo>
                      <a:lnTo>
                        <a:pt x="112" y="70"/>
                      </a:lnTo>
                      <a:lnTo>
                        <a:pt x="112" y="70"/>
                      </a:lnTo>
                      <a:lnTo>
                        <a:pt x="108" y="70"/>
                      </a:lnTo>
                      <a:lnTo>
                        <a:pt x="108" y="70"/>
                      </a:lnTo>
                      <a:lnTo>
                        <a:pt x="108" y="70"/>
                      </a:lnTo>
                      <a:lnTo>
                        <a:pt x="108" y="70"/>
                      </a:lnTo>
                      <a:lnTo>
                        <a:pt x="104" y="70"/>
                      </a:lnTo>
                      <a:lnTo>
                        <a:pt x="104" y="70"/>
                      </a:lnTo>
                      <a:lnTo>
                        <a:pt x="104" y="70"/>
                      </a:lnTo>
                      <a:lnTo>
                        <a:pt x="104" y="70"/>
                      </a:lnTo>
                      <a:lnTo>
                        <a:pt x="104" y="70"/>
                      </a:lnTo>
                      <a:lnTo>
                        <a:pt x="104" y="70"/>
                      </a:lnTo>
                      <a:lnTo>
                        <a:pt x="100" y="74"/>
                      </a:lnTo>
                      <a:lnTo>
                        <a:pt x="100" y="70"/>
                      </a:lnTo>
                      <a:lnTo>
                        <a:pt x="98" y="70"/>
                      </a:lnTo>
                      <a:lnTo>
                        <a:pt x="98" y="70"/>
                      </a:lnTo>
                      <a:lnTo>
                        <a:pt x="98" y="70"/>
                      </a:lnTo>
                      <a:lnTo>
                        <a:pt x="98" y="70"/>
                      </a:lnTo>
                      <a:lnTo>
                        <a:pt x="98" y="70"/>
                      </a:lnTo>
                      <a:lnTo>
                        <a:pt x="98" y="70"/>
                      </a:lnTo>
                      <a:lnTo>
                        <a:pt x="94" y="70"/>
                      </a:lnTo>
                      <a:lnTo>
                        <a:pt x="94" y="70"/>
                      </a:lnTo>
                      <a:lnTo>
                        <a:pt x="94" y="70"/>
                      </a:lnTo>
                      <a:lnTo>
                        <a:pt x="90" y="70"/>
                      </a:lnTo>
                      <a:lnTo>
                        <a:pt x="90" y="66"/>
                      </a:lnTo>
                      <a:lnTo>
                        <a:pt x="86" y="66"/>
                      </a:lnTo>
                      <a:lnTo>
                        <a:pt x="86" y="66"/>
                      </a:lnTo>
                      <a:lnTo>
                        <a:pt x="86" y="66"/>
                      </a:lnTo>
                      <a:lnTo>
                        <a:pt x="86" y="66"/>
                      </a:lnTo>
                      <a:lnTo>
                        <a:pt x="86" y="66"/>
                      </a:lnTo>
                      <a:lnTo>
                        <a:pt x="86" y="66"/>
                      </a:lnTo>
                      <a:lnTo>
                        <a:pt x="82" y="66"/>
                      </a:lnTo>
                      <a:lnTo>
                        <a:pt x="82" y="66"/>
                      </a:lnTo>
                      <a:lnTo>
                        <a:pt x="82" y="66"/>
                      </a:lnTo>
                      <a:lnTo>
                        <a:pt x="82" y="70"/>
                      </a:lnTo>
                      <a:lnTo>
                        <a:pt x="78" y="66"/>
                      </a:lnTo>
                      <a:lnTo>
                        <a:pt x="78" y="66"/>
                      </a:lnTo>
                      <a:lnTo>
                        <a:pt x="78" y="66"/>
                      </a:lnTo>
                      <a:lnTo>
                        <a:pt x="78" y="66"/>
                      </a:lnTo>
                      <a:lnTo>
                        <a:pt x="78" y="66"/>
                      </a:lnTo>
                      <a:lnTo>
                        <a:pt x="78" y="62"/>
                      </a:lnTo>
                      <a:lnTo>
                        <a:pt x="78" y="62"/>
                      </a:lnTo>
                      <a:lnTo>
                        <a:pt x="78" y="62"/>
                      </a:lnTo>
                      <a:lnTo>
                        <a:pt x="78" y="62"/>
                      </a:lnTo>
                      <a:lnTo>
                        <a:pt x="74" y="62"/>
                      </a:lnTo>
                      <a:lnTo>
                        <a:pt x="74" y="66"/>
                      </a:lnTo>
                      <a:lnTo>
                        <a:pt x="74" y="66"/>
                      </a:lnTo>
                      <a:lnTo>
                        <a:pt x="74" y="66"/>
                      </a:lnTo>
                      <a:lnTo>
                        <a:pt x="74" y="66"/>
                      </a:lnTo>
                      <a:lnTo>
                        <a:pt x="72" y="66"/>
                      </a:lnTo>
                      <a:lnTo>
                        <a:pt x="72" y="66"/>
                      </a:lnTo>
                      <a:lnTo>
                        <a:pt x="72" y="62"/>
                      </a:lnTo>
                      <a:lnTo>
                        <a:pt x="68" y="62"/>
                      </a:lnTo>
                      <a:lnTo>
                        <a:pt x="68" y="60"/>
                      </a:lnTo>
                      <a:lnTo>
                        <a:pt x="68" y="60"/>
                      </a:lnTo>
                      <a:lnTo>
                        <a:pt x="68" y="60"/>
                      </a:lnTo>
                      <a:lnTo>
                        <a:pt x="68" y="60"/>
                      </a:lnTo>
                      <a:lnTo>
                        <a:pt x="64" y="60"/>
                      </a:lnTo>
                      <a:lnTo>
                        <a:pt x="64" y="60"/>
                      </a:lnTo>
                      <a:lnTo>
                        <a:pt x="64" y="60"/>
                      </a:lnTo>
                      <a:lnTo>
                        <a:pt x="64" y="60"/>
                      </a:lnTo>
                      <a:lnTo>
                        <a:pt x="64" y="60"/>
                      </a:lnTo>
                      <a:lnTo>
                        <a:pt x="64" y="56"/>
                      </a:lnTo>
                      <a:lnTo>
                        <a:pt x="64" y="56"/>
                      </a:lnTo>
                      <a:lnTo>
                        <a:pt x="64" y="56"/>
                      </a:lnTo>
                      <a:lnTo>
                        <a:pt x="64" y="56"/>
                      </a:lnTo>
                      <a:lnTo>
                        <a:pt x="64" y="56"/>
                      </a:lnTo>
                      <a:lnTo>
                        <a:pt x="64" y="56"/>
                      </a:lnTo>
                      <a:lnTo>
                        <a:pt x="60" y="56"/>
                      </a:lnTo>
                      <a:lnTo>
                        <a:pt x="60" y="56"/>
                      </a:lnTo>
                      <a:lnTo>
                        <a:pt x="60" y="56"/>
                      </a:lnTo>
                      <a:lnTo>
                        <a:pt x="56" y="52"/>
                      </a:lnTo>
                      <a:lnTo>
                        <a:pt x="56" y="52"/>
                      </a:lnTo>
                      <a:lnTo>
                        <a:pt x="56" y="52"/>
                      </a:lnTo>
                      <a:lnTo>
                        <a:pt x="56" y="52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2" y="56"/>
                      </a:lnTo>
                      <a:lnTo>
                        <a:pt x="52" y="56"/>
                      </a:lnTo>
                      <a:lnTo>
                        <a:pt x="52" y="56"/>
                      </a:lnTo>
                      <a:lnTo>
                        <a:pt x="52" y="56"/>
                      </a:lnTo>
                      <a:lnTo>
                        <a:pt x="52" y="56"/>
                      </a:lnTo>
                      <a:lnTo>
                        <a:pt x="52" y="52"/>
                      </a:lnTo>
                      <a:lnTo>
                        <a:pt x="48" y="52"/>
                      </a:lnTo>
                      <a:lnTo>
                        <a:pt x="48" y="52"/>
                      </a:lnTo>
                      <a:lnTo>
                        <a:pt x="48" y="52"/>
                      </a:lnTo>
                      <a:lnTo>
                        <a:pt x="48" y="52"/>
                      </a:lnTo>
                      <a:lnTo>
                        <a:pt x="46" y="52"/>
                      </a:lnTo>
                      <a:lnTo>
                        <a:pt x="46" y="56"/>
                      </a:lnTo>
                      <a:lnTo>
                        <a:pt x="46" y="56"/>
                      </a:lnTo>
                      <a:lnTo>
                        <a:pt x="46" y="56"/>
                      </a:lnTo>
                      <a:lnTo>
                        <a:pt x="46" y="56"/>
                      </a:lnTo>
                      <a:lnTo>
                        <a:pt x="46" y="56"/>
                      </a:lnTo>
                      <a:lnTo>
                        <a:pt x="46" y="56"/>
                      </a:lnTo>
                      <a:lnTo>
                        <a:pt x="46" y="56"/>
                      </a:lnTo>
                      <a:lnTo>
                        <a:pt x="46" y="52"/>
                      </a:lnTo>
                      <a:lnTo>
                        <a:pt x="42" y="52"/>
                      </a:lnTo>
                      <a:lnTo>
                        <a:pt x="42" y="52"/>
                      </a:lnTo>
                      <a:lnTo>
                        <a:pt x="42" y="52"/>
                      </a:lnTo>
                      <a:lnTo>
                        <a:pt x="42" y="52"/>
                      </a:lnTo>
                      <a:lnTo>
                        <a:pt x="38" y="52"/>
                      </a:lnTo>
                      <a:lnTo>
                        <a:pt x="38" y="52"/>
                      </a:lnTo>
                      <a:lnTo>
                        <a:pt x="38" y="52"/>
                      </a:lnTo>
                      <a:lnTo>
                        <a:pt x="38" y="48"/>
                      </a:lnTo>
                      <a:lnTo>
                        <a:pt x="38" y="48"/>
                      </a:lnTo>
                      <a:lnTo>
                        <a:pt x="38" y="48"/>
                      </a:lnTo>
                      <a:lnTo>
                        <a:pt x="38" y="48"/>
                      </a:lnTo>
                      <a:lnTo>
                        <a:pt x="38" y="4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5" name="Freeform 44"/>
                <p:cNvSpPr>
                  <a:spLocks/>
                </p:cNvSpPr>
                <p:nvPr/>
              </p:nvSpPr>
              <p:spPr bwMode="auto">
                <a:xfrm>
                  <a:off x="7185025" y="3340168"/>
                  <a:ext cx="142875" cy="158750"/>
                </a:xfrm>
                <a:custGeom>
                  <a:avLst/>
                  <a:gdLst>
                    <a:gd name="T0" fmla="*/ 46 w 90"/>
                    <a:gd name="T1" fmla="*/ 72 h 100"/>
                    <a:gd name="T2" fmla="*/ 52 w 90"/>
                    <a:gd name="T3" fmla="*/ 76 h 100"/>
                    <a:gd name="T4" fmla="*/ 56 w 90"/>
                    <a:gd name="T5" fmla="*/ 80 h 100"/>
                    <a:gd name="T6" fmla="*/ 56 w 90"/>
                    <a:gd name="T7" fmla="*/ 84 h 100"/>
                    <a:gd name="T8" fmla="*/ 56 w 90"/>
                    <a:gd name="T9" fmla="*/ 88 h 100"/>
                    <a:gd name="T10" fmla="*/ 52 w 90"/>
                    <a:gd name="T11" fmla="*/ 88 h 100"/>
                    <a:gd name="T12" fmla="*/ 42 w 90"/>
                    <a:gd name="T13" fmla="*/ 88 h 100"/>
                    <a:gd name="T14" fmla="*/ 38 w 90"/>
                    <a:gd name="T15" fmla="*/ 92 h 100"/>
                    <a:gd name="T16" fmla="*/ 34 w 90"/>
                    <a:gd name="T17" fmla="*/ 100 h 100"/>
                    <a:gd name="T18" fmla="*/ 26 w 90"/>
                    <a:gd name="T19" fmla="*/ 96 h 100"/>
                    <a:gd name="T20" fmla="*/ 22 w 90"/>
                    <a:gd name="T21" fmla="*/ 100 h 100"/>
                    <a:gd name="T22" fmla="*/ 20 w 90"/>
                    <a:gd name="T23" fmla="*/ 96 h 100"/>
                    <a:gd name="T24" fmla="*/ 20 w 90"/>
                    <a:gd name="T25" fmla="*/ 96 h 100"/>
                    <a:gd name="T26" fmla="*/ 16 w 90"/>
                    <a:gd name="T27" fmla="*/ 100 h 100"/>
                    <a:gd name="T28" fmla="*/ 16 w 90"/>
                    <a:gd name="T29" fmla="*/ 96 h 100"/>
                    <a:gd name="T30" fmla="*/ 12 w 90"/>
                    <a:gd name="T31" fmla="*/ 96 h 100"/>
                    <a:gd name="T32" fmla="*/ 12 w 90"/>
                    <a:gd name="T33" fmla="*/ 96 h 100"/>
                    <a:gd name="T34" fmla="*/ 12 w 90"/>
                    <a:gd name="T35" fmla="*/ 92 h 100"/>
                    <a:gd name="T36" fmla="*/ 4 w 90"/>
                    <a:gd name="T37" fmla="*/ 92 h 100"/>
                    <a:gd name="T38" fmla="*/ 8 w 90"/>
                    <a:gd name="T39" fmla="*/ 84 h 100"/>
                    <a:gd name="T40" fmla="*/ 16 w 90"/>
                    <a:gd name="T41" fmla="*/ 80 h 100"/>
                    <a:gd name="T42" fmla="*/ 20 w 90"/>
                    <a:gd name="T43" fmla="*/ 84 h 100"/>
                    <a:gd name="T44" fmla="*/ 12 w 90"/>
                    <a:gd name="T45" fmla="*/ 80 h 100"/>
                    <a:gd name="T46" fmla="*/ 12 w 90"/>
                    <a:gd name="T47" fmla="*/ 72 h 100"/>
                    <a:gd name="T48" fmla="*/ 16 w 90"/>
                    <a:gd name="T49" fmla="*/ 70 h 100"/>
                    <a:gd name="T50" fmla="*/ 16 w 90"/>
                    <a:gd name="T51" fmla="*/ 66 h 100"/>
                    <a:gd name="T52" fmla="*/ 4 w 90"/>
                    <a:gd name="T53" fmla="*/ 62 h 100"/>
                    <a:gd name="T54" fmla="*/ 4 w 90"/>
                    <a:gd name="T55" fmla="*/ 58 h 100"/>
                    <a:gd name="T56" fmla="*/ 0 w 90"/>
                    <a:gd name="T57" fmla="*/ 54 h 100"/>
                    <a:gd name="T58" fmla="*/ 4 w 90"/>
                    <a:gd name="T59" fmla="*/ 50 h 100"/>
                    <a:gd name="T60" fmla="*/ 12 w 90"/>
                    <a:gd name="T61" fmla="*/ 44 h 100"/>
                    <a:gd name="T62" fmla="*/ 20 w 90"/>
                    <a:gd name="T63" fmla="*/ 44 h 100"/>
                    <a:gd name="T64" fmla="*/ 26 w 90"/>
                    <a:gd name="T65" fmla="*/ 32 h 100"/>
                    <a:gd name="T66" fmla="*/ 30 w 90"/>
                    <a:gd name="T67" fmla="*/ 28 h 100"/>
                    <a:gd name="T68" fmla="*/ 34 w 90"/>
                    <a:gd name="T69" fmla="*/ 24 h 100"/>
                    <a:gd name="T70" fmla="*/ 38 w 90"/>
                    <a:gd name="T71" fmla="*/ 24 h 100"/>
                    <a:gd name="T72" fmla="*/ 48 w 90"/>
                    <a:gd name="T73" fmla="*/ 28 h 100"/>
                    <a:gd name="T74" fmla="*/ 52 w 90"/>
                    <a:gd name="T75" fmla="*/ 28 h 100"/>
                    <a:gd name="T76" fmla="*/ 56 w 90"/>
                    <a:gd name="T77" fmla="*/ 24 h 100"/>
                    <a:gd name="T78" fmla="*/ 56 w 90"/>
                    <a:gd name="T79" fmla="*/ 16 h 100"/>
                    <a:gd name="T80" fmla="*/ 60 w 90"/>
                    <a:gd name="T81" fmla="*/ 16 h 100"/>
                    <a:gd name="T82" fmla="*/ 68 w 90"/>
                    <a:gd name="T83" fmla="*/ 16 h 100"/>
                    <a:gd name="T84" fmla="*/ 72 w 90"/>
                    <a:gd name="T85" fmla="*/ 10 h 100"/>
                    <a:gd name="T86" fmla="*/ 74 w 90"/>
                    <a:gd name="T87" fmla="*/ 6 h 100"/>
                    <a:gd name="T88" fmla="*/ 78 w 90"/>
                    <a:gd name="T89" fmla="*/ 0 h 100"/>
                    <a:gd name="T90" fmla="*/ 82 w 90"/>
                    <a:gd name="T91" fmla="*/ 2 h 100"/>
                    <a:gd name="T92" fmla="*/ 90 w 90"/>
                    <a:gd name="T93" fmla="*/ 10 h 100"/>
                    <a:gd name="T94" fmla="*/ 90 w 90"/>
                    <a:gd name="T95" fmla="*/ 14 h 100"/>
                    <a:gd name="T96" fmla="*/ 82 w 90"/>
                    <a:gd name="T97" fmla="*/ 16 h 100"/>
                    <a:gd name="T98" fmla="*/ 74 w 90"/>
                    <a:gd name="T99" fmla="*/ 24 h 100"/>
                    <a:gd name="T100" fmla="*/ 74 w 90"/>
                    <a:gd name="T101" fmla="*/ 28 h 100"/>
                    <a:gd name="T102" fmla="*/ 74 w 90"/>
                    <a:gd name="T103" fmla="*/ 36 h 100"/>
                    <a:gd name="T104" fmla="*/ 74 w 90"/>
                    <a:gd name="T105" fmla="*/ 40 h 100"/>
                    <a:gd name="T106" fmla="*/ 68 w 90"/>
                    <a:gd name="T107" fmla="*/ 46 h 100"/>
                    <a:gd name="T108" fmla="*/ 64 w 90"/>
                    <a:gd name="T109" fmla="*/ 46 h 100"/>
                    <a:gd name="T110" fmla="*/ 52 w 90"/>
                    <a:gd name="T111" fmla="*/ 54 h 100"/>
                    <a:gd name="T112" fmla="*/ 48 w 90"/>
                    <a:gd name="T113" fmla="*/ 58 h 100"/>
                    <a:gd name="T114" fmla="*/ 46 w 90"/>
                    <a:gd name="T115" fmla="*/ 66 h 100"/>
                    <a:gd name="T116" fmla="*/ 46 w 90"/>
                    <a:gd name="T117" fmla="*/ 70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90" h="100">
                      <a:moveTo>
                        <a:pt x="46" y="70"/>
                      </a:moveTo>
                      <a:lnTo>
                        <a:pt x="46" y="70"/>
                      </a:lnTo>
                      <a:lnTo>
                        <a:pt x="42" y="70"/>
                      </a:lnTo>
                      <a:lnTo>
                        <a:pt x="42" y="70"/>
                      </a:lnTo>
                      <a:lnTo>
                        <a:pt x="42" y="72"/>
                      </a:lnTo>
                      <a:lnTo>
                        <a:pt x="46" y="72"/>
                      </a:lnTo>
                      <a:lnTo>
                        <a:pt x="46" y="72"/>
                      </a:lnTo>
                      <a:lnTo>
                        <a:pt x="46" y="72"/>
                      </a:lnTo>
                      <a:lnTo>
                        <a:pt x="48" y="72"/>
                      </a:lnTo>
                      <a:lnTo>
                        <a:pt x="48" y="72"/>
                      </a:lnTo>
                      <a:lnTo>
                        <a:pt x="48" y="76"/>
                      </a:lnTo>
                      <a:lnTo>
                        <a:pt x="48" y="76"/>
                      </a:lnTo>
                      <a:lnTo>
                        <a:pt x="52" y="76"/>
                      </a:lnTo>
                      <a:lnTo>
                        <a:pt x="52" y="76"/>
                      </a:lnTo>
                      <a:lnTo>
                        <a:pt x="52" y="76"/>
                      </a:lnTo>
                      <a:lnTo>
                        <a:pt x="52" y="76"/>
                      </a:lnTo>
                      <a:lnTo>
                        <a:pt x="52" y="80"/>
                      </a:lnTo>
                      <a:lnTo>
                        <a:pt x="52" y="80"/>
                      </a:lnTo>
                      <a:lnTo>
                        <a:pt x="56" y="80"/>
                      </a:lnTo>
                      <a:lnTo>
                        <a:pt x="56" y="80"/>
                      </a:lnTo>
                      <a:lnTo>
                        <a:pt x="56" y="80"/>
                      </a:lnTo>
                      <a:lnTo>
                        <a:pt x="56" y="80"/>
                      </a:lnTo>
                      <a:lnTo>
                        <a:pt x="56" y="80"/>
                      </a:lnTo>
                      <a:lnTo>
                        <a:pt x="56" y="80"/>
                      </a:lnTo>
                      <a:lnTo>
                        <a:pt x="56" y="84"/>
                      </a:lnTo>
                      <a:lnTo>
                        <a:pt x="56" y="84"/>
                      </a:lnTo>
                      <a:lnTo>
                        <a:pt x="56" y="84"/>
                      </a:lnTo>
                      <a:lnTo>
                        <a:pt x="56" y="84"/>
                      </a:lnTo>
                      <a:lnTo>
                        <a:pt x="56" y="84"/>
                      </a:lnTo>
                      <a:lnTo>
                        <a:pt x="56" y="84"/>
                      </a:lnTo>
                      <a:lnTo>
                        <a:pt x="56" y="88"/>
                      </a:lnTo>
                      <a:lnTo>
                        <a:pt x="56" y="88"/>
                      </a:lnTo>
                      <a:lnTo>
                        <a:pt x="56" y="88"/>
                      </a:lnTo>
                      <a:lnTo>
                        <a:pt x="56" y="88"/>
                      </a:lnTo>
                      <a:lnTo>
                        <a:pt x="56" y="88"/>
                      </a:lnTo>
                      <a:lnTo>
                        <a:pt x="52" y="88"/>
                      </a:lnTo>
                      <a:lnTo>
                        <a:pt x="52" y="88"/>
                      </a:lnTo>
                      <a:lnTo>
                        <a:pt x="52" y="88"/>
                      </a:lnTo>
                      <a:lnTo>
                        <a:pt x="52" y="88"/>
                      </a:lnTo>
                      <a:lnTo>
                        <a:pt x="52" y="88"/>
                      </a:lnTo>
                      <a:lnTo>
                        <a:pt x="52" y="88"/>
                      </a:lnTo>
                      <a:lnTo>
                        <a:pt x="52" y="88"/>
                      </a:lnTo>
                      <a:lnTo>
                        <a:pt x="48" y="88"/>
                      </a:lnTo>
                      <a:lnTo>
                        <a:pt x="46" y="88"/>
                      </a:lnTo>
                      <a:lnTo>
                        <a:pt x="46" y="88"/>
                      </a:lnTo>
                      <a:lnTo>
                        <a:pt x="46" y="88"/>
                      </a:lnTo>
                      <a:lnTo>
                        <a:pt x="42" y="88"/>
                      </a:lnTo>
                      <a:lnTo>
                        <a:pt x="42" y="88"/>
                      </a:lnTo>
                      <a:lnTo>
                        <a:pt x="42" y="88"/>
                      </a:lnTo>
                      <a:lnTo>
                        <a:pt x="38" y="88"/>
                      </a:lnTo>
                      <a:lnTo>
                        <a:pt x="38" y="88"/>
                      </a:lnTo>
                      <a:lnTo>
                        <a:pt x="38" y="88"/>
                      </a:lnTo>
                      <a:lnTo>
                        <a:pt x="38" y="88"/>
                      </a:lnTo>
                      <a:lnTo>
                        <a:pt x="38" y="92"/>
                      </a:lnTo>
                      <a:lnTo>
                        <a:pt x="38" y="92"/>
                      </a:lnTo>
                      <a:lnTo>
                        <a:pt x="38" y="92"/>
                      </a:lnTo>
                      <a:lnTo>
                        <a:pt x="38" y="92"/>
                      </a:lnTo>
                      <a:lnTo>
                        <a:pt x="38" y="92"/>
                      </a:lnTo>
                      <a:lnTo>
                        <a:pt x="34" y="96"/>
                      </a:lnTo>
                      <a:lnTo>
                        <a:pt x="34" y="96"/>
                      </a:lnTo>
                      <a:lnTo>
                        <a:pt x="34" y="96"/>
                      </a:lnTo>
                      <a:lnTo>
                        <a:pt x="34" y="96"/>
                      </a:lnTo>
                      <a:lnTo>
                        <a:pt x="34" y="100"/>
                      </a:lnTo>
                      <a:lnTo>
                        <a:pt x="34" y="100"/>
                      </a:lnTo>
                      <a:lnTo>
                        <a:pt x="30" y="100"/>
                      </a:lnTo>
                      <a:lnTo>
                        <a:pt x="30" y="100"/>
                      </a:lnTo>
                      <a:lnTo>
                        <a:pt x="30" y="96"/>
                      </a:lnTo>
                      <a:lnTo>
                        <a:pt x="30" y="96"/>
                      </a:lnTo>
                      <a:lnTo>
                        <a:pt x="30" y="96"/>
                      </a:lnTo>
                      <a:lnTo>
                        <a:pt x="26" y="96"/>
                      </a:lnTo>
                      <a:lnTo>
                        <a:pt x="26" y="100"/>
                      </a:lnTo>
                      <a:lnTo>
                        <a:pt x="26" y="100"/>
                      </a:lnTo>
                      <a:lnTo>
                        <a:pt x="26" y="100"/>
                      </a:lnTo>
                      <a:lnTo>
                        <a:pt x="26" y="100"/>
                      </a:lnTo>
                      <a:lnTo>
                        <a:pt x="26" y="100"/>
                      </a:lnTo>
                      <a:lnTo>
                        <a:pt x="26" y="100"/>
                      </a:lnTo>
                      <a:lnTo>
                        <a:pt x="22" y="100"/>
                      </a:lnTo>
                      <a:lnTo>
                        <a:pt x="22" y="96"/>
                      </a:lnTo>
                      <a:lnTo>
                        <a:pt x="22" y="96"/>
                      </a:lnTo>
                      <a:lnTo>
                        <a:pt x="22" y="96"/>
                      </a:lnTo>
                      <a:lnTo>
                        <a:pt x="22" y="96"/>
                      </a:lnTo>
                      <a:lnTo>
                        <a:pt x="22" y="100"/>
                      </a:lnTo>
                      <a:lnTo>
                        <a:pt x="22" y="100"/>
                      </a:lnTo>
                      <a:lnTo>
                        <a:pt x="20" y="96"/>
                      </a:lnTo>
                      <a:lnTo>
                        <a:pt x="20" y="96"/>
                      </a:lnTo>
                      <a:lnTo>
                        <a:pt x="20" y="96"/>
                      </a:lnTo>
                      <a:lnTo>
                        <a:pt x="20" y="96"/>
                      </a:lnTo>
                      <a:lnTo>
                        <a:pt x="20" y="96"/>
                      </a:lnTo>
                      <a:lnTo>
                        <a:pt x="20" y="96"/>
                      </a:lnTo>
                      <a:lnTo>
                        <a:pt x="20" y="96"/>
                      </a:lnTo>
                      <a:lnTo>
                        <a:pt x="20" y="96"/>
                      </a:lnTo>
                      <a:lnTo>
                        <a:pt x="20" y="96"/>
                      </a:lnTo>
                      <a:lnTo>
                        <a:pt x="20" y="96"/>
                      </a:lnTo>
                      <a:lnTo>
                        <a:pt x="20" y="100"/>
                      </a:lnTo>
                      <a:lnTo>
                        <a:pt x="20" y="100"/>
                      </a:lnTo>
                      <a:lnTo>
                        <a:pt x="16" y="100"/>
                      </a:lnTo>
                      <a:lnTo>
                        <a:pt x="16" y="100"/>
                      </a:lnTo>
                      <a:lnTo>
                        <a:pt x="16" y="100"/>
                      </a:lnTo>
                      <a:lnTo>
                        <a:pt x="16" y="100"/>
                      </a:lnTo>
                      <a:lnTo>
                        <a:pt x="16" y="100"/>
                      </a:lnTo>
                      <a:lnTo>
                        <a:pt x="16" y="100"/>
                      </a:lnTo>
                      <a:lnTo>
                        <a:pt x="16" y="100"/>
                      </a:lnTo>
                      <a:lnTo>
                        <a:pt x="16" y="100"/>
                      </a:lnTo>
                      <a:lnTo>
                        <a:pt x="16" y="96"/>
                      </a:lnTo>
                      <a:lnTo>
                        <a:pt x="16" y="96"/>
                      </a:lnTo>
                      <a:lnTo>
                        <a:pt x="16" y="96"/>
                      </a:lnTo>
                      <a:lnTo>
                        <a:pt x="16" y="96"/>
                      </a:lnTo>
                      <a:lnTo>
                        <a:pt x="16" y="96"/>
                      </a:lnTo>
                      <a:lnTo>
                        <a:pt x="16" y="96"/>
                      </a:lnTo>
                      <a:lnTo>
                        <a:pt x="12" y="96"/>
                      </a:lnTo>
                      <a:lnTo>
                        <a:pt x="12" y="96"/>
                      </a:lnTo>
                      <a:lnTo>
                        <a:pt x="12" y="96"/>
                      </a:lnTo>
                      <a:lnTo>
                        <a:pt x="12" y="96"/>
                      </a:lnTo>
                      <a:lnTo>
                        <a:pt x="12" y="96"/>
                      </a:lnTo>
                      <a:lnTo>
                        <a:pt x="8" y="96"/>
                      </a:lnTo>
                      <a:lnTo>
                        <a:pt x="8" y="96"/>
                      </a:lnTo>
                      <a:lnTo>
                        <a:pt x="12" y="96"/>
                      </a:lnTo>
                      <a:lnTo>
                        <a:pt x="12" y="96"/>
                      </a:lnTo>
                      <a:lnTo>
                        <a:pt x="12" y="96"/>
                      </a:lnTo>
                      <a:lnTo>
                        <a:pt x="12" y="96"/>
                      </a:lnTo>
                      <a:lnTo>
                        <a:pt x="12" y="96"/>
                      </a:lnTo>
                      <a:lnTo>
                        <a:pt x="12" y="92"/>
                      </a:lnTo>
                      <a:lnTo>
                        <a:pt x="12" y="92"/>
                      </a:lnTo>
                      <a:lnTo>
                        <a:pt x="12" y="92"/>
                      </a:lnTo>
                      <a:lnTo>
                        <a:pt x="12" y="92"/>
                      </a:lnTo>
                      <a:lnTo>
                        <a:pt x="12" y="92"/>
                      </a:lnTo>
                      <a:lnTo>
                        <a:pt x="12" y="92"/>
                      </a:lnTo>
                      <a:lnTo>
                        <a:pt x="8" y="92"/>
                      </a:lnTo>
                      <a:lnTo>
                        <a:pt x="8" y="92"/>
                      </a:lnTo>
                      <a:lnTo>
                        <a:pt x="8" y="92"/>
                      </a:lnTo>
                      <a:lnTo>
                        <a:pt x="4" y="92"/>
                      </a:lnTo>
                      <a:lnTo>
                        <a:pt x="4" y="92"/>
                      </a:lnTo>
                      <a:lnTo>
                        <a:pt x="4" y="92"/>
                      </a:lnTo>
                      <a:lnTo>
                        <a:pt x="4" y="92"/>
                      </a:lnTo>
                      <a:lnTo>
                        <a:pt x="4" y="92"/>
                      </a:lnTo>
                      <a:lnTo>
                        <a:pt x="8" y="92"/>
                      </a:lnTo>
                      <a:lnTo>
                        <a:pt x="8" y="92"/>
                      </a:lnTo>
                      <a:lnTo>
                        <a:pt x="8" y="88"/>
                      </a:lnTo>
                      <a:lnTo>
                        <a:pt x="8" y="88"/>
                      </a:lnTo>
                      <a:lnTo>
                        <a:pt x="8" y="84"/>
                      </a:lnTo>
                      <a:lnTo>
                        <a:pt x="8" y="84"/>
                      </a:lnTo>
                      <a:lnTo>
                        <a:pt x="12" y="84"/>
                      </a:lnTo>
                      <a:lnTo>
                        <a:pt x="12" y="80"/>
                      </a:lnTo>
                      <a:lnTo>
                        <a:pt x="16" y="80"/>
                      </a:lnTo>
                      <a:lnTo>
                        <a:pt x="16" y="80"/>
                      </a:lnTo>
                      <a:lnTo>
                        <a:pt x="16" y="80"/>
                      </a:lnTo>
                      <a:lnTo>
                        <a:pt x="16" y="80"/>
                      </a:lnTo>
                      <a:lnTo>
                        <a:pt x="16" y="80"/>
                      </a:lnTo>
                      <a:lnTo>
                        <a:pt x="20" y="80"/>
                      </a:lnTo>
                      <a:lnTo>
                        <a:pt x="20" y="80"/>
                      </a:lnTo>
                      <a:lnTo>
                        <a:pt x="20" y="84"/>
                      </a:lnTo>
                      <a:lnTo>
                        <a:pt x="20" y="84"/>
                      </a:lnTo>
                      <a:lnTo>
                        <a:pt x="20" y="84"/>
                      </a:lnTo>
                      <a:lnTo>
                        <a:pt x="20" y="84"/>
                      </a:lnTo>
                      <a:lnTo>
                        <a:pt x="20" y="80"/>
                      </a:lnTo>
                      <a:lnTo>
                        <a:pt x="20" y="80"/>
                      </a:lnTo>
                      <a:lnTo>
                        <a:pt x="16" y="80"/>
                      </a:lnTo>
                      <a:lnTo>
                        <a:pt x="16" y="80"/>
                      </a:lnTo>
                      <a:lnTo>
                        <a:pt x="16" y="80"/>
                      </a:lnTo>
                      <a:lnTo>
                        <a:pt x="16" y="80"/>
                      </a:lnTo>
                      <a:lnTo>
                        <a:pt x="12" y="80"/>
                      </a:lnTo>
                      <a:lnTo>
                        <a:pt x="12" y="80"/>
                      </a:lnTo>
                      <a:lnTo>
                        <a:pt x="12" y="80"/>
                      </a:lnTo>
                      <a:lnTo>
                        <a:pt x="12" y="76"/>
                      </a:lnTo>
                      <a:lnTo>
                        <a:pt x="12" y="76"/>
                      </a:lnTo>
                      <a:lnTo>
                        <a:pt x="12" y="76"/>
                      </a:lnTo>
                      <a:lnTo>
                        <a:pt x="12" y="72"/>
                      </a:lnTo>
                      <a:lnTo>
                        <a:pt x="12" y="72"/>
                      </a:lnTo>
                      <a:lnTo>
                        <a:pt x="12" y="72"/>
                      </a:lnTo>
                      <a:lnTo>
                        <a:pt x="16" y="72"/>
                      </a:lnTo>
                      <a:lnTo>
                        <a:pt x="16" y="72"/>
                      </a:lnTo>
                      <a:lnTo>
                        <a:pt x="16" y="70"/>
                      </a:lnTo>
                      <a:lnTo>
                        <a:pt x="16" y="70"/>
                      </a:lnTo>
                      <a:lnTo>
                        <a:pt x="16" y="70"/>
                      </a:lnTo>
                      <a:lnTo>
                        <a:pt x="16" y="70"/>
                      </a:lnTo>
                      <a:lnTo>
                        <a:pt x="16" y="70"/>
                      </a:lnTo>
                      <a:lnTo>
                        <a:pt x="16" y="66"/>
                      </a:lnTo>
                      <a:lnTo>
                        <a:pt x="16" y="66"/>
                      </a:lnTo>
                      <a:lnTo>
                        <a:pt x="16" y="66"/>
                      </a:lnTo>
                      <a:lnTo>
                        <a:pt x="16" y="66"/>
                      </a:lnTo>
                      <a:lnTo>
                        <a:pt x="16" y="66"/>
                      </a:lnTo>
                      <a:lnTo>
                        <a:pt x="16" y="66"/>
                      </a:lnTo>
                      <a:lnTo>
                        <a:pt x="16" y="66"/>
                      </a:lnTo>
                      <a:lnTo>
                        <a:pt x="12" y="66"/>
                      </a:lnTo>
                      <a:lnTo>
                        <a:pt x="12" y="66"/>
                      </a:lnTo>
                      <a:lnTo>
                        <a:pt x="12" y="62"/>
                      </a:lnTo>
                      <a:lnTo>
                        <a:pt x="8" y="62"/>
                      </a:lnTo>
                      <a:lnTo>
                        <a:pt x="8" y="62"/>
                      </a:lnTo>
                      <a:lnTo>
                        <a:pt x="4" y="62"/>
                      </a:lnTo>
                      <a:lnTo>
                        <a:pt x="4" y="62"/>
                      </a:lnTo>
                      <a:lnTo>
                        <a:pt x="4" y="62"/>
                      </a:lnTo>
                      <a:lnTo>
                        <a:pt x="4" y="62"/>
                      </a:lnTo>
                      <a:lnTo>
                        <a:pt x="4" y="66"/>
                      </a:lnTo>
                      <a:lnTo>
                        <a:pt x="4" y="62"/>
                      </a:lnTo>
                      <a:lnTo>
                        <a:pt x="4" y="62"/>
                      </a:lnTo>
                      <a:lnTo>
                        <a:pt x="4" y="58"/>
                      </a:lnTo>
                      <a:lnTo>
                        <a:pt x="4" y="58"/>
                      </a:lnTo>
                      <a:lnTo>
                        <a:pt x="0" y="58"/>
                      </a:lnTo>
                      <a:lnTo>
                        <a:pt x="0" y="58"/>
                      </a:lnTo>
                      <a:lnTo>
                        <a:pt x="0" y="58"/>
                      </a:lnTo>
                      <a:lnTo>
                        <a:pt x="0" y="58"/>
                      </a:lnTo>
                      <a:lnTo>
                        <a:pt x="0" y="58"/>
                      </a:lnTo>
                      <a:lnTo>
                        <a:pt x="0" y="54"/>
                      </a:lnTo>
                      <a:lnTo>
                        <a:pt x="0" y="54"/>
                      </a:lnTo>
                      <a:lnTo>
                        <a:pt x="0" y="54"/>
                      </a:lnTo>
                      <a:lnTo>
                        <a:pt x="0" y="54"/>
                      </a:lnTo>
                      <a:lnTo>
                        <a:pt x="4" y="50"/>
                      </a:lnTo>
                      <a:lnTo>
                        <a:pt x="4" y="50"/>
                      </a:lnTo>
                      <a:lnTo>
                        <a:pt x="4" y="50"/>
                      </a:lnTo>
                      <a:lnTo>
                        <a:pt x="4" y="50"/>
                      </a:lnTo>
                      <a:lnTo>
                        <a:pt x="8" y="46"/>
                      </a:lnTo>
                      <a:lnTo>
                        <a:pt x="8" y="46"/>
                      </a:lnTo>
                      <a:lnTo>
                        <a:pt x="8" y="46"/>
                      </a:lnTo>
                      <a:lnTo>
                        <a:pt x="12" y="46"/>
                      </a:lnTo>
                      <a:lnTo>
                        <a:pt x="8" y="46"/>
                      </a:lnTo>
                      <a:lnTo>
                        <a:pt x="12" y="46"/>
                      </a:lnTo>
                      <a:lnTo>
                        <a:pt x="12" y="44"/>
                      </a:lnTo>
                      <a:lnTo>
                        <a:pt x="12" y="44"/>
                      </a:lnTo>
                      <a:lnTo>
                        <a:pt x="16" y="44"/>
                      </a:lnTo>
                      <a:lnTo>
                        <a:pt x="16" y="44"/>
                      </a:lnTo>
                      <a:lnTo>
                        <a:pt x="16" y="44"/>
                      </a:lnTo>
                      <a:lnTo>
                        <a:pt x="16" y="44"/>
                      </a:lnTo>
                      <a:lnTo>
                        <a:pt x="16" y="44"/>
                      </a:lnTo>
                      <a:lnTo>
                        <a:pt x="20" y="44"/>
                      </a:lnTo>
                      <a:lnTo>
                        <a:pt x="20" y="40"/>
                      </a:lnTo>
                      <a:lnTo>
                        <a:pt x="20" y="40"/>
                      </a:lnTo>
                      <a:lnTo>
                        <a:pt x="20" y="40"/>
                      </a:lnTo>
                      <a:lnTo>
                        <a:pt x="22" y="40"/>
                      </a:lnTo>
                      <a:lnTo>
                        <a:pt x="22" y="40"/>
                      </a:lnTo>
                      <a:lnTo>
                        <a:pt x="26" y="36"/>
                      </a:lnTo>
                      <a:lnTo>
                        <a:pt x="26" y="32"/>
                      </a:lnTo>
                      <a:lnTo>
                        <a:pt x="26" y="32"/>
                      </a:lnTo>
                      <a:lnTo>
                        <a:pt x="26" y="32"/>
                      </a:lnTo>
                      <a:lnTo>
                        <a:pt x="30" y="32"/>
                      </a:lnTo>
                      <a:lnTo>
                        <a:pt x="30" y="32"/>
                      </a:lnTo>
                      <a:lnTo>
                        <a:pt x="30" y="28"/>
                      </a:lnTo>
                      <a:lnTo>
                        <a:pt x="30" y="28"/>
                      </a:lnTo>
                      <a:lnTo>
                        <a:pt x="30" y="28"/>
                      </a:lnTo>
                      <a:lnTo>
                        <a:pt x="30" y="28"/>
                      </a:lnTo>
                      <a:lnTo>
                        <a:pt x="30" y="24"/>
                      </a:lnTo>
                      <a:lnTo>
                        <a:pt x="30" y="24"/>
                      </a:lnTo>
                      <a:lnTo>
                        <a:pt x="30" y="24"/>
                      </a:lnTo>
                      <a:lnTo>
                        <a:pt x="34" y="24"/>
                      </a:lnTo>
                      <a:lnTo>
                        <a:pt x="34" y="24"/>
                      </a:lnTo>
                      <a:lnTo>
                        <a:pt x="34" y="24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8" y="20"/>
                      </a:lnTo>
                      <a:lnTo>
                        <a:pt x="38" y="20"/>
                      </a:lnTo>
                      <a:lnTo>
                        <a:pt x="38" y="24"/>
                      </a:lnTo>
                      <a:lnTo>
                        <a:pt x="38" y="24"/>
                      </a:lnTo>
                      <a:lnTo>
                        <a:pt x="38" y="24"/>
                      </a:lnTo>
                      <a:lnTo>
                        <a:pt x="38" y="24"/>
                      </a:lnTo>
                      <a:lnTo>
                        <a:pt x="38" y="24"/>
                      </a:lnTo>
                      <a:lnTo>
                        <a:pt x="42" y="24"/>
                      </a:lnTo>
                      <a:lnTo>
                        <a:pt x="42" y="28"/>
                      </a:lnTo>
                      <a:lnTo>
                        <a:pt x="46" y="28"/>
                      </a:lnTo>
                      <a:lnTo>
                        <a:pt x="48" y="28"/>
                      </a:lnTo>
                      <a:lnTo>
                        <a:pt x="48" y="28"/>
                      </a:lnTo>
                      <a:lnTo>
                        <a:pt x="48" y="28"/>
                      </a:lnTo>
                      <a:lnTo>
                        <a:pt x="48" y="28"/>
                      </a:lnTo>
                      <a:lnTo>
                        <a:pt x="52" y="28"/>
                      </a:lnTo>
                      <a:lnTo>
                        <a:pt x="52" y="28"/>
                      </a:lnTo>
                      <a:lnTo>
                        <a:pt x="52" y="28"/>
                      </a:lnTo>
                      <a:lnTo>
                        <a:pt x="52" y="28"/>
                      </a:lnTo>
                      <a:lnTo>
                        <a:pt x="52" y="28"/>
                      </a:lnTo>
                      <a:lnTo>
                        <a:pt x="56" y="28"/>
                      </a:lnTo>
                      <a:lnTo>
                        <a:pt x="56" y="24"/>
                      </a:lnTo>
                      <a:lnTo>
                        <a:pt x="56" y="24"/>
                      </a:lnTo>
                      <a:lnTo>
                        <a:pt x="56" y="24"/>
                      </a:lnTo>
                      <a:lnTo>
                        <a:pt x="56" y="24"/>
                      </a:lnTo>
                      <a:lnTo>
                        <a:pt x="56" y="24"/>
                      </a:lnTo>
                      <a:lnTo>
                        <a:pt x="56" y="24"/>
                      </a:lnTo>
                      <a:lnTo>
                        <a:pt x="52" y="24"/>
                      </a:lnTo>
                      <a:lnTo>
                        <a:pt x="52" y="20"/>
                      </a:lnTo>
                      <a:lnTo>
                        <a:pt x="52" y="20"/>
                      </a:lnTo>
                      <a:lnTo>
                        <a:pt x="52" y="16"/>
                      </a:lnTo>
                      <a:lnTo>
                        <a:pt x="52" y="16"/>
                      </a:lnTo>
                      <a:lnTo>
                        <a:pt x="52" y="16"/>
                      </a:lnTo>
                      <a:lnTo>
                        <a:pt x="56" y="16"/>
                      </a:lnTo>
                      <a:lnTo>
                        <a:pt x="56" y="16"/>
                      </a:lnTo>
                      <a:lnTo>
                        <a:pt x="56" y="16"/>
                      </a:lnTo>
                      <a:lnTo>
                        <a:pt x="56" y="16"/>
                      </a:lnTo>
                      <a:lnTo>
                        <a:pt x="56" y="16"/>
                      </a:lnTo>
                      <a:lnTo>
                        <a:pt x="60" y="16"/>
                      </a:lnTo>
                      <a:lnTo>
                        <a:pt x="60" y="16"/>
                      </a:lnTo>
                      <a:lnTo>
                        <a:pt x="60" y="16"/>
                      </a:lnTo>
                      <a:lnTo>
                        <a:pt x="60" y="16"/>
                      </a:lnTo>
                      <a:lnTo>
                        <a:pt x="64" y="16"/>
                      </a:lnTo>
                      <a:lnTo>
                        <a:pt x="64" y="16"/>
                      </a:lnTo>
                      <a:lnTo>
                        <a:pt x="64" y="16"/>
                      </a:lnTo>
                      <a:lnTo>
                        <a:pt x="64" y="16"/>
                      </a:lnTo>
                      <a:lnTo>
                        <a:pt x="64" y="16"/>
                      </a:lnTo>
                      <a:lnTo>
                        <a:pt x="68" y="16"/>
                      </a:lnTo>
                      <a:lnTo>
                        <a:pt x="68" y="16"/>
                      </a:lnTo>
                      <a:lnTo>
                        <a:pt x="68" y="14"/>
                      </a:lnTo>
                      <a:lnTo>
                        <a:pt x="68" y="14"/>
                      </a:lnTo>
                      <a:lnTo>
                        <a:pt x="68" y="14"/>
                      </a:lnTo>
                      <a:lnTo>
                        <a:pt x="68" y="14"/>
                      </a:lnTo>
                      <a:lnTo>
                        <a:pt x="68" y="10"/>
                      </a:lnTo>
                      <a:lnTo>
                        <a:pt x="72" y="10"/>
                      </a:lnTo>
                      <a:lnTo>
                        <a:pt x="72" y="10"/>
                      </a:lnTo>
                      <a:lnTo>
                        <a:pt x="72" y="10"/>
                      </a:lnTo>
                      <a:lnTo>
                        <a:pt x="74" y="10"/>
                      </a:lnTo>
                      <a:lnTo>
                        <a:pt x="74" y="10"/>
                      </a:lnTo>
                      <a:lnTo>
                        <a:pt x="74" y="6"/>
                      </a:lnTo>
                      <a:lnTo>
                        <a:pt x="74" y="6"/>
                      </a:lnTo>
                      <a:lnTo>
                        <a:pt x="74" y="6"/>
                      </a:lnTo>
                      <a:lnTo>
                        <a:pt x="74" y="2"/>
                      </a:lnTo>
                      <a:lnTo>
                        <a:pt x="78" y="2"/>
                      </a:lnTo>
                      <a:lnTo>
                        <a:pt x="78" y="0"/>
                      </a:lnTo>
                      <a:lnTo>
                        <a:pt x="78" y="0"/>
                      </a:lnTo>
                      <a:lnTo>
                        <a:pt x="78" y="0"/>
                      </a:lnTo>
                      <a:lnTo>
                        <a:pt x="78" y="0"/>
                      </a:lnTo>
                      <a:lnTo>
                        <a:pt x="78" y="0"/>
                      </a:lnTo>
                      <a:lnTo>
                        <a:pt x="78" y="0"/>
                      </a:lnTo>
                      <a:lnTo>
                        <a:pt x="82" y="0"/>
                      </a:lnTo>
                      <a:lnTo>
                        <a:pt x="82" y="0"/>
                      </a:lnTo>
                      <a:lnTo>
                        <a:pt x="82" y="2"/>
                      </a:lnTo>
                      <a:lnTo>
                        <a:pt x="82" y="2"/>
                      </a:lnTo>
                      <a:lnTo>
                        <a:pt x="82" y="2"/>
                      </a:lnTo>
                      <a:lnTo>
                        <a:pt x="82" y="2"/>
                      </a:lnTo>
                      <a:lnTo>
                        <a:pt x="86" y="6"/>
                      </a:lnTo>
                      <a:lnTo>
                        <a:pt x="86" y="6"/>
                      </a:lnTo>
                      <a:lnTo>
                        <a:pt x="86" y="6"/>
                      </a:lnTo>
                      <a:lnTo>
                        <a:pt x="86" y="6"/>
                      </a:lnTo>
                      <a:lnTo>
                        <a:pt x="86" y="10"/>
                      </a:lnTo>
                      <a:lnTo>
                        <a:pt x="90" y="10"/>
                      </a:lnTo>
                      <a:lnTo>
                        <a:pt x="90" y="10"/>
                      </a:lnTo>
                      <a:lnTo>
                        <a:pt x="90" y="10"/>
                      </a:lnTo>
                      <a:lnTo>
                        <a:pt x="90" y="10"/>
                      </a:lnTo>
                      <a:lnTo>
                        <a:pt x="90" y="10"/>
                      </a:lnTo>
                      <a:lnTo>
                        <a:pt x="90" y="10"/>
                      </a:lnTo>
                      <a:lnTo>
                        <a:pt x="90" y="10"/>
                      </a:lnTo>
                      <a:lnTo>
                        <a:pt x="90" y="14"/>
                      </a:lnTo>
                      <a:lnTo>
                        <a:pt x="90" y="14"/>
                      </a:lnTo>
                      <a:lnTo>
                        <a:pt x="90" y="14"/>
                      </a:lnTo>
                      <a:lnTo>
                        <a:pt x="90" y="10"/>
                      </a:lnTo>
                      <a:lnTo>
                        <a:pt x="86" y="10"/>
                      </a:lnTo>
                      <a:lnTo>
                        <a:pt x="86" y="10"/>
                      </a:lnTo>
                      <a:lnTo>
                        <a:pt x="86" y="10"/>
                      </a:lnTo>
                      <a:lnTo>
                        <a:pt x="82" y="14"/>
                      </a:lnTo>
                      <a:lnTo>
                        <a:pt x="82" y="16"/>
                      </a:lnTo>
                      <a:lnTo>
                        <a:pt x="78" y="16"/>
                      </a:lnTo>
                      <a:lnTo>
                        <a:pt x="78" y="20"/>
                      </a:lnTo>
                      <a:lnTo>
                        <a:pt x="78" y="20"/>
                      </a:lnTo>
                      <a:lnTo>
                        <a:pt x="78" y="20"/>
                      </a:lnTo>
                      <a:lnTo>
                        <a:pt x="78" y="20"/>
                      </a:lnTo>
                      <a:lnTo>
                        <a:pt x="74" y="20"/>
                      </a:lnTo>
                      <a:lnTo>
                        <a:pt x="74" y="24"/>
                      </a:lnTo>
                      <a:lnTo>
                        <a:pt x="74" y="24"/>
                      </a:lnTo>
                      <a:lnTo>
                        <a:pt x="74" y="24"/>
                      </a:lnTo>
                      <a:lnTo>
                        <a:pt x="74" y="24"/>
                      </a:lnTo>
                      <a:lnTo>
                        <a:pt x="74" y="28"/>
                      </a:lnTo>
                      <a:lnTo>
                        <a:pt x="74" y="28"/>
                      </a:lnTo>
                      <a:lnTo>
                        <a:pt x="74" y="28"/>
                      </a:lnTo>
                      <a:lnTo>
                        <a:pt x="74" y="28"/>
                      </a:lnTo>
                      <a:lnTo>
                        <a:pt x="74" y="28"/>
                      </a:lnTo>
                      <a:lnTo>
                        <a:pt x="78" y="28"/>
                      </a:lnTo>
                      <a:lnTo>
                        <a:pt x="78" y="32"/>
                      </a:lnTo>
                      <a:lnTo>
                        <a:pt x="74" y="32"/>
                      </a:lnTo>
                      <a:lnTo>
                        <a:pt x="74" y="32"/>
                      </a:lnTo>
                      <a:lnTo>
                        <a:pt x="74" y="32"/>
                      </a:lnTo>
                      <a:lnTo>
                        <a:pt x="74" y="36"/>
                      </a:lnTo>
                      <a:lnTo>
                        <a:pt x="74" y="36"/>
                      </a:lnTo>
                      <a:lnTo>
                        <a:pt x="74" y="36"/>
                      </a:lnTo>
                      <a:lnTo>
                        <a:pt x="74" y="36"/>
                      </a:lnTo>
                      <a:lnTo>
                        <a:pt x="74" y="40"/>
                      </a:lnTo>
                      <a:lnTo>
                        <a:pt x="74" y="40"/>
                      </a:lnTo>
                      <a:lnTo>
                        <a:pt x="74" y="40"/>
                      </a:lnTo>
                      <a:lnTo>
                        <a:pt x="74" y="40"/>
                      </a:lnTo>
                      <a:lnTo>
                        <a:pt x="74" y="40"/>
                      </a:lnTo>
                      <a:lnTo>
                        <a:pt x="74" y="40"/>
                      </a:lnTo>
                      <a:lnTo>
                        <a:pt x="68" y="44"/>
                      </a:lnTo>
                      <a:lnTo>
                        <a:pt x="68" y="44"/>
                      </a:lnTo>
                      <a:lnTo>
                        <a:pt x="68" y="46"/>
                      </a:lnTo>
                      <a:lnTo>
                        <a:pt x="68" y="46"/>
                      </a:lnTo>
                      <a:lnTo>
                        <a:pt x="68" y="46"/>
                      </a:lnTo>
                      <a:lnTo>
                        <a:pt x="68" y="46"/>
                      </a:lnTo>
                      <a:lnTo>
                        <a:pt x="68" y="46"/>
                      </a:lnTo>
                      <a:lnTo>
                        <a:pt x="68" y="46"/>
                      </a:lnTo>
                      <a:lnTo>
                        <a:pt x="64" y="46"/>
                      </a:lnTo>
                      <a:lnTo>
                        <a:pt x="64" y="46"/>
                      </a:lnTo>
                      <a:lnTo>
                        <a:pt x="64" y="46"/>
                      </a:lnTo>
                      <a:lnTo>
                        <a:pt x="64" y="46"/>
                      </a:lnTo>
                      <a:lnTo>
                        <a:pt x="64" y="50"/>
                      </a:lnTo>
                      <a:lnTo>
                        <a:pt x="64" y="50"/>
                      </a:lnTo>
                      <a:lnTo>
                        <a:pt x="64" y="50"/>
                      </a:lnTo>
                      <a:lnTo>
                        <a:pt x="60" y="50"/>
                      </a:lnTo>
                      <a:lnTo>
                        <a:pt x="60" y="54"/>
                      </a:lnTo>
                      <a:lnTo>
                        <a:pt x="56" y="54"/>
                      </a:lnTo>
                      <a:lnTo>
                        <a:pt x="52" y="54"/>
                      </a:lnTo>
                      <a:lnTo>
                        <a:pt x="52" y="54"/>
                      </a:lnTo>
                      <a:lnTo>
                        <a:pt x="52" y="54"/>
                      </a:lnTo>
                      <a:lnTo>
                        <a:pt x="52" y="54"/>
                      </a:lnTo>
                      <a:lnTo>
                        <a:pt x="52" y="54"/>
                      </a:lnTo>
                      <a:lnTo>
                        <a:pt x="48" y="58"/>
                      </a:lnTo>
                      <a:lnTo>
                        <a:pt x="48" y="58"/>
                      </a:lnTo>
                      <a:lnTo>
                        <a:pt x="48" y="58"/>
                      </a:lnTo>
                      <a:lnTo>
                        <a:pt x="48" y="58"/>
                      </a:lnTo>
                      <a:lnTo>
                        <a:pt x="46" y="58"/>
                      </a:lnTo>
                      <a:lnTo>
                        <a:pt x="46" y="62"/>
                      </a:lnTo>
                      <a:lnTo>
                        <a:pt x="46" y="62"/>
                      </a:lnTo>
                      <a:lnTo>
                        <a:pt x="46" y="62"/>
                      </a:lnTo>
                      <a:lnTo>
                        <a:pt x="46" y="62"/>
                      </a:lnTo>
                      <a:lnTo>
                        <a:pt x="46" y="66"/>
                      </a:lnTo>
                      <a:lnTo>
                        <a:pt x="46" y="66"/>
                      </a:lnTo>
                      <a:lnTo>
                        <a:pt x="46" y="70"/>
                      </a:lnTo>
                      <a:lnTo>
                        <a:pt x="46" y="70"/>
                      </a:lnTo>
                      <a:lnTo>
                        <a:pt x="46" y="70"/>
                      </a:lnTo>
                      <a:lnTo>
                        <a:pt x="46" y="70"/>
                      </a:lnTo>
                      <a:lnTo>
                        <a:pt x="46" y="70"/>
                      </a:lnTo>
                      <a:lnTo>
                        <a:pt x="46" y="70"/>
                      </a:lnTo>
                      <a:lnTo>
                        <a:pt x="46" y="66"/>
                      </a:lnTo>
                      <a:lnTo>
                        <a:pt x="46" y="66"/>
                      </a:lnTo>
                      <a:lnTo>
                        <a:pt x="46" y="70"/>
                      </a:lnTo>
                      <a:lnTo>
                        <a:pt x="46" y="70"/>
                      </a:lnTo>
                      <a:lnTo>
                        <a:pt x="46" y="7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6" name="Freeform 45"/>
                <p:cNvSpPr>
                  <a:spLocks noEditPoints="1"/>
                </p:cNvSpPr>
                <p:nvPr/>
              </p:nvSpPr>
              <p:spPr bwMode="auto">
                <a:xfrm>
                  <a:off x="5559425" y="3835468"/>
                  <a:ext cx="177800" cy="273050"/>
                </a:xfrm>
                <a:custGeom>
                  <a:avLst/>
                  <a:gdLst>
                    <a:gd name="T0" fmla="*/ 62 w 112"/>
                    <a:gd name="T1" fmla="*/ 0 h 172"/>
                    <a:gd name="T2" fmla="*/ 62 w 112"/>
                    <a:gd name="T3" fmla="*/ 8 h 172"/>
                    <a:gd name="T4" fmla="*/ 60 w 112"/>
                    <a:gd name="T5" fmla="*/ 12 h 172"/>
                    <a:gd name="T6" fmla="*/ 60 w 112"/>
                    <a:gd name="T7" fmla="*/ 4 h 172"/>
                    <a:gd name="T8" fmla="*/ 60 w 112"/>
                    <a:gd name="T9" fmla="*/ 0 h 172"/>
                    <a:gd name="T10" fmla="*/ 62 w 112"/>
                    <a:gd name="T11" fmla="*/ 0 h 172"/>
                    <a:gd name="T12" fmla="*/ 48 w 112"/>
                    <a:gd name="T13" fmla="*/ 90 h 172"/>
                    <a:gd name="T14" fmla="*/ 48 w 112"/>
                    <a:gd name="T15" fmla="*/ 60 h 172"/>
                    <a:gd name="T16" fmla="*/ 48 w 112"/>
                    <a:gd name="T17" fmla="*/ 52 h 172"/>
                    <a:gd name="T18" fmla="*/ 52 w 112"/>
                    <a:gd name="T19" fmla="*/ 42 h 172"/>
                    <a:gd name="T20" fmla="*/ 56 w 112"/>
                    <a:gd name="T21" fmla="*/ 38 h 172"/>
                    <a:gd name="T22" fmla="*/ 56 w 112"/>
                    <a:gd name="T23" fmla="*/ 30 h 172"/>
                    <a:gd name="T24" fmla="*/ 56 w 112"/>
                    <a:gd name="T25" fmla="*/ 26 h 172"/>
                    <a:gd name="T26" fmla="*/ 60 w 112"/>
                    <a:gd name="T27" fmla="*/ 22 h 172"/>
                    <a:gd name="T28" fmla="*/ 60 w 112"/>
                    <a:gd name="T29" fmla="*/ 26 h 172"/>
                    <a:gd name="T30" fmla="*/ 62 w 112"/>
                    <a:gd name="T31" fmla="*/ 26 h 172"/>
                    <a:gd name="T32" fmla="*/ 62 w 112"/>
                    <a:gd name="T33" fmla="*/ 22 h 172"/>
                    <a:gd name="T34" fmla="*/ 66 w 112"/>
                    <a:gd name="T35" fmla="*/ 30 h 172"/>
                    <a:gd name="T36" fmla="*/ 70 w 112"/>
                    <a:gd name="T37" fmla="*/ 38 h 172"/>
                    <a:gd name="T38" fmla="*/ 74 w 112"/>
                    <a:gd name="T39" fmla="*/ 42 h 172"/>
                    <a:gd name="T40" fmla="*/ 86 w 112"/>
                    <a:gd name="T41" fmla="*/ 44 h 172"/>
                    <a:gd name="T42" fmla="*/ 88 w 112"/>
                    <a:gd name="T43" fmla="*/ 48 h 172"/>
                    <a:gd name="T44" fmla="*/ 92 w 112"/>
                    <a:gd name="T45" fmla="*/ 48 h 172"/>
                    <a:gd name="T46" fmla="*/ 100 w 112"/>
                    <a:gd name="T47" fmla="*/ 56 h 172"/>
                    <a:gd name="T48" fmla="*/ 104 w 112"/>
                    <a:gd name="T49" fmla="*/ 60 h 172"/>
                    <a:gd name="T50" fmla="*/ 108 w 112"/>
                    <a:gd name="T51" fmla="*/ 68 h 172"/>
                    <a:gd name="T52" fmla="*/ 112 w 112"/>
                    <a:gd name="T53" fmla="*/ 72 h 172"/>
                    <a:gd name="T54" fmla="*/ 108 w 112"/>
                    <a:gd name="T55" fmla="*/ 78 h 172"/>
                    <a:gd name="T56" fmla="*/ 104 w 112"/>
                    <a:gd name="T57" fmla="*/ 86 h 172"/>
                    <a:gd name="T58" fmla="*/ 96 w 112"/>
                    <a:gd name="T59" fmla="*/ 94 h 172"/>
                    <a:gd name="T60" fmla="*/ 92 w 112"/>
                    <a:gd name="T61" fmla="*/ 102 h 172"/>
                    <a:gd name="T62" fmla="*/ 88 w 112"/>
                    <a:gd name="T63" fmla="*/ 104 h 172"/>
                    <a:gd name="T64" fmla="*/ 88 w 112"/>
                    <a:gd name="T65" fmla="*/ 102 h 172"/>
                    <a:gd name="T66" fmla="*/ 86 w 112"/>
                    <a:gd name="T67" fmla="*/ 108 h 172"/>
                    <a:gd name="T68" fmla="*/ 82 w 112"/>
                    <a:gd name="T69" fmla="*/ 116 h 172"/>
                    <a:gd name="T70" fmla="*/ 82 w 112"/>
                    <a:gd name="T71" fmla="*/ 122 h 172"/>
                    <a:gd name="T72" fmla="*/ 82 w 112"/>
                    <a:gd name="T73" fmla="*/ 130 h 172"/>
                    <a:gd name="T74" fmla="*/ 74 w 112"/>
                    <a:gd name="T75" fmla="*/ 130 h 172"/>
                    <a:gd name="T76" fmla="*/ 70 w 112"/>
                    <a:gd name="T77" fmla="*/ 134 h 172"/>
                    <a:gd name="T78" fmla="*/ 66 w 112"/>
                    <a:gd name="T79" fmla="*/ 142 h 172"/>
                    <a:gd name="T80" fmla="*/ 62 w 112"/>
                    <a:gd name="T81" fmla="*/ 144 h 172"/>
                    <a:gd name="T82" fmla="*/ 60 w 112"/>
                    <a:gd name="T83" fmla="*/ 148 h 172"/>
                    <a:gd name="T84" fmla="*/ 52 w 112"/>
                    <a:gd name="T85" fmla="*/ 148 h 172"/>
                    <a:gd name="T86" fmla="*/ 48 w 112"/>
                    <a:gd name="T87" fmla="*/ 152 h 172"/>
                    <a:gd name="T88" fmla="*/ 48 w 112"/>
                    <a:gd name="T89" fmla="*/ 156 h 172"/>
                    <a:gd name="T90" fmla="*/ 44 w 112"/>
                    <a:gd name="T91" fmla="*/ 164 h 172"/>
                    <a:gd name="T92" fmla="*/ 36 w 112"/>
                    <a:gd name="T93" fmla="*/ 164 h 172"/>
                    <a:gd name="T94" fmla="*/ 30 w 112"/>
                    <a:gd name="T95" fmla="*/ 164 h 172"/>
                    <a:gd name="T96" fmla="*/ 22 w 112"/>
                    <a:gd name="T97" fmla="*/ 168 h 172"/>
                    <a:gd name="T98" fmla="*/ 10 w 112"/>
                    <a:gd name="T99" fmla="*/ 160 h 172"/>
                    <a:gd name="T100" fmla="*/ 96 w 112"/>
                    <a:gd name="T101" fmla="*/ 108 h 172"/>
                    <a:gd name="T102" fmla="*/ 96 w 112"/>
                    <a:gd name="T103" fmla="*/ 104 h 172"/>
                    <a:gd name="T104" fmla="*/ 96 w 112"/>
                    <a:gd name="T105" fmla="*/ 104 h 172"/>
                    <a:gd name="T106" fmla="*/ 100 w 112"/>
                    <a:gd name="T107" fmla="*/ 104 h 172"/>
                    <a:gd name="T108" fmla="*/ 96 w 112"/>
                    <a:gd name="T109" fmla="*/ 104 h 172"/>
                    <a:gd name="T110" fmla="*/ 96 w 112"/>
                    <a:gd name="T111" fmla="*/ 108 h 1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12" h="172">
                      <a:moveTo>
                        <a:pt x="62" y="0"/>
                      </a:moveTo>
                      <a:lnTo>
                        <a:pt x="62" y="0"/>
                      </a:lnTo>
                      <a:lnTo>
                        <a:pt x="62" y="0"/>
                      </a:lnTo>
                      <a:lnTo>
                        <a:pt x="62" y="0"/>
                      </a:lnTo>
                      <a:lnTo>
                        <a:pt x="62" y="4"/>
                      </a:lnTo>
                      <a:lnTo>
                        <a:pt x="62" y="0"/>
                      </a:lnTo>
                      <a:lnTo>
                        <a:pt x="62" y="0"/>
                      </a:lnTo>
                      <a:lnTo>
                        <a:pt x="62" y="4"/>
                      </a:lnTo>
                      <a:lnTo>
                        <a:pt x="62" y="4"/>
                      </a:lnTo>
                      <a:lnTo>
                        <a:pt x="62" y="4"/>
                      </a:lnTo>
                      <a:lnTo>
                        <a:pt x="62" y="4"/>
                      </a:lnTo>
                      <a:lnTo>
                        <a:pt x="62" y="8"/>
                      </a:lnTo>
                      <a:lnTo>
                        <a:pt x="62" y="8"/>
                      </a:lnTo>
                      <a:lnTo>
                        <a:pt x="62" y="8"/>
                      </a:lnTo>
                      <a:lnTo>
                        <a:pt x="62" y="8"/>
                      </a:lnTo>
                      <a:lnTo>
                        <a:pt x="62" y="8"/>
                      </a:lnTo>
                      <a:lnTo>
                        <a:pt x="62" y="12"/>
                      </a:lnTo>
                      <a:lnTo>
                        <a:pt x="62" y="12"/>
                      </a:lnTo>
                      <a:lnTo>
                        <a:pt x="62" y="12"/>
                      </a:lnTo>
                      <a:lnTo>
                        <a:pt x="62" y="12"/>
                      </a:lnTo>
                      <a:lnTo>
                        <a:pt x="60" y="12"/>
                      </a:lnTo>
                      <a:lnTo>
                        <a:pt x="60" y="12"/>
                      </a:lnTo>
                      <a:lnTo>
                        <a:pt x="60" y="12"/>
                      </a:lnTo>
                      <a:lnTo>
                        <a:pt x="60" y="12"/>
                      </a:lnTo>
                      <a:lnTo>
                        <a:pt x="60" y="12"/>
                      </a:lnTo>
                      <a:lnTo>
                        <a:pt x="60" y="8"/>
                      </a:lnTo>
                      <a:lnTo>
                        <a:pt x="60" y="8"/>
                      </a:lnTo>
                      <a:lnTo>
                        <a:pt x="60" y="4"/>
                      </a:lnTo>
                      <a:lnTo>
                        <a:pt x="60" y="4"/>
                      </a:lnTo>
                      <a:lnTo>
                        <a:pt x="60" y="4"/>
                      </a:lnTo>
                      <a:lnTo>
                        <a:pt x="60" y="4"/>
                      </a:lnTo>
                      <a:lnTo>
                        <a:pt x="60" y="4"/>
                      </a:lnTo>
                      <a:lnTo>
                        <a:pt x="60" y="0"/>
                      </a:lnTo>
                      <a:lnTo>
                        <a:pt x="60" y="0"/>
                      </a:lnTo>
                      <a:lnTo>
                        <a:pt x="60" y="0"/>
                      </a:lnTo>
                      <a:lnTo>
                        <a:pt x="62" y="0"/>
                      </a:lnTo>
                      <a:lnTo>
                        <a:pt x="62" y="0"/>
                      </a:lnTo>
                      <a:lnTo>
                        <a:pt x="62" y="0"/>
                      </a:lnTo>
                      <a:lnTo>
                        <a:pt x="62" y="0"/>
                      </a:lnTo>
                      <a:lnTo>
                        <a:pt x="62" y="0"/>
                      </a:lnTo>
                      <a:lnTo>
                        <a:pt x="62" y="0"/>
                      </a:lnTo>
                      <a:lnTo>
                        <a:pt x="62" y="0"/>
                      </a:lnTo>
                      <a:lnTo>
                        <a:pt x="62" y="0"/>
                      </a:lnTo>
                      <a:lnTo>
                        <a:pt x="62" y="0"/>
                      </a:lnTo>
                      <a:lnTo>
                        <a:pt x="62" y="0"/>
                      </a:lnTo>
                      <a:lnTo>
                        <a:pt x="62" y="0"/>
                      </a:lnTo>
                      <a:lnTo>
                        <a:pt x="62" y="0"/>
                      </a:lnTo>
                      <a:lnTo>
                        <a:pt x="62" y="0"/>
                      </a:lnTo>
                      <a:close/>
                      <a:moveTo>
                        <a:pt x="48" y="90"/>
                      </a:moveTo>
                      <a:lnTo>
                        <a:pt x="52" y="74"/>
                      </a:lnTo>
                      <a:lnTo>
                        <a:pt x="44" y="64"/>
                      </a:lnTo>
                      <a:lnTo>
                        <a:pt x="48" y="64"/>
                      </a:lnTo>
                      <a:lnTo>
                        <a:pt x="48" y="64"/>
                      </a:lnTo>
                      <a:lnTo>
                        <a:pt x="48" y="60"/>
                      </a:lnTo>
                      <a:lnTo>
                        <a:pt x="48" y="60"/>
                      </a:lnTo>
                      <a:lnTo>
                        <a:pt x="48" y="60"/>
                      </a:lnTo>
                      <a:lnTo>
                        <a:pt x="48" y="60"/>
                      </a:lnTo>
                      <a:lnTo>
                        <a:pt x="48" y="56"/>
                      </a:lnTo>
                      <a:lnTo>
                        <a:pt x="48" y="56"/>
                      </a:lnTo>
                      <a:lnTo>
                        <a:pt x="48" y="56"/>
                      </a:lnTo>
                      <a:lnTo>
                        <a:pt x="48" y="56"/>
                      </a:lnTo>
                      <a:lnTo>
                        <a:pt x="48" y="52"/>
                      </a:lnTo>
                      <a:lnTo>
                        <a:pt x="48" y="52"/>
                      </a:lnTo>
                      <a:lnTo>
                        <a:pt x="48" y="48"/>
                      </a:lnTo>
                      <a:lnTo>
                        <a:pt x="52" y="48"/>
                      </a:lnTo>
                      <a:lnTo>
                        <a:pt x="52" y="44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6" y="42"/>
                      </a:lnTo>
                      <a:lnTo>
                        <a:pt x="56" y="42"/>
                      </a:lnTo>
                      <a:lnTo>
                        <a:pt x="60" y="42"/>
                      </a:lnTo>
                      <a:lnTo>
                        <a:pt x="60" y="42"/>
                      </a:lnTo>
                      <a:lnTo>
                        <a:pt x="56" y="38"/>
                      </a:lnTo>
                      <a:lnTo>
                        <a:pt x="56" y="38"/>
                      </a:lnTo>
                      <a:lnTo>
                        <a:pt x="56" y="38"/>
                      </a:lnTo>
                      <a:lnTo>
                        <a:pt x="56" y="38"/>
                      </a:lnTo>
                      <a:lnTo>
                        <a:pt x="56" y="38"/>
                      </a:lnTo>
                      <a:lnTo>
                        <a:pt x="56" y="34"/>
                      </a:lnTo>
                      <a:lnTo>
                        <a:pt x="56" y="34"/>
                      </a:lnTo>
                      <a:lnTo>
                        <a:pt x="56" y="34"/>
                      </a:lnTo>
                      <a:lnTo>
                        <a:pt x="56" y="30"/>
                      </a:lnTo>
                      <a:lnTo>
                        <a:pt x="56" y="30"/>
                      </a:lnTo>
                      <a:lnTo>
                        <a:pt x="56" y="30"/>
                      </a:lnTo>
                      <a:lnTo>
                        <a:pt x="56" y="30"/>
                      </a:lnTo>
                      <a:lnTo>
                        <a:pt x="56" y="26"/>
                      </a:lnTo>
                      <a:lnTo>
                        <a:pt x="56" y="26"/>
                      </a:lnTo>
                      <a:lnTo>
                        <a:pt x="56" y="26"/>
                      </a:lnTo>
                      <a:lnTo>
                        <a:pt x="56" y="26"/>
                      </a:lnTo>
                      <a:lnTo>
                        <a:pt x="56" y="22"/>
                      </a:lnTo>
                      <a:lnTo>
                        <a:pt x="56" y="22"/>
                      </a:lnTo>
                      <a:lnTo>
                        <a:pt x="56" y="22"/>
                      </a:lnTo>
                      <a:lnTo>
                        <a:pt x="56" y="22"/>
                      </a:lnTo>
                      <a:lnTo>
                        <a:pt x="56" y="22"/>
                      </a:lnTo>
                      <a:lnTo>
                        <a:pt x="60" y="22"/>
                      </a:lnTo>
                      <a:lnTo>
                        <a:pt x="60" y="22"/>
                      </a:lnTo>
                      <a:lnTo>
                        <a:pt x="60" y="22"/>
                      </a:lnTo>
                      <a:lnTo>
                        <a:pt x="60" y="26"/>
                      </a:lnTo>
                      <a:lnTo>
                        <a:pt x="60" y="26"/>
                      </a:lnTo>
                      <a:lnTo>
                        <a:pt x="60" y="26"/>
                      </a:lnTo>
                      <a:lnTo>
                        <a:pt x="56" y="26"/>
                      </a:lnTo>
                      <a:lnTo>
                        <a:pt x="60" y="26"/>
                      </a:lnTo>
                      <a:lnTo>
                        <a:pt x="60" y="26"/>
                      </a:lnTo>
                      <a:lnTo>
                        <a:pt x="60" y="26"/>
                      </a:lnTo>
                      <a:lnTo>
                        <a:pt x="60" y="26"/>
                      </a:lnTo>
                      <a:lnTo>
                        <a:pt x="60" y="26"/>
                      </a:lnTo>
                      <a:lnTo>
                        <a:pt x="60" y="26"/>
                      </a:lnTo>
                      <a:lnTo>
                        <a:pt x="60" y="26"/>
                      </a:lnTo>
                      <a:lnTo>
                        <a:pt x="62" y="26"/>
                      </a:lnTo>
                      <a:lnTo>
                        <a:pt x="62" y="26"/>
                      </a:lnTo>
                      <a:lnTo>
                        <a:pt x="62" y="26"/>
                      </a:lnTo>
                      <a:lnTo>
                        <a:pt x="62" y="26"/>
                      </a:lnTo>
                      <a:lnTo>
                        <a:pt x="62" y="26"/>
                      </a:lnTo>
                      <a:lnTo>
                        <a:pt x="62" y="26"/>
                      </a:lnTo>
                      <a:lnTo>
                        <a:pt x="62" y="22"/>
                      </a:lnTo>
                      <a:lnTo>
                        <a:pt x="62" y="22"/>
                      </a:lnTo>
                      <a:lnTo>
                        <a:pt x="62" y="22"/>
                      </a:lnTo>
                      <a:lnTo>
                        <a:pt x="62" y="22"/>
                      </a:lnTo>
                      <a:lnTo>
                        <a:pt x="62" y="22"/>
                      </a:lnTo>
                      <a:lnTo>
                        <a:pt x="62" y="22"/>
                      </a:lnTo>
                      <a:lnTo>
                        <a:pt x="62" y="26"/>
                      </a:lnTo>
                      <a:lnTo>
                        <a:pt x="62" y="30"/>
                      </a:lnTo>
                      <a:lnTo>
                        <a:pt x="66" y="30"/>
                      </a:lnTo>
                      <a:lnTo>
                        <a:pt x="66" y="30"/>
                      </a:lnTo>
                      <a:lnTo>
                        <a:pt x="66" y="34"/>
                      </a:lnTo>
                      <a:lnTo>
                        <a:pt x="66" y="34"/>
                      </a:lnTo>
                      <a:lnTo>
                        <a:pt x="66" y="34"/>
                      </a:lnTo>
                      <a:lnTo>
                        <a:pt x="66" y="34"/>
                      </a:lnTo>
                      <a:lnTo>
                        <a:pt x="66" y="34"/>
                      </a:lnTo>
                      <a:lnTo>
                        <a:pt x="70" y="34"/>
                      </a:lnTo>
                      <a:lnTo>
                        <a:pt x="70" y="38"/>
                      </a:lnTo>
                      <a:lnTo>
                        <a:pt x="70" y="38"/>
                      </a:lnTo>
                      <a:lnTo>
                        <a:pt x="70" y="38"/>
                      </a:lnTo>
                      <a:lnTo>
                        <a:pt x="70" y="38"/>
                      </a:lnTo>
                      <a:lnTo>
                        <a:pt x="70" y="42"/>
                      </a:lnTo>
                      <a:lnTo>
                        <a:pt x="74" y="42"/>
                      </a:lnTo>
                      <a:lnTo>
                        <a:pt x="74" y="42"/>
                      </a:lnTo>
                      <a:lnTo>
                        <a:pt x="74" y="42"/>
                      </a:lnTo>
                      <a:lnTo>
                        <a:pt x="78" y="44"/>
                      </a:lnTo>
                      <a:lnTo>
                        <a:pt x="82" y="44"/>
                      </a:lnTo>
                      <a:lnTo>
                        <a:pt x="86" y="44"/>
                      </a:lnTo>
                      <a:lnTo>
                        <a:pt x="86" y="44"/>
                      </a:lnTo>
                      <a:lnTo>
                        <a:pt x="86" y="44"/>
                      </a:lnTo>
                      <a:lnTo>
                        <a:pt x="86" y="44"/>
                      </a:lnTo>
                      <a:lnTo>
                        <a:pt x="86" y="44"/>
                      </a:lnTo>
                      <a:lnTo>
                        <a:pt x="86" y="44"/>
                      </a:lnTo>
                      <a:lnTo>
                        <a:pt x="86" y="44"/>
                      </a:lnTo>
                      <a:lnTo>
                        <a:pt x="86" y="44"/>
                      </a:lnTo>
                      <a:lnTo>
                        <a:pt x="88" y="44"/>
                      </a:lnTo>
                      <a:lnTo>
                        <a:pt x="88" y="44"/>
                      </a:lnTo>
                      <a:lnTo>
                        <a:pt x="88" y="44"/>
                      </a:lnTo>
                      <a:lnTo>
                        <a:pt x="88" y="48"/>
                      </a:lnTo>
                      <a:lnTo>
                        <a:pt x="88" y="48"/>
                      </a:lnTo>
                      <a:lnTo>
                        <a:pt x="88" y="48"/>
                      </a:lnTo>
                      <a:lnTo>
                        <a:pt x="88" y="48"/>
                      </a:lnTo>
                      <a:lnTo>
                        <a:pt x="92" y="48"/>
                      </a:lnTo>
                      <a:lnTo>
                        <a:pt x="92" y="48"/>
                      </a:lnTo>
                      <a:lnTo>
                        <a:pt x="92" y="48"/>
                      </a:lnTo>
                      <a:lnTo>
                        <a:pt x="92" y="48"/>
                      </a:lnTo>
                      <a:lnTo>
                        <a:pt x="92" y="48"/>
                      </a:lnTo>
                      <a:lnTo>
                        <a:pt x="92" y="48"/>
                      </a:lnTo>
                      <a:lnTo>
                        <a:pt x="96" y="48"/>
                      </a:lnTo>
                      <a:lnTo>
                        <a:pt x="96" y="52"/>
                      </a:lnTo>
                      <a:lnTo>
                        <a:pt x="100" y="52"/>
                      </a:lnTo>
                      <a:lnTo>
                        <a:pt x="100" y="56"/>
                      </a:lnTo>
                      <a:lnTo>
                        <a:pt x="100" y="56"/>
                      </a:lnTo>
                      <a:lnTo>
                        <a:pt x="100" y="56"/>
                      </a:lnTo>
                      <a:lnTo>
                        <a:pt x="100" y="56"/>
                      </a:lnTo>
                      <a:lnTo>
                        <a:pt x="100" y="60"/>
                      </a:lnTo>
                      <a:lnTo>
                        <a:pt x="100" y="60"/>
                      </a:lnTo>
                      <a:lnTo>
                        <a:pt x="104" y="60"/>
                      </a:lnTo>
                      <a:lnTo>
                        <a:pt x="104" y="60"/>
                      </a:lnTo>
                      <a:lnTo>
                        <a:pt x="104" y="60"/>
                      </a:lnTo>
                      <a:lnTo>
                        <a:pt x="104" y="64"/>
                      </a:lnTo>
                      <a:lnTo>
                        <a:pt x="104" y="64"/>
                      </a:lnTo>
                      <a:lnTo>
                        <a:pt x="104" y="64"/>
                      </a:lnTo>
                      <a:lnTo>
                        <a:pt x="104" y="64"/>
                      </a:lnTo>
                      <a:lnTo>
                        <a:pt x="108" y="64"/>
                      </a:lnTo>
                      <a:lnTo>
                        <a:pt x="108" y="68"/>
                      </a:lnTo>
                      <a:lnTo>
                        <a:pt x="108" y="68"/>
                      </a:lnTo>
                      <a:lnTo>
                        <a:pt x="108" y="68"/>
                      </a:lnTo>
                      <a:lnTo>
                        <a:pt x="108" y="68"/>
                      </a:lnTo>
                      <a:lnTo>
                        <a:pt x="112" y="68"/>
                      </a:lnTo>
                      <a:lnTo>
                        <a:pt x="112" y="68"/>
                      </a:lnTo>
                      <a:lnTo>
                        <a:pt x="112" y="68"/>
                      </a:lnTo>
                      <a:lnTo>
                        <a:pt x="112" y="72"/>
                      </a:lnTo>
                      <a:lnTo>
                        <a:pt x="112" y="72"/>
                      </a:lnTo>
                      <a:lnTo>
                        <a:pt x="112" y="72"/>
                      </a:lnTo>
                      <a:lnTo>
                        <a:pt x="112" y="74"/>
                      </a:lnTo>
                      <a:lnTo>
                        <a:pt x="112" y="74"/>
                      </a:lnTo>
                      <a:lnTo>
                        <a:pt x="108" y="78"/>
                      </a:lnTo>
                      <a:lnTo>
                        <a:pt x="108" y="78"/>
                      </a:lnTo>
                      <a:lnTo>
                        <a:pt x="108" y="78"/>
                      </a:lnTo>
                      <a:lnTo>
                        <a:pt x="108" y="78"/>
                      </a:lnTo>
                      <a:lnTo>
                        <a:pt x="108" y="82"/>
                      </a:lnTo>
                      <a:lnTo>
                        <a:pt x="108" y="82"/>
                      </a:lnTo>
                      <a:lnTo>
                        <a:pt x="108" y="82"/>
                      </a:lnTo>
                      <a:lnTo>
                        <a:pt x="108" y="82"/>
                      </a:lnTo>
                      <a:lnTo>
                        <a:pt x="104" y="86"/>
                      </a:lnTo>
                      <a:lnTo>
                        <a:pt x="104" y="86"/>
                      </a:lnTo>
                      <a:lnTo>
                        <a:pt x="104" y="86"/>
                      </a:lnTo>
                      <a:lnTo>
                        <a:pt x="104" y="86"/>
                      </a:lnTo>
                      <a:lnTo>
                        <a:pt x="104" y="90"/>
                      </a:lnTo>
                      <a:lnTo>
                        <a:pt x="100" y="90"/>
                      </a:lnTo>
                      <a:lnTo>
                        <a:pt x="100" y="94"/>
                      </a:lnTo>
                      <a:lnTo>
                        <a:pt x="96" y="94"/>
                      </a:lnTo>
                      <a:lnTo>
                        <a:pt x="96" y="94"/>
                      </a:lnTo>
                      <a:lnTo>
                        <a:pt x="96" y="94"/>
                      </a:lnTo>
                      <a:lnTo>
                        <a:pt x="96" y="98"/>
                      </a:lnTo>
                      <a:lnTo>
                        <a:pt x="96" y="98"/>
                      </a:lnTo>
                      <a:lnTo>
                        <a:pt x="96" y="98"/>
                      </a:lnTo>
                      <a:lnTo>
                        <a:pt x="96" y="98"/>
                      </a:lnTo>
                      <a:lnTo>
                        <a:pt x="96" y="102"/>
                      </a:lnTo>
                      <a:lnTo>
                        <a:pt x="92" y="102"/>
                      </a:lnTo>
                      <a:lnTo>
                        <a:pt x="92" y="102"/>
                      </a:lnTo>
                      <a:lnTo>
                        <a:pt x="92" y="102"/>
                      </a:lnTo>
                      <a:lnTo>
                        <a:pt x="92" y="104"/>
                      </a:lnTo>
                      <a:lnTo>
                        <a:pt x="92" y="104"/>
                      </a:lnTo>
                      <a:lnTo>
                        <a:pt x="92" y="104"/>
                      </a:lnTo>
                      <a:lnTo>
                        <a:pt x="88" y="104"/>
                      </a:lnTo>
                      <a:lnTo>
                        <a:pt x="88" y="104"/>
                      </a:lnTo>
                      <a:lnTo>
                        <a:pt x="88" y="104"/>
                      </a:lnTo>
                      <a:lnTo>
                        <a:pt x="88" y="104"/>
                      </a:lnTo>
                      <a:lnTo>
                        <a:pt x="88" y="104"/>
                      </a:lnTo>
                      <a:lnTo>
                        <a:pt x="88" y="104"/>
                      </a:lnTo>
                      <a:lnTo>
                        <a:pt x="88" y="104"/>
                      </a:lnTo>
                      <a:lnTo>
                        <a:pt x="88" y="102"/>
                      </a:lnTo>
                      <a:lnTo>
                        <a:pt x="88" y="102"/>
                      </a:lnTo>
                      <a:lnTo>
                        <a:pt x="88" y="102"/>
                      </a:lnTo>
                      <a:lnTo>
                        <a:pt x="88" y="102"/>
                      </a:lnTo>
                      <a:lnTo>
                        <a:pt x="88" y="102"/>
                      </a:lnTo>
                      <a:lnTo>
                        <a:pt x="86" y="102"/>
                      </a:lnTo>
                      <a:lnTo>
                        <a:pt x="86" y="104"/>
                      </a:lnTo>
                      <a:lnTo>
                        <a:pt x="86" y="104"/>
                      </a:lnTo>
                      <a:lnTo>
                        <a:pt x="86" y="104"/>
                      </a:lnTo>
                      <a:lnTo>
                        <a:pt x="86" y="108"/>
                      </a:lnTo>
                      <a:lnTo>
                        <a:pt x="82" y="108"/>
                      </a:lnTo>
                      <a:lnTo>
                        <a:pt x="82" y="108"/>
                      </a:lnTo>
                      <a:lnTo>
                        <a:pt x="82" y="108"/>
                      </a:lnTo>
                      <a:lnTo>
                        <a:pt x="82" y="108"/>
                      </a:lnTo>
                      <a:lnTo>
                        <a:pt x="82" y="108"/>
                      </a:lnTo>
                      <a:lnTo>
                        <a:pt x="82" y="112"/>
                      </a:lnTo>
                      <a:lnTo>
                        <a:pt x="82" y="116"/>
                      </a:lnTo>
                      <a:lnTo>
                        <a:pt x="82" y="116"/>
                      </a:lnTo>
                      <a:lnTo>
                        <a:pt x="82" y="116"/>
                      </a:lnTo>
                      <a:lnTo>
                        <a:pt x="82" y="116"/>
                      </a:lnTo>
                      <a:lnTo>
                        <a:pt x="82" y="116"/>
                      </a:lnTo>
                      <a:lnTo>
                        <a:pt x="82" y="118"/>
                      </a:lnTo>
                      <a:lnTo>
                        <a:pt x="82" y="122"/>
                      </a:lnTo>
                      <a:lnTo>
                        <a:pt x="82" y="122"/>
                      </a:lnTo>
                      <a:lnTo>
                        <a:pt x="82" y="122"/>
                      </a:lnTo>
                      <a:lnTo>
                        <a:pt x="82" y="122"/>
                      </a:lnTo>
                      <a:lnTo>
                        <a:pt x="82" y="122"/>
                      </a:lnTo>
                      <a:lnTo>
                        <a:pt x="82" y="122"/>
                      </a:lnTo>
                      <a:lnTo>
                        <a:pt x="82" y="126"/>
                      </a:lnTo>
                      <a:lnTo>
                        <a:pt x="82" y="130"/>
                      </a:lnTo>
                      <a:lnTo>
                        <a:pt x="82" y="130"/>
                      </a:lnTo>
                      <a:lnTo>
                        <a:pt x="82" y="130"/>
                      </a:lnTo>
                      <a:lnTo>
                        <a:pt x="82" y="130"/>
                      </a:lnTo>
                      <a:lnTo>
                        <a:pt x="82" y="130"/>
                      </a:lnTo>
                      <a:lnTo>
                        <a:pt x="78" y="130"/>
                      </a:lnTo>
                      <a:lnTo>
                        <a:pt x="78" y="130"/>
                      </a:lnTo>
                      <a:lnTo>
                        <a:pt x="78" y="130"/>
                      </a:lnTo>
                      <a:lnTo>
                        <a:pt x="74" y="130"/>
                      </a:lnTo>
                      <a:lnTo>
                        <a:pt x="74" y="130"/>
                      </a:lnTo>
                      <a:lnTo>
                        <a:pt x="74" y="130"/>
                      </a:lnTo>
                      <a:lnTo>
                        <a:pt x="70" y="130"/>
                      </a:lnTo>
                      <a:lnTo>
                        <a:pt x="70" y="134"/>
                      </a:lnTo>
                      <a:lnTo>
                        <a:pt x="70" y="134"/>
                      </a:lnTo>
                      <a:lnTo>
                        <a:pt x="70" y="134"/>
                      </a:lnTo>
                      <a:lnTo>
                        <a:pt x="70" y="134"/>
                      </a:lnTo>
                      <a:lnTo>
                        <a:pt x="66" y="134"/>
                      </a:lnTo>
                      <a:lnTo>
                        <a:pt x="66" y="134"/>
                      </a:lnTo>
                      <a:lnTo>
                        <a:pt x="66" y="138"/>
                      </a:lnTo>
                      <a:lnTo>
                        <a:pt x="66" y="138"/>
                      </a:lnTo>
                      <a:lnTo>
                        <a:pt x="66" y="138"/>
                      </a:lnTo>
                      <a:lnTo>
                        <a:pt x="66" y="138"/>
                      </a:lnTo>
                      <a:lnTo>
                        <a:pt x="66" y="142"/>
                      </a:lnTo>
                      <a:lnTo>
                        <a:pt x="66" y="142"/>
                      </a:lnTo>
                      <a:lnTo>
                        <a:pt x="66" y="142"/>
                      </a:lnTo>
                      <a:lnTo>
                        <a:pt x="66" y="142"/>
                      </a:lnTo>
                      <a:lnTo>
                        <a:pt x="66" y="144"/>
                      </a:lnTo>
                      <a:lnTo>
                        <a:pt x="66" y="144"/>
                      </a:lnTo>
                      <a:lnTo>
                        <a:pt x="62" y="144"/>
                      </a:lnTo>
                      <a:lnTo>
                        <a:pt x="62" y="144"/>
                      </a:lnTo>
                      <a:lnTo>
                        <a:pt x="62" y="144"/>
                      </a:lnTo>
                      <a:lnTo>
                        <a:pt x="62" y="144"/>
                      </a:lnTo>
                      <a:lnTo>
                        <a:pt x="62" y="148"/>
                      </a:lnTo>
                      <a:lnTo>
                        <a:pt x="62" y="148"/>
                      </a:lnTo>
                      <a:lnTo>
                        <a:pt x="62" y="148"/>
                      </a:lnTo>
                      <a:lnTo>
                        <a:pt x="62" y="148"/>
                      </a:lnTo>
                      <a:lnTo>
                        <a:pt x="60" y="148"/>
                      </a:lnTo>
                      <a:lnTo>
                        <a:pt x="60" y="148"/>
                      </a:lnTo>
                      <a:lnTo>
                        <a:pt x="60" y="148"/>
                      </a:lnTo>
                      <a:lnTo>
                        <a:pt x="56" y="148"/>
                      </a:lnTo>
                      <a:lnTo>
                        <a:pt x="56" y="148"/>
                      </a:lnTo>
                      <a:lnTo>
                        <a:pt x="56" y="148"/>
                      </a:lnTo>
                      <a:lnTo>
                        <a:pt x="52" y="148"/>
                      </a:lnTo>
                      <a:lnTo>
                        <a:pt x="52" y="148"/>
                      </a:lnTo>
                      <a:lnTo>
                        <a:pt x="48" y="148"/>
                      </a:lnTo>
                      <a:lnTo>
                        <a:pt x="48" y="148"/>
                      </a:lnTo>
                      <a:lnTo>
                        <a:pt x="48" y="148"/>
                      </a:lnTo>
                      <a:lnTo>
                        <a:pt x="48" y="148"/>
                      </a:lnTo>
                      <a:lnTo>
                        <a:pt x="48" y="152"/>
                      </a:lnTo>
                      <a:lnTo>
                        <a:pt x="48" y="152"/>
                      </a:lnTo>
                      <a:lnTo>
                        <a:pt x="48" y="152"/>
                      </a:lnTo>
                      <a:lnTo>
                        <a:pt x="48" y="152"/>
                      </a:lnTo>
                      <a:lnTo>
                        <a:pt x="48" y="152"/>
                      </a:lnTo>
                      <a:lnTo>
                        <a:pt x="48" y="152"/>
                      </a:lnTo>
                      <a:lnTo>
                        <a:pt x="48" y="156"/>
                      </a:lnTo>
                      <a:lnTo>
                        <a:pt x="48" y="156"/>
                      </a:lnTo>
                      <a:lnTo>
                        <a:pt x="48" y="156"/>
                      </a:lnTo>
                      <a:lnTo>
                        <a:pt x="48" y="156"/>
                      </a:lnTo>
                      <a:lnTo>
                        <a:pt x="48" y="156"/>
                      </a:lnTo>
                      <a:lnTo>
                        <a:pt x="48" y="156"/>
                      </a:lnTo>
                      <a:lnTo>
                        <a:pt x="48" y="160"/>
                      </a:lnTo>
                      <a:lnTo>
                        <a:pt x="48" y="160"/>
                      </a:lnTo>
                      <a:lnTo>
                        <a:pt x="44" y="164"/>
                      </a:lnTo>
                      <a:lnTo>
                        <a:pt x="44" y="164"/>
                      </a:lnTo>
                      <a:lnTo>
                        <a:pt x="44" y="164"/>
                      </a:lnTo>
                      <a:lnTo>
                        <a:pt x="44" y="164"/>
                      </a:lnTo>
                      <a:lnTo>
                        <a:pt x="40" y="164"/>
                      </a:lnTo>
                      <a:lnTo>
                        <a:pt x="40" y="164"/>
                      </a:lnTo>
                      <a:lnTo>
                        <a:pt x="40" y="164"/>
                      </a:lnTo>
                      <a:lnTo>
                        <a:pt x="40" y="164"/>
                      </a:lnTo>
                      <a:lnTo>
                        <a:pt x="40" y="164"/>
                      </a:lnTo>
                      <a:lnTo>
                        <a:pt x="36" y="164"/>
                      </a:lnTo>
                      <a:lnTo>
                        <a:pt x="36" y="164"/>
                      </a:lnTo>
                      <a:lnTo>
                        <a:pt x="36" y="164"/>
                      </a:lnTo>
                      <a:lnTo>
                        <a:pt x="36" y="164"/>
                      </a:lnTo>
                      <a:lnTo>
                        <a:pt x="36" y="164"/>
                      </a:lnTo>
                      <a:lnTo>
                        <a:pt x="32" y="164"/>
                      </a:lnTo>
                      <a:lnTo>
                        <a:pt x="30" y="164"/>
                      </a:lnTo>
                      <a:lnTo>
                        <a:pt x="30" y="164"/>
                      </a:lnTo>
                      <a:lnTo>
                        <a:pt x="30" y="164"/>
                      </a:lnTo>
                      <a:lnTo>
                        <a:pt x="26" y="168"/>
                      </a:lnTo>
                      <a:lnTo>
                        <a:pt x="26" y="168"/>
                      </a:lnTo>
                      <a:lnTo>
                        <a:pt x="26" y="168"/>
                      </a:lnTo>
                      <a:lnTo>
                        <a:pt x="26" y="168"/>
                      </a:lnTo>
                      <a:lnTo>
                        <a:pt x="22" y="168"/>
                      </a:lnTo>
                      <a:lnTo>
                        <a:pt x="22" y="168"/>
                      </a:lnTo>
                      <a:lnTo>
                        <a:pt x="22" y="168"/>
                      </a:lnTo>
                      <a:lnTo>
                        <a:pt x="22" y="168"/>
                      </a:lnTo>
                      <a:lnTo>
                        <a:pt x="18" y="168"/>
                      </a:lnTo>
                      <a:lnTo>
                        <a:pt x="18" y="172"/>
                      </a:lnTo>
                      <a:lnTo>
                        <a:pt x="18" y="172"/>
                      </a:lnTo>
                      <a:lnTo>
                        <a:pt x="18" y="172"/>
                      </a:lnTo>
                      <a:lnTo>
                        <a:pt x="10" y="160"/>
                      </a:lnTo>
                      <a:lnTo>
                        <a:pt x="10" y="156"/>
                      </a:lnTo>
                      <a:lnTo>
                        <a:pt x="0" y="130"/>
                      </a:lnTo>
                      <a:lnTo>
                        <a:pt x="44" y="112"/>
                      </a:lnTo>
                      <a:lnTo>
                        <a:pt x="48" y="90"/>
                      </a:lnTo>
                      <a:lnTo>
                        <a:pt x="48" y="90"/>
                      </a:lnTo>
                      <a:lnTo>
                        <a:pt x="48" y="90"/>
                      </a:lnTo>
                      <a:close/>
                      <a:moveTo>
                        <a:pt x="96" y="108"/>
                      </a:moveTo>
                      <a:lnTo>
                        <a:pt x="96" y="108"/>
                      </a:lnTo>
                      <a:lnTo>
                        <a:pt x="96" y="108"/>
                      </a:lnTo>
                      <a:lnTo>
                        <a:pt x="96" y="108"/>
                      </a:lnTo>
                      <a:lnTo>
                        <a:pt x="96" y="108"/>
                      </a:lnTo>
                      <a:lnTo>
                        <a:pt x="96" y="104"/>
                      </a:lnTo>
                      <a:lnTo>
                        <a:pt x="96" y="104"/>
                      </a:lnTo>
                      <a:lnTo>
                        <a:pt x="96" y="104"/>
                      </a:lnTo>
                      <a:lnTo>
                        <a:pt x="96" y="104"/>
                      </a:lnTo>
                      <a:lnTo>
                        <a:pt x="96" y="104"/>
                      </a:lnTo>
                      <a:lnTo>
                        <a:pt x="96" y="104"/>
                      </a:lnTo>
                      <a:lnTo>
                        <a:pt x="96" y="104"/>
                      </a:lnTo>
                      <a:lnTo>
                        <a:pt x="96" y="104"/>
                      </a:lnTo>
                      <a:lnTo>
                        <a:pt x="96" y="104"/>
                      </a:lnTo>
                      <a:lnTo>
                        <a:pt x="96" y="104"/>
                      </a:lnTo>
                      <a:lnTo>
                        <a:pt x="96" y="102"/>
                      </a:lnTo>
                      <a:lnTo>
                        <a:pt x="96" y="102"/>
                      </a:lnTo>
                      <a:lnTo>
                        <a:pt x="100" y="102"/>
                      </a:lnTo>
                      <a:lnTo>
                        <a:pt x="100" y="102"/>
                      </a:lnTo>
                      <a:lnTo>
                        <a:pt x="100" y="104"/>
                      </a:lnTo>
                      <a:lnTo>
                        <a:pt x="100" y="104"/>
                      </a:lnTo>
                      <a:lnTo>
                        <a:pt x="100" y="104"/>
                      </a:lnTo>
                      <a:lnTo>
                        <a:pt x="100" y="104"/>
                      </a:lnTo>
                      <a:lnTo>
                        <a:pt x="96" y="104"/>
                      </a:lnTo>
                      <a:lnTo>
                        <a:pt x="96" y="104"/>
                      </a:lnTo>
                      <a:lnTo>
                        <a:pt x="96" y="104"/>
                      </a:lnTo>
                      <a:lnTo>
                        <a:pt x="96" y="104"/>
                      </a:lnTo>
                      <a:lnTo>
                        <a:pt x="96" y="104"/>
                      </a:lnTo>
                      <a:lnTo>
                        <a:pt x="96" y="104"/>
                      </a:lnTo>
                      <a:lnTo>
                        <a:pt x="96" y="104"/>
                      </a:lnTo>
                      <a:lnTo>
                        <a:pt x="96" y="108"/>
                      </a:lnTo>
                      <a:lnTo>
                        <a:pt x="96" y="108"/>
                      </a:lnTo>
                      <a:lnTo>
                        <a:pt x="96" y="108"/>
                      </a:lnTo>
                      <a:lnTo>
                        <a:pt x="96" y="108"/>
                      </a:lnTo>
                      <a:lnTo>
                        <a:pt x="96" y="108"/>
                      </a:lnTo>
                      <a:lnTo>
                        <a:pt x="96" y="108"/>
                      </a:lnTo>
                      <a:lnTo>
                        <a:pt x="96" y="10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7" name="Freeform 46"/>
                <p:cNvSpPr>
                  <a:spLocks/>
                </p:cNvSpPr>
                <p:nvPr/>
              </p:nvSpPr>
              <p:spPr bwMode="auto">
                <a:xfrm>
                  <a:off x="5759450" y="3521143"/>
                  <a:ext cx="374650" cy="384175"/>
                </a:xfrm>
                <a:custGeom>
                  <a:avLst/>
                  <a:gdLst>
                    <a:gd name="T0" fmla="*/ 54 w 236"/>
                    <a:gd name="T1" fmla="*/ 138 h 242"/>
                    <a:gd name="T2" fmla="*/ 76 w 236"/>
                    <a:gd name="T3" fmla="*/ 134 h 242"/>
                    <a:gd name="T4" fmla="*/ 80 w 236"/>
                    <a:gd name="T5" fmla="*/ 120 h 242"/>
                    <a:gd name="T6" fmla="*/ 86 w 236"/>
                    <a:gd name="T7" fmla="*/ 108 h 242"/>
                    <a:gd name="T8" fmla="*/ 98 w 236"/>
                    <a:gd name="T9" fmla="*/ 100 h 242"/>
                    <a:gd name="T10" fmla="*/ 116 w 236"/>
                    <a:gd name="T11" fmla="*/ 100 h 242"/>
                    <a:gd name="T12" fmla="*/ 120 w 236"/>
                    <a:gd name="T13" fmla="*/ 82 h 242"/>
                    <a:gd name="T14" fmla="*/ 128 w 236"/>
                    <a:gd name="T15" fmla="*/ 74 h 242"/>
                    <a:gd name="T16" fmla="*/ 132 w 236"/>
                    <a:gd name="T17" fmla="*/ 60 h 242"/>
                    <a:gd name="T18" fmla="*/ 142 w 236"/>
                    <a:gd name="T19" fmla="*/ 56 h 242"/>
                    <a:gd name="T20" fmla="*/ 146 w 236"/>
                    <a:gd name="T21" fmla="*/ 44 h 242"/>
                    <a:gd name="T22" fmla="*/ 154 w 236"/>
                    <a:gd name="T23" fmla="*/ 26 h 242"/>
                    <a:gd name="T24" fmla="*/ 146 w 236"/>
                    <a:gd name="T25" fmla="*/ 14 h 242"/>
                    <a:gd name="T26" fmla="*/ 166 w 236"/>
                    <a:gd name="T27" fmla="*/ 4 h 242"/>
                    <a:gd name="T28" fmla="*/ 188 w 236"/>
                    <a:gd name="T29" fmla="*/ 4 h 242"/>
                    <a:gd name="T30" fmla="*/ 206 w 236"/>
                    <a:gd name="T31" fmla="*/ 4 h 242"/>
                    <a:gd name="T32" fmla="*/ 212 w 236"/>
                    <a:gd name="T33" fmla="*/ 14 h 242"/>
                    <a:gd name="T34" fmla="*/ 224 w 236"/>
                    <a:gd name="T35" fmla="*/ 22 h 242"/>
                    <a:gd name="T36" fmla="*/ 236 w 236"/>
                    <a:gd name="T37" fmla="*/ 34 h 242"/>
                    <a:gd name="T38" fmla="*/ 228 w 236"/>
                    <a:gd name="T39" fmla="*/ 36 h 242"/>
                    <a:gd name="T40" fmla="*/ 216 w 236"/>
                    <a:gd name="T41" fmla="*/ 44 h 242"/>
                    <a:gd name="T42" fmla="*/ 196 w 236"/>
                    <a:gd name="T43" fmla="*/ 44 h 242"/>
                    <a:gd name="T44" fmla="*/ 188 w 236"/>
                    <a:gd name="T45" fmla="*/ 48 h 242"/>
                    <a:gd name="T46" fmla="*/ 188 w 236"/>
                    <a:gd name="T47" fmla="*/ 60 h 242"/>
                    <a:gd name="T48" fmla="*/ 192 w 236"/>
                    <a:gd name="T49" fmla="*/ 78 h 242"/>
                    <a:gd name="T50" fmla="*/ 206 w 236"/>
                    <a:gd name="T51" fmla="*/ 90 h 242"/>
                    <a:gd name="T52" fmla="*/ 196 w 236"/>
                    <a:gd name="T53" fmla="*/ 100 h 242"/>
                    <a:gd name="T54" fmla="*/ 196 w 236"/>
                    <a:gd name="T55" fmla="*/ 112 h 242"/>
                    <a:gd name="T56" fmla="*/ 188 w 236"/>
                    <a:gd name="T57" fmla="*/ 126 h 242"/>
                    <a:gd name="T58" fmla="*/ 172 w 236"/>
                    <a:gd name="T59" fmla="*/ 148 h 242"/>
                    <a:gd name="T60" fmla="*/ 162 w 236"/>
                    <a:gd name="T61" fmla="*/ 160 h 242"/>
                    <a:gd name="T62" fmla="*/ 146 w 236"/>
                    <a:gd name="T63" fmla="*/ 172 h 242"/>
                    <a:gd name="T64" fmla="*/ 136 w 236"/>
                    <a:gd name="T65" fmla="*/ 168 h 242"/>
                    <a:gd name="T66" fmla="*/ 124 w 236"/>
                    <a:gd name="T67" fmla="*/ 178 h 242"/>
                    <a:gd name="T68" fmla="*/ 132 w 236"/>
                    <a:gd name="T69" fmla="*/ 194 h 242"/>
                    <a:gd name="T70" fmla="*/ 138 w 236"/>
                    <a:gd name="T71" fmla="*/ 212 h 242"/>
                    <a:gd name="T72" fmla="*/ 142 w 236"/>
                    <a:gd name="T73" fmla="*/ 228 h 242"/>
                    <a:gd name="T74" fmla="*/ 138 w 236"/>
                    <a:gd name="T75" fmla="*/ 232 h 242"/>
                    <a:gd name="T76" fmla="*/ 120 w 236"/>
                    <a:gd name="T77" fmla="*/ 234 h 242"/>
                    <a:gd name="T78" fmla="*/ 110 w 236"/>
                    <a:gd name="T79" fmla="*/ 238 h 242"/>
                    <a:gd name="T80" fmla="*/ 102 w 236"/>
                    <a:gd name="T81" fmla="*/ 238 h 242"/>
                    <a:gd name="T82" fmla="*/ 90 w 236"/>
                    <a:gd name="T83" fmla="*/ 234 h 242"/>
                    <a:gd name="T84" fmla="*/ 82 w 236"/>
                    <a:gd name="T85" fmla="*/ 220 h 242"/>
                    <a:gd name="T86" fmla="*/ 80 w 236"/>
                    <a:gd name="T87" fmla="*/ 208 h 242"/>
                    <a:gd name="T88" fmla="*/ 60 w 236"/>
                    <a:gd name="T89" fmla="*/ 212 h 242"/>
                    <a:gd name="T90" fmla="*/ 50 w 236"/>
                    <a:gd name="T91" fmla="*/ 216 h 242"/>
                    <a:gd name="T92" fmla="*/ 38 w 236"/>
                    <a:gd name="T93" fmla="*/ 216 h 242"/>
                    <a:gd name="T94" fmla="*/ 16 w 236"/>
                    <a:gd name="T95" fmla="*/ 220 h 242"/>
                    <a:gd name="T96" fmla="*/ 16 w 236"/>
                    <a:gd name="T97" fmla="*/ 204 h 242"/>
                    <a:gd name="T98" fmla="*/ 20 w 236"/>
                    <a:gd name="T99" fmla="*/ 194 h 242"/>
                    <a:gd name="T100" fmla="*/ 34 w 236"/>
                    <a:gd name="T101" fmla="*/ 186 h 242"/>
                    <a:gd name="T102" fmla="*/ 26 w 236"/>
                    <a:gd name="T103" fmla="*/ 172 h 242"/>
                    <a:gd name="T104" fmla="*/ 16 w 236"/>
                    <a:gd name="T105" fmla="*/ 156 h 242"/>
                    <a:gd name="T106" fmla="*/ 0 w 236"/>
                    <a:gd name="T107" fmla="*/ 134 h 242"/>
                    <a:gd name="T108" fmla="*/ 34 w 236"/>
                    <a:gd name="T109" fmla="*/ 138 h 2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236" h="242">
                      <a:moveTo>
                        <a:pt x="34" y="138"/>
                      </a:moveTo>
                      <a:lnTo>
                        <a:pt x="38" y="138"/>
                      </a:lnTo>
                      <a:lnTo>
                        <a:pt x="42" y="138"/>
                      </a:lnTo>
                      <a:lnTo>
                        <a:pt x="46" y="142"/>
                      </a:lnTo>
                      <a:lnTo>
                        <a:pt x="50" y="138"/>
                      </a:lnTo>
                      <a:lnTo>
                        <a:pt x="54" y="138"/>
                      </a:lnTo>
                      <a:lnTo>
                        <a:pt x="56" y="138"/>
                      </a:lnTo>
                      <a:lnTo>
                        <a:pt x="60" y="138"/>
                      </a:lnTo>
                      <a:lnTo>
                        <a:pt x="64" y="138"/>
                      </a:lnTo>
                      <a:lnTo>
                        <a:pt x="68" y="134"/>
                      </a:lnTo>
                      <a:lnTo>
                        <a:pt x="72" y="134"/>
                      </a:lnTo>
                      <a:lnTo>
                        <a:pt x="76" y="134"/>
                      </a:lnTo>
                      <a:lnTo>
                        <a:pt x="80" y="130"/>
                      </a:lnTo>
                      <a:lnTo>
                        <a:pt x="76" y="130"/>
                      </a:lnTo>
                      <a:lnTo>
                        <a:pt x="76" y="126"/>
                      </a:lnTo>
                      <a:lnTo>
                        <a:pt x="80" y="126"/>
                      </a:lnTo>
                      <a:lnTo>
                        <a:pt x="80" y="122"/>
                      </a:lnTo>
                      <a:lnTo>
                        <a:pt x="80" y="120"/>
                      </a:lnTo>
                      <a:lnTo>
                        <a:pt x="80" y="112"/>
                      </a:lnTo>
                      <a:lnTo>
                        <a:pt x="82" y="112"/>
                      </a:lnTo>
                      <a:lnTo>
                        <a:pt x="82" y="108"/>
                      </a:lnTo>
                      <a:lnTo>
                        <a:pt x="86" y="108"/>
                      </a:lnTo>
                      <a:lnTo>
                        <a:pt x="86" y="104"/>
                      </a:lnTo>
                      <a:lnTo>
                        <a:pt x="86" y="108"/>
                      </a:lnTo>
                      <a:lnTo>
                        <a:pt x="90" y="108"/>
                      </a:lnTo>
                      <a:lnTo>
                        <a:pt x="94" y="108"/>
                      </a:lnTo>
                      <a:lnTo>
                        <a:pt x="98" y="108"/>
                      </a:lnTo>
                      <a:lnTo>
                        <a:pt x="98" y="104"/>
                      </a:lnTo>
                      <a:lnTo>
                        <a:pt x="94" y="100"/>
                      </a:lnTo>
                      <a:lnTo>
                        <a:pt x="98" y="100"/>
                      </a:lnTo>
                      <a:lnTo>
                        <a:pt x="102" y="100"/>
                      </a:lnTo>
                      <a:lnTo>
                        <a:pt x="106" y="96"/>
                      </a:lnTo>
                      <a:lnTo>
                        <a:pt x="110" y="96"/>
                      </a:lnTo>
                      <a:lnTo>
                        <a:pt x="112" y="96"/>
                      </a:lnTo>
                      <a:lnTo>
                        <a:pt x="112" y="100"/>
                      </a:lnTo>
                      <a:lnTo>
                        <a:pt x="116" y="100"/>
                      </a:lnTo>
                      <a:lnTo>
                        <a:pt x="116" y="96"/>
                      </a:lnTo>
                      <a:lnTo>
                        <a:pt x="120" y="96"/>
                      </a:lnTo>
                      <a:lnTo>
                        <a:pt x="120" y="92"/>
                      </a:lnTo>
                      <a:lnTo>
                        <a:pt x="120" y="90"/>
                      </a:lnTo>
                      <a:lnTo>
                        <a:pt x="120" y="86"/>
                      </a:lnTo>
                      <a:lnTo>
                        <a:pt x="120" y="82"/>
                      </a:lnTo>
                      <a:lnTo>
                        <a:pt x="124" y="82"/>
                      </a:lnTo>
                      <a:lnTo>
                        <a:pt x="124" y="78"/>
                      </a:lnTo>
                      <a:lnTo>
                        <a:pt x="120" y="78"/>
                      </a:lnTo>
                      <a:lnTo>
                        <a:pt x="124" y="78"/>
                      </a:lnTo>
                      <a:lnTo>
                        <a:pt x="124" y="74"/>
                      </a:lnTo>
                      <a:lnTo>
                        <a:pt x="128" y="74"/>
                      </a:lnTo>
                      <a:lnTo>
                        <a:pt x="132" y="70"/>
                      </a:lnTo>
                      <a:lnTo>
                        <a:pt x="136" y="70"/>
                      </a:lnTo>
                      <a:lnTo>
                        <a:pt x="136" y="66"/>
                      </a:lnTo>
                      <a:lnTo>
                        <a:pt x="132" y="66"/>
                      </a:lnTo>
                      <a:lnTo>
                        <a:pt x="132" y="62"/>
                      </a:lnTo>
                      <a:lnTo>
                        <a:pt x="132" y="60"/>
                      </a:lnTo>
                      <a:lnTo>
                        <a:pt x="128" y="60"/>
                      </a:lnTo>
                      <a:lnTo>
                        <a:pt x="128" y="56"/>
                      </a:lnTo>
                      <a:lnTo>
                        <a:pt x="132" y="56"/>
                      </a:lnTo>
                      <a:lnTo>
                        <a:pt x="136" y="56"/>
                      </a:lnTo>
                      <a:lnTo>
                        <a:pt x="138" y="56"/>
                      </a:lnTo>
                      <a:lnTo>
                        <a:pt x="142" y="56"/>
                      </a:lnTo>
                      <a:lnTo>
                        <a:pt x="146" y="56"/>
                      </a:lnTo>
                      <a:lnTo>
                        <a:pt x="146" y="52"/>
                      </a:lnTo>
                      <a:lnTo>
                        <a:pt x="146" y="48"/>
                      </a:lnTo>
                      <a:lnTo>
                        <a:pt x="142" y="48"/>
                      </a:lnTo>
                      <a:lnTo>
                        <a:pt x="142" y="44"/>
                      </a:lnTo>
                      <a:lnTo>
                        <a:pt x="146" y="44"/>
                      </a:lnTo>
                      <a:lnTo>
                        <a:pt x="146" y="40"/>
                      </a:lnTo>
                      <a:lnTo>
                        <a:pt x="150" y="40"/>
                      </a:lnTo>
                      <a:lnTo>
                        <a:pt x="150" y="36"/>
                      </a:lnTo>
                      <a:lnTo>
                        <a:pt x="154" y="34"/>
                      </a:lnTo>
                      <a:lnTo>
                        <a:pt x="154" y="30"/>
                      </a:lnTo>
                      <a:lnTo>
                        <a:pt x="154" y="26"/>
                      </a:lnTo>
                      <a:lnTo>
                        <a:pt x="150" y="26"/>
                      </a:lnTo>
                      <a:lnTo>
                        <a:pt x="154" y="22"/>
                      </a:lnTo>
                      <a:lnTo>
                        <a:pt x="150" y="22"/>
                      </a:lnTo>
                      <a:lnTo>
                        <a:pt x="150" y="18"/>
                      </a:lnTo>
                      <a:lnTo>
                        <a:pt x="146" y="18"/>
                      </a:lnTo>
                      <a:lnTo>
                        <a:pt x="146" y="14"/>
                      </a:lnTo>
                      <a:lnTo>
                        <a:pt x="150" y="14"/>
                      </a:lnTo>
                      <a:lnTo>
                        <a:pt x="154" y="10"/>
                      </a:lnTo>
                      <a:lnTo>
                        <a:pt x="158" y="6"/>
                      </a:lnTo>
                      <a:lnTo>
                        <a:pt x="162" y="6"/>
                      </a:lnTo>
                      <a:lnTo>
                        <a:pt x="162" y="4"/>
                      </a:lnTo>
                      <a:lnTo>
                        <a:pt x="166" y="4"/>
                      </a:lnTo>
                      <a:lnTo>
                        <a:pt x="168" y="4"/>
                      </a:lnTo>
                      <a:lnTo>
                        <a:pt x="172" y="4"/>
                      </a:lnTo>
                      <a:lnTo>
                        <a:pt x="176" y="0"/>
                      </a:lnTo>
                      <a:lnTo>
                        <a:pt x="180" y="0"/>
                      </a:lnTo>
                      <a:lnTo>
                        <a:pt x="184" y="0"/>
                      </a:lnTo>
                      <a:lnTo>
                        <a:pt x="188" y="4"/>
                      </a:lnTo>
                      <a:lnTo>
                        <a:pt x="192" y="0"/>
                      </a:lnTo>
                      <a:lnTo>
                        <a:pt x="196" y="0"/>
                      </a:lnTo>
                      <a:lnTo>
                        <a:pt x="198" y="0"/>
                      </a:lnTo>
                      <a:lnTo>
                        <a:pt x="202" y="0"/>
                      </a:lnTo>
                      <a:lnTo>
                        <a:pt x="206" y="6"/>
                      </a:lnTo>
                      <a:lnTo>
                        <a:pt x="206" y="4"/>
                      </a:lnTo>
                      <a:lnTo>
                        <a:pt x="208" y="8"/>
                      </a:lnTo>
                      <a:lnTo>
                        <a:pt x="210" y="10"/>
                      </a:lnTo>
                      <a:lnTo>
                        <a:pt x="212" y="10"/>
                      </a:lnTo>
                      <a:lnTo>
                        <a:pt x="212" y="10"/>
                      </a:lnTo>
                      <a:lnTo>
                        <a:pt x="216" y="14"/>
                      </a:lnTo>
                      <a:lnTo>
                        <a:pt x="212" y="14"/>
                      </a:lnTo>
                      <a:lnTo>
                        <a:pt x="212" y="18"/>
                      </a:lnTo>
                      <a:lnTo>
                        <a:pt x="216" y="18"/>
                      </a:lnTo>
                      <a:lnTo>
                        <a:pt x="216" y="22"/>
                      </a:lnTo>
                      <a:lnTo>
                        <a:pt x="220" y="22"/>
                      </a:lnTo>
                      <a:lnTo>
                        <a:pt x="222" y="22"/>
                      </a:lnTo>
                      <a:lnTo>
                        <a:pt x="224" y="22"/>
                      </a:lnTo>
                      <a:lnTo>
                        <a:pt x="224" y="26"/>
                      </a:lnTo>
                      <a:lnTo>
                        <a:pt x="228" y="26"/>
                      </a:lnTo>
                      <a:lnTo>
                        <a:pt x="232" y="26"/>
                      </a:lnTo>
                      <a:lnTo>
                        <a:pt x="232" y="32"/>
                      </a:lnTo>
                      <a:lnTo>
                        <a:pt x="236" y="34"/>
                      </a:lnTo>
                      <a:lnTo>
                        <a:pt x="236" y="34"/>
                      </a:lnTo>
                      <a:lnTo>
                        <a:pt x="232" y="32"/>
                      </a:lnTo>
                      <a:lnTo>
                        <a:pt x="236" y="34"/>
                      </a:lnTo>
                      <a:lnTo>
                        <a:pt x="236" y="34"/>
                      </a:lnTo>
                      <a:lnTo>
                        <a:pt x="232" y="34"/>
                      </a:lnTo>
                      <a:lnTo>
                        <a:pt x="228" y="34"/>
                      </a:lnTo>
                      <a:lnTo>
                        <a:pt x="228" y="36"/>
                      </a:lnTo>
                      <a:lnTo>
                        <a:pt x="228" y="40"/>
                      </a:lnTo>
                      <a:lnTo>
                        <a:pt x="228" y="44"/>
                      </a:lnTo>
                      <a:lnTo>
                        <a:pt x="224" y="44"/>
                      </a:lnTo>
                      <a:lnTo>
                        <a:pt x="224" y="40"/>
                      </a:lnTo>
                      <a:lnTo>
                        <a:pt x="220" y="40"/>
                      </a:lnTo>
                      <a:lnTo>
                        <a:pt x="216" y="44"/>
                      </a:lnTo>
                      <a:lnTo>
                        <a:pt x="212" y="44"/>
                      </a:lnTo>
                      <a:lnTo>
                        <a:pt x="210" y="48"/>
                      </a:lnTo>
                      <a:lnTo>
                        <a:pt x="210" y="44"/>
                      </a:lnTo>
                      <a:lnTo>
                        <a:pt x="206" y="44"/>
                      </a:lnTo>
                      <a:lnTo>
                        <a:pt x="202" y="44"/>
                      </a:lnTo>
                      <a:lnTo>
                        <a:pt x="196" y="44"/>
                      </a:lnTo>
                      <a:lnTo>
                        <a:pt x="196" y="40"/>
                      </a:lnTo>
                      <a:lnTo>
                        <a:pt x="192" y="40"/>
                      </a:lnTo>
                      <a:lnTo>
                        <a:pt x="188" y="44"/>
                      </a:lnTo>
                      <a:lnTo>
                        <a:pt x="184" y="44"/>
                      </a:lnTo>
                      <a:lnTo>
                        <a:pt x="184" y="48"/>
                      </a:lnTo>
                      <a:lnTo>
                        <a:pt x="188" y="48"/>
                      </a:lnTo>
                      <a:lnTo>
                        <a:pt x="188" y="52"/>
                      </a:lnTo>
                      <a:lnTo>
                        <a:pt x="184" y="56"/>
                      </a:lnTo>
                      <a:lnTo>
                        <a:pt x="188" y="56"/>
                      </a:lnTo>
                      <a:lnTo>
                        <a:pt x="192" y="56"/>
                      </a:lnTo>
                      <a:lnTo>
                        <a:pt x="192" y="60"/>
                      </a:lnTo>
                      <a:lnTo>
                        <a:pt x="188" y="60"/>
                      </a:lnTo>
                      <a:lnTo>
                        <a:pt x="188" y="62"/>
                      </a:lnTo>
                      <a:lnTo>
                        <a:pt x="192" y="62"/>
                      </a:lnTo>
                      <a:lnTo>
                        <a:pt x="188" y="66"/>
                      </a:lnTo>
                      <a:lnTo>
                        <a:pt x="188" y="70"/>
                      </a:lnTo>
                      <a:lnTo>
                        <a:pt x="192" y="74"/>
                      </a:lnTo>
                      <a:lnTo>
                        <a:pt x="192" y="78"/>
                      </a:lnTo>
                      <a:lnTo>
                        <a:pt x="196" y="78"/>
                      </a:lnTo>
                      <a:lnTo>
                        <a:pt x="196" y="82"/>
                      </a:lnTo>
                      <a:lnTo>
                        <a:pt x="198" y="86"/>
                      </a:lnTo>
                      <a:lnTo>
                        <a:pt x="202" y="86"/>
                      </a:lnTo>
                      <a:lnTo>
                        <a:pt x="206" y="86"/>
                      </a:lnTo>
                      <a:lnTo>
                        <a:pt x="206" y="90"/>
                      </a:lnTo>
                      <a:lnTo>
                        <a:pt x="206" y="92"/>
                      </a:lnTo>
                      <a:lnTo>
                        <a:pt x="202" y="92"/>
                      </a:lnTo>
                      <a:lnTo>
                        <a:pt x="198" y="92"/>
                      </a:lnTo>
                      <a:lnTo>
                        <a:pt x="196" y="92"/>
                      </a:lnTo>
                      <a:lnTo>
                        <a:pt x="196" y="96"/>
                      </a:lnTo>
                      <a:lnTo>
                        <a:pt x="196" y="100"/>
                      </a:lnTo>
                      <a:lnTo>
                        <a:pt x="196" y="104"/>
                      </a:lnTo>
                      <a:lnTo>
                        <a:pt x="196" y="108"/>
                      </a:lnTo>
                      <a:lnTo>
                        <a:pt x="196" y="112"/>
                      </a:lnTo>
                      <a:lnTo>
                        <a:pt x="196" y="108"/>
                      </a:lnTo>
                      <a:lnTo>
                        <a:pt x="198" y="108"/>
                      </a:lnTo>
                      <a:lnTo>
                        <a:pt x="196" y="112"/>
                      </a:lnTo>
                      <a:lnTo>
                        <a:pt x="192" y="112"/>
                      </a:lnTo>
                      <a:lnTo>
                        <a:pt x="192" y="116"/>
                      </a:lnTo>
                      <a:lnTo>
                        <a:pt x="188" y="120"/>
                      </a:lnTo>
                      <a:lnTo>
                        <a:pt x="184" y="122"/>
                      </a:lnTo>
                      <a:lnTo>
                        <a:pt x="188" y="122"/>
                      </a:lnTo>
                      <a:lnTo>
                        <a:pt x="188" y="126"/>
                      </a:lnTo>
                      <a:lnTo>
                        <a:pt x="184" y="130"/>
                      </a:lnTo>
                      <a:lnTo>
                        <a:pt x="180" y="130"/>
                      </a:lnTo>
                      <a:lnTo>
                        <a:pt x="176" y="134"/>
                      </a:lnTo>
                      <a:lnTo>
                        <a:pt x="176" y="138"/>
                      </a:lnTo>
                      <a:lnTo>
                        <a:pt x="172" y="146"/>
                      </a:lnTo>
                      <a:lnTo>
                        <a:pt x="172" y="148"/>
                      </a:lnTo>
                      <a:lnTo>
                        <a:pt x="168" y="148"/>
                      </a:lnTo>
                      <a:lnTo>
                        <a:pt x="166" y="148"/>
                      </a:lnTo>
                      <a:lnTo>
                        <a:pt x="166" y="152"/>
                      </a:lnTo>
                      <a:lnTo>
                        <a:pt x="162" y="152"/>
                      </a:lnTo>
                      <a:lnTo>
                        <a:pt x="162" y="156"/>
                      </a:lnTo>
                      <a:lnTo>
                        <a:pt x="162" y="160"/>
                      </a:lnTo>
                      <a:lnTo>
                        <a:pt x="158" y="164"/>
                      </a:lnTo>
                      <a:lnTo>
                        <a:pt x="158" y="168"/>
                      </a:lnTo>
                      <a:lnTo>
                        <a:pt x="154" y="168"/>
                      </a:lnTo>
                      <a:lnTo>
                        <a:pt x="150" y="168"/>
                      </a:lnTo>
                      <a:lnTo>
                        <a:pt x="146" y="168"/>
                      </a:lnTo>
                      <a:lnTo>
                        <a:pt x="146" y="172"/>
                      </a:lnTo>
                      <a:lnTo>
                        <a:pt x="142" y="172"/>
                      </a:lnTo>
                      <a:lnTo>
                        <a:pt x="138" y="172"/>
                      </a:lnTo>
                      <a:lnTo>
                        <a:pt x="138" y="168"/>
                      </a:lnTo>
                      <a:lnTo>
                        <a:pt x="138" y="164"/>
                      </a:lnTo>
                      <a:lnTo>
                        <a:pt x="136" y="164"/>
                      </a:lnTo>
                      <a:lnTo>
                        <a:pt x="136" y="168"/>
                      </a:lnTo>
                      <a:lnTo>
                        <a:pt x="132" y="168"/>
                      </a:lnTo>
                      <a:lnTo>
                        <a:pt x="132" y="172"/>
                      </a:lnTo>
                      <a:lnTo>
                        <a:pt x="132" y="176"/>
                      </a:lnTo>
                      <a:lnTo>
                        <a:pt x="128" y="176"/>
                      </a:lnTo>
                      <a:lnTo>
                        <a:pt x="128" y="178"/>
                      </a:lnTo>
                      <a:lnTo>
                        <a:pt x="124" y="178"/>
                      </a:lnTo>
                      <a:lnTo>
                        <a:pt x="124" y="182"/>
                      </a:lnTo>
                      <a:lnTo>
                        <a:pt x="124" y="186"/>
                      </a:lnTo>
                      <a:lnTo>
                        <a:pt x="124" y="190"/>
                      </a:lnTo>
                      <a:lnTo>
                        <a:pt x="128" y="190"/>
                      </a:lnTo>
                      <a:lnTo>
                        <a:pt x="132" y="190"/>
                      </a:lnTo>
                      <a:lnTo>
                        <a:pt x="132" y="194"/>
                      </a:lnTo>
                      <a:lnTo>
                        <a:pt x="132" y="198"/>
                      </a:lnTo>
                      <a:lnTo>
                        <a:pt x="132" y="202"/>
                      </a:lnTo>
                      <a:lnTo>
                        <a:pt x="132" y="204"/>
                      </a:lnTo>
                      <a:lnTo>
                        <a:pt x="136" y="208"/>
                      </a:lnTo>
                      <a:lnTo>
                        <a:pt x="138" y="208"/>
                      </a:lnTo>
                      <a:lnTo>
                        <a:pt x="138" y="212"/>
                      </a:lnTo>
                      <a:lnTo>
                        <a:pt x="138" y="216"/>
                      </a:lnTo>
                      <a:lnTo>
                        <a:pt x="142" y="216"/>
                      </a:lnTo>
                      <a:lnTo>
                        <a:pt x="142" y="220"/>
                      </a:lnTo>
                      <a:lnTo>
                        <a:pt x="142" y="224"/>
                      </a:lnTo>
                      <a:lnTo>
                        <a:pt x="146" y="228"/>
                      </a:lnTo>
                      <a:lnTo>
                        <a:pt x="142" y="228"/>
                      </a:lnTo>
                      <a:lnTo>
                        <a:pt x="142" y="232"/>
                      </a:lnTo>
                      <a:lnTo>
                        <a:pt x="146" y="232"/>
                      </a:lnTo>
                      <a:lnTo>
                        <a:pt x="142" y="232"/>
                      </a:lnTo>
                      <a:lnTo>
                        <a:pt x="142" y="234"/>
                      </a:lnTo>
                      <a:lnTo>
                        <a:pt x="138" y="234"/>
                      </a:lnTo>
                      <a:lnTo>
                        <a:pt x="138" y="232"/>
                      </a:lnTo>
                      <a:lnTo>
                        <a:pt x="136" y="232"/>
                      </a:lnTo>
                      <a:lnTo>
                        <a:pt x="132" y="232"/>
                      </a:lnTo>
                      <a:lnTo>
                        <a:pt x="132" y="234"/>
                      </a:lnTo>
                      <a:lnTo>
                        <a:pt x="128" y="234"/>
                      </a:lnTo>
                      <a:lnTo>
                        <a:pt x="124" y="234"/>
                      </a:lnTo>
                      <a:lnTo>
                        <a:pt x="120" y="234"/>
                      </a:lnTo>
                      <a:lnTo>
                        <a:pt x="116" y="234"/>
                      </a:lnTo>
                      <a:lnTo>
                        <a:pt x="116" y="232"/>
                      </a:lnTo>
                      <a:lnTo>
                        <a:pt x="112" y="232"/>
                      </a:lnTo>
                      <a:lnTo>
                        <a:pt x="112" y="234"/>
                      </a:lnTo>
                      <a:lnTo>
                        <a:pt x="112" y="238"/>
                      </a:lnTo>
                      <a:lnTo>
                        <a:pt x="110" y="238"/>
                      </a:lnTo>
                      <a:lnTo>
                        <a:pt x="106" y="238"/>
                      </a:lnTo>
                      <a:lnTo>
                        <a:pt x="106" y="242"/>
                      </a:lnTo>
                      <a:lnTo>
                        <a:pt x="106" y="238"/>
                      </a:lnTo>
                      <a:lnTo>
                        <a:pt x="106" y="242"/>
                      </a:lnTo>
                      <a:lnTo>
                        <a:pt x="102" y="242"/>
                      </a:lnTo>
                      <a:lnTo>
                        <a:pt x="102" y="238"/>
                      </a:lnTo>
                      <a:lnTo>
                        <a:pt x="102" y="242"/>
                      </a:lnTo>
                      <a:lnTo>
                        <a:pt x="102" y="238"/>
                      </a:lnTo>
                      <a:lnTo>
                        <a:pt x="98" y="242"/>
                      </a:lnTo>
                      <a:lnTo>
                        <a:pt x="94" y="242"/>
                      </a:lnTo>
                      <a:lnTo>
                        <a:pt x="94" y="238"/>
                      </a:lnTo>
                      <a:lnTo>
                        <a:pt x="90" y="234"/>
                      </a:lnTo>
                      <a:lnTo>
                        <a:pt x="90" y="232"/>
                      </a:lnTo>
                      <a:lnTo>
                        <a:pt x="90" y="228"/>
                      </a:lnTo>
                      <a:lnTo>
                        <a:pt x="90" y="224"/>
                      </a:lnTo>
                      <a:lnTo>
                        <a:pt x="86" y="224"/>
                      </a:lnTo>
                      <a:lnTo>
                        <a:pt x="82" y="224"/>
                      </a:lnTo>
                      <a:lnTo>
                        <a:pt x="82" y="220"/>
                      </a:lnTo>
                      <a:lnTo>
                        <a:pt x="82" y="216"/>
                      </a:lnTo>
                      <a:lnTo>
                        <a:pt x="82" y="212"/>
                      </a:lnTo>
                      <a:lnTo>
                        <a:pt x="80" y="208"/>
                      </a:lnTo>
                      <a:lnTo>
                        <a:pt x="76" y="208"/>
                      </a:lnTo>
                      <a:lnTo>
                        <a:pt x="76" y="212"/>
                      </a:lnTo>
                      <a:lnTo>
                        <a:pt x="80" y="208"/>
                      </a:lnTo>
                      <a:lnTo>
                        <a:pt x="80" y="212"/>
                      </a:lnTo>
                      <a:lnTo>
                        <a:pt x="76" y="212"/>
                      </a:lnTo>
                      <a:lnTo>
                        <a:pt x="72" y="212"/>
                      </a:lnTo>
                      <a:lnTo>
                        <a:pt x="68" y="212"/>
                      </a:lnTo>
                      <a:lnTo>
                        <a:pt x="64" y="212"/>
                      </a:lnTo>
                      <a:lnTo>
                        <a:pt x="60" y="212"/>
                      </a:lnTo>
                      <a:lnTo>
                        <a:pt x="60" y="216"/>
                      </a:lnTo>
                      <a:lnTo>
                        <a:pt x="56" y="216"/>
                      </a:lnTo>
                      <a:lnTo>
                        <a:pt x="54" y="216"/>
                      </a:lnTo>
                      <a:lnTo>
                        <a:pt x="56" y="216"/>
                      </a:lnTo>
                      <a:lnTo>
                        <a:pt x="54" y="216"/>
                      </a:lnTo>
                      <a:lnTo>
                        <a:pt x="50" y="216"/>
                      </a:lnTo>
                      <a:lnTo>
                        <a:pt x="46" y="216"/>
                      </a:lnTo>
                      <a:lnTo>
                        <a:pt x="46" y="212"/>
                      </a:lnTo>
                      <a:lnTo>
                        <a:pt x="46" y="216"/>
                      </a:lnTo>
                      <a:lnTo>
                        <a:pt x="42" y="212"/>
                      </a:lnTo>
                      <a:lnTo>
                        <a:pt x="38" y="212"/>
                      </a:lnTo>
                      <a:lnTo>
                        <a:pt x="38" y="216"/>
                      </a:lnTo>
                      <a:lnTo>
                        <a:pt x="34" y="216"/>
                      </a:lnTo>
                      <a:lnTo>
                        <a:pt x="30" y="216"/>
                      </a:lnTo>
                      <a:lnTo>
                        <a:pt x="26" y="216"/>
                      </a:lnTo>
                      <a:lnTo>
                        <a:pt x="24" y="216"/>
                      </a:lnTo>
                      <a:lnTo>
                        <a:pt x="20" y="216"/>
                      </a:lnTo>
                      <a:lnTo>
                        <a:pt x="16" y="220"/>
                      </a:lnTo>
                      <a:lnTo>
                        <a:pt x="12" y="220"/>
                      </a:lnTo>
                      <a:lnTo>
                        <a:pt x="12" y="216"/>
                      </a:lnTo>
                      <a:lnTo>
                        <a:pt x="12" y="212"/>
                      </a:lnTo>
                      <a:lnTo>
                        <a:pt x="12" y="208"/>
                      </a:lnTo>
                      <a:lnTo>
                        <a:pt x="12" y="204"/>
                      </a:lnTo>
                      <a:lnTo>
                        <a:pt x="16" y="204"/>
                      </a:lnTo>
                      <a:lnTo>
                        <a:pt x="16" y="202"/>
                      </a:lnTo>
                      <a:lnTo>
                        <a:pt x="16" y="198"/>
                      </a:lnTo>
                      <a:lnTo>
                        <a:pt x="20" y="198"/>
                      </a:lnTo>
                      <a:lnTo>
                        <a:pt x="20" y="194"/>
                      </a:lnTo>
                      <a:lnTo>
                        <a:pt x="20" y="198"/>
                      </a:lnTo>
                      <a:lnTo>
                        <a:pt x="20" y="194"/>
                      </a:lnTo>
                      <a:lnTo>
                        <a:pt x="24" y="194"/>
                      </a:lnTo>
                      <a:lnTo>
                        <a:pt x="26" y="194"/>
                      </a:lnTo>
                      <a:lnTo>
                        <a:pt x="26" y="190"/>
                      </a:lnTo>
                      <a:lnTo>
                        <a:pt x="30" y="190"/>
                      </a:lnTo>
                      <a:lnTo>
                        <a:pt x="34" y="190"/>
                      </a:lnTo>
                      <a:lnTo>
                        <a:pt x="34" y="186"/>
                      </a:lnTo>
                      <a:lnTo>
                        <a:pt x="34" y="182"/>
                      </a:lnTo>
                      <a:lnTo>
                        <a:pt x="34" y="178"/>
                      </a:lnTo>
                      <a:lnTo>
                        <a:pt x="30" y="178"/>
                      </a:lnTo>
                      <a:lnTo>
                        <a:pt x="26" y="178"/>
                      </a:lnTo>
                      <a:lnTo>
                        <a:pt x="26" y="176"/>
                      </a:lnTo>
                      <a:lnTo>
                        <a:pt x="26" y="172"/>
                      </a:lnTo>
                      <a:lnTo>
                        <a:pt x="26" y="168"/>
                      </a:lnTo>
                      <a:lnTo>
                        <a:pt x="26" y="164"/>
                      </a:lnTo>
                      <a:lnTo>
                        <a:pt x="26" y="160"/>
                      </a:lnTo>
                      <a:lnTo>
                        <a:pt x="24" y="160"/>
                      </a:lnTo>
                      <a:lnTo>
                        <a:pt x="20" y="156"/>
                      </a:lnTo>
                      <a:lnTo>
                        <a:pt x="16" y="156"/>
                      </a:lnTo>
                      <a:lnTo>
                        <a:pt x="12" y="152"/>
                      </a:lnTo>
                      <a:lnTo>
                        <a:pt x="12" y="148"/>
                      </a:lnTo>
                      <a:lnTo>
                        <a:pt x="8" y="146"/>
                      </a:lnTo>
                      <a:lnTo>
                        <a:pt x="8" y="142"/>
                      </a:lnTo>
                      <a:lnTo>
                        <a:pt x="4" y="134"/>
                      </a:lnTo>
                      <a:lnTo>
                        <a:pt x="0" y="134"/>
                      </a:lnTo>
                      <a:lnTo>
                        <a:pt x="4" y="134"/>
                      </a:lnTo>
                      <a:lnTo>
                        <a:pt x="12" y="138"/>
                      </a:lnTo>
                      <a:lnTo>
                        <a:pt x="16" y="138"/>
                      </a:lnTo>
                      <a:lnTo>
                        <a:pt x="20" y="138"/>
                      </a:lnTo>
                      <a:lnTo>
                        <a:pt x="24" y="142"/>
                      </a:lnTo>
                      <a:lnTo>
                        <a:pt x="34" y="138"/>
                      </a:lnTo>
                      <a:lnTo>
                        <a:pt x="34" y="138"/>
                      </a:lnTo>
                      <a:lnTo>
                        <a:pt x="34" y="13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8" name="Freeform 47"/>
                <p:cNvSpPr>
                  <a:spLocks noEditPoints="1"/>
                </p:cNvSpPr>
                <p:nvPr/>
              </p:nvSpPr>
              <p:spPr bwMode="auto">
                <a:xfrm>
                  <a:off x="6902450" y="4095818"/>
                  <a:ext cx="22225" cy="15875"/>
                </a:xfrm>
                <a:custGeom>
                  <a:avLst/>
                  <a:gdLst>
                    <a:gd name="T0" fmla="*/ 8 w 14"/>
                    <a:gd name="T1" fmla="*/ 0 h 10"/>
                    <a:gd name="T2" fmla="*/ 8 w 14"/>
                    <a:gd name="T3" fmla="*/ 0 h 10"/>
                    <a:gd name="T4" fmla="*/ 8 w 14"/>
                    <a:gd name="T5" fmla="*/ 0 h 10"/>
                    <a:gd name="T6" fmla="*/ 8 w 14"/>
                    <a:gd name="T7" fmla="*/ 0 h 10"/>
                    <a:gd name="T8" fmla="*/ 8 w 14"/>
                    <a:gd name="T9" fmla="*/ 0 h 10"/>
                    <a:gd name="T10" fmla="*/ 8 w 14"/>
                    <a:gd name="T11" fmla="*/ 0 h 10"/>
                    <a:gd name="T12" fmla="*/ 8 w 14"/>
                    <a:gd name="T13" fmla="*/ 0 h 10"/>
                    <a:gd name="T14" fmla="*/ 8 w 14"/>
                    <a:gd name="T15" fmla="*/ 0 h 10"/>
                    <a:gd name="T16" fmla="*/ 8 w 14"/>
                    <a:gd name="T17" fmla="*/ 0 h 10"/>
                    <a:gd name="T18" fmla="*/ 8 w 14"/>
                    <a:gd name="T19" fmla="*/ 0 h 10"/>
                    <a:gd name="T20" fmla="*/ 14 w 14"/>
                    <a:gd name="T21" fmla="*/ 6 h 10"/>
                    <a:gd name="T22" fmla="*/ 14 w 14"/>
                    <a:gd name="T23" fmla="*/ 6 h 10"/>
                    <a:gd name="T24" fmla="*/ 14 w 14"/>
                    <a:gd name="T25" fmla="*/ 6 h 10"/>
                    <a:gd name="T26" fmla="*/ 14 w 14"/>
                    <a:gd name="T27" fmla="*/ 6 h 10"/>
                    <a:gd name="T28" fmla="*/ 14 w 14"/>
                    <a:gd name="T29" fmla="*/ 6 h 10"/>
                    <a:gd name="T30" fmla="*/ 14 w 14"/>
                    <a:gd name="T31" fmla="*/ 6 h 10"/>
                    <a:gd name="T32" fmla="*/ 14 w 14"/>
                    <a:gd name="T33" fmla="*/ 6 h 10"/>
                    <a:gd name="T34" fmla="*/ 0 w 14"/>
                    <a:gd name="T35" fmla="*/ 10 h 10"/>
                    <a:gd name="T36" fmla="*/ 0 w 14"/>
                    <a:gd name="T37" fmla="*/ 10 h 10"/>
                    <a:gd name="T38" fmla="*/ 0 w 14"/>
                    <a:gd name="T39" fmla="*/ 10 h 10"/>
                    <a:gd name="T40" fmla="*/ 0 w 14"/>
                    <a:gd name="T41" fmla="*/ 10 h 10"/>
                    <a:gd name="T42" fmla="*/ 0 w 14"/>
                    <a:gd name="T43" fmla="*/ 10 h 10"/>
                    <a:gd name="T44" fmla="*/ 0 w 14"/>
                    <a:gd name="T4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4" h="10">
                      <a:moveTo>
                        <a:pt x="8" y="0"/>
                      </a:move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close/>
                      <a:moveTo>
                        <a:pt x="14" y="6"/>
                      </a:moveTo>
                      <a:lnTo>
                        <a:pt x="14" y="6"/>
                      </a:lnTo>
                      <a:lnTo>
                        <a:pt x="14" y="6"/>
                      </a:lnTo>
                      <a:lnTo>
                        <a:pt x="14" y="6"/>
                      </a:lnTo>
                      <a:lnTo>
                        <a:pt x="14" y="6"/>
                      </a:lnTo>
                      <a:lnTo>
                        <a:pt x="14" y="6"/>
                      </a:lnTo>
                      <a:lnTo>
                        <a:pt x="14" y="6"/>
                      </a:lnTo>
                      <a:close/>
                      <a:moveTo>
                        <a:pt x="0" y="10"/>
                      </a:move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9" name="Freeform 48"/>
                <p:cNvSpPr>
                  <a:spLocks noEditPoints="1"/>
                </p:cNvSpPr>
                <p:nvPr/>
              </p:nvSpPr>
              <p:spPr bwMode="auto">
                <a:xfrm>
                  <a:off x="7019925" y="4041843"/>
                  <a:ext cx="212725" cy="377825"/>
                </a:xfrm>
                <a:custGeom>
                  <a:avLst/>
                  <a:gdLst>
                    <a:gd name="T0" fmla="*/ 78 w 134"/>
                    <a:gd name="T1" fmla="*/ 150 h 238"/>
                    <a:gd name="T2" fmla="*/ 94 w 134"/>
                    <a:gd name="T3" fmla="*/ 172 h 238"/>
                    <a:gd name="T4" fmla="*/ 0 w 134"/>
                    <a:gd name="T5" fmla="*/ 194 h 238"/>
                    <a:gd name="T6" fmla="*/ 50 w 134"/>
                    <a:gd name="T7" fmla="*/ 220 h 238"/>
                    <a:gd name="T8" fmla="*/ 42 w 134"/>
                    <a:gd name="T9" fmla="*/ 48 h 238"/>
                    <a:gd name="T10" fmla="*/ 50 w 134"/>
                    <a:gd name="T11" fmla="*/ 10 h 238"/>
                    <a:gd name="T12" fmla="*/ 74 w 134"/>
                    <a:gd name="T13" fmla="*/ 10 h 238"/>
                    <a:gd name="T14" fmla="*/ 70 w 134"/>
                    <a:gd name="T15" fmla="*/ 48 h 238"/>
                    <a:gd name="T16" fmla="*/ 66 w 134"/>
                    <a:gd name="T17" fmla="*/ 70 h 238"/>
                    <a:gd name="T18" fmla="*/ 78 w 134"/>
                    <a:gd name="T19" fmla="*/ 82 h 238"/>
                    <a:gd name="T20" fmla="*/ 94 w 134"/>
                    <a:gd name="T21" fmla="*/ 90 h 238"/>
                    <a:gd name="T22" fmla="*/ 100 w 134"/>
                    <a:gd name="T23" fmla="*/ 100 h 238"/>
                    <a:gd name="T24" fmla="*/ 90 w 134"/>
                    <a:gd name="T25" fmla="*/ 100 h 238"/>
                    <a:gd name="T26" fmla="*/ 78 w 134"/>
                    <a:gd name="T27" fmla="*/ 100 h 238"/>
                    <a:gd name="T28" fmla="*/ 52 w 134"/>
                    <a:gd name="T29" fmla="*/ 90 h 238"/>
                    <a:gd name="T30" fmla="*/ 46 w 134"/>
                    <a:gd name="T31" fmla="*/ 74 h 238"/>
                    <a:gd name="T32" fmla="*/ 70 w 134"/>
                    <a:gd name="T33" fmla="*/ 70 h 238"/>
                    <a:gd name="T34" fmla="*/ 74 w 134"/>
                    <a:gd name="T35" fmla="*/ 70 h 238"/>
                    <a:gd name="T36" fmla="*/ 100 w 134"/>
                    <a:gd name="T37" fmla="*/ 86 h 238"/>
                    <a:gd name="T38" fmla="*/ 66 w 134"/>
                    <a:gd name="T39" fmla="*/ 96 h 238"/>
                    <a:gd name="T40" fmla="*/ 50 w 134"/>
                    <a:gd name="T41" fmla="*/ 100 h 238"/>
                    <a:gd name="T42" fmla="*/ 60 w 134"/>
                    <a:gd name="T43" fmla="*/ 116 h 238"/>
                    <a:gd name="T44" fmla="*/ 70 w 134"/>
                    <a:gd name="T45" fmla="*/ 120 h 238"/>
                    <a:gd name="T46" fmla="*/ 94 w 134"/>
                    <a:gd name="T47" fmla="*/ 108 h 238"/>
                    <a:gd name="T48" fmla="*/ 100 w 134"/>
                    <a:gd name="T49" fmla="*/ 124 h 238"/>
                    <a:gd name="T50" fmla="*/ 104 w 134"/>
                    <a:gd name="T51" fmla="*/ 116 h 238"/>
                    <a:gd name="T52" fmla="*/ 122 w 134"/>
                    <a:gd name="T53" fmla="*/ 134 h 238"/>
                    <a:gd name="T54" fmla="*/ 108 w 134"/>
                    <a:gd name="T55" fmla="*/ 120 h 238"/>
                    <a:gd name="T56" fmla="*/ 42 w 134"/>
                    <a:gd name="T57" fmla="*/ 116 h 238"/>
                    <a:gd name="T58" fmla="*/ 46 w 134"/>
                    <a:gd name="T59" fmla="*/ 126 h 238"/>
                    <a:gd name="T60" fmla="*/ 70 w 134"/>
                    <a:gd name="T61" fmla="*/ 146 h 238"/>
                    <a:gd name="T62" fmla="*/ 82 w 134"/>
                    <a:gd name="T63" fmla="*/ 130 h 238"/>
                    <a:gd name="T64" fmla="*/ 104 w 134"/>
                    <a:gd name="T65" fmla="*/ 130 h 238"/>
                    <a:gd name="T66" fmla="*/ 108 w 134"/>
                    <a:gd name="T67" fmla="*/ 134 h 238"/>
                    <a:gd name="T68" fmla="*/ 112 w 134"/>
                    <a:gd name="T69" fmla="*/ 152 h 238"/>
                    <a:gd name="T70" fmla="*/ 38 w 134"/>
                    <a:gd name="T71" fmla="*/ 150 h 238"/>
                    <a:gd name="T72" fmla="*/ 12 w 134"/>
                    <a:gd name="T73" fmla="*/ 176 h 238"/>
                    <a:gd name="T74" fmla="*/ 26 w 134"/>
                    <a:gd name="T75" fmla="*/ 152 h 238"/>
                    <a:gd name="T76" fmla="*/ 34 w 134"/>
                    <a:gd name="T77" fmla="*/ 134 h 238"/>
                    <a:gd name="T78" fmla="*/ 94 w 134"/>
                    <a:gd name="T79" fmla="*/ 152 h 238"/>
                    <a:gd name="T80" fmla="*/ 96 w 134"/>
                    <a:gd name="T81" fmla="*/ 152 h 238"/>
                    <a:gd name="T82" fmla="*/ 90 w 134"/>
                    <a:gd name="T83" fmla="*/ 156 h 238"/>
                    <a:gd name="T84" fmla="*/ 74 w 134"/>
                    <a:gd name="T85" fmla="*/ 160 h 238"/>
                    <a:gd name="T86" fmla="*/ 90 w 134"/>
                    <a:gd name="T87" fmla="*/ 146 h 238"/>
                    <a:gd name="T88" fmla="*/ 108 w 134"/>
                    <a:gd name="T89" fmla="*/ 152 h 238"/>
                    <a:gd name="T90" fmla="*/ 116 w 134"/>
                    <a:gd name="T91" fmla="*/ 156 h 238"/>
                    <a:gd name="T92" fmla="*/ 74 w 134"/>
                    <a:gd name="T93" fmla="*/ 202 h 238"/>
                    <a:gd name="T94" fmla="*/ 86 w 134"/>
                    <a:gd name="T95" fmla="*/ 186 h 238"/>
                    <a:gd name="T96" fmla="*/ 100 w 134"/>
                    <a:gd name="T97" fmla="*/ 186 h 238"/>
                    <a:gd name="T98" fmla="*/ 116 w 134"/>
                    <a:gd name="T99" fmla="*/ 176 h 238"/>
                    <a:gd name="T100" fmla="*/ 130 w 134"/>
                    <a:gd name="T101" fmla="*/ 172 h 238"/>
                    <a:gd name="T102" fmla="*/ 134 w 134"/>
                    <a:gd name="T103" fmla="*/ 202 h 238"/>
                    <a:gd name="T104" fmla="*/ 126 w 134"/>
                    <a:gd name="T105" fmla="*/ 202 h 238"/>
                    <a:gd name="T106" fmla="*/ 120 w 134"/>
                    <a:gd name="T107" fmla="*/ 232 h 238"/>
                    <a:gd name="T108" fmla="*/ 100 w 134"/>
                    <a:gd name="T109" fmla="*/ 208 h 238"/>
                    <a:gd name="T110" fmla="*/ 94 w 134"/>
                    <a:gd name="T111" fmla="*/ 194 h 238"/>
                    <a:gd name="T112" fmla="*/ 82 w 134"/>
                    <a:gd name="T113" fmla="*/ 198 h 238"/>
                    <a:gd name="T114" fmla="*/ 108 w 134"/>
                    <a:gd name="T115" fmla="*/ 172 h 238"/>
                    <a:gd name="T116" fmla="*/ 66 w 134"/>
                    <a:gd name="T117" fmla="*/ 212 h 238"/>
                    <a:gd name="T118" fmla="*/ 60 w 134"/>
                    <a:gd name="T119" fmla="*/ 228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34" h="238">
                      <a:moveTo>
                        <a:pt x="112" y="130"/>
                      </a:moveTo>
                      <a:lnTo>
                        <a:pt x="112" y="126"/>
                      </a:lnTo>
                      <a:lnTo>
                        <a:pt x="108" y="126"/>
                      </a:lnTo>
                      <a:lnTo>
                        <a:pt x="112" y="126"/>
                      </a:lnTo>
                      <a:lnTo>
                        <a:pt x="112" y="130"/>
                      </a:lnTo>
                      <a:lnTo>
                        <a:pt x="112" y="130"/>
                      </a:lnTo>
                      <a:lnTo>
                        <a:pt x="112" y="130"/>
                      </a:lnTo>
                      <a:close/>
                      <a:moveTo>
                        <a:pt x="78" y="150"/>
                      </a:moveTo>
                      <a:lnTo>
                        <a:pt x="78" y="146"/>
                      </a:lnTo>
                      <a:lnTo>
                        <a:pt x="78" y="142"/>
                      </a:lnTo>
                      <a:lnTo>
                        <a:pt x="82" y="142"/>
                      </a:lnTo>
                      <a:lnTo>
                        <a:pt x="82" y="146"/>
                      </a:lnTo>
                      <a:lnTo>
                        <a:pt x="78" y="150"/>
                      </a:lnTo>
                      <a:lnTo>
                        <a:pt x="78" y="150"/>
                      </a:lnTo>
                      <a:lnTo>
                        <a:pt x="78" y="150"/>
                      </a:lnTo>
                      <a:close/>
                      <a:moveTo>
                        <a:pt x="42" y="150"/>
                      </a:moveTo>
                      <a:lnTo>
                        <a:pt x="42" y="146"/>
                      </a:lnTo>
                      <a:lnTo>
                        <a:pt x="38" y="146"/>
                      </a:lnTo>
                      <a:lnTo>
                        <a:pt x="42" y="146"/>
                      </a:lnTo>
                      <a:lnTo>
                        <a:pt x="42" y="150"/>
                      </a:lnTo>
                      <a:lnTo>
                        <a:pt x="42" y="150"/>
                      </a:lnTo>
                      <a:lnTo>
                        <a:pt x="42" y="150"/>
                      </a:lnTo>
                      <a:close/>
                      <a:moveTo>
                        <a:pt x="94" y="172"/>
                      </a:moveTo>
                      <a:lnTo>
                        <a:pt x="94" y="168"/>
                      </a:lnTo>
                      <a:lnTo>
                        <a:pt x="94" y="172"/>
                      </a:lnTo>
                      <a:lnTo>
                        <a:pt x="94" y="172"/>
                      </a:lnTo>
                      <a:lnTo>
                        <a:pt x="94" y="172"/>
                      </a:lnTo>
                      <a:close/>
                      <a:moveTo>
                        <a:pt x="4" y="186"/>
                      </a:moveTo>
                      <a:lnTo>
                        <a:pt x="4" y="182"/>
                      </a:lnTo>
                      <a:lnTo>
                        <a:pt x="4" y="186"/>
                      </a:lnTo>
                      <a:lnTo>
                        <a:pt x="4" y="186"/>
                      </a:lnTo>
                      <a:lnTo>
                        <a:pt x="4" y="186"/>
                      </a:lnTo>
                      <a:close/>
                      <a:moveTo>
                        <a:pt x="0" y="194"/>
                      </a:moveTo>
                      <a:lnTo>
                        <a:pt x="0" y="190"/>
                      </a:lnTo>
                      <a:lnTo>
                        <a:pt x="0" y="186"/>
                      </a:lnTo>
                      <a:lnTo>
                        <a:pt x="0" y="190"/>
                      </a:lnTo>
                      <a:lnTo>
                        <a:pt x="0" y="194"/>
                      </a:lnTo>
                      <a:lnTo>
                        <a:pt x="0" y="194"/>
                      </a:lnTo>
                      <a:lnTo>
                        <a:pt x="0" y="194"/>
                      </a:lnTo>
                      <a:close/>
                      <a:moveTo>
                        <a:pt x="82" y="202"/>
                      </a:moveTo>
                      <a:lnTo>
                        <a:pt x="82" y="198"/>
                      </a:lnTo>
                      <a:lnTo>
                        <a:pt x="86" y="198"/>
                      </a:lnTo>
                      <a:lnTo>
                        <a:pt x="86" y="202"/>
                      </a:lnTo>
                      <a:lnTo>
                        <a:pt x="82" y="202"/>
                      </a:lnTo>
                      <a:lnTo>
                        <a:pt x="82" y="202"/>
                      </a:lnTo>
                      <a:lnTo>
                        <a:pt x="82" y="202"/>
                      </a:lnTo>
                      <a:close/>
                      <a:moveTo>
                        <a:pt x="50" y="220"/>
                      </a:moveTo>
                      <a:lnTo>
                        <a:pt x="50" y="216"/>
                      </a:lnTo>
                      <a:lnTo>
                        <a:pt x="52" y="216"/>
                      </a:lnTo>
                      <a:lnTo>
                        <a:pt x="52" y="220"/>
                      </a:lnTo>
                      <a:lnTo>
                        <a:pt x="50" y="220"/>
                      </a:lnTo>
                      <a:lnTo>
                        <a:pt x="50" y="220"/>
                      </a:lnTo>
                      <a:lnTo>
                        <a:pt x="50" y="220"/>
                      </a:lnTo>
                      <a:close/>
                      <a:moveTo>
                        <a:pt x="66" y="4"/>
                      </a:moveTo>
                      <a:lnTo>
                        <a:pt x="66" y="0"/>
                      </a:lnTo>
                      <a:lnTo>
                        <a:pt x="70" y="0"/>
                      </a:lnTo>
                      <a:lnTo>
                        <a:pt x="66" y="4"/>
                      </a:lnTo>
                      <a:lnTo>
                        <a:pt x="66" y="4"/>
                      </a:lnTo>
                      <a:lnTo>
                        <a:pt x="66" y="4"/>
                      </a:lnTo>
                      <a:close/>
                      <a:moveTo>
                        <a:pt x="42" y="56"/>
                      </a:moveTo>
                      <a:lnTo>
                        <a:pt x="42" y="52"/>
                      </a:lnTo>
                      <a:lnTo>
                        <a:pt x="38" y="52"/>
                      </a:lnTo>
                      <a:lnTo>
                        <a:pt x="38" y="48"/>
                      </a:lnTo>
                      <a:lnTo>
                        <a:pt x="42" y="44"/>
                      </a:lnTo>
                      <a:lnTo>
                        <a:pt x="42" y="48"/>
                      </a:lnTo>
                      <a:lnTo>
                        <a:pt x="46" y="48"/>
                      </a:lnTo>
                      <a:lnTo>
                        <a:pt x="46" y="52"/>
                      </a:lnTo>
                      <a:lnTo>
                        <a:pt x="50" y="48"/>
                      </a:lnTo>
                      <a:lnTo>
                        <a:pt x="50" y="44"/>
                      </a:lnTo>
                      <a:lnTo>
                        <a:pt x="50" y="40"/>
                      </a:lnTo>
                      <a:lnTo>
                        <a:pt x="50" y="38"/>
                      </a:lnTo>
                      <a:lnTo>
                        <a:pt x="50" y="34"/>
                      </a:lnTo>
                      <a:lnTo>
                        <a:pt x="50" y="30"/>
                      </a:lnTo>
                      <a:lnTo>
                        <a:pt x="50" y="26"/>
                      </a:lnTo>
                      <a:lnTo>
                        <a:pt x="50" y="22"/>
                      </a:lnTo>
                      <a:lnTo>
                        <a:pt x="50" y="18"/>
                      </a:lnTo>
                      <a:lnTo>
                        <a:pt x="50" y="14"/>
                      </a:lnTo>
                      <a:lnTo>
                        <a:pt x="50" y="10"/>
                      </a:lnTo>
                      <a:lnTo>
                        <a:pt x="52" y="10"/>
                      </a:lnTo>
                      <a:lnTo>
                        <a:pt x="52" y="8"/>
                      </a:lnTo>
                      <a:lnTo>
                        <a:pt x="56" y="4"/>
                      </a:lnTo>
                      <a:lnTo>
                        <a:pt x="56" y="8"/>
                      </a:lnTo>
                      <a:lnTo>
                        <a:pt x="60" y="4"/>
                      </a:lnTo>
                      <a:lnTo>
                        <a:pt x="60" y="8"/>
                      </a:lnTo>
                      <a:lnTo>
                        <a:pt x="64" y="8"/>
                      </a:lnTo>
                      <a:lnTo>
                        <a:pt x="64" y="10"/>
                      </a:lnTo>
                      <a:lnTo>
                        <a:pt x="66" y="10"/>
                      </a:lnTo>
                      <a:lnTo>
                        <a:pt x="70" y="10"/>
                      </a:lnTo>
                      <a:lnTo>
                        <a:pt x="70" y="8"/>
                      </a:lnTo>
                      <a:lnTo>
                        <a:pt x="74" y="8"/>
                      </a:lnTo>
                      <a:lnTo>
                        <a:pt x="74" y="10"/>
                      </a:lnTo>
                      <a:lnTo>
                        <a:pt x="74" y="14"/>
                      </a:lnTo>
                      <a:lnTo>
                        <a:pt x="74" y="18"/>
                      </a:lnTo>
                      <a:lnTo>
                        <a:pt x="74" y="22"/>
                      </a:lnTo>
                      <a:lnTo>
                        <a:pt x="74" y="26"/>
                      </a:lnTo>
                      <a:lnTo>
                        <a:pt x="78" y="30"/>
                      </a:lnTo>
                      <a:lnTo>
                        <a:pt x="78" y="34"/>
                      </a:lnTo>
                      <a:lnTo>
                        <a:pt x="78" y="38"/>
                      </a:lnTo>
                      <a:lnTo>
                        <a:pt x="74" y="40"/>
                      </a:lnTo>
                      <a:lnTo>
                        <a:pt x="74" y="44"/>
                      </a:lnTo>
                      <a:lnTo>
                        <a:pt x="74" y="48"/>
                      </a:lnTo>
                      <a:lnTo>
                        <a:pt x="70" y="48"/>
                      </a:lnTo>
                      <a:lnTo>
                        <a:pt x="70" y="52"/>
                      </a:lnTo>
                      <a:lnTo>
                        <a:pt x="70" y="48"/>
                      </a:lnTo>
                      <a:lnTo>
                        <a:pt x="74" y="48"/>
                      </a:lnTo>
                      <a:lnTo>
                        <a:pt x="70" y="48"/>
                      </a:lnTo>
                      <a:lnTo>
                        <a:pt x="66" y="48"/>
                      </a:lnTo>
                      <a:lnTo>
                        <a:pt x="66" y="52"/>
                      </a:lnTo>
                      <a:lnTo>
                        <a:pt x="64" y="52"/>
                      </a:lnTo>
                      <a:lnTo>
                        <a:pt x="64" y="56"/>
                      </a:lnTo>
                      <a:lnTo>
                        <a:pt x="66" y="56"/>
                      </a:lnTo>
                      <a:lnTo>
                        <a:pt x="64" y="56"/>
                      </a:lnTo>
                      <a:lnTo>
                        <a:pt x="64" y="60"/>
                      </a:lnTo>
                      <a:lnTo>
                        <a:pt x="64" y="64"/>
                      </a:lnTo>
                      <a:lnTo>
                        <a:pt x="64" y="66"/>
                      </a:lnTo>
                      <a:lnTo>
                        <a:pt x="64" y="70"/>
                      </a:lnTo>
                      <a:lnTo>
                        <a:pt x="66" y="70"/>
                      </a:lnTo>
                      <a:lnTo>
                        <a:pt x="66" y="74"/>
                      </a:lnTo>
                      <a:lnTo>
                        <a:pt x="64" y="74"/>
                      </a:lnTo>
                      <a:lnTo>
                        <a:pt x="66" y="74"/>
                      </a:lnTo>
                      <a:lnTo>
                        <a:pt x="66" y="78"/>
                      </a:lnTo>
                      <a:lnTo>
                        <a:pt x="66" y="82"/>
                      </a:lnTo>
                      <a:lnTo>
                        <a:pt x="70" y="86"/>
                      </a:lnTo>
                      <a:lnTo>
                        <a:pt x="74" y="86"/>
                      </a:lnTo>
                      <a:lnTo>
                        <a:pt x="74" y="90"/>
                      </a:lnTo>
                      <a:lnTo>
                        <a:pt x="74" y="86"/>
                      </a:lnTo>
                      <a:lnTo>
                        <a:pt x="74" y="82"/>
                      </a:lnTo>
                      <a:lnTo>
                        <a:pt x="74" y="86"/>
                      </a:lnTo>
                      <a:lnTo>
                        <a:pt x="74" y="82"/>
                      </a:lnTo>
                      <a:lnTo>
                        <a:pt x="78" y="82"/>
                      </a:lnTo>
                      <a:lnTo>
                        <a:pt x="78" y="78"/>
                      </a:lnTo>
                      <a:lnTo>
                        <a:pt x="78" y="82"/>
                      </a:lnTo>
                      <a:lnTo>
                        <a:pt x="82" y="78"/>
                      </a:lnTo>
                      <a:lnTo>
                        <a:pt x="82" y="82"/>
                      </a:lnTo>
                      <a:lnTo>
                        <a:pt x="86" y="82"/>
                      </a:lnTo>
                      <a:lnTo>
                        <a:pt x="86" y="86"/>
                      </a:lnTo>
                      <a:lnTo>
                        <a:pt x="86" y="90"/>
                      </a:lnTo>
                      <a:lnTo>
                        <a:pt x="86" y="94"/>
                      </a:lnTo>
                      <a:lnTo>
                        <a:pt x="86" y="90"/>
                      </a:lnTo>
                      <a:lnTo>
                        <a:pt x="90" y="90"/>
                      </a:lnTo>
                      <a:lnTo>
                        <a:pt x="90" y="86"/>
                      </a:lnTo>
                      <a:lnTo>
                        <a:pt x="94" y="86"/>
                      </a:lnTo>
                      <a:lnTo>
                        <a:pt x="94" y="90"/>
                      </a:lnTo>
                      <a:lnTo>
                        <a:pt x="96" y="90"/>
                      </a:lnTo>
                      <a:lnTo>
                        <a:pt x="96" y="94"/>
                      </a:lnTo>
                      <a:lnTo>
                        <a:pt x="96" y="90"/>
                      </a:lnTo>
                      <a:lnTo>
                        <a:pt x="94" y="90"/>
                      </a:lnTo>
                      <a:lnTo>
                        <a:pt x="94" y="94"/>
                      </a:lnTo>
                      <a:lnTo>
                        <a:pt x="94" y="96"/>
                      </a:lnTo>
                      <a:lnTo>
                        <a:pt x="96" y="96"/>
                      </a:lnTo>
                      <a:lnTo>
                        <a:pt x="96" y="100"/>
                      </a:lnTo>
                      <a:lnTo>
                        <a:pt x="96" y="96"/>
                      </a:lnTo>
                      <a:lnTo>
                        <a:pt x="96" y="100"/>
                      </a:lnTo>
                      <a:lnTo>
                        <a:pt x="100" y="100"/>
                      </a:lnTo>
                      <a:lnTo>
                        <a:pt x="100" y="104"/>
                      </a:lnTo>
                      <a:lnTo>
                        <a:pt x="100" y="100"/>
                      </a:lnTo>
                      <a:lnTo>
                        <a:pt x="100" y="104"/>
                      </a:lnTo>
                      <a:lnTo>
                        <a:pt x="100" y="108"/>
                      </a:lnTo>
                      <a:lnTo>
                        <a:pt x="100" y="112"/>
                      </a:lnTo>
                      <a:lnTo>
                        <a:pt x="96" y="112"/>
                      </a:lnTo>
                      <a:lnTo>
                        <a:pt x="96" y="108"/>
                      </a:lnTo>
                      <a:lnTo>
                        <a:pt x="96" y="104"/>
                      </a:lnTo>
                      <a:lnTo>
                        <a:pt x="100" y="104"/>
                      </a:lnTo>
                      <a:lnTo>
                        <a:pt x="96" y="104"/>
                      </a:lnTo>
                      <a:lnTo>
                        <a:pt x="94" y="104"/>
                      </a:lnTo>
                      <a:lnTo>
                        <a:pt x="90" y="104"/>
                      </a:lnTo>
                      <a:lnTo>
                        <a:pt x="90" y="100"/>
                      </a:lnTo>
                      <a:lnTo>
                        <a:pt x="90" y="104"/>
                      </a:lnTo>
                      <a:lnTo>
                        <a:pt x="90" y="100"/>
                      </a:lnTo>
                      <a:lnTo>
                        <a:pt x="90" y="96"/>
                      </a:lnTo>
                      <a:lnTo>
                        <a:pt x="86" y="96"/>
                      </a:lnTo>
                      <a:lnTo>
                        <a:pt x="86" y="94"/>
                      </a:lnTo>
                      <a:lnTo>
                        <a:pt x="82" y="94"/>
                      </a:lnTo>
                      <a:lnTo>
                        <a:pt x="82" y="90"/>
                      </a:lnTo>
                      <a:lnTo>
                        <a:pt x="78" y="90"/>
                      </a:lnTo>
                      <a:lnTo>
                        <a:pt x="78" y="86"/>
                      </a:lnTo>
                      <a:lnTo>
                        <a:pt x="78" y="90"/>
                      </a:lnTo>
                      <a:lnTo>
                        <a:pt x="78" y="94"/>
                      </a:lnTo>
                      <a:lnTo>
                        <a:pt x="78" y="96"/>
                      </a:lnTo>
                      <a:lnTo>
                        <a:pt x="82" y="96"/>
                      </a:lnTo>
                      <a:lnTo>
                        <a:pt x="82" y="100"/>
                      </a:lnTo>
                      <a:lnTo>
                        <a:pt x="78" y="100"/>
                      </a:lnTo>
                      <a:lnTo>
                        <a:pt x="78" y="96"/>
                      </a:lnTo>
                      <a:lnTo>
                        <a:pt x="78" y="94"/>
                      </a:lnTo>
                      <a:lnTo>
                        <a:pt x="74" y="94"/>
                      </a:lnTo>
                      <a:lnTo>
                        <a:pt x="70" y="90"/>
                      </a:lnTo>
                      <a:lnTo>
                        <a:pt x="66" y="90"/>
                      </a:lnTo>
                      <a:lnTo>
                        <a:pt x="66" y="86"/>
                      </a:lnTo>
                      <a:lnTo>
                        <a:pt x="64" y="90"/>
                      </a:lnTo>
                      <a:lnTo>
                        <a:pt x="64" y="94"/>
                      </a:lnTo>
                      <a:lnTo>
                        <a:pt x="60" y="94"/>
                      </a:lnTo>
                      <a:lnTo>
                        <a:pt x="56" y="94"/>
                      </a:lnTo>
                      <a:lnTo>
                        <a:pt x="56" y="90"/>
                      </a:lnTo>
                      <a:lnTo>
                        <a:pt x="52" y="86"/>
                      </a:lnTo>
                      <a:lnTo>
                        <a:pt x="52" y="90"/>
                      </a:lnTo>
                      <a:lnTo>
                        <a:pt x="52" y="86"/>
                      </a:lnTo>
                      <a:lnTo>
                        <a:pt x="52" y="82"/>
                      </a:lnTo>
                      <a:lnTo>
                        <a:pt x="56" y="78"/>
                      </a:lnTo>
                      <a:lnTo>
                        <a:pt x="56" y="74"/>
                      </a:lnTo>
                      <a:lnTo>
                        <a:pt x="52" y="74"/>
                      </a:lnTo>
                      <a:lnTo>
                        <a:pt x="52" y="70"/>
                      </a:lnTo>
                      <a:lnTo>
                        <a:pt x="50" y="70"/>
                      </a:lnTo>
                      <a:lnTo>
                        <a:pt x="50" y="74"/>
                      </a:lnTo>
                      <a:lnTo>
                        <a:pt x="52" y="74"/>
                      </a:lnTo>
                      <a:lnTo>
                        <a:pt x="52" y="78"/>
                      </a:lnTo>
                      <a:lnTo>
                        <a:pt x="50" y="78"/>
                      </a:lnTo>
                      <a:lnTo>
                        <a:pt x="50" y="74"/>
                      </a:lnTo>
                      <a:lnTo>
                        <a:pt x="46" y="74"/>
                      </a:lnTo>
                      <a:lnTo>
                        <a:pt x="46" y="70"/>
                      </a:lnTo>
                      <a:lnTo>
                        <a:pt x="50" y="70"/>
                      </a:lnTo>
                      <a:lnTo>
                        <a:pt x="46" y="70"/>
                      </a:lnTo>
                      <a:lnTo>
                        <a:pt x="46" y="74"/>
                      </a:lnTo>
                      <a:lnTo>
                        <a:pt x="46" y="70"/>
                      </a:lnTo>
                      <a:lnTo>
                        <a:pt x="46" y="66"/>
                      </a:lnTo>
                      <a:lnTo>
                        <a:pt x="42" y="64"/>
                      </a:lnTo>
                      <a:lnTo>
                        <a:pt x="42" y="60"/>
                      </a:lnTo>
                      <a:lnTo>
                        <a:pt x="42" y="56"/>
                      </a:lnTo>
                      <a:lnTo>
                        <a:pt x="42" y="56"/>
                      </a:lnTo>
                      <a:lnTo>
                        <a:pt x="42" y="56"/>
                      </a:lnTo>
                      <a:close/>
                      <a:moveTo>
                        <a:pt x="70" y="74"/>
                      </a:moveTo>
                      <a:lnTo>
                        <a:pt x="70" y="70"/>
                      </a:lnTo>
                      <a:lnTo>
                        <a:pt x="66" y="70"/>
                      </a:lnTo>
                      <a:lnTo>
                        <a:pt x="66" y="66"/>
                      </a:lnTo>
                      <a:lnTo>
                        <a:pt x="70" y="66"/>
                      </a:lnTo>
                      <a:lnTo>
                        <a:pt x="70" y="70"/>
                      </a:lnTo>
                      <a:lnTo>
                        <a:pt x="70" y="66"/>
                      </a:lnTo>
                      <a:lnTo>
                        <a:pt x="70" y="70"/>
                      </a:lnTo>
                      <a:lnTo>
                        <a:pt x="70" y="74"/>
                      </a:lnTo>
                      <a:lnTo>
                        <a:pt x="70" y="74"/>
                      </a:lnTo>
                      <a:lnTo>
                        <a:pt x="70" y="74"/>
                      </a:lnTo>
                      <a:close/>
                      <a:moveTo>
                        <a:pt x="74" y="74"/>
                      </a:moveTo>
                      <a:lnTo>
                        <a:pt x="74" y="70"/>
                      </a:lnTo>
                      <a:lnTo>
                        <a:pt x="70" y="70"/>
                      </a:lnTo>
                      <a:lnTo>
                        <a:pt x="74" y="70"/>
                      </a:lnTo>
                      <a:lnTo>
                        <a:pt x="74" y="74"/>
                      </a:lnTo>
                      <a:lnTo>
                        <a:pt x="74" y="74"/>
                      </a:lnTo>
                      <a:lnTo>
                        <a:pt x="74" y="74"/>
                      </a:lnTo>
                      <a:close/>
                      <a:moveTo>
                        <a:pt x="74" y="86"/>
                      </a:moveTo>
                      <a:lnTo>
                        <a:pt x="70" y="86"/>
                      </a:lnTo>
                      <a:lnTo>
                        <a:pt x="70" y="82"/>
                      </a:lnTo>
                      <a:lnTo>
                        <a:pt x="70" y="86"/>
                      </a:lnTo>
                      <a:lnTo>
                        <a:pt x="74" y="86"/>
                      </a:lnTo>
                      <a:lnTo>
                        <a:pt x="74" y="86"/>
                      </a:lnTo>
                      <a:lnTo>
                        <a:pt x="74" y="86"/>
                      </a:lnTo>
                      <a:close/>
                      <a:moveTo>
                        <a:pt x="100" y="94"/>
                      </a:moveTo>
                      <a:lnTo>
                        <a:pt x="100" y="90"/>
                      </a:lnTo>
                      <a:lnTo>
                        <a:pt x="100" y="86"/>
                      </a:lnTo>
                      <a:lnTo>
                        <a:pt x="104" y="86"/>
                      </a:lnTo>
                      <a:lnTo>
                        <a:pt x="104" y="90"/>
                      </a:lnTo>
                      <a:lnTo>
                        <a:pt x="104" y="94"/>
                      </a:lnTo>
                      <a:lnTo>
                        <a:pt x="100" y="94"/>
                      </a:lnTo>
                      <a:lnTo>
                        <a:pt x="100" y="94"/>
                      </a:lnTo>
                      <a:lnTo>
                        <a:pt x="100" y="94"/>
                      </a:lnTo>
                      <a:close/>
                      <a:moveTo>
                        <a:pt x="46" y="94"/>
                      </a:moveTo>
                      <a:lnTo>
                        <a:pt x="46" y="90"/>
                      </a:lnTo>
                      <a:lnTo>
                        <a:pt x="46" y="94"/>
                      </a:lnTo>
                      <a:lnTo>
                        <a:pt x="46" y="94"/>
                      </a:lnTo>
                      <a:lnTo>
                        <a:pt x="46" y="94"/>
                      </a:lnTo>
                      <a:close/>
                      <a:moveTo>
                        <a:pt x="70" y="100"/>
                      </a:moveTo>
                      <a:lnTo>
                        <a:pt x="66" y="96"/>
                      </a:lnTo>
                      <a:lnTo>
                        <a:pt x="70" y="94"/>
                      </a:lnTo>
                      <a:lnTo>
                        <a:pt x="70" y="96"/>
                      </a:lnTo>
                      <a:lnTo>
                        <a:pt x="74" y="96"/>
                      </a:lnTo>
                      <a:lnTo>
                        <a:pt x="70" y="100"/>
                      </a:lnTo>
                      <a:lnTo>
                        <a:pt x="70" y="100"/>
                      </a:lnTo>
                      <a:lnTo>
                        <a:pt x="70" y="100"/>
                      </a:lnTo>
                      <a:close/>
                      <a:moveTo>
                        <a:pt x="56" y="116"/>
                      </a:moveTo>
                      <a:lnTo>
                        <a:pt x="56" y="112"/>
                      </a:lnTo>
                      <a:lnTo>
                        <a:pt x="56" y="108"/>
                      </a:lnTo>
                      <a:lnTo>
                        <a:pt x="52" y="108"/>
                      </a:lnTo>
                      <a:lnTo>
                        <a:pt x="52" y="104"/>
                      </a:lnTo>
                      <a:lnTo>
                        <a:pt x="52" y="100"/>
                      </a:lnTo>
                      <a:lnTo>
                        <a:pt x="50" y="100"/>
                      </a:lnTo>
                      <a:lnTo>
                        <a:pt x="50" y="96"/>
                      </a:lnTo>
                      <a:lnTo>
                        <a:pt x="50" y="94"/>
                      </a:lnTo>
                      <a:lnTo>
                        <a:pt x="52" y="94"/>
                      </a:lnTo>
                      <a:lnTo>
                        <a:pt x="52" y="96"/>
                      </a:lnTo>
                      <a:lnTo>
                        <a:pt x="56" y="94"/>
                      </a:lnTo>
                      <a:lnTo>
                        <a:pt x="56" y="96"/>
                      </a:lnTo>
                      <a:lnTo>
                        <a:pt x="60" y="96"/>
                      </a:lnTo>
                      <a:lnTo>
                        <a:pt x="64" y="100"/>
                      </a:lnTo>
                      <a:lnTo>
                        <a:pt x="64" y="104"/>
                      </a:lnTo>
                      <a:lnTo>
                        <a:pt x="64" y="108"/>
                      </a:lnTo>
                      <a:lnTo>
                        <a:pt x="64" y="112"/>
                      </a:lnTo>
                      <a:lnTo>
                        <a:pt x="64" y="116"/>
                      </a:lnTo>
                      <a:lnTo>
                        <a:pt x="60" y="116"/>
                      </a:lnTo>
                      <a:lnTo>
                        <a:pt x="56" y="116"/>
                      </a:lnTo>
                      <a:lnTo>
                        <a:pt x="56" y="116"/>
                      </a:lnTo>
                      <a:lnTo>
                        <a:pt x="56" y="116"/>
                      </a:lnTo>
                      <a:close/>
                      <a:moveTo>
                        <a:pt x="90" y="108"/>
                      </a:moveTo>
                      <a:lnTo>
                        <a:pt x="90" y="104"/>
                      </a:lnTo>
                      <a:lnTo>
                        <a:pt x="86" y="104"/>
                      </a:lnTo>
                      <a:lnTo>
                        <a:pt x="86" y="100"/>
                      </a:lnTo>
                      <a:lnTo>
                        <a:pt x="86" y="104"/>
                      </a:lnTo>
                      <a:lnTo>
                        <a:pt x="90" y="104"/>
                      </a:lnTo>
                      <a:lnTo>
                        <a:pt x="90" y="108"/>
                      </a:lnTo>
                      <a:lnTo>
                        <a:pt x="90" y="108"/>
                      </a:lnTo>
                      <a:lnTo>
                        <a:pt x="90" y="108"/>
                      </a:lnTo>
                      <a:close/>
                      <a:moveTo>
                        <a:pt x="70" y="120"/>
                      </a:moveTo>
                      <a:lnTo>
                        <a:pt x="70" y="116"/>
                      </a:lnTo>
                      <a:lnTo>
                        <a:pt x="70" y="112"/>
                      </a:lnTo>
                      <a:lnTo>
                        <a:pt x="70" y="108"/>
                      </a:lnTo>
                      <a:lnTo>
                        <a:pt x="74" y="108"/>
                      </a:lnTo>
                      <a:lnTo>
                        <a:pt x="74" y="112"/>
                      </a:lnTo>
                      <a:lnTo>
                        <a:pt x="70" y="112"/>
                      </a:lnTo>
                      <a:lnTo>
                        <a:pt x="70" y="120"/>
                      </a:lnTo>
                      <a:lnTo>
                        <a:pt x="70" y="120"/>
                      </a:lnTo>
                      <a:lnTo>
                        <a:pt x="70" y="120"/>
                      </a:lnTo>
                      <a:close/>
                      <a:moveTo>
                        <a:pt x="96" y="116"/>
                      </a:moveTo>
                      <a:lnTo>
                        <a:pt x="96" y="112"/>
                      </a:lnTo>
                      <a:lnTo>
                        <a:pt x="94" y="112"/>
                      </a:lnTo>
                      <a:lnTo>
                        <a:pt x="94" y="108"/>
                      </a:lnTo>
                      <a:lnTo>
                        <a:pt x="96" y="112"/>
                      </a:lnTo>
                      <a:lnTo>
                        <a:pt x="96" y="116"/>
                      </a:lnTo>
                      <a:lnTo>
                        <a:pt x="96" y="116"/>
                      </a:lnTo>
                      <a:lnTo>
                        <a:pt x="96" y="116"/>
                      </a:lnTo>
                      <a:close/>
                      <a:moveTo>
                        <a:pt x="86" y="124"/>
                      </a:moveTo>
                      <a:lnTo>
                        <a:pt x="90" y="120"/>
                      </a:lnTo>
                      <a:lnTo>
                        <a:pt x="90" y="116"/>
                      </a:lnTo>
                      <a:lnTo>
                        <a:pt x="90" y="112"/>
                      </a:lnTo>
                      <a:lnTo>
                        <a:pt x="94" y="112"/>
                      </a:lnTo>
                      <a:lnTo>
                        <a:pt x="94" y="116"/>
                      </a:lnTo>
                      <a:lnTo>
                        <a:pt x="96" y="116"/>
                      </a:lnTo>
                      <a:lnTo>
                        <a:pt x="100" y="120"/>
                      </a:lnTo>
                      <a:lnTo>
                        <a:pt x="100" y="124"/>
                      </a:lnTo>
                      <a:lnTo>
                        <a:pt x="100" y="126"/>
                      </a:lnTo>
                      <a:lnTo>
                        <a:pt x="100" y="124"/>
                      </a:lnTo>
                      <a:lnTo>
                        <a:pt x="96" y="124"/>
                      </a:lnTo>
                      <a:lnTo>
                        <a:pt x="94" y="120"/>
                      </a:lnTo>
                      <a:lnTo>
                        <a:pt x="94" y="116"/>
                      </a:lnTo>
                      <a:lnTo>
                        <a:pt x="90" y="116"/>
                      </a:lnTo>
                      <a:lnTo>
                        <a:pt x="90" y="120"/>
                      </a:lnTo>
                      <a:lnTo>
                        <a:pt x="90" y="124"/>
                      </a:lnTo>
                      <a:lnTo>
                        <a:pt x="86" y="124"/>
                      </a:lnTo>
                      <a:lnTo>
                        <a:pt x="86" y="124"/>
                      </a:lnTo>
                      <a:lnTo>
                        <a:pt x="86" y="124"/>
                      </a:lnTo>
                      <a:close/>
                      <a:moveTo>
                        <a:pt x="104" y="120"/>
                      </a:moveTo>
                      <a:lnTo>
                        <a:pt x="104" y="116"/>
                      </a:lnTo>
                      <a:lnTo>
                        <a:pt x="104" y="112"/>
                      </a:lnTo>
                      <a:lnTo>
                        <a:pt x="108" y="112"/>
                      </a:lnTo>
                      <a:lnTo>
                        <a:pt x="112" y="112"/>
                      </a:lnTo>
                      <a:lnTo>
                        <a:pt x="116" y="112"/>
                      </a:lnTo>
                      <a:lnTo>
                        <a:pt x="120" y="112"/>
                      </a:lnTo>
                      <a:lnTo>
                        <a:pt x="116" y="116"/>
                      </a:lnTo>
                      <a:lnTo>
                        <a:pt x="120" y="116"/>
                      </a:lnTo>
                      <a:lnTo>
                        <a:pt x="120" y="120"/>
                      </a:lnTo>
                      <a:lnTo>
                        <a:pt x="120" y="124"/>
                      </a:lnTo>
                      <a:lnTo>
                        <a:pt x="120" y="126"/>
                      </a:lnTo>
                      <a:lnTo>
                        <a:pt x="120" y="130"/>
                      </a:lnTo>
                      <a:lnTo>
                        <a:pt x="122" y="130"/>
                      </a:lnTo>
                      <a:lnTo>
                        <a:pt x="122" y="134"/>
                      </a:lnTo>
                      <a:lnTo>
                        <a:pt x="120" y="134"/>
                      </a:lnTo>
                      <a:lnTo>
                        <a:pt x="122" y="134"/>
                      </a:lnTo>
                      <a:lnTo>
                        <a:pt x="122" y="138"/>
                      </a:lnTo>
                      <a:lnTo>
                        <a:pt x="122" y="134"/>
                      </a:lnTo>
                      <a:lnTo>
                        <a:pt x="120" y="134"/>
                      </a:lnTo>
                      <a:lnTo>
                        <a:pt x="116" y="134"/>
                      </a:lnTo>
                      <a:lnTo>
                        <a:pt x="112" y="130"/>
                      </a:lnTo>
                      <a:lnTo>
                        <a:pt x="112" y="126"/>
                      </a:lnTo>
                      <a:lnTo>
                        <a:pt x="116" y="126"/>
                      </a:lnTo>
                      <a:lnTo>
                        <a:pt x="116" y="124"/>
                      </a:lnTo>
                      <a:lnTo>
                        <a:pt x="112" y="124"/>
                      </a:lnTo>
                      <a:lnTo>
                        <a:pt x="108" y="124"/>
                      </a:lnTo>
                      <a:lnTo>
                        <a:pt x="108" y="120"/>
                      </a:lnTo>
                      <a:lnTo>
                        <a:pt x="104" y="120"/>
                      </a:lnTo>
                      <a:lnTo>
                        <a:pt x="104" y="120"/>
                      </a:lnTo>
                      <a:lnTo>
                        <a:pt x="104" y="120"/>
                      </a:lnTo>
                      <a:close/>
                      <a:moveTo>
                        <a:pt x="78" y="116"/>
                      </a:moveTo>
                      <a:lnTo>
                        <a:pt x="78" y="112"/>
                      </a:lnTo>
                      <a:lnTo>
                        <a:pt x="82" y="112"/>
                      </a:lnTo>
                      <a:lnTo>
                        <a:pt x="82" y="116"/>
                      </a:lnTo>
                      <a:lnTo>
                        <a:pt x="78" y="116"/>
                      </a:lnTo>
                      <a:lnTo>
                        <a:pt x="78" y="116"/>
                      </a:lnTo>
                      <a:lnTo>
                        <a:pt x="78" y="116"/>
                      </a:lnTo>
                      <a:close/>
                      <a:moveTo>
                        <a:pt x="46" y="120"/>
                      </a:moveTo>
                      <a:lnTo>
                        <a:pt x="42" y="120"/>
                      </a:lnTo>
                      <a:lnTo>
                        <a:pt x="42" y="116"/>
                      </a:lnTo>
                      <a:lnTo>
                        <a:pt x="46" y="116"/>
                      </a:lnTo>
                      <a:lnTo>
                        <a:pt x="46" y="120"/>
                      </a:lnTo>
                      <a:lnTo>
                        <a:pt x="46" y="116"/>
                      </a:lnTo>
                      <a:lnTo>
                        <a:pt x="50" y="120"/>
                      </a:lnTo>
                      <a:lnTo>
                        <a:pt x="46" y="120"/>
                      </a:lnTo>
                      <a:lnTo>
                        <a:pt x="46" y="120"/>
                      </a:lnTo>
                      <a:lnTo>
                        <a:pt x="46" y="120"/>
                      </a:lnTo>
                      <a:close/>
                      <a:moveTo>
                        <a:pt x="42" y="126"/>
                      </a:moveTo>
                      <a:lnTo>
                        <a:pt x="42" y="124"/>
                      </a:lnTo>
                      <a:lnTo>
                        <a:pt x="42" y="120"/>
                      </a:lnTo>
                      <a:lnTo>
                        <a:pt x="42" y="124"/>
                      </a:lnTo>
                      <a:lnTo>
                        <a:pt x="46" y="124"/>
                      </a:lnTo>
                      <a:lnTo>
                        <a:pt x="46" y="126"/>
                      </a:lnTo>
                      <a:lnTo>
                        <a:pt x="42" y="126"/>
                      </a:lnTo>
                      <a:lnTo>
                        <a:pt x="42" y="126"/>
                      </a:lnTo>
                      <a:lnTo>
                        <a:pt x="42" y="126"/>
                      </a:lnTo>
                      <a:close/>
                      <a:moveTo>
                        <a:pt x="86" y="134"/>
                      </a:moveTo>
                      <a:lnTo>
                        <a:pt x="86" y="138"/>
                      </a:lnTo>
                      <a:lnTo>
                        <a:pt x="82" y="138"/>
                      </a:lnTo>
                      <a:lnTo>
                        <a:pt x="82" y="142"/>
                      </a:lnTo>
                      <a:lnTo>
                        <a:pt x="78" y="142"/>
                      </a:lnTo>
                      <a:lnTo>
                        <a:pt x="74" y="142"/>
                      </a:lnTo>
                      <a:lnTo>
                        <a:pt x="74" y="146"/>
                      </a:lnTo>
                      <a:lnTo>
                        <a:pt x="70" y="146"/>
                      </a:lnTo>
                      <a:lnTo>
                        <a:pt x="70" y="150"/>
                      </a:lnTo>
                      <a:lnTo>
                        <a:pt x="70" y="146"/>
                      </a:lnTo>
                      <a:lnTo>
                        <a:pt x="70" y="142"/>
                      </a:lnTo>
                      <a:lnTo>
                        <a:pt x="70" y="138"/>
                      </a:lnTo>
                      <a:lnTo>
                        <a:pt x="70" y="134"/>
                      </a:lnTo>
                      <a:lnTo>
                        <a:pt x="70" y="130"/>
                      </a:lnTo>
                      <a:lnTo>
                        <a:pt x="70" y="126"/>
                      </a:lnTo>
                      <a:lnTo>
                        <a:pt x="70" y="124"/>
                      </a:lnTo>
                      <a:lnTo>
                        <a:pt x="66" y="124"/>
                      </a:lnTo>
                      <a:lnTo>
                        <a:pt x="70" y="124"/>
                      </a:lnTo>
                      <a:lnTo>
                        <a:pt x="74" y="124"/>
                      </a:lnTo>
                      <a:lnTo>
                        <a:pt x="78" y="126"/>
                      </a:lnTo>
                      <a:lnTo>
                        <a:pt x="78" y="130"/>
                      </a:lnTo>
                      <a:lnTo>
                        <a:pt x="82" y="126"/>
                      </a:lnTo>
                      <a:lnTo>
                        <a:pt x="82" y="130"/>
                      </a:lnTo>
                      <a:lnTo>
                        <a:pt x="86" y="130"/>
                      </a:lnTo>
                      <a:lnTo>
                        <a:pt x="86" y="126"/>
                      </a:lnTo>
                      <a:lnTo>
                        <a:pt x="86" y="130"/>
                      </a:lnTo>
                      <a:lnTo>
                        <a:pt x="86" y="134"/>
                      </a:lnTo>
                      <a:lnTo>
                        <a:pt x="86" y="134"/>
                      </a:lnTo>
                      <a:lnTo>
                        <a:pt x="86" y="134"/>
                      </a:lnTo>
                      <a:close/>
                      <a:moveTo>
                        <a:pt x="104" y="130"/>
                      </a:moveTo>
                      <a:lnTo>
                        <a:pt x="104" y="126"/>
                      </a:lnTo>
                      <a:lnTo>
                        <a:pt x="108" y="126"/>
                      </a:lnTo>
                      <a:lnTo>
                        <a:pt x="108" y="130"/>
                      </a:lnTo>
                      <a:lnTo>
                        <a:pt x="104" y="130"/>
                      </a:lnTo>
                      <a:lnTo>
                        <a:pt x="104" y="130"/>
                      </a:lnTo>
                      <a:lnTo>
                        <a:pt x="104" y="130"/>
                      </a:lnTo>
                      <a:close/>
                      <a:moveTo>
                        <a:pt x="108" y="146"/>
                      </a:moveTo>
                      <a:lnTo>
                        <a:pt x="112" y="146"/>
                      </a:lnTo>
                      <a:lnTo>
                        <a:pt x="112" y="142"/>
                      </a:lnTo>
                      <a:lnTo>
                        <a:pt x="108" y="142"/>
                      </a:lnTo>
                      <a:lnTo>
                        <a:pt x="108" y="138"/>
                      </a:lnTo>
                      <a:lnTo>
                        <a:pt x="108" y="142"/>
                      </a:lnTo>
                      <a:lnTo>
                        <a:pt x="104" y="142"/>
                      </a:lnTo>
                      <a:lnTo>
                        <a:pt x="104" y="138"/>
                      </a:lnTo>
                      <a:lnTo>
                        <a:pt x="104" y="134"/>
                      </a:lnTo>
                      <a:lnTo>
                        <a:pt x="104" y="130"/>
                      </a:lnTo>
                      <a:lnTo>
                        <a:pt x="104" y="126"/>
                      </a:lnTo>
                      <a:lnTo>
                        <a:pt x="108" y="130"/>
                      </a:lnTo>
                      <a:lnTo>
                        <a:pt x="108" y="134"/>
                      </a:lnTo>
                      <a:lnTo>
                        <a:pt x="108" y="130"/>
                      </a:lnTo>
                      <a:lnTo>
                        <a:pt x="112" y="130"/>
                      </a:lnTo>
                      <a:lnTo>
                        <a:pt x="112" y="134"/>
                      </a:lnTo>
                      <a:lnTo>
                        <a:pt x="116" y="138"/>
                      </a:lnTo>
                      <a:lnTo>
                        <a:pt x="112" y="138"/>
                      </a:lnTo>
                      <a:lnTo>
                        <a:pt x="112" y="142"/>
                      </a:lnTo>
                      <a:lnTo>
                        <a:pt x="116" y="142"/>
                      </a:lnTo>
                      <a:lnTo>
                        <a:pt x="116" y="146"/>
                      </a:lnTo>
                      <a:lnTo>
                        <a:pt x="116" y="150"/>
                      </a:lnTo>
                      <a:lnTo>
                        <a:pt x="116" y="152"/>
                      </a:lnTo>
                      <a:lnTo>
                        <a:pt x="116" y="150"/>
                      </a:lnTo>
                      <a:lnTo>
                        <a:pt x="112" y="150"/>
                      </a:lnTo>
                      <a:lnTo>
                        <a:pt x="112" y="152"/>
                      </a:lnTo>
                      <a:lnTo>
                        <a:pt x="108" y="152"/>
                      </a:lnTo>
                      <a:lnTo>
                        <a:pt x="112" y="150"/>
                      </a:lnTo>
                      <a:lnTo>
                        <a:pt x="108" y="150"/>
                      </a:lnTo>
                      <a:lnTo>
                        <a:pt x="108" y="146"/>
                      </a:lnTo>
                      <a:lnTo>
                        <a:pt x="108" y="146"/>
                      </a:lnTo>
                      <a:lnTo>
                        <a:pt x="108" y="146"/>
                      </a:lnTo>
                      <a:close/>
                      <a:moveTo>
                        <a:pt x="42" y="130"/>
                      </a:moveTo>
                      <a:lnTo>
                        <a:pt x="38" y="130"/>
                      </a:lnTo>
                      <a:lnTo>
                        <a:pt x="42" y="130"/>
                      </a:lnTo>
                      <a:lnTo>
                        <a:pt x="42" y="130"/>
                      </a:lnTo>
                      <a:lnTo>
                        <a:pt x="42" y="130"/>
                      </a:lnTo>
                      <a:close/>
                      <a:moveTo>
                        <a:pt x="38" y="146"/>
                      </a:moveTo>
                      <a:lnTo>
                        <a:pt x="38" y="150"/>
                      </a:lnTo>
                      <a:lnTo>
                        <a:pt x="34" y="150"/>
                      </a:lnTo>
                      <a:lnTo>
                        <a:pt x="34" y="152"/>
                      </a:lnTo>
                      <a:lnTo>
                        <a:pt x="30" y="152"/>
                      </a:lnTo>
                      <a:lnTo>
                        <a:pt x="26" y="156"/>
                      </a:lnTo>
                      <a:lnTo>
                        <a:pt x="24" y="160"/>
                      </a:lnTo>
                      <a:lnTo>
                        <a:pt x="26" y="160"/>
                      </a:lnTo>
                      <a:lnTo>
                        <a:pt x="24" y="164"/>
                      </a:lnTo>
                      <a:lnTo>
                        <a:pt x="24" y="168"/>
                      </a:lnTo>
                      <a:lnTo>
                        <a:pt x="20" y="168"/>
                      </a:lnTo>
                      <a:lnTo>
                        <a:pt x="16" y="168"/>
                      </a:lnTo>
                      <a:lnTo>
                        <a:pt x="16" y="172"/>
                      </a:lnTo>
                      <a:lnTo>
                        <a:pt x="16" y="176"/>
                      </a:lnTo>
                      <a:lnTo>
                        <a:pt x="12" y="176"/>
                      </a:lnTo>
                      <a:lnTo>
                        <a:pt x="12" y="180"/>
                      </a:lnTo>
                      <a:lnTo>
                        <a:pt x="8" y="180"/>
                      </a:lnTo>
                      <a:lnTo>
                        <a:pt x="4" y="182"/>
                      </a:lnTo>
                      <a:lnTo>
                        <a:pt x="4" y="180"/>
                      </a:lnTo>
                      <a:lnTo>
                        <a:pt x="4" y="176"/>
                      </a:lnTo>
                      <a:lnTo>
                        <a:pt x="8" y="176"/>
                      </a:lnTo>
                      <a:lnTo>
                        <a:pt x="12" y="172"/>
                      </a:lnTo>
                      <a:lnTo>
                        <a:pt x="12" y="168"/>
                      </a:lnTo>
                      <a:lnTo>
                        <a:pt x="16" y="168"/>
                      </a:lnTo>
                      <a:lnTo>
                        <a:pt x="20" y="160"/>
                      </a:lnTo>
                      <a:lnTo>
                        <a:pt x="24" y="160"/>
                      </a:lnTo>
                      <a:lnTo>
                        <a:pt x="24" y="156"/>
                      </a:lnTo>
                      <a:lnTo>
                        <a:pt x="26" y="152"/>
                      </a:lnTo>
                      <a:lnTo>
                        <a:pt x="26" y="156"/>
                      </a:lnTo>
                      <a:lnTo>
                        <a:pt x="26" y="152"/>
                      </a:lnTo>
                      <a:lnTo>
                        <a:pt x="30" y="150"/>
                      </a:lnTo>
                      <a:lnTo>
                        <a:pt x="26" y="150"/>
                      </a:lnTo>
                      <a:lnTo>
                        <a:pt x="30" y="150"/>
                      </a:lnTo>
                      <a:lnTo>
                        <a:pt x="34" y="146"/>
                      </a:lnTo>
                      <a:lnTo>
                        <a:pt x="34" y="142"/>
                      </a:lnTo>
                      <a:lnTo>
                        <a:pt x="30" y="142"/>
                      </a:lnTo>
                      <a:lnTo>
                        <a:pt x="30" y="138"/>
                      </a:lnTo>
                      <a:lnTo>
                        <a:pt x="34" y="138"/>
                      </a:lnTo>
                      <a:lnTo>
                        <a:pt x="34" y="142"/>
                      </a:lnTo>
                      <a:lnTo>
                        <a:pt x="34" y="138"/>
                      </a:lnTo>
                      <a:lnTo>
                        <a:pt x="34" y="134"/>
                      </a:lnTo>
                      <a:lnTo>
                        <a:pt x="34" y="138"/>
                      </a:lnTo>
                      <a:lnTo>
                        <a:pt x="34" y="134"/>
                      </a:lnTo>
                      <a:lnTo>
                        <a:pt x="34" y="130"/>
                      </a:lnTo>
                      <a:lnTo>
                        <a:pt x="38" y="130"/>
                      </a:lnTo>
                      <a:lnTo>
                        <a:pt x="38" y="134"/>
                      </a:lnTo>
                      <a:lnTo>
                        <a:pt x="34" y="138"/>
                      </a:lnTo>
                      <a:lnTo>
                        <a:pt x="34" y="142"/>
                      </a:lnTo>
                      <a:lnTo>
                        <a:pt x="38" y="142"/>
                      </a:lnTo>
                      <a:lnTo>
                        <a:pt x="38" y="146"/>
                      </a:lnTo>
                      <a:lnTo>
                        <a:pt x="38" y="146"/>
                      </a:lnTo>
                      <a:lnTo>
                        <a:pt x="38" y="146"/>
                      </a:lnTo>
                      <a:close/>
                      <a:moveTo>
                        <a:pt x="90" y="152"/>
                      </a:moveTo>
                      <a:lnTo>
                        <a:pt x="94" y="152"/>
                      </a:lnTo>
                      <a:lnTo>
                        <a:pt x="94" y="150"/>
                      </a:lnTo>
                      <a:lnTo>
                        <a:pt x="94" y="146"/>
                      </a:lnTo>
                      <a:lnTo>
                        <a:pt x="96" y="146"/>
                      </a:lnTo>
                      <a:lnTo>
                        <a:pt x="96" y="142"/>
                      </a:lnTo>
                      <a:lnTo>
                        <a:pt x="96" y="138"/>
                      </a:lnTo>
                      <a:lnTo>
                        <a:pt x="96" y="134"/>
                      </a:lnTo>
                      <a:lnTo>
                        <a:pt x="100" y="134"/>
                      </a:lnTo>
                      <a:lnTo>
                        <a:pt x="100" y="138"/>
                      </a:lnTo>
                      <a:lnTo>
                        <a:pt x="100" y="142"/>
                      </a:lnTo>
                      <a:lnTo>
                        <a:pt x="100" y="146"/>
                      </a:lnTo>
                      <a:lnTo>
                        <a:pt x="100" y="150"/>
                      </a:lnTo>
                      <a:lnTo>
                        <a:pt x="96" y="150"/>
                      </a:lnTo>
                      <a:lnTo>
                        <a:pt x="96" y="152"/>
                      </a:lnTo>
                      <a:lnTo>
                        <a:pt x="94" y="152"/>
                      </a:lnTo>
                      <a:lnTo>
                        <a:pt x="94" y="156"/>
                      </a:lnTo>
                      <a:lnTo>
                        <a:pt x="94" y="160"/>
                      </a:lnTo>
                      <a:lnTo>
                        <a:pt x="94" y="164"/>
                      </a:lnTo>
                      <a:lnTo>
                        <a:pt x="90" y="164"/>
                      </a:lnTo>
                      <a:lnTo>
                        <a:pt x="90" y="160"/>
                      </a:lnTo>
                      <a:lnTo>
                        <a:pt x="90" y="156"/>
                      </a:lnTo>
                      <a:lnTo>
                        <a:pt x="90" y="152"/>
                      </a:lnTo>
                      <a:lnTo>
                        <a:pt x="90" y="152"/>
                      </a:lnTo>
                      <a:lnTo>
                        <a:pt x="90" y="152"/>
                      </a:lnTo>
                      <a:close/>
                      <a:moveTo>
                        <a:pt x="90" y="150"/>
                      </a:moveTo>
                      <a:lnTo>
                        <a:pt x="90" y="152"/>
                      </a:lnTo>
                      <a:lnTo>
                        <a:pt x="90" y="156"/>
                      </a:lnTo>
                      <a:lnTo>
                        <a:pt x="86" y="156"/>
                      </a:lnTo>
                      <a:lnTo>
                        <a:pt x="86" y="160"/>
                      </a:lnTo>
                      <a:lnTo>
                        <a:pt x="86" y="164"/>
                      </a:lnTo>
                      <a:lnTo>
                        <a:pt x="90" y="164"/>
                      </a:lnTo>
                      <a:lnTo>
                        <a:pt x="90" y="168"/>
                      </a:lnTo>
                      <a:lnTo>
                        <a:pt x="90" y="172"/>
                      </a:lnTo>
                      <a:lnTo>
                        <a:pt x="86" y="172"/>
                      </a:lnTo>
                      <a:lnTo>
                        <a:pt x="82" y="172"/>
                      </a:lnTo>
                      <a:lnTo>
                        <a:pt x="82" y="168"/>
                      </a:lnTo>
                      <a:lnTo>
                        <a:pt x="82" y="164"/>
                      </a:lnTo>
                      <a:lnTo>
                        <a:pt x="78" y="164"/>
                      </a:lnTo>
                      <a:lnTo>
                        <a:pt x="78" y="160"/>
                      </a:lnTo>
                      <a:lnTo>
                        <a:pt x="74" y="160"/>
                      </a:lnTo>
                      <a:lnTo>
                        <a:pt x="78" y="160"/>
                      </a:lnTo>
                      <a:lnTo>
                        <a:pt x="78" y="156"/>
                      </a:lnTo>
                      <a:lnTo>
                        <a:pt x="82" y="156"/>
                      </a:lnTo>
                      <a:lnTo>
                        <a:pt x="82" y="152"/>
                      </a:lnTo>
                      <a:lnTo>
                        <a:pt x="82" y="150"/>
                      </a:lnTo>
                      <a:lnTo>
                        <a:pt x="82" y="146"/>
                      </a:lnTo>
                      <a:lnTo>
                        <a:pt x="86" y="142"/>
                      </a:lnTo>
                      <a:lnTo>
                        <a:pt x="86" y="138"/>
                      </a:lnTo>
                      <a:lnTo>
                        <a:pt x="90" y="138"/>
                      </a:lnTo>
                      <a:lnTo>
                        <a:pt x="94" y="138"/>
                      </a:lnTo>
                      <a:lnTo>
                        <a:pt x="94" y="142"/>
                      </a:lnTo>
                      <a:lnTo>
                        <a:pt x="94" y="146"/>
                      </a:lnTo>
                      <a:lnTo>
                        <a:pt x="90" y="146"/>
                      </a:lnTo>
                      <a:lnTo>
                        <a:pt x="90" y="150"/>
                      </a:lnTo>
                      <a:lnTo>
                        <a:pt x="90" y="150"/>
                      </a:lnTo>
                      <a:lnTo>
                        <a:pt x="90" y="150"/>
                      </a:lnTo>
                      <a:close/>
                      <a:moveTo>
                        <a:pt x="122" y="156"/>
                      </a:moveTo>
                      <a:lnTo>
                        <a:pt x="120" y="152"/>
                      </a:lnTo>
                      <a:lnTo>
                        <a:pt x="120" y="150"/>
                      </a:lnTo>
                      <a:lnTo>
                        <a:pt x="122" y="146"/>
                      </a:lnTo>
                      <a:lnTo>
                        <a:pt x="122" y="150"/>
                      </a:lnTo>
                      <a:lnTo>
                        <a:pt x="122" y="152"/>
                      </a:lnTo>
                      <a:lnTo>
                        <a:pt x="122" y="156"/>
                      </a:lnTo>
                      <a:lnTo>
                        <a:pt x="122" y="156"/>
                      </a:lnTo>
                      <a:lnTo>
                        <a:pt x="122" y="156"/>
                      </a:lnTo>
                      <a:close/>
                      <a:moveTo>
                        <a:pt x="108" y="152"/>
                      </a:moveTo>
                      <a:lnTo>
                        <a:pt x="108" y="156"/>
                      </a:lnTo>
                      <a:lnTo>
                        <a:pt x="108" y="160"/>
                      </a:lnTo>
                      <a:lnTo>
                        <a:pt x="104" y="160"/>
                      </a:lnTo>
                      <a:lnTo>
                        <a:pt x="100" y="160"/>
                      </a:lnTo>
                      <a:lnTo>
                        <a:pt x="96" y="160"/>
                      </a:lnTo>
                      <a:lnTo>
                        <a:pt x="96" y="156"/>
                      </a:lnTo>
                      <a:lnTo>
                        <a:pt x="100" y="156"/>
                      </a:lnTo>
                      <a:lnTo>
                        <a:pt x="100" y="152"/>
                      </a:lnTo>
                      <a:lnTo>
                        <a:pt x="104" y="152"/>
                      </a:lnTo>
                      <a:lnTo>
                        <a:pt x="108" y="152"/>
                      </a:lnTo>
                      <a:lnTo>
                        <a:pt x="108" y="152"/>
                      </a:lnTo>
                      <a:lnTo>
                        <a:pt x="108" y="152"/>
                      </a:lnTo>
                      <a:close/>
                      <a:moveTo>
                        <a:pt x="116" y="156"/>
                      </a:moveTo>
                      <a:lnTo>
                        <a:pt x="116" y="152"/>
                      </a:lnTo>
                      <a:lnTo>
                        <a:pt x="116" y="156"/>
                      </a:lnTo>
                      <a:lnTo>
                        <a:pt x="116" y="156"/>
                      </a:lnTo>
                      <a:lnTo>
                        <a:pt x="116" y="156"/>
                      </a:lnTo>
                      <a:close/>
                      <a:moveTo>
                        <a:pt x="126" y="160"/>
                      </a:moveTo>
                      <a:lnTo>
                        <a:pt x="126" y="156"/>
                      </a:lnTo>
                      <a:lnTo>
                        <a:pt x="126" y="152"/>
                      </a:lnTo>
                      <a:lnTo>
                        <a:pt x="130" y="156"/>
                      </a:lnTo>
                      <a:lnTo>
                        <a:pt x="130" y="160"/>
                      </a:lnTo>
                      <a:lnTo>
                        <a:pt x="126" y="160"/>
                      </a:lnTo>
                      <a:lnTo>
                        <a:pt x="126" y="160"/>
                      </a:lnTo>
                      <a:lnTo>
                        <a:pt x="126" y="160"/>
                      </a:lnTo>
                      <a:close/>
                      <a:moveTo>
                        <a:pt x="74" y="202"/>
                      </a:moveTo>
                      <a:lnTo>
                        <a:pt x="74" y="206"/>
                      </a:lnTo>
                      <a:lnTo>
                        <a:pt x="74" y="208"/>
                      </a:lnTo>
                      <a:lnTo>
                        <a:pt x="70" y="208"/>
                      </a:lnTo>
                      <a:lnTo>
                        <a:pt x="70" y="206"/>
                      </a:lnTo>
                      <a:lnTo>
                        <a:pt x="70" y="202"/>
                      </a:lnTo>
                      <a:lnTo>
                        <a:pt x="70" y="198"/>
                      </a:lnTo>
                      <a:lnTo>
                        <a:pt x="70" y="194"/>
                      </a:lnTo>
                      <a:lnTo>
                        <a:pt x="74" y="194"/>
                      </a:lnTo>
                      <a:lnTo>
                        <a:pt x="74" y="190"/>
                      </a:lnTo>
                      <a:lnTo>
                        <a:pt x="78" y="186"/>
                      </a:lnTo>
                      <a:lnTo>
                        <a:pt x="78" y="190"/>
                      </a:lnTo>
                      <a:lnTo>
                        <a:pt x="82" y="186"/>
                      </a:lnTo>
                      <a:lnTo>
                        <a:pt x="86" y="186"/>
                      </a:lnTo>
                      <a:lnTo>
                        <a:pt x="86" y="182"/>
                      </a:lnTo>
                      <a:lnTo>
                        <a:pt x="86" y="180"/>
                      </a:lnTo>
                      <a:lnTo>
                        <a:pt x="90" y="180"/>
                      </a:lnTo>
                      <a:lnTo>
                        <a:pt x="90" y="176"/>
                      </a:lnTo>
                      <a:lnTo>
                        <a:pt x="94" y="180"/>
                      </a:lnTo>
                      <a:lnTo>
                        <a:pt x="96" y="180"/>
                      </a:lnTo>
                      <a:lnTo>
                        <a:pt x="96" y="182"/>
                      </a:lnTo>
                      <a:lnTo>
                        <a:pt x="96" y="186"/>
                      </a:lnTo>
                      <a:lnTo>
                        <a:pt x="96" y="190"/>
                      </a:lnTo>
                      <a:lnTo>
                        <a:pt x="94" y="190"/>
                      </a:lnTo>
                      <a:lnTo>
                        <a:pt x="96" y="190"/>
                      </a:lnTo>
                      <a:lnTo>
                        <a:pt x="96" y="186"/>
                      </a:lnTo>
                      <a:lnTo>
                        <a:pt x="100" y="186"/>
                      </a:lnTo>
                      <a:lnTo>
                        <a:pt x="104" y="186"/>
                      </a:lnTo>
                      <a:lnTo>
                        <a:pt x="104" y="182"/>
                      </a:lnTo>
                      <a:lnTo>
                        <a:pt x="100" y="182"/>
                      </a:lnTo>
                      <a:lnTo>
                        <a:pt x="104" y="182"/>
                      </a:lnTo>
                      <a:lnTo>
                        <a:pt x="104" y="180"/>
                      </a:lnTo>
                      <a:lnTo>
                        <a:pt x="108" y="180"/>
                      </a:lnTo>
                      <a:lnTo>
                        <a:pt x="108" y="182"/>
                      </a:lnTo>
                      <a:lnTo>
                        <a:pt x="108" y="180"/>
                      </a:lnTo>
                      <a:lnTo>
                        <a:pt x="108" y="176"/>
                      </a:lnTo>
                      <a:lnTo>
                        <a:pt x="112" y="176"/>
                      </a:lnTo>
                      <a:lnTo>
                        <a:pt x="112" y="172"/>
                      </a:lnTo>
                      <a:lnTo>
                        <a:pt x="112" y="176"/>
                      </a:lnTo>
                      <a:lnTo>
                        <a:pt x="116" y="176"/>
                      </a:lnTo>
                      <a:lnTo>
                        <a:pt x="116" y="172"/>
                      </a:lnTo>
                      <a:lnTo>
                        <a:pt x="120" y="172"/>
                      </a:lnTo>
                      <a:lnTo>
                        <a:pt x="120" y="168"/>
                      </a:lnTo>
                      <a:lnTo>
                        <a:pt x="120" y="164"/>
                      </a:lnTo>
                      <a:lnTo>
                        <a:pt x="120" y="160"/>
                      </a:lnTo>
                      <a:lnTo>
                        <a:pt x="120" y="156"/>
                      </a:lnTo>
                      <a:lnTo>
                        <a:pt x="120" y="160"/>
                      </a:lnTo>
                      <a:lnTo>
                        <a:pt x="122" y="160"/>
                      </a:lnTo>
                      <a:lnTo>
                        <a:pt x="122" y="164"/>
                      </a:lnTo>
                      <a:lnTo>
                        <a:pt x="126" y="164"/>
                      </a:lnTo>
                      <a:lnTo>
                        <a:pt x="126" y="168"/>
                      </a:lnTo>
                      <a:lnTo>
                        <a:pt x="130" y="168"/>
                      </a:lnTo>
                      <a:lnTo>
                        <a:pt x="130" y="172"/>
                      </a:lnTo>
                      <a:lnTo>
                        <a:pt x="130" y="176"/>
                      </a:lnTo>
                      <a:lnTo>
                        <a:pt x="130" y="180"/>
                      </a:lnTo>
                      <a:lnTo>
                        <a:pt x="126" y="180"/>
                      </a:lnTo>
                      <a:lnTo>
                        <a:pt x="130" y="180"/>
                      </a:lnTo>
                      <a:lnTo>
                        <a:pt x="134" y="180"/>
                      </a:lnTo>
                      <a:lnTo>
                        <a:pt x="134" y="182"/>
                      </a:lnTo>
                      <a:lnTo>
                        <a:pt x="130" y="182"/>
                      </a:lnTo>
                      <a:lnTo>
                        <a:pt x="130" y="186"/>
                      </a:lnTo>
                      <a:lnTo>
                        <a:pt x="134" y="186"/>
                      </a:lnTo>
                      <a:lnTo>
                        <a:pt x="134" y="190"/>
                      </a:lnTo>
                      <a:lnTo>
                        <a:pt x="134" y="194"/>
                      </a:lnTo>
                      <a:lnTo>
                        <a:pt x="134" y="198"/>
                      </a:lnTo>
                      <a:lnTo>
                        <a:pt x="134" y="202"/>
                      </a:lnTo>
                      <a:lnTo>
                        <a:pt x="134" y="206"/>
                      </a:lnTo>
                      <a:lnTo>
                        <a:pt x="130" y="206"/>
                      </a:lnTo>
                      <a:lnTo>
                        <a:pt x="130" y="208"/>
                      </a:lnTo>
                      <a:lnTo>
                        <a:pt x="130" y="212"/>
                      </a:lnTo>
                      <a:lnTo>
                        <a:pt x="130" y="216"/>
                      </a:lnTo>
                      <a:lnTo>
                        <a:pt x="130" y="220"/>
                      </a:lnTo>
                      <a:lnTo>
                        <a:pt x="130" y="216"/>
                      </a:lnTo>
                      <a:lnTo>
                        <a:pt x="126" y="216"/>
                      </a:lnTo>
                      <a:lnTo>
                        <a:pt x="126" y="212"/>
                      </a:lnTo>
                      <a:lnTo>
                        <a:pt x="130" y="212"/>
                      </a:lnTo>
                      <a:lnTo>
                        <a:pt x="126" y="208"/>
                      </a:lnTo>
                      <a:lnTo>
                        <a:pt x="126" y="206"/>
                      </a:lnTo>
                      <a:lnTo>
                        <a:pt x="126" y="202"/>
                      </a:lnTo>
                      <a:lnTo>
                        <a:pt x="122" y="202"/>
                      </a:lnTo>
                      <a:lnTo>
                        <a:pt x="122" y="206"/>
                      </a:lnTo>
                      <a:lnTo>
                        <a:pt x="120" y="206"/>
                      </a:lnTo>
                      <a:lnTo>
                        <a:pt x="120" y="208"/>
                      </a:lnTo>
                      <a:lnTo>
                        <a:pt x="120" y="212"/>
                      </a:lnTo>
                      <a:lnTo>
                        <a:pt x="122" y="216"/>
                      </a:lnTo>
                      <a:lnTo>
                        <a:pt x="122" y="220"/>
                      </a:lnTo>
                      <a:lnTo>
                        <a:pt x="122" y="224"/>
                      </a:lnTo>
                      <a:lnTo>
                        <a:pt x="122" y="228"/>
                      </a:lnTo>
                      <a:lnTo>
                        <a:pt x="120" y="228"/>
                      </a:lnTo>
                      <a:lnTo>
                        <a:pt x="120" y="232"/>
                      </a:lnTo>
                      <a:lnTo>
                        <a:pt x="116" y="232"/>
                      </a:lnTo>
                      <a:lnTo>
                        <a:pt x="120" y="232"/>
                      </a:lnTo>
                      <a:lnTo>
                        <a:pt x="116" y="228"/>
                      </a:lnTo>
                      <a:lnTo>
                        <a:pt x="116" y="224"/>
                      </a:lnTo>
                      <a:lnTo>
                        <a:pt x="116" y="220"/>
                      </a:lnTo>
                      <a:lnTo>
                        <a:pt x="116" y="224"/>
                      </a:lnTo>
                      <a:lnTo>
                        <a:pt x="116" y="228"/>
                      </a:lnTo>
                      <a:lnTo>
                        <a:pt x="112" y="228"/>
                      </a:lnTo>
                      <a:lnTo>
                        <a:pt x="108" y="224"/>
                      </a:lnTo>
                      <a:lnTo>
                        <a:pt x="104" y="224"/>
                      </a:lnTo>
                      <a:lnTo>
                        <a:pt x="104" y="220"/>
                      </a:lnTo>
                      <a:lnTo>
                        <a:pt x="100" y="220"/>
                      </a:lnTo>
                      <a:lnTo>
                        <a:pt x="100" y="216"/>
                      </a:lnTo>
                      <a:lnTo>
                        <a:pt x="100" y="212"/>
                      </a:lnTo>
                      <a:lnTo>
                        <a:pt x="100" y="208"/>
                      </a:lnTo>
                      <a:lnTo>
                        <a:pt x="96" y="208"/>
                      </a:lnTo>
                      <a:lnTo>
                        <a:pt x="100" y="206"/>
                      </a:lnTo>
                      <a:lnTo>
                        <a:pt x="104" y="202"/>
                      </a:lnTo>
                      <a:lnTo>
                        <a:pt x="100" y="198"/>
                      </a:lnTo>
                      <a:lnTo>
                        <a:pt x="100" y="202"/>
                      </a:lnTo>
                      <a:lnTo>
                        <a:pt x="100" y="198"/>
                      </a:lnTo>
                      <a:lnTo>
                        <a:pt x="100" y="194"/>
                      </a:lnTo>
                      <a:lnTo>
                        <a:pt x="96" y="194"/>
                      </a:lnTo>
                      <a:lnTo>
                        <a:pt x="94" y="194"/>
                      </a:lnTo>
                      <a:lnTo>
                        <a:pt x="94" y="190"/>
                      </a:lnTo>
                      <a:lnTo>
                        <a:pt x="94" y="194"/>
                      </a:lnTo>
                      <a:lnTo>
                        <a:pt x="90" y="194"/>
                      </a:lnTo>
                      <a:lnTo>
                        <a:pt x="94" y="194"/>
                      </a:lnTo>
                      <a:lnTo>
                        <a:pt x="94" y="198"/>
                      </a:lnTo>
                      <a:lnTo>
                        <a:pt x="90" y="198"/>
                      </a:lnTo>
                      <a:lnTo>
                        <a:pt x="94" y="202"/>
                      </a:lnTo>
                      <a:lnTo>
                        <a:pt x="90" y="202"/>
                      </a:lnTo>
                      <a:lnTo>
                        <a:pt x="90" y="198"/>
                      </a:lnTo>
                      <a:lnTo>
                        <a:pt x="86" y="198"/>
                      </a:lnTo>
                      <a:lnTo>
                        <a:pt x="90" y="198"/>
                      </a:lnTo>
                      <a:lnTo>
                        <a:pt x="86" y="198"/>
                      </a:lnTo>
                      <a:lnTo>
                        <a:pt x="90" y="198"/>
                      </a:lnTo>
                      <a:lnTo>
                        <a:pt x="86" y="198"/>
                      </a:lnTo>
                      <a:lnTo>
                        <a:pt x="86" y="194"/>
                      </a:lnTo>
                      <a:lnTo>
                        <a:pt x="86" y="198"/>
                      </a:lnTo>
                      <a:lnTo>
                        <a:pt x="82" y="198"/>
                      </a:lnTo>
                      <a:lnTo>
                        <a:pt x="82" y="194"/>
                      </a:lnTo>
                      <a:lnTo>
                        <a:pt x="78" y="194"/>
                      </a:lnTo>
                      <a:lnTo>
                        <a:pt x="78" y="198"/>
                      </a:lnTo>
                      <a:lnTo>
                        <a:pt x="74" y="198"/>
                      </a:lnTo>
                      <a:lnTo>
                        <a:pt x="74" y="202"/>
                      </a:lnTo>
                      <a:lnTo>
                        <a:pt x="74" y="202"/>
                      </a:lnTo>
                      <a:lnTo>
                        <a:pt x="74" y="202"/>
                      </a:lnTo>
                      <a:close/>
                      <a:moveTo>
                        <a:pt x="126" y="164"/>
                      </a:moveTo>
                      <a:lnTo>
                        <a:pt x="126" y="160"/>
                      </a:lnTo>
                      <a:lnTo>
                        <a:pt x="126" y="164"/>
                      </a:lnTo>
                      <a:lnTo>
                        <a:pt x="126" y="164"/>
                      </a:lnTo>
                      <a:lnTo>
                        <a:pt x="126" y="164"/>
                      </a:lnTo>
                      <a:close/>
                      <a:moveTo>
                        <a:pt x="108" y="172"/>
                      </a:moveTo>
                      <a:lnTo>
                        <a:pt x="108" y="168"/>
                      </a:lnTo>
                      <a:lnTo>
                        <a:pt x="112" y="168"/>
                      </a:lnTo>
                      <a:lnTo>
                        <a:pt x="112" y="172"/>
                      </a:lnTo>
                      <a:lnTo>
                        <a:pt x="108" y="172"/>
                      </a:lnTo>
                      <a:lnTo>
                        <a:pt x="108" y="172"/>
                      </a:lnTo>
                      <a:lnTo>
                        <a:pt x="108" y="172"/>
                      </a:lnTo>
                      <a:close/>
                      <a:moveTo>
                        <a:pt x="122" y="208"/>
                      </a:moveTo>
                      <a:lnTo>
                        <a:pt x="122" y="206"/>
                      </a:lnTo>
                      <a:lnTo>
                        <a:pt x="122" y="208"/>
                      </a:lnTo>
                      <a:lnTo>
                        <a:pt x="122" y="208"/>
                      </a:lnTo>
                      <a:lnTo>
                        <a:pt x="122" y="208"/>
                      </a:lnTo>
                      <a:close/>
                      <a:moveTo>
                        <a:pt x="70" y="216"/>
                      </a:moveTo>
                      <a:lnTo>
                        <a:pt x="66" y="212"/>
                      </a:lnTo>
                      <a:lnTo>
                        <a:pt x="70" y="212"/>
                      </a:lnTo>
                      <a:lnTo>
                        <a:pt x="74" y="212"/>
                      </a:lnTo>
                      <a:lnTo>
                        <a:pt x="74" y="216"/>
                      </a:lnTo>
                      <a:lnTo>
                        <a:pt x="70" y="216"/>
                      </a:lnTo>
                      <a:lnTo>
                        <a:pt x="70" y="216"/>
                      </a:lnTo>
                      <a:lnTo>
                        <a:pt x="70" y="216"/>
                      </a:lnTo>
                      <a:close/>
                      <a:moveTo>
                        <a:pt x="60" y="228"/>
                      </a:moveTo>
                      <a:lnTo>
                        <a:pt x="60" y="224"/>
                      </a:lnTo>
                      <a:lnTo>
                        <a:pt x="56" y="228"/>
                      </a:lnTo>
                      <a:lnTo>
                        <a:pt x="56" y="224"/>
                      </a:lnTo>
                      <a:lnTo>
                        <a:pt x="60" y="224"/>
                      </a:lnTo>
                      <a:lnTo>
                        <a:pt x="64" y="224"/>
                      </a:lnTo>
                      <a:lnTo>
                        <a:pt x="60" y="228"/>
                      </a:lnTo>
                      <a:lnTo>
                        <a:pt x="60" y="228"/>
                      </a:lnTo>
                      <a:lnTo>
                        <a:pt x="60" y="228"/>
                      </a:lnTo>
                      <a:close/>
                      <a:moveTo>
                        <a:pt x="42" y="238"/>
                      </a:moveTo>
                      <a:lnTo>
                        <a:pt x="42" y="236"/>
                      </a:lnTo>
                      <a:lnTo>
                        <a:pt x="46" y="236"/>
                      </a:lnTo>
                      <a:lnTo>
                        <a:pt x="46" y="238"/>
                      </a:lnTo>
                      <a:lnTo>
                        <a:pt x="42" y="238"/>
                      </a:lnTo>
                      <a:lnTo>
                        <a:pt x="42" y="238"/>
                      </a:lnTo>
                      <a:lnTo>
                        <a:pt x="42" y="23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0" name="Freeform 49"/>
                <p:cNvSpPr>
                  <a:spLocks/>
                </p:cNvSpPr>
                <p:nvPr/>
              </p:nvSpPr>
              <p:spPr bwMode="auto">
                <a:xfrm>
                  <a:off x="5537200" y="3841818"/>
                  <a:ext cx="15875" cy="41275"/>
                </a:xfrm>
                <a:custGeom>
                  <a:avLst/>
                  <a:gdLst>
                    <a:gd name="T0" fmla="*/ 6 w 10"/>
                    <a:gd name="T1" fmla="*/ 26 h 26"/>
                    <a:gd name="T2" fmla="*/ 6 w 10"/>
                    <a:gd name="T3" fmla="*/ 26 h 26"/>
                    <a:gd name="T4" fmla="*/ 6 w 10"/>
                    <a:gd name="T5" fmla="*/ 26 h 26"/>
                    <a:gd name="T6" fmla="*/ 6 w 10"/>
                    <a:gd name="T7" fmla="*/ 26 h 26"/>
                    <a:gd name="T8" fmla="*/ 4 w 10"/>
                    <a:gd name="T9" fmla="*/ 26 h 26"/>
                    <a:gd name="T10" fmla="*/ 4 w 10"/>
                    <a:gd name="T11" fmla="*/ 26 h 26"/>
                    <a:gd name="T12" fmla="*/ 0 w 10"/>
                    <a:gd name="T13" fmla="*/ 26 h 26"/>
                    <a:gd name="T14" fmla="*/ 0 w 10"/>
                    <a:gd name="T15" fmla="*/ 22 h 26"/>
                    <a:gd name="T16" fmla="*/ 0 w 10"/>
                    <a:gd name="T17" fmla="*/ 22 h 26"/>
                    <a:gd name="T18" fmla="*/ 0 w 10"/>
                    <a:gd name="T19" fmla="*/ 22 h 26"/>
                    <a:gd name="T20" fmla="*/ 0 w 10"/>
                    <a:gd name="T21" fmla="*/ 18 h 26"/>
                    <a:gd name="T22" fmla="*/ 0 w 10"/>
                    <a:gd name="T23" fmla="*/ 14 h 26"/>
                    <a:gd name="T24" fmla="*/ 0 w 10"/>
                    <a:gd name="T25" fmla="*/ 10 h 26"/>
                    <a:gd name="T26" fmla="*/ 0 w 10"/>
                    <a:gd name="T27" fmla="*/ 10 h 26"/>
                    <a:gd name="T28" fmla="*/ 0 w 10"/>
                    <a:gd name="T29" fmla="*/ 10 h 26"/>
                    <a:gd name="T30" fmla="*/ 0 w 10"/>
                    <a:gd name="T31" fmla="*/ 10 h 26"/>
                    <a:gd name="T32" fmla="*/ 0 w 10"/>
                    <a:gd name="T33" fmla="*/ 6 h 26"/>
                    <a:gd name="T34" fmla="*/ 0 w 10"/>
                    <a:gd name="T35" fmla="*/ 6 h 26"/>
                    <a:gd name="T36" fmla="*/ 0 w 10"/>
                    <a:gd name="T37" fmla="*/ 6 h 26"/>
                    <a:gd name="T38" fmla="*/ 0 w 10"/>
                    <a:gd name="T39" fmla="*/ 6 h 26"/>
                    <a:gd name="T40" fmla="*/ 0 w 10"/>
                    <a:gd name="T41" fmla="*/ 6 h 26"/>
                    <a:gd name="T42" fmla="*/ 0 w 10"/>
                    <a:gd name="T43" fmla="*/ 2 h 26"/>
                    <a:gd name="T44" fmla="*/ 0 w 10"/>
                    <a:gd name="T45" fmla="*/ 2 h 26"/>
                    <a:gd name="T46" fmla="*/ 0 w 10"/>
                    <a:gd name="T47" fmla="*/ 2 h 26"/>
                    <a:gd name="T48" fmla="*/ 0 w 10"/>
                    <a:gd name="T49" fmla="*/ 2 h 26"/>
                    <a:gd name="T50" fmla="*/ 4 w 10"/>
                    <a:gd name="T51" fmla="*/ 0 h 26"/>
                    <a:gd name="T52" fmla="*/ 4 w 10"/>
                    <a:gd name="T53" fmla="*/ 0 h 26"/>
                    <a:gd name="T54" fmla="*/ 6 w 10"/>
                    <a:gd name="T55" fmla="*/ 0 h 26"/>
                    <a:gd name="T56" fmla="*/ 6 w 10"/>
                    <a:gd name="T57" fmla="*/ 0 h 26"/>
                    <a:gd name="T58" fmla="*/ 6 w 10"/>
                    <a:gd name="T59" fmla="*/ 2 h 26"/>
                    <a:gd name="T60" fmla="*/ 6 w 10"/>
                    <a:gd name="T61" fmla="*/ 2 h 26"/>
                    <a:gd name="T62" fmla="*/ 10 w 10"/>
                    <a:gd name="T63" fmla="*/ 2 h 26"/>
                    <a:gd name="T64" fmla="*/ 10 w 10"/>
                    <a:gd name="T65" fmla="*/ 6 h 26"/>
                    <a:gd name="T66" fmla="*/ 10 w 10"/>
                    <a:gd name="T67" fmla="*/ 6 h 26"/>
                    <a:gd name="T68" fmla="*/ 6 w 10"/>
                    <a:gd name="T69" fmla="*/ 6 h 26"/>
                    <a:gd name="T70" fmla="*/ 6 w 10"/>
                    <a:gd name="T71" fmla="*/ 10 h 26"/>
                    <a:gd name="T72" fmla="*/ 6 w 10"/>
                    <a:gd name="T73" fmla="*/ 10 h 26"/>
                    <a:gd name="T74" fmla="*/ 10 w 10"/>
                    <a:gd name="T75" fmla="*/ 10 h 26"/>
                    <a:gd name="T76" fmla="*/ 6 w 10"/>
                    <a:gd name="T77" fmla="*/ 14 h 26"/>
                    <a:gd name="T78" fmla="*/ 10 w 10"/>
                    <a:gd name="T79" fmla="*/ 14 h 26"/>
                    <a:gd name="T80" fmla="*/ 10 w 10"/>
                    <a:gd name="T81" fmla="*/ 14 h 26"/>
                    <a:gd name="T82" fmla="*/ 10 w 10"/>
                    <a:gd name="T83" fmla="*/ 14 h 26"/>
                    <a:gd name="T84" fmla="*/ 10 w 10"/>
                    <a:gd name="T85" fmla="*/ 22 h 26"/>
                    <a:gd name="T86" fmla="*/ 6 w 10"/>
                    <a:gd name="T87" fmla="*/ 22 h 26"/>
                    <a:gd name="T88" fmla="*/ 6 w 10"/>
                    <a:gd name="T89" fmla="*/ 22 h 26"/>
                    <a:gd name="T90" fmla="*/ 6 w 10"/>
                    <a:gd name="T91" fmla="*/ 2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0" h="26">
                      <a:moveTo>
                        <a:pt x="6" y="22"/>
                      </a:moveTo>
                      <a:lnTo>
                        <a:pt x="6" y="26"/>
                      </a:lnTo>
                      <a:lnTo>
                        <a:pt x="6" y="26"/>
                      </a:lnTo>
                      <a:lnTo>
                        <a:pt x="6" y="26"/>
                      </a:lnTo>
                      <a:lnTo>
                        <a:pt x="6" y="26"/>
                      </a:lnTo>
                      <a:lnTo>
                        <a:pt x="6" y="26"/>
                      </a:lnTo>
                      <a:lnTo>
                        <a:pt x="6" y="26"/>
                      </a:lnTo>
                      <a:lnTo>
                        <a:pt x="6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4"/>
                      </a:lnTo>
                      <a:lnTo>
                        <a:pt x="0" y="14"/>
                      </a:lnTo>
                      <a:lnTo>
                        <a:pt x="0" y="14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10" y="2"/>
                      </a:lnTo>
                      <a:lnTo>
                        <a:pt x="10" y="2"/>
                      </a:lnTo>
                      <a:lnTo>
                        <a:pt x="10" y="2"/>
                      </a:lnTo>
                      <a:lnTo>
                        <a:pt x="10" y="6"/>
                      </a:lnTo>
                      <a:lnTo>
                        <a:pt x="10" y="6"/>
                      </a:lnTo>
                      <a:lnTo>
                        <a:pt x="10" y="6"/>
                      </a:lnTo>
                      <a:lnTo>
                        <a:pt x="6" y="6"/>
                      </a:lnTo>
                      <a:lnTo>
                        <a:pt x="6" y="6"/>
                      </a:lnTo>
                      <a:lnTo>
                        <a:pt x="6" y="6"/>
                      </a:lnTo>
                      <a:lnTo>
                        <a:pt x="6" y="10"/>
                      </a:lnTo>
                      <a:lnTo>
                        <a:pt x="6" y="10"/>
                      </a:lnTo>
                      <a:lnTo>
                        <a:pt x="6" y="10"/>
                      </a:lnTo>
                      <a:lnTo>
                        <a:pt x="10" y="10"/>
                      </a:lnTo>
                      <a:lnTo>
                        <a:pt x="10" y="10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10" y="14"/>
                      </a:lnTo>
                      <a:lnTo>
                        <a:pt x="10" y="14"/>
                      </a:lnTo>
                      <a:lnTo>
                        <a:pt x="10" y="14"/>
                      </a:lnTo>
                      <a:lnTo>
                        <a:pt x="10" y="14"/>
                      </a:lnTo>
                      <a:lnTo>
                        <a:pt x="10" y="14"/>
                      </a:lnTo>
                      <a:lnTo>
                        <a:pt x="10" y="14"/>
                      </a:lnTo>
                      <a:lnTo>
                        <a:pt x="10" y="18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6" y="22"/>
                      </a:lnTo>
                      <a:lnTo>
                        <a:pt x="6" y="22"/>
                      </a:lnTo>
                      <a:lnTo>
                        <a:pt x="6" y="22"/>
                      </a:lnTo>
                      <a:lnTo>
                        <a:pt x="6" y="22"/>
                      </a:lnTo>
                      <a:lnTo>
                        <a:pt x="6" y="2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1" name="Freeform 50"/>
                <p:cNvSpPr>
                  <a:spLocks noEditPoints="1"/>
                </p:cNvSpPr>
                <p:nvPr/>
              </p:nvSpPr>
              <p:spPr bwMode="auto">
                <a:xfrm>
                  <a:off x="5168900" y="3664018"/>
                  <a:ext cx="473075" cy="447675"/>
                </a:xfrm>
                <a:custGeom>
                  <a:avLst/>
                  <a:gdLst>
                    <a:gd name="T0" fmla="*/ 232 w 298"/>
                    <a:gd name="T1" fmla="*/ 240 h 282"/>
                    <a:gd name="T2" fmla="*/ 186 w 298"/>
                    <a:gd name="T3" fmla="*/ 264 h 282"/>
                    <a:gd name="T4" fmla="*/ 172 w 298"/>
                    <a:gd name="T5" fmla="*/ 268 h 282"/>
                    <a:gd name="T6" fmla="*/ 142 w 298"/>
                    <a:gd name="T7" fmla="*/ 264 h 282"/>
                    <a:gd name="T8" fmla="*/ 130 w 298"/>
                    <a:gd name="T9" fmla="*/ 264 h 282"/>
                    <a:gd name="T10" fmla="*/ 122 w 298"/>
                    <a:gd name="T11" fmla="*/ 270 h 282"/>
                    <a:gd name="T12" fmla="*/ 120 w 298"/>
                    <a:gd name="T13" fmla="*/ 282 h 282"/>
                    <a:gd name="T14" fmla="*/ 112 w 298"/>
                    <a:gd name="T15" fmla="*/ 274 h 282"/>
                    <a:gd name="T16" fmla="*/ 112 w 298"/>
                    <a:gd name="T17" fmla="*/ 268 h 282"/>
                    <a:gd name="T18" fmla="*/ 104 w 298"/>
                    <a:gd name="T19" fmla="*/ 256 h 282"/>
                    <a:gd name="T20" fmla="*/ 96 w 298"/>
                    <a:gd name="T21" fmla="*/ 248 h 282"/>
                    <a:gd name="T22" fmla="*/ 96 w 298"/>
                    <a:gd name="T23" fmla="*/ 238 h 282"/>
                    <a:gd name="T24" fmla="*/ 90 w 298"/>
                    <a:gd name="T25" fmla="*/ 226 h 282"/>
                    <a:gd name="T26" fmla="*/ 82 w 298"/>
                    <a:gd name="T27" fmla="*/ 218 h 282"/>
                    <a:gd name="T28" fmla="*/ 74 w 298"/>
                    <a:gd name="T29" fmla="*/ 212 h 282"/>
                    <a:gd name="T30" fmla="*/ 66 w 298"/>
                    <a:gd name="T31" fmla="*/ 204 h 282"/>
                    <a:gd name="T32" fmla="*/ 64 w 298"/>
                    <a:gd name="T33" fmla="*/ 190 h 282"/>
                    <a:gd name="T34" fmla="*/ 64 w 298"/>
                    <a:gd name="T35" fmla="*/ 174 h 282"/>
                    <a:gd name="T36" fmla="*/ 64 w 298"/>
                    <a:gd name="T37" fmla="*/ 168 h 282"/>
                    <a:gd name="T38" fmla="*/ 56 w 298"/>
                    <a:gd name="T39" fmla="*/ 152 h 282"/>
                    <a:gd name="T40" fmla="*/ 44 w 298"/>
                    <a:gd name="T41" fmla="*/ 142 h 282"/>
                    <a:gd name="T42" fmla="*/ 40 w 298"/>
                    <a:gd name="T43" fmla="*/ 138 h 282"/>
                    <a:gd name="T44" fmla="*/ 36 w 298"/>
                    <a:gd name="T45" fmla="*/ 126 h 282"/>
                    <a:gd name="T46" fmla="*/ 34 w 298"/>
                    <a:gd name="T47" fmla="*/ 118 h 282"/>
                    <a:gd name="T48" fmla="*/ 26 w 298"/>
                    <a:gd name="T49" fmla="*/ 112 h 282"/>
                    <a:gd name="T50" fmla="*/ 22 w 298"/>
                    <a:gd name="T51" fmla="*/ 96 h 282"/>
                    <a:gd name="T52" fmla="*/ 14 w 298"/>
                    <a:gd name="T53" fmla="*/ 90 h 282"/>
                    <a:gd name="T54" fmla="*/ 10 w 298"/>
                    <a:gd name="T55" fmla="*/ 78 h 282"/>
                    <a:gd name="T56" fmla="*/ 4 w 298"/>
                    <a:gd name="T57" fmla="*/ 70 h 282"/>
                    <a:gd name="T58" fmla="*/ 4 w 298"/>
                    <a:gd name="T59" fmla="*/ 56 h 282"/>
                    <a:gd name="T60" fmla="*/ 22 w 298"/>
                    <a:gd name="T61" fmla="*/ 56 h 282"/>
                    <a:gd name="T62" fmla="*/ 36 w 298"/>
                    <a:gd name="T63" fmla="*/ 40 h 282"/>
                    <a:gd name="T64" fmla="*/ 44 w 298"/>
                    <a:gd name="T65" fmla="*/ 22 h 282"/>
                    <a:gd name="T66" fmla="*/ 36 w 298"/>
                    <a:gd name="T67" fmla="*/ 10 h 282"/>
                    <a:gd name="T68" fmla="*/ 56 w 298"/>
                    <a:gd name="T69" fmla="*/ 8 h 282"/>
                    <a:gd name="T70" fmla="*/ 78 w 298"/>
                    <a:gd name="T71" fmla="*/ 4 h 282"/>
                    <a:gd name="T72" fmla="*/ 120 w 298"/>
                    <a:gd name="T73" fmla="*/ 30 h 282"/>
                    <a:gd name="T74" fmla="*/ 164 w 298"/>
                    <a:gd name="T75" fmla="*/ 56 h 282"/>
                    <a:gd name="T76" fmla="*/ 182 w 298"/>
                    <a:gd name="T77" fmla="*/ 60 h 282"/>
                    <a:gd name="T78" fmla="*/ 198 w 298"/>
                    <a:gd name="T79" fmla="*/ 66 h 282"/>
                    <a:gd name="T80" fmla="*/ 202 w 298"/>
                    <a:gd name="T81" fmla="*/ 78 h 282"/>
                    <a:gd name="T82" fmla="*/ 206 w 298"/>
                    <a:gd name="T83" fmla="*/ 86 h 282"/>
                    <a:gd name="T84" fmla="*/ 206 w 298"/>
                    <a:gd name="T85" fmla="*/ 86 h 282"/>
                    <a:gd name="T86" fmla="*/ 212 w 298"/>
                    <a:gd name="T87" fmla="*/ 96 h 282"/>
                    <a:gd name="T88" fmla="*/ 220 w 298"/>
                    <a:gd name="T89" fmla="*/ 104 h 282"/>
                    <a:gd name="T90" fmla="*/ 220 w 298"/>
                    <a:gd name="T91" fmla="*/ 112 h 282"/>
                    <a:gd name="T92" fmla="*/ 224 w 298"/>
                    <a:gd name="T93" fmla="*/ 122 h 282"/>
                    <a:gd name="T94" fmla="*/ 232 w 298"/>
                    <a:gd name="T95" fmla="*/ 134 h 282"/>
                    <a:gd name="T96" fmla="*/ 238 w 298"/>
                    <a:gd name="T97" fmla="*/ 142 h 282"/>
                    <a:gd name="T98" fmla="*/ 242 w 298"/>
                    <a:gd name="T99" fmla="*/ 144 h 282"/>
                    <a:gd name="T100" fmla="*/ 294 w 298"/>
                    <a:gd name="T101" fmla="*/ 198 h 282"/>
                    <a:gd name="T102" fmla="*/ 104 w 298"/>
                    <a:gd name="T103" fmla="*/ 270 h 282"/>
                    <a:gd name="T104" fmla="*/ 104 w 298"/>
                    <a:gd name="T105" fmla="*/ 270 h 282"/>
                    <a:gd name="T106" fmla="*/ 100 w 298"/>
                    <a:gd name="T107" fmla="*/ 274 h 282"/>
                    <a:gd name="T108" fmla="*/ 108 w 298"/>
                    <a:gd name="T109" fmla="*/ 274 h 2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298" h="282">
                      <a:moveTo>
                        <a:pt x="290" y="218"/>
                      </a:moveTo>
                      <a:lnTo>
                        <a:pt x="246" y="238"/>
                      </a:lnTo>
                      <a:lnTo>
                        <a:pt x="236" y="238"/>
                      </a:lnTo>
                      <a:lnTo>
                        <a:pt x="232" y="240"/>
                      </a:lnTo>
                      <a:lnTo>
                        <a:pt x="206" y="240"/>
                      </a:lnTo>
                      <a:lnTo>
                        <a:pt x="194" y="252"/>
                      </a:lnTo>
                      <a:lnTo>
                        <a:pt x="190" y="260"/>
                      </a:lnTo>
                      <a:lnTo>
                        <a:pt x="186" y="264"/>
                      </a:lnTo>
                      <a:lnTo>
                        <a:pt x="182" y="270"/>
                      </a:lnTo>
                      <a:lnTo>
                        <a:pt x="180" y="270"/>
                      </a:lnTo>
                      <a:lnTo>
                        <a:pt x="176" y="270"/>
                      </a:lnTo>
                      <a:lnTo>
                        <a:pt x="172" y="268"/>
                      </a:lnTo>
                      <a:lnTo>
                        <a:pt x="168" y="268"/>
                      </a:lnTo>
                      <a:lnTo>
                        <a:pt x="164" y="268"/>
                      </a:lnTo>
                      <a:lnTo>
                        <a:pt x="152" y="264"/>
                      </a:lnTo>
                      <a:lnTo>
                        <a:pt x="142" y="264"/>
                      </a:lnTo>
                      <a:lnTo>
                        <a:pt x="138" y="264"/>
                      </a:lnTo>
                      <a:lnTo>
                        <a:pt x="134" y="264"/>
                      </a:lnTo>
                      <a:lnTo>
                        <a:pt x="134" y="268"/>
                      </a:lnTo>
                      <a:lnTo>
                        <a:pt x="130" y="264"/>
                      </a:lnTo>
                      <a:lnTo>
                        <a:pt x="126" y="264"/>
                      </a:lnTo>
                      <a:lnTo>
                        <a:pt x="122" y="264"/>
                      </a:lnTo>
                      <a:lnTo>
                        <a:pt x="122" y="268"/>
                      </a:lnTo>
                      <a:lnTo>
                        <a:pt x="122" y="270"/>
                      </a:lnTo>
                      <a:lnTo>
                        <a:pt x="122" y="274"/>
                      </a:lnTo>
                      <a:lnTo>
                        <a:pt x="122" y="278"/>
                      </a:lnTo>
                      <a:lnTo>
                        <a:pt x="120" y="278"/>
                      </a:lnTo>
                      <a:lnTo>
                        <a:pt x="120" y="282"/>
                      </a:lnTo>
                      <a:lnTo>
                        <a:pt x="116" y="282"/>
                      </a:lnTo>
                      <a:lnTo>
                        <a:pt x="116" y="278"/>
                      </a:lnTo>
                      <a:lnTo>
                        <a:pt x="116" y="274"/>
                      </a:lnTo>
                      <a:lnTo>
                        <a:pt x="112" y="274"/>
                      </a:lnTo>
                      <a:lnTo>
                        <a:pt x="112" y="270"/>
                      </a:lnTo>
                      <a:lnTo>
                        <a:pt x="112" y="268"/>
                      </a:lnTo>
                      <a:lnTo>
                        <a:pt x="112" y="270"/>
                      </a:lnTo>
                      <a:lnTo>
                        <a:pt x="112" y="268"/>
                      </a:lnTo>
                      <a:lnTo>
                        <a:pt x="112" y="264"/>
                      </a:lnTo>
                      <a:lnTo>
                        <a:pt x="108" y="264"/>
                      </a:lnTo>
                      <a:lnTo>
                        <a:pt x="108" y="260"/>
                      </a:lnTo>
                      <a:lnTo>
                        <a:pt x="104" y="256"/>
                      </a:lnTo>
                      <a:lnTo>
                        <a:pt x="100" y="256"/>
                      </a:lnTo>
                      <a:lnTo>
                        <a:pt x="100" y="252"/>
                      </a:lnTo>
                      <a:lnTo>
                        <a:pt x="100" y="248"/>
                      </a:lnTo>
                      <a:lnTo>
                        <a:pt x="96" y="248"/>
                      </a:lnTo>
                      <a:lnTo>
                        <a:pt x="96" y="244"/>
                      </a:lnTo>
                      <a:lnTo>
                        <a:pt x="96" y="240"/>
                      </a:lnTo>
                      <a:lnTo>
                        <a:pt x="92" y="240"/>
                      </a:lnTo>
                      <a:lnTo>
                        <a:pt x="96" y="238"/>
                      </a:lnTo>
                      <a:lnTo>
                        <a:pt x="92" y="238"/>
                      </a:lnTo>
                      <a:lnTo>
                        <a:pt x="92" y="234"/>
                      </a:lnTo>
                      <a:lnTo>
                        <a:pt x="90" y="230"/>
                      </a:lnTo>
                      <a:lnTo>
                        <a:pt x="90" y="226"/>
                      </a:lnTo>
                      <a:lnTo>
                        <a:pt x="90" y="222"/>
                      </a:lnTo>
                      <a:lnTo>
                        <a:pt x="86" y="222"/>
                      </a:lnTo>
                      <a:lnTo>
                        <a:pt x="86" y="218"/>
                      </a:lnTo>
                      <a:lnTo>
                        <a:pt x="82" y="218"/>
                      </a:lnTo>
                      <a:lnTo>
                        <a:pt x="82" y="214"/>
                      </a:lnTo>
                      <a:lnTo>
                        <a:pt x="78" y="214"/>
                      </a:lnTo>
                      <a:lnTo>
                        <a:pt x="74" y="214"/>
                      </a:lnTo>
                      <a:lnTo>
                        <a:pt x="74" y="212"/>
                      </a:lnTo>
                      <a:lnTo>
                        <a:pt x="70" y="212"/>
                      </a:lnTo>
                      <a:lnTo>
                        <a:pt x="70" y="208"/>
                      </a:lnTo>
                      <a:lnTo>
                        <a:pt x="70" y="204"/>
                      </a:lnTo>
                      <a:lnTo>
                        <a:pt x="66" y="204"/>
                      </a:lnTo>
                      <a:lnTo>
                        <a:pt x="66" y="200"/>
                      </a:lnTo>
                      <a:lnTo>
                        <a:pt x="64" y="198"/>
                      </a:lnTo>
                      <a:lnTo>
                        <a:pt x="66" y="194"/>
                      </a:lnTo>
                      <a:lnTo>
                        <a:pt x="64" y="190"/>
                      </a:lnTo>
                      <a:lnTo>
                        <a:pt x="64" y="186"/>
                      </a:lnTo>
                      <a:lnTo>
                        <a:pt x="64" y="182"/>
                      </a:lnTo>
                      <a:lnTo>
                        <a:pt x="64" y="178"/>
                      </a:lnTo>
                      <a:lnTo>
                        <a:pt x="64" y="174"/>
                      </a:lnTo>
                      <a:lnTo>
                        <a:pt x="64" y="172"/>
                      </a:lnTo>
                      <a:lnTo>
                        <a:pt x="64" y="168"/>
                      </a:lnTo>
                      <a:lnTo>
                        <a:pt x="60" y="168"/>
                      </a:lnTo>
                      <a:lnTo>
                        <a:pt x="64" y="168"/>
                      </a:lnTo>
                      <a:lnTo>
                        <a:pt x="60" y="164"/>
                      </a:lnTo>
                      <a:lnTo>
                        <a:pt x="60" y="160"/>
                      </a:lnTo>
                      <a:lnTo>
                        <a:pt x="56" y="156"/>
                      </a:lnTo>
                      <a:lnTo>
                        <a:pt x="56" y="152"/>
                      </a:lnTo>
                      <a:lnTo>
                        <a:pt x="52" y="148"/>
                      </a:lnTo>
                      <a:lnTo>
                        <a:pt x="48" y="144"/>
                      </a:lnTo>
                      <a:lnTo>
                        <a:pt x="44" y="144"/>
                      </a:lnTo>
                      <a:lnTo>
                        <a:pt x="44" y="142"/>
                      </a:lnTo>
                      <a:lnTo>
                        <a:pt x="44" y="144"/>
                      </a:lnTo>
                      <a:lnTo>
                        <a:pt x="40" y="144"/>
                      </a:lnTo>
                      <a:lnTo>
                        <a:pt x="40" y="142"/>
                      </a:lnTo>
                      <a:lnTo>
                        <a:pt x="40" y="138"/>
                      </a:lnTo>
                      <a:lnTo>
                        <a:pt x="36" y="138"/>
                      </a:lnTo>
                      <a:lnTo>
                        <a:pt x="36" y="134"/>
                      </a:lnTo>
                      <a:lnTo>
                        <a:pt x="36" y="130"/>
                      </a:lnTo>
                      <a:lnTo>
                        <a:pt x="36" y="126"/>
                      </a:lnTo>
                      <a:lnTo>
                        <a:pt x="36" y="122"/>
                      </a:lnTo>
                      <a:lnTo>
                        <a:pt x="34" y="118"/>
                      </a:lnTo>
                      <a:lnTo>
                        <a:pt x="34" y="116"/>
                      </a:lnTo>
                      <a:lnTo>
                        <a:pt x="34" y="118"/>
                      </a:lnTo>
                      <a:lnTo>
                        <a:pt x="30" y="118"/>
                      </a:lnTo>
                      <a:lnTo>
                        <a:pt x="30" y="116"/>
                      </a:lnTo>
                      <a:lnTo>
                        <a:pt x="30" y="112"/>
                      </a:lnTo>
                      <a:lnTo>
                        <a:pt x="26" y="112"/>
                      </a:lnTo>
                      <a:lnTo>
                        <a:pt x="26" y="108"/>
                      </a:lnTo>
                      <a:lnTo>
                        <a:pt x="26" y="104"/>
                      </a:lnTo>
                      <a:lnTo>
                        <a:pt x="22" y="100"/>
                      </a:lnTo>
                      <a:lnTo>
                        <a:pt x="22" y="96"/>
                      </a:lnTo>
                      <a:lnTo>
                        <a:pt x="18" y="96"/>
                      </a:lnTo>
                      <a:lnTo>
                        <a:pt x="18" y="92"/>
                      </a:lnTo>
                      <a:lnTo>
                        <a:pt x="18" y="90"/>
                      </a:lnTo>
                      <a:lnTo>
                        <a:pt x="14" y="90"/>
                      </a:lnTo>
                      <a:lnTo>
                        <a:pt x="14" y="86"/>
                      </a:lnTo>
                      <a:lnTo>
                        <a:pt x="14" y="82"/>
                      </a:lnTo>
                      <a:lnTo>
                        <a:pt x="10" y="82"/>
                      </a:lnTo>
                      <a:lnTo>
                        <a:pt x="10" y="78"/>
                      </a:lnTo>
                      <a:lnTo>
                        <a:pt x="6" y="74"/>
                      </a:lnTo>
                      <a:lnTo>
                        <a:pt x="4" y="74"/>
                      </a:lnTo>
                      <a:lnTo>
                        <a:pt x="0" y="74"/>
                      </a:lnTo>
                      <a:lnTo>
                        <a:pt x="4" y="70"/>
                      </a:lnTo>
                      <a:lnTo>
                        <a:pt x="4" y="66"/>
                      </a:lnTo>
                      <a:lnTo>
                        <a:pt x="4" y="64"/>
                      </a:lnTo>
                      <a:lnTo>
                        <a:pt x="4" y="60"/>
                      </a:lnTo>
                      <a:lnTo>
                        <a:pt x="4" y="56"/>
                      </a:lnTo>
                      <a:lnTo>
                        <a:pt x="6" y="52"/>
                      </a:lnTo>
                      <a:lnTo>
                        <a:pt x="10" y="52"/>
                      </a:lnTo>
                      <a:lnTo>
                        <a:pt x="14" y="52"/>
                      </a:lnTo>
                      <a:lnTo>
                        <a:pt x="22" y="56"/>
                      </a:lnTo>
                      <a:lnTo>
                        <a:pt x="26" y="52"/>
                      </a:lnTo>
                      <a:lnTo>
                        <a:pt x="30" y="48"/>
                      </a:lnTo>
                      <a:lnTo>
                        <a:pt x="30" y="44"/>
                      </a:lnTo>
                      <a:lnTo>
                        <a:pt x="36" y="40"/>
                      </a:lnTo>
                      <a:lnTo>
                        <a:pt x="40" y="40"/>
                      </a:lnTo>
                      <a:lnTo>
                        <a:pt x="44" y="34"/>
                      </a:lnTo>
                      <a:lnTo>
                        <a:pt x="48" y="30"/>
                      </a:lnTo>
                      <a:lnTo>
                        <a:pt x="44" y="22"/>
                      </a:lnTo>
                      <a:lnTo>
                        <a:pt x="40" y="22"/>
                      </a:lnTo>
                      <a:lnTo>
                        <a:pt x="40" y="18"/>
                      </a:lnTo>
                      <a:lnTo>
                        <a:pt x="34" y="10"/>
                      </a:lnTo>
                      <a:lnTo>
                        <a:pt x="36" y="10"/>
                      </a:lnTo>
                      <a:lnTo>
                        <a:pt x="40" y="10"/>
                      </a:lnTo>
                      <a:lnTo>
                        <a:pt x="44" y="10"/>
                      </a:lnTo>
                      <a:lnTo>
                        <a:pt x="48" y="8"/>
                      </a:lnTo>
                      <a:lnTo>
                        <a:pt x="56" y="8"/>
                      </a:lnTo>
                      <a:lnTo>
                        <a:pt x="64" y="4"/>
                      </a:lnTo>
                      <a:lnTo>
                        <a:pt x="66" y="0"/>
                      </a:lnTo>
                      <a:lnTo>
                        <a:pt x="70" y="0"/>
                      </a:lnTo>
                      <a:lnTo>
                        <a:pt x="78" y="4"/>
                      </a:lnTo>
                      <a:lnTo>
                        <a:pt x="82" y="4"/>
                      </a:lnTo>
                      <a:lnTo>
                        <a:pt x="96" y="14"/>
                      </a:lnTo>
                      <a:lnTo>
                        <a:pt x="108" y="18"/>
                      </a:lnTo>
                      <a:lnTo>
                        <a:pt x="120" y="30"/>
                      </a:lnTo>
                      <a:lnTo>
                        <a:pt x="120" y="34"/>
                      </a:lnTo>
                      <a:lnTo>
                        <a:pt x="130" y="40"/>
                      </a:lnTo>
                      <a:lnTo>
                        <a:pt x="146" y="56"/>
                      </a:lnTo>
                      <a:lnTo>
                        <a:pt x="164" y="56"/>
                      </a:lnTo>
                      <a:lnTo>
                        <a:pt x="168" y="56"/>
                      </a:lnTo>
                      <a:lnTo>
                        <a:pt x="172" y="56"/>
                      </a:lnTo>
                      <a:lnTo>
                        <a:pt x="176" y="56"/>
                      </a:lnTo>
                      <a:lnTo>
                        <a:pt x="182" y="60"/>
                      </a:lnTo>
                      <a:lnTo>
                        <a:pt x="186" y="64"/>
                      </a:lnTo>
                      <a:lnTo>
                        <a:pt x="186" y="66"/>
                      </a:lnTo>
                      <a:lnTo>
                        <a:pt x="194" y="66"/>
                      </a:lnTo>
                      <a:lnTo>
                        <a:pt x="198" y="66"/>
                      </a:lnTo>
                      <a:lnTo>
                        <a:pt x="198" y="70"/>
                      </a:lnTo>
                      <a:lnTo>
                        <a:pt x="198" y="74"/>
                      </a:lnTo>
                      <a:lnTo>
                        <a:pt x="202" y="74"/>
                      </a:lnTo>
                      <a:lnTo>
                        <a:pt x="202" y="78"/>
                      </a:lnTo>
                      <a:lnTo>
                        <a:pt x="202" y="82"/>
                      </a:lnTo>
                      <a:lnTo>
                        <a:pt x="202" y="78"/>
                      </a:lnTo>
                      <a:lnTo>
                        <a:pt x="202" y="82"/>
                      </a:lnTo>
                      <a:lnTo>
                        <a:pt x="206" y="86"/>
                      </a:lnTo>
                      <a:lnTo>
                        <a:pt x="206" y="82"/>
                      </a:lnTo>
                      <a:lnTo>
                        <a:pt x="206" y="86"/>
                      </a:lnTo>
                      <a:lnTo>
                        <a:pt x="210" y="86"/>
                      </a:lnTo>
                      <a:lnTo>
                        <a:pt x="206" y="86"/>
                      </a:lnTo>
                      <a:lnTo>
                        <a:pt x="210" y="90"/>
                      </a:lnTo>
                      <a:lnTo>
                        <a:pt x="210" y="92"/>
                      </a:lnTo>
                      <a:lnTo>
                        <a:pt x="212" y="92"/>
                      </a:lnTo>
                      <a:lnTo>
                        <a:pt x="212" y="96"/>
                      </a:lnTo>
                      <a:lnTo>
                        <a:pt x="216" y="96"/>
                      </a:lnTo>
                      <a:lnTo>
                        <a:pt x="220" y="96"/>
                      </a:lnTo>
                      <a:lnTo>
                        <a:pt x="220" y="100"/>
                      </a:lnTo>
                      <a:lnTo>
                        <a:pt x="220" y="104"/>
                      </a:lnTo>
                      <a:lnTo>
                        <a:pt x="224" y="108"/>
                      </a:lnTo>
                      <a:lnTo>
                        <a:pt x="220" y="112"/>
                      </a:lnTo>
                      <a:lnTo>
                        <a:pt x="220" y="108"/>
                      </a:lnTo>
                      <a:lnTo>
                        <a:pt x="220" y="112"/>
                      </a:lnTo>
                      <a:lnTo>
                        <a:pt x="220" y="116"/>
                      </a:lnTo>
                      <a:lnTo>
                        <a:pt x="224" y="118"/>
                      </a:lnTo>
                      <a:lnTo>
                        <a:pt x="220" y="118"/>
                      </a:lnTo>
                      <a:lnTo>
                        <a:pt x="224" y="122"/>
                      </a:lnTo>
                      <a:lnTo>
                        <a:pt x="228" y="122"/>
                      </a:lnTo>
                      <a:lnTo>
                        <a:pt x="228" y="126"/>
                      </a:lnTo>
                      <a:lnTo>
                        <a:pt x="228" y="130"/>
                      </a:lnTo>
                      <a:lnTo>
                        <a:pt x="232" y="134"/>
                      </a:lnTo>
                      <a:lnTo>
                        <a:pt x="232" y="138"/>
                      </a:lnTo>
                      <a:lnTo>
                        <a:pt x="236" y="138"/>
                      </a:lnTo>
                      <a:lnTo>
                        <a:pt x="238" y="138"/>
                      </a:lnTo>
                      <a:lnTo>
                        <a:pt x="238" y="142"/>
                      </a:lnTo>
                      <a:lnTo>
                        <a:pt x="238" y="144"/>
                      </a:lnTo>
                      <a:lnTo>
                        <a:pt x="238" y="142"/>
                      </a:lnTo>
                      <a:lnTo>
                        <a:pt x="238" y="144"/>
                      </a:lnTo>
                      <a:lnTo>
                        <a:pt x="242" y="144"/>
                      </a:lnTo>
                      <a:lnTo>
                        <a:pt x="256" y="168"/>
                      </a:lnTo>
                      <a:lnTo>
                        <a:pt x="290" y="172"/>
                      </a:lnTo>
                      <a:lnTo>
                        <a:pt x="298" y="182"/>
                      </a:lnTo>
                      <a:lnTo>
                        <a:pt x="294" y="198"/>
                      </a:lnTo>
                      <a:lnTo>
                        <a:pt x="290" y="218"/>
                      </a:lnTo>
                      <a:lnTo>
                        <a:pt x="290" y="218"/>
                      </a:lnTo>
                      <a:lnTo>
                        <a:pt x="290" y="218"/>
                      </a:lnTo>
                      <a:close/>
                      <a:moveTo>
                        <a:pt x="104" y="270"/>
                      </a:moveTo>
                      <a:lnTo>
                        <a:pt x="104" y="274"/>
                      </a:lnTo>
                      <a:lnTo>
                        <a:pt x="104" y="270"/>
                      </a:lnTo>
                      <a:lnTo>
                        <a:pt x="104" y="270"/>
                      </a:lnTo>
                      <a:lnTo>
                        <a:pt x="104" y="270"/>
                      </a:lnTo>
                      <a:close/>
                      <a:moveTo>
                        <a:pt x="108" y="278"/>
                      </a:moveTo>
                      <a:lnTo>
                        <a:pt x="104" y="278"/>
                      </a:lnTo>
                      <a:lnTo>
                        <a:pt x="104" y="274"/>
                      </a:lnTo>
                      <a:lnTo>
                        <a:pt x="100" y="274"/>
                      </a:lnTo>
                      <a:lnTo>
                        <a:pt x="104" y="274"/>
                      </a:lnTo>
                      <a:lnTo>
                        <a:pt x="108" y="274"/>
                      </a:lnTo>
                      <a:lnTo>
                        <a:pt x="104" y="274"/>
                      </a:lnTo>
                      <a:lnTo>
                        <a:pt x="108" y="274"/>
                      </a:lnTo>
                      <a:lnTo>
                        <a:pt x="108" y="278"/>
                      </a:lnTo>
                      <a:lnTo>
                        <a:pt x="108" y="278"/>
                      </a:lnTo>
                      <a:lnTo>
                        <a:pt x="108" y="27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2" name="Freeform 51"/>
                <p:cNvSpPr>
                  <a:spLocks/>
                </p:cNvSpPr>
                <p:nvPr/>
              </p:nvSpPr>
              <p:spPr bwMode="auto">
                <a:xfrm>
                  <a:off x="6718300" y="4521268"/>
                  <a:ext cx="12700" cy="6350"/>
                </a:xfrm>
                <a:custGeom>
                  <a:avLst/>
                  <a:gdLst>
                    <a:gd name="T0" fmla="*/ 8 w 8"/>
                    <a:gd name="T1" fmla="*/ 0 h 4"/>
                    <a:gd name="T2" fmla="*/ 8 w 8"/>
                    <a:gd name="T3" fmla="*/ 0 h 4"/>
                    <a:gd name="T4" fmla="*/ 8 w 8"/>
                    <a:gd name="T5" fmla="*/ 0 h 4"/>
                    <a:gd name="T6" fmla="*/ 8 w 8"/>
                    <a:gd name="T7" fmla="*/ 0 h 4"/>
                    <a:gd name="T8" fmla="*/ 8 w 8"/>
                    <a:gd name="T9" fmla="*/ 0 h 4"/>
                    <a:gd name="T10" fmla="*/ 4 w 8"/>
                    <a:gd name="T11" fmla="*/ 4 h 4"/>
                    <a:gd name="T12" fmla="*/ 4 w 8"/>
                    <a:gd name="T13" fmla="*/ 4 h 4"/>
                    <a:gd name="T14" fmla="*/ 0 w 8"/>
                    <a:gd name="T15" fmla="*/ 4 h 4"/>
                    <a:gd name="T16" fmla="*/ 0 w 8"/>
                    <a:gd name="T17" fmla="*/ 0 h 4"/>
                    <a:gd name="T18" fmla="*/ 0 w 8"/>
                    <a:gd name="T19" fmla="*/ 0 h 4"/>
                    <a:gd name="T20" fmla="*/ 0 w 8"/>
                    <a:gd name="T21" fmla="*/ 0 h 4"/>
                    <a:gd name="T22" fmla="*/ 0 w 8"/>
                    <a:gd name="T23" fmla="*/ 0 h 4"/>
                    <a:gd name="T24" fmla="*/ 0 w 8"/>
                    <a:gd name="T25" fmla="*/ 0 h 4"/>
                    <a:gd name="T26" fmla="*/ 4 w 8"/>
                    <a:gd name="T27" fmla="*/ 0 h 4"/>
                    <a:gd name="T28" fmla="*/ 4 w 8"/>
                    <a:gd name="T29" fmla="*/ 0 h 4"/>
                    <a:gd name="T30" fmla="*/ 4 w 8"/>
                    <a:gd name="T31" fmla="*/ 0 h 4"/>
                    <a:gd name="T32" fmla="*/ 4 w 8"/>
                    <a:gd name="T33" fmla="*/ 0 h 4"/>
                    <a:gd name="T34" fmla="*/ 4 w 8"/>
                    <a:gd name="T35" fmla="*/ 0 h 4"/>
                    <a:gd name="T36" fmla="*/ 4 w 8"/>
                    <a:gd name="T37" fmla="*/ 0 h 4"/>
                    <a:gd name="T38" fmla="*/ 4 w 8"/>
                    <a:gd name="T39" fmla="*/ 0 h 4"/>
                    <a:gd name="T40" fmla="*/ 4 w 8"/>
                    <a:gd name="T41" fmla="*/ 0 h 4"/>
                    <a:gd name="T42" fmla="*/ 8 w 8"/>
                    <a:gd name="T43" fmla="*/ 0 h 4"/>
                    <a:gd name="T44" fmla="*/ 8 w 8"/>
                    <a:gd name="T45" fmla="*/ 0 h 4"/>
                    <a:gd name="T46" fmla="*/ 8 w 8"/>
                    <a:gd name="T47" fmla="*/ 0 h 4"/>
                    <a:gd name="T48" fmla="*/ 8 w 8"/>
                    <a:gd name="T4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8" h="4">
                      <a:moveTo>
                        <a:pt x="8" y="0"/>
                      </a:move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3" name="Freeform 52"/>
                <p:cNvSpPr>
                  <a:spLocks noEditPoints="1"/>
                </p:cNvSpPr>
                <p:nvPr/>
              </p:nvSpPr>
              <p:spPr bwMode="auto">
                <a:xfrm>
                  <a:off x="7226300" y="3473518"/>
                  <a:ext cx="76200" cy="158750"/>
                </a:xfrm>
                <a:custGeom>
                  <a:avLst/>
                  <a:gdLst>
                    <a:gd name="T0" fmla="*/ 4 w 48"/>
                    <a:gd name="T1" fmla="*/ 40 h 100"/>
                    <a:gd name="T2" fmla="*/ 0 w 48"/>
                    <a:gd name="T3" fmla="*/ 34 h 100"/>
                    <a:gd name="T4" fmla="*/ 0 w 48"/>
                    <a:gd name="T5" fmla="*/ 38 h 100"/>
                    <a:gd name="T6" fmla="*/ 0 w 48"/>
                    <a:gd name="T7" fmla="*/ 34 h 100"/>
                    <a:gd name="T8" fmla="*/ 0 w 48"/>
                    <a:gd name="T9" fmla="*/ 30 h 100"/>
                    <a:gd name="T10" fmla="*/ 4 w 48"/>
                    <a:gd name="T11" fmla="*/ 30 h 100"/>
                    <a:gd name="T12" fmla="*/ 12 w 48"/>
                    <a:gd name="T13" fmla="*/ 34 h 100"/>
                    <a:gd name="T14" fmla="*/ 8 w 48"/>
                    <a:gd name="T15" fmla="*/ 26 h 100"/>
                    <a:gd name="T16" fmla="*/ 4 w 48"/>
                    <a:gd name="T17" fmla="*/ 18 h 100"/>
                    <a:gd name="T18" fmla="*/ 8 w 48"/>
                    <a:gd name="T19" fmla="*/ 10 h 100"/>
                    <a:gd name="T20" fmla="*/ 16 w 48"/>
                    <a:gd name="T21" fmla="*/ 4 h 100"/>
                    <a:gd name="T22" fmla="*/ 26 w 48"/>
                    <a:gd name="T23" fmla="*/ 4 h 100"/>
                    <a:gd name="T24" fmla="*/ 34 w 48"/>
                    <a:gd name="T25" fmla="*/ 4 h 100"/>
                    <a:gd name="T26" fmla="*/ 38 w 48"/>
                    <a:gd name="T27" fmla="*/ 14 h 100"/>
                    <a:gd name="T28" fmla="*/ 44 w 48"/>
                    <a:gd name="T29" fmla="*/ 22 h 100"/>
                    <a:gd name="T30" fmla="*/ 44 w 48"/>
                    <a:gd name="T31" fmla="*/ 34 h 100"/>
                    <a:gd name="T32" fmla="*/ 44 w 48"/>
                    <a:gd name="T33" fmla="*/ 48 h 100"/>
                    <a:gd name="T34" fmla="*/ 44 w 48"/>
                    <a:gd name="T35" fmla="*/ 60 h 100"/>
                    <a:gd name="T36" fmla="*/ 38 w 48"/>
                    <a:gd name="T37" fmla="*/ 64 h 100"/>
                    <a:gd name="T38" fmla="*/ 30 w 48"/>
                    <a:gd name="T39" fmla="*/ 66 h 100"/>
                    <a:gd name="T40" fmla="*/ 30 w 48"/>
                    <a:gd name="T41" fmla="*/ 70 h 100"/>
                    <a:gd name="T42" fmla="*/ 26 w 48"/>
                    <a:gd name="T43" fmla="*/ 70 h 100"/>
                    <a:gd name="T44" fmla="*/ 18 w 48"/>
                    <a:gd name="T45" fmla="*/ 66 h 100"/>
                    <a:gd name="T46" fmla="*/ 18 w 48"/>
                    <a:gd name="T47" fmla="*/ 74 h 100"/>
                    <a:gd name="T48" fmla="*/ 16 w 48"/>
                    <a:gd name="T49" fmla="*/ 74 h 100"/>
                    <a:gd name="T50" fmla="*/ 16 w 48"/>
                    <a:gd name="T51" fmla="*/ 74 h 100"/>
                    <a:gd name="T52" fmla="*/ 16 w 48"/>
                    <a:gd name="T53" fmla="*/ 70 h 100"/>
                    <a:gd name="T54" fmla="*/ 8 w 48"/>
                    <a:gd name="T55" fmla="*/ 78 h 100"/>
                    <a:gd name="T56" fmla="*/ 4 w 48"/>
                    <a:gd name="T57" fmla="*/ 82 h 100"/>
                    <a:gd name="T58" fmla="*/ 0 w 48"/>
                    <a:gd name="T59" fmla="*/ 74 h 100"/>
                    <a:gd name="T60" fmla="*/ 4 w 48"/>
                    <a:gd name="T61" fmla="*/ 70 h 100"/>
                    <a:gd name="T62" fmla="*/ 4 w 48"/>
                    <a:gd name="T63" fmla="*/ 66 h 100"/>
                    <a:gd name="T64" fmla="*/ 4 w 48"/>
                    <a:gd name="T65" fmla="*/ 66 h 100"/>
                    <a:gd name="T66" fmla="*/ 4 w 48"/>
                    <a:gd name="T67" fmla="*/ 56 h 100"/>
                    <a:gd name="T68" fmla="*/ 8 w 48"/>
                    <a:gd name="T69" fmla="*/ 52 h 100"/>
                    <a:gd name="T70" fmla="*/ 4 w 48"/>
                    <a:gd name="T71" fmla="*/ 48 h 100"/>
                    <a:gd name="T72" fmla="*/ 8 w 48"/>
                    <a:gd name="T73" fmla="*/ 48 h 100"/>
                    <a:gd name="T74" fmla="*/ 4 w 48"/>
                    <a:gd name="T75" fmla="*/ 14 h 100"/>
                    <a:gd name="T76" fmla="*/ 4 w 48"/>
                    <a:gd name="T77" fmla="*/ 40 h 100"/>
                    <a:gd name="T78" fmla="*/ 4 w 48"/>
                    <a:gd name="T79" fmla="*/ 38 h 100"/>
                    <a:gd name="T80" fmla="*/ 4 w 48"/>
                    <a:gd name="T81" fmla="*/ 40 h 100"/>
                    <a:gd name="T82" fmla="*/ 34 w 48"/>
                    <a:gd name="T83" fmla="*/ 70 h 100"/>
                    <a:gd name="T84" fmla="*/ 38 w 48"/>
                    <a:gd name="T85" fmla="*/ 66 h 100"/>
                    <a:gd name="T86" fmla="*/ 22 w 48"/>
                    <a:gd name="T87" fmla="*/ 70 h 100"/>
                    <a:gd name="T88" fmla="*/ 22 w 48"/>
                    <a:gd name="T89" fmla="*/ 70 h 100"/>
                    <a:gd name="T90" fmla="*/ 26 w 48"/>
                    <a:gd name="T91" fmla="*/ 66 h 100"/>
                    <a:gd name="T92" fmla="*/ 0 w 48"/>
                    <a:gd name="T93" fmla="*/ 78 h 100"/>
                    <a:gd name="T94" fmla="*/ 4 w 48"/>
                    <a:gd name="T95" fmla="*/ 78 h 100"/>
                    <a:gd name="T96" fmla="*/ 12 w 48"/>
                    <a:gd name="T97" fmla="*/ 94 h 100"/>
                    <a:gd name="T98" fmla="*/ 8 w 48"/>
                    <a:gd name="T99" fmla="*/ 100 h 100"/>
                    <a:gd name="T100" fmla="*/ 0 w 48"/>
                    <a:gd name="T101" fmla="*/ 96 h 100"/>
                    <a:gd name="T102" fmla="*/ 8 w 48"/>
                    <a:gd name="T103" fmla="*/ 94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48" h="100">
                      <a:moveTo>
                        <a:pt x="8" y="48"/>
                      </a:moveTo>
                      <a:lnTo>
                        <a:pt x="4" y="44"/>
                      </a:lnTo>
                      <a:lnTo>
                        <a:pt x="4" y="40"/>
                      </a:lnTo>
                      <a:lnTo>
                        <a:pt x="4" y="38"/>
                      </a:lnTo>
                      <a:lnTo>
                        <a:pt x="4" y="34"/>
                      </a:lnTo>
                      <a:lnTo>
                        <a:pt x="0" y="34"/>
                      </a:lnTo>
                      <a:lnTo>
                        <a:pt x="0" y="38"/>
                      </a:lnTo>
                      <a:lnTo>
                        <a:pt x="0" y="34"/>
                      </a:lnTo>
                      <a:lnTo>
                        <a:pt x="0" y="38"/>
                      </a:lnTo>
                      <a:lnTo>
                        <a:pt x="0" y="34"/>
                      </a:lnTo>
                      <a:lnTo>
                        <a:pt x="0" y="30"/>
                      </a:lnTo>
                      <a:lnTo>
                        <a:pt x="0" y="34"/>
                      </a:lnTo>
                      <a:lnTo>
                        <a:pt x="4" y="34"/>
                      </a:lnTo>
                      <a:lnTo>
                        <a:pt x="4" y="30"/>
                      </a:lnTo>
                      <a:lnTo>
                        <a:pt x="0" y="30"/>
                      </a:lnTo>
                      <a:lnTo>
                        <a:pt x="4" y="30"/>
                      </a:lnTo>
                      <a:lnTo>
                        <a:pt x="4" y="34"/>
                      </a:lnTo>
                      <a:lnTo>
                        <a:pt x="4" y="30"/>
                      </a:lnTo>
                      <a:lnTo>
                        <a:pt x="8" y="30"/>
                      </a:lnTo>
                      <a:lnTo>
                        <a:pt x="8" y="34"/>
                      </a:lnTo>
                      <a:lnTo>
                        <a:pt x="12" y="34"/>
                      </a:lnTo>
                      <a:lnTo>
                        <a:pt x="12" y="30"/>
                      </a:lnTo>
                      <a:lnTo>
                        <a:pt x="8" y="30"/>
                      </a:lnTo>
                      <a:lnTo>
                        <a:pt x="8" y="26"/>
                      </a:lnTo>
                      <a:lnTo>
                        <a:pt x="8" y="22"/>
                      </a:lnTo>
                      <a:lnTo>
                        <a:pt x="8" y="18"/>
                      </a:lnTo>
                      <a:lnTo>
                        <a:pt x="4" y="18"/>
                      </a:lnTo>
                      <a:lnTo>
                        <a:pt x="4" y="14"/>
                      </a:lnTo>
                      <a:lnTo>
                        <a:pt x="8" y="14"/>
                      </a:lnTo>
                      <a:lnTo>
                        <a:pt x="8" y="10"/>
                      </a:lnTo>
                      <a:lnTo>
                        <a:pt x="12" y="8"/>
                      </a:lnTo>
                      <a:lnTo>
                        <a:pt x="12" y="4"/>
                      </a:lnTo>
                      <a:lnTo>
                        <a:pt x="16" y="4"/>
                      </a:lnTo>
                      <a:lnTo>
                        <a:pt x="18" y="4"/>
                      </a:lnTo>
                      <a:lnTo>
                        <a:pt x="22" y="4"/>
                      </a:lnTo>
                      <a:lnTo>
                        <a:pt x="26" y="4"/>
                      </a:lnTo>
                      <a:lnTo>
                        <a:pt x="30" y="4"/>
                      </a:lnTo>
                      <a:lnTo>
                        <a:pt x="30" y="0"/>
                      </a:lnTo>
                      <a:lnTo>
                        <a:pt x="34" y="4"/>
                      </a:lnTo>
                      <a:lnTo>
                        <a:pt x="34" y="8"/>
                      </a:lnTo>
                      <a:lnTo>
                        <a:pt x="38" y="10"/>
                      </a:lnTo>
                      <a:lnTo>
                        <a:pt x="38" y="14"/>
                      </a:lnTo>
                      <a:lnTo>
                        <a:pt x="40" y="14"/>
                      </a:lnTo>
                      <a:lnTo>
                        <a:pt x="40" y="18"/>
                      </a:lnTo>
                      <a:lnTo>
                        <a:pt x="44" y="22"/>
                      </a:lnTo>
                      <a:lnTo>
                        <a:pt x="44" y="26"/>
                      </a:lnTo>
                      <a:lnTo>
                        <a:pt x="44" y="30"/>
                      </a:lnTo>
                      <a:lnTo>
                        <a:pt x="44" y="34"/>
                      </a:lnTo>
                      <a:lnTo>
                        <a:pt x="44" y="38"/>
                      </a:lnTo>
                      <a:lnTo>
                        <a:pt x="44" y="40"/>
                      </a:lnTo>
                      <a:lnTo>
                        <a:pt x="44" y="48"/>
                      </a:lnTo>
                      <a:lnTo>
                        <a:pt x="48" y="48"/>
                      </a:lnTo>
                      <a:lnTo>
                        <a:pt x="44" y="56"/>
                      </a:lnTo>
                      <a:lnTo>
                        <a:pt x="44" y="60"/>
                      </a:lnTo>
                      <a:lnTo>
                        <a:pt x="40" y="64"/>
                      </a:lnTo>
                      <a:lnTo>
                        <a:pt x="38" y="66"/>
                      </a:lnTo>
                      <a:lnTo>
                        <a:pt x="38" y="64"/>
                      </a:lnTo>
                      <a:lnTo>
                        <a:pt x="38" y="66"/>
                      </a:lnTo>
                      <a:lnTo>
                        <a:pt x="34" y="64"/>
                      </a:lnTo>
                      <a:lnTo>
                        <a:pt x="30" y="66"/>
                      </a:lnTo>
                      <a:lnTo>
                        <a:pt x="34" y="66"/>
                      </a:lnTo>
                      <a:lnTo>
                        <a:pt x="34" y="70"/>
                      </a:lnTo>
                      <a:lnTo>
                        <a:pt x="30" y="70"/>
                      </a:lnTo>
                      <a:lnTo>
                        <a:pt x="30" y="66"/>
                      </a:lnTo>
                      <a:lnTo>
                        <a:pt x="30" y="70"/>
                      </a:lnTo>
                      <a:lnTo>
                        <a:pt x="26" y="70"/>
                      </a:lnTo>
                      <a:lnTo>
                        <a:pt x="26" y="66"/>
                      </a:lnTo>
                      <a:lnTo>
                        <a:pt x="22" y="66"/>
                      </a:lnTo>
                      <a:lnTo>
                        <a:pt x="18" y="66"/>
                      </a:lnTo>
                      <a:lnTo>
                        <a:pt x="18" y="70"/>
                      </a:lnTo>
                      <a:lnTo>
                        <a:pt x="22" y="70"/>
                      </a:lnTo>
                      <a:lnTo>
                        <a:pt x="18" y="74"/>
                      </a:lnTo>
                      <a:lnTo>
                        <a:pt x="18" y="70"/>
                      </a:lnTo>
                      <a:lnTo>
                        <a:pt x="16" y="70"/>
                      </a:lnTo>
                      <a:lnTo>
                        <a:pt x="16" y="74"/>
                      </a:lnTo>
                      <a:lnTo>
                        <a:pt x="18" y="74"/>
                      </a:lnTo>
                      <a:lnTo>
                        <a:pt x="16" y="78"/>
                      </a:lnTo>
                      <a:lnTo>
                        <a:pt x="16" y="74"/>
                      </a:lnTo>
                      <a:lnTo>
                        <a:pt x="12" y="74"/>
                      </a:lnTo>
                      <a:lnTo>
                        <a:pt x="16" y="74"/>
                      </a:lnTo>
                      <a:lnTo>
                        <a:pt x="16" y="70"/>
                      </a:lnTo>
                      <a:lnTo>
                        <a:pt x="12" y="74"/>
                      </a:lnTo>
                      <a:lnTo>
                        <a:pt x="12" y="78"/>
                      </a:lnTo>
                      <a:lnTo>
                        <a:pt x="8" y="78"/>
                      </a:lnTo>
                      <a:lnTo>
                        <a:pt x="8" y="74"/>
                      </a:lnTo>
                      <a:lnTo>
                        <a:pt x="8" y="78"/>
                      </a:lnTo>
                      <a:lnTo>
                        <a:pt x="4" y="82"/>
                      </a:lnTo>
                      <a:lnTo>
                        <a:pt x="4" y="78"/>
                      </a:lnTo>
                      <a:lnTo>
                        <a:pt x="4" y="74"/>
                      </a:lnTo>
                      <a:lnTo>
                        <a:pt x="0" y="74"/>
                      </a:lnTo>
                      <a:lnTo>
                        <a:pt x="0" y="70"/>
                      </a:lnTo>
                      <a:lnTo>
                        <a:pt x="4" y="74"/>
                      </a:lnTo>
                      <a:lnTo>
                        <a:pt x="4" y="70"/>
                      </a:lnTo>
                      <a:lnTo>
                        <a:pt x="8" y="70"/>
                      </a:lnTo>
                      <a:lnTo>
                        <a:pt x="4" y="70"/>
                      </a:lnTo>
                      <a:lnTo>
                        <a:pt x="4" y="66"/>
                      </a:lnTo>
                      <a:lnTo>
                        <a:pt x="0" y="66"/>
                      </a:lnTo>
                      <a:lnTo>
                        <a:pt x="0" y="64"/>
                      </a:lnTo>
                      <a:lnTo>
                        <a:pt x="4" y="66"/>
                      </a:lnTo>
                      <a:lnTo>
                        <a:pt x="4" y="64"/>
                      </a:lnTo>
                      <a:lnTo>
                        <a:pt x="4" y="60"/>
                      </a:lnTo>
                      <a:lnTo>
                        <a:pt x="4" y="56"/>
                      </a:lnTo>
                      <a:lnTo>
                        <a:pt x="8" y="56"/>
                      </a:lnTo>
                      <a:lnTo>
                        <a:pt x="4" y="56"/>
                      </a:lnTo>
                      <a:lnTo>
                        <a:pt x="8" y="52"/>
                      </a:lnTo>
                      <a:lnTo>
                        <a:pt x="8" y="48"/>
                      </a:lnTo>
                      <a:lnTo>
                        <a:pt x="8" y="52"/>
                      </a:lnTo>
                      <a:lnTo>
                        <a:pt x="4" y="48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8" y="48"/>
                      </a:lnTo>
                      <a:close/>
                      <a:moveTo>
                        <a:pt x="4" y="14"/>
                      </a:moveTo>
                      <a:lnTo>
                        <a:pt x="4" y="18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close/>
                      <a:moveTo>
                        <a:pt x="4" y="40"/>
                      </a:moveTo>
                      <a:lnTo>
                        <a:pt x="0" y="40"/>
                      </a:lnTo>
                      <a:lnTo>
                        <a:pt x="0" y="38"/>
                      </a:lnTo>
                      <a:lnTo>
                        <a:pt x="4" y="38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4" y="40"/>
                      </a:lnTo>
                      <a:close/>
                      <a:moveTo>
                        <a:pt x="38" y="66"/>
                      </a:moveTo>
                      <a:lnTo>
                        <a:pt x="38" y="70"/>
                      </a:lnTo>
                      <a:lnTo>
                        <a:pt x="34" y="70"/>
                      </a:lnTo>
                      <a:lnTo>
                        <a:pt x="34" y="66"/>
                      </a:lnTo>
                      <a:lnTo>
                        <a:pt x="38" y="66"/>
                      </a:lnTo>
                      <a:lnTo>
                        <a:pt x="38" y="66"/>
                      </a:lnTo>
                      <a:lnTo>
                        <a:pt x="38" y="66"/>
                      </a:lnTo>
                      <a:close/>
                      <a:moveTo>
                        <a:pt x="26" y="66"/>
                      </a:moveTo>
                      <a:lnTo>
                        <a:pt x="22" y="70"/>
                      </a:lnTo>
                      <a:lnTo>
                        <a:pt x="26" y="70"/>
                      </a:lnTo>
                      <a:lnTo>
                        <a:pt x="26" y="74"/>
                      </a:lnTo>
                      <a:lnTo>
                        <a:pt x="22" y="70"/>
                      </a:lnTo>
                      <a:lnTo>
                        <a:pt x="22" y="66"/>
                      </a:lnTo>
                      <a:lnTo>
                        <a:pt x="26" y="66"/>
                      </a:lnTo>
                      <a:lnTo>
                        <a:pt x="26" y="66"/>
                      </a:lnTo>
                      <a:lnTo>
                        <a:pt x="26" y="66"/>
                      </a:lnTo>
                      <a:close/>
                      <a:moveTo>
                        <a:pt x="4" y="78"/>
                      </a:moveTo>
                      <a:lnTo>
                        <a:pt x="0" y="78"/>
                      </a:lnTo>
                      <a:lnTo>
                        <a:pt x="0" y="74"/>
                      </a:lnTo>
                      <a:lnTo>
                        <a:pt x="4" y="78"/>
                      </a:lnTo>
                      <a:lnTo>
                        <a:pt x="4" y="78"/>
                      </a:lnTo>
                      <a:lnTo>
                        <a:pt x="4" y="78"/>
                      </a:lnTo>
                      <a:close/>
                      <a:moveTo>
                        <a:pt x="8" y="94"/>
                      </a:moveTo>
                      <a:lnTo>
                        <a:pt x="12" y="94"/>
                      </a:lnTo>
                      <a:lnTo>
                        <a:pt x="12" y="96"/>
                      </a:lnTo>
                      <a:lnTo>
                        <a:pt x="8" y="96"/>
                      </a:lnTo>
                      <a:lnTo>
                        <a:pt x="8" y="100"/>
                      </a:lnTo>
                      <a:lnTo>
                        <a:pt x="4" y="100"/>
                      </a:lnTo>
                      <a:lnTo>
                        <a:pt x="0" y="100"/>
                      </a:lnTo>
                      <a:lnTo>
                        <a:pt x="0" y="96"/>
                      </a:lnTo>
                      <a:lnTo>
                        <a:pt x="4" y="96"/>
                      </a:lnTo>
                      <a:lnTo>
                        <a:pt x="8" y="94"/>
                      </a:lnTo>
                      <a:lnTo>
                        <a:pt x="8" y="94"/>
                      </a:lnTo>
                      <a:lnTo>
                        <a:pt x="8" y="9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4" name="Freeform 53"/>
                <p:cNvSpPr>
                  <a:spLocks noEditPoints="1"/>
                </p:cNvSpPr>
                <p:nvPr/>
              </p:nvSpPr>
              <p:spPr bwMode="auto">
                <a:xfrm>
                  <a:off x="6178550" y="4289493"/>
                  <a:ext cx="53975" cy="107950"/>
                </a:xfrm>
                <a:custGeom>
                  <a:avLst/>
                  <a:gdLst>
                    <a:gd name="T0" fmla="*/ 4 w 34"/>
                    <a:gd name="T1" fmla="*/ 16 h 68"/>
                    <a:gd name="T2" fmla="*/ 0 w 34"/>
                    <a:gd name="T3" fmla="*/ 16 h 68"/>
                    <a:gd name="T4" fmla="*/ 4 w 34"/>
                    <a:gd name="T5" fmla="*/ 16 h 68"/>
                    <a:gd name="T6" fmla="*/ 30 w 34"/>
                    <a:gd name="T7" fmla="*/ 56 h 68"/>
                    <a:gd name="T8" fmla="*/ 30 w 34"/>
                    <a:gd name="T9" fmla="*/ 60 h 68"/>
                    <a:gd name="T10" fmla="*/ 20 w 34"/>
                    <a:gd name="T11" fmla="*/ 68 h 68"/>
                    <a:gd name="T12" fmla="*/ 20 w 34"/>
                    <a:gd name="T13" fmla="*/ 68 h 68"/>
                    <a:gd name="T14" fmla="*/ 12 w 34"/>
                    <a:gd name="T15" fmla="*/ 68 h 68"/>
                    <a:gd name="T16" fmla="*/ 8 w 34"/>
                    <a:gd name="T17" fmla="*/ 64 h 68"/>
                    <a:gd name="T18" fmla="*/ 4 w 34"/>
                    <a:gd name="T19" fmla="*/ 56 h 68"/>
                    <a:gd name="T20" fmla="*/ 4 w 34"/>
                    <a:gd name="T21" fmla="*/ 52 h 68"/>
                    <a:gd name="T22" fmla="*/ 4 w 34"/>
                    <a:gd name="T23" fmla="*/ 48 h 68"/>
                    <a:gd name="T24" fmla="*/ 4 w 34"/>
                    <a:gd name="T25" fmla="*/ 42 h 68"/>
                    <a:gd name="T26" fmla="*/ 4 w 34"/>
                    <a:gd name="T27" fmla="*/ 34 h 68"/>
                    <a:gd name="T28" fmla="*/ 4 w 34"/>
                    <a:gd name="T29" fmla="*/ 34 h 68"/>
                    <a:gd name="T30" fmla="*/ 0 w 34"/>
                    <a:gd name="T31" fmla="*/ 30 h 68"/>
                    <a:gd name="T32" fmla="*/ 4 w 34"/>
                    <a:gd name="T33" fmla="*/ 34 h 68"/>
                    <a:gd name="T34" fmla="*/ 4 w 34"/>
                    <a:gd name="T35" fmla="*/ 34 h 68"/>
                    <a:gd name="T36" fmla="*/ 4 w 34"/>
                    <a:gd name="T37" fmla="*/ 34 h 68"/>
                    <a:gd name="T38" fmla="*/ 4 w 34"/>
                    <a:gd name="T39" fmla="*/ 22 h 68"/>
                    <a:gd name="T40" fmla="*/ 4 w 34"/>
                    <a:gd name="T41" fmla="*/ 16 h 68"/>
                    <a:gd name="T42" fmla="*/ 8 w 34"/>
                    <a:gd name="T43" fmla="*/ 16 h 68"/>
                    <a:gd name="T44" fmla="*/ 8 w 34"/>
                    <a:gd name="T45" fmla="*/ 12 h 68"/>
                    <a:gd name="T46" fmla="*/ 8 w 34"/>
                    <a:gd name="T47" fmla="*/ 8 h 68"/>
                    <a:gd name="T48" fmla="*/ 8 w 34"/>
                    <a:gd name="T49" fmla="*/ 8 h 68"/>
                    <a:gd name="T50" fmla="*/ 8 w 34"/>
                    <a:gd name="T51" fmla="*/ 8 h 68"/>
                    <a:gd name="T52" fmla="*/ 16 w 34"/>
                    <a:gd name="T53" fmla="*/ 8 h 68"/>
                    <a:gd name="T54" fmla="*/ 16 w 34"/>
                    <a:gd name="T55" fmla="*/ 8 h 68"/>
                    <a:gd name="T56" fmla="*/ 12 w 34"/>
                    <a:gd name="T57" fmla="*/ 8 h 68"/>
                    <a:gd name="T58" fmla="*/ 8 w 34"/>
                    <a:gd name="T59" fmla="*/ 4 h 68"/>
                    <a:gd name="T60" fmla="*/ 8 w 34"/>
                    <a:gd name="T61" fmla="*/ 4 h 68"/>
                    <a:gd name="T62" fmla="*/ 8 w 34"/>
                    <a:gd name="T63" fmla="*/ 4 h 68"/>
                    <a:gd name="T64" fmla="*/ 4 w 34"/>
                    <a:gd name="T65" fmla="*/ 0 h 68"/>
                    <a:gd name="T66" fmla="*/ 8 w 34"/>
                    <a:gd name="T67" fmla="*/ 4 h 68"/>
                    <a:gd name="T68" fmla="*/ 8 w 34"/>
                    <a:gd name="T69" fmla="*/ 4 h 68"/>
                    <a:gd name="T70" fmla="*/ 12 w 34"/>
                    <a:gd name="T71" fmla="*/ 4 h 68"/>
                    <a:gd name="T72" fmla="*/ 8 w 34"/>
                    <a:gd name="T73" fmla="*/ 4 h 68"/>
                    <a:gd name="T74" fmla="*/ 12 w 34"/>
                    <a:gd name="T75" fmla="*/ 0 h 68"/>
                    <a:gd name="T76" fmla="*/ 12 w 34"/>
                    <a:gd name="T77" fmla="*/ 4 h 68"/>
                    <a:gd name="T78" fmla="*/ 16 w 34"/>
                    <a:gd name="T79" fmla="*/ 8 h 68"/>
                    <a:gd name="T80" fmla="*/ 16 w 34"/>
                    <a:gd name="T81" fmla="*/ 8 h 68"/>
                    <a:gd name="T82" fmla="*/ 20 w 34"/>
                    <a:gd name="T83" fmla="*/ 12 h 68"/>
                    <a:gd name="T84" fmla="*/ 20 w 34"/>
                    <a:gd name="T85" fmla="*/ 16 h 68"/>
                    <a:gd name="T86" fmla="*/ 20 w 34"/>
                    <a:gd name="T87" fmla="*/ 18 h 68"/>
                    <a:gd name="T88" fmla="*/ 24 w 34"/>
                    <a:gd name="T89" fmla="*/ 22 h 68"/>
                    <a:gd name="T90" fmla="*/ 24 w 34"/>
                    <a:gd name="T91" fmla="*/ 22 h 68"/>
                    <a:gd name="T92" fmla="*/ 24 w 34"/>
                    <a:gd name="T93" fmla="*/ 26 h 68"/>
                    <a:gd name="T94" fmla="*/ 26 w 34"/>
                    <a:gd name="T95" fmla="*/ 26 h 68"/>
                    <a:gd name="T96" fmla="*/ 26 w 34"/>
                    <a:gd name="T97" fmla="*/ 30 h 68"/>
                    <a:gd name="T98" fmla="*/ 30 w 34"/>
                    <a:gd name="T99" fmla="*/ 38 h 68"/>
                    <a:gd name="T100" fmla="*/ 30 w 34"/>
                    <a:gd name="T101" fmla="*/ 38 h 68"/>
                    <a:gd name="T102" fmla="*/ 30 w 34"/>
                    <a:gd name="T103" fmla="*/ 42 h 68"/>
                    <a:gd name="T104" fmla="*/ 30 w 34"/>
                    <a:gd name="T105" fmla="*/ 42 h 68"/>
                    <a:gd name="T106" fmla="*/ 34 w 34"/>
                    <a:gd name="T107" fmla="*/ 46 h 68"/>
                    <a:gd name="T108" fmla="*/ 34 w 34"/>
                    <a:gd name="T109" fmla="*/ 48 h 68"/>
                    <a:gd name="T110" fmla="*/ 30 w 34"/>
                    <a:gd name="T111" fmla="*/ 56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34" h="68">
                      <a:moveTo>
                        <a:pt x="4" y="16"/>
                      </a:move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close/>
                      <a:moveTo>
                        <a:pt x="30" y="56"/>
                      </a:moveTo>
                      <a:lnTo>
                        <a:pt x="30" y="56"/>
                      </a:lnTo>
                      <a:lnTo>
                        <a:pt x="30" y="56"/>
                      </a:lnTo>
                      <a:lnTo>
                        <a:pt x="30" y="56"/>
                      </a:lnTo>
                      <a:lnTo>
                        <a:pt x="30" y="56"/>
                      </a:lnTo>
                      <a:lnTo>
                        <a:pt x="30" y="60"/>
                      </a:lnTo>
                      <a:lnTo>
                        <a:pt x="30" y="60"/>
                      </a:lnTo>
                      <a:lnTo>
                        <a:pt x="30" y="60"/>
                      </a:lnTo>
                      <a:lnTo>
                        <a:pt x="30" y="60"/>
                      </a:lnTo>
                      <a:lnTo>
                        <a:pt x="30" y="60"/>
                      </a:lnTo>
                      <a:lnTo>
                        <a:pt x="26" y="64"/>
                      </a:lnTo>
                      <a:lnTo>
                        <a:pt x="26" y="64"/>
                      </a:lnTo>
                      <a:lnTo>
                        <a:pt x="26" y="64"/>
                      </a:lnTo>
                      <a:lnTo>
                        <a:pt x="24" y="64"/>
                      </a:lnTo>
                      <a:lnTo>
                        <a:pt x="20" y="68"/>
                      </a:lnTo>
                      <a:lnTo>
                        <a:pt x="20" y="68"/>
                      </a:lnTo>
                      <a:lnTo>
                        <a:pt x="20" y="68"/>
                      </a:lnTo>
                      <a:lnTo>
                        <a:pt x="20" y="68"/>
                      </a:lnTo>
                      <a:lnTo>
                        <a:pt x="20" y="68"/>
                      </a:lnTo>
                      <a:lnTo>
                        <a:pt x="20" y="68"/>
                      </a:lnTo>
                      <a:lnTo>
                        <a:pt x="16" y="68"/>
                      </a:lnTo>
                      <a:lnTo>
                        <a:pt x="16" y="68"/>
                      </a:lnTo>
                      <a:lnTo>
                        <a:pt x="16" y="68"/>
                      </a:lnTo>
                      <a:lnTo>
                        <a:pt x="12" y="68"/>
                      </a:lnTo>
                      <a:lnTo>
                        <a:pt x="12" y="68"/>
                      </a:lnTo>
                      <a:lnTo>
                        <a:pt x="12" y="68"/>
                      </a:lnTo>
                      <a:lnTo>
                        <a:pt x="8" y="68"/>
                      </a:lnTo>
                      <a:lnTo>
                        <a:pt x="8" y="68"/>
                      </a:lnTo>
                      <a:lnTo>
                        <a:pt x="8" y="64"/>
                      </a:lnTo>
                      <a:lnTo>
                        <a:pt x="8" y="64"/>
                      </a:lnTo>
                      <a:lnTo>
                        <a:pt x="8" y="64"/>
                      </a:lnTo>
                      <a:lnTo>
                        <a:pt x="8" y="60"/>
                      </a:lnTo>
                      <a:lnTo>
                        <a:pt x="8" y="60"/>
                      </a:lnTo>
                      <a:lnTo>
                        <a:pt x="4" y="60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4" y="52"/>
                      </a:lnTo>
                      <a:lnTo>
                        <a:pt x="4" y="52"/>
                      </a:lnTo>
                      <a:lnTo>
                        <a:pt x="4" y="52"/>
                      </a:lnTo>
                      <a:lnTo>
                        <a:pt x="4" y="52"/>
                      </a:lnTo>
                      <a:lnTo>
                        <a:pt x="4" y="48"/>
                      </a:lnTo>
                      <a:lnTo>
                        <a:pt x="4" y="48"/>
                      </a:lnTo>
                      <a:lnTo>
                        <a:pt x="4" y="48"/>
                      </a:lnTo>
                      <a:lnTo>
                        <a:pt x="4" y="46"/>
                      </a:lnTo>
                      <a:lnTo>
                        <a:pt x="4" y="46"/>
                      </a:lnTo>
                      <a:lnTo>
                        <a:pt x="4" y="46"/>
                      </a:lnTo>
                      <a:lnTo>
                        <a:pt x="4" y="46"/>
                      </a:lnTo>
                      <a:lnTo>
                        <a:pt x="4" y="42"/>
                      </a:lnTo>
                      <a:lnTo>
                        <a:pt x="4" y="42"/>
                      </a:lnTo>
                      <a:lnTo>
                        <a:pt x="4" y="38"/>
                      </a:lnTo>
                      <a:lnTo>
                        <a:pt x="4" y="38"/>
                      </a:lnTo>
                      <a:lnTo>
                        <a:pt x="4" y="38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0" y="34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0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2"/>
                      </a:lnTo>
                      <a:lnTo>
                        <a:pt x="8" y="12"/>
                      </a:lnTo>
                      <a:lnTo>
                        <a:pt x="8" y="12"/>
                      </a:lnTo>
                      <a:lnTo>
                        <a:pt x="8" y="12"/>
                      </a:lnTo>
                      <a:lnTo>
                        <a:pt x="8" y="12"/>
                      </a:lnTo>
                      <a:lnTo>
                        <a:pt x="8" y="12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8"/>
                      </a:lnTo>
                      <a:lnTo>
                        <a:pt x="12" y="8"/>
                      </a:lnTo>
                      <a:lnTo>
                        <a:pt x="12" y="8"/>
                      </a:lnTo>
                      <a:lnTo>
                        <a:pt x="12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2" y="8"/>
                      </a:lnTo>
                      <a:lnTo>
                        <a:pt x="12" y="8"/>
                      </a:lnTo>
                      <a:lnTo>
                        <a:pt x="12" y="8"/>
                      </a:lnTo>
                      <a:lnTo>
                        <a:pt x="12" y="8"/>
                      </a:lnTo>
                      <a:lnTo>
                        <a:pt x="12" y="8"/>
                      </a:lnTo>
                      <a:lnTo>
                        <a:pt x="12" y="8"/>
                      </a:lnTo>
                      <a:lnTo>
                        <a:pt x="12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8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2" y="8"/>
                      </a:lnTo>
                      <a:lnTo>
                        <a:pt x="12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8"/>
                      </a:lnTo>
                      <a:lnTo>
                        <a:pt x="24" y="18"/>
                      </a:lnTo>
                      <a:lnTo>
                        <a:pt x="24" y="22"/>
                      </a:lnTo>
                      <a:lnTo>
                        <a:pt x="24" y="22"/>
                      </a:lnTo>
                      <a:lnTo>
                        <a:pt x="24" y="22"/>
                      </a:lnTo>
                      <a:lnTo>
                        <a:pt x="24" y="22"/>
                      </a:lnTo>
                      <a:lnTo>
                        <a:pt x="24" y="22"/>
                      </a:lnTo>
                      <a:lnTo>
                        <a:pt x="24" y="22"/>
                      </a:lnTo>
                      <a:lnTo>
                        <a:pt x="24" y="22"/>
                      </a:lnTo>
                      <a:lnTo>
                        <a:pt x="24" y="22"/>
                      </a:lnTo>
                      <a:lnTo>
                        <a:pt x="24" y="22"/>
                      </a:lnTo>
                      <a:lnTo>
                        <a:pt x="24" y="22"/>
                      </a:lnTo>
                      <a:lnTo>
                        <a:pt x="24" y="26"/>
                      </a:lnTo>
                      <a:lnTo>
                        <a:pt x="24" y="26"/>
                      </a:lnTo>
                      <a:lnTo>
                        <a:pt x="24" y="26"/>
                      </a:lnTo>
                      <a:lnTo>
                        <a:pt x="24" y="26"/>
                      </a:lnTo>
                      <a:lnTo>
                        <a:pt x="24" y="26"/>
                      </a:lnTo>
                      <a:lnTo>
                        <a:pt x="24" y="26"/>
                      </a:lnTo>
                      <a:lnTo>
                        <a:pt x="24" y="26"/>
                      </a:lnTo>
                      <a:lnTo>
                        <a:pt x="26" y="22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6" y="34"/>
                      </a:lnTo>
                      <a:lnTo>
                        <a:pt x="30" y="38"/>
                      </a:lnTo>
                      <a:lnTo>
                        <a:pt x="30" y="38"/>
                      </a:lnTo>
                      <a:lnTo>
                        <a:pt x="30" y="38"/>
                      </a:lnTo>
                      <a:lnTo>
                        <a:pt x="30" y="38"/>
                      </a:lnTo>
                      <a:lnTo>
                        <a:pt x="30" y="38"/>
                      </a:lnTo>
                      <a:lnTo>
                        <a:pt x="30" y="38"/>
                      </a:lnTo>
                      <a:lnTo>
                        <a:pt x="30" y="38"/>
                      </a:lnTo>
                      <a:lnTo>
                        <a:pt x="30" y="38"/>
                      </a:lnTo>
                      <a:lnTo>
                        <a:pt x="30" y="38"/>
                      </a:lnTo>
                      <a:lnTo>
                        <a:pt x="30" y="38"/>
                      </a:lnTo>
                      <a:lnTo>
                        <a:pt x="30" y="42"/>
                      </a:lnTo>
                      <a:lnTo>
                        <a:pt x="30" y="42"/>
                      </a:lnTo>
                      <a:lnTo>
                        <a:pt x="30" y="42"/>
                      </a:lnTo>
                      <a:lnTo>
                        <a:pt x="30" y="42"/>
                      </a:lnTo>
                      <a:lnTo>
                        <a:pt x="30" y="42"/>
                      </a:lnTo>
                      <a:lnTo>
                        <a:pt x="30" y="42"/>
                      </a:lnTo>
                      <a:lnTo>
                        <a:pt x="30" y="42"/>
                      </a:lnTo>
                      <a:lnTo>
                        <a:pt x="30" y="42"/>
                      </a:lnTo>
                      <a:lnTo>
                        <a:pt x="34" y="42"/>
                      </a:lnTo>
                      <a:lnTo>
                        <a:pt x="34" y="46"/>
                      </a:lnTo>
                      <a:lnTo>
                        <a:pt x="34" y="46"/>
                      </a:lnTo>
                      <a:lnTo>
                        <a:pt x="34" y="46"/>
                      </a:lnTo>
                      <a:lnTo>
                        <a:pt x="34" y="46"/>
                      </a:lnTo>
                      <a:lnTo>
                        <a:pt x="34" y="46"/>
                      </a:lnTo>
                      <a:lnTo>
                        <a:pt x="34" y="48"/>
                      </a:lnTo>
                      <a:lnTo>
                        <a:pt x="34" y="48"/>
                      </a:lnTo>
                      <a:lnTo>
                        <a:pt x="34" y="48"/>
                      </a:lnTo>
                      <a:lnTo>
                        <a:pt x="34" y="52"/>
                      </a:lnTo>
                      <a:lnTo>
                        <a:pt x="34" y="52"/>
                      </a:lnTo>
                      <a:lnTo>
                        <a:pt x="34" y="52"/>
                      </a:lnTo>
                      <a:lnTo>
                        <a:pt x="30" y="56"/>
                      </a:lnTo>
                      <a:lnTo>
                        <a:pt x="30" y="56"/>
                      </a:lnTo>
                      <a:lnTo>
                        <a:pt x="30" y="56"/>
                      </a:lnTo>
                      <a:lnTo>
                        <a:pt x="30" y="56"/>
                      </a:lnTo>
                      <a:lnTo>
                        <a:pt x="30" y="5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5" name="Freeform 54"/>
                <p:cNvSpPr>
                  <a:spLocks/>
                </p:cNvSpPr>
                <p:nvPr/>
              </p:nvSpPr>
              <p:spPr bwMode="auto">
                <a:xfrm>
                  <a:off x="5191125" y="3508443"/>
                  <a:ext cx="155575" cy="149225"/>
                </a:xfrm>
                <a:custGeom>
                  <a:avLst/>
                  <a:gdLst>
                    <a:gd name="T0" fmla="*/ 0 w 98"/>
                    <a:gd name="T1" fmla="*/ 78 h 94"/>
                    <a:gd name="T2" fmla="*/ 4 w 98"/>
                    <a:gd name="T3" fmla="*/ 76 h 94"/>
                    <a:gd name="T4" fmla="*/ 4 w 98"/>
                    <a:gd name="T5" fmla="*/ 76 h 94"/>
                    <a:gd name="T6" fmla="*/ 4 w 98"/>
                    <a:gd name="T7" fmla="*/ 72 h 94"/>
                    <a:gd name="T8" fmla="*/ 12 w 98"/>
                    <a:gd name="T9" fmla="*/ 68 h 94"/>
                    <a:gd name="T10" fmla="*/ 12 w 98"/>
                    <a:gd name="T11" fmla="*/ 68 h 94"/>
                    <a:gd name="T12" fmla="*/ 16 w 98"/>
                    <a:gd name="T13" fmla="*/ 60 h 94"/>
                    <a:gd name="T14" fmla="*/ 12 w 98"/>
                    <a:gd name="T15" fmla="*/ 56 h 94"/>
                    <a:gd name="T16" fmla="*/ 12 w 98"/>
                    <a:gd name="T17" fmla="*/ 52 h 94"/>
                    <a:gd name="T18" fmla="*/ 8 w 98"/>
                    <a:gd name="T19" fmla="*/ 52 h 94"/>
                    <a:gd name="T20" fmla="*/ 4 w 98"/>
                    <a:gd name="T21" fmla="*/ 52 h 94"/>
                    <a:gd name="T22" fmla="*/ 4 w 98"/>
                    <a:gd name="T23" fmla="*/ 44 h 94"/>
                    <a:gd name="T24" fmla="*/ 4 w 98"/>
                    <a:gd name="T25" fmla="*/ 42 h 94"/>
                    <a:gd name="T26" fmla="*/ 4 w 98"/>
                    <a:gd name="T27" fmla="*/ 34 h 94"/>
                    <a:gd name="T28" fmla="*/ 4 w 98"/>
                    <a:gd name="T29" fmla="*/ 26 h 94"/>
                    <a:gd name="T30" fmla="*/ 8 w 98"/>
                    <a:gd name="T31" fmla="*/ 30 h 94"/>
                    <a:gd name="T32" fmla="*/ 8 w 98"/>
                    <a:gd name="T33" fmla="*/ 26 h 94"/>
                    <a:gd name="T34" fmla="*/ 12 w 98"/>
                    <a:gd name="T35" fmla="*/ 22 h 94"/>
                    <a:gd name="T36" fmla="*/ 16 w 98"/>
                    <a:gd name="T37" fmla="*/ 22 h 94"/>
                    <a:gd name="T38" fmla="*/ 16 w 98"/>
                    <a:gd name="T39" fmla="*/ 18 h 94"/>
                    <a:gd name="T40" fmla="*/ 16 w 98"/>
                    <a:gd name="T41" fmla="*/ 12 h 94"/>
                    <a:gd name="T42" fmla="*/ 24 w 98"/>
                    <a:gd name="T43" fmla="*/ 14 h 94"/>
                    <a:gd name="T44" fmla="*/ 30 w 98"/>
                    <a:gd name="T45" fmla="*/ 12 h 94"/>
                    <a:gd name="T46" fmla="*/ 34 w 98"/>
                    <a:gd name="T47" fmla="*/ 12 h 94"/>
                    <a:gd name="T48" fmla="*/ 34 w 98"/>
                    <a:gd name="T49" fmla="*/ 12 h 94"/>
                    <a:gd name="T50" fmla="*/ 42 w 98"/>
                    <a:gd name="T51" fmla="*/ 8 h 94"/>
                    <a:gd name="T52" fmla="*/ 46 w 98"/>
                    <a:gd name="T53" fmla="*/ 12 h 94"/>
                    <a:gd name="T54" fmla="*/ 50 w 98"/>
                    <a:gd name="T55" fmla="*/ 12 h 94"/>
                    <a:gd name="T56" fmla="*/ 52 w 98"/>
                    <a:gd name="T57" fmla="*/ 14 h 94"/>
                    <a:gd name="T58" fmla="*/ 60 w 98"/>
                    <a:gd name="T59" fmla="*/ 12 h 94"/>
                    <a:gd name="T60" fmla="*/ 68 w 98"/>
                    <a:gd name="T61" fmla="*/ 8 h 94"/>
                    <a:gd name="T62" fmla="*/ 72 w 98"/>
                    <a:gd name="T63" fmla="*/ 8 h 94"/>
                    <a:gd name="T64" fmla="*/ 76 w 98"/>
                    <a:gd name="T65" fmla="*/ 4 h 94"/>
                    <a:gd name="T66" fmla="*/ 82 w 98"/>
                    <a:gd name="T67" fmla="*/ 4 h 94"/>
                    <a:gd name="T68" fmla="*/ 90 w 98"/>
                    <a:gd name="T69" fmla="*/ 4 h 94"/>
                    <a:gd name="T70" fmla="*/ 94 w 98"/>
                    <a:gd name="T71" fmla="*/ 0 h 94"/>
                    <a:gd name="T72" fmla="*/ 98 w 98"/>
                    <a:gd name="T73" fmla="*/ 4 h 94"/>
                    <a:gd name="T74" fmla="*/ 82 w 98"/>
                    <a:gd name="T75" fmla="*/ 18 h 94"/>
                    <a:gd name="T76" fmla="*/ 82 w 98"/>
                    <a:gd name="T77" fmla="*/ 30 h 94"/>
                    <a:gd name="T78" fmla="*/ 82 w 98"/>
                    <a:gd name="T79" fmla="*/ 38 h 94"/>
                    <a:gd name="T80" fmla="*/ 80 w 98"/>
                    <a:gd name="T81" fmla="*/ 42 h 94"/>
                    <a:gd name="T82" fmla="*/ 80 w 98"/>
                    <a:gd name="T83" fmla="*/ 44 h 94"/>
                    <a:gd name="T84" fmla="*/ 80 w 98"/>
                    <a:gd name="T85" fmla="*/ 56 h 94"/>
                    <a:gd name="T86" fmla="*/ 60 w 98"/>
                    <a:gd name="T87" fmla="*/ 68 h 94"/>
                    <a:gd name="T88" fmla="*/ 46 w 98"/>
                    <a:gd name="T89" fmla="*/ 76 h 94"/>
                    <a:gd name="T90" fmla="*/ 30 w 98"/>
                    <a:gd name="T91" fmla="*/ 86 h 94"/>
                    <a:gd name="T92" fmla="*/ 20 w 98"/>
                    <a:gd name="T93" fmla="*/ 94 h 94"/>
                    <a:gd name="T94" fmla="*/ 12 w 98"/>
                    <a:gd name="T95" fmla="*/ 94 h 94"/>
                    <a:gd name="T96" fmla="*/ 8 w 98"/>
                    <a:gd name="T97" fmla="*/ 90 h 94"/>
                    <a:gd name="T98" fmla="*/ 4 w 98"/>
                    <a:gd name="T99" fmla="*/ 86 h 94"/>
                    <a:gd name="T100" fmla="*/ 0 w 98"/>
                    <a:gd name="T101" fmla="*/ 86 h 94"/>
                    <a:gd name="T102" fmla="*/ 0 w 98"/>
                    <a:gd name="T103" fmla="*/ 86 h 94"/>
                    <a:gd name="T104" fmla="*/ 0 w 98"/>
                    <a:gd name="T105" fmla="*/ 82 h 94"/>
                    <a:gd name="T106" fmla="*/ 0 w 98"/>
                    <a:gd name="T107" fmla="*/ 78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98" h="94">
                      <a:moveTo>
                        <a:pt x="0" y="78"/>
                      </a:moveTo>
                      <a:lnTo>
                        <a:pt x="0" y="78"/>
                      </a:lnTo>
                      <a:lnTo>
                        <a:pt x="0" y="78"/>
                      </a:lnTo>
                      <a:lnTo>
                        <a:pt x="0" y="78"/>
                      </a:lnTo>
                      <a:lnTo>
                        <a:pt x="0" y="78"/>
                      </a:lnTo>
                      <a:lnTo>
                        <a:pt x="0" y="78"/>
                      </a:lnTo>
                      <a:lnTo>
                        <a:pt x="0" y="78"/>
                      </a:lnTo>
                      <a:lnTo>
                        <a:pt x="4" y="76"/>
                      </a:lnTo>
                      <a:lnTo>
                        <a:pt x="4" y="76"/>
                      </a:lnTo>
                      <a:lnTo>
                        <a:pt x="4" y="76"/>
                      </a:lnTo>
                      <a:lnTo>
                        <a:pt x="4" y="76"/>
                      </a:lnTo>
                      <a:lnTo>
                        <a:pt x="4" y="76"/>
                      </a:lnTo>
                      <a:lnTo>
                        <a:pt x="4" y="76"/>
                      </a:lnTo>
                      <a:lnTo>
                        <a:pt x="4" y="76"/>
                      </a:lnTo>
                      <a:lnTo>
                        <a:pt x="4" y="76"/>
                      </a:lnTo>
                      <a:lnTo>
                        <a:pt x="4" y="76"/>
                      </a:lnTo>
                      <a:lnTo>
                        <a:pt x="8" y="72"/>
                      </a:lnTo>
                      <a:lnTo>
                        <a:pt x="8" y="72"/>
                      </a:lnTo>
                      <a:lnTo>
                        <a:pt x="8" y="72"/>
                      </a:lnTo>
                      <a:lnTo>
                        <a:pt x="4" y="72"/>
                      </a:lnTo>
                      <a:lnTo>
                        <a:pt x="4" y="72"/>
                      </a:lnTo>
                      <a:lnTo>
                        <a:pt x="8" y="68"/>
                      </a:lnTo>
                      <a:lnTo>
                        <a:pt x="8" y="68"/>
                      </a:lnTo>
                      <a:lnTo>
                        <a:pt x="8" y="68"/>
                      </a:lnTo>
                      <a:lnTo>
                        <a:pt x="12" y="68"/>
                      </a:lnTo>
                      <a:lnTo>
                        <a:pt x="12" y="68"/>
                      </a:lnTo>
                      <a:lnTo>
                        <a:pt x="12" y="68"/>
                      </a:lnTo>
                      <a:lnTo>
                        <a:pt x="12" y="68"/>
                      </a:lnTo>
                      <a:lnTo>
                        <a:pt x="12" y="68"/>
                      </a:lnTo>
                      <a:lnTo>
                        <a:pt x="12" y="68"/>
                      </a:lnTo>
                      <a:lnTo>
                        <a:pt x="12" y="64"/>
                      </a:lnTo>
                      <a:lnTo>
                        <a:pt x="12" y="64"/>
                      </a:lnTo>
                      <a:lnTo>
                        <a:pt x="12" y="64"/>
                      </a:lnTo>
                      <a:lnTo>
                        <a:pt x="12" y="64"/>
                      </a:lnTo>
                      <a:lnTo>
                        <a:pt x="16" y="60"/>
                      </a:lnTo>
                      <a:lnTo>
                        <a:pt x="16" y="60"/>
                      </a:lnTo>
                      <a:lnTo>
                        <a:pt x="16" y="60"/>
                      </a:lnTo>
                      <a:lnTo>
                        <a:pt x="16" y="56"/>
                      </a:lnTo>
                      <a:lnTo>
                        <a:pt x="16" y="56"/>
                      </a:lnTo>
                      <a:lnTo>
                        <a:pt x="12" y="56"/>
                      </a:lnTo>
                      <a:lnTo>
                        <a:pt x="12" y="52"/>
                      </a:lnTo>
                      <a:lnTo>
                        <a:pt x="12" y="56"/>
                      </a:lnTo>
                      <a:lnTo>
                        <a:pt x="12" y="52"/>
                      </a:lnTo>
                      <a:lnTo>
                        <a:pt x="12" y="52"/>
                      </a:lnTo>
                      <a:lnTo>
                        <a:pt x="12" y="52"/>
                      </a:lnTo>
                      <a:lnTo>
                        <a:pt x="12" y="52"/>
                      </a:lnTo>
                      <a:lnTo>
                        <a:pt x="12" y="52"/>
                      </a:lnTo>
                      <a:lnTo>
                        <a:pt x="12" y="52"/>
                      </a:lnTo>
                      <a:lnTo>
                        <a:pt x="8" y="52"/>
                      </a:lnTo>
                      <a:lnTo>
                        <a:pt x="8" y="52"/>
                      </a:lnTo>
                      <a:lnTo>
                        <a:pt x="8" y="52"/>
                      </a:lnTo>
                      <a:lnTo>
                        <a:pt x="8" y="52"/>
                      </a:lnTo>
                      <a:lnTo>
                        <a:pt x="8" y="52"/>
                      </a:lnTo>
                      <a:lnTo>
                        <a:pt x="8" y="52"/>
                      </a:lnTo>
                      <a:lnTo>
                        <a:pt x="4" y="52"/>
                      </a:lnTo>
                      <a:lnTo>
                        <a:pt x="4" y="48"/>
                      </a:lnTo>
                      <a:lnTo>
                        <a:pt x="4" y="48"/>
                      </a:lnTo>
                      <a:lnTo>
                        <a:pt x="4" y="44"/>
                      </a:lnTo>
                      <a:lnTo>
                        <a:pt x="4" y="44"/>
                      </a:lnTo>
                      <a:lnTo>
                        <a:pt x="4" y="44"/>
                      </a:lnTo>
                      <a:lnTo>
                        <a:pt x="4" y="42"/>
                      </a:lnTo>
                      <a:lnTo>
                        <a:pt x="4" y="42"/>
                      </a:lnTo>
                      <a:lnTo>
                        <a:pt x="4" y="42"/>
                      </a:lnTo>
                      <a:lnTo>
                        <a:pt x="4" y="42"/>
                      </a:lnTo>
                      <a:lnTo>
                        <a:pt x="4" y="42"/>
                      </a:lnTo>
                      <a:lnTo>
                        <a:pt x="4" y="42"/>
                      </a:lnTo>
                      <a:lnTo>
                        <a:pt x="4" y="38"/>
                      </a:lnTo>
                      <a:lnTo>
                        <a:pt x="4" y="38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26"/>
                      </a:lnTo>
                      <a:lnTo>
                        <a:pt x="8" y="26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4"/>
                      </a:lnTo>
                      <a:lnTo>
                        <a:pt x="16" y="14"/>
                      </a:lnTo>
                      <a:lnTo>
                        <a:pt x="16" y="12"/>
                      </a:lnTo>
                      <a:lnTo>
                        <a:pt x="16" y="12"/>
                      </a:lnTo>
                      <a:lnTo>
                        <a:pt x="16" y="12"/>
                      </a:lnTo>
                      <a:lnTo>
                        <a:pt x="16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4" y="12"/>
                      </a:lnTo>
                      <a:lnTo>
                        <a:pt x="24" y="14"/>
                      </a:lnTo>
                      <a:lnTo>
                        <a:pt x="24" y="14"/>
                      </a:lnTo>
                      <a:lnTo>
                        <a:pt x="24" y="14"/>
                      </a:lnTo>
                      <a:lnTo>
                        <a:pt x="26" y="14"/>
                      </a:lnTo>
                      <a:lnTo>
                        <a:pt x="26" y="14"/>
                      </a:lnTo>
                      <a:lnTo>
                        <a:pt x="30" y="12"/>
                      </a:lnTo>
                      <a:lnTo>
                        <a:pt x="30" y="12"/>
                      </a:lnTo>
                      <a:lnTo>
                        <a:pt x="30" y="12"/>
                      </a:lnTo>
                      <a:lnTo>
                        <a:pt x="30" y="12"/>
                      </a:lnTo>
                      <a:lnTo>
                        <a:pt x="30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8" y="12"/>
                      </a:lnTo>
                      <a:lnTo>
                        <a:pt x="38" y="8"/>
                      </a:lnTo>
                      <a:lnTo>
                        <a:pt x="38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6" y="12"/>
                      </a:lnTo>
                      <a:lnTo>
                        <a:pt x="46" y="12"/>
                      </a:lnTo>
                      <a:lnTo>
                        <a:pt x="46" y="12"/>
                      </a:lnTo>
                      <a:lnTo>
                        <a:pt x="46" y="12"/>
                      </a:lnTo>
                      <a:lnTo>
                        <a:pt x="50" y="12"/>
                      </a:lnTo>
                      <a:lnTo>
                        <a:pt x="50" y="12"/>
                      </a:lnTo>
                      <a:lnTo>
                        <a:pt x="50" y="12"/>
                      </a:lnTo>
                      <a:lnTo>
                        <a:pt x="50" y="12"/>
                      </a:lnTo>
                      <a:lnTo>
                        <a:pt x="50" y="12"/>
                      </a:lnTo>
                      <a:lnTo>
                        <a:pt x="50" y="12"/>
                      </a:lnTo>
                      <a:lnTo>
                        <a:pt x="50" y="12"/>
                      </a:lnTo>
                      <a:lnTo>
                        <a:pt x="52" y="14"/>
                      </a:lnTo>
                      <a:lnTo>
                        <a:pt x="52" y="14"/>
                      </a:lnTo>
                      <a:lnTo>
                        <a:pt x="52" y="14"/>
                      </a:lnTo>
                      <a:lnTo>
                        <a:pt x="52" y="14"/>
                      </a:lnTo>
                      <a:lnTo>
                        <a:pt x="56" y="12"/>
                      </a:lnTo>
                      <a:lnTo>
                        <a:pt x="56" y="12"/>
                      </a:lnTo>
                      <a:lnTo>
                        <a:pt x="60" y="12"/>
                      </a:lnTo>
                      <a:lnTo>
                        <a:pt x="64" y="12"/>
                      </a:lnTo>
                      <a:lnTo>
                        <a:pt x="64" y="12"/>
                      </a:lnTo>
                      <a:lnTo>
                        <a:pt x="64" y="12"/>
                      </a:lnTo>
                      <a:lnTo>
                        <a:pt x="68" y="8"/>
                      </a:lnTo>
                      <a:lnTo>
                        <a:pt x="68" y="8"/>
                      </a:lnTo>
                      <a:lnTo>
                        <a:pt x="68" y="8"/>
                      </a:lnTo>
                      <a:lnTo>
                        <a:pt x="68" y="8"/>
                      </a:lnTo>
                      <a:lnTo>
                        <a:pt x="68" y="8"/>
                      </a:lnTo>
                      <a:lnTo>
                        <a:pt x="72" y="8"/>
                      </a:lnTo>
                      <a:lnTo>
                        <a:pt x="72" y="8"/>
                      </a:lnTo>
                      <a:lnTo>
                        <a:pt x="72" y="8"/>
                      </a:lnTo>
                      <a:lnTo>
                        <a:pt x="72" y="4"/>
                      </a:lnTo>
                      <a:lnTo>
                        <a:pt x="72" y="4"/>
                      </a:lnTo>
                      <a:lnTo>
                        <a:pt x="76" y="4"/>
                      </a:lnTo>
                      <a:lnTo>
                        <a:pt x="76" y="4"/>
                      </a:lnTo>
                      <a:lnTo>
                        <a:pt x="76" y="4"/>
                      </a:lnTo>
                      <a:lnTo>
                        <a:pt x="76" y="4"/>
                      </a:lnTo>
                      <a:lnTo>
                        <a:pt x="80" y="4"/>
                      </a:lnTo>
                      <a:lnTo>
                        <a:pt x="80" y="4"/>
                      </a:lnTo>
                      <a:lnTo>
                        <a:pt x="82" y="4"/>
                      </a:lnTo>
                      <a:lnTo>
                        <a:pt x="82" y="4"/>
                      </a:lnTo>
                      <a:lnTo>
                        <a:pt x="82" y="4"/>
                      </a:lnTo>
                      <a:lnTo>
                        <a:pt x="86" y="4"/>
                      </a:lnTo>
                      <a:lnTo>
                        <a:pt x="90" y="4"/>
                      </a:lnTo>
                      <a:lnTo>
                        <a:pt x="90" y="4"/>
                      </a:lnTo>
                      <a:lnTo>
                        <a:pt x="94" y="4"/>
                      </a:lnTo>
                      <a:lnTo>
                        <a:pt x="94" y="4"/>
                      </a:lnTo>
                      <a:lnTo>
                        <a:pt x="94" y="4"/>
                      </a:lnTo>
                      <a:lnTo>
                        <a:pt x="94" y="0"/>
                      </a:lnTo>
                      <a:lnTo>
                        <a:pt x="94" y="0"/>
                      </a:lnTo>
                      <a:lnTo>
                        <a:pt x="98" y="0"/>
                      </a:lnTo>
                      <a:lnTo>
                        <a:pt x="98" y="4"/>
                      </a:lnTo>
                      <a:lnTo>
                        <a:pt x="98" y="4"/>
                      </a:lnTo>
                      <a:lnTo>
                        <a:pt x="98" y="4"/>
                      </a:lnTo>
                      <a:lnTo>
                        <a:pt x="98" y="4"/>
                      </a:lnTo>
                      <a:lnTo>
                        <a:pt x="98" y="8"/>
                      </a:lnTo>
                      <a:lnTo>
                        <a:pt x="98" y="8"/>
                      </a:lnTo>
                      <a:lnTo>
                        <a:pt x="90" y="14"/>
                      </a:lnTo>
                      <a:lnTo>
                        <a:pt x="82" y="14"/>
                      </a:lnTo>
                      <a:lnTo>
                        <a:pt x="82" y="18"/>
                      </a:lnTo>
                      <a:lnTo>
                        <a:pt x="82" y="18"/>
                      </a:lnTo>
                      <a:lnTo>
                        <a:pt x="82" y="26"/>
                      </a:lnTo>
                      <a:lnTo>
                        <a:pt x="82" y="26"/>
                      </a:lnTo>
                      <a:lnTo>
                        <a:pt x="82" y="30"/>
                      </a:lnTo>
                      <a:lnTo>
                        <a:pt x="82" y="30"/>
                      </a:lnTo>
                      <a:lnTo>
                        <a:pt x="82" y="34"/>
                      </a:lnTo>
                      <a:lnTo>
                        <a:pt x="82" y="34"/>
                      </a:lnTo>
                      <a:lnTo>
                        <a:pt x="82" y="34"/>
                      </a:lnTo>
                      <a:lnTo>
                        <a:pt x="82" y="38"/>
                      </a:lnTo>
                      <a:lnTo>
                        <a:pt x="82" y="38"/>
                      </a:lnTo>
                      <a:lnTo>
                        <a:pt x="82" y="38"/>
                      </a:lnTo>
                      <a:lnTo>
                        <a:pt x="82" y="38"/>
                      </a:lnTo>
                      <a:lnTo>
                        <a:pt x="82" y="38"/>
                      </a:lnTo>
                      <a:lnTo>
                        <a:pt x="82" y="38"/>
                      </a:lnTo>
                      <a:lnTo>
                        <a:pt x="80" y="42"/>
                      </a:lnTo>
                      <a:lnTo>
                        <a:pt x="80" y="42"/>
                      </a:lnTo>
                      <a:lnTo>
                        <a:pt x="80" y="42"/>
                      </a:lnTo>
                      <a:lnTo>
                        <a:pt x="80" y="42"/>
                      </a:lnTo>
                      <a:lnTo>
                        <a:pt x="80" y="42"/>
                      </a:lnTo>
                      <a:lnTo>
                        <a:pt x="80" y="44"/>
                      </a:lnTo>
                      <a:lnTo>
                        <a:pt x="80" y="44"/>
                      </a:lnTo>
                      <a:lnTo>
                        <a:pt x="80" y="48"/>
                      </a:lnTo>
                      <a:lnTo>
                        <a:pt x="80" y="52"/>
                      </a:lnTo>
                      <a:lnTo>
                        <a:pt x="80" y="56"/>
                      </a:lnTo>
                      <a:lnTo>
                        <a:pt x="80" y="56"/>
                      </a:lnTo>
                      <a:lnTo>
                        <a:pt x="72" y="60"/>
                      </a:lnTo>
                      <a:lnTo>
                        <a:pt x="68" y="64"/>
                      </a:lnTo>
                      <a:lnTo>
                        <a:pt x="64" y="64"/>
                      </a:lnTo>
                      <a:lnTo>
                        <a:pt x="64" y="64"/>
                      </a:lnTo>
                      <a:lnTo>
                        <a:pt x="60" y="68"/>
                      </a:lnTo>
                      <a:lnTo>
                        <a:pt x="56" y="68"/>
                      </a:lnTo>
                      <a:lnTo>
                        <a:pt x="52" y="72"/>
                      </a:lnTo>
                      <a:lnTo>
                        <a:pt x="50" y="76"/>
                      </a:lnTo>
                      <a:lnTo>
                        <a:pt x="46" y="76"/>
                      </a:lnTo>
                      <a:lnTo>
                        <a:pt x="46" y="76"/>
                      </a:lnTo>
                      <a:lnTo>
                        <a:pt x="46" y="76"/>
                      </a:lnTo>
                      <a:lnTo>
                        <a:pt x="42" y="78"/>
                      </a:lnTo>
                      <a:lnTo>
                        <a:pt x="38" y="78"/>
                      </a:lnTo>
                      <a:lnTo>
                        <a:pt x="34" y="82"/>
                      </a:lnTo>
                      <a:lnTo>
                        <a:pt x="30" y="86"/>
                      </a:lnTo>
                      <a:lnTo>
                        <a:pt x="26" y="90"/>
                      </a:lnTo>
                      <a:lnTo>
                        <a:pt x="26" y="90"/>
                      </a:lnTo>
                      <a:lnTo>
                        <a:pt x="26" y="90"/>
                      </a:lnTo>
                      <a:lnTo>
                        <a:pt x="24" y="90"/>
                      </a:lnTo>
                      <a:lnTo>
                        <a:pt x="20" y="94"/>
                      </a:lnTo>
                      <a:lnTo>
                        <a:pt x="20" y="94"/>
                      </a:lnTo>
                      <a:lnTo>
                        <a:pt x="16" y="94"/>
                      </a:lnTo>
                      <a:lnTo>
                        <a:pt x="16" y="94"/>
                      </a:lnTo>
                      <a:lnTo>
                        <a:pt x="16" y="94"/>
                      </a:lnTo>
                      <a:lnTo>
                        <a:pt x="12" y="94"/>
                      </a:lnTo>
                      <a:lnTo>
                        <a:pt x="12" y="94"/>
                      </a:lnTo>
                      <a:lnTo>
                        <a:pt x="12" y="94"/>
                      </a:lnTo>
                      <a:lnTo>
                        <a:pt x="12" y="94"/>
                      </a:lnTo>
                      <a:lnTo>
                        <a:pt x="8" y="90"/>
                      </a:lnTo>
                      <a:lnTo>
                        <a:pt x="8" y="90"/>
                      </a:lnTo>
                      <a:lnTo>
                        <a:pt x="8" y="90"/>
                      </a:lnTo>
                      <a:lnTo>
                        <a:pt x="8" y="90"/>
                      </a:lnTo>
                      <a:lnTo>
                        <a:pt x="8" y="90"/>
                      </a:lnTo>
                      <a:lnTo>
                        <a:pt x="8" y="90"/>
                      </a:lnTo>
                      <a:lnTo>
                        <a:pt x="4" y="86"/>
                      </a:lnTo>
                      <a:lnTo>
                        <a:pt x="4" y="86"/>
                      </a:lnTo>
                      <a:lnTo>
                        <a:pt x="4" y="86"/>
                      </a:lnTo>
                      <a:lnTo>
                        <a:pt x="0" y="86"/>
                      </a:lnTo>
                      <a:lnTo>
                        <a:pt x="0" y="90"/>
                      </a:lnTo>
                      <a:lnTo>
                        <a:pt x="0" y="86"/>
                      </a:lnTo>
                      <a:lnTo>
                        <a:pt x="0" y="86"/>
                      </a:lnTo>
                      <a:lnTo>
                        <a:pt x="0" y="86"/>
                      </a:lnTo>
                      <a:lnTo>
                        <a:pt x="0" y="86"/>
                      </a:lnTo>
                      <a:lnTo>
                        <a:pt x="0" y="86"/>
                      </a:lnTo>
                      <a:lnTo>
                        <a:pt x="0" y="86"/>
                      </a:lnTo>
                      <a:lnTo>
                        <a:pt x="0" y="86"/>
                      </a:lnTo>
                      <a:lnTo>
                        <a:pt x="0" y="86"/>
                      </a:lnTo>
                      <a:lnTo>
                        <a:pt x="0" y="82"/>
                      </a:lnTo>
                      <a:lnTo>
                        <a:pt x="0" y="82"/>
                      </a:lnTo>
                      <a:lnTo>
                        <a:pt x="0" y="82"/>
                      </a:lnTo>
                      <a:lnTo>
                        <a:pt x="0" y="82"/>
                      </a:lnTo>
                      <a:lnTo>
                        <a:pt x="0" y="82"/>
                      </a:lnTo>
                      <a:lnTo>
                        <a:pt x="0" y="78"/>
                      </a:lnTo>
                      <a:lnTo>
                        <a:pt x="0" y="78"/>
                      </a:lnTo>
                      <a:lnTo>
                        <a:pt x="0" y="78"/>
                      </a:lnTo>
                      <a:lnTo>
                        <a:pt x="0" y="78"/>
                      </a:lnTo>
                      <a:lnTo>
                        <a:pt x="0" y="7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6" name="Freeform 55"/>
                <p:cNvSpPr>
                  <a:spLocks/>
                </p:cNvSpPr>
                <p:nvPr/>
              </p:nvSpPr>
              <p:spPr bwMode="auto">
                <a:xfrm>
                  <a:off x="5908675" y="3394143"/>
                  <a:ext cx="171450" cy="139700"/>
                </a:xfrm>
                <a:custGeom>
                  <a:avLst/>
                  <a:gdLst>
                    <a:gd name="T0" fmla="*/ 100 w 108"/>
                    <a:gd name="T1" fmla="*/ 72 h 88"/>
                    <a:gd name="T2" fmla="*/ 90 w 108"/>
                    <a:gd name="T3" fmla="*/ 76 h 88"/>
                    <a:gd name="T4" fmla="*/ 90 w 108"/>
                    <a:gd name="T5" fmla="*/ 72 h 88"/>
                    <a:gd name="T6" fmla="*/ 82 w 108"/>
                    <a:gd name="T7" fmla="*/ 72 h 88"/>
                    <a:gd name="T8" fmla="*/ 74 w 108"/>
                    <a:gd name="T9" fmla="*/ 76 h 88"/>
                    <a:gd name="T10" fmla="*/ 68 w 108"/>
                    <a:gd name="T11" fmla="*/ 80 h 88"/>
                    <a:gd name="T12" fmla="*/ 60 w 108"/>
                    <a:gd name="T13" fmla="*/ 84 h 88"/>
                    <a:gd name="T14" fmla="*/ 56 w 108"/>
                    <a:gd name="T15" fmla="*/ 72 h 88"/>
                    <a:gd name="T16" fmla="*/ 60 w 108"/>
                    <a:gd name="T17" fmla="*/ 64 h 88"/>
                    <a:gd name="T18" fmla="*/ 52 w 108"/>
                    <a:gd name="T19" fmla="*/ 60 h 88"/>
                    <a:gd name="T20" fmla="*/ 52 w 108"/>
                    <a:gd name="T21" fmla="*/ 54 h 88"/>
                    <a:gd name="T22" fmla="*/ 44 w 108"/>
                    <a:gd name="T23" fmla="*/ 58 h 88"/>
                    <a:gd name="T24" fmla="*/ 38 w 108"/>
                    <a:gd name="T25" fmla="*/ 64 h 88"/>
                    <a:gd name="T26" fmla="*/ 38 w 108"/>
                    <a:gd name="T27" fmla="*/ 68 h 88"/>
                    <a:gd name="T28" fmla="*/ 26 w 108"/>
                    <a:gd name="T29" fmla="*/ 72 h 88"/>
                    <a:gd name="T30" fmla="*/ 22 w 108"/>
                    <a:gd name="T31" fmla="*/ 72 h 88"/>
                    <a:gd name="T32" fmla="*/ 12 w 108"/>
                    <a:gd name="T33" fmla="*/ 76 h 88"/>
                    <a:gd name="T34" fmla="*/ 4 w 108"/>
                    <a:gd name="T35" fmla="*/ 76 h 88"/>
                    <a:gd name="T36" fmla="*/ 8 w 108"/>
                    <a:gd name="T37" fmla="*/ 68 h 88"/>
                    <a:gd name="T38" fmla="*/ 12 w 108"/>
                    <a:gd name="T39" fmla="*/ 58 h 88"/>
                    <a:gd name="T40" fmla="*/ 12 w 108"/>
                    <a:gd name="T41" fmla="*/ 54 h 88"/>
                    <a:gd name="T42" fmla="*/ 12 w 108"/>
                    <a:gd name="T43" fmla="*/ 46 h 88"/>
                    <a:gd name="T44" fmla="*/ 4 w 108"/>
                    <a:gd name="T45" fmla="*/ 42 h 88"/>
                    <a:gd name="T46" fmla="*/ 0 w 108"/>
                    <a:gd name="T47" fmla="*/ 34 h 88"/>
                    <a:gd name="T48" fmla="*/ 8 w 108"/>
                    <a:gd name="T49" fmla="*/ 28 h 88"/>
                    <a:gd name="T50" fmla="*/ 14 w 108"/>
                    <a:gd name="T51" fmla="*/ 30 h 88"/>
                    <a:gd name="T52" fmla="*/ 18 w 108"/>
                    <a:gd name="T53" fmla="*/ 24 h 88"/>
                    <a:gd name="T54" fmla="*/ 18 w 108"/>
                    <a:gd name="T55" fmla="*/ 20 h 88"/>
                    <a:gd name="T56" fmla="*/ 18 w 108"/>
                    <a:gd name="T57" fmla="*/ 16 h 88"/>
                    <a:gd name="T58" fmla="*/ 26 w 108"/>
                    <a:gd name="T59" fmla="*/ 12 h 88"/>
                    <a:gd name="T60" fmla="*/ 30 w 108"/>
                    <a:gd name="T61" fmla="*/ 4 h 88"/>
                    <a:gd name="T62" fmla="*/ 38 w 108"/>
                    <a:gd name="T63" fmla="*/ 8 h 88"/>
                    <a:gd name="T64" fmla="*/ 42 w 108"/>
                    <a:gd name="T65" fmla="*/ 0 h 88"/>
                    <a:gd name="T66" fmla="*/ 48 w 108"/>
                    <a:gd name="T67" fmla="*/ 4 h 88"/>
                    <a:gd name="T68" fmla="*/ 44 w 108"/>
                    <a:gd name="T69" fmla="*/ 12 h 88"/>
                    <a:gd name="T70" fmla="*/ 44 w 108"/>
                    <a:gd name="T71" fmla="*/ 16 h 88"/>
                    <a:gd name="T72" fmla="*/ 44 w 108"/>
                    <a:gd name="T73" fmla="*/ 20 h 88"/>
                    <a:gd name="T74" fmla="*/ 44 w 108"/>
                    <a:gd name="T75" fmla="*/ 24 h 88"/>
                    <a:gd name="T76" fmla="*/ 38 w 108"/>
                    <a:gd name="T77" fmla="*/ 16 h 88"/>
                    <a:gd name="T78" fmla="*/ 30 w 108"/>
                    <a:gd name="T79" fmla="*/ 24 h 88"/>
                    <a:gd name="T80" fmla="*/ 26 w 108"/>
                    <a:gd name="T81" fmla="*/ 24 h 88"/>
                    <a:gd name="T82" fmla="*/ 30 w 108"/>
                    <a:gd name="T83" fmla="*/ 30 h 88"/>
                    <a:gd name="T84" fmla="*/ 42 w 108"/>
                    <a:gd name="T85" fmla="*/ 30 h 88"/>
                    <a:gd name="T86" fmla="*/ 44 w 108"/>
                    <a:gd name="T87" fmla="*/ 30 h 88"/>
                    <a:gd name="T88" fmla="*/ 52 w 108"/>
                    <a:gd name="T89" fmla="*/ 30 h 88"/>
                    <a:gd name="T90" fmla="*/ 60 w 108"/>
                    <a:gd name="T91" fmla="*/ 30 h 88"/>
                    <a:gd name="T92" fmla="*/ 60 w 108"/>
                    <a:gd name="T93" fmla="*/ 34 h 88"/>
                    <a:gd name="T94" fmla="*/ 68 w 108"/>
                    <a:gd name="T95" fmla="*/ 38 h 88"/>
                    <a:gd name="T96" fmla="*/ 74 w 108"/>
                    <a:gd name="T97" fmla="*/ 34 h 88"/>
                    <a:gd name="T98" fmla="*/ 82 w 108"/>
                    <a:gd name="T99" fmla="*/ 30 h 88"/>
                    <a:gd name="T100" fmla="*/ 90 w 108"/>
                    <a:gd name="T101" fmla="*/ 34 h 88"/>
                    <a:gd name="T102" fmla="*/ 90 w 108"/>
                    <a:gd name="T103" fmla="*/ 42 h 88"/>
                    <a:gd name="T104" fmla="*/ 94 w 108"/>
                    <a:gd name="T105" fmla="*/ 50 h 88"/>
                    <a:gd name="T106" fmla="*/ 100 w 108"/>
                    <a:gd name="T107" fmla="*/ 50 h 88"/>
                    <a:gd name="T108" fmla="*/ 104 w 108"/>
                    <a:gd name="T109" fmla="*/ 58 h 88"/>
                    <a:gd name="T110" fmla="*/ 108 w 108"/>
                    <a:gd name="T111" fmla="*/ 64 h 88"/>
                    <a:gd name="T112" fmla="*/ 108 w 108"/>
                    <a:gd name="T113" fmla="*/ 68 h 88"/>
                    <a:gd name="T114" fmla="*/ 104 w 108"/>
                    <a:gd name="T115" fmla="*/ 76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08" h="88">
                      <a:moveTo>
                        <a:pt x="104" y="76"/>
                      </a:moveTo>
                      <a:lnTo>
                        <a:pt x="104" y="72"/>
                      </a:lnTo>
                      <a:lnTo>
                        <a:pt x="100" y="72"/>
                      </a:lnTo>
                      <a:lnTo>
                        <a:pt x="98" y="72"/>
                      </a:lnTo>
                      <a:lnTo>
                        <a:pt x="94" y="72"/>
                      </a:lnTo>
                      <a:lnTo>
                        <a:pt x="90" y="76"/>
                      </a:lnTo>
                      <a:lnTo>
                        <a:pt x="86" y="76"/>
                      </a:lnTo>
                      <a:lnTo>
                        <a:pt x="86" y="72"/>
                      </a:lnTo>
                      <a:lnTo>
                        <a:pt x="90" y="72"/>
                      </a:lnTo>
                      <a:lnTo>
                        <a:pt x="86" y="72"/>
                      </a:lnTo>
                      <a:lnTo>
                        <a:pt x="86" y="68"/>
                      </a:lnTo>
                      <a:lnTo>
                        <a:pt x="82" y="72"/>
                      </a:lnTo>
                      <a:lnTo>
                        <a:pt x="78" y="72"/>
                      </a:lnTo>
                      <a:lnTo>
                        <a:pt x="78" y="76"/>
                      </a:lnTo>
                      <a:lnTo>
                        <a:pt x="74" y="76"/>
                      </a:lnTo>
                      <a:lnTo>
                        <a:pt x="74" y="80"/>
                      </a:lnTo>
                      <a:lnTo>
                        <a:pt x="70" y="80"/>
                      </a:lnTo>
                      <a:lnTo>
                        <a:pt x="68" y="80"/>
                      </a:lnTo>
                      <a:lnTo>
                        <a:pt x="64" y="84"/>
                      </a:lnTo>
                      <a:lnTo>
                        <a:pt x="60" y="88"/>
                      </a:lnTo>
                      <a:lnTo>
                        <a:pt x="60" y="84"/>
                      </a:lnTo>
                      <a:lnTo>
                        <a:pt x="56" y="80"/>
                      </a:lnTo>
                      <a:lnTo>
                        <a:pt x="56" y="76"/>
                      </a:lnTo>
                      <a:lnTo>
                        <a:pt x="56" y="72"/>
                      </a:lnTo>
                      <a:lnTo>
                        <a:pt x="56" y="68"/>
                      </a:lnTo>
                      <a:lnTo>
                        <a:pt x="56" y="64"/>
                      </a:lnTo>
                      <a:lnTo>
                        <a:pt x="60" y="64"/>
                      </a:lnTo>
                      <a:lnTo>
                        <a:pt x="60" y="60"/>
                      </a:lnTo>
                      <a:lnTo>
                        <a:pt x="56" y="60"/>
                      </a:lnTo>
                      <a:lnTo>
                        <a:pt x="52" y="60"/>
                      </a:lnTo>
                      <a:lnTo>
                        <a:pt x="56" y="58"/>
                      </a:lnTo>
                      <a:lnTo>
                        <a:pt x="56" y="54"/>
                      </a:lnTo>
                      <a:lnTo>
                        <a:pt x="52" y="54"/>
                      </a:lnTo>
                      <a:lnTo>
                        <a:pt x="48" y="50"/>
                      </a:lnTo>
                      <a:lnTo>
                        <a:pt x="44" y="54"/>
                      </a:lnTo>
                      <a:lnTo>
                        <a:pt x="44" y="58"/>
                      </a:lnTo>
                      <a:lnTo>
                        <a:pt x="42" y="60"/>
                      </a:lnTo>
                      <a:lnTo>
                        <a:pt x="38" y="60"/>
                      </a:lnTo>
                      <a:lnTo>
                        <a:pt x="38" y="64"/>
                      </a:lnTo>
                      <a:lnTo>
                        <a:pt x="42" y="64"/>
                      </a:lnTo>
                      <a:lnTo>
                        <a:pt x="42" y="68"/>
                      </a:lnTo>
                      <a:lnTo>
                        <a:pt x="38" y="68"/>
                      </a:lnTo>
                      <a:lnTo>
                        <a:pt x="34" y="68"/>
                      </a:lnTo>
                      <a:lnTo>
                        <a:pt x="30" y="68"/>
                      </a:lnTo>
                      <a:lnTo>
                        <a:pt x="26" y="72"/>
                      </a:lnTo>
                      <a:lnTo>
                        <a:pt x="26" y="76"/>
                      </a:lnTo>
                      <a:lnTo>
                        <a:pt x="22" y="76"/>
                      </a:lnTo>
                      <a:lnTo>
                        <a:pt x="22" y="72"/>
                      </a:lnTo>
                      <a:lnTo>
                        <a:pt x="18" y="72"/>
                      </a:lnTo>
                      <a:lnTo>
                        <a:pt x="14" y="76"/>
                      </a:lnTo>
                      <a:lnTo>
                        <a:pt x="12" y="76"/>
                      </a:lnTo>
                      <a:lnTo>
                        <a:pt x="12" y="80"/>
                      </a:lnTo>
                      <a:lnTo>
                        <a:pt x="8" y="80"/>
                      </a:lnTo>
                      <a:lnTo>
                        <a:pt x="4" y="76"/>
                      </a:lnTo>
                      <a:lnTo>
                        <a:pt x="4" y="72"/>
                      </a:lnTo>
                      <a:lnTo>
                        <a:pt x="4" y="68"/>
                      </a:lnTo>
                      <a:lnTo>
                        <a:pt x="8" y="68"/>
                      </a:lnTo>
                      <a:lnTo>
                        <a:pt x="8" y="64"/>
                      </a:lnTo>
                      <a:lnTo>
                        <a:pt x="12" y="60"/>
                      </a:lnTo>
                      <a:lnTo>
                        <a:pt x="12" y="58"/>
                      </a:lnTo>
                      <a:lnTo>
                        <a:pt x="14" y="58"/>
                      </a:lnTo>
                      <a:lnTo>
                        <a:pt x="12" y="58"/>
                      </a:lnTo>
                      <a:lnTo>
                        <a:pt x="12" y="54"/>
                      </a:lnTo>
                      <a:lnTo>
                        <a:pt x="8" y="50"/>
                      </a:lnTo>
                      <a:lnTo>
                        <a:pt x="8" y="46"/>
                      </a:lnTo>
                      <a:lnTo>
                        <a:pt x="12" y="46"/>
                      </a:lnTo>
                      <a:lnTo>
                        <a:pt x="12" y="42"/>
                      </a:lnTo>
                      <a:lnTo>
                        <a:pt x="8" y="42"/>
                      </a:lnTo>
                      <a:lnTo>
                        <a:pt x="4" y="42"/>
                      </a:lnTo>
                      <a:lnTo>
                        <a:pt x="4" y="38"/>
                      </a:lnTo>
                      <a:lnTo>
                        <a:pt x="0" y="38"/>
                      </a:lnTo>
                      <a:lnTo>
                        <a:pt x="0" y="34"/>
                      </a:lnTo>
                      <a:lnTo>
                        <a:pt x="0" y="30"/>
                      </a:lnTo>
                      <a:lnTo>
                        <a:pt x="4" y="28"/>
                      </a:lnTo>
                      <a:lnTo>
                        <a:pt x="8" y="28"/>
                      </a:lnTo>
                      <a:lnTo>
                        <a:pt x="8" y="30"/>
                      </a:lnTo>
                      <a:lnTo>
                        <a:pt x="12" y="30"/>
                      </a:lnTo>
                      <a:lnTo>
                        <a:pt x="14" y="30"/>
                      </a:lnTo>
                      <a:lnTo>
                        <a:pt x="14" y="28"/>
                      </a:lnTo>
                      <a:lnTo>
                        <a:pt x="14" y="24"/>
                      </a:lnTo>
                      <a:lnTo>
                        <a:pt x="18" y="24"/>
                      </a:lnTo>
                      <a:lnTo>
                        <a:pt x="18" y="20"/>
                      </a:lnTo>
                      <a:lnTo>
                        <a:pt x="22" y="20"/>
                      </a:lnTo>
                      <a:lnTo>
                        <a:pt x="18" y="20"/>
                      </a:lnTo>
                      <a:lnTo>
                        <a:pt x="14" y="20"/>
                      </a:lnTo>
                      <a:lnTo>
                        <a:pt x="14" y="16"/>
                      </a:lnTo>
                      <a:lnTo>
                        <a:pt x="18" y="16"/>
                      </a:lnTo>
                      <a:lnTo>
                        <a:pt x="22" y="16"/>
                      </a:lnTo>
                      <a:lnTo>
                        <a:pt x="26" y="16"/>
                      </a:lnTo>
                      <a:lnTo>
                        <a:pt x="26" y="12"/>
                      </a:lnTo>
                      <a:lnTo>
                        <a:pt x="26" y="8"/>
                      </a:lnTo>
                      <a:lnTo>
                        <a:pt x="26" y="4"/>
                      </a:lnTo>
                      <a:lnTo>
                        <a:pt x="30" y="4"/>
                      </a:lnTo>
                      <a:lnTo>
                        <a:pt x="30" y="8"/>
                      </a:lnTo>
                      <a:lnTo>
                        <a:pt x="34" y="8"/>
                      </a:lnTo>
                      <a:lnTo>
                        <a:pt x="38" y="8"/>
                      </a:lnTo>
                      <a:lnTo>
                        <a:pt x="38" y="4"/>
                      </a:lnTo>
                      <a:lnTo>
                        <a:pt x="42" y="4"/>
                      </a:lnTo>
                      <a:lnTo>
                        <a:pt x="42" y="0"/>
                      </a:lnTo>
                      <a:lnTo>
                        <a:pt x="44" y="0"/>
                      </a:lnTo>
                      <a:lnTo>
                        <a:pt x="44" y="4"/>
                      </a:lnTo>
                      <a:lnTo>
                        <a:pt x="48" y="4"/>
                      </a:lnTo>
                      <a:lnTo>
                        <a:pt x="48" y="8"/>
                      </a:lnTo>
                      <a:lnTo>
                        <a:pt x="44" y="8"/>
                      </a:lnTo>
                      <a:lnTo>
                        <a:pt x="44" y="12"/>
                      </a:lnTo>
                      <a:lnTo>
                        <a:pt x="42" y="12"/>
                      </a:lnTo>
                      <a:lnTo>
                        <a:pt x="42" y="16"/>
                      </a:lnTo>
                      <a:lnTo>
                        <a:pt x="44" y="16"/>
                      </a:lnTo>
                      <a:lnTo>
                        <a:pt x="48" y="16"/>
                      </a:lnTo>
                      <a:lnTo>
                        <a:pt x="48" y="20"/>
                      </a:lnTo>
                      <a:lnTo>
                        <a:pt x="44" y="20"/>
                      </a:lnTo>
                      <a:lnTo>
                        <a:pt x="44" y="24"/>
                      </a:lnTo>
                      <a:lnTo>
                        <a:pt x="42" y="24"/>
                      </a:lnTo>
                      <a:lnTo>
                        <a:pt x="44" y="24"/>
                      </a:lnTo>
                      <a:lnTo>
                        <a:pt x="44" y="20"/>
                      </a:lnTo>
                      <a:lnTo>
                        <a:pt x="42" y="20"/>
                      </a:lnTo>
                      <a:lnTo>
                        <a:pt x="38" y="16"/>
                      </a:lnTo>
                      <a:lnTo>
                        <a:pt x="34" y="20"/>
                      </a:lnTo>
                      <a:lnTo>
                        <a:pt x="30" y="20"/>
                      </a:lnTo>
                      <a:lnTo>
                        <a:pt x="30" y="24"/>
                      </a:lnTo>
                      <a:lnTo>
                        <a:pt x="26" y="24"/>
                      </a:lnTo>
                      <a:lnTo>
                        <a:pt x="26" y="20"/>
                      </a:lnTo>
                      <a:lnTo>
                        <a:pt x="26" y="24"/>
                      </a:lnTo>
                      <a:lnTo>
                        <a:pt x="26" y="28"/>
                      </a:lnTo>
                      <a:lnTo>
                        <a:pt x="26" y="30"/>
                      </a:lnTo>
                      <a:lnTo>
                        <a:pt x="30" y="30"/>
                      </a:lnTo>
                      <a:lnTo>
                        <a:pt x="34" y="30"/>
                      </a:lnTo>
                      <a:lnTo>
                        <a:pt x="38" y="30"/>
                      </a:lnTo>
                      <a:lnTo>
                        <a:pt x="42" y="30"/>
                      </a:lnTo>
                      <a:lnTo>
                        <a:pt x="42" y="28"/>
                      </a:lnTo>
                      <a:lnTo>
                        <a:pt x="44" y="28"/>
                      </a:lnTo>
                      <a:lnTo>
                        <a:pt x="44" y="30"/>
                      </a:lnTo>
                      <a:lnTo>
                        <a:pt x="48" y="30"/>
                      </a:lnTo>
                      <a:lnTo>
                        <a:pt x="48" y="34"/>
                      </a:lnTo>
                      <a:lnTo>
                        <a:pt x="52" y="30"/>
                      </a:lnTo>
                      <a:lnTo>
                        <a:pt x="56" y="30"/>
                      </a:lnTo>
                      <a:lnTo>
                        <a:pt x="56" y="28"/>
                      </a:lnTo>
                      <a:lnTo>
                        <a:pt x="60" y="30"/>
                      </a:lnTo>
                      <a:lnTo>
                        <a:pt x="56" y="30"/>
                      </a:lnTo>
                      <a:lnTo>
                        <a:pt x="60" y="30"/>
                      </a:lnTo>
                      <a:lnTo>
                        <a:pt x="60" y="34"/>
                      </a:lnTo>
                      <a:lnTo>
                        <a:pt x="64" y="34"/>
                      </a:lnTo>
                      <a:lnTo>
                        <a:pt x="68" y="34"/>
                      </a:lnTo>
                      <a:lnTo>
                        <a:pt x="68" y="38"/>
                      </a:lnTo>
                      <a:lnTo>
                        <a:pt x="68" y="34"/>
                      </a:lnTo>
                      <a:lnTo>
                        <a:pt x="70" y="34"/>
                      </a:lnTo>
                      <a:lnTo>
                        <a:pt x="74" y="34"/>
                      </a:lnTo>
                      <a:lnTo>
                        <a:pt x="78" y="34"/>
                      </a:lnTo>
                      <a:lnTo>
                        <a:pt x="82" y="34"/>
                      </a:lnTo>
                      <a:lnTo>
                        <a:pt x="82" y="30"/>
                      </a:lnTo>
                      <a:lnTo>
                        <a:pt x="86" y="30"/>
                      </a:lnTo>
                      <a:lnTo>
                        <a:pt x="90" y="30"/>
                      </a:lnTo>
                      <a:lnTo>
                        <a:pt x="90" y="34"/>
                      </a:lnTo>
                      <a:lnTo>
                        <a:pt x="86" y="34"/>
                      </a:lnTo>
                      <a:lnTo>
                        <a:pt x="90" y="38"/>
                      </a:lnTo>
                      <a:lnTo>
                        <a:pt x="90" y="42"/>
                      </a:lnTo>
                      <a:lnTo>
                        <a:pt x="90" y="46"/>
                      </a:lnTo>
                      <a:lnTo>
                        <a:pt x="90" y="50"/>
                      </a:lnTo>
                      <a:lnTo>
                        <a:pt x="94" y="50"/>
                      </a:lnTo>
                      <a:lnTo>
                        <a:pt x="94" y="46"/>
                      </a:lnTo>
                      <a:lnTo>
                        <a:pt x="98" y="46"/>
                      </a:lnTo>
                      <a:lnTo>
                        <a:pt x="100" y="50"/>
                      </a:lnTo>
                      <a:lnTo>
                        <a:pt x="104" y="50"/>
                      </a:lnTo>
                      <a:lnTo>
                        <a:pt x="104" y="54"/>
                      </a:lnTo>
                      <a:lnTo>
                        <a:pt x="104" y="58"/>
                      </a:lnTo>
                      <a:lnTo>
                        <a:pt x="104" y="60"/>
                      </a:lnTo>
                      <a:lnTo>
                        <a:pt x="104" y="64"/>
                      </a:lnTo>
                      <a:lnTo>
                        <a:pt x="108" y="64"/>
                      </a:lnTo>
                      <a:lnTo>
                        <a:pt x="104" y="64"/>
                      </a:lnTo>
                      <a:lnTo>
                        <a:pt x="104" y="68"/>
                      </a:lnTo>
                      <a:lnTo>
                        <a:pt x="108" y="68"/>
                      </a:lnTo>
                      <a:lnTo>
                        <a:pt x="108" y="72"/>
                      </a:lnTo>
                      <a:lnTo>
                        <a:pt x="104" y="76"/>
                      </a:lnTo>
                      <a:lnTo>
                        <a:pt x="104" y="76"/>
                      </a:lnTo>
                      <a:lnTo>
                        <a:pt x="104" y="7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7" name="Freeform 56"/>
                <p:cNvSpPr>
                  <a:spLocks noEditPoints="1"/>
                </p:cNvSpPr>
                <p:nvPr/>
              </p:nvSpPr>
              <p:spPr bwMode="auto">
                <a:xfrm>
                  <a:off x="6578600" y="4000568"/>
                  <a:ext cx="187325" cy="409575"/>
                </a:xfrm>
                <a:custGeom>
                  <a:avLst/>
                  <a:gdLst>
                    <a:gd name="T0" fmla="*/ 54 w 118"/>
                    <a:gd name="T1" fmla="*/ 258 h 258"/>
                    <a:gd name="T2" fmla="*/ 50 w 118"/>
                    <a:gd name="T3" fmla="*/ 246 h 258"/>
                    <a:gd name="T4" fmla="*/ 40 w 118"/>
                    <a:gd name="T5" fmla="*/ 242 h 258"/>
                    <a:gd name="T6" fmla="*/ 36 w 118"/>
                    <a:gd name="T7" fmla="*/ 232 h 258"/>
                    <a:gd name="T8" fmla="*/ 24 w 118"/>
                    <a:gd name="T9" fmla="*/ 220 h 258"/>
                    <a:gd name="T10" fmla="*/ 18 w 118"/>
                    <a:gd name="T11" fmla="*/ 212 h 258"/>
                    <a:gd name="T12" fmla="*/ 14 w 118"/>
                    <a:gd name="T13" fmla="*/ 202 h 258"/>
                    <a:gd name="T14" fmla="*/ 18 w 118"/>
                    <a:gd name="T15" fmla="*/ 182 h 258"/>
                    <a:gd name="T16" fmla="*/ 28 w 118"/>
                    <a:gd name="T17" fmla="*/ 160 h 258"/>
                    <a:gd name="T18" fmla="*/ 32 w 118"/>
                    <a:gd name="T19" fmla="*/ 142 h 258"/>
                    <a:gd name="T20" fmla="*/ 28 w 118"/>
                    <a:gd name="T21" fmla="*/ 122 h 258"/>
                    <a:gd name="T22" fmla="*/ 20 w 118"/>
                    <a:gd name="T23" fmla="*/ 108 h 258"/>
                    <a:gd name="T24" fmla="*/ 14 w 118"/>
                    <a:gd name="T25" fmla="*/ 94 h 258"/>
                    <a:gd name="T26" fmla="*/ 18 w 118"/>
                    <a:gd name="T27" fmla="*/ 74 h 258"/>
                    <a:gd name="T28" fmla="*/ 18 w 118"/>
                    <a:gd name="T29" fmla="*/ 60 h 258"/>
                    <a:gd name="T30" fmla="*/ 6 w 118"/>
                    <a:gd name="T31" fmla="*/ 48 h 258"/>
                    <a:gd name="T32" fmla="*/ 4 w 118"/>
                    <a:gd name="T33" fmla="*/ 34 h 258"/>
                    <a:gd name="T34" fmla="*/ 6 w 118"/>
                    <a:gd name="T35" fmla="*/ 22 h 258"/>
                    <a:gd name="T36" fmla="*/ 18 w 118"/>
                    <a:gd name="T37" fmla="*/ 12 h 258"/>
                    <a:gd name="T38" fmla="*/ 28 w 118"/>
                    <a:gd name="T39" fmla="*/ 8 h 258"/>
                    <a:gd name="T40" fmla="*/ 40 w 118"/>
                    <a:gd name="T41" fmla="*/ 4 h 258"/>
                    <a:gd name="T42" fmla="*/ 44 w 118"/>
                    <a:gd name="T43" fmla="*/ 12 h 258"/>
                    <a:gd name="T44" fmla="*/ 54 w 118"/>
                    <a:gd name="T45" fmla="*/ 22 h 258"/>
                    <a:gd name="T46" fmla="*/ 54 w 118"/>
                    <a:gd name="T47" fmla="*/ 38 h 258"/>
                    <a:gd name="T48" fmla="*/ 54 w 118"/>
                    <a:gd name="T49" fmla="*/ 52 h 258"/>
                    <a:gd name="T50" fmla="*/ 66 w 118"/>
                    <a:gd name="T51" fmla="*/ 40 h 258"/>
                    <a:gd name="T52" fmla="*/ 76 w 118"/>
                    <a:gd name="T53" fmla="*/ 44 h 258"/>
                    <a:gd name="T54" fmla="*/ 88 w 118"/>
                    <a:gd name="T55" fmla="*/ 38 h 258"/>
                    <a:gd name="T56" fmla="*/ 102 w 118"/>
                    <a:gd name="T57" fmla="*/ 48 h 258"/>
                    <a:gd name="T58" fmla="*/ 106 w 118"/>
                    <a:gd name="T59" fmla="*/ 64 h 258"/>
                    <a:gd name="T60" fmla="*/ 110 w 118"/>
                    <a:gd name="T61" fmla="*/ 78 h 258"/>
                    <a:gd name="T62" fmla="*/ 114 w 118"/>
                    <a:gd name="T63" fmla="*/ 94 h 258"/>
                    <a:gd name="T64" fmla="*/ 110 w 118"/>
                    <a:gd name="T65" fmla="*/ 104 h 258"/>
                    <a:gd name="T66" fmla="*/ 96 w 118"/>
                    <a:gd name="T67" fmla="*/ 104 h 258"/>
                    <a:gd name="T68" fmla="*/ 80 w 118"/>
                    <a:gd name="T69" fmla="*/ 112 h 258"/>
                    <a:gd name="T70" fmla="*/ 70 w 118"/>
                    <a:gd name="T71" fmla="*/ 122 h 258"/>
                    <a:gd name="T72" fmla="*/ 76 w 118"/>
                    <a:gd name="T73" fmla="*/ 142 h 258"/>
                    <a:gd name="T74" fmla="*/ 76 w 118"/>
                    <a:gd name="T75" fmla="*/ 146 h 258"/>
                    <a:gd name="T76" fmla="*/ 66 w 118"/>
                    <a:gd name="T77" fmla="*/ 134 h 258"/>
                    <a:gd name="T78" fmla="*/ 50 w 118"/>
                    <a:gd name="T79" fmla="*/ 134 h 258"/>
                    <a:gd name="T80" fmla="*/ 50 w 118"/>
                    <a:gd name="T81" fmla="*/ 120 h 258"/>
                    <a:gd name="T82" fmla="*/ 40 w 118"/>
                    <a:gd name="T83" fmla="*/ 126 h 258"/>
                    <a:gd name="T84" fmla="*/ 36 w 118"/>
                    <a:gd name="T85" fmla="*/ 148 h 258"/>
                    <a:gd name="T86" fmla="*/ 28 w 118"/>
                    <a:gd name="T87" fmla="*/ 168 h 258"/>
                    <a:gd name="T88" fmla="*/ 28 w 118"/>
                    <a:gd name="T89" fmla="*/ 190 h 258"/>
                    <a:gd name="T90" fmla="*/ 36 w 118"/>
                    <a:gd name="T91" fmla="*/ 204 h 258"/>
                    <a:gd name="T92" fmla="*/ 44 w 118"/>
                    <a:gd name="T93" fmla="*/ 212 h 258"/>
                    <a:gd name="T94" fmla="*/ 46 w 118"/>
                    <a:gd name="T95" fmla="*/ 232 h 258"/>
                    <a:gd name="T96" fmla="*/ 40 w 118"/>
                    <a:gd name="T97" fmla="*/ 224 h 258"/>
                    <a:gd name="T98" fmla="*/ 46 w 118"/>
                    <a:gd name="T99" fmla="*/ 232 h 258"/>
                    <a:gd name="T100" fmla="*/ 58 w 118"/>
                    <a:gd name="T101" fmla="*/ 234 h 258"/>
                    <a:gd name="T102" fmla="*/ 66 w 118"/>
                    <a:gd name="T103" fmla="*/ 254 h 258"/>
                    <a:gd name="T104" fmla="*/ 18 w 118"/>
                    <a:gd name="T105" fmla="*/ 212 h 258"/>
                    <a:gd name="T106" fmla="*/ 32 w 118"/>
                    <a:gd name="T107" fmla="*/ 238 h 258"/>
                    <a:gd name="T108" fmla="*/ 72 w 118"/>
                    <a:gd name="T109" fmla="*/ 146 h 258"/>
                    <a:gd name="T110" fmla="*/ 72 w 118"/>
                    <a:gd name="T111" fmla="*/ 148 h 258"/>
                    <a:gd name="T112" fmla="*/ 40 w 118"/>
                    <a:gd name="T113" fmla="*/ 190 h 258"/>
                    <a:gd name="T114" fmla="*/ 14 w 118"/>
                    <a:gd name="T115" fmla="*/ 216 h 2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18" h="258">
                      <a:moveTo>
                        <a:pt x="62" y="254"/>
                      </a:moveTo>
                      <a:lnTo>
                        <a:pt x="62" y="250"/>
                      </a:lnTo>
                      <a:lnTo>
                        <a:pt x="58" y="250"/>
                      </a:lnTo>
                      <a:lnTo>
                        <a:pt x="58" y="254"/>
                      </a:lnTo>
                      <a:lnTo>
                        <a:pt x="54" y="254"/>
                      </a:lnTo>
                      <a:lnTo>
                        <a:pt x="54" y="258"/>
                      </a:lnTo>
                      <a:lnTo>
                        <a:pt x="54" y="254"/>
                      </a:lnTo>
                      <a:lnTo>
                        <a:pt x="50" y="254"/>
                      </a:lnTo>
                      <a:lnTo>
                        <a:pt x="50" y="250"/>
                      </a:lnTo>
                      <a:lnTo>
                        <a:pt x="54" y="250"/>
                      </a:lnTo>
                      <a:lnTo>
                        <a:pt x="54" y="246"/>
                      </a:lnTo>
                      <a:lnTo>
                        <a:pt x="50" y="246"/>
                      </a:lnTo>
                      <a:lnTo>
                        <a:pt x="50" y="242"/>
                      </a:lnTo>
                      <a:lnTo>
                        <a:pt x="46" y="242"/>
                      </a:lnTo>
                      <a:lnTo>
                        <a:pt x="44" y="242"/>
                      </a:lnTo>
                      <a:lnTo>
                        <a:pt x="44" y="238"/>
                      </a:lnTo>
                      <a:lnTo>
                        <a:pt x="40" y="238"/>
                      </a:lnTo>
                      <a:lnTo>
                        <a:pt x="40" y="242"/>
                      </a:lnTo>
                      <a:lnTo>
                        <a:pt x="40" y="238"/>
                      </a:lnTo>
                      <a:lnTo>
                        <a:pt x="36" y="238"/>
                      </a:lnTo>
                      <a:lnTo>
                        <a:pt x="36" y="234"/>
                      </a:lnTo>
                      <a:lnTo>
                        <a:pt x="32" y="234"/>
                      </a:lnTo>
                      <a:lnTo>
                        <a:pt x="32" y="232"/>
                      </a:lnTo>
                      <a:lnTo>
                        <a:pt x="36" y="232"/>
                      </a:lnTo>
                      <a:lnTo>
                        <a:pt x="32" y="232"/>
                      </a:lnTo>
                      <a:lnTo>
                        <a:pt x="32" y="228"/>
                      </a:lnTo>
                      <a:lnTo>
                        <a:pt x="28" y="228"/>
                      </a:lnTo>
                      <a:lnTo>
                        <a:pt x="28" y="224"/>
                      </a:lnTo>
                      <a:lnTo>
                        <a:pt x="28" y="220"/>
                      </a:lnTo>
                      <a:lnTo>
                        <a:pt x="24" y="220"/>
                      </a:lnTo>
                      <a:lnTo>
                        <a:pt x="24" y="216"/>
                      </a:lnTo>
                      <a:lnTo>
                        <a:pt x="20" y="216"/>
                      </a:lnTo>
                      <a:lnTo>
                        <a:pt x="20" y="212"/>
                      </a:lnTo>
                      <a:lnTo>
                        <a:pt x="20" y="208"/>
                      </a:lnTo>
                      <a:lnTo>
                        <a:pt x="18" y="208"/>
                      </a:lnTo>
                      <a:lnTo>
                        <a:pt x="18" y="212"/>
                      </a:lnTo>
                      <a:lnTo>
                        <a:pt x="18" y="208"/>
                      </a:lnTo>
                      <a:lnTo>
                        <a:pt x="18" y="212"/>
                      </a:lnTo>
                      <a:lnTo>
                        <a:pt x="14" y="212"/>
                      </a:lnTo>
                      <a:lnTo>
                        <a:pt x="14" y="208"/>
                      </a:lnTo>
                      <a:lnTo>
                        <a:pt x="14" y="204"/>
                      </a:lnTo>
                      <a:lnTo>
                        <a:pt x="14" y="202"/>
                      </a:lnTo>
                      <a:lnTo>
                        <a:pt x="14" y="198"/>
                      </a:lnTo>
                      <a:lnTo>
                        <a:pt x="14" y="194"/>
                      </a:lnTo>
                      <a:lnTo>
                        <a:pt x="14" y="190"/>
                      </a:lnTo>
                      <a:lnTo>
                        <a:pt x="18" y="190"/>
                      </a:lnTo>
                      <a:lnTo>
                        <a:pt x="18" y="186"/>
                      </a:lnTo>
                      <a:lnTo>
                        <a:pt x="18" y="182"/>
                      </a:lnTo>
                      <a:lnTo>
                        <a:pt x="20" y="178"/>
                      </a:lnTo>
                      <a:lnTo>
                        <a:pt x="20" y="176"/>
                      </a:lnTo>
                      <a:lnTo>
                        <a:pt x="20" y="172"/>
                      </a:lnTo>
                      <a:lnTo>
                        <a:pt x="20" y="168"/>
                      </a:lnTo>
                      <a:lnTo>
                        <a:pt x="24" y="164"/>
                      </a:lnTo>
                      <a:lnTo>
                        <a:pt x="28" y="160"/>
                      </a:lnTo>
                      <a:lnTo>
                        <a:pt x="28" y="156"/>
                      </a:lnTo>
                      <a:lnTo>
                        <a:pt x="28" y="152"/>
                      </a:lnTo>
                      <a:lnTo>
                        <a:pt x="32" y="152"/>
                      </a:lnTo>
                      <a:lnTo>
                        <a:pt x="32" y="148"/>
                      </a:lnTo>
                      <a:lnTo>
                        <a:pt x="32" y="146"/>
                      </a:lnTo>
                      <a:lnTo>
                        <a:pt x="32" y="142"/>
                      </a:lnTo>
                      <a:lnTo>
                        <a:pt x="28" y="142"/>
                      </a:lnTo>
                      <a:lnTo>
                        <a:pt x="28" y="138"/>
                      </a:lnTo>
                      <a:lnTo>
                        <a:pt x="28" y="134"/>
                      </a:lnTo>
                      <a:lnTo>
                        <a:pt x="24" y="126"/>
                      </a:lnTo>
                      <a:lnTo>
                        <a:pt x="28" y="126"/>
                      </a:lnTo>
                      <a:lnTo>
                        <a:pt x="28" y="122"/>
                      </a:lnTo>
                      <a:lnTo>
                        <a:pt x="24" y="122"/>
                      </a:lnTo>
                      <a:lnTo>
                        <a:pt x="24" y="120"/>
                      </a:lnTo>
                      <a:lnTo>
                        <a:pt x="24" y="116"/>
                      </a:lnTo>
                      <a:lnTo>
                        <a:pt x="24" y="112"/>
                      </a:lnTo>
                      <a:lnTo>
                        <a:pt x="20" y="112"/>
                      </a:lnTo>
                      <a:lnTo>
                        <a:pt x="20" y="108"/>
                      </a:lnTo>
                      <a:lnTo>
                        <a:pt x="18" y="108"/>
                      </a:lnTo>
                      <a:lnTo>
                        <a:pt x="18" y="104"/>
                      </a:lnTo>
                      <a:lnTo>
                        <a:pt x="18" y="100"/>
                      </a:lnTo>
                      <a:lnTo>
                        <a:pt x="14" y="100"/>
                      </a:lnTo>
                      <a:lnTo>
                        <a:pt x="14" y="96"/>
                      </a:lnTo>
                      <a:lnTo>
                        <a:pt x="14" y="94"/>
                      </a:lnTo>
                      <a:lnTo>
                        <a:pt x="14" y="90"/>
                      </a:lnTo>
                      <a:lnTo>
                        <a:pt x="18" y="90"/>
                      </a:lnTo>
                      <a:lnTo>
                        <a:pt x="18" y="86"/>
                      </a:lnTo>
                      <a:lnTo>
                        <a:pt x="18" y="82"/>
                      </a:lnTo>
                      <a:lnTo>
                        <a:pt x="18" y="78"/>
                      </a:lnTo>
                      <a:lnTo>
                        <a:pt x="18" y="74"/>
                      </a:lnTo>
                      <a:lnTo>
                        <a:pt x="20" y="74"/>
                      </a:lnTo>
                      <a:lnTo>
                        <a:pt x="20" y="70"/>
                      </a:lnTo>
                      <a:lnTo>
                        <a:pt x="18" y="70"/>
                      </a:lnTo>
                      <a:lnTo>
                        <a:pt x="18" y="66"/>
                      </a:lnTo>
                      <a:lnTo>
                        <a:pt x="18" y="64"/>
                      </a:lnTo>
                      <a:lnTo>
                        <a:pt x="18" y="60"/>
                      </a:lnTo>
                      <a:lnTo>
                        <a:pt x="14" y="60"/>
                      </a:lnTo>
                      <a:lnTo>
                        <a:pt x="14" y="56"/>
                      </a:lnTo>
                      <a:lnTo>
                        <a:pt x="10" y="56"/>
                      </a:lnTo>
                      <a:lnTo>
                        <a:pt x="10" y="52"/>
                      </a:lnTo>
                      <a:lnTo>
                        <a:pt x="10" y="48"/>
                      </a:lnTo>
                      <a:lnTo>
                        <a:pt x="6" y="48"/>
                      </a:lnTo>
                      <a:lnTo>
                        <a:pt x="6" y="44"/>
                      </a:lnTo>
                      <a:lnTo>
                        <a:pt x="6" y="40"/>
                      </a:lnTo>
                      <a:lnTo>
                        <a:pt x="4" y="38"/>
                      </a:lnTo>
                      <a:lnTo>
                        <a:pt x="6" y="38"/>
                      </a:lnTo>
                      <a:lnTo>
                        <a:pt x="4" y="38"/>
                      </a:lnTo>
                      <a:lnTo>
                        <a:pt x="4" y="34"/>
                      </a:lnTo>
                      <a:lnTo>
                        <a:pt x="0" y="34"/>
                      </a:lnTo>
                      <a:lnTo>
                        <a:pt x="4" y="34"/>
                      </a:lnTo>
                      <a:lnTo>
                        <a:pt x="6" y="34"/>
                      </a:lnTo>
                      <a:lnTo>
                        <a:pt x="6" y="30"/>
                      </a:lnTo>
                      <a:lnTo>
                        <a:pt x="6" y="26"/>
                      </a:lnTo>
                      <a:lnTo>
                        <a:pt x="6" y="22"/>
                      </a:lnTo>
                      <a:lnTo>
                        <a:pt x="6" y="18"/>
                      </a:lnTo>
                      <a:lnTo>
                        <a:pt x="6" y="14"/>
                      </a:lnTo>
                      <a:lnTo>
                        <a:pt x="10" y="14"/>
                      </a:lnTo>
                      <a:lnTo>
                        <a:pt x="10" y="12"/>
                      </a:lnTo>
                      <a:lnTo>
                        <a:pt x="14" y="12"/>
                      </a:lnTo>
                      <a:lnTo>
                        <a:pt x="18" y="12"/>
                      </a:lnTo>
                      <a:lnTo>
                        <a:pt x="20" y="12"/>
                      </a:lnTo>
                      <a:lnTo>
                        <a:pt x="24" y="12"/>
                      </a:lnTo>
                      <a:lnTo>
                        <a:pt x="24" y="8"/>
                      </a:lnTo>
                      <a:lnTo>
                        <a:pt x="24" y="4"/>
                      </a:lnTo>
                      <a:lnTo>
                        <a:pt x="28" y="4"/>
                      </a:lnTo>
                      <a:lnTo>
                        <a:pt x="28" y="8"/>
                      </a:lnTo>
                      <a:lnTo>
                        <a:pt x="28" y="4"/>
                      </a:lnTo>
                      <a:lnTo>
                        <a:pt x="32" y="4"/>
                      </a:lnTo>
                      <a:lnTo>
                        <a:pt x="32" y="0"/>
                      </a:lnTo>
                      <a:lnTo>
                        <a:pt x="36" y="0"/>
                      </a:lnTo>
                      <a:lnTo>
                        <a:pt x="40" y="0"/>
                      </a:lnTo>
                      <a:lnTo>
                        <a:pt x="40" y="4"/>
                      </a:lnTo>
                      <a:lnTo>
                        <a:pt x="40" y="0"/>
                      </a:lnTo>
                      <a:lnTo>
                        <a:pt x="44" y="0"/>
                      </a:lnTo>
                      <a:lnTo>
                        <a:pt x="44" y="4"/>
                      </a:lnTo>
                      <a:lnTo>
                        <a:pt x="46" y="4"/>
                      </a:lnTo>
                      <a:lnTo>
                        <a:pt x="46" y="8"/>
                      </a:lnTo>
                      <a:lnTo>
                        <a:pt x="44" y="12"/>
                      </a:lnTo>
                      <a:lnTo>
                        <a:pt x="44" y="14"/>
                      </a:lnTo>
                      <a:lnTo>
                        <a:pt x="46" y="14"/>
                      </a:lnTo>
                      <a:lnTo>
                        <a:pt x="50" y="14"/>
                      </a:lnTo>
                      <a:lnTo>
                        <a:pt x="54" y="14"/>
                      </a:lnTo>
                      <a:lnTo>
                        <a:pt x="54" y="18"/>
                      </a:lnTo>
                      <a:lnTo>
                        <a:pt x="54" y="22"/>
                      </a:lnTo>
                      <a:lnTo>
                        <a:pt x="58" y="22"/>
                      </a:lnTo>
                      <a:lnTo>
                        <a:pt x="58" y="26"/>
                      </a:lnTo>
                      <a:lnTo>
                        <a:pt x="54" y="26"/>
                      </a:lnTo>
                      <a:lnTo>
                        <a:pt x="54" y="30"/>
                      </a:lnTo>
                      <a:lnTo>
                        <a:pt x="54" y="34"/>
                      </a:lnTo>
                      <a:lnTo>
                        <a:pt x="54" y="38"/>
                      </a:lnTo>
                      <a:lnTo>
                        <a:pt x="54" y="40"/>
                      </a:lnTo>
                      <a:lnTo>
                        <a:pt x="54" y="44"/>
                      </a:lnTo>
                      <a:lnTo>
                        <a:pt x="50" y="44"/>
                      </a:lnTo>
                      <a:lnTo>
                        <a:pt x="50" y="48"/>
                      </a:lnTo>
                      <a:lnTo>
                        <a:pt x="50" y="52"/>
                      </a:lnTo>
                      <a:lnTo>
                        <a:pt x="54" y="52"/>
                      </a:lnTo>
                      <a:lnTo>
                        <a:pt x="54" y="48"/>
                      </a:lnTo>
                      <a:lnTo>
                        <a:pt x="58" y="48"/>
                      </a:lnTo>
                      <a:lnTo>
                        <a:pt x="58" y="44"/>
                      </a:lnTo>
                      <a:lnTo>
                        <a:pt x="62" y="44"/>
                      </a:lnTo>
                      <a:lnTo>
                        <a:pt x="62" y="40"/>
                      </a:lnTo>
                      <a:lnTo>
                        <a:pt x="66" y="40"/>
                      </a:lnTo>
                      <a:lnTo>
                        <a:pt x="66" y="38"/>
                      </a:lnTo>
                      <a:lnTo>
                        <a:pt x="70" y="38"/>
                      </a:lnTo>
                      <a:lnTo>
                        <a:pt x="70" y="40"/>
                      </a:lnTo>
                      <a:lnTo>
                        <a:pt x="72" y="40"/>
                      </a:lnTo>
                      <a:lnTo>
                        <a:pt x="72" y="44"/>
                      </a:lnTo>
                      <a:lnTo>
                        <a:pt x="76" y="44"/>
                      </a:lnTo>
                      <a:lnTo>
                        <a:pt x="76" y="40"/>
                      </a:lnTo>
                      <a:lnTo>
                        <a:pt x="80" y="40"/>
                      </a:lnTo>
                      <a:lnTo>
                        <a:pt x="84" y="38"/>
                      </a:lnTo>
                      <a:lnTo>
                        <a:pt x="84" y="34"/>
                      </a:lnTo>
                      <a:lnTo>
                        <a:pt x="88" y="34"/>
                      </a:lnTo>
                      <a:lnTo>
                        <a:pt x="88" y="38"/>
                      </a:lnTo>
                      <a:lnTo>
                        <a:pt x="92" y="38"/>
                      </a:lnTo>
                      <a:lnTo>
                        <a:pt x="96" y="38"/>
                      </a:lnTo>
                      <a:lnTo>
                        <a:pt x="96" y="40"/>
                      </a:lnTo>
                      <a:lnTo>
                        <a:pt x="98" y="44"/>
                      </a:lnTo>
                      <a:lnTo>
                        <a:pt x="98" y="48"/>
                      </a:lnTo>
                      <a:lnTo>
                        <a:pt x="102" y="48"/>
                      </a:lnTo>
                      <a:lnTo>
                        <a:pt x="102" y="52"/>
                      </a:lnTo>
                      <a:lnTo>
                        <a:pt x="106" y="52"/>
                      </a:lnTo>
                      <a:lnTo>
                        <a:pt x="106" y="56"/>
                      </a:lnTo>
                      <a:lnTo>
                        <a:pt x="106" y="60"/>
                      </a:lnTo>
                      <a:lnTo>
                        <a:pt x="102" y="60"/>
                      </a:lnTo>
                      <a:lnTo>
                        <a:pt x="106" y="64"/>
                      </a:lnTo>
                      <a:lnTo>
                        <a:pt x="106" y="66"/>
                      </a:lnTo>
                      <a:lnTo>
                        <a:pt x="102" y="66"/>
                      </a:lnTo>
                      <a:lnTo>
                        <a:pt x="106" y="66"/>
                      </a:lnTo>
                      <a:lnTo>
                        <a:pt x="106" y="70"/>
                      </a:lnTo>
                      <a:lnTo>
                        <a:pt x="110" y="74"/>
                      </a:lnTo>
                      <a:lnTo>
                        <a:pt x="110" y="78"/>
                      </a:lnTo>
                      <a:lnTo>
                        <a:pt x="114" y="78"/>
                      </a:lnTo>
                      <a:lnTo>
                        <a:pt x="114" y="82"/>
                      </a:lnTo>
                      <a:lnTo>
                        <a:pt x="118" y="82"/>
                      </a:lnTo>
                      <a:lnTo>
                        <a:pt x="118" y="86"/>
                      </a:lnTo>
                      <a:lnTo>
                        <a:pt x="118" y="90"/>
                      </a:lnTo>
                      <a:lnTo>
                        <a:pt x="114" y="94"/>
                      </a:lnTo>
                      <a:lnTo>
                        <a:pt x="118" y="94"/>
                      </a:lnTo>
                      <a:lnTo>
                        <a:pt x="118" y="96"/>
                      </a:lnTo>
                      <a:lnTo>
                        <a:pt x="114" y="96"/>
                      </a:lnTo>
                      <a:lnTo>
                        <a:pt x="114" y="100"/>
                      </a:lnTo>
                      <a:lnTo>
                        <a:pt x="114" y="104"/>
                      </a:lnTo>
                      <a:lnTo>
                        <a:pt x="110" y="104"/>
                      </a:lnTo>
                      <a:lnTo>
                        <a:pt x="110" y="108"/>
                      </a:lnTo>
                      <a:lnTo>
                        <a:pt x="106" y="108"/>
                      </a:lnTo>
                      <a:lnTo>
                        <a:pt x="106" y="104"/>
                      </a:lnTo>
                      <a:lnTo>
                        <a:pt x="102" y="104"/>
                      </a:lnTo>
                      <a:lnTo>
                        <a:pt x="98" y="104"/>
                      </a:lnTo>
                      <a:lnTo>
                        <a:pt x="96" y="104"/>
                      </a:lnTo>
                      <a:lnTo>
                        <a:pt x="92" y="104"/>
                      </a:lnTo>
                      <a:lnTo>
                        <a:pt x="88" y="104"/>
                      </a:lnTo>
                      <a:lnTo>
                        <a:pt x="84" y="104"/>
                      </a:lnTo>
                      <a:lnTo>
                        <a:pt x="84" y="108"/>
                      </a:lnTo>
                      <a:lnTo>
                        <a:pt x="80" y="108"/>
                      </a:lnTo>
                      <a:lnTo>
                        <a:pt x="80" y="112"/>
                      </a:lnTo>
                      <a:lnTo>
                        <a:pt x="76" y="112"/>
                      </a:lnTo>
                      <a:lnTo>
                        <a:pt x="76" y="116"/>
                      </a:lnTo>
                      <a:lnTo>
                        <a:pt x="72" y="116"/>
                      </a:lnTo>
                      <a:lnTo>
                        <a:pt x="72" y="120"/>
                      </a:lnTo>
                      <a:lnTo>
                        <a:pt x="70" y="120"/>
                      </a:lnTo>
                      <a:lnTo>
                        <a:pt x="70" y="122"/>
                      </a:lnTo>
                      <a:lnTo>
                        <a:pt x="72" y="126"/>
                      </a:lnTo>
                      <a:lnTo>
                        <a:pt x="72" y="130"/>
                      </a:lnTo>
                      <a:lnTo>
                        <a:pt x="72" y="134"/>
                      </a:lnTo>
                      <a:lnTo>
                        <a:pt x="72" y="138"/>
                      </a:lnTo>
                      <a:lnTo>
                        <a:pt x="76" y="138"/>
                      </a:lnTo>
                      <a:lnTo>
                        <a:pt x="76" y="142"/>
                      </a:lnTo>
                      <a:lnTo>
                        <a:pt x="76" y="146"/>
                      </a:lnTo>
                      <a:lnTo>
                        <a:pt x="76" y="148"/>
                      </a:lnTo>
                      <a:lnTo>
                        <a:pt x="80" y="148"/>
                      </a:lnTo>
                      <a:lnTo>
                        <a:pt x="80" y="152"/>
                      </a:lnTo>
                      <a:lnTo>
                        <a:pt x="76" y="148"/>
                      </a:lnTo>
                      <a:lnTo>
                        <a:pt x="76" y="146"/>
                      </a:lnTo>
                      <a:lnTo>
                        <a:pt x="72" y="142"/>
                      </a:lnTo>
                      <a:lnTo>
                        <a:pt x="72" y="146"/>
                      </a:lnTo>
                      <a:lnTo>
                        <a:pt x="70" y="142"/>
                      </a:lnTo>
                      <a:lnTo>
                        <a:pt x="70" y="138"/>
                      </a:lnTo>
                      <a:lnTo>
                        <a:pt x="66" y="138"/>
                      </a:lnTo>
                      <a:lnTo>
                        <a:pt x="66" y="134"/>
                      </a:lnTo>
                      <a:lnTo>
                        <a:pt x="62" y="134"/>
                      </a:lnTo>
                      <a:lnTo>
                        <a:pt x="58" y="134"/>
                      </a:lnTo>
                      <a:lnTo>
                        <a:pt x="58" y="138"/>
                      </a:lnTo>
                      <a:lnTo>
                        <a:pt x="58" y="134"/>
                      </a:lnTo>
                      <a:lnTo>
                        <a:pt x="54" y="134"/>
                      </a:lnTo>
                      <a:lnTo>
                        <a:pt x="50" y="134"/>
                      </a:lnTo>
                      <a:lnTo>
                        <a:pt x="50" y="138"/>
                      </a:lnTo>
                      <a:lnTo>
                        <a:pt x="50" y="134"/>
                      </a:lnTo>
                      <a:lnTo>
                        <a:pt x="50" y="130"/>
                      </a:lnTo>
                      <a:lnTo>
                        <a:pt x="50" y="126"/>
                      </a:lnTo>
                      <a:lnTo>
                        <a:pt x="50" y="122"/>
                      </a:lnTo>
                      <a:lnTo>
                        <a:pt x="50" y="120"/>
                      </a:lnTo>
                      <a:lnTo>
                        <a:pt x="46" y="120"/>
                      </a:lnTo>
                      <a:lnTo>
                        <a:pt x="44" y="120"/>
                      </a:lnTo>
                      <a:lnTo>
                        <a:pt x="40" y="122"/>
                      </a:lnTo>
                      <a:lnTo>
                        <a:pt x="36" y="122"/>
                      </a:lnTo>
                      <a:lnTo>
                        <a:pt x="36" y="126"/>
                      </a:lnTo>
                      <a:lnTo>
                        <a:pt x="40" y="126"/>
                      </a:lnTo>
                      <a:lnTo>
                        <a:pt x="40" y="130"/>
                      </a:lnTo>
                      <a:lnTo>
                        <a:pt x="36" y="134"/>
                      </a:lnTo>
                      <a:lnTo>
                        <a:pt x="36" y="138"/>
                      </a:lnTo>
                      <a:lnTo>
                        <a:pt x="40" y="142"/>
                      </a:lnTo>
                      <a:lnTo>
                        <a:pt x="36" y="146"/>
                      </a:lnTo>
                      <a:lnTo>
                        <a:pt x="36" y="148"/>
                      </a:lnTo>
                      <a:lnTo>
                        <a:pt x="36" y="152"/>
                      </a:lnTo>
                      <a:lnTo>
                        <a:pt x="32" y="152"/>
                      </a:lnTo>
                      <a:lnTo>
                        <a:pt x="32" y="156"/>
                      </a:lnTo>
                      <a:lnTo>
                        <a:pt x="32" y="160"/>
                      </a:lnTo>
                      <a:lnTo>
                        <a:pt x="32" y="164"/>
                      </a:lnTo>
                      <a:lnTo>
                        <a:pt x="28" y="168"/>
                      </a:lnTo>
                      <a:lnTo>
                        <a:pt x="28" y="172"/>
                      </a:lnTo>
                      <a:lnTo>
                        <a:pt x="24" y="176"/>
                      </a:lnTo>
                      <a:lnTo>
                        <a:pt x="24" y="178"/>
                      </a:lnTo>
                      <a:lnTo>
                        <a:pt x="24" y="182"/>
                      </a:lnTo>
                      <a:lnTo>
                        <a:pt x="24" y="186"/>
                      </a:lnTo>
                      <a:lnTo>
                        <a:pt x="28" y="190"/>
                      </a:lnTo>
                      <a:lnTo>
                        <a:pt x="28" y="194"/>
                      </a:lnTo>
                      <a:lnTo>
                        <a:pt x="32" y="194"/>
                      </a:lnTo>
                      <a:lnTo>
                        <a:pt x="36" y="194"/>
                      </a:lnTo>
                      <a:lnTo>
                        <a:pt x="36" y="198"/>
                      </a:lnTo>
                      <a:lnTo>
                        <a:pt x="36" y="202"/>
                      </a:lnTo>
                      <a:lnTo>
                        <a:pt x="36" y="204"/>
                      </a:lnTo>
                      <a:lnTo>
                        <a:pt x="40" y="204"/>
                      </a:lnTo>
                      <a:lnTo>
                        <a:pt x="40" y="208"/>
                      </a:lnTo>
                      <a:lnTo>
                        <a:pt x="40" y="204"/>
                      </a:lnTo>
                      <a:lnTo>
                        <a:pt x="40" y="208"/>
                      </a:lnTo>
                      <a:lnTo>
                        <a:pt x="44" y="208"/>
                      </a:lnTo>
                      <a:lnTo>
                        <a:pt x="44" y="212"/>
                      </a:lnTo>
                      <a:lnTo>
                        <a:pt x="44" y="216"/>
                      </a:lnTo>
                      <a:lnTo>
                        <a:pt x="44" y="220"/>
                      </a:lnTo>
                      <a:lnTo>
                        <a:pt x="44" y="224"/>
                      </a:lnTo>
                      <a:lnTo>
                        <a:pt x="44" y="228"/>
                      </a:lnTo>
                      <a:lnTo>
                        <a:pt x="46" y="228"/>
                      </a:lnTo>
                      <a:lnTo>
                        <a:pt x="46" y="232"/>
                      </a:lnTo>
                      <a:lnTo>
                        <a:pt x="46" y="228"/>
                      </a:lnTo>
                      <a:lnTo>
                        <a:pt x="44" y="228"/>
                      </a:lnTo>
                      <a:lnTo>
                        <a:pt x="44" y="224"/>
                      </a:lnTo>
                      <a:lnTo>
                        <a:pt x="44" y="220"/>
                      </a:lnTo>
                      <a:lnTo>
                        <a:pt x="40" y="220"/>
                      </a:lnTo>
                      <a:lnTo>
                        <a:pt x="40" y="224"/>
                      </a:lnTo>
                      <a:lnTo>
                        <a:pt x="40" y="228"/>
                      </a:lnTo>
                      <a:lnTo>
                        <a:pt x="44" y="228"/>
                      </a:lnTo>
                      <a:lnTo>
                        <a:pt x="44" y="232"/>
                      </a:lnTo>
                      <a:lnTo>
                        <a:pt x="46" y="232"/>
                      </a:lnTo>
                      <a:lnTo>
                        <a:pt x="46" y="228"/>
                      </a:lnTo>
                      <a:lnTo>
                        <a:pt x="46" y="232"/>
                      </a:lnTo>
                      <a:lnTo>
                        <a:pt x="46" y="234"/>
                      </a:lnTo>
                      <a:lnTo>
                        <a:pt x="50" y="234"/>
                      </a:lnTo>
                      <a:lnTo>
                        <a:pt x="54" y="234"/>
                      </a:lnTo>
                      <a:lnTo>
                        <a:pt x="58" y="234"/>
                      </a:lnTo>
                      <a:lnTo>
                        <a:pt x="54" y="234"/>
                      </a:lnTo>
                      <a:lnTo>
                        <a:pt x="58" y="234"/>
                      </a:lnTo>
                      <a:lnTo>
                        <a:pt x="62" y="234"/>
                      </a:lnTo>
                      <a:lnTo>
                        <a:pt x="62" y="238"/>
                      </a:lnTo>
                      <a:lnTo>
                        <a:pt x="62" y="242"/>
                      </a:lnTo>
                      <a:lnTo>
                        <a:pt x="66" y="246"/>
                      </a:lnTo>
                      <a:lnTo>
                        <a:pt x="66" y="250"/>
                      </a:lnTo>
                      <a:lnTo>
                        <a:pt x="66" y="254"/>
                      </a:lnTo>
                      <a:lnTo>
                        <a:pt x="62" y="254"/>
                      </a:lnTo>
                      <a:lnTo>
                        <a:pt x="62" y="254"/>
                      </a:lnTo>
                      <a:lnTo>
                        <a:pt x="62" y="254"/>
                      </a:lnTo>
                      <a:close/>
                      <a:moveTo>
                        <a:pt x="18" y="212"/>
                      </a:moveTo>
                      <a:lnTo>
                        <a:pt x="18" y="216"/>
                      </a:lnTo>
                      <a:lnTo>
                        <a:pt x="18" y="212"/>
                      </a:lnTo>
                      <a:lnTo>
                        <a:pt x="18" y="212"/>
                      </a:lnTo>
                      <a:lnTo>
                        <a:pt x="18" y="212"/>
                      </a:lnTo>
                      <a:close/>
                      <a:moveTo>
                        <a:pt x="32" y="238"/>
                      </a:moveTo>
                      <a:lnTo>
                        <a:pt x="32" y="242"/>
                      </a:lnTo>
                      <a:lnTo>
                        <a:pt x="32" y="238"/>
                      </a:lnTo>
                      <a:lnTo>
                        <a:pt x="32" y="238"/>
                      </a:lnTo>
                      <a:lnTo>
                        <a:pt x="32" y="238"/>
                      </a:lnTo>
                      <a:close/>
                      <a:moveTo>
                        <a:pt x="72" y="146"/>
                      </a:moveTo>
                      <a:lnTo>
                        <a:pt x="72" y="148"/>
                      </a:lnTo>
                      <a:lnTo>
                        <a:pt x="70" y="148"/>
                      </a:lnTo>
                      <a:lnTo>
                        <a:pt x="70" y="146"/>
                      </a:lnTo>
                      <a:lnTo>
                        <a:pt x="72" y="146"/>
                      </a:lnTo>
                      <a:lnTo>
                        <a:pt x="72" y="146"/>
                      </a:lnTo>
                      <a:lnTo>
                        <a:pt x="72" y="146"/>
                      </a:lnTo>
                      <a:close/>
                      <a:moveTo>
                        <a:pt x="72" y="148"/>
                      </a:moveTo>
                      <a:lnTo>
                        <a:pt x="72" y="152"/>
                      </a:lnTo>
                      <a:lnTo>
                        <a:pt x="72" y="148"/>
                      </a:lnTo>
                      <a:lnTo>
                        <a:pt x="72" y="148"/>
                      </a:lnTo>
                      <a:lnTo>
                        <a:pt x="72" y="148"/>
                      </a:lnTo>
                      <a:close/>
                      <a:moveTo>
                        <a:pt x="40" y="190"/>
                      </a:moveTo>
                      <a:lnTo>
                        <a:pt x="36" y="190"/>
                      </a:lnTo>
                      <a:lnTo>
                        <a:pt x="40" y="186"/>
                      </a:lnTo>
                      <a:lnTo>
                        <a:pt x="40" y="190"/>
                      </a:lnTo>
                      <a:lnTo>
                        <a:pt x="40" y="190"/>
                      </a:lnTo>
                      <a:lnTo>
                        <a:pt x="40" y="190"/>
                      </a:lnTo>
                      <a:close/>
                      <a:moveTo>
                        <a:pt x="14" y="212"/>
                      </a:moveTo>
                      <a:lnTo>
                        <a:pt x="14" y="216"/>
                      </a:lnTo>
                      <a:lnTo>
                        <a:pt x="18" y="216"/>
                      </a:lnTo>
                      <a:lnTo>
                        <a:pt x="14" y="220"/>
                      </a:lnTo>
                      <a:lnTo>
                        <a:pt x="14" y="216"/>
                      </a:lnTo>
                      <a:lnTo>
                        <a:pt x="14" y="212"/>
                      </a:lnTo>
                      <a:lnTo>
                        <a:pt x="14" y="212"/>
                      </a:lnTo>
                      <a:lnTo>
                        <a:pt x="14" y="21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8" name="Freeform 57"/>
                <p:cNvSpPr>
                  <a:spLocks noEditPoints="1"/>
                </p:cNvSpPr>
                <p:nvPr/>
              </p:nvSpPr>
              <p:spPr bwMode="auto">
                <a:xfrm>
                  <a:off x="7178675" y="4781618"/>
                  <a:ext cx="69850" cy="34925"/>
                </a:xfrm>
                <a:custGeom>
                  <a:avLst/>
                  <a:gdLst>
                    <a:gd name="T0" fmla="*/ 22 w 44"/>
                    <a:gd name="T1" fmla="*/ 4 h 22"/>
                    <a:gd name="T2" fmla="*/ 18 w 44"/>
                    <a:gd name="T3" fmla="*/ 4 h 22"/>
                    <a:gd name="T4" fmla="*/ 18 w 44"/>
                    <a:gd name="T5" fmla="*/ 0 h 22"/>
                    <a:gd name="T6" fmla="*/ 22 w 44"/>
                    <a:gd name="T7" fmla="*/ 0 h 22"/>
                    <a:gd name="T8" fmla="*/ 22 w 44"/>
                    <a:gd name="T9" fmla="*/ 0 h 22"/>
                    <a:gd name="T10" fmla="*/ 44 w 44"/>
                    <a:gd name="T11" fmla="*/ 4 h 22"/>
                    <a:gd name="T12" fmla="*/ 44 w 44"/>
                    <a:gd name="T13" fmla="*/ 4 h 22"/>
                    <a:gd name="T14" fmla="*/ 42 w 44"/>
                    <a:gd name="T15" fmla="*/ 8 h 22"/>
                    <a:gd name="T16" fmla="*/ 42 w 44"/>
                    <a:gd name="T17" fmla="*/ 10 h 22"/>
                    <a:gd name="T18" fmla="*/ 38 w 44"/>
                    <a:gd name="T19" fmla="*/ 10 h 22"/>
                    <a:gd name="T20" fmla="*/ 34 w 44"/>
                    <a:gd name="T21" fmla="*/ 10 h 22"/>
                    <a:gd name="T22" fmla="*/ 34 w 44"/>
                    <a:gd name="T23" fmla="*/ 10 h 22"/>
                    <a:gd name="T24" fmla="*/ 34 w 44"/>
                    <a:gd name="T25" fmla="*/ 14 h 22"/>
                    <a:gd name="T26" fmla="*/ 30 w 44"/>
                    <a:gd name="T27" fmla="*/ 14 h 22"/>
                    <a:gd name="T28" fmla="*/ 30 w 44"/>
                    <a:gd name="T29" fmla="*/ 14 h 22"/>
                    <a:gd name="T30" fmla="*/ 30 w 44"/>
                    <a:gd name="T31" fmla="*/ 14 h 22"/>
                    <a:gd name="T32" fmla="*/ 26 w 44"/>
                    <a:gd name="T33" fmla="*/ 14 h 22"/>
                    <a:gd name="T34" fmla="*/ 26 w 44"/>
                    <a:gd name="T35" fmla="*/ 14 h 22"/>
                    <a:gd name="T36" fmla="*/ 22 w 44"/>
                    <a:gd name="T37" fmla="*/ 14 h 22"/>
                    <a:gd name="T38" fmla="*/ 18 w 44"/>
                    <a:gd name="T39" fmla="*/ 18 h 22"/>
                    <a:gd name="T40" fmla="*/ 16 w 44"/>
                    <a:gd name="T41" fmla="*/ 18 h 22"/>
                    <a:gd name="T42" fmla="*/ 16 w 44"/>
                    <a:gd name="T43" fmla="*/ 22 h 22"/>
                    <a:gd name="T44" fmla="*/ 16 w 44"/>
                    <a:gd name="T45" fmla="*/ 22 h 22"/>
                    <a:gd name="T46" fmla="*/ 12 w 44"/>
                    <a:gd name="T47" fmla="*/ 18 h 22"/>
                    <a:gd name="T48" fmla="*/ 12 w 44"/>
                    <a:gd name="T49" fmla="*/ 18 h 22"/>
                    <a:gd name="T50" fmla="*/ 16 w 44"/>
                    <a:gd name="T51" fmla="*/ 14 h 22"/>
                    <a:gd name="T52" fmla="*/ 16 w 44"/>
                    <a:gd name="T53" fmla="*/ 14 h 22"/>
                    <a:gd name="T54" fmla="*/ 12 w 44"/>
                    <a:gd name="T55" fmla="*/ 14 h 22"/>
                    <a:gd name="T56" fmla="*/ 16 w 44"/>
                    <a:gd name="T57" fmla="*/ 10 h 22"/>
                    <a:gd name="T58" fmla="*/ 16 w 44"/>
                    <a:gd name="T59" fmla="*/ 8 h 22"/>
                    <a:gd name="T60" fmla="*/ 16 w 44"/>
                    <a:gd name="T61" fmla="*/ 8 h 22"/>
                    <a:gd name="T62" fmla="*/ 16 w 44"/>
                    <a:gd name="T63" fmla="*/ 8 h 22"/>
                    <a:gd name="T64" fmla="*/ 18 w 44"/>
                    <a:gd name="T65" fmla="*/ 8 h 22"/>
                    <a:gd name="T66" fmla="*/ 22 w 44"/>
                    <a:gd name="T67" fmla="*/ 8 h 22"/>
                    <a:gd name="T68" fmla="*/ 22 w 44"/>
                    <a:gd name="T69" fmla="*/ 4 h 22"/>
                    <a:gd name="T70" fmla="*/ 26 w 44"/>
                    <a:gd name="T71" fmla="*/ 4 h 22"/>
                    <a:gd name="T72" fmla="*/ 26 w 44"/>
                    <a:gd name="T73" fmla="*/ 4 h 22"/>
                    <a:gd name="T74" fmla="*/ 26 w 44"/>
                    <a:gd name="T75" fmla="*/ 8 h 22"/>
                    <a:gd name="T76" fmla="*/ 26 w 44"/>
                    <a:gd name="T77" fmla="*/ 8 h 22"/>
                    <a:gd name="T78" fmla="*/ 30 w 44"/>
                    <a:gd name="T79" fmla="*/ 4 h 22"/>
                    <a:gd name="T80" fmla="*/ 34 w 44"/>
                    <a:gd name="T81" fmla="*/ 4 h 22"/>
                    <a:gd name="T82" fmla="*/ 34 w 44"/>
                    <a:gd name="T83" fmla="*/ 4 h 22"/>
                    <a:gd name="T84" fmla="*/ 34 w 44"/>
                    <a:gd name="T85" fmla="*/ 4 h 22"/>
                    <a:gd name="T86" fmla="*/ 38 w 44"/>
                    <a:gd name="T87" fmla="*/ 4 h 22"/>
                    <a:gd name="T88" fmla="*/ 42 w 44"/>
                    <a:gd name="T89" fmla="*/ 4 h 22"/>
                    <a:gd name="T90" fmla="*/ 44 w 44"/>
                    <a:gd name="T91" fmla="*/ 4 h 22"/>
                    <a:gd name="T92" fmla="*/ 44 w 44"/>
                    <a:gd name="T93" fmla="*/ 4 h 22"/>
                    <a:gd name="T94" fmla="*/ 0 w 44"/>
                    <a:gd name="T95" fmla="*/ 18 h 22"/>
                    <a:gd name="T96" fmla="*/ 0 w 44"/>
                    <a:gd name="T97" fmla="*/ 18 h 22"/>
                    <a:gd name="T98" fmla="*/ 4 w 44"/>
                    <a:gd name="T99" fmla="*/ 18 h 22"/>
                    <a:gd name="T100" fmla="*/ 4 w 44"/>
                    <a:gd name="T101" fmla="*/ 22 h 22"/>
                    <a:gd name="T102" fmla="*/ 4 w 44"/>
                    <a:gd name="T103" fmla="*/ 22 h 22"/>
                    <a:gd name="T104" fmla="*/ 0 w 44"/>
                    <a:gd name="T105" fmla="*/ 22 h 22"/>
                    <a:gd name="T106" fmla="*/ 0 w 44"/>
                    <a:gd name="T107" fmla="*/ 18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44" h="22">
                      <a:moveTo>
                        <a:pt x="22" y="0"/>
                      </a:move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close/>
                      <a:moveTo>
                        <a:pt x="44" y="4"/>
                      </a:moveTo>
                      <a:lnTo>
                        <a:pt x="44" y="4"/>
                      </a:lnTo>
                      <a:lnTo>
                        <a:pt x="44" y="4"/>
                      </a:lnTo>
                      <a:lnTo>
                        <a:pt x="44" y="4"/>
                      </a:lnTo>
                      <a:lnTo>
                        <a:pt x="44" y="4"/>
                      </a:lnTo>
                      <a:lnTo>
                        <a:pt x="44" y="4"/>
                      </a:lnTo>
                      <a:lnTo>
                        <a:pt x="44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10"/>
                      </a:lnTo>
                      <a:lnTo>
                        <a:pt x="38" y="10"/>
                      </a:lnTo>
                      <a:lnTo>
                        <a:pt x="38" y="10"/>
                      </a:lnTo>
                      <a:lnTo>
                        <a:pt x="38" y="10"/>
                      </a:lnTo>
                      <a:lnTo>
                        <a:pt x="38" y="10"/>
                      </a:lnTo>
                      <a:lnTo>
                        <a:pt x="38" y="10"/>
                      </a:lnTo>
                      <a:lnTo>
                        <a:pt x="34" y="10"/>
                      </a:lnTo>
                      <a:lnTo>
                        <a:pt x="34" y="10"/>
                      </a:lnTo>
                      <a:lnTo>
                        <a:pt x="34" y="10"/>
                      </a:lnTo>
                      <a:lnTo>
                        <a:pt x="34" y="10"/>
                      </a:lnTo>
                      <a:lnTo>
                        <a:pt x="34" y="10"/>
                      </a:lnTo>
                      <a:lnTo>
                        <a:pt x="34" y="10"/>
                      </a:lnTo>
                      <a:lnTo>
                        <a:pt x="34" y="14"/>
                      </a:lnTo>
                      <a:lnTo>
                        <a:pt x="34" y="14"/>
                      </a:lnTo>
                      <a:lnTo>
                        <a:pt x="30" y="14"/>
                      </a:lnTo>
                      <a:lnTo>
                        <a:pt x="30" y="14"/>
                      </a:lnTo>
                      <a:lnTo>
                        <a:pt x="30" y="14"/>
                      </a:lnTo>
                      <a:lnTo>
                        <a:pt x="30" y="14"/>
                      </a:lnTo>
                      <a:lnTo>
                        <a:pt x="30" y="14"/>
                      </a:lnTo>
                      <a:lnTo>
                        <a:pt x="30" y="14"/>
                      </a:lnTo>
                      <a:lnTo>
                        <a:pt x="30" y="14"/>
                      </a:lnTo>
                      <a:lnTo>
                        <a:pt x="30" y="14"/>
                      </a:lnTo>
                      <a:lnTo>
                        <a:pt x="30" y="14"/>
                      </a:lnTo>
                      <a:lnTo>
                        <a:pt x="26" y="14"/>
                      </a:lnTo>
                      <a:lnTo>
                        <a:pt x="26" y="14"/>
                      </a:lnTo>
                      <a:lnTo>
                        <a:pt x="26" y="14"/>
                      </a:lnTo>
                      <a:lnTo>
                        <a:pt x="26" y="14"/>
                      </a:lnTo>
                      <a:lnTo>
                        <a:pt x="26" y="14"/>
                      </a:lnTo>
                      <a:lnTo>
                        <a:pt x="26" y="14"/>
                      </a:lnTo>
                      <a:lnTo>
                        <a:pt x="26" y="14"/>
                      </a:lnTo>
                      <a:lnTo>
                        <a:pt x="22" y="14"/>
                      </a:lnTo>
                      <a:lnTo>
                        <a:pt x="18" y="18"/>
                      </a:lnTo>
                      <a:lnTo>
                        <a:pt x="18" y="18"/>
                      </a:lnTo>
                      <a:lnTo>
                        <a:pt x="18" y="18"/>
                      </a:lnTo>
                      <a:lnTo>
                        <a:pt x="18" y="18"/>
                      </a:lnTo>
                      <a:lnTo>
                        <a:pt x="18" y="18"/>
                      </a:lnTo>
                      <a:lnTo>
                        <a:pt x="16" y="18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2" y="18"/>
                      </a:lnTo>
                      <a:lnTo>
                        <a:pt x="12" y="18"/>
                      </a:lnTo>
                      <a:lnTo>
                        <a:pt x="12" y="18"/>
                      </a:lnTo>
                      <a:lnTo>
                        <a:pt x="12" y="18"/>
                      </a:lnTo>
                      <a:lnTo>
                        <a:pt x="12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4"/>
                      </a:lnTo>
                      <a:lnTo>
                        <a:pt x="16" y="14"/>
                      </a:lnTo>
                      <a:lnTo>
                        <a:pt x="16" y="14"/>
                      </a:lnTo>
                      <a:lnTo>
                        <a:pt x="16" y="14"/>
                      </a:lnTo>
                      <a:lnTo>
                        <a:pt x="12" y="14"/>
                      </a:lnTo>
                      <a:lnTo>
                        <a:pt x="12" y="14"/>
                      </a:lnTo>
                      <a:lnTo>
                        <a:pt x="12" y="14"/>
                      </a:lnTo>
                      <a:lnTo>
                        <a:pt x="12" y="14"/>
                      </a:lnTo>
                      <a:lnTo>
                        <a:pt x="12" y="14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8" y="8"/>
                      </a:lnTo>
                      <a:lnTo>
                        <a:pt x="22" y="8"/>
                      </a:lnTo>
                      <a:lnTo>
                        <a:pt x="22" y="8"/>
                      </a:lnTo>
                      <a:lnTo>
                        <a:pt x="22" y="8"/>
                      </a:lnTo>
                      <a:lnTo>
                        <a:pt x="22" y="8"/>
                      </a:lnTo>
                      <a:lnTo>
                        <a:pt x="22" y="8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30" y="8"/>
                      </a:lnTo>
                      <a:lnTo>
                        <a:pt x="30" y="8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8" y="4"/>
                      </a:lnTo>
                      <a:lnTo>
                        <a:pt x="38" y="4"/>
                      </a:lnTo>
                      <a:lnTo>
                        <a:pt x="38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4" y="4"/>
                      </a:lnTo>
                      <a:lnTo>
                        <a:pt x="44" y="4"/>
                      </a:lnTo>
                      <a:lnTo>
                        <a:pt x="44" y="4"/>
                      </a:lnTo>
                      <a:lnTo>
                        <a:pt x="44" y="4"/>
                      </a:lnTo>
                      <a:lnTo>
                        <a:pt x="44" y="4"/>
                      </a:lnTo>
                      <a:close/>
                      <a:moveTo>
                        <a:pt x="0" y="18"/>
                      </a:move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9" name="Freeform 58"/>
                <p:cNvSpPr>
                  <a:spLocks noEditPoints="1"/>
                </p:cNvSpPr>
                <p:nvPr/>
              </p:nvSpPr>
              <p:spPr bwMode="auto">
                <a:xfrm>
                  <a:off x="4968875" y="3359218"/>
                  <a:ext cx="431800" cy="196850"/>
                </a:xfrm>
                <a:custGeom>
                  <a:avLst/>
                  <a:gdLst>
                    <a:gd name="T0" fmla="*/ 22 w 272"/>
                    <a:gd name="T1" fmla="*/ 4 h 124"/>
                    <a:gd name="T2" fmla="*/ 34 w 272"/>
                    <a:gd name="T3" fmla="*/ 8 h 124"/>
                    <a:gd name="T4" fmla="*/ 48 w 272"/>
                    <a:gd name="T5" fmla="*/ 24 h 124"/>
                    <a:gd name="T6" fmla="*/ 26 w 272"/>
                    <a:gd name="T7" fmla="*/ 24 h 124"/>
                    <a:gd name="T8" fmla="*/ 14 w 272"/>
                    <a:gd name="T9" fmla="*/ 38 h 124"/>
                    <a:gd name="T10" fmla="*/ 8 w 272"/>
                    <a:gd name="T11" fmla="*/ 38 h 124"/>
                    <a:gd name="T12" fmla="*/ 14 w 272"/>
                    <a:gd name="T13" fmla="*/ 30 h 124"/>
                    <a:gd name="T14" fmla="*/ 10 w 272"/>
                    <a:gd name="T15" fmla="*/ 20 h 124"/>
                    <a:gd name="T16" fmla="*/ 10 w 272"/>
                    <a:gd name="T17" fmla="*/ 12 h 124"/>
                    <a:gd name="T18" fmla="*/ 10 w 272"/>
                    <a:gd name="T19" fmla="*/ 42 h 124"/>
                    <a:gd name="T20" fmla="*/ 26 w 272"/>
                    <a:gd name="T21" fmla="*/ 34 h 124"/>
                    <a:gd name="T22" fmla="*/ 34 w 272"/>
                    <a:gd name="T23" fmla="*/ 38 h 124"/>
                    <a:gd name="T24" fmla="*/ 48 w 272"/>
                    <a:gd name="T25" fmla="*/ 38 h 124"/>
                    <a:gd name="T26" fmla="*/ 50 w 272"/>
                    <a:gd name="T27" fmla="*/ 30 h 124"/>
                    <a:gd name="T28" fmla="*/ 54 w 272"/>
                    <a:gd name="T29" fmla="*/ 26 h 124"/>
                    <a:gd name="T30" fmla="*/ 58 w 272"/>
                    <a:gd name="T31" fmla="*/ 20 h 124"/>
                    <a:gd name="T32" fmla="*/ 78 w 272"/>
                    <a:gd name="T33" fmla="*/ 24 h 124"/>
                    <a:gd name="T34" fmla="*/ 92 w 272"/>
                    <a:gd name="T35" fmla="*/ 12 h 124"/>
                    <a:gd name="T36" fmla="*/ 106 w 272"/>
                    <a:gd name="T37" fmla="*/ 4 h 124"/>
                    <a:gd name="T38" fmla="*/ 130 w 272"/>
                    <a:gd name="T39" fmla="*/ 4 h 124"/>
                    <a:gd name="T40" fmla="*/ 144 w 272"/>
                    <a:gd name="T41" fmla="*/ 12 h 124"/>
                    <a:gd name="T42" fmla="*/ 152 w 272"/>
                    <a:gd name="T43" fmla="*/ 20 h 124"/>
                    <a:gd name="T44" fmla="*/ 162 w 272"/>
                    <a:gd name="T45" fmla="*/ 24 h 124"/>
                    <a:gd name="T46" fmla="*/ 182 w 272"/>
                    <a:gd name="T47" fmla="*/ 26 h 124"/>
                    <a:gd name="T48" fmla="*/ 200 w 272"/>
                    <a:gd name="T49" fmla="*/ 24 h 124"/>
                    <a:gd name="T50" fmla="*/ 220 w 272"/>
                    <a:gd name="T51" fmla="*/ 20 h 124"/>
                    <a:gd name="T52" fmla="*/ 238 w 272"/>
                    <a:gd name="T53" fmla="*/ 16 h 124"/>
                    <a:gd name="T54" fmla="*/ 252 w 272"/>
                    <a:gd name="T55" fmla="*/ 20 h 124"/>
                    <a:gd name="T56" fmla="*/ 252 w 272"/>
                    <a:gd name="T57" fmla="*/ 38 h 124"/>
                    <a:gd name="T58" fmla="*/ 272 w 272"/>
                    <a:gd name="T59" fmla="*/ 50 h 124"/>
                    <a:gd name="T60" fmla="*/ 260 w 272"/>
                    <a:gd name="T61" fmla="*/ 54 h 124"/>
                    <a:gd name="T62" fmla="*/ 264 w 272"/>
                    <a:gd name="T63" fmla="*/ 76 h 124"/>
                    <a:gd name="T64" fmla="*/ 268 w 272"/>
                    <a:gd name="T65" fmla="*/ 94 h 124"/>
                    <a:gd name="T66" fmla="*/ 264 w 272"/>
                    <a:gd name="T67" fmla="*/ 98 h 124"/>
                    <a:gd name="T68" fmla="*/ 248 w 272"/>
                    <a:gd name="T69" fmla="*/ 94 h 124"/>
                    <a:gd name="T70" fmla="*/ 234 w 272"/>
                    <a:gd name="T71" fmla="*/ 94 h 124"/>
                    <a:gd name="T72" fmla="*/ 216 w 272"/>
                    <a:gd name="T73" fmla="*/ 98 h 124"/>
                    <a:gd name="T74" fmla="*/ 196 w 272"/>
                    <a:gd name="T75" fmla="*/ 106 h 124"/>
                    <a:gd name="T76" fmla="*/ 178 w 272"/>
                    <a:gd name="T77" fmla="*/ 102 h 124"/>
                    <a:gd name="T78" fmla="*/ 162 w 272"/>
                    <a:gd name="T79" fmla="*/ 106 h 124"/>
                    <a:gd name="T80" fmla="*/ 152 w 272"/>
                    <a:gd name="T81" fmla="*/ 116 h 124"/>
                    <a:gd name="T82" fmla="*/ 148 w 272"/>
                    <a:gd name="T83" fmla="*/ 120 h 124"/>
                    <a:gd name="T84" fmla="*/ 148 w 272"/>
                    <a:gd name="T85" fmla="*/ 102 h 124"/>
                    <a:gd name="T86" fmla="*/ 134 w 272"/>
                    <a:gd name="T87" fmla="*/ 106 h 124"/>
                    <a:gd name="T88" fmla="*/ 118 w 272"/>
                    <a:gd name="T89" fmla="*/ 116 h 124"/>
                    <a:gd name="T90" fmla="*/ 104 w 272"/>
                    <a:gd name="T91" fmla="*/ 120 h 124"/>
                    <a:gd name="T92" fmla="*/ 92 w 272"/>
                    <a:gd name="T93" fmla="*/ 110 h 124"/>
                    <a:gd name="T94" fmla="*/ 74 w 272"/>
                    <a:gd name="T95" fmla="*/ 106 h 124"/>
                    <a:gd name="T96" fmla="*/ 66 w 272"/>
                    <a:gd name="T97" fmla="*/ 114 h 124"/>
                    <a:gd name="T98" fmla="*/ 50 w 272"/>
                    <a:gd name="T99" fmla="*/ 114 h 124"/>
                    <a:gd name="T100" fmla="*/ 44 w 272"/>
                    <a:gd name="T101" fmla="*/ 106 h 124"/>
                    <a:gd name="T102" fmla="*/ 36 w 272"/>
                    <a:gd name="T103" fmla="*/ 110 h 124"/>
                    <a:gd name="T104" fmla="*/ 34 w 272"/>
                    <a:gd name="T105" fmla="*/ 106 h 124"/>
                    <a:gd name="T106" fmla="*/ 36 w 272"/>
                    <a:gd name="T107" fmla="*/ 102 h 124"/>
                    <a:gd name="T108" fmla="*/ 30 w 272"/>
                    <a:gd name="T109" fmla="*/ 98 h 124"/>
                    <a:gd name="T110" fmla="*/ 22 w 272"/>
                    <a:gd name="T111" fmla="*/ 86 h 124"/>
                    <a:gd name="T112" fmla="*/ 10 w 272"/>
                    <a:gd name="T113" fmla="*/ 80 h 124"/>
                    <a:gd name="T114" fmla="*/ 14 w 272"/>
                    <a:gd name="T115" fmla="*/ 76 h 124"/>
                    <a:gd name="T116" fmla="*/ 18 w 272"/>
                    <a:gd name="T117" fmla="*/ 68 h 124"/>
                    <a:gd name="T118" fmla="*/ 18 w 272"/>
                    <a:gd name="T119" fmla="*/ 54 h 124"/>
                    <a:gd name="T120" fmla="*/ 30 w 272"/>
                    <a:gd name="T121" fmla="*/ 30 h 124"/>
                    <a:gd name="T122" fmla="*/ 4 w 272"/>
                    <a:gd name="T123" fmla="*/ 38 h 1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72" h="124">
                      <a:moveTo>
                        <a:pt x="10" y="12"/>
                      </a:moveTo>
                      <a:lnTo>
                        <a:pt x="10" y="8"/>
                      </a:lnTo>
                      <a:lnTo>
                        <a:pt x="14" y="8"/>
                      </a:lnTo>
                      <a:lnTo>
                        <a:pt x="14" y="4"/>
                      </a:lnTo>
                      <a:lnTo>
                        <a:pt x="18" y="4"/>
                      </a:lnTo>
                      <a:lnTo>
                        <a:pt x="22" y="4"/>
                      </a:lnTo>
                      <a:lnTo>
                        <a:pt x="22" y="0"/>
                      </a:lnTo>
                      <a:lnTo>
                        <a:pt x="26" y="0"/>
                      </a:lnTo>
                      <a:lnTo>
                        <a:pt x="26" y="4"/>
                      </a:lnTo>
                      <a:lnTo>
                        <a:pt x="30" y="4"/>
                      </a:lnTo>
                      <a:lnTo>
                        <a:pt x="34" y="4"/>
                      </a:lnTo>
                      <a:lnTo>
                        <a:pt x="34" y="8"/>
                      </a:lnTo>
                      <a:lnTo>
                        <a:pt x="36" y="12"/>
                      </a:lnTo>
                      <a:lnTo>
                        <a:pt x="36" y="16"/>
                      </a:lnTo>
                      <a:lnTo>
                        <a:pt x="40" y="16"/>
                      </a:lnTo>
                      <a:lnTo>
                        <a:pt x="44" y="20"/>
                      </a:lnTo>
                      <a:lnTo>
                        <a:pt x="48" y="20"/>
                      </a:lnTo>
                      <a:lnTo>
                        <a:pt x="48" y="24"/>
                      </a:lnTo>
                      <a:lnTo>
                        <a:pt x="44" y="24"/>
                      </a:lnTo>
                      <a:lnTo>
                        <a:pt x="40" y="24"/>
                      </a:lnTo>
                      <a:lnTo>
                        <a:pt x="36" y="24"/>
                      </a:lnTo>
                      <a:lnTo>
                        <a:pt x="34" y="24"/>
                      </a:lnTo>
                      <a:lnTo>
                        <a:pt x="30" y="24"/>
                      </a:lnTo>
                      <a:lnTo>
                        <a:pt x="26" y="24"/>
                      </a:lnTo>
                      <a:lnTo>
                        <a:pt x="26" y="26"/>
                      </a:lnTo>
                      <a:lnTo>
                        <a:pt x="26" y="30"/>
                      </a:lnTo>
                      <a:lnTo>
                        <a:pt x="22" y="30"/>
                      </a:lnTo>
                      <a:lnTo>
                        <a:pt x="18" y="34"/>
                      </a:lnTo>
                      <a:lnTo>
                        <a:pt x="14" y="34"/>
                      </a:lnTo>
                      <a:lnTo>
                        <a:pt x="14" y="38"/>
                      </a:lnTo>
                      <a:lnTo>
                        <a:pt x="10" y="38"/>
                      </a:lnTo>
                      <a:lnTo>
                        <a:pt x="10" y="42"/>
                      </a:lnTo>
                      <a:lnTo>
                        <a:pt x="8" y="42"/>
                      </a:lnTo>
                      <a:lnTo>
                        <a:pt x="10" y="42"/>
                      </a:lnTo>
                      <a:lnTo>
                        <a:pt x="10" y="38"/>
                      </a:lnTo>
                      <a:lnTo>
                        <a:pt x="8" y="38"/>
                      </a:lnTo>
                      <a:lnTo>
                        <a:pt x="10" y="38"/>
                      </a:lnTo>
                      <a:lnTo>
                        <a:pt x="10" y="34"/>
                      </a:lnTo>
                      <a:lnTo>
                        <a:pt x="14" y="34"/>
                      </a:lnTo>
                      <a:lnTo>
                        <a:pt x="18" y="34"/>
                      </a:lnTo>
                      <a:lnTo>
                        <a:pt x="18" y="30"/>
                      </a:lnTo>
                      <a:lnTo>
                        <a:pt x="14" y="30"/>
                      </a:lnTo>
                      <a:lnTo>
                        <a:pt x="10" y="30"/>
                      </a:lnTo>
                      <a:lnTo>
                        <a:pt x="8" y="30"/>
                      </a:lnTo>
                      <a:lnTo>
                        <a:pt x="8" y="26"/>
                      </a:lnTo>
                      <a:lnTo>
                        <a:pt x="10" y="26"/>
                      </a:lnTo>
                      <a:lnTo>
                        <a:pt x="10" y="24"/>
                      </a:lnTo>
                      <a:lnTo>
                        <a:pt x="10" y="20"/>
                      </a:lnTo>
                      <a:lnTo>
                        <a:pt x="14" y="20"/>
                      </a:lnTo>
                      <a:lnTo>
                        <a:pt x="14" y="16"/>
                      </a:lnTo>
                      <a:lnTo>
                        <a:pt x="14" y="12"/>
                      </a:lnTo>
                      <a:lnTo>
                        <a:pt x="10" y="12"/>
                      </a:lnTo>
                      <a:lnTo>
                        <a:pt x="10" y="12"/>
                      </a:lnTo>
                      <a:lnTo>
                        <a:pt x="10" y="12"/>
                      </a:lnTo>
                      <a:close/>
                      <a:moveTo>
                        <a:pt x="14" y="54"/>
                      </a:moveTo>
                      <a:lnTo>
                        <a:pt x="8" y="54"/>
                      </a:lnTo>
                      <a:lnTo>
                        <a:pt x="8" y="50"/>
                      </a:lnTo>
                      <a:lnTo>
                        <a:pt x="8" y="46"/>
                      </a:lnTo>
                      <a:lnTo>
                        <a:pt x="8" y="42"/>
                      </a:lnTo>
                      <a:lnTo>
                        <a:pt x="10" y="42"/>
                      </a:lnTo>
                      <a:lnTo>
                        <a:pt x="10" y="38"/>
                      </a:lnTo>
                      <a:lnTo>
                        <a:pt x="14" y="38"/>
                      </a:lnTo>
                      <a:lnTo>
                        <a:pt x="14" y="34"/>
                      </a:lnTo>
                      <a:lnTo>
                        <a:pt x="18" y="34"/>
                      </a:lnTo>
                      <a:lnTo>
                        <a:pt x="22" y="34"/>
                      </a:lnTo>
                      <a:lnTo>
                        <a:pt x="26" y="34"/>
                      </a:lnTo>
                      <a:lnTo>
                        <a:pt x="26" y="38"/>
                      </a:lnTo>
                      <a:lnTo>
                        <a:pt x="30" y="38"/>
                      </a:lnTo>
                      <a:lnTo>
                        <a:pt x="34" y="34"/>
                      </a:lnTo>
                      <a:lnTo>
                        <a:pt x="30" y="34"/>
                      </a:lnTo>
                      <a:lnTo>
                        <a:pt x="34" y="34"/>
                      </a:lnTo>
                      <a:lnTo>
                        <a:pt x="34" y="38"/>
                      </a:lnTo>
                      <a:lnTo>
                        <a:pt x="36" y="34"/>
                      </a:lnTo>
                      <a:lnTo>
                        <a:pt x="40" y="34"/>
                      </a:lnTo>
                      <a:lnTo>
                        <a:pt x="44" y="38"/>
                      </a:lnTo>
                      <a:lnTo>
                        <a:pt x="44" y="34"/>
                      </a:lnTo>
                      <a:lnTo>
                        <a:pt x="48" y="34"/>
                      </a:lnTo>
                      <a:lnTo>
                        <a:pt x="48" y="38"/>
                      </a:lnTo>
                      <a:lnTo>
                        <a:pt x="50" y="34"/>
                      </a:lnTo>
                      <a:lnTo>
                        <a:pt x="48" y="34"/>
                      </a:lnTo>
                      <a:lnTo>
                        <a:pt x="44" y="34"/>
                      </a:lnTo>
                      <a:lnTo>
                        <a:pt x="44" y="30"/>
                      </a:lnTo>
                      <a:lnTo>
                        <a:pt x="48" y="30"/>
                      </a:lnTo>
                      <a:lnTo>
                        <a:pt x="50" y="30"/>
                      </a:lnTo>
                      <a:lnTo>
                        <a:pt x="54" y="30"/>
                      </a:lnTo>
                      <a:lnTo>
                        <a:pt x="58" y="30"/>
                      </a:lnTo>
                      <a:lnTo>
                        <a:pt x="62" y="30"/>
                      </a:lnTo>
                      <a:lnTo>
                        <a:pt x="62" y="26"/>
                      </a:lnTo>
                      <a:lnTo>
                        <a:pt x="58" y="26"/>
                      </a:lnTo>
                      <a:lnTo>
                        <a:pt x="54" y="26"/>
                      </a:lnTo>
                      <a:lnTo>
                        <a:pt x="50" y="26"/>
                      </a:lnTo>
                      <a:lnTo>
                        <a:pt x="48" y="24"/>
                      </a:lnTo>
                      <a:lnTo>
                        <a:pt x="48" y="20"/>
                      </a:lnTo>
                      <a:lnTo>
                        <a:pt x="50" y="20"/>
                      </a:lnTo>
                      <a:lnTo>
                        <a:pt x="54" y="20"/>
                      </a:lnTo>
                      <a:lnTo>
                        <a:pt x="58" y="20"/>
                      </a:lnTo>
                      <a:lnTo>
                        <a:pt x="62" y="24"/>
                      </a:lnTo>
                      <a:lnTo>
                        <a:pt x="66" y="20"/>
                      </a:lnTo>
                      <a:lnTo>
                        <a:pt x="70" y="20"/>
                      </a:lnTo>
                      <a:lnTo>
                        <a:pt x="70" y="24"/>
                      </a:lnTo>
                      <a:lnTo>
                        <a:pt x="74" y="24"/>
                      </a:lnTo>
                      <a:lnTo>
                        <a:pt x="78" y="24"/>
                      </a:lnTo>
                      <a:lnTo>
                        <a:pt x="80" y="24"/>
                      </a:lnTo>
                      <a:lnTo>
                        <a:pt x="80" y="20"/>
                      </a:lnTo>
                      <a:lnTo>
                        <a:pt x="84" y="16"/>
                      </a:lnTo>
                      <a:lnTo>
                        <a:pt x="88" y="16"/>
                      </a:lnTo>
                      <a:lnTo>
                        <a:pt x="88" y="12"/>
                      </a:lnTo>
                      <a:lnTo>
                        <a:pt x="92" y="12"/>
                      </a:lnTo>
                      <a:lnTo>
                        <a:pt x="92" y="8"/>
                      </a:lnTo>
                      <a:lnTo>
                        <a:pt x="96" y="8"/>
                      </a:lnTo>
                      <a:lnTo>
                        <a:pt x="100" y="8"/>
                      </a:lnTo>
                      <a:lnTo>
                        <a:pt x="104" y="8"/>
                      </a:lnTo>
                      <a:lnTo>
                        <a:pt x="104" y="4"/>
                      </a:lnTo>
                      <a:lnTo>
                        <a:pt x="106" y="4"/>
                      </a:lnTo>
                      <a:lnTo>
                        <a:pt x="110" y="4"/>
                      </a:lnTo>
                      <a:lnTo>
                        <a:pt x="114" y="4"/>
                      </a:lnTo>
                      <a:lnTo>
                        <a:pt x="118" y="4"/>
                      </a:lnTo>
                      <a:lnTo>
                        <a:pt x="122" y="4"/>
                      </a:lnTo>
                      <a:lnTo>
                        <a:pt x="126" y="4"/>
                      </a:lnTo>
                      <a:lnTo>
                        <a:pt x="130" y="4"/>
                      </a:lnTo>
                      <a:lnTo>
                        <a:pt x="134" y="4"/>
                      </a:lnTo>
                      <a:lnTo>
                        <a:pt x="134" y="8"/>
                      </a:lnTo>
                      <a:lnTo>
                        <a:pt x="136" y="8"/>
                      </a:lnTo>
                      <a:lnTo>
                        <a:pt x="136" y="12"/>
                      </a:lnTo>
                      <a:lnTo>
                        <a:pt x="140" y="12"/>
                      </a:lnTo>
                      <a:lnTo>
                        <a:pt x="144" y="12"/>
                      </a:lnTo>
                      <a:lnTo>
                        <a:pt x="144" y="8"/>
                      </a:lnTo>
                      <a:lnTo>
                        <a:pt x="148" y="8"/>
                      </a:lnTo>
                      <a:lnTo>
                        <a:pt x="148" y="12"/>
                      </a:lnTo>
                      <a:lnTo>
                        <a:pt x="148" y="16"/>
                      </a:lnTo>
                      <a:lnTo>
                        <a:pt x="152" y="16"/>
                      </a:lnTo>
                      <a:lnTo>
                        <a:pt x="152" y="20"/>
                      </a:lnTo>
                      <a:lnTo>
                        <a:pt x="156" y="20"/>
                      </a:lnTo>
                      <a:lnTo>
                        <a:pt x="156" y="16"/>
                      </a:lnTo>
                      <a:lnTo>
                        <a:pt x="160" y="16"/>
                      </a:lnTo>
                      <a:lnTo>
                        <a:pt x="160" y="20"/>
                      </a:lnTo>
                      <a:lnTo>
                        <a:pt x="162" y="20"/>
                      </a:lnTo>
                      <a:lnTo>
                        <a:pt x="162" y="24"/>
                      </a:lnTo>
                      <a:lnTo>
                        <a:pt x="166" y="24"/>
                      </a:lnTo>
                      <a:lnTo>
                        <a:pt x="170" y="24"/>
                      </a:lnTo>
                      <a:lnTo>
                        <a:pt x="174" y="24"/>
                      </a:lnTo>
                      <a:lnTo>
                        <a:pt x="178" y="24"/>
                      </a:lnTo>
                      <a:lnTo>
                        <a:pt x="178" y="26"/>
                      </a:lnTo>
                      <a:lnTo>
                        <a:pt x="182" y="26"/>
                      </a:lnTo>
                      <a:lnTo>
                        <a:pt x="186" y="26"/>
                      </a:lnTo>
                      <a:lnTo>
                        <a:pt x="186" y="24"/>
                      </a:lnTo>
                      <a:lnTo>
                        <a:pt x="190" y="24"/>
                      </a:lnTo>
                      <a:lnTo>
                        <a:pt x="192" y="24"/>
                      </a:lnTo>
                      <a:lnTo>
                        <a:pt x="196" y="24"/>
                      </a:lnTo>
                      <a:lnTo>
                        <a:pt x="200" y="24"/>
                      </a:lnTo>
                      <a:lnTo>
                        <a:pt x="204" y="26"/>
                      </a:lnTo>
                      <a:lnTo>
                        <a:pt x="208" y="24"/>
                      </a:lnTo>
                      <a:lnTo>
                        <a:pt x="212" y="24"/>
                      </a:lnTo>
                      <a:lnTo>
                        <a:pt x="216" y="24"/>
                      </a:lnTo>
                      <a:lnTo>
                        <a:pt x="216" y="20"/>
                      </a:lnTo>
                      <a:lnTo>
                        <a:pt x="220" y="20"/>
                      </a:lnTo>
                      <a:lnTo>
                        <a:pt x="222" y="16"/>
                      </a:lnTo>
                      <a:lnTo>
                        <a:pt x="226" y="12"/>
                      </a:lnTo>
                      <a:lnTo>
                        <a:pt x="226" y="16"/>
                      </a:lnTo>
                      <a:lnTo>
                        <a:pt x="230" y="16"/>
                      </a:lnTo>
                      <a:lnTo>
                        <a:pt x="234" y="16"/>
                      </a:lnTo>
                      <a:lnTo>
                        <a:pt x="238" y="16"/>
                      </a:lnTo>
                      <a:lnTo>
                        <a:pt x="242" y="16"/>
                      </a:lnTo>
                      <a:lnTo>
                        <a:pt x="242" y="12"/>
                      </a:lnTo>
                      <a:lnTo>
                        <a:pt x="246" y="12"/>
                      </a:lnTo>
                      <a:lnTo>
                        <a:pt x="246" y="16"/>
                      </a:lnTo>
                      <a:lnTo>
                        <a:pt x="248" y="20"/>
                      </a:lnTo>
                      <a:lnTo>
                        <a:pt x="252" y="20"/>
                      </a:lnTo>
                      <a:lnTo>
                        <a:pt x="252" y="24"/>
                      </a:lnTo>
                      <a:lnTo>
                        <a:pt x="256" y="26"/>
                      </a:lnTo>
                      <a:lnTo>
                        <a:pt x="256" y="30"/>
                      </a:lnTo>
                      <a:lnTo>
                        <a:pt x="256" y="34"/>
                      </a:lnTo>
                      <a:lnTo>
                        <a:pt x="252" y="34"/>
                      </a:lnTo>
                      <a:lnTo>
                        <a:pt x="252" y="38"/>
                      </a:lnTo>
                      <a:lnTo>
                        <a:pt x="256" y="38"/>
                      </a:lnTo>
                      <a:lnTo>
                        <a:pt x="256" y="42"/>
                      </a:lnTo>
                      <a:lnTo>
                        <a:pt x="260" y="42"/>
                      </a:lnTo>
                      <a:lnTo>
                        <a:pt x="264" y="42"/>
                      </a:lnTo>
                      <a:lnTo>
                        <a:pt x="268" y="46"/>
                      </a:lnTo>
                      <a:lnTo>
                        <a:pt x="272" y="50"/>
                      </a:lnTo>
                      <a:lnTo>
                        <a:pt x="268" y="50"/>
                      </a:lnTo>
                      <a:lnTo>
                        <a:pt x="268" y="54"/>
                      </a:lnTo>
                      <a:lnTo>
                        <a:pt x="264" y="54"/>
                      </a:lnTo>
                      <a:lnTo>
                        <a:pt x="264" y="56"/>
                      </a:lnTo>
                      <a:lnTo>
                        <a:pt x="264" y="54"/>
                      </a:lnTo>
                      <a:lnTo>
                        <a:pt x="260" y="54"/>
                      </a:lnTo>
                      <a:lnTo>
                        <a:pt x="260" y="56"/>
                      </a:lnTo>
                      <a:lnTo>
                        <a:pt x="264" y="60"/>
                      </a:lnTo>
                      <a:lnTo>
                        <a:pt x="264" y="64"/>
                      </a:lnTo>
                      <a:lnTo>
                        <a:pt x="264" y="68"/>
                      </a:lnTo>
                      <a:lnTo>
                        <a:pt x="264" y="72"/>
                      </a:lnTo>
                      <a:lnTo>
                        <a:pt x="264" y="76"/>
                      </a:lnTo>
                      <a:lnTo>
                        <a:pt x="268" y="76"/>
                      </a:lnTo>
                      <a:lnTo>
                        <a:pt x="264" y="80"/>
                      </a:lnTo>
                      <a:lnTo>
                        <a:pt x="264" y="84"/>
                      </a:lnTo>
                      <a:lnTo>
                        <a:pt x="268" y="86"/>
                      </a:lnTo>
                      <a:lnTo>
                        <a:pt x="268" y="90"/>
                      </a:lnTo>
                      <a:lnTo>
                        <a:pt x="268" y="94"/>
                      </a:lnTo>
                      <a:lnTo>
                        <a:pt x="272" y="94"/>
                      </a:lnTo>
                      <a:lnTo>
                        <a:pt x="272" y="98"/>
                      </a:lnTo>
                      <a:lnTo>
                        <a:pt x="268" y="98"/>
                      </a:lnTo>
                      <a:lnTo>
                        <a:pt x="268" y="102"/>
                      </a:lnTo>
                      <a:lnTo>
                        <a:pt x="264" y="102"/>
                      </a:lnTo>
                      <a:lnTo>
                        <a:pt x="264" y="98"/>
                      </a:lnTo>
                      <a:lnTo>
                        <a:pt x="264" y="94"/>
                      </a:lnTo>
                      <a:lnTo>
                        <a:pt x="260" y="94"/>
                      </a:lnTo>
                      <a:lnTo>
                        <a:pt x="260" y="98"/>
                      </a:lnTo>
                      <a:lnTo>
                        <a:pt x="256" y="98"/>
                      </a:lnTo>
                      <a:lnTo>
                        <a:pt x="252" y="98"/>
                      </a:lnTo>
                      <a:lnTo>
                        <a:pt x="248" y="94"/>
                      </a:lnTo>
                      <a:lnTo>
                        <a:pt x="246" y="94"/>
                      </a:lnTo>
                      <a:lnTo>
                        <a:pt x="242" y="94"/>
                      </a:lnTo>
                      <a:lnTo>
                        <a:pt x="242" y="98"/>
                      </a:lnTo>
                      <a:lnTo>
                        <a:pt x="238" y="98"/>
                      </a:lnTo>
                      <a:lnTo>
                        <a:pt x="238" y="94"/>
                      </a:lnTo>
                      <a:lnTo>
                        <a:pt x="234" y="94"/>
                      </a:lnTo>
                      <a:lnTo>
                        <a:pt x="234" y="98"/>
                      </a:lnTo>
                      <a:lnTo>
                        <a:pt x="230" y="98"/>
                      </a:lnTo>
                      <a:lnTo>
                        <a:pt x="226" y="98"/>
                      </a:lnTo>
                      <a:lnTo>
                        <a:pt x="222" y="98"/>
                      </a:lnTo>
                      <a:lnTo>
                        <a:pt x="220" y="98"/>
                      </a:lnTo>
                      <a:lnTo>
                        <a:pt x="216" y="98"/>
                      </a:lnTo>
                      <a:lnTo>
                        <a:pt x="212" y="98"/>
                      </a:lnTo>
                      <a:lnTo>
                        <a:pt x="212" y="102"/>
                      </a:lnTo>
                      <a:lnTo>
                        <a:pt x="208" y="102"/>
                      </a:lnTo>
                      <a:lnTo>
                        <a:pt x="204" y="106"/>
                      </a:lnTo>
                      <a:lnTo>
                        <a:pt x="200" y="106"/>
                      </a:lnTo>
                      <a:lnTo>
                        <a:pt x="196" y="106"/>
                      </a:lnTo>
                      <a:lnTo>
                        <a:pt x="192" y="110"/>
                      </a:lnTo>
                      <a:lnTo>
                        <a:pt x="190" y="106"/>
                      </a:lnTo>
                      <a:lnTo>
                        <a:pt x="186" y="106"/>
                      </a:lnTo>
                      <a:lnTo>
                        <a:pt x="182" y="106"/>
                      </a:lnTo>
                      <a:lnTo>
                        <a:pt x="182" y="102"/>
                      </a:lnTo>
                      <a:lnTo>
                        <a:pt x="178" y="102"/>
                      </a:lnTo>
                      <a:lnTo>
                        <a:pt x="178" y="106"/>
                      </a:lnTo>
                      <a:lnTo>
                        <a:pt x="174" y="106"/>
                      </a:lnTo>
                      <a:lnTo>
                        <a:pt x="170" y="106"/>
                      </a:lnTo>
                      <a:lnTo>
                        <a:pt x="166" y="110"/>
                      </a:lnTo>
                      <a:lnTo>
                        <a:pt x="162" y="110"/>
                      </a:lnTo>
                      <a:lnTo>
                        <a:pt x="162" y="106"/>
                      </a:lnTo>
                      <a:lnTo>
                        <a:pt x="160" y="106"/>
                      </a:lnTo>
                      <a:lnTo>
                        <a:pt x="156" y="106"/>
                      </a:lnTo>
                      <a:lnTo>
                        <a:pt x="156" y="110"/>
                      </a:lnTo>
                      <a:lnTo>
                        <a:pt x="156" y="114"/>
                      </a:lnTo>
                      <a:lnTo>
                        <a:pt x="156" y="116"/>
                      </a:lnTo>
                      <a:lnTo>
                        <a:pt x="152" y="116"/>
                      </a:lnTo>
                      <a:lnTo>
                        <a:pt x="152" y="120"/>
                      </a:lnTo>
                      <a:lnTo>
                        <a:pt x="148" y="120"/>
                      </a:lnTo>
                      <a:lnTo>
                        <a:pt x="148" y="124"/>
                      </a:lnTo>
                      <a:lnTo>
                        <a:pt x="148" y="120"/>
                      </a:lnTo>
                      <a:lnTo>
                        <a:pt x="144" y="120"/>
                      </a:lnTo>
                      <a:lnTo>
                        <a:pt x="148" y="120"/>
                      </a:lnTo>
                      <a:lnTo>
                        <a:pt x="144" y="120"/>
                      </a:lnTo>
                      <a:lnTo>
                        <a:pt x="144" y="116"/>
                      </a:lnTo>
                      <a:lnTo>
                        <a:pt x="144" y="114"/>
                      </a:lnTo>
                      <a:lnTo>
                        <a:pt x="148" y="110"/>
                      </a:lnTo>
                      <a:lnTo>
                        <a:pt x="148" y="106"/>
                      </a:lnTo>
                      <a:lnTo>
                        <a:pt x="148" y="102"/>
                      </a:lnTo>
                      <a:lnTo>
                        <a:pt x="144" y="102"/>
                      </a:lnTo>
                      <a:lnTo>
                        <a:pt x="144" y="106"/>
                      </a:lnTo>
                      <a:lnTo>
                        <a:pt x="140" y="106"/>
                      </a:lnTo>
                      <a:lnTo>
                        <a:pt x="140" y="110"/>
                      </a:lnTo>
                      <a:lnTo>
                        <a:pt x="136" y="110"/>
                      </a:lnTo>
                      <a:lnTo>
                        <a:pt x="134" y="106"/>
                      </a:lnTo>
                      <a:lnTo>
                        <a:pt x="130" y="106"/>
                      </a:lnTo>
                      <a:lnTo>
                        <a:pt x="126" y="106"/>
                      </a:lnTo>
                      <a:lnTo>
                        <a:pt x="122" y="110"/>
                      </a:lnTo>
                      <a:lnTo>
                        <a:pt x="122" y="114"/>
                      </a:lnTo>
                      <a:lnTo>
                        <a:pt x="118" y="114"/>
                      </a:lnTo>
                      <a:lnTo>
                        <a:pt x="118" y="116"/>
                      </a:lnTo>
                      <a:lnTo>
                        <a:pt x="118" y="114"/>
                      </a:lnTo>
                      <a:lnTo>
                        <a:pt x="114" y="116"/>
                      </a:lnTo>
                      <a:lnTo>
                        <a:pt x="110" y="116"/>
                      </a:lnTo>
                      <a:lnTo>
                        <a:pt x="106" y="116"/>
                      </a:lnTo>
                      <a:lnTo>
                        <a:pt x="104" y="116"/>
                      </a:lnTo>
                      <a:lnTo>
                        <a:pt x="104" y="120"/>
                      </a:lnTo>
                      <a:lnTo>
                        <a:pt x="100" y="120"/>
                      </a:lnTo>
                      <a:lnTo>
                        <a:pt x="100" y="116"/>
                      </a:lnTo>
                      <a:lnTo>
                        <a:pt x="96" y="116"/>
                      </a:lnTo>
                      <a:lnTo>
                        <a:pt x="92" y="116"/>
                      </a:lnTo>
                      <a:lnTo>
                        <a:pt x="92" y="114"/>
                      </a:lnTo>
                      <a:lnTo>
                        <a:pt x="92" y="110"/>
                      </a:lnTo>
                      <a:lnTo>
                        <a:pt x="88" y="110"/>
                      </a:lnTo>
                      <a:lnTo>
                        <a:pt x="84" y="110"/>
                      </a:lnTo>
                      <a:lnTo>
                        <a:pt x="84" y="106"/>
                      </a:lnTo>
                      <a:lnTo>
                        <a:pt x="80" y="106"/>
                      </a:lnTo>
                      <a:lnTo>
                        <a:pt x="78" y="106"/>
                      </a:lnTo>
                      <a:lnTo>
                        <a:pt x="74" y="106"/>
                      </a:lnTo>
                      <a:lnTo>
                        <a:pt x="70" y="102"/>
                      </a:lnTo>
                      <a:lnTo>
                        <a:pt x="70" y="106"/>
                      </a:lnTo>
                      <a:lnTo>
                        <a:pt x="70" y="110"/>
                      </a:lnTo>
                      <a:lnTo>
                        <a:pt x="70" y="114"/>
                      </a:lnTo>
                      <a:lnTo>
                        <a:pt x="66" y="116"/>
                      </a:lnTo>
                      <a:lnTo>
                        <a:pt x="66" y="114"/>
                      </a:lnTo>
                      <a:lnTo>
                        <a:pt x="62" y="114"/>
                      </a:lnTo>
                      <a:lnTo>
                        <a:pt x="62" y="116"/>
                      </a:lnTo>
                      <a:lnTo>
                        <a:pt x="58" y="116"/>
                      </a:lnTo>
                      <a:lnTo>
                        <a:pt x="54" y="116"/>
                      </a:lnTo>
                      <a:lnTo>
                        <a:pt x="50" y="116"/>
                      </a:lnTo>
                      <a:lnTo>
                        <a:pt x="50" y="114"/>
                      </a:lnTo>
                      <a:lnTo>
                        <a:pt x="48" y="114"/>
                      </a:lnTo>
                      <a:lnTo>
                        <a:pt x="50" y="110"/>
                      </a:lnTo>
                      <a:lnTo>
                        <a:pt x="48" y="110"/>
                      </a:lnTo>
                      <a:lnTo>
                        <a:pt x="48" y="106"/>
                      </a:lnTo>
                      <a:lnTo>
                        <a:pt x="44" y="110"/>
                      </a:lnTo>
                      <a:lnTo>
                        <a:pt x="44" y="106"/>
                      </a:lnTo>
                      <a:lnTo>
                        <a:pt x="40" y="102"/>
                      </a:lnTo>
                      <a:lnTo>
                        <a:pt x="40" y="106"/>
                      </a:lnTo>
                      <a:lnTo>
                        <a:pt x="36" y="106"/>
                      </a:lnTo>
                      <a:lnTo>
                        <a:pt x="36" y="110"/>
                      </a:lnTo>
                      <a:lnTo>
                        <a:pt x="34" y="110"/>
                      </a:lnTo>
                      <a:lnTo>
                        <a:pt x="36" y="110"/>
                      </a:lnTo>
                      <a:lnTo>
                        <a:pt x="34" y="110"/>
                      </a:lnTo>
                      <a:lnTo>
                        <a:pt x="34" y="106"/>
                      </a:lnTo>
                      <a:lnTo>
                        <a:pt x="34" y="110"/>
                      </a:lnTo>
                      <a:lnTo>
                        <a:pt x="34" y="106"/>
                      </a:lnTo>
                      <a:lnTo>
                        <a:pt x="36" y="106"/>
                      </a:lnTo>
                      <a:lnTo>
                        <a:pt x="34" y="106"/>
                      </a:lnTo>
                      <a:lnTo>
                        <a:pt x="30" y="106"/>
                      </a:lnTo>
                      <a:lnTo>
                        <a:pt x="26" y="110"/>
                      </a:lnTo>
                      <a:lnTo>
                        <a:pt x="26" y="106"/>
                      </a:lnTo>
                      <a:lnTo>
                        <a:pt x="30" y="106"/>
                      </a:lnTo>
                      <a:lnTo>
                        <a:pt x="34" y="106"/>
                      </a:lnTo>
                      <a:lnTo>
                        <a:pt x="36" y="102"/>
                      </a:lnTo>
                      <a:lnTo>
                        <a:pt x="34" y="102"/>
                      </a:lnTo>
                      <a:lnTo>
                        <a:pt x="30" y="102"/>
                      </a:lnTo>
                      <a:lnTo>
                        <a:pt x="26" y="102"/>
                      </a:lnTo>
                      <a:lnTo>
                        <a:pt x="22" y="102"/>
                      </a:lnTo>
                      <a:lnTo>
                        <a:pt x="26" y="98"/>
                      </a:lnTo>
                      <a:lnTo>
                        <a:pt x="30" y="98"/>
                      </a:lnTo>
                      <a:lnTo>
                        <a:pt x="30" y="94"/>
                      </a:lnTo>
                      <a:lnTo>
                        <a:pt x="26" y="98"/>
                      </a:lnTo>
                      <a:lnTo>
                        <a:pt x="26" y="94"/>
                      </a:lnTo>
                      <a:lnTo>
                        <a:pt x="22" y="94"/>
                      </a:lnTo>
                      <a:lnTo>
                        <a:pt x="22" y="90"/>
                      </a:lnTo>
                      <a:lnTo>
                        <a:pt x="22" y="86"/>
                      </a:lnTo>
                      <a:lnTo>
                        <a:pt x="22" y="84"/>
                      </a:lnTo>
                      <a:lnTo>
                        <a:pt x="26" y="84"/>
                      </a:lnTo>
                      <a:lnTo>
                        <a:pt x="22" y="84"/>
                      </a:lnTo>
                      <a:lnTo>
                        <a:pt x="18" y="80"/>
                      </a:lnTo>
                      <a:lnTo>
                        <a:pt x="14" y="80"/>
                      </a:lnTo>
                      <a:lnTo>
                        <a:pt x="10" y="80"/>
                      </a:lnTo>
                      <a:lnTo>
                        <a:pt x="10" y="76"/>
                      </a:lnTo>
                      <a:lnTo>
                        <a:pt x="14" y="76"/>
                      </a:lnTo>
                      <a:lnTo>
                        <a:pt x="10" y="72"/>
                      </a:lnTo>
                      <a:lnTo>
                        <a:pt x="10" y="68"/>
                      </a:lnTo>
                      <a:lnTo>
                        <a:pt x="14" y="72"/>
                      </a:lnTo>
                      <a:lnTo>
                        <a:pt x="14" y="76"/>
                      </a:lnTo>
                      <a:lnTo>
                        <a:pt x="18" y="76"/>
                      </a:lnTo>
                      <a:lnTo>
                        <a:pt x="22" y="76"/>
                      </a:lnTo>
                      <a:lnTo>
                        <a:pt x="22" y="72"/>
                      </a:lnTo>
                      <a:lnTo>
                        <a:pt x="18" y="72"/>
                      </a:lnTo>
                      <a:lnTo>
                        <a:pt x="14" y="68"/>
                      </a:lnTo>
                      <a:lnTo>
                        <a:pt x="18" y="68"/>
                      </a:lnTo>
                      <a:lnTo>
                        <a:pt x="22" y="64"/>
                      </a:lnTo>
                      <a:lnTo>
                        <a:pt x="18" y="64"/>
                      </a:lnTo>
                      <a:lnTo>
                        <a:pt x="18" y="60"/>
                      </a:lnTo>
                      <a:lnTo>
                        <a:pt x="14" y="56"/>
                      </a:lnTo>
                      <a:lnTo>
                        <a:pt x="18" y="56"/>
                      </a:lnTo>
                      <a:lnTo>
                        <a:pt x="18" y="54"/>
                      </a:lnTo>
                      <a:lnTo>
                        <a:pt x="14" y="54"/>
                      </a:lnTo>
                      <a:lnTo>
                        <a:pt x="14" y="54"/>
                      </a:lnTo>
                      <a:lnTo>
                        <a:pt x="14" y="54"/>
                      </a:lnTo>
                      <a:close/>
                      <a:moveTo>
                        <a:pt x="30" y="30"/>
                      </a:moveTo>
                      <a:lnTo>
                        <a:pt x="26" y="30"/>
                      </a:lnTo>
                      <a:lnTo>
                        <a:pt x="30" y="30"/>
                      </a:lnTo>
                      <a:lnTo>
                        <a:pt x="30" y="30"/>
                      </a:lnTo>
                      <a:lnTo>
                        <a:pt x="30" y="30"/>
                      </a:lnTo>
                      <a:close/>
                      <a:moveTo>
                        <a:pt x="4" y="42"/>
                      </a:moveTo>
                      <a:lnTo>
                        <a:pt x="0" y="42"/>
                      </a:lnTo>
                      <a:lnTo>
                        <a:pt x="4" y="42"/>
                      </a:lnTo>
                      <a:lnTo>
                        <a:pt x="4" y="38"/>
                      </a:lnTo>
                      <a:lnTo>
                        <a:pt x="8" y="42"/>
                      </a:lnTo>
                      <a:lnTo>
                        <a:pt x="4" y="42"/>
                      </a:lnTo>
                      <a:lnTo>
                        <a:pt x="4" y="42"/>
                      </a:lnTo>
                      <a:lnTo>
                        <a:pt x="4" y="42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Freeform 59"/>
                <p:cNvSpPr>
                  <a:spLocks/>
                </p:cNvSpPr>
                <p:nvPr/>
              </p:nvSpPr>
              <p:spPr bwMode="auto">
                <a:xfrm>
                  <a:off x="5543550" y="3343343"/>
                  <a:ext cx="346075" cy="231775"/>
                </a:xfrm>
                <a:custGeom>
                  <a:avLst/>
                  <a:gdLst>
                    <a:gd name="T0" fmla="*/ 208 w 218"/>
                    <a:gd name="T1" fmla="*/ 100 h 146"/>
                    <a:gd name="T2" fmla="*/ 200 w 218"/>
                    <a:gd name="T3" fmla="*/ 108 h 146"/>
                    <a:gd name="T4" fmla="*/ 192 w 218"/>
                    <a:gd name="T5" fmla="*/ 116 h 146"/>
                    <a:gd name="T6" fmla="*/ 188 w 218"/>
                    <a:gd name="T7" fmla="*/ 126 h 146"/>
                    <a:gd name="T8" fmla="*/ 178 w 218"/>
                    <a:gd name="T9" fmla="*/ 130 h 146"/>
                    <a:gd name="T10" fmla="*/ 170 w 218"/>
                    <a:gd name="T11" fmla="*/ 134 h 146"/>
                    <a:gd name="T12" fmla="*/ 166 w 218"/>
                    <a:gd name="T13" fmla="*/ 142 h 146"/>
                    <a:gd name="T14" fmla="*/ 156 w 218"/>
                    <a:gd name="T15" fmla="*/ 146 h 146"/>
                    <a:gd name="T16" fmla="*/ 144 w 218"/>
                    <a:gd name="T17" fmla="*/ 142 h 146"/>
                    <a:gd name="T18" fmla="*/ 140 w 218"/>
                    <a:gd name="T19" fmla="*/ 130 h 146"/>
                    <a:gd name="T20" fmla="*/ 136 w 218"/>
                    <a:gd name="T21" fmla="*/ 118 h 146"/>
                    <a:gd name="T22" fmla="*/ 126 w 218"/>
                    <a:gd name="T23" fmla="*/ 112 h 146"/>
                    <a:gd name="T24" fmla="*/ 114 w 218"/>
                    <a:gd name="T25" fmla="*/ 100 h 146"/>
                    <a:gd name="T26" fmla="*/ 106 w 218"/>
                    <a:gd name="T27" fmla="*/ 100 h 146"/>
                    <a:gd name="T28" fmla="*/ 92 w 218"/>
                    <a:gd name="T29" fmla="*/ 92 h 146"/>
                    <a:gd name="T30" fmla="*/ 84 w 218"/>
                    <a:gd name="T31" fmla="*/ 88 h 146"/>
                    <a:gd name="T32" fmla="*/ 74 w 218"/>
                    <a:gd name="T33" fmla="*/ 86 h 146"/>
                    <a:gd name="T34" fmla="*/ 62 w 218"/>
                    <a:gd name="T35" fmla="*/ 88 h 146"/>
                    <a:gd name="T36" fmla="*/ 54 w 218"/>
                    <a:gd name="T37" fmla="*/ 96 h 146"/>
                    <a:gd name="T38" fmla="*/ 44 w 218"/>
                    <a:gd name="T39" fmla="*/ 104 h 146"/>
                    <a:gd name="T40" fmla="*/ 28 w 218"/>
                    <a:gd name="T41" fmla="*/ 100 h 146"/>
                    <a:gd name="T42" fmla="*/ 18 w 218"/>
                    <a:gd name="T43" fmla="*/ 96 h 146"/>
                    <a:gd name="T44" fmla="*/ 10 w 218"/>
                    <a:gd name="T45" fmla="*/ 88 h 146"/>
                    <a:gd name="T46" fmla="*/ 4 w 218"/>
                    <a:gd name="T47" fmla="*/ 74 h 146"/>
                    <a:gd name="T48" fmla="*/ 6 w 218"/>
                    <a:gd name="T49" fmla="*/ 58 h 146"/>
                    <a:gd name="T50" fmla="*/ 6 w 218"/>
                    <a:gd name="T51" fmla="*/ 40 h 146"/>
                    <a:gd name="T52" fmla="*/ 6 w 218"/>
                    <a:gd name="T53" fmla="*/ 26 h 146"/>
                    <a:gd name="T54" fmla="*/ 20 w 218"/>
                    <a:gd name="T55" fmla="*/ 14 h 146"/>
                    <a:gd name="T56" fmla="*/ 32 w 218"/>
                    <a:gd name="T57" fmla="*/ 10 h 146"/>
                    <a:gd name="T58" fmla="*/ 44 w 218"/>
                    <a:gd name="T59" fmla="*/ 10 h 146"/>
                    <a:gd name="T60" fmla="*/ 54 w 218"/>
                    <a:gd name="T61" fmla="*/ 22 h 146"/>
                    <a:gd name="T62" fmla="*/ 62 w 218"/>
                    <a:gd name="T63" fmla="*/ 30 h 146"/>
                    <a:gd name="T64" fmla="*/ 74 w 218"/>
                    <a:gd name="T65" fmla="*/ 30 h 146"/>
                    <a:gd name="T66" fmla="*/ 84 w 218"/>
                    <a:gd name="T67" fmla="*/ 26 h 146"/>
                    <a:gd name="T68" fmla="*/ 80 w 218"/>
                    <a:gd name="T69" fmla="*/ 14 h 146"/>
                    <a:gd name="T70" fmla="*/ 92 w 218"/>
                    <a:gd name="T71" fmla="*/ 10 h 146"/>
                    <a:gd name="T72" fmla="*/ 100 w 218"/>
                    <a:gd name="T73" fmla="*/ 6 h 146"/>
                    <a:gd name="T74" fmla="*/ 102 w 218"/>
                    <a:gd name="T75" fmla="*/ 4 h 146"/>
                    <a:gd name="T76" fmla="*/ 110 w 218"/>
                    <a:gd name="T77" fmla="*/ 4 h 146"/>
                    <a:gd name="T78" fmla="*/ 122 w 218"/>
                    <a:gd name="T79" fmla="*/ 6 h 146"/>
                    <a:gd name="T80" fmla="*/ 128 w 218"/>
                    <a:gd name="T81" fmla="*/ 18 h 146"/>
                    <a:gd name="T82" fmla="*/ 128 w 218"/>
                    <a:gd name="T83" fmla="*/ 26 h 146"/>
                    <a:gd name="T84" fmla="*/ 140 w 218"/>
                    <a:gd name="T85" fmla="*/ 30 h 146"/>
                    <a:gd name="T86" fmla="*/ 152 w 218"/>
                    <a:gd name="T87" fmla="*/ 36 h 146"/>
                    <a:gd name="T88" fmla="*/ 158 w 218"/>
                    <a:gd name="T89" fmla="*/ 44 h 146"/>
                    <a:gd name="T90" fmla="*/ 162 w 218"/>
                    <a:gd name="T91" fmla="*/ 56 h 146"/>
                    <a:gd name="T92" fmla="*/ 174 w 218"/>
                    <a:gd name="T93" fmla="*/ 62 h 146"/>
                    <a:gd name="T94" fmla="*/ 182 w 218"/>
                    <a:gd name="T95" fmla="*/ 70 h 146"/>
                    <a:gd name="T96" fmla="*/ 188 w 218"/>
                    <a:gd name="T97" fmla="*/ 78 h 146"/>
                    <a:gd name="T98" fmla="*/ 204 w 218"/>
                    <a:gd name="T99" fmla="*/ 86 h 146"/>
                    <a:gd name="T100" fmla="*/ 210 w 218"/>
                    <a:gd name="T101" fmla="*/ 88 h 146"/>
                    <a:gd name="T102" fmla="*/ 218 w 218"/>
                    <a:gd name="T103" fmla="*/ 96 h 146"/>
                    <a:gd name="T104" fmla="*/ 214 w 218"/>
                    <a:gd name="T105" fmla="*/ 104 h 1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218" h="146">
                      <a:moveTo>
                        <a:pt x="214" y="104"/>
                      </a:moveTo>
                      <a:lnTo>
                        <a:pt x="210" y="104"/>
                      </a:lnTo>
                      <a:lnTo>
                        <a:pt x="208" y="104"/>
                      </a:lnTo>
                      <a:lnTo>
                        <a:pt x="208" y="100"/>
                      </a:lnTo>
                      <a:lnTo>
                        <a:pt x="204" y="100"/>
                      </a:lnTo>
                      <a:lnTo>
                        <a:pt x="204" y="104"/>
                      </a:lnTo>
                      <a:lnTo>
                        <a:pt x="204" y="108"/>
                      </a:lnTo>
                      <a:lnTo>
                        <a:pt x="200" y="108"/>
                      </a:lnTo>
                      <a:lnTo>
                        <a:pt x="196" y="108"/>
                      </a:lnTo>
                      <a:lnTo>
                        <a:pt x="192" y="108"/>
                      </a:lnTo>
                      <a:lnTo>
                        <a:pt x="192" y="112"/>
                      </a:lnTo>
                      <a:lnTo>
                        <a:pt x="192" y="116"/>
                      </a:lnTo>
                      <a:lnTo>
                        <a:pt x="188" y="116"/>
                      </a:lnTo>
                      <a:lnTo>
                        <a:pt x="188" y="118"/>
                      </a:lnTo>
                      <a:lnTo>
                        <a:pt x="188" y="122"/>
                      </a:lnTo>
                      <a:lnTo>
                        <a:pt x="188" y="126"/>
                      </a:lnTo>
                      <a:lnTo>
                        <a:pt x="184" y="126"/>
                      </a:lnTo>
                      <a:lnTo>
                        <a:pt x="182" y="126"/>
                      </a:lnTo>
                      <a:lnTo>
                        <a:pt x="182" y="130"/>
                      </a:lnTo>
                      <a:lnTo>
                        <a:pt x="178" y="130"/>
                      </a:lnTo>
                      <a:lnTo>
                        <a:pt x="174" y="130"/>
                      </a:lnTo>
                      <a:lnTo>
                        <a:pt x="170" y="134"/>
                      </a:lnTo>
                      <a:lnTo>
                        <a:pt x="166" y="134"/>
                      </a:lnTo>
                      <a:lnTo>
                        <a:pt x="170" y="134"/>
                      </a:lnTo>
                      <a:lnTo>
                        <a:pt x="170" y="138"/>
                      </a:lnTo>
                      <a:lnTo>
                        <a:pt x="166" y="138"/>
                      </a:lnTo>
                      <a:lnTo>
                        <a:pt x="170" y="138"/>
                      </a:lnTo>
                      <a:lnTo>
                        <a:pt x="166" y="142"/>
                      </a:lnTo>
                      <a:lnTo>
                        <a:pt x="162" y="142"/>
                      </a:lnTo>
                      <a:lnTo>
                        <a:pt x="162" y="146"/>
                      </a:lnTo>
                      <a:lnTo>
                        <a:pt x="158" y="146"/>
                      </a:lnTo>
                      <a:lnTo>
                        <a:pt x="156" y="146"/>
                      </a:lnTo>
                      <a:lnTo>
                        <a:pt x="156" y="142"/>
                      </a:lnTo>
                      <a:lnTo>
                        <a:pt x="152" y="142"/>
                      </a:lnTo>
                      <a:lnTo>
                        <a:pt x="148" y="142"/>
                      </a:lnTo>
                      <a:lnTo>
                        <a:pt x="144" y="142"/>
                      </a:lnTo>
                      <a:lnTo>
                        <a:pt x="144" y="138"/>
                      </a:lnTo>
                      <a:lnTo>
                        <a:pt x="140" y="138"/>
                      </a:lnTo>
                      <a:lnTo>
                        <a:pt x="140" y="134"/>
                      </a:lnTo>
                      <a:lnTo>
                        <a:pt x="140" y="130"/>
                      </a:lnTo>
                      <a:lnTo>
                        <a:pt x="140" y="126"/>
                      </a:lnTo>
                      <a:lnTo>
                        <a:pt x="140" y="122"/>
                      </a:lnTo>
                      <a:lnTo>
                        <a:pt x="140" y="118"/>
                      </a:lnTo>
                      <a:lnTo>
                        <a:pt x="136" y="118"/>
                      </a:lnTo>
                      <a:lnTo>
                        <a:pt x="132" y="118"/>
                      </a:lnTo>
                      <a:lnTo>
                        <a:pt x="128" y="118"/>
                      </a:lnTo>
                      <a:lnTo>
                        <a:pt x="126" y="116"/>
                      </a:lnTo>
                      <a:lnTo>
                        <a:pt x="126" y="112"/>
                      </a:lnTo>
                      <a:lnTo>
                        <a:pt x="122" y="108"/>
                      </a:lnTo>
                      <a:lnTo>
                        <a:pt x="118" y="108"/>
                      </a:lnTo>
                      <a:lnTo>
                        <a:pt x="114" y="104"/>
                      </a:lnTo>
                      <a:lnTo>
                        <a:pt x="114" y="100"/>
                      </a:lnTo>
                      <a:lnTo>
                        <a:pt x="110" y="100"/>
                      </a:lnTo>
                      <a:lnTo>
                        <a:pt x="110" y="96"/>
                      </a:lnTo>
                      <a:lnTo>
                        <a:pt x="106" y="96"/>
                      </a:lnTo>
                      <a:lnTo>
                        <a:pt x="106" y="100"/>
                      </a:lnTo>
                      <a:lnTo>
                        <a:pt x="106" y="96"/>
                      </a:lnTo>
                      <a:lnTo>
                        <a:pt x="102" y="100"/>
                      </a:lnTo>
                      <a:lnTo>
                        <a:pt x="100" y="96"/>
                      </a:lnTo>
                      <a:lnTo>
                        <a:pt x="92" y="92"/>
                      </a:lnTo>
                      <a:lnTo>
                        <a:pt x="88" y="92"/>
                      </a:lnTo>
                      <a:lnTo>
                        <a:pt x="88" y="88"/>
                      </a:lnTo>
                      <a:lnTo>
                        <a:pt x="84" y="86"/>
                      </a:lnTo>
                      <a:lnTo>
                        <a:pt x="84" y="88"/>
                      </a:lnTo>
                      <a:lnTo>
                        <a:pt x="80" y="88"/>
                      </a:lnTo>
                      <a:lnTo>
                        <a:pt x="80" y="86"/>
                      </a:lnTo>
                      <a:lnTo>
                        <a:pt x="76" y="86"/>
                      </a:lnTo>
                      <a:lnTo>
                        <a:pt x="74" y="86"/>
                      </a:lnTo>
                      <a:lnTo>
                        <a:pt x="74" y="88"/>
                      </a:lnTo>
                      <a:lnTo>
                        <a:pt x="70" y="88"/>
                      </a:lnTo>
                      <a:lnTo>
                        <a:pt x="66" y="88"/>
                      </a:lnTo>
                      <a:lnTo>
                        <a:pt x="62" y="88"/>
                      </a:lnTo>
                      <a:lnTo>
                        <a:pt x="58" y="88"/>
                      </a:lnTo>
                      <a:lnTo>
                        <a:pt x="58" y="92"/>
                      </a:lnTo>
                      <a:lnTo>
                        <a:pt x="54" y="92"/>
                      </a:lnTo>
                      <a:lnTo>
                        <a:pt x="54" y="96"/>
                      </a:lnTo>
                      <a:lnTo>
                        <a:pt x="50" y="96"/>
                      </a:lnTo>
                      <a:lnTo>
                        <a:pt x="50" y="100"/>
                      </a:lnTo>
                      <a:lnTo>
                        <a:pt x="48" y="104"/>
                      </a:lnTo>
                      <a:lnTo>
                        <a:pt x="44" y="104"/>
                      </a:lnTo>
                      <a:lnTo>
                        <a:pt x="40" y="104"/>
                      </a:lnTo>
                      <a:lnTo>
                        <a:pt x="36" y="104"/>
                      </a:lnTo>
                      <a:lnTo>
                        <a:pt x="32" y="104"/>
                      </a:lnTo>
                      <a:lnTo>
                        <a:pt x="28" y="100"/>
                      </a:lnTo>
                      <a:lnTo>
                        <a:pt x="24" y="100"/>
                      </a:lnTo>
                      <a:lnTo>
                        <a:pt x="24" y="96"/>
                      </a:lnTo>
                      <a:lnTo>
                        <a:pt x="20" y="96"/>
                      </a:lnTo>
                      <a:lnTo>
                        <a:pt x="18" y="96"/>
                      </a:lnTo>
                      <a:lnTo>
                        <a:pt x="14" y="96"/>
                      </a:lnTo>
                      <a:lnTo>
                        <a:pt x="14" y="92"/>
                      </a:lnTo>
                      <a:lnTo>
                        <a:pt x="10" y="92"/>
                      </a:lnTo>
                      <a:lnTo>
                        <a:pt x="10" y="88"/>
                      </a:lnTo>
                      <a:lnTo>
                        <a:pt x="6" y="86"/>
                      </a:lnTo>
                      <a:lnTo>
                        <a:pt x="4" y="82"/>
                      </a:lnTo>
                      <a:lnTo>
                        <a:pt x="4" y="78"/>
                      </a:lnTo>
                      <a:lnTo>
                        <a:pt x="4" y="74"/>
                      </a:lnTo>
                      <a:lnTo>
                        <a:pt x="4" y="70"/>
                      </a:lnTo>
                      <a:lnTo>
                        <a:pt x="6" y="66"/>
                      </a:lnTo>
                      <a:lnTo>
                        <a:pt x="6" y="62"/>
                      </a:lnTo>
                      <a:lnTo>
                        <a:pt x="6" y="58"/>
                      </a:lnTo>
                      <a:lnTo>
                        <a:pt x="6" y="56"/>
                      </a:lnTo>
                      <a:lnTo>
                        <a:pt x="6" y="48"/>
                      </a:lnTo>
                      <a:lnTo>
                        <a:pt x="6" y="44"/>
                      </a:lnTo>
                      <a:lnTo>
                        <a:pt x="6" y="40"/>
                      </a:lnTo>
                      <a:lnTo>
                        <a:pt x="6" y="36"/>
                      </a:lnTo>
                      <a:lnTo>
                        <a:pt x="4" y="32"/>
                      </a:lnTo>
                      <a:lnTo>
                        <a:pt x="0" y="30"/>
                      </a:lnTo>
                      <a:lnTo>
                        <a:pt x="6" y="26"/>
                      </a:lnTo>
                      <a:lnTo>
                        <a:pt x="10" y="26"/>
                      </a:lnTo>
                      <a:lnTo>
                        <a:pt x="14" y="22"/>
                      </a:lnTo>
                      <a:lnTo>
                        <a:pt x="18" y="18"/>
                      </a:lnTo>
                      <a:lnTo>
                        <a:pt x="20" y="14"/>
                      </a:lnTo>
                      <a:lnTo>
                        <a:pt x="24" y="14"/>
                      </a:lnTo>
                      <a:lnTo>
                        <a:pt x="24" y="10"/>
                      </a:lnTo>
                      <a:lnTo>
                        <a:pt x="28" y="10"/>
                      </a:lnTo>
                      <a:lnTo>
                        <a:pt x="32" y="10"/>
                      </a:lnTo>
                      <a:lnTo>
                        <a:pt x="36" y="6"/>
                      </a:lnTo>
                      <a:lnTo>
                        <a:pt x="40" y="6"/>
                      </a:lnTo>
                      <a:lnTo>
                        <a:pt x="44" y="6"/>
                      </a:lnTo>
                      <a:lnTo>
                        <a:pt x="44" y="10"/>
                      </a:lnTo>
                      <a:lnTo>
                        <a:pt x="48" y="10"/>
                      </a:lnTo>
                      <a:lnTo>
                        <a:pt x="50" y="14"/>
                      </a:lnTo>
                      <a:lnTo>
                        <a:pt x="54" y="18"/>
                      </a:lnTo>
                      <a:lnTo>
                        <a:pt x="54" y="22"/>
                      </a:lnTo>
                      <a:lnTo>
                        <a:pt x="58" y="22"/>
                      </a:lnTo>
                      <a:lnTo>
                        <a:pt x="58" y="26"/>
                      </a:lnTo>
                      <a:lnTo>
                        <a:pt x="58" y="30"/>
                      </a:lnTo>
                      <a:lnTo>
                        <a:pt x="62" y="30"/>
                      </a:lnTo>
                      <a:lnTo>
                        <a:pt x="66" y="30"/>
                      </a:lnTo>
                      <a:lnTo>
                        <a:pt x="66" y="26"/>
                      </a:lnTo>
                      <a:lnTo>
                        <a:pt x="70" y="30"/>
                      </a:lnTo>
                      <a:lnTo>
                        <a:pt x="74" y="30"/>
                      </a:lnTo>
                      <a:lnTo>
                        <a:pt x="76" y="30"/>
                      </a:lnTo>
                      <a:lnTo>
                        <a:pt x="80" y="30"/>
                      </a:lnTo>
                      <a:lnTo>
                        <a:pt x="84" y="30"/>
                      </a:lnTo>
                      <a:lnTo>
                        <a:pt x="84" y="26"/>
                      </a:lnTo>
                      <a:lnTo>
                        <a:pt x="80" y="26"/>
                      </a:lnTo>
                      <a:lnTo>
                        <a:pt x="80" y="22"/>
                      </a:lnTo>
                      <a:lnTo>
                        <a:pt x="80" y="18"/>
                      </a:lnTo>
                      <a:lnTo>
                        <a:pt x="80" y="14"/>
                      </a:lnTo>
                      <a:lnTo>
                        <a:pt x="84" y="14"/>
                      </a:lnTo>
                      <a:lnTo>
                        <a:pt x="84" y="10"/>
                      </a:lnTo>
                      <a:lnTo>
                        <a:pt x="88" y="10"/>
                      </a:lnTo>
                      <a:lnTo>
                        <a:pt x="92" y="10"/>
                      </a:lnTo>
                      <a:lnTo>
                        <a:pt x="96" y="10"/>
                      </a:lnTo>
                      <a:lnTo>
                        <a:pt x="96" y="6"/>
                      </a:lnTo>
                      <a:lnTo>
                        <a:pt x="96" y="4"/>
                      </a:lnTo>
                      <a:lnTo>
                        <a:pt x="100" y="6"/>
                      </a:lnTo>
                      <a:lnTo>
                        <a:pt x="102" y="6"/>
                      </a:lnTo>
                      <a:lnTo>
                        <a:pt x="100" y="4"/>
                      </a:lnTo>
                      <a:lnTo>
                        <a:pt x="100" y="0"/>
                      </a:lnTo>
                      <a:lnTo>
                        <a:pt x="102" y="4"/>
                      </a:lnTo>
                      <a:lnTo>
                        <a:pt x="102" y="0"/>
                      </a:lnTo>
                      <a:lnTo>
                        <a:pt x="106" y="0"/>
                      </a:lnTo>
                      <a:lnTo>
                        <a:pt x="106" y="4"/>
                      </a:lnTo>
                      <a:lnTo>
                        <a:pt x="110" y="4"/>
                      </a:lnTo>
                      <a:lnTo>
                        <a:pt x="114" y="4"/>
                      </a:lnTo>
                      <a:lnTo>
                        <a:pt x="114" y="6"/>
                      </a:lnTo>
                      <a:lnTo>
                        <a:pt x="118" y="6"/>
                      </a:lnTo>
                      <a:lnTo>
                        <a:pt x="122" y="6"/>
                      </a:lnTo>
                      <a:lnTo>
                        <a:pt x="126" y="10"/>
                      </a:lnTo>
                      <a:lnTo>
                        <a:pt x="126" y="14"/>
                      </a:lnTo>
                      <a:lnTo>
                        <a:pt x="126" y="18"/>
                      </a:lnTo>
                      <a:lnTo>
                        <a:pt x="128" y="18"/>
                      </a:lnTo>
                      <a:lnTo>
                        <a:pt x="126" y="18"/>
                      </a:lnTo>
                      <a:lnTo>
                        <a:pt x="126" y="22"/>
                      </a:lnTo>
                      <a:lnTo>
                        <a:pt x="126" y="26"/>
                      </a:lnTo>
                      <a:lnTo>
                        <a:pt x="128" y="26"/>
                      </a:lnTo>
                      <a:lnTo>
                        <a:pt x="128" y="30"/>
                      </a:lnTo>
                      <a:lnTo>
                        <a:pt x="132" y="30"/>
                      </a:lnTo>
                      <a:lnTo>
                        <a:pt x="136" y="30"/>
                      </a:lnTo>
                      <a:lnTo>
                        <a:pt x="140" y="30"/>
                      </a:lnTo>
                      <a:lnTo>
                        <a:pt x="144" y="30"/>
                      </a:lnTo>
                      <a:lnTo>
                        <a:pt x="148" y="30"/>
                      </a:lnTo>
                      <a:lnTo>
                        <a:pt x="152" y="32"/>
                      </a:lnTo>
                      <a:lnTo>
                        <a:pt x="152" y="36"/>
                      </a:lnTo>
                      <a:lnTo>
                        <a:pt x="152" y="40"/>
                      </a:lnTo>
                      <a:lnTo>
                        <a:pt x="156" y="40"/>
                      </a:lnTo>
                      <a:lnTo>
                        <a:pt x="156" y="44"/>
                      </a:lnTo>
                      <a:lnTo>
                        <a:pt x="158" y="44"/>
                      </a:lnTo>
                      <a:lnTo>
                        <a:pt x="158" y="48"/>
                      </a:lnTo>
                      <a:lnTo>
                        <a:pt x="158" y="52"/>
                      </a:lnTo>
                      <a:lnTo>
                        <a:pt x="158" y="56"/>
                      </a:lnTo>
                      <a:lnTo>
                        <a:pt x="162" y="56"/>
                      </a:lnTo>
                      <a:lnTo>
                        <a:pt x="162" y="58"/>
                      </a:lnTo>
                      <a:lnTo>
                        <a:pt x="166" y="58"/>
                      </a:lnTo>
                      <a:lnTo>
                        <a:pt x="170" y="62"/>
                      </a:lnTo>
                      <a:lnTo>
                        <a:pt x="174" y="62"/>
                      </a:lnTo>
                      <a:lnTo>
                        <a:pt x="174" y="66"/>
                      </a:lnTo>
                      <a:lnTo>
                        <a:pt x="178" y="66"/>
                      </a:lnTo>
                      <a:lnTo>
                        <a:pt x="178" y="70"/>
                      </a:lnTo>
                      <a:lnTo>
                        <a:pt x="182" y="70"/>
                      </a:lnTo>
                      <a:lnTo>
                        <a:pt x="182" y="74"/>
                      </a:lnTo>
                      <a:lnTo>
                        <a:pt x="184" y="74"/>
                      </a:lnTo>
                      <a:lnTo>
                        <a:pt x="188" y="74"/>
                      </a:lnTo>
                      <a:lnTo>
                        <a:pt x="188" y="78"/>
                      </a:lnTo>
                      <a:lnTo>
                        <a:pt x="192" y="78"/>
                      </a:lnTo>
                      <a:lnTo>
                        <a:pt x="196" y="82"/>
                      </a:lnTo>
                      <a:lnTo>
                        <a:pt x="200" y="86"/>
                      </a:lnTo>
                      <a:lnTo>
                        <a:pt x="204" y="86"/>
                      </a:lnTo>
                      <a:lnTo>
                        <a:pt x="204" y="88"/>
                      </a:lnTo>
                      <a:lnTo>
                        <a:pt x="208" y="88"/>
                      </a:lnTo>
                      <a:lnTo>
                        <a:pt x="208" y="86"/>
                      </a:lnTo>
                      <a:lnTo>
                        <a:pt x="210" y="88"/>
                      </a:lnTo>
                      <a:lnTo>
                        <a:pt x="214" y="88"/>
                      </a:lnTo>
                      <a:lnTo>
                        <a:pt x="214" y="92"/>
                      </a:lnTo>
                      <a:lnTo>
                        <a:pt x="218" y="92"/>
                      </a:lnTo>
                      <a:lnTo>
                        <a:pt x="218" y="96"/>
                      </a:lnTo>
                      <a:lnTo>
                        <a:pt x="214" y="100"/>
                      </a:lnTo>
                      <a:lnTo>
                        <a:pt x="214" y="104"/>
                      </a:lnTo>
                      <a:lnTo>
                        <a:pt x="218" y="104"/>
                      </a:lnTo>
                      <a:lnTo>
                        <a:pt x="214" y="104"/>
                      </a:lnTo>
                      <a:lnTo>
                        <a:pt x="214" y="104"/>
                      </a:lnTo>
                      <a:lnTo>
                        <a:pt x="214" y="10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21" name="Freeform 60"/>
                <p:cNvSpPr>
                  <a:spLocks noEditPoints="1"/>
                </p:cNvSpPr>
                <p:nvPr/>
              </p:nvSpPr>
              <p:spPr bwMode="auto">
                <a:xfrm>
                  <a:off x="5553075" y="3841818"/>
                  <a:ext cx="104775" cy="95250"/>
                </a:xfrm>
                <a:custGeom>
                  <a:avLst/>
                  <a:gdLst>
                    <a:gd name="T0" fmla="*/ 66 w 66"/>
                    <a:gd name="T1" fmla="*/ 14 h 60"/>
                    <a:gd name="T2" fmla="*/ 66 w 66"/>
                    <a:gd name="T3" fmla="*/ 18 h 60"/>
                    <a:gd name="T4" fmla="*/ 66 w 66"/>
                    <a:gd name="T5" fmla="*/ 18 h 60"/>
                    <a:gd name="T6" fmla="*/ 66 w 66"/>
                    <a:gd name="T7" fmla="*/ 22 h 60"/>
                    <a:gd name="T8" fmla="*/ 62 w 66"/>
                    <a:gd name="T9" fmla="*/ 22 h 60"/>
                    <a:gd name="T10" fmla="*/ 62 w 66"/>
                    <a:gd name="T11" fmla="*/ 22 h 60"/>
                    <a:gd name="T12" fmla="*/ 62 w 66"/>
                    <a:gd name="T13" fmla="*/ 22 h 60"/>
                    <a:gd name="T14" fmla="*/ 62 w 66"/>
                    <a:gd name="T15" fmla="*/ 18 h 60"/>
                    <a:gd name="T16" fmla="*/ 60 w 66"/>
                    <a:gd name="T17" fmla="*/ 18 h 60"/>
                    <a:gd name="T18" fmla="*/ 60 w 66"/>
                    <a:gd name="T19" fmla="*/ 22 h 60"/>
                    <a:gd name="T20" fmla="*/ 60 w 66"/>
                    <a:gd name="T21" fmla="*/ 26 h 60"/>
                    <a:gd name="T22" fmla="*/ 60 w 66"/>
                    <a:gd name="T23" fmla="*/ 30 h 60"/>
                    <a:gd name="T24" fmla="*/ 60 w 66"/>
                    <a:gd name="T25" fmla="*/ 34 h 60"/>
                    <a:gd name="T26" fmla="*/ 62 w 66"/>
                    <a:gd name="T27" fmla="*/ 36 h 60"/>
                    <a:gd name="T28" fmla="*/ 56 w 66"/>
                    <a:gd name="T29" fmla="*/ 36 h 60"/>
                    <a:gd name="T30" fmla="*/ 56 w 66"/>
                    <a:gd name="T31" fmla="*/ 40 h 60"/>
                    <a:gd name="T32" fmla="*/ 52 w 66"/>
                    <a:gd name="T33" fmla="*/ 48 h 60"/>
                    <a:gd name="T34" fmla="*/ 52 w 66"/>
                    <a:gd name="T35" fmla="*/ 52 h 60"/>
                    <a:gd name="T36" fmla="*/ 52 w 66"/>
                    <a:gd name="T37" fmla="*/ 56 h 60"/>
                    <a:gd name="T38" fmla="*/ 48 w 66"/>
                    <a:gd name="T39" fmla="*/ 60 h 60"/>
                    <a:gd name="T40" fmla="*/ 0 w 66"/>
                    <a:gd name="T41" fmla="*/ 34 h 60"/>
                    <a:gd name="T42" fmla="*/ 0 w 66"/>
                    <a:gd name="T43" fmla="*/ 34 h 60"/>
                    <a:gd name="T44" fmla="*/ 4 w 66"/>
                    <a:gd name="T45" fmla="*/ 36 h 60"/>
                    <a:gd name="T46" fmla="*/ 6 w 66"/>
                    <a:gd name="T47" fmla="*/ 36 h 60"/>
                    <a:gd name="T48" fmla="*/ 10 w 66"/>
                    <a:gd name="T49" fmla="*/ 34 h 60"/>
                    <a:gd name="T50" fmla="*/ 14 w 66"/>
                    <a:gd name="T51" fmla="*/ 34 h 60"/>
                    <a:gd name="T52" fmla="*/ 18 w 66"/>
                    <a:gd name="T53" fmla="*/ 34 h 60"/>
                    <a:gd name="T54" fmla="*/ 26 w 66"/>
                    <a:gd name="T55" fmla="*/ 34 h 60"/>
                    <a:gd name="T56" fmla="*/ 26 w 66"/>
                    <a:gd name="T57" fmla="*/ 36 h 60"/>
                    <a:gd name="T58" fmla="*/ 36 w 66"/>
                    <a:gd name="T59" fmla="*/ 34 h 60"/>
                    <a:gd name="T60" fmla="*/ 40 w 66"/>
                    <a:gd name="T61" fmla="*/ 30 h 60"/>
                    <a:gd name="T62" fmla="*/ 40 w 66"/>
                    <a:gd name="T63" fmla="*/ 30 h 60"/>
                    <a:gd name="T64" fmla="*/ 40 w 66"/>
                    <a:gd name="T65" fmla="*/ 22 h 60"/>
                    <a:gd name="T66" fmla="*/ 48 w 66"/>
                    <a:gd name="T67" fmla="*/ 18 h 60"/>
                    <a:gd name="T68" fmla="*/ 48 w 66"/>
                    <a:gd name="T69" fmla="*/ 14 h 60"/>
                    <a:gd name="T70" fmla="*/ 52 w 66"/>
                    <a:gd name="T71" fmla="*/ 14 h 60"/>
                    <a:gd name="T72" fmla="*/ 52 w 66"/>
                    <a:gd name="T73" fmla="*/ 14 h 60"/>
                    <a:gd name="T74" fmla="*/ 52 w 66"/>
                    <a:gd name="T75" fmla="*/ 10 h 60"/>
                    <a:gd name="T76" fmla="*/ 56 w 66"/>
                    <a:gd name="T77" fmla="*/ 10 h 60"/>
                    <a:gd name="T78" fmla="*/ 56 w 66"/>
                    <a:gd name="T79" fmla="*/ 6 h 60"/>
                    <a:gd name="T80" fmla="*/ 56 w 66"/>
                    <a:gd name="T81" fmla="*/ 6 h 60"/>
                    <a:gd name="T82" fmla="*/ 60 w 66"/>
                    <a:gd name="T83" fmla="*/ 6 h 60"/>
                    <a:gd name="T84" fmla="*/ 62 w 66"/>
                    <a:gd name="T85" fmla="*/ 0 h 60"/>
                    <a:gd name="T86" fmla="*/ 62 w 66"/>
                    <a:gd name="T87" fmla="*/ 2 h 60"/>
                    <a:gd name="T88" fmla="*/ 62 w 66"/>
                    <a:gd name="T89" fmla="*/ 6 h 60"/>
                    <a:gd name="T90" fmla="*/ 66 w 66"/>
                    <a:gd name="T91" fmla="*/ 6 h 60"/>
                    <a:gd name="T92" fmla="*/ 66 w 66"/>
                    <a:gd name="T93" fmla="*/ 10 h 60"/>
                    <a:gd name="T94" fmla="*/ 36 w 66"/>
                    <a:gd name="T95" fmla="*/ 26 h 60"/>
                    <a:gd name="T96" fmla="*/ 30 w 66"/>
                    <a:gd name="T97" fmla="*/ 34 h 60"/>
                    <a:gd name="T98" fmla="*/ 30 w 66"/>
                    <a:gd name="T99" fmla="*/ 34 h 60"/>
                    <a:gd name="T100" fmla="*/ 30 w 66"/>
                    <a:gd name="T101" fmla="*/ 34 h 60"/>
                    <a:gd name="T102" fmla="*/ 32 w 66"/>
                    <a:gd name="T103" fmla="*/ 34 h 60"/>
                    <a:gd name="T104" fmla="*/ 30 w 66"/>
                    <a:gd name="T105" fmla="*/ 34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6" h="60">
                      <a:moveTo>
                        <a:pt x="66" y="10"/>
                      </a:moveTo>
                      <a:lnTo>
                        <a:pt x="66" y="10"/>
                      </a:lnTo>
                      <a:lnTo>
                        <a:pt x="66" y="10"/>
                      </a:lnTo>
                      <a:lnTo>
                        <a:pt x="66" y="14"/>
                      </a:lnTo>
                      <a:lnTo>
                        <a:pt x="66" y="14"/>
                      </a:lnTo>
                      <a:lnTo>
                        <a:pt x="66" y="18"/>
                      </a:lnTo>
                      <a:lnTo>
                        <a:pt x="66" y="18"/>
                      </a:lnTo>
                      <a:lnTo>
                        <a:pt x="66" y="18"/>
                      </a:lnTo>
                      <a:lnTo>
                        <a:pt x="66" y="18"/>
                      </a:lnTo>
                      <a:lnTo>
                        <a:pt x="66" y="18"/>
                      </a:lnTo>
                      <a:lnTo>
                        <a:pt x="66" y="18"/>
                      </a:lnTo>
                      <a:lnTo>
                        <a:pt x="66" y="18"/>
                      </a:lnTo>
                      <a:lnTo>
                        <a:pt x="66" y="18"/>
                      </a:lnTo>
                      <a:lnTo>
                        <a:pt x="66" y="22"/>
                      </a:lnTo>
                      <a:lnTo>
                        <a:pt x="66" y="22"/>
                      </a:lnTo>
                      <a:lnTo>
                        <a:pt x="66" y="22"/>
                      </a:lnTo>
                      <a:lnTo>
                        <a:pt x="66" y="22"/>
                      </a:lnTo>
                      <a:lnTo>
                        <a:pt x="66" y="22"/>
                      </a:lnTo>
                      <a:lnTo>
                        <a:pt x="66" y="22"/>
                      </a:lnTo>
                      <a:lnTo>
                        <a:pt x="62" y="22"/>
                      </a:lnTo>
                      <a:lnTo>
                        <a:pt x="62" y="22"/>
                      </a:lnTo>
                      <a:lnTo>
                        <a:pt x="62" y="22"/>
                      </a:lnTo>
                      <a:lnTo>
                        <a:pt x="62" y="22"/>
                      </a:lnTo>
                      <a:lnTo>
                        <a:pt x="62" y="22"/>
                      </a:lnTo>
                      <a:lnTo>
                        <a:pt x="62" y="22"/>
                      </a:lnTo>
                      <a:lnTo>
                        <a:pt x="62" y="22"/>
                      </a:lnTo>
                      <a:lnTo>
                        <a:pt x="60" y="22"/>
                      </a:lnTo>
                      <a:lnTo>
                        <a:pt x="62" y="22"/>
                      </a:lnTo>
                      <a:lnTo>
                        <a:pt x="62" y="22"/>
                      </a:lnTo>
                      <a:lnTo>
                        <a:pt x="62" y="22"/>
                      </a:lnTo>
                      <a:lnTo>
                        <a:pt x="62" y="18"/>
                      </a:lnTo>
                      <a:lnTo>
                        <a:pt x="62" y="18"/>
                      </a:lnTo>
                      <a:lnTo>
                        <a:pt x="62" y="18"/>
                      </a:lnTo>
                      <a:lnTo>
                        <a:pt x="60" y="18"/>
                      </a:lnTo>
                      <a:lnTo>
                        <a:pt x="60" y="18"/>
                      </a:lnTo>
                      <a:lnTo>
                        <a:pt x="60" y="18"/>
                      </a:lnTo>
                      <a:lnTo>
                        <a:pt x="60" y="18"/>
                      </a:lnTo>
                      <a:lnTo>
                        <a:pt x="60" y="18"/>
                      </a:lnTo>
                      <a:lnTo>
                        <a:pt x="60" y="22"/>
                      </a:lnTo>
                      <a:lnTo>
                        <a:pt x="60" y="22"/>
                      </a:lnTo>
                      <a:lnTo>
                        <a:pt x="60" y="22"/>
                      </a:lnTo>
                      <a:lnTo>
                        <a:pt x="60" y="22"/>
                      </a:lnTo>
                      <a:lnTo>
                        <a:pt x="60" y="26"/>
                      </a:lnTo>
                      <a:lnTo>
                        <a:pt x="60" y="26"/>
                      </a:lnTo>
                      <a:lnTo>
                        <a:pt x="60" y="26"/>
                      </a:lnTo>
                      <a:lnTo>
                        <a:pt x="60" y="26"/>
                      </a:lnTo>
                      <a:lnTo>
                        <a:pt x="60" y="30"/>
                      </a:lnTo>
                      <a:lnTo>
                        <a:pt x="60" y="30"/>
                      </a:lnTo>
                      <a:lnTo>
                        <a:pt x="60" y="30"/>
                      </a:lnTo>
                      <a:lnTo>
                        <a:pt x="60" y="34"/>
                      </a:lnTo>
                      <a:lnTo>
                        <a:pt x="60" y="34"/>
                      </a:lnTo>
                      <a:lnTo>
                        <a:pt x="60" y="34"/>
                      </a:lnTo>
                      <a:lnTo>
                        <a:pt x="60" y="34"/>
                      </a:lnTo>
                      <a:lnTo>
                        <a:pt x="60" y="34"/>
                      </a:lnTo>
                      <a:lnTo>
                        <a:pt x="62" y="36"/>
                      </a:lnTo>
                      <a:lnTo>
                        <a:pt x="62" y="36"/>
                      </a:lnTo>
                      <a:lnTo>
                        <a:pt x="60" y="36"/>
                      </a:lnTo>
                      <a:lnTo>
                        <a:pt x="60" y="36"/>
                      </a:lnTo>
                      <a:lnTo>
                        <a:pt x="56" y="36"/>
                      </a:lnTo>
                      <a:lnTo>
                        <a:pt x="56" y="36"/>
                      </a:lnTo>
                      <a:lnTo>
                        <a:pt x="56" y="36"/>
                      </a:lnTo>
                      <a:lnTo>
                        <a:pt x="56" y="36"/>
                      </a:lnTo>
                      <a:lnTo>
                        <a:pt x="56" y="36"/>
                      </a:lnTo>
                      <a:lnTo>
                        <a:pt x="56" y="40"/>
                      </a:lnTo>
                      <a:lnTo>
                        <a:pt x="56" y="44"/>
                      </a:lnTo>
                      <a:lnTo>
                        <a:pt x="52" y="44"/>
                      </a:lnTo>
                      <a:lnTo>
                        <a:pt x="52" y="48"/>
                      </a:lnTo>
                      <a:lnTo>
                        <a:pt x="52" y="48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2" y="56"/>
                      </a:lnTo>
                      <a:lnTo>
                        <a:pt x="52" y="56"/>
                      </a:lnTo>
                      <a:lnTo>
                        <a:pt x="52" y="56"/>
                      </a:lnTo>
                      <a:lnTo>
                        <a:pt x="52" y="56"/>
                      </a:lnTo>
                      <a:lnTo>
                        <a:pt x="52" y="60"/>
                      </a:lnTo>
                      <a:lnTo>
                        <a:pt x="52" y="60"/>
                      </a:lnTo>
                      <a:lnTo>
                        <a:pt x="48" y="60"/>
                      </a:lnTo>
                      <a:lnTo>
                        <a:pt x="48" y="60"/>
                      </a:lnTo>
                      <a:lnTo>
                        <a:pt x="14" y="56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4" y="36"/>
                      </a:lnTo>
                      <a:lnTo>
                        <a:pt x="4" y="36"/>
                      </a:lnTo>
                      <a:lnTo>
                        <a:pt x="4" y="36"/>
                      </a:lnTo>
                      <a:lnTo>
                        <a:pt x="4" y="36"/>
                      </a:lnTo>
                      <a:lnTo>
                        <a:pt x="4" y="36"/>
                      </a:lnTo>
                      <a:lnTo>
                        <a:pt x="6" y="36"/>
                      </a:lnTo>
                      <a:lnTo>
                        <a:pt x="6" y="36"/>
                      </a:lnTo>
                      <a:lnTo>
                        <a:pt x="6" y="36"/>
                      </a:lnTo>
                      <a:lnTo>
                        <a:pt x="6" y="36"/>
                      </a:lnTo>
                      <a:lnTo>
                        <a:pt x="10" y="36"/>
                      </a:lnTo>
                      <a:lnTo>
                        <a:pt x="10" y="36"/>
                      </a:lnTo>
                      <a:lnTo>
                        <a:pt x="10" y="34"/>
                      </a:lnTo>
                      <a:lnTo>
                        <a:pt x="14" y="34"/>
                      </a:lnTo>
                      <a:lnTo>
                        <a:pt x="14" y="34"/>
                      </a:lnTo>
                      <a:lnTo>
                        <a:pt x="14" y="34"/>
                      </a:lnTo>
                      <a:lnTo>
                        <a:pt x="14" y="34"/>
                      </a:lnTo>
                      <a:lnTo>
                        <a:pt x="14" y="34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22" y="34"/>
                      </a:lnTo>
                      <a:lnTo>
                        <a:pt x="22" y="34"/>
                      </a:lnTo>
                      <a:lnTo>
                        <a:pt x="22" y="34"/>
                      </a:lnTo>
                      <a:lnTo>
                        <a:pt x="26" y="34"/>
                      </a:lnTo>
                      <a:lnTo>
                        <a:pt x="26" y="34"/>
                      </a:lnTo>
                      <a:lnTo>
                        <a:pt x="26" y="36"/>
                      </a:lnTo>
                      <a:lnTo>
                        <a:pt x="26" y="36"/>
                      </a:lnTo>
                      <a:lnTo>
                        <a:pt x="26" y="36"/>
                      </a:lnTo>
                      <a:lnTo>
                        <a:pt x="26" y="36"/>
                      </a:lnTo>
                      <a:lnTo>
                        <a:pt x="30" y="36"/>
                      </a:lnTo>
                      <a:lnTo>
                        <a:pt x="32" y="34"/>
                      </a:lnTo>
                      <a:lnTo>
                        <a:pt x="36" y="34"/>
                      </a:lnTo>
                      <a:lnTo>
                        <a:pt x="36" y="34"/>
                      </a:lnTo>
                      <a:lnTo>
                        <a:pt x="36" y="34"/>
                      </a:lnTo>
                      <a:lnTo>
                        <a:pt x="40" y="34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0" y="26"/>
                      </a:lnTo>
                      <a:lnTo>
                        <a:pt x="40" y="22"/>
                      </a:lnTo>
                      <a:lnTo>
                        <a:pt x="40" y="22"/>
                      </a:lnTo>
                      <a:lnTo>
                        <a:pt x="44" y="22"/>
                      </a:lnTo>
                      <a:lnTo>
                        <a:pt x="48" y="18"/>
                      </a:lnTo>
                      <a:lnTo>
                        <a:pt x="48" y="18"/>
                      </a:lnTo>
                      <a:lnTo>
                        <a:pt x="48" y="18"/>
                      </a:lnTo>
                      <a:lnTo>
                        <a:pt x="48" y="18"/>
                      </a:lnTo>
                      <a:lnTo>
                        <a:pt x="48" y="18"/>
                      </a:lnTo>
                      <a:lnTo>
                        <a:pt x="48" y="18"/>
                      </a:lnTo>
                      <a:lnTo>
                        <a:pt x="48" y="14"/>
                      </a:lnTo>
                      <a:lnTo>
                        <a:pt x="48" y="14"/>
                      </a:lnTo>
                      <a:lnTo>
                        <a:pt x="52" y="14"/>
                      </a:lnTo>
                      <a:lnTo>
                        <a:pt x="52" y="14"/>
                      </a:lnTo>
                      <a:lnTo>
                        <a:pt x="52" y="14"/>
                      </a:lnTo>
                      <a:lnTo>
                        <a:pt x="52" y="14"/>
                      </a:lnTo>
                      <a:lnTo>
                        <a:pt x="52" y="14"/>
                      </a:lnTo>
                      <a:lnTo>
                        <a:pt x="52" y="14"/>
                      </a:lnTo>
                      <a:lnTo>
                        <a:pt x="52" y="14"/>
                      </a:lnTo>
                      <a:lnTo>
                        <a:pt x="52" y="10"/>
                      </a:lnTo>
                      <a:lnTo>
                        <a:pt x="52" y="10"/>
                      </a:lnTo>
                      <a:lnTo>
                        <a:pt x="52" y="10"/>
                      </a:lnTo>
                      <a:lnTo>
                        <a:pt x="52" y="10"/>
                      </a:lnTo>
                      <a:lnTo>
                        <a:pt x="56" y="10"/>
                      </a:lnTo>
                      <a:lnTo>
                        <a:pt x="56" y="10"/>
                      </a:lnTo>
                      <a:lnTo>
                        <a:pt x="56" y="10"/>
                      </a:lnTo>
                      <a:lnTo>
                        <a:pt x="56" y="10"/>
                      </a:lnTo>
                      <a:lnTo>
                        <a:pt x="56" y="6"/>
                      </a:lnTo>
                      <a:lnTo>
                        <a:pt x="56" y="6"/>
                      </a:lnTo>
                      <a:lnTo>
                        <a:pt x="56" y="6"/>
                      </a:lnTo>
                      <a:lnTo>
                        <a:pt x="56" y="6"/>
                      </a:lnTo>
                      <a:lnTo>
                        <a:pt x="56" y="10"/>
                      </a:lnTo>
                      <a:lnTo>
                        <a:pt x="56" y="10"/>
                      </a:lnTo>
                      <a:lnTo>
                        <a:pt x="56" y="10"/>
                      </a:lnTo>
                      <a:lnTo>
                        <a:pt x="56" y="6"/>
                      </a:lnTo>
                      <a:lnTo>
                        <a:pt x="56" y="6"/>
                      </a:lnTo>
                      <a:lnTo>
                        <a:pt x="56" y="6"/>
                      </a:lnTo>
                      <a:lnTo>
                        <a:pt x="60" y="6"/>
                      </a:lnTo>
                      <a:lnTo>
                        <a:pt x="60" y="6"/>
                      </a:lnTo>
                      <a:lnTo>
                        <a:pt x="62" y="2"/>
                      </a:lnTo>
                      <a:lnTo>
                        <a:pt x="62" y="2"/>
                      </a:lnTo>
                      <a:lnTo>
                        <a:pt x="62" y="0"/>
                      </a:lnTo>
                      <a:lnTo>
                        <a:pt x="62" y="0"/>
                      </a:lnTo>
                      <a:lnTo>
                        <a:pt x="62" y="0"/>
                      </a:lnTo>
                      <a:lnTo>
                        <a:pt x="62" y="0"/>
                      </a:lnTo>
                      <a:lnTo>
                        <a:pt x="62" y="2"/>
                      </a:lnTo>
                      <a:lnTo>
                        <a:pt x="62" y="2"/>
                      </a:lnTo>
                      <a:lnTo>
                        <a:pt x="62" y="6"/>
                      </a:lnTo>
                      <a:lnTo>
                        <a:pt x="62" y="6"/>
                      </a:lnTo>
                      <a:lnTo>
                        <a:pt x="62" y="6"/>
                      </a:lnTo>
                      <a:lnTo>
                        <a:pt x="62" y="6"/>
                      </a:lnTo>
                      <a:lnTo>
                        <a:pt x="62" y="6"/>
                      </a:lnTo>
                      <a:lnTo>
                        <a:pt x="66" y="6"/>
                      </a:lnTo>
                      <a:lnTo>
                        <a:pt x="66" y="6"/>
                      </a:lnTo>
                      <a:lnTo>
                        <a:pt x="66" y="6"/>
                      </a:lnTo>
                      <a:lnTo>
                        <a:pt x="66" y="10"/>
                      </a:lnTo>
                      <a:lnTo>
                        <a:pt x="66" y="10"/>
                      </a:lnTo>
                      <a:lnTo>
                        <a:pt x="66" y="10"/>
                      </a:lnTo>
                      <a:lnTo>
                        <a:pt x="66" y="10"/>
                      </a:lnTo>
                      <a:lnTo>
                        <a:pt x="66" y="10"/>
                      </a:lnTo>
                      <a:close/>
                      <a:moveTo>
                        <a:pt x="40" y="30"/>
                      </a:moveTo>
                      <a:lnTo>
                        <a:pt x="36" y="30"/>
                      </a:lnTo>
                      <a:lnTo>
                        <a:pt x="36" y="26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0" y="30"/>
                      </a:lnTo>
                      <a:close/>
                      <a:moveTo>
                        <a:pt x="30" y="34"/>
                      </a:move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32" y="34"/>
                      </a:lnTo>
                      <a:lnTo>
                        <a:pt x="32" y="34"/>
                      </a:lnTo>
                      <a:lnTo>
                        <a:pt x="32" y="34"/>
                      </a:lnTo>
                      <a:lnTo>
                        <a:pt x="32" y="34"/>
                      </a:lnTo>
                      <a:lnTo>
                        <a:pt x="32" y="34"/>
                      </a:ln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30" y="3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22" name="Freeform 61"/>
                <p:cNvSpPr>
                  <a:spLocks/>
                </p:cNvSpPr>
                <p:nvPr/>
              </p:nvSpPr>
              <p:spPr bwMode="auto">
                <a:xfrm>
                  <a:off x="5651500" y="3254443"/>
                  <a:ext cx="387350" cy="260350"/>
                </a:xfrm>
                <a:custGeom>
                  <a:avLst/>
                  <a:gdLst>
                    <a:gd name="T0" fmla="*/ 168 w 244"/>
                    <a:gd name="T1" fmla="*/ 118 h 164"/>
                    <a:gd name="T2" fmla="*/ 162 w 244"/>
                    <a:gd name="T3" fmla="*/ 126 h 164"/>
                    <a:gd name="T4" fmla="*/ 172 w 244"/>
                    <a:gd name="T5" fmla="*/ 134 h 164"/>
                    <a:gd name="T6" fmla="*/ 176 w 244"/>
                    <a:gd name="T7" fmla="*/ 144 h 164"/>
                    <a:gd name="T8" fmla="*/ 166 w 244"/>
                    <a:gd name="T9" fmla="*/ 156 h 164"/>
                    <a:gd name="T10" fmla="*/ 158 w 244"/>
                    <a:gd name="T11" fmla="*/ 164 h 164"/>
                    <a:gd name="T12" fmla="*/ 146 w 244"/>
                    <a:gd name="T13" fmla="*/ 156 h 164"/>
                    <a:gd name="T14" fmla="*/ 142 w 244"/>
                    <a:gd name="T15" fmla="*/ 144 h 164"/>
                    <a:gd name="T16" fmla="*/ 132 w 244"/>
                    <a:gd name="T17" fmla="*/ 142 h 164"/>
                    <a:gd name="T18" fmla="*/ 116 w 244"/>
                    <a:gd name="T19" fmla="*/ 130 h 164"/>
                    <a:gd name="T20" fmla="*/ 106 w 244"/>
                    <a:gd name="T21" fmla="*/ 122 h 164"/>
                    <a:gd name="T22" fmla="*/ 94 w 244"/>
                    <a:gd name="T23" fmla="*/ 112 h 164"/>
                    <a:gd name="T24" fmla="*/ 86 w 244"/>
                    <a:gd name="T25" fmla="*/ 100 h 164"/>
                    <a:gd name="T26" fmla="*/ 80 w 244"/>
                    <a:gd name="T27" fmla="*/ 86 h 164"/>
                    <a:gd name="T28" fmla="*/ 60 w 244"/>
                    <a:gd name="T29" fmla="*/ 86 h 164"/>
                    <a:gd name="T30" fmla="*/ 60 w 244"/>
                    <a:gd name="T31" fmla="*/ 74 h 164"/>
                    <a:gd name="T32" fmla="*/ 50 w 244"/>
                    <a:gd name="T33" fmla="*/ 62 h 164"/>
                    <a:gd name="T34" fmla="*/ 38 w 244"/>
                    <a:gd name="T35" fmla="*/ 56 h 164"/>
                    <a:gd name="T36" fmla="*/ 34 w 244"/>
                    <a:gd name="T37" fmla="*/ 62 h 164"/>
                    <a:gd name="T38" fmla="*/ 24 w 244"/>
                    <a:gd name="T39" fmla="*/ 66 h 164"/>
                    <a:gd name="T40" fmla="*/ 12 w 244"/>
                    <a:gd name="T41" fmla="*/ 74 h 164"/>
                    <a:gd name="T42" fmla="*/ 12 w 244"/>
                    <a:gd name="T43" fmla="*/ 86 h 164"/>
                    <a:gd name="T44" fmla="*/ 0 w 244"/>
                    <a:gd name="T45" fmla="*/ 78 h 164"/>
                    <a:gd name="T46" fmla="*/ 0 w 244"/>
                    <a:gd name="T47" fmla="*/ 52 h 164"/>
                    <a:gd name="T48" fmla="*/ 0 w 244"/>
                    <a:gd name="T49" fmla="*/ 22 h 164"/>
                    <a:gd name="T50" fmla="*/ 16 w 244"/>
                    <a:gd name="T51" fmla="*/ 8 h 164"/>
                    <a:gd name="T52" fmla="*/ 34 w 244"/>
                    <a:gd name="T53" fmla="*/ 0 h 164"/>
                    <a:gd name="T54" fmla="*/ 82 w 244"/>
                    <a:gd name="T55" fmla="*/ 38 h 164"/>
                    <a:gd name="T56" fmla="*/ 106 w 244"/>
                    <a:gd name="T57" fmla="*/ 38 h 164"/>
                    <a:gd name="T58" fmla="*/ 128 w 244"/>
                    <a:gd name="T59" fmla="*/ 38 h 164"/>
                    <a:gd name="T60" fmla="*/ 136 w 244"/>
                    <a:gd name="T61" fmla="*/ 48 h 164"/>
                    <a:gd name="T62" fmla="*/ 142 w 244"/>
                    <a:gd name="T63" fmla="*/ 62 h 164"/>
                    <a:gd name="T64" fmla="*/ 150 w 244"/>
                    <a:gd name="T65" fmla="*/ 82 h 164"/>
                    <a:gd name="T66" fmla="*/ 166 w 244"/>
                    <a:gd name="T67" fmla="*/ 86 h 164"/>
                    <a:gd name="T68" fmla="*/ 172 w 244"/>
                    <a:gd name="T69" fmla="*/ 96 h 164"/>
                    <a:gd name="T70" fmla="*/ 180 w 244"/>
                    <a:gd name="T71" fmla="*/ 92 h 164"/>
                    <a:gd name="T72" fmla="*/ 192 w 244"/>
                    <a:gd name="T73" fmla="*/ 78 h 164"/>
                    <a:gd name="T74" fmla="*/ 206 w 244"/>
                    <a:gd name="T75" fmla="*/ 70 h 164"/>
                    <a:gd name="T76" fmla="*/ 210 w 244"/>
                    <a:gd name="T77" fmla="*/ 70 h 164"/>
                    <a:gd name="T78" fmla="*/ 198 w 244"/>
                    <a:gd name="T79" fmla="*/ 78 h 164"/>
                    <a:gd name="T80" fmla="*/ 210 w 244"/>
                    <a:gd name="T81" fmla="*/ 86 h 164"/>
                    <a:gd name="T82" fmla="*/ 218 w 244"/>
                    <a:gd name="T83" fmla="*/ 86 h 164"/>
                    <a:gd name="T84" fmla="*/ 224 w 244"/>
                    <a:gd name="T85" fmla="*/ 86 h 164"/>
                    <a:gd name="T86" fmla="*/ 240 w 244"/>
                    <a:gd name="T87" fmla="*/ 92 h 164"/>
                    <a:gd name="T88" fmla="*/ 236 w 244"/>
                    <a:gd name="T89" fmla="*/ 100 h 164"/>
                    <a:gd name="T90" fmla="*/ 224 w 244"/>
                    <a:gd name="T91" fmla="*/ 104 h 164"/>
                    <a:gd name="T92" fmla="*/ 206 w 244"/>
                    <a:gd name="T93" fmla="*/ 104 h 164"/>
                    <a:gd name="T94" fmla="*/ 210 w 244"/>
                    <a:gd name="T95" fmla="*/ 96 h 164"/>
                    <a:gd name="T96" fmla="*/ 202 w 244"/>
                    <a:gd name="T97" fmla="*/ 92 h 164"/>
                    <a:gd name="T98" fmla="*/ 192 w 244"/>
                    <a:gd name="T99" fmla="*/ 92 h 164"/>
                    <a:gd name="T100" fmla="*/ 184 w 244"/>
                    <a:gd name="T101" fmla="*/ 104 h 164"/>
                    <a:gd name="T102" fmla="*/ 184 w 244"/>
                    <a:gd name="T103" fmla="*/ 108 h 164"/>
                    <a:gd name="T104" fmla="*/ 176 w 244"/>
                    <a:gd name="T105" fmla="*/ 112 h 1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244" h="164">
                      <a:moveTo>
                        <a:pt x="176" y="112"/>
                      </a:moveTo>
                      <a:lnTo>
                        <a:pt x="176" y="116"/>
                      </a:lnTo>
                      <a:lnTo>
                        <a:pt x="176" y="118"/>
                      </a:lnTo>
                      <a:lnTo>
                        <a:pt x="172" y="118"/>
                      </a:lnTo>
                      <a:lnTo>
                        <a:pt x="168" y="118"/>
                      </a:lnTo>
                      <a:lnTo>
                        <a:pt x="168" y="116"/>
                      </a:lnTo>
                      <a:lnTo>
                        <a:pt x="166" y="116"/>
                      </a:lnTo>
                      <a:lnTo>
                        <a:pt x="162" y="118"/>
                      </a:lnTo>
                      <a:lnTo>
                        <a:pt x="162" y="122"/>
                      </a:lnTo>
                      <a:lnTo>
                        <a:pt x="162" y="126"/>
                      </a:lnTo>
                      <a:lnTo>
                        <a:pt x="166" y="126"/>
                      </a:lnTo>
                      <a:lnTo>
                        <a:pt x="166" y="130"/>
                      </a:lnTo>
                      <a:lnTo>
                        <a:pt x="168" y="130"/>
                      </a:lnTo>
                      <a:lnTo>
                        <a:pt x="172" y="130"/>
                      </a:lnTo>
                      <a:lnTo>
                        <a:pt x="172" y="134"/>
                      </a:lnTo>
                      <a:lnTo>
                        <a:pt x="168" y="134"/>
                      </a:lnTo>
                      <a:lnTo>
                        <a:pt x="168" y="138"/>
                      </a:lnTo>
                      <a:lnTo>
                        <a:pt x="172" y="142"/>
                      </a:lnTo>
                      <a:lnTo>
                        <a:pt x="172" y="144"/>
                      </a:lnTo>
                      <a:lnTo>
                        <a:pt x="176" y="144"/>
                      </a:lnTo>
                      <a:lnTo>
                        <a:pt x="172" y="144"/>
                      </a:lnTo>
                      <a:lnTo>
                        <a:pt x="172" y="148"/>
                      </a:lnTo>
                      <a:lnTo>
                        <a:pt x="168" y="152"/>
                      </a:lnTo>
                      <a:lnTo>
                        <a:pt x="168" y="156"/>
                      </a:lnTo>
                      <a:lnTo>
                        <a:pt x="166" y="156"/>
                      </a:lnTo>
                      <a:lnTo>
                        <a:pt x="166" y="160"/>
                      </a:lnTo>
                      <a:lnTo>
                        <a:pt x="166" y="164"/>
                      </a:lnTo>
                      <a:lnTo>
                        <a:pt x="162" y="160"/>
                      </a:lnTo>
                      <a:lnTo>
                        <a:pt x="162" y="164"/>
                      </a:lnTo>
                      <a:lnTo>
                        <a:pt x="158" y="164"/>
                      </a:lnTo>
                      <a:lnTo>
                        <a:pt x="158" y="160"/>
                      </a:lnTo>
                      <a:lnTo>
                        <a:pt x="154" y="160"/>
                      </a:lnTo>
                      <a:lnTo>
                        <a:pt x="150" y="160"/>
                      </a:lnTo>
                      <a:lnTo>
                        <a:pt x="146" y="160"/>
                      </a:lnTo>
                      <a:lnTo>
                        <a:pt x="146" y="156"/>
                      </a:lnTo>
                      <a:lnTo>
                        <a:pt x="150" y="152"/>
                      </a:lnTo>
                      <a:lnTo>
                        <a:pt x="150" y="148"/>
                      </a:lnTo>
                      <a:lnTo>
                        <a:pt x="146" y="148"/>
                      </a:lnTo>
                      <a:lnTo>
                        <a:pt x="146" y="144"/>
                      </a:lnTo>
                      <a:lnTo>
                        <a:pt x="142" y="144"/>
                      </a:lnTo>
                      <a:lnTo>
                        <a:pt x="138" y="142"/>
                      </a:lnTo>
                      <a:lnTo>
                        <a:pt x="138" y="144"/>
                      </a:lnTo>
                      <a:lnTo>
                        <a:pt x="136" y="144"/>
                      </a:lnTo>
                      <a:lnTo>
                        <a:pt x="136" y="142"/>
                      </a:lnTo>
                      <a:lnTo>
                        <a:pt x="132" y="142"/>
                      </a:lnTo>
                      <a:lnTo>
                        <a:pt x="128" y="138"/>
                      </a:lnTo>
                      <a:lnTo>
                        <a:pt x="124" y="134"/>
                      </a:lnTo>
                      <a:lnTo>
                        <a:pt x="120" y="134"/>
                      </a:lnTo>
                      <a:lnTo>
                        <a:pt x="120" y="130"/>
                      </a:lnTo>
                      <a:lnTo>
                        <a:pt x="116" y="130"/>
                      </a:lnTo>
                      <a:lnTo>
                        <a:pt x="112" y="130"/>
                      </a:lnTo>
                      <a:lnTo>
                        <a:pt x="112" y="126"/>
                      </a:lnTo>
                      <a:lnTo>
                        <a:pt x="110" y="126"/>
                      </a:lnTo>
                      <a:lnTo>
                        <a:pt x="110" y="122"/>
                      </a:lnTo>
                      <a:lnTo>
                        <a:pt x="106" y="122"/>
                      </a:lnTo>
                      <a:lnTo>
                        <a:pt x="106" y="118"/>
                      </a:lnTo>
                      <a:lnTo>
                        <a:pt x="102" y="118"/>
                      </a:lnTo>
                      <a:lnTo>
                        <a:pt x="98" y="116"/>
                      </a:lnTo>
                      <a:lnTo>
                        <a:pt x="94" y="116"/>
                      </a:lnTo>
                      <a:lnTo>
                        <a:pt x="94" y="112"/>
                      </a:lnTo>
                      <a:lnTo>
                        <a:pt x="90" y="112"/>
                      </a:lnTo>
                      <a:lnTo>
                        <a:pt x="90" y="108"/>
                      </a:lnTo>
                      <a:lnTo>
                        <a:pt x="90" y="104"/>
                      </a:lnTo>
                      <a:lnTo>
                        <a:pt x="90" y="100"/>
                      </a:lnTo>
                      <a:lnTo>
                        <a:pt x="86" y="100"/>
                      </a:lnTo>
                      <a:lnTo>
                        <a:pt x="86" y="96"/>
                      </a:lnTo>
                      <a:lnTo>
                        <a:pt x="82" y="96"/>
                      </a:lnTo>
                      <a:lnTo>
                        <a:pt x="82" y="92"/>
                      </a:lnTo>
                      <a:lnTo>
                        <a:pt x="82" y="88"/>
                      </a:lnTo>
                      <a:lnTo>
                        <a:pt x="80" y="86"/>
                      </a:lnTo>
                      <a:lnTo>
                        <a:pt x="76" y="86"/>
                      </a:lnTo>
                      <a:lnTo>
                        <a:pt x="72" y="86"/>
                      </a:lnTo>
                      <a:lnTo>
                        <a:pt x="68" y="86"/>
                      </a:lnTo>
                      <a:lnTo>
                        <a:pt x="64" y="86"/>
                      </a:lnTo>
                      <a:lnTo>
                        <a:pt x="60" y="86"/>
                      </a:lnTo>
                      <a:lnTo>
                        <a:pt x="60" y="82"/>
                      </a:lnTo>
                      <a:lnTo>
                        <a:pt x="56" y="82"/>
                      </a:lnTo>
                      <a:lnTo>
                        <a:pt x="56" y="78"/>
                      </a:lnTo>
                      <a:lnTo>
                        <a:pt x="56" y="74"/>
                      </a:lnTo>
                      <a:lnTo>
                        <a:pt x="60" y="74"/>
                      </a:lnTo>
                      <a:lnTo>
                        <a:pt x="56" y="74"/>
                      </a:lnTo>
                      <a:lnTo>
                        <a:pt x="56" y="70"/>
                      </a:lnTo>
                      <a:lnTo>
                        <a:pt x="56" y="66"/>
                      </a:lnTo>
                      <a:lnTo>
                        <a:pt x="52" y="62"/>
                      </a:lnTo>
                      <a:lnTo>
                        <a:pt x="50" y="62"/>
                      </a:lnTo>
                      <a:lnTo>
                        <a:pt x="46" y="62"/>
                      </a:lnTo>
                      <a:lnTo>
                        <a:pt x="46" y="60"/>
                      </a:lnTo>
                      <a:lnTo>
                        <a:pt x="42" y="60"/>
                      </a:lnTo>
                      <a:lnTo>
                        <a:pt x="38" y="60"/>
                      </a:lnTo>
                      <a:lnTo>
                        <a:pt x="38" y="56"/>
                      </a:lnTo>
                      <a:lnTo>
                        <a:pt x="34" y="56"/>
                      </a:lnTo>
                      <a:lnTo>
                        <a:pt x="34" y="60"/>
                      </a:lnTo>
                      <a:lnTo>
                        <a:pt x="30" y="56"/>
                      </a:lnTo>
                      <a:lnTo>
                        <a:pt x="30" y="60"/>
                      </a:lnTo>
                      <a:lnTo>
                        <a:pt x="34" y="62"/>
                      </a:lnTo>
                      <a:lnTo>
                        <a:pt x="30" y="62"/>
                      </a:lnTo>
                      <a:lnTo>
                        <a:pt x="26" y="60"/>
                      </a:lnTo>
                      <a:lnTo>
                        <a:pt x="26" y="62"/>
                      </a:lnTo>
                      <a:lnTo>
                        <a:pt x="26" y="66"/>
                      </a:lnTo>
                      <a:lnTo>
                        <a:pt x="24" y="66"/>
                      </a:lnTo>
                      <a:lnTo>
                        <a:pt x="20" y="66"/>
                      </a:lnTo>
                      <a:lnTo>
                        <a:pt x="16" y="66"/>
                      </a:lnTo>
                      <a:lnTo>
                        <a:pt x="16" y="70"/>
                      </a:lnTo>
                      <a:lnTo>
                        <a:pt x="12" y="70"/>
                      </a:lnTo>
                      <a:lnTo>
                        <a:pt x="12" y="74"/>
                      </a:lnTo>
                      <a:lnTo>
                        <a:pt x="12" y="78"/>
                      </a:lnTo>
                      <a:lnTo>
                        <a:pt x="12" y="82"/>
                      </a:lnTo>
                      <a:lnTo>
                        <a:pt x="16" y="82"/>
                      </a:lnTo>
                      <a:lnTo>
                        <a:pt x="16" y="86"/>
                      </a:lnTo>
                      <a:lnTo>
                        <a:pt x="12" y="86"/>
                      </a:lnTo>
                      <a:lnTo>
                        <a:pt x="8" y="86"/>
                      </a:lnTo>
                      <a:lnTo>
                        <a:pt x="4" y="86"/>
                      </a:lnTo>
                      <a:lnTo>
                        <a:pt x="0" y="86"/>
                      </a:lnTo>
                      <a:lnTo>
                        <a:pt x="0" y="82"/>
                      </a:lnTo>
                      <a:lnTo>
                        <a:pt x="0" y="78"/>
                      </a:lnTo>
                      <a:lnTo>
                        <a:pt x="0" y="74"/>
                      </a:lnTo>
                      <a:lnTo>
                        <a:pt x="0" y="66"/>
                      </a:lnTo>
                      <a:lnTo>
                        <a:pt x="0" y="60"/>
                      </a:lnTo>
                      <a:lnTo>
                        <a:pt x="0" y="56"/>
                      </a:lnTo>
                      <a:lnTo>
                        <a:pt x="0" y="52"/>
                      </a:lnTo>
                      <a:lnTo>
                        <a:pt x="0" y="48"/>
                      </a:lnTo>
                      <a:lnTo>
                        <a:pt x="0" y="46"/>
                      </a:lnTo>
                      <a:lnTo>
                        <a:pt x="0" y="38"/>
                      </a:lnTo>
                      <a:lnTo>
                        <a:pt x="0" y="34"/>
                      </a:lnTo>
                      <a:lnTo>
                        <a:pt x="0" y="22"/>
                      </a:lnTo>
                      <a:lnTo>
                        <a:pt x="0" y="16"/>
                      </a:lnTo>
                      <a:lnTo>
                        <a:pt x="0" y="12"/>
                      </a:lnTo>
                      <a:lnTo>
                        <a:pt x="4" y="12"/>
                      </a:lnTo>
                      <a:lnTo>
                        <a:pt x="8" y="8"/>
                      </a:lnTo>
                      <a:lnTo>
                        <a:pt x="16" y="8"/>
                      </a:lnTo>
                      <a:lnTo>
                        <a:pt x="20" y="4"/>
                      </a:lnTo>
                      <a:lnTo>
                        <a:pt x="24" y="4"/>
                      </a:lnTo>
                      <a:lnTo>
                        <a:pt x="26" y="4"/>
                      </a:lnTo>
                      <a:lnTo>
                        <a:pt x="30" y="0"/>
                      </a:lnTo>
                      <a:lnTo>
                        <a:pt x="34" y="0"/>
                      </a:lnTo>
                      <a:lnTo>
                        <a:pt x="50" y="12"/>
                      </a:lnTo>
                      <a:lnTo>
                        <a:pt x="72" y="26"/>
                      </a:lnTo>
                      <a:lnTo>
                        <a:pt x="76" y="30"/>
                      </a:lnTo>
                      <a:lnTo>
                        <a:pt x="80" y="34"/>
                      </a:lnTo>
                      <a:lnTo>
                        <a:pt x="82" y="38"/>
                      </a:lnTo>
                      <a:lnTo>
                        <a:pt x="82" y="42"/>
                      </a:lnTo>
                      <a:lnTo>
                        <a:pt x="90" y="42"/>
                      </a:lnTo>
                      <a:lnTo>
                        <a:pt x="94" y="42"/>
                      </a:lnTo>
                      <a:lnTo>
                        <a:pt x="102" y="38"/>
                      </a:lnTo>
                      <a:lnTo>
                        <a:pt x="106" y="38"/>
                      </a:lnTo>
                      <a:lnTo>
                        <a:pt x="110" y="42"/>
                      </a:lnTo>
                      <a:lnTo>
                        <a:pt x="112" y="42"/>
                      </a:lnTo>
                      <a:lnTo>
                        <a:pt x="120" y="42"/>
                      </a:lnTo>
                      <a:lnTo>
                        <a:pt x="124" y="38"/>
                      </a:lnTo>
                      <a:lnTo>
                        <a:pt x="128" y="38"/>
                      </a:lnTo>
                      <a:lnTo>
                        <a:pt x="128" y="42"/>
                      </a:lnTo>
                      <a:lnTo>
                        <a:pt x="132" y="42"/>
                      </a:lnTo>
                      <a:lnTo>
                        <a:pt x="132" y="46"/>
                      </a:lnTo>
                      <a:lnTo>
                        <a:pt x="136" y="46"/>
                      </a:lnTo>
                      <a:lnTo>
                        <a:pt x="136" y="48"/>
                      </a:lnTo>
                      <a:lnTo>
                        <a:pt x="138" y="52"/>
                      </a:lnTo>
                      <a:lnTo>
                        <a:pt x="142" y="52"/>
                      </a:lnTo>
                      <a:lnTo>
                        <a:pt x="142" y="56"/>
                      </a:lnTo>
                      <a:lnTo>
                        <a:pt x="142" y="60"/>
                      </a:lnTo>
                      <a:lnTo>
                        <a:pt x="142" y="62"/>
                      </a:lnTo>
                      <a:lnTo>
                        <a:pt x="142" y="66"/>
                      </a:lnTo>
                      <a:lnTo>
                        <a:pt x="142" y="70"/>
                      </a:lnTo>
                      <a:lnTo>
                        <a:pt x="146" y="70"/>
                      </a:lnTo>
                      <a:lnTo>
                        <a:pt x="150" y="74"/>
                      </a:lnTo>
                      <a:lnTo>
                        <a:pt x="150" y="82"/>
                      </a:lnTo>
                      <a:lnTo>
                        <a:pt x="150" y="86"/>
                      </a:lnTo>
                      <a:lnTo>
                        <a:pt x="154" y="86"/>
                      </a:lnTo>
                      <a:lnTo>
                        <a:pt x="158" y="86"/>
                      </a:lnTo>
                      <a:lnTo>
                        <a:pt x="162" y="86"/>
                      </a:lnTo>
                      <a:lnTo>
                        <a:pt x="166" y="86"/>
                      </a:lnTo>
                      <a:lnTo>
                        <a:pt x="168" y="86"/>
                      </a:lnTo>
                      <a:lnTo>
                        <a:pt x="168" y="88"/>
                      </a:lnTo>
                      <a:lnTo>
                        <a:pt x="172" y="88"/>
                      </a:lnTo>
                      <a:lnTo>
                        <a:pt x="168" y="92"/>
                      </a:lnTo>
                      <a:lnTo>
                        <a:pt x="172" y="96"/>
                      </a:lnTo>
                      <a:lnTo>
                        <a:pt x="176" y="96"/>
                      </a:lnTo>
                      <a:lnTo>
                        <a:pt x="180" y="96"/>
                      </a:lnTo>
                      <a:lnTo>
                        <a:pt x="176" y="96"/>
                      </a:lnTo>
                      <a:lnTo>
                        <a:pt x="176" y="92"/>
                      </a:lnTo>
                      <a:lnTo>
                        <a:pt x="180" y="92"/>
                      </a:lnTo>
                      <a:lnTo>
                        <a:pt x="180" y="88"/>
                      </a:lnTo>
                      <a:lnTo>
                        <a:pt x="184" y="86"/>
                      </a:lnTo>
                      <a:lnTo>
                        <a:pt x="184" y="82"/>
                      </a:lnTo>
                      <a:lnTo>
                        <a:pt x="188" y="82"/>
                      </a:lnTo>
                      <a:lnTo>
                        <a:pt x="192" y="78"/>
                      </a:lnTo>
                      <a:lnTo>
                        <a:pt x="194" y="78"/>
                      </a:lnTo>
                      <a:lnTo>
                        <a:pt x="198" y="74"/>
                      </a:lnTo>
                      <a:lnTo>
                        <a:pt x="202" y="70"/>
                      </a:lnTo>
                      <a:lnTo>
                        <a:pt x="202" y="66"/>
                      </a:lnTo>
                      <a:lnTo>
                        <a:pt x="206" y="70"/>
                      </a:lnTo>
                      <a:lnTo>
                        <a:pt x="206" y="66"/>
                      </a:lnTo>
                      <a:lnTo>
                        <a:pt x="210" y="66"/>
                      </a:lnTo>
                      <a:lnTo>
                        <a:pt x="214" y="62"/>
                      </a:lnTo>
                      <a:lnTo>
                        <a:pt x="214" y="66"/>
                      </a:lnTo>
                      <a:lnTo>
                        <a:pt x="210" y="70"/>
                      </a:lnTo>
                      <a:lnTo>
                        <a:pt x="206" y="70"/>
                      </a:lnTo>
                      <a:lnTo>
                        <a:pt x="206" y="74"/>
                      </a:lnTo>
                      <a:lnTo>
                        <a:pt x="202" y="74"/>
                      </a:lnTo>
                      <a:lnTo>
                        <a:pt x="202" y="78"/>
                      </a:lnTo>
                      <a:lnTo>
                        <a:pt x="198" y="78"/>
                      </a:lnTo>
                      <a:lnTo>
                        <a:pt x="198" y="82"/>
                      </a:lnTo>
                      <a:lnTo>
                        <a:pt x="202" y="82"/>
                      </a:lnTo>
                      <a:lnTo>
                        <a:pt x="206" y="82"/>
                      </a:lnTo>
                      <a:lnTo>
                        <a:pt x="210" y="82"/>
                      </a:lnTo>
                      <a:lnTo>
                        <a:pt x="210" y="86"/>
                      </a:lnTo>
                      <a:lnTo>
                        <a:pt x="214" y="86"/>
                      </a:lnTo>
                      <a:lnTo>
                        <a:pt x="218" y="88"/>
                      </a:lnTo>
                      <a:lnTo>
                        <a:pt x="218" y="86"/>
                      </a:lnTo>
                      <a:lnTo>
                        <a:pt x="218" y="82"/>
                      </a:lnTo>
                      <a:lnTo>
                        <a:pt x="218" y="86"/>
                      </a:lnTo>
                      <a:lnTo>
                        <a:pt x="222" y="86"/>
                      </a:lnTo>
                      <a:lnTo>
                        <a:pt x="222" y="82"/>
                      </a:lnTo>
                      <a:lnTo>
                        <a:pt x="222" y="78"/>
                      </a:lnTo>
                      <a:lnTo>
                        <a:pt x="224" y="82"/>
                      </a:lnTo>
                      <a:lnTo>
                        <a:pt x="224" y="86"/>
                      </a:lnTo>
                      <a:lnTo>
                        <a:pt x="228" y="86"/>
                      </a:lnTo>
                      <a:lnTo>
                        <a:pt x="228" y="88"/>
                      </a:lnTo>
                      <a:lnTo>
                        <a:pt x="232" y="88"/>
                      </a:lnTo>
                      <a:lnTo>
                        <a:pt x="236" y="92"/>
                      </a:lnTo>
                      <a:lnTo>
                        <a:pt x="240" y="92"/>
                      </a:lnTo>
                      <a:lnTo>
                        <a:pt x="244" y="92"/>
                      </a:lnTo>
                      <a:lnTo>
                        <a:pt x="240" y="92"/>
                      </a:lnTo>
                      <a:lnTo>
                        <a:pt x="240" y="96"/>
                      </a:lnTo>
                      <a:lnTo>
                        <a:pt x="236" y="96"/>
                      </a:lnTo>
                      <a:lnTo>
                        <a:pt x="236" y="100"/>
                      </a:lnTo>
                      <a:lnTo>
                        <a:pt x="232" y="100"/>
                      </a:lnTo>
                      <a:lnTo>
                        <a:pt x="232" y="96"/>
                      </a:lnTo>
                      <a:lnTo>
                        <a:pt x="232" y="100"/>
                      </a:lnTo>
                      <a:lnTo>
                        <a:pt x="228" y="100"/>
                      </a:lnTo>
                      <a:lnTo>
                        <a:pt x="224" y="104"/>
                      </a:lnTo>
                      <a:lnTo>
                        <a:pt x="222" y="108"/>
                      </a:lnTo>
                      <a:lnTo>
                        <a:pt x="218" y="104"/>
                      </a:lnTo>
                      <a:lnTo>
                        <a:pt x="214" y="104"/>
                      </a:lnTo>
                      <a:lnTo>
                        <a:pt x="210" y="104"/>
                      </a:lnTo>
                      <a:lnTo>
                        <a:pt x="206" y="104"/>
                      </a:lnTo>
                      <a:lnTo>
                        <a:pt x="202" y="104"/>
                      </a:lnTo>
                      <a:lnTo>
                        <a:pt x="202" y="100"/>
                      </a:lnTo>
                      <a:lnTo>
                        <a:pt x="206" y="100"/>
                      </a:lnTo>
                      <a:lnTo>
                        <a:pt x="206" y="96"/>
                      </a:lnTo>
                      <a:lnTo>
                        <a:pt x="210" y="96"/>
                      </a:lnTo>
                      <a:lnTo>
                        <a:pt x="210" y="92"/>
                      </a:lnTo>
                      <a:lnTo>
                        <a:pt x="206" y="92"/>
                      </a:lnTo>
                      <a:lnTo>
                        <a:pt x="206" y="88"/>
                      </a:lnTo>
                      <a:lnTo>
                        <a:pt x="202" y="88"/>
                      </a:lnTo>
                      <a:lnTo>
                        <a:pt x="202" y="92"/>
                      </a:lnTo>
                      <a:lnTo>
                        <a:pt x="198" y="92"/>
                      </a:lnTo>
                      <a:lnTo>
                        <a:pt x="198" y="96"/>
                      </a:lnTo>
                      <a:lnTo>
                        <a:pt x="194" y="96"/>
                      </a:lnTo>
                      <a:lnTo>
                        <a:pt x="192" y="96"/>
                      </a:lnTo>
                      <a:lnTo>
                        <a:pt x="192" y="92"/>
                      </a:lnTo>
                      <a:lnTo>
                        <a:pt x="188" y="92"/>
                      </a:lnTo>
                      <a:lnTo>
                        <a:pt x="188" y="96"/>
                      </a:lnTo>
                      <a:lnTo>
                        <a:pt x="188" y="100"/>
                      </a:lnTo>
                      <a:lnTo>
                        <a:pt x="188" y="104"/>
                      </a:lnTo>
                      <a:lnTo>
                        <a:pt x="184" y="104"/>
                      </a:lnTo>
                      <a:lnTo>
                        <a:pt x="180" y="104"/>
                      </a:lnTo>
                      <a:lnTo>
                        <a:pt x="176" y="104"/>
                      </a:lnTo>
                      <a:lnTo>
                        <a:pt x="176" y="108"/>
                      </a:lnTo>
                      <a:lnTo>
                        <a:pt x="180" y="108"/>
                      </a:lnTo>
                      <a:lnTo>
                        <a:pt x="184" y="108"/>
                      </a:lnTo>
                      <a:lnTo>
                        <a:pt x="180" y="108"/>
                      </a:lnTo>
                      <a:lnTo>
                        <a:pt x="180" y="112"/>
                      </a:lnTo>
                      <a:lnTo>
                        <a:pt x="176" y="112"/>
                      </a:lnTo>
                      <a:lnTo>
                        <a:pt x="176" y="112"/>
                      </a:lnTo>
                      <a:lnTo>
                        <a:pt x="176" y="11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23" name="Freeform 62"/>
                <p:cNvSpPr>
                  <a:spLocks noEditPoints="1"/>
                </p:cNvSpPr>
                <p:nvPr/>
              </p:nvSpPr>
              <p:spPr bwMode="auto">
                <a:xfrm>
                  <a:off x="6689725" y="3918018"/>
                  <a:ext cx="158750" cy="409575"/>
                </a:xfrm>
                <a:custGeom>
                  <a:avLst/>
                  <a:gdLst>
                    <a:gd name="T0" fmla="*/ 78 w 100"/>
                    <a:gd name="T1" fmla="*/ 122 h 258"/>
                    <a:gd name="T2" fmla="*/ 86 w 100"/>
                    <a:gd name="T3" fmla="*/ 130 h 258"/>
                    <a:gd name="T4" fmla="*/ 92 w 100"/>
                    <a:gd name="T5" fmla="*/ 138 h 258"/>
                    <a:gd name="T6" fmla="*/ 96 w 100"/>
                    <a:gd name="T7" fmla="*/ 148 h 258"/>
                    <a:gd name="T8" fmla="*/ 96 w 100"/>
                    <a:gd name="T9" fmla="*/ 168 h 258"/>
                    <a:gd name="T10" fmla="*/ 100 w 100"/>
                    <a:gd name="T11" fmla="*/ 178 h 258"/>
                    <a:gd name="T12" fmla="*/ 100 w 100"/>
                    <a:gd name="T13" fmla="*/ 194 h 258"/>
                    <a:gd name="T14" fmla="*/ 96 w 100"/>
                    <a:gd name="T15" fmla="*/ 198 h 258"/>
                    <a:gd name="T16" fmla="*/ 92 w 100"/>
                    <a:gd name="T17" fmla="*/ 212 h 258"/>
                    <a:gd name="T18" fmla="*/ 78 w 100"/>
                    <a:gd name="T19" fmla="*/ 220 h 258"/>
                    <a:gd name="T20" fmla="*/ 62 w 100"/>
                    <a:gd name="T21" fmla="*/ 220 h 258"/>
                    <a:gd name="T22" fmla="*/ 62 w 100"/>
                    <a:gd name="T23" fmla="*/ 228 h 258"/>
                    <a:gd name="T24" fmla="*/ 60 w 100"/>
                    <a:gd name="T25" fmla="*/ 232 h 258"/>
                    <a:gd name="T26" fmla="*/ 56 w 100"/>
                    <a:gd name="T27" fmla="*/ 232 h 258"/>
                    <a:gd name="T28" fmla="*/ 52 w 100"/>
                    <a:gd name="T29" fmla="*/ 234 h 258"/>
                    <a:gd name="T30" fmla="*/ 48 w 100"/>
                    <a:gd name="T31" fmla="*/ 246 h 258"/>
                    <a:gd name="T32" fmla="*/ 34 w 100"/>
                    <a:gd name="T33" fmla="*/ 258 h 258"/>
                    <a:gd name="T34" fmla="*/ 36 w 100"/>
                    <a:gd name="T35" fmla="*/ 238 h 258"/>
                    <a:gd name="T36" fmla="*/ 34 w 100"/>
                    <a:gd name="T37" fmla="*/ 228 h 258"/>
                    <a:gd name="T38" fmla="*/ 40 w 100"/>
                    <a:gd name="T39" fmla="*/ 216 h 258"/>
                    <a:gd name="T40" fmla="*/ 56 w 100"/>
                    <a:gd name="T41" fmla="*/ 216 h 258"/>
                    <a:gd name="T42" fmla="*/ 56 w 100"/>
                    <a:gd name="T43" fmla="*/ 204 h 258"/>
                    <a:gd name="T44" fmla="*/ 62 w 100"/>
                    <a:gd name="T45" fmla="*/ 198 h 258"/>
                    <a:gd name="T46" fmla="*/ 74 w 100"/>
                    <a:gd name="T47" fmla="*/ 186 h 258"/>
                    <a:gd name="T48" fmla="*/ 70 w 100"/>
                    <a:gd name="T49" fmla="*/ 164 h 258"/>
                    <a:gd name="T50" fmla="*/ 74 w 100"/>
                    <a:gd name="T51" fmla="*/ 148 h 258"/>
                    <a:gd name="T52" fmla="*/ 70 w 100"/>
                    <a:gd name="T53" fmla="*/ 134 h 258"/>
                    <a:gd name="T54" fmla="*/ 66 w 100"/>
                    <a:gd name="T55" fmla="*/ 122 h 258"/>
                    <a:gd name="T56" fmla="*/ 60 w 100"/>
                    <a:gd name="T57" fmla="*/ 112 h 258"/>
                    <a:gd name="T58" fmla="*/ 48 w 100"/>
                    <a:gd name="T59" fmla="*/ 100 h 258"/>
                    <a:gd name="T60" fmla="*/ 40 w 100"/>
                    <a:gd name="T61" fmla="*/ 86 h 258"/>
                    <a:gd name="T62" fmla="*/ 26 w 100"/>
                    <a:gd name="T63" fmla="*/ 74 h 258"/>
                    <a:gd name="T64" fmla="*/ 26 w 100"/>
                    <a:gd name="T65" fmla="*/ 62 h 258"/>
                    <a:gd name="T66" fmla="*/ 36 w 100"/>
                    <a:gd name="T67" fmla="*/ 58 h 258"/>
                    <a:gd name="T68" fmla="*/ 26 w 100"/>
                    <a:gd name="T69" fmla="*/ 42 h 258"/>
                    <a:gd name="T70" fmla="*/ 10 w 100"/>
                    <a:gd name="T71" fmla="*/ 44 h 258"/>
                    <a:gd name="T72" fmla="*/ 10 w 100"/>
                    <a:gd name="T73" fmla="*/ 34 h 258"/>
                    <a:gd name="T74" fmla="*/ 0 w 100"/>
                    <a:gd name="T75" fmla="*/ 18 h 258"/>
                    <a:gd name="T76" fmla="*/ 10 w 100"/>
                    <a:gd name="T77" fmla="*/ 14 h 258"/>
                    <a:gd name="T78" fmla="*/ 22 w 100"/>
                    <a:gd name="T79" fmla="*/ 12 h 258"/>
                    <a:gd name="T80" fmla="*/ 36 w 100"/>
                    <a:gd name="T81" fmla="*/ 8 h 258"/>
                    <a:gd name="T82" fmla="*/ 48 w 100"/>
                    <a:gd name="T83" fmla="*/ 8 h 258"/>
                    <a:gd name="T84" fmla="*/ 62 w 100"/>
                    <a:gd name="T85" fmla="*/ 14 h 258"/>
                    <a:gd name="T86" fmla="*/ 70 w 100"/>
                    <a:gd name="T87" fmla="*/ 30 h 258"/>
                    <a:gd name="T88" fmla="*/ 74 w 100"/>
                    <a:gd name="T89" fmla="*/ 38 h 258"/>
                    <a:gd name="T90" fmla="*/ 70 w 100"/>
                    <a:gd name="T91" fmla="*/ 42 h 258"/>
                    <a:gd name="T92" fmla="*/ 62 w 100"/>
                    <a:gd name="T93" fmla="*/ 48 h 258"/>
                    <a:gd name="T94" fmla="*/ 56 w 100"/>
                    <a:gd name="T95" fmla="*/ 58 h 258"/>
                    <a:gd name="T96" fmla="*/ 52 w 100"/>
                    <a:gd name="T97" fmla="*/ 70 h 258"/>
                    <a:gd name="T98" fmla="*/ 52 w 100"/>
                    <a:gd name="T99" fmla="*/ 88 h 258"/>
                    <a:gd name="T100" fmla="*/ 62 w 100"/>
                    <a:gd name="T101" fmla="*/ 108 h 258"/>
                    <a:gd name="T102" fmla="*/ 66 w 100"/>
                    <a:gd name="T103" fmla="*/ 224 h 258"/>
                    <a:gd name="T104" fmla="*/ 62 w 100"/>
                    <a:gd name="T105" fmla="*/ 224 h 258"/>
                    <a:gd name="T106" fmla="*/ 74 w 100"/>
                    <a:gd name="T107" fmla="*/ 38 h 258"/>
                    <a:gd name="T108" fmla="*/ 66 w 100"/>
                    <a:gd name="T109" fmla="*/ 44 h 258"/>
                    <a:gd name="T110" fmla="*/ 26 w 100"/>
                    <a:gd name="T111" fmla="*/ 228 h 2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00" h="258">
                      <a:moveTo>
                        <a:pt x="66" y="112"/>
                      </a:moveTo>
                      <a:lnTo>
                        <a:pt x="70" y="112"/>
                      </a:lnTo>
                      <a:lnTo>
                        <a:pt x="70" y="116"/>
                      </a:lnTo>
                      <a:lnTo>
                        <a:pt x="74" y="118"/>
                      </a:lnTo>
                      <a:lnTo>
                        <a:pt x="78" y="118"/>
                      </a:lnTo>
                      <a:lnTo>
                        <a:pt x="78" y="122"/>
                      </a:lnTo>
                      <a:lnTo>
                        <a:pt x="82" y="122"/>
                      </a:lnTo>
                      <a:lnTo>
                        <a:pt x="82" y="126"/>
                      </a:lnTo>
                      <a:lnTo>
                        <a:pt x="86" y="126"/>
                      </a:lnTo>
                      <a:lnTo>
                        <a:pt x="82" y="126"/>
                      </a:lnTo>
                      <a:lnTo>
                        <a:pt x="86" y="126"/>
                      </a:lnTo>
                      <a:lnTo>
                        <a:pt x="86" y="130"/>
                      </a:lnTo>
                      <a:lnTo>
                        <a:pt x="86" y="126"/>
                      </a:lnTo>
                      <a:lnTo>
                        <a:pt x="86" y="130"/>
                      </a:lnTo>
                      <a:lnTo>
                        <a:pt x="86" y="134"/>
                      </a:lnTo>
                      <a:lnTo>
                        <a:pt x="90" y="134"/>
                      </a:lnTo>
                      <a:lnTo>
                        <a:pt x="90" y="138"/>
                      </a:lnTo>
                      <a:lnTo>
                        <a:pt x="92" y="138"/>
                      </a:lnTo>
                      <a:lnTo>
                        <a:pt x="92" y="142"/>
                      </a:lnTo>
                      <a:lnTo>
                        <a:pt x="92" y="138"/>
                      </a:lnTo>
                      <a:lnTo>
                        <a:pt x="92" y="142"/>
                      </a:lnTo>
                      <a:lnTo>
                        <a:pt x="92" y="146"/>
                      </a:lnTo>
                      <a:lnTo>
                        <a:pt x="92" y="148"/>
                      </a:lnTo>
                      <a:lnTo>
                        <a:pt x="96" y="148"/>
                      </a:lnTo>
                      <a:lnTo>
                        <a:pt x="96" y="152"/>
                      </a:lnTo>
                      <a:lnTo>
                        <a:pt x="96" y="156"/>
                      </a:lnTo>
                      <a:lnTo>
                        <a:pt x="96" y="160"/>
                      </a:lnTo>
                      <a:lnTo>
                        <a:pt x="100" y="164"/>
                      </a:lnTo>
                      <a:lnTo>
                        <a:pt x="100" y="168"/>
                      </a:lnTo>
                      <a:lnTo>
                        <a:pt x="96" y="168"/>
                      </a:lnTo>
                      <a:lnTo>
                        <a:pt x="100" y="168"/>
                      </a:lnTo>
                      <a:lnTo>
                        <a:pt x="96" y="168"/>
                      </a:lnTo>
                      <a:lnTo>
                        <a:pt x="100" y="168"/>
                      </a:lnTo>
                      <a:lnTo>
                        <a:pt x="100" y="172"/>
                      </a:lnTo>
                      <a:lnTo>
                        <a:pt x="100" y="174"/>
                      </a:lnTo>
                      <a:lnTo>
                        <a:pt x="100" y="178"/>
                      </a:lnTo>
                      <a:lnTo>
                        <a:pt x="100" y="182"/>
                      </a:lnTo>
                      <a:lnTo>
                        <a:pt x="100" y="186"/>
                      </a:lnTo>
                      <a:lnTo>
                        <a:pt x="96" y="186"/>
                      </a:lnTo>
                      <a:lnTo>
                        <a:pt x="96" y="190"/>
                      </a:lnTo>
                      <a:lnTo>
                        <a:pt x="100" y="190"/>
                      </a:lnTo>
                      <a:lnTo>
                        <a:pt x="100" y="194"/>
                      </a:lnTo>
                      <a:lnTo>
                        <a:pt x="100" y="190"/>
                      </a:lnTo>
                      <a:lnTo>
                        <a:pt x="96" y="190"/>
                      </a:lnTo>
                      <a:lnTo>
                        <a:pt x="96" y="194"/>
                      </a:lnTo>
                      <a:lnTo>
                        <a:pt x="96" y="198"/>
                      </a:lnTo>
                      <a:lnTo>
                        <a:pt x="100" y="202"/>
                      </a:lnTo>
                      <a:lnTo>
                        <a:pt x="96" y="198"/>
                      </a:lnTo>
                      <a:lnTo>
                        <a:pt x="96" y="202"/>
                      </a:lnTo>
                      <a:lnTo>
                        <a:pt x="96" y="204"/>
                      </a:lnTo>
                      <a:lnTo>
                        <a:pt x="96" y="208"/>
                      </a:lnTo>
                      <a:lnTo>
                        <a:pt x="92" y="212"/>
                      </a:lnTo>
                      <a:lnTo>
                        <a:pt x="92" y="208"/>
                      </a:lnTo>
                      <a:lnTo>
                        <a:pt x="92" y="212"/>
                      </a:lnTo>
                      <a:lnTo>
                        <a:pt x="90" y="212"/>
                      </a:lnTo>
                      <a:lnTo>
                        <a:pt x="90" y="216"/>
                      </a:lnTo>
                      <a:lnTo>
                        <a:pt x="86" y="216"/>
                      </a:lnTo>
                      <a:lnTo>
                        <a:pt x="82" y="216"/>
                      </a:lnTo>
                      <a:lnTo>
                        <a:pt x="82" y="220"/>
                      </a:lnTo>
                      <a:lnTo>
                        <a:pt x="78" y="220"/>
                      </a:lnTo>
                      <a:lnTo>
                        <a:pt x="78" y="224"/>
                      </a:lnTo>
                      <a:lnTo>
                        <a:pt x="74" y="224"/>
                      </a:lnTo>
                      <a:lnTo>
                        <a:pt x="70" y="228"/>
                      </a:lnTo>
                      <a:lnTo>
                        <a:pt x="70" y="224"/>
                      </a:lnTo>
                      <a:lnTo>
                        <a:pt x="66" y="224"/>
                      </a:lnTo>
                      <a:lnTo>
                        <a:pt x="62" y="220"/>
                      </a:lnTo>
                      <a:lnTo>
                        <a:pt x="62" y="224"/>
                      </a:lnTo>
                      <a:lnTo>
                        <a:pt x="62" y="228"/>
                      </a:lnTo>
                      <a:lnTo>
                        <a:pt x="62" y="224"/>
                      </a:lnTo>
                      <a:lnTo>
                        <a:pt x="62" y="228"/>
                      </a:lnTo>
                      <a:lnTo>
                        <a:pt x="60" y="228"/>
                      </a:lnTo>
                      <a:lnTo>
                        <a:pt x="62" y="228"/>
                      </a:lnTo>
                      <a:lnTo>
                        <a:pt x="62" y="232"/>
                      </a:lnTo>
                      <a:lnTo>
                        <a:pt x="62" y="234"/>
                      </a:lnTo>
                      <a:lnTo>
                        <a:pt x="60" y="232"/>
                      </a:lnTo>
                      <a:lnTo>
                        <a:pt x="60" y="228"/>
                      </a:lnTo>
                      <a:lnTo>
                        <a:pt x="56" y="228"/>
                      </a:lnTo>
                      <a:lnTo>
                        <a:pt x="60" y="232"/>
                      </a:lnTo>
                      <a:lnTo>
                        <a:pt x="60" y="234"/>
                      </a:lnTo>
                      <a:lnTo>
                        <a:pt x="62" y="234"/>
                      </a:lnTo>
                      <a:lnTo>
                        <a:pt x="60" y="234"/>
                      </a:lnTo>
                      <a:lnTo>
                        <a:pt x="56" y="232"/>
                      </a:lnTo>
                      <a:lnTo>
                        <a:pt x="56" y="228"/>
                      </a:lnTo>
                      <a:lnTo>
                        <a:pt x="56" y="232"/>
                      </a:lnTo>
                      <a:lnTo>
                        <a:pt x="56" y="234"/>
                      </a:lnTo>
                      <a:lnTo>
                        <a:pt x="60" y="234"/>
                      </a:lnTo>
                      <a:lnTo>
                        <a:pt x="60" y="238"/>
                      </a:lnTo>
                      <a:lnTo>
                        <a:pt x="60" y="242"/>
                      </a:lnTo>
                      <a:lnTo>
                        <a:pt x="56" y="238"/>
                      </a:lnTo>
                      <a:lnTo>
                        <a:pt x="52" y="234"/>
                      </a:lnTo>
                      <a:lnTo>
                        <a:pt x="52" y="238"/>
                      </a:lnTo>
                      <a:lnTo>
                        <a:pt x="56" y="238"/>
                      </a:lnTo>
                      <a:lnTo>
                        <a:pt x="56" y="242"/>
                      </a:lnTo>
                      <a:lnTo>
                        <a:pt x="56" y="246"/>
                      </a:lnTo>
                      <a:lnTo>
                        <a:pt x="52" y="246"/>
                      </a:lnTo>
                      <a:lnTo>
                        <a:pt x="48" y="246"/>
                      </a:lnTo>
                      <a:lnTo>
                        <a:pt x="48" y="250"/>
                      </a:lnTo>
                      <a:lnTo>
                        <a:pt x="44" y="250"/>
                      </a:lnTo>
                      <a:lnTo>
                        <a:pt x="44" y="254"/>
                      </a:lnTo>
                      <a:lnTo>
                        <a:pt x="40" y="258"/>
                      </a:lnTo>
                      <a:lnTo>
                        <a:pt x="36" y="258"/>
                      </a:lnTo>
                      <a:lnTo>
                        <a:pt x="34" y="258"/>
                      </a:lnTo>
                      <a:lnTo>
                        <a:pt x="36" y="258"/>
                      </a:lnTo>
                      <a:lnTo>
                        <a:pt x="36" y="254"/>
                      </a:lnTo>
                      <a:lnTo>
                        <a:pt x="36" y="250"/>
                      </a:lnTo>
                      <a:lnTo>
                        <a:pt x="36" y="246"/>
                      </a:lnTo>
                      <a:lnTo>
                        <a:pt x="36" y="242"/>
                      </a:lnTo>
                      <a:lnTo>
                        <a:pt x="36" y="238"/>
                      </a:lnTo>
                      <a:lnTo>
                        <a:pt x="36" y="234"/>
                      </a:lnTo>
                      <a:lnTo>
                        <a:pt x="40" y="234"/>
                      </a:lnTo>
                      <a:lnTo>
                        <a:pt x="40" y="232"/>
                      </a:lnTo>
                      <a:lnTo>
                        <a:pt x="36" y="232"/>
                      </a:lnTo>
                      <a:lnTo>
                        <a:pt x="34" y="232"/>
                      </a:lnTo>
                      <a:lnTo>
                        <a:pt x="34" y="228"/>
                      </a:lnTo>
                      <a:lnTo>
                        <a:pt x="30" y="228"/>
                      </a:lnTo>
                      <a:lnTo>
                        <a:pt x="34" y="228"/>
                      </a:lnTo>
                      <a:lnTo>
                        <a:pt x="34" y="224"/>
                      </a:lnTo>
                      <a:lnTo>
                        <a:pt x="36" y="224"/>
                      </a:lnTo>
                      <a:lnTo>
                        <a:pt x="40" y="220"/>
                      </a:lnTo>
                      <a:lnTo>
                        <a:pt x="40" y="216"/>
                      </a:lnTo>
                      <a:lnTo>
                        <a:pt x="44" y="220"/>
                      </a:lnTo>
                      <a:lnTo>
                        <a:pt x="44" y="216"/>
                      </a:lnTo>
                      <a:lnTo>
                        <a:pt x="48" y="216"/>
                      </a:lnTo>
                      <a:lnTo>
                        <a:pt x="52" y="216"/>
                      </a:lnTo>
                      <a:lnTo>
                        <a:pt x="56" y="220"/>
                      </a:lnTo>
                      <a:lnTo>
                        <a:pt x="56" y="216"/>
                      </a:lnTo>
                      <a:lnTo>
                        <a:pt x="52" y="212"/>
                      </a:lnTo>
                      <a:lnTo>
                        <a:pt x="52" y="208"/>
                      </a:lnTo>
                      <a:lnTo>
                        <a:pt x="52" y="204"/>
                      </a:lnTo>
                      <a:lnTo>
                        <a:pt x="52" y="202"/>
                      </a:lnTo>
                      <a:lnTo>
                        <a:pt x="56" y="202"/>
                      </a:lnTo>
                      <a:lnTo>
                        <a:pt x="56" y="204"/>
                      </a:lnTo>
                      <a:lnTo>
                        <a:pt x="60" y="204"/>
                      </a:lnTo>
                      <a:lnTo>
                        <a:pt x="60" y="202"/>
                      </a:lnTo>
                      <a:lnTo>
                        <a:pt x="60" y="198"/>
                      </a:lnTo>
                      <a:lnTo>
                        <a:pt x="62" y="198"/>
                      </a:lnTo>
                      <a:lnTo>
                        <a:pt x="62" y="202"/>
                      </a:lnTo>
                      <a:lnTo>
                        <a:pt x="62" y="198"/>
                      </a:lnTo>
                      <a:lnTo>
                        <a:pt x="66" y="198"/>
                      </a:lnTo>
                      <a:lnTo>
                        <a:pt x="66" y="194"/>
                      </a:lnTo>
                      <a:lnTo>
                        <a:pt x="70" y="194"/>
                      </a:lnTo>
                      <a:lnTo>
                        <a:pt x="74" y="194"/>
                      </a:lnTo>
                      <a:lnTo>
                        <a:pt x="74" y="190"/>
                      </a:lnTo>
                      <a:lnTo>
                        <a:pt x="74" y="186"/>
                      </a:lnTo>
                      <a:lnTo>
                        <a:pt x="74" y="182"/>
                      </a:lnTo>
                      <a:lnTo>
                        <a:pt x="74" y="174"/>
                      </a:lnTo>
                      <a:lnTo>
                        <a:pt x="74" y="172"/>
                      </a:lnTo>
                      <a:lnTo>
                        <a:pt x="74" y="168"/>
                      </a:lnTo>
                      <a:lnTo>
                        <a:pt x="74" y="164"/>
                      </a:lnTo>
                      <a:lnTo>
                        <a:pt x="70" y="164"/>
                      </a:lnTo>
                      <a:lnTo>
                        <a:pt x="70" y="160"/>
                      </a:lnTo>
                      <a:lnTo>
                        <a:pt x="74" y="160"/>
                      </a:lnTo>
                      <a:lnTo>
                        <a:pt x="70" y="156"/>
                      </a:lnTo>
                      <a:lnTo>
                        <a:pt x="74" y="156"/>
                      </a:lnTo>
                      <a:lnTo>
                        <a:pt x="74" y="152"/>
                      </a:lnTo>
                      <a:lnTo>
                        <a:pt x="74" y="148"/>
                      </a:lnTo>
                      <a:lnTo>
                        <a:pt x="74" y="146"/>
                      </a:lnTo>
                      <a:lnTo>
                        <a:pt x="78" y="142"/>
                      </a:lnTo>
                      <a:lnTo>
                        <a:pt x="74" y="142"/>
                      </a:lnTo>
                      <a:lnTo>
                        <a:pt x="74" y="138"/>
                      </a:lnTo>
                      <a:lnTo>
                        <a:pt x="70" y="138"/>
                      </a:lnTo>
                      <a:lnTo>
                        <a:pt x="70" y="134"/>
                      </a:lnTo>
                      <a:lnTo>
                        <a:pt x="70" y="130"/>
                      </a:lnTo>
                      <a:lnTo>
                        <a:pt x="74" y="130"/>
                      </a:lnTo>
                      <a:lnTo>
                        <a:pt x="74" y="126"/>
                      </a:lnTo>
                      <a:lnTo>
                        <a:pt x="70" y="126"/>
                      </a:lnTo>
                      <a:lnTo>
                        <a:pt x="70" y="122"/>
                      </a:lnTo>
                      <a:lnTo>
                        <a:pt x="66" y="122"/>
                      </a:lnTo>
                      <a:lnTo>
                        <a:pt x="66" y="118"/>
                      </a:lnTo>
                      <a:lnTo>
                        <a:pt x="62" y="118"/>
                      </a:lnTo>
                      <a:lnTo>
                        <a:pt x="62" y="122"/>
                      </a:lnTo>
                      <a:lnTo>
                        <a:pt x="60" y="118"/>
                      </a:lnTo>
                      <a:lnTo>
                        <a:pt x="60" y="116"/>
                      </a:lnTo>
                      <a:lnTo>
                        <a:pt x="60" y="112"/>
                      </a:lnTo>
                      <a:lnTo>
                        <a:pt x="60" y="108"/>
                      </a:lnTo>
                      <a:lnTo>
                        <a:pt x="56" y="108"/>
                      </a:lnTo>
                      <a:lnTo>
                        <a:pt x="56" y="104"/>
                      </a:lnTo>
                      <a:lnTo>
                        <a:pt x="52" y="104"/>
                      </a:lnTo>
                      <a:lnTo>
                        <a:pt x="52" y="100"/>
                      </a:lnTo>
                      <a:lnTo>
                        <a:pt x="48" y="100"/>
                      </a:lnTo>
                      <a:lnTo>
                        <a:pt x="48" y="96"/>
                      </a:lnTo>
                      <a:lnTo>
                        <a:pt x="48" y="92"/>
                      </a:lnTo>
                      <a:lnTo>
                        <a:pt x="44" y="92"/>
                      </a:lnTo>
                      <a:lnTo>
                        <a:pt x="44" y="88"/>
                      </a:lnTo>
                      <a:lnTo>
                        <a:pt x="40" y="88"/>
                      </a:lnTo>
                      <a:lnTo>
                        <a:pt x="40" y="86"/>
                      </a:lnTo>
                      <a:lnTo>
                        <a:pt x="40" y="82"/>
                      </a:lnTo>
                      <a:lnTo>
                        <a:pt x="36" y="82"/>
                      </a:lnTo>
                      <a:lnTo>
                        <a:pt x="34" y="82"/>
                      </a:lnTo>
                      <a:lnTo>
                        <a:pt x="34" y="78"/>
                      </a:lnTo>
                      <a:lnTo>
                        <a:pt x="30" y="74"/>
                      </a:lnTo>
                      <a:lnTo>
                        <a:pt x="26" y="74"/>
                      </a:lnTo>
                      <a:lnTo>
                        <a:pt x="22" y="70"/>
                      </a:lnTo>
                      <a:lnTo>
                        <a:pt x="26" y="70"/>
                      </a:lnTo>
                      <a:lnTo>
                        <a:pt x="26" y="66"/>
                      </a:lnTo>
                      <a:lnTo>
                        <a:pt x="26" y="62"/>
                      </a:lnTo>
                      <a:lnTo>
                        <a:pt x="26" y="66"/>
                      </a:lnTo>
                      <a:lnTo>
                        <a:pt x="26" y="62"/>
                      </a:lnTo>
                      <a:lnTo>
                        <a:pt x="30" y="62"/>
                      </a:lnTo>
                      <a:lnTo>
                        <a:pt x="30" y="66"/>
                      </a:lnTo>
                      <a:lnTo>
                        <a:pt x="34" y="66"/>
                      </a:lnTo>
                      <a:lnTo>
                        <a:pt x="34" y="62"/>
                      </a:lnTo>
                      <a:lnTo>
                        <a:pt x="36" y="62"/>
                      </a:lnTo>
                      <a:lnTo>
                        <a:pt x="36" y="58"/>
                      </a:lnTo>
                      <a:lnTo>
                        <a:pt x="36" y="56"/>
                      </a:lnTo>
                      <a:lnTo>
                        <a:pt x="34" y="52"/>
                      </a:lnTo>
                      <a:lnTo>
                        <a:pt x="30" y="52"/>
                      </a:lnTo>
                      <a:lnTo>
                        <a:pt x="34" y="48"/>
                      </a:lnTo>
                      <a:lnTo>
                        <a:pt x="30" y="44"/>
                      </a:lnTo>
                      <a:lnTo>
                        <a:pt x="26" y="42"/>
                      </a:lnTo>
                      <a:lnTo>
                        <a:pt x="22" y="44"/>
                      </a:lnTo>
                      <a:lnTo>
                        <a:pt x="22" y="48"/>
                      </a:lnTo>
                      <a:lnTo>
                        <a:pt x="18" y="48"/>
                      </a:lnTo>
                      <a:lnTo>
                        <a:pt x="18" y="44"/>
                      </a:lnTo>
                      <a:lnTo>
                        <a:pt x="14" y="44"/>
                      </a:lnTo>
                      <a:lnTo>
                        <a:pt x="10" y="44"/>
                      </a:lnTo>
                      <a:lnTo>
                        <a:pt x="10" y="42"/>
                      </a:lnTo>
                      <a:lnTo>
                        <a:pt x="10" y="38"/>
                      </a:lnTo>
                      <a:lnTo>
                        <a:pt x="6" y="38"/>
                      </a:lnTo>
                      <a:lnTo>
                        <a:pt x="10" y="34"/>
                      </a:lnTo>
                      <a:lnTo>
                        <a:pt x="6" y="34"/>
                      </a:lnTo>
                      <a:lnTo>
                        <a:pt x="10" y="34"/>
                      </a:lnTo>
                      <a:lnTo>
                        <a:pt x="10" y="30"/>
                      </a:lnTo>
                      <a:lnTo>
                        <a:pt x="6" y="30"/>
                      </a:lnTo>
                      <a:lnTo>
                        <a:pt x="6" y="26"/>
                      </a:lnTo>
                      <a:lnTo>
                        <a:pt x="4" y="26"/>
                      </a:lnTo>
                      <a:lnTo>
                        <a:pt x="4" y="22"/>
                      </a:lnTo>
                      <a:lnTo>
                        <a:pt x="0" y="18"/>
                      </a:lnTo>
                      <a:lnTo>
                        <a:pt x="0" y="14"/>
                      </a:lnTo>
                      <a:lnTo>
                        <a:pt x="4" y="14"/>
                      </a:lnTo>
                      <a:lnTo>
                        <a:pt x="4" y="12"/>
                      </a:lnTo>
                      <a:lnTo>
                        <a:pt x="6" y="12"/>
                      </a:lnTo>
                      <a:lnTo>
                        <a:pt x="6" y="14"/>
                      </a:lnTo>
                      <a:lnTo>
                        <a:pt x="10" y="14"/>
                      </a:lnTo>
                      <a:lnTo>
                        <a:pt x="14" y="14"/>
                      </a:lnTo>
                      <a:lnTo>
                        <a:pt x="14" y="12"/>
                      </a:lnTo>
                      <a:lnTo>
                        <a:pt x="18" y="12"/>
                      </a:lnTo>
                      <a:lnTo>
                        <a:pt x="18" y="14"/>
                      </a:lnTo>
                      <a:lnTo>
                        <a:pt x="18" y="12"/>
                      </a:lnTo>
                      <a:lnTo>
                        <a:pt x="22" y="12"/>
                      </a:lnTo>
                      <a:lnTo>
                        <a:pt x="22" y="14"/>
                      </a:lnTo>
                      <a:lnTo>
                        <a:pt x="26" y="14"/>
                      </a:lnTo>
                      <a:lnTo>
                        <a:pt x="26" y="12"/>
                      </a:lnTo>
                      <a:lnTo>
                        <a:pt x="30" y="12"/>
                      </a:lnTo>
                      <a:lnTo>
                        <a:pt x="34" y="12"/>
                      </a:lnTo>
                      <a:lnTo>
                        <a:pt x="36" y="8"/>
                      </a:lnTo>
                      <a:lnTo>
                        <a:pt x="36" y="4"/>
                      </a:lnTo>
                      <a:lnTo>
                        <a:pt x="40" y="0"/>
                      </a:lnTo>
                      <a:lnTo>
                        <a:pt x="44" y="0"/>
                      </a:lnTo>
                      <a:lnTo>
                        <a:pt x="44" y="4"/>
                      </a:lnTo>
                      <a:lnTo>
                        <a:pt x="48" y="4"/>
                      </a:lnTo>
                      <a:lnTo>
                        <a:pt x="48" y="8"/>
                      </a:lnTo>
                      <a:lnTo>
                        <a:pt x="52" y="8"/>
                      </a:lnTo>
                      <a:lnTo>
                        <a:pt x="56" y="8"/>
                      </a:lnTo>
                      <a:lnTo>
                        <a:pt x="60" y="8"/>
                      </a:lnTo>
                      <a:lnTo>
                        <a:pt x="62" y="8"/>
                      </a:lnTo>
                      <a:lnTo>
                        <a:pt x="62" y="12"/>
                      </a:lnTo>
                      <a:lnTo>
                        <a:pt x="62" y="14"/>
                      </a:lnTo>
                      <a:lnTo>
                        <a:pt x="60" y="14"/>
                      </a:lnTo>
                      <a:lnTo>
                        <a:pt x="60" y="18"/>
                      </a:lnTo>
                      <a:lnTo>
                        <a:pt x="62" y="18"/>
                      </a:lnTo>
                      <a:lnTo>
                        <a:pt x="62" y="22"/>
                      </a:lnTo>
                      <a:lnTo>
                        <a:pt x="66" y="26"/>
                      </a:lnTo>
                      <a:lnTo>
                        <a:pt x="70" y="30"/>
                      </a:lnTo>
                      <a:lnTo>
                        <a:pt x="74" y="30"/>
                      </a:lnTo>
                      <a:lnTo>
                        <a:pt x="78" y="30"/>
                      </a:lnTo>
                      <a:lnTo>
                        <a:pt x="82" y="30"/>
                      </a:lnTo>
                      <a:lnTo>
                        <a:pt x="82" y="34"/>
                      </a:lnTo>
                      <a:lnTo>
                        <a:pt x="78" y="34"/>
                      </a:lnTo>
                      <a:lnTo>
                        <a:pt x="74" y="38"/>
                      </a:lnTo>
                      <a:lnTo>
                        <a:pt x="70" y="38"/>
                      </a:lnTo>
                      <a:lnTo>
                        <a:pt x="74" y="42"/>
                      </a:lnTo>
                      <a:lnTo>
                        <a:pt x="70" y="42"/>
                      </a:lnTo>
                      <a:lnTo>
                        <a:pt x="70" y="44"/>
                      </a:lnTo>
                      <a:lnTo>
                        <a:pt x="66" y="42"/>
                      </a:lnTo>
                      <a:lnTo>
                        <a:pt x="70" y="42"/>
                      </a:lnTo>
                      <a:lnTo>
                        <a:pt x="66" y="42"/>
                      </a:lnTo>
                      <a:lnTo>
                        <a:pt x="66" y="44"/>
                      </a:lnTo>
                      <a:lnTo>
                        <a:pt x="62" y="44"/>
                      </a:lnTo>
                      <a:lnTo>
                        <a:pt x="62" y="42"/>
                      </a:lnTo>
                      <a:lnTo>
                        <a:pt x="62" y="44"/>
                      </a:lnTo>
                      <a:lnTo>
                        <a:pt x="62" y="48"/>
                      </a:lnTo>
                      <a:lnTo>
                        <a:pt x="60" y="52"/>
                      </a:lnTo>
                      <a:lnTo>
                        <a:pt x="60" y="56"/>
                      </a:lnTo>
                      <a:lnTo>
                        <a:pt x="60" y="52"/>
                      </a:lnTo>
                      <a:lnTo>
                        <a:pt x="60" y="56"/>
                      </a:lnTo>
                      <a:lnTo>
                        <a:pt x="56" y="56"/>
                      </a:lnTo>
                      <a:lnTo>
                        <a:pt x="56" y="58"/>
                      </a:lnTo>
                      <a:lnTo>
                        <a:pt x="52" y="58"/>
                      </a:lnTo>
                      <a:lnTo>
                        <a:pt x="52" y="62"/>
                      </a:lnTo>
                      <a:lnTo>
                        <a:pt x="52" y="66"/>
                      </a:lnTo>
                      <a:lnTo>
                        <a:pt x="52" y="70"/>
                      </a:lnTo>
                      <a:lnTo>
                        <a:pt x="48" y="70"/>
                      </a:lnTo>
                      <a:lnTo>
                        <a:pt x="52" y="70"/>
                      </a:lnTo>
                      <a:lnTo>
                        <a:pt x="48" y="74"/>
                      </a:lnTo>
                      <a:lnTo>
                        <a:pt x="48" y="78"/>
                      </a:lnTo>
                      <a:lnTo>
                        <a:pt x="48" y="82"/>
                      </a:lnTo>
                      <a:lnTo>
                        <a:pt x="52" y="82"/>
                      </a:lnTo>
                      <a:lnTo>
                        <a:pt x="52" y="86"/>
                      </a:lnTo>
                      <a:lnTo>
                        <a:pt x="52" y="88"/>
                      </a:lnTo>
                      <a:lnTo>
                        <a:pt x="56" y="88"/>
                      </a:lnTo>
                      <a:lnTo>
                        <a:pt x="60" y="92"/>
                      </a:lnTo>
                      <a:lnTo>
                        <a:pt x="60" y="96"/>
                      </a:lnTo>
                      <a:lnTo>
                        <a:pt x="60" y="100"/>
                      </a:lnTo>
                      <a:lnTo>
                        <a:pt x="62" y="104"/>
                      </a:lnTo>
                      <a:lnTo>
                        <a:pt x="62" y="108"/>
                      </a:lnTo>
                      <a:lnTo>
                        <a:pt x="66" y="108"/>
                      </a:lnTo>
                      <a:lnTo>
                        <a:pt x="66" y="112"/>
                      </a:lnTo>
                      <a:lnTo>
                        <a:pt x="66" y="112"/>
                      </a:lnTo>
                      <a:lnTo>
                        <a:pt x="66" y="112"/>
                      </a:lnTo>
                      <a:close/>
                      <a:moveTo>
                        <a:pt x="62" y="224"/>
                      </a:moveTo>
                      <a:lnTo>
                        <a:pt x="66" y="224"/>
                      </a:lnTo>
                      <a:lnTo>
                        <a:pt x="62" y="224"/>
                      </a:lnTo>
                      <a:lnTo>
                        <a:pt x="66" y="224"/>
                      </a:lnTo>
                      <a:lnTo>
                        <a:pt x="66" y="228"/>
                      </a:lnTo>
                      <a:lnTo>
                        <a:pt x="62" y="228"/>
                      </a:lnTo>
                      <a:lnTo>
                        <a:pt x="62" y="224"/>
                      </a:lnTo>
                      <a:lnTo>
                        <a:pt x="62" y="224"/>
                      </a:lnTo>
                      <a:lnTo>
                        <a:pt x="62" y="224"/>
                      </a:lnTo>
                      <a:close/>
                      <a:moveTo>
                        <a:pt x="74" y="38"/>
                      </a:moveTo>
                      <a:lnTo>
                        <a:pt x="74" y="42"/>
                      </a:lnTo>
                      <a:lnTo>
                        <a:pt x="70" y="42"/>
                      </a:lnTo>
                      <a:lnTo>
                        <a:pt x="74" y="38"/>
                      </a:lnTo>
                      <a:lnTo>
                        <a:pt x="74" y="38"/>
                      </a:lnTo>
                      <a:lnTo>
                        <a:pt x="74" y="38"/>
                      </a:lnTo>
                      <a:close/>
                      <a:moveTo>
                        <a:pt x="66" y="44"/>
                      </a:moveTo>
                      <a:lnTo>
                        <a:pt x="66" y="48"/>
                      </a:lnTo>
                      <a:lnTo>
                        <a:pt x="66" y="44"/>
                      </a:lnTo>
                      <a:lnTo>
                        <a:pt x="66" y="44"/>
                      </a:lnTo>
                      <a:lnTo>
                        <a:pt x="66" y="44"/>
                      </a:lnTo>
                      <a:close/>
                      <a:moveTo>
                        <a:pt x="26" y="228"/>
                      </a:moveTo>
                      <a:lnTo>
                        <a:pt x="26" y="232"/>
                      </a:lnTo>
                      <a:lnTo>
                        <a:pt x="22" y="228"/>
                      </a:lnTo>
                      <a:lnTo>
                        <a:pt x="26" y="228"/>
                      </a:lnTo>
                      <a:lnTo>
                        <a:pt x="26" y="228"/>
                      </a:lnTo>
                      <a:lnTo>
                        <a:pt x="26" y="22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Freeform 63"/>
                <p:cNvSpPr>
                  <a:spLocks noEditPoints="1"/>
                </p:cNvSpPr>
                <p:nvPr/>
              </p:nvSpPr>
              <p:spPr bwMode="auto">
                <a:xfrm>
                  <a:off x="5175250" y="3651318"/>
                  <a:ext cx="15875" cy="34925"/>
                </a:xfrm>
                <a:custGeom>
                  <a:avLst/>
                  <a:gdLst>
                    <a:gd name="T0" fmla="*/ 10 w 10"/>
                    <a:gd name="T1" fmla="*/ 12 h 22"/>
                    <a:gd name="T2" fmla="*/ 10 w 10"/>
                    <a:gd name="T3" fmla="*/ 12 h 22"/>
                    <a:gd name="T4" fmla="*/ 10 w 10"/>
                    <a:gd name="T5" fmla="*/ 14 h 22"/>
                    <a:gd name="T6" fmla="*/ 10 w 10"/>
                    <a:gd name="T7" fmla="*/ 14 h 22"/>
                    <a:gd name="T8" fmla="*/ 10 w 10"/>
                    <a:gd name="T9" fmla="*/ 18 h 22"/>
                    <a:gd name="T10" fmla="*/ 10 w 10"/>
                    <a:gd name="T11" fmla="*/ 18 h 22"/>
                    <a:gd name="T12" fmla="*/ 10 w 10"/>
                    <a:gd name="T13" fmla="*/ 18 h 22"/>
                    <a:gd name="T14" fmla="*/ 6 w 10"/>
                    <a:gd name="T15" fmla="*/ 22 h 22"/>
                    <a:gd name="T16" fmla="*/ 6 w 10"/>
                    <a:gd name="T17" fmla="*/ 22 h 22"/>
                    <a:gd name="T18" fmla="*/ 4 w 10"/>
                    <a:gd name="T19" fmla="*/ 22 h 22"/>
                    <a:gd name="T20" fmla="*/ 0 w 10"/>
                    <a:gd name="T21" fmla="*/ 22 h 22"/>
                    <a:gd name="T22" fmla="*/ 0 w 10"/>
                    <a:gd name="T23" fmla="*/ 22 h 22"/>
                    <a:gd name="T24" fmla="*/ 4 w 10"/>
                    <a:gd name="T25" fmla="*/ 22 h 22"/>
                    <a:gd name="T26" fmla="*/ 4 w 10"/>
                    <a:gd name="T27" fmla="*/ 18 h 22"/>
                    <a:gd name="T28" fmla="*/ 4 w 10"/>
                    <a:gd name="T29" fmla="*/ 18 h 22"/>
                    <a:gd name="T30" fmla="*/ 4 w 10"/>
                    <a:gd name="T31" fmla="*/ 18 h 22"/>
                    <a:gd name="T32" fmla="*/ 4 w 10"/>
                    <a:gd name="T33" fmla="*/ 14 h 22"/>
                    <a:gd name="T34" fmla="*/ 6 w 10"/>
                    <a:gd name="T35" fmla="*/ 14 h 22"/>
                    <a:gd name="T36" fmla="*/ 4 w 10"/>
                    <a:gd name="T37" fmla="*/ 14 h 22"/>
                    <a:gd name="T38" fmla="*/ 4 w 10"/>
                    <a:gd name="T39" fmla="*/ 14 h 22"/>
                    <a:gd name="T40" fmla="*/ 4 w 10"/>
                    <a:gd name="T41" fmla="*/ 14 h 22"/>
                    <a:gd name="T42" fmla="*/ 4 w 10"/>
                    <a:gd name="T43" fmla="*/ 12 h 22"/>
                    <a:gd name="T44" fmla="*/ 4 w 10"/>
                    <a:gd name="T45" fmla="*/ 12 h 22"/>
                    <a:gd name="T46" fmla="*/ 4 w 10"/>
                    <a:gd name="T47" fmla="*/ 8 h 22"/>
                    <a:gd name="T48" fmla="*/ 4 w 10"/>
                    <a:gd name="T49" fmla="*/ 8 h 22"/>
                    <a:gd name="T50" fmla="*/ 4 w 10"/>
                    <a:gd name="T51" fmla="*/ 4 h 22"/>
                    <a:gd name="T52" fmla="*/ 4 w 10"/>
                    <a:gd name="T53" fmla="*/ 4 h 22"/>
                    <a:gd name="T54" fmla="*/ 4 w 10"/>
                    <a:gd name="T55" fmla="*/ 4 h 22"/>
                    <a:gd name="T56" fmla="*/ 6 w 10"/>
                    <a:gd name="T57" fmla="*/ 0 h 22"/>
                    <a:gd name="T58" fmla="*/ 6 w 10"/>
                    <a:gd name="T59" fmla="*/ 0 h 22"/>
                    <a:gd name="T60" fmla="*/ 6 w 10"/>
                    <a:gd name="T61" fmla="*/ 0 h 22"/>
                    <a:gd name="T62" fmla="*/ 6 w 10"/>
                    <a:gd name="T63" fmla="*/ 4 h 22"/>
                    <a:gd name="T64" fmla="*/ 10 w 10"/>
                    <a:gd name="T65" fmla="*/ 4 h 22"/>
                    <a:gd name="T66" fmla="*/ 10 w 10"/>
                    <a:gd name="T67" fmla="*/ 8 h 22"/>
                    <a:gd name="T68" fmla="*/ 10 w 10"/>
                    <a:gd name="T69" fmla="*/ 8 h 22"/>
                    <a:gd name="T70" fmla="*/ 6 w 10"/>
                    <a:gd name="T71" fmla="*/ 14 h 22"/>
                    <a:gd name="T72" fmla="*/ 6 w 10"/>
                    <a:gd name="T73" fmla="*/ 14 h 22"/>
                    <a:gd name="T74" fmla="*/ 6 w 10"/>
                    <a:gd name="T75" fmla="*/ 14 h 22"/>
                    <a:gd name="T76" fmla="*/ 6 w 10"/>
                    <a:gd name="T77" fmla="*/ 14 h 22"/>
                    <a:gd name="T78" fmla="*/ 6 w 10"/>
                    <a:gd name="T79" fmla="*/ 14 h 22"/>
                    <a:gd name="T80" fmla="*/ 6 w 10"/>
                    <a:gd name="T81" fmla="*/ 14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0" h="22">
                      <a:moveTo>
                        <a:pt x="10" y="8"/>
                      </a:moveTo>
                      <a:lnTo>
                        <a:pt x="10" y="12"/>
                      </a:lnTo>
                      <a:lnTo>
                        <a:pt x="10" y="12"/>
                      </a:lnTo>
                      <a:lnTo>
                        <a:pt x="10" y="12"/>
                      </a:lnTo>
                      <a:lnTo>
                        <a:pt x="10" y="14"/>
                      </a:lnTo>
                      <a:lnTo>
                        <a:pt x="10" y="14"/>
                      </a:lnTo>
                      <a:lnTo>
                        <a:pt x="10" y="14"/>
                      </a:lnTo>
                      <a:lnTo>
                        <a:pt x="10" y="14"/>
                      </a:lnTo>
                      <a:lnTo>
                        <a:pt x="10" y="18"/>
                      </a:lnTo>
                      <a:lnTo>
                        <a:pt x="10" y="18"/>
                      </a:lnTo>
                      <a:lnTo>
                        <a:pt x="10" y="18"/>
                      </a:lnTo>
                      <a:lnTo>
                        <a:pt x="10" y="18"/>
                      </a:lnTo>
                      <a:lnTo>
                        <a:pt x="10" y="18"/>
                      </a:lnTo>
                      <a:lnTo>
                        <a:pt x="10" y="18"/>
                      </a:lnTo>
                      <a:lnTo>
                        <a:pt x="6" y="18"/>
                      </a:lnTo>
                      <a:lnTo>
                        <a:pt x="6" y="22"/>
                      </a:lnTo>
                      <a:lnTo>
                        <a:pt x="6" y="22"/>
                      </a:lnTo>
                      <a:lnTo>
                        <a:pt x="6" y="22"/>
                      </a:lnTo>
                      <a:lnTo>
                        <a:pt x="6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4" y="22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close/>
                      <a:moveTo>
                        <a:pt x="6" y="14"/>
                      </a:move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Freeform 64"/>
                <p:cNvSpPr>
                  <a:spLocks noEditPoints="1"/>
                </p:cNvSpPr>
                <p:nvPr/>
              </p:nvSpPr>
              <p:spPr bwMode="auto">
                <a:xfrm>
                  <a:off x="5346700" y="4041843"/>
                  <a:ext cx="269875" cy="187325"/>
                </a:xfrm>
                <a:custGeom>
                  <a:avLst/>
                  <a:gdLst>
                    <a:gd name="T0" fmla="*/ 64 w 170"/>
                    <a:gd name="T1" fmla="*/ 92 h 118"/>
                    <a:gd name="T2" fmla="*/ 56 w 170"/>
                    <a:gd name="T3" fmla="*/ 96 h 118"/>
                    <a:gd name="T4" fmla="*/ 44 w 170"/>
                    <a:gd name="T5" fmla="*/ 96 h 118"/>
                    <a:gd name="T6" fmla="*/ 40 w 170"/>
                    <a:gd name="T7" fmla="*/ 100 h 118"/>
                    <a:gd name="T8" fmla="*/ 40 w 170"/>
                    <a:gd name="T9" fmla="*/ 104 h 118"/>
                    <a:gd name="T10" fmla="*/ 38 w 170"/>
                    <a:gd name="T11" fmla="*/ 108 h 118"/>
                    <a:gd name="T12" fmla="*/ 34 w 170"/>
                    <a:gd name="T13" fmla="*/ 108 h 118"/>
                    <a:gd name="T14" fmla="*/ 30 w 170"/>
                    <a:gd name="T15" fmla="*/ 108 h 118"/>
                    <a:gd name="T16" fmla="*/ 26 w 170"/>
                    <a:gd name="T17" fmla="*/ 108 h 118"/>
                    <a:gd name="T18" fmla="*/ 18 w 170"/>
                    <a:gd name="T19" fmla="*/ 108 h 118"/>
                    <a:gd name="T20" fmla="*/ 14 w 170"/>
                    <a:gd name="T21" fmla="*/ 108 h 118"/>
                    <a:gd name="T22" fmla="*/ 14 w 170"/>
                    <a:gd name="T23" fmla="*/ 100 h 118"/>
                    <a:gd name="T24" fmla="*/ 10 w 170"/>
                    <a:gd name="T25" fmla="*/ 92 h 118"/>
                    <a:gd name="T26" fmla="*/ 10 w 170"/>
                    <a:gd name="T27" fmla="*/ 90 h 118"/>
                    <a:gd name="T28" fmla="*/ 10 w 170"/>
                    <a:gd name="T29" fmla="*/ 82 h 118"/>
                    <a:gd name="T30" fmla="*/ 8 w 170"/>
                    <a:gd name="T31" fmla="*/ 70 h 118"/>
                    <a:gd name="T32" fmla="*/ 8 w 170"/>
                    <a:gd name="T33" fmla="*/ 66 h 118"/>
                    <a:gd name="T34" fmla="*/ 4 w 170"/>
                    <a:gd name="T35" fmla="*/ 62 h 118"/>
                    <a:gd name="T36" fmla="*/ 4 w 170"/>
                    <a:gd name="T37" fmla="*/ 60 h 118"/>
                    <a:gd name="T38" fmla="*/ 4 w 170"/>
                    <a:gd name="T39" fmla="*/ 56 h 118"/>
                    <a:gd name="T40" fmla="*/ 8 w 170"/>
                    <a:gd name="T41" fmla="*/ 48 h 118"/>
                    <a:gd name="T42" fmla="*/ 8 w 170"/>
                    <a:gd name="T43" fmla="*/ 44 h 118"/>
                    <a:gd name="T44" fmla="*/ 10 w 170"/>
                    <a:gd name="T45" fmla="*/ 40 h 118"/>
                    <a:gd name="T46" fmla="*/ 10 w 170"/>
                    <a:gd name="T47" fmla="*/ 26 h 118"/>
                    <a:gd name="T48" fmla="*/ 14 w 170"/>
                    <a:gd name="T49" fmla="*/ 26 h 118"/>
                    <a:gd name="T50" fmla="*/ 18 w 170"/>
                    <a:gd name="T51" fmla="*/ 26 h 118"/>
                    <a:gd name="T52" fmla="*/ 30 w 170"/>
                    <a:gd name="T53" fmla="*/ 26 h 118"/>
                    <a:gd name="T54" fmla="*/ 60 w 170"/>
                    <a:gd name="T55" fmla="*/ 30 h 118"/>
                    <a:gd name="T56" fmla="*/ 78 w 170"/>
                    <a:gd name="T57" fmla="*/ 22 h 118"/>
                    <a:gd name="T58" fmla="*/ 144 w 170"/>
                    <a:gd name="T59" fmla="*/ 26 h 118"/>
                    <a:gd name="T60" fmla="*/ 148 w 170"/>
                    <a:gd name="T61" fmla="*/ 40 h 118"/>
                    <a:gd name="T62" fmla="*/ 140 w 170"/>
                    <a:gd name="T63" fmla="*/ 44 h 118"/>
                    <a:gd name="T64" fmla="*/ 136 w 170"/>
                    <a:gd name="T65" fmla="*/ 48 h 118"/>
                    <a:gd name="T66" fmla="*/ 134 w 170"/>
                    <a:gd name="T67" fmla="*/ 60 h 118"/>
                    <a:gd name="T68" fmla="*/ 126 w 170"/>
                    <a:gd name="T69" fmla="*/ 62 h 118"/>
                    <a:gd name="T70" fmla="*/ 120 w 170"/>
                    <a:gd name="T71" fmla="*/ 66 h 118"/>
                    <a:gd name="T72" fmla="*/ 112 w 170"/>
                    <a:gd name="T73" fmla="*/ 66 h 118"/>
                    <a:gd name="T74" fmla="*/ 104 w 170"/>
                    <a:gd name="T75" fmla="*/ 70 h 118"/>
                    <a:gd name="T76" fmla="*/ 94 w 170"/>
                    <a:gd name="T77" fmla="*/ 78 h 118"/>
                    <a:gd name="T78" fmla="*/ 90 w 170"/>
                    <a:gd name="T79" fmla="*/ 86 h 118"/>
                    <a:gd name="T80" fmla="*/ 82 w 170"/>
                    <a:gd name="T81" fmla="*/ 86 h 118"/>
                    <a:gd name="T82" fmla="*/ 78 w 170"/>
                    <a:gd name="T83" fmla="*/ 86 h 118"/>
                    <a:gd name="T84" fmla="*/ 78 w 170"/>
                    <a:gd name="T85" fmla="*/ 86 h 118"/>
                    <a:gd name="T86" fmla="*/ 74 w 170"/>
                    <a:gd name="T87" fmla="*/ 90 h 118"/>
                    <a:gd name="T88" fmla="*/ 66 w 170"/>
                    <a:gd name="T89" fmla="*/ 92 h 118"/>
                    <a:gd name="T90" fmla="*/ 136 w 170"/>
                    <a:gd name="T91" fmla="*/ 118 h 118"/>
                    <a:gd name="T92" fmla="*/ 136 w 170"/>
                    <a:gd name="T93" fmla="*/ 116 h 118"/>
                    <a:gd name="T94" fmla="*/ 136 w 170"/>
                    <a:gd name="T95" fmla="*/ 116 h 118"/>
                    <a:gd name="T96" fmla="*/ 140 w 170"/>
                    <a:gd name="T97" fmla="*/ 118 h 118"/>
                    <a:gd name="T98" fmla="*/ 4 w 170"/>
                    <a:gd name="T99" fmla="*/ 62 h 118"/>
                    <a:gd name="T100" fmla="*/ 4 w 170"/>
                    <a:gd name="T101" fmla="*/ 60 h 118"/>
                    <a:gd name="T102" fmla="*/ 4 w 170"/>
                    <a:gd name="T103" fmla="*/ 62 h 118"/>
                    <a:gd name="T104" fmla="*/ 4 w 170"/>
                    <a:gd name="T105" fmla="*/ 86 h 118"/>
                    <a:gd name="T106" fmla="*/ 4 w 170"/>
                    <a:gd name="T107" fmla="*/ 86 h 118"/>
                    <a:gd name="T108" fmla="*/ 170 w 170"/>
                    <a:gd name="T109" fmla="*/ 112 h 118"/>
                    <a:gd name="T110" fmla="*/ 164 w 170"/>
                    <a:gd name="T111" fmla="*/ 116 h 118"/>
                    <a:gd name="T112" fmla="*/ 156 w 170"/>
                    <a:gd name="T113" fmla="*/ 116 h 118"/>
                    <a:gd name="T114" fmla="*/ 156 w 170"/>
                    <a:gd name="T115" fmla="*/ 108 h 118"/>
                    <a:gd name="T116" fmla="*/ 160 w 170"/>
                    <a:gd name="T117" fmla="*/ 112 h 118"/>
                    <a:gd name="T118" fmla="*/ 166 w 170"/>
                    <a:gd name="T119" fmla="*/ 108 h 1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70" h="118">
                      <a:moveTo>
                        <a:pt x="66" y="92"/>
                      </a:moveTo>
                      <a:lnTo>
                        <a:pt x="66" y="92"/>
                      </a:lnTo>
                      <a:lnTo>
                        <a:pt x="64" y="92"/>
                      </a:lnTo>
                      <a:lnTo>
                        <a:pt x="64" y="92"/>
                      </a:lnTo>
                      <a:lnTo>
                        <a:pt x="64" y="92"/>
                      </a:lnTo>
                      <a:lnTo>
                        <a:pt x="64" y="92"/>
                      </a:lnTo>
                      <a:lnTo>
                        <a:pt x="64" y="92"/>
                      </a:lnTo>
                      <a:lnTo>
                        <a:pt x="60" y="96"/>
                      </a:lnTo>
                      <a:lnTo>
                        <a:pt x="60" y="96"/>
                      </a:lnTo>
                      <a:lnTo>
                        <a:pt x="56" y="96"/>
                      </a:lnTo>
                      <a:lnTo>
                        <a:pt x="56" y="96"/>
                      </a:lnTo>
                      <a:lnTo>
                        <a:pt x="56" y="96"/>
                      </a:lnTo>
                      <a:lnTo>
                        <a:pt x="52" y="96"/>
                      </a:lnTo>
                      <a:lnTo>
                        <a:pt x="52" y="96"/>
                      </a:lnTo>
                      <a:lnTo>
                        <a:pt x="48" y="96"/>
                      </a:lnTo>
                      <a:lnTo>
                        <a:pt x="48" y="96"/>
                      </a:lnTo>
                      <a:lnTo>
                        <a:pt x="44" y="96"/>
                      </a:lnTo>
                      <a:lnTo>
                        <a:pt x="44" y="96"/>
                      </a:lnTo>
                      <a:lnTo>
                        <a:pt x="44" y="96"/>
                      </a:lnTo>
                      <a:lnTo>
                        <a:pt x="44" y="100"/>
                      </a:lnTo>
                      <a:lnTo>
                        <a:pt x="44" y="100"/>
                      </a:lnTo>
                      <a:lnTo>
                        <a:pt x="44" y="100"/>
                      </a:lnTo>
                      <a:lnTo>
                        <a:pt x="44" y="100"/>
                      </a:lnTo>
                      <a:lnTo>
                        <a:pt x="40" y="100"/>
                      </a:lnTo>
                      <a:lnTo>
                        <a:pt x="40" y="100"/>
                      </a:lnTo>
                      <a:lnTo>
                        <a:pt x="40" y="100"/>
                      </a:lnTo>
                      <a:lnTo>
                        <a:pt x="40" y="104"/>
                      </a:lnTo>
                      <a:lnTo>
                        <a:pt x="40" y="104"/>
                      </a:lnTo>
                      <a:lnTo>
                        <a:pt x="40" y="104"/>
                      </a:lnTo>
                      <a:lnTo>
                        <a:pt x="40" y="104"/>
                      </a:lnTo>
                      <a:lnTo>
                        <a:pt x="38" y="104"/>
                      </a:lnTo>
                      <a:lnTo>
                        <a:pt x="38" y="104"/>
                      </a:lnTo>
                      <a:lnTo>
                        <a:pt x="38" y="104"/>
                      </a:lnTo>
                      <a:lnTo>
                        <a:pt x="38" y="104"/>
                      </a:lnTo>
                      <a:lnTo>
                        <a:pt x="38" y="104"/>
                      </a:lnTo>
                      <a:lnTo>
                        <a:pt x="38" y="108"/>
                      </a:lnTo>
                      <a:lnTo>
                        <a:pt x="38" y="104"/>
                      </a:lnTo>
                      <a:lnTo>
                        <a:pt x="38" y="104"/>
                      </a:lnTo>
                      <a:lnTo>
                        <a:pt x="34" y="108"/>
                      </a:lnTo>
                      <a:lnTo>
                        <a:pt x="34" y="108"/>
                      </a:lnTo>
                      <a:lnTo>
                        <a:pt x="34" y="108"/>
                      </a:lnTo>
                      <a:lnTo>
                        <a:pt x="34" y="108"/>
                      </a:lnTo>
                      <a:lnTo>
                        <a:pt x="34" y="108"/>
                      </a:lnTo>
                      <a:lnTo>
                        <a:pt x="34" y="108"/>
                      </a:lnTo>
                      <a:lnTo>
                        <a:pt x="34" y="108"/>
                      </a:lnTo>
                      <a:lnTo>
                        <a:pt x="34" y="108"/>
                      </a:lnTo>
                      <a:lnTo>
                        <a:pt x="30" y="108"/>
                      </a:lnTo>
                      <a:lnTo>
                        <a:pt x="30" y="108"/>
                      </a:lnTo>
                      <a:lnTo>
                        <a:pt x="30" y="108"/>
                      </a:lnTo>
                      <a:lnTo>
                        <a:pt x="30" y="108"/>
                      </a:lnTo>
                      <a:lnTo>
                        <a:pt x="30" y="108"/>
                      </a:lnTo>
                      <a:lnTo>
                        <a:pt x="30" y="108"/>
                      </a:lnTo>
                      <a:lnTo>
                        <a:pt x="30" y="108"/>
                      </a:lnTo>
                      <a:lnTo>
                        <a:pt x="26" y="108"/>
                      </a:lnTo>
                      <a:lnTo>
                        <a:pt x="26" y="108"/>
                      </a:lnTo>
                      <a:lnTo>
                        <a:pt x="22" y="112"/>
                      </a:lnTo>
                      <a:lnTo>
                        <a:pt x="22" y="108"/>
                      </a:lnTo>
                      <a:lnTo>
                        <a:pt x="22" y="108"/>
                      </a:lnTo>
                      <a:lnTo>
                        <a:pt x="18" y="108"/>
                      </a:lnTo>
                      <a:lnTo>
                        <a:pt x="18" y="108"/>
                      </a:lnTo>
                      <a:lnTo>
                        <a:pt x="14" y="108"/>
                      </a:lnTo>
                      <a:lnTo>
                        <a:pt x="14" y="108"/>
                      </a:lnTo>
                      <a:lnTo>
                        <a:pt x="14" y="108"/>
                      </a:lnTo>
                      <a:lnTo>
                        <a:pt x="14" y="108"/>
                      </a:lnTo>
                      <a:lnTo>
                        <a:pt x="14" y="108"/>
                      </a:lnTo>
                      <a:lnTo>
                        <a:pt x="14" y="108"/>
                      </a:lnTo>
                      <a:lnTo>
                        <a:pt x="14" y="108"/>
                      </a:lnTo>
                      <a:lnTo>
                        <a:pt x="14" y="108"/>
                      </a:lnTo>
                      <a:lnTo>
                        <a:pt x="14" y="108"/>
                      </a:lnTo>
                      <a:lnTo>
                        <a:pt x="14" y="108"/>
                      </a:lnTo>
                      <a:lnTo>
                        <a:pt x="14" y="104"/>
                      </a:lnTo>
                      <a:lnTo>
                        <a:pt x="14" y="100"/>
                      </a:lnTo>
                      <a:lnTo>
                        <a:pt x="10" y="100"/>
                      </a:lnTo>
                      <a:lnTo>
                        <a:pt x="10" y="100"/>
                      </a:lnTo>
                      <a:lnTo>
                        <a:pt x="10" y="96"/>
                      </a:lnTo>
                      <a:lnTo>
                        <a:pt x="10" y="96"/>
                      </a:lnTo>
                      <a:lnTo>
                        <a:pt x="10" y="96"/>
                      </a:lnTo>
                      <a:lnTo>
                        <a:pt x="10" y="92"/>
                      </a:lnTo>
                      <a:lnTo>
                        <a:pt x="10" y="92"/>
                      </a:lnTo>
                      <a:lnTo>
                        <a:pt x="10" y="92"/>
                      </a:lnTo>
                      <a:lnTo>
                        <a:pt x="10" y="92"/>
                      </a:lnTo>
                      <a:lnTo>
                        <a:pt x="10" y="90"/>
                      </a:lnTo>
                      <a:lnTo>
                        <a:pt x="10" y="90"/>
                      </a:lnTo>
                      <a:lnTo>
                        <a:pt x="10" y="90"/>
                      </a:lnTo>
                      <a:lnTo>
                        <a:pt x="10" y="86"/>
                      </a:lnTo>
                      <a:lnTo>
                        <a:pt x="10" y="86"/>
                      </a:lnTo>
                      <a:lnTo>
                        <a:pt x="10" y="86"/>
                      </a:lnTo>
                      <a:lnTo>
                        <a:pt x="10" y="86"/>
                      </a:lnTo>
                      <a:lnTo>
                        <a:pt x="10" y="82"/>
                      </a:lnTo>
                      <a:lnTo>
                        <a:pt x="10" y="82"/>
                      </a:lnTo>
                      <a:lnTo>
                        <a:pt x="8" y="82"/>
                      </a:lnTo>
                      <a:lnTo>
                        <a:pt x="8" y="78"/>
                      </a:lnTo>
                      <a:lnTo>
                        <a:pt x="8" y="74"/>
                      </a:lnTo>
                      <a:lnTo>
                        <a:pt x="8" y="74"/>
                      </a:lnTo>
                      <a:lnTo>
                        <a:pt x="8" y="74"/>
                      </a:lnTo>
                      <a:lnTo>
                        <a:pt x="8" y="70"/>
                      </a:lnTo>
                      <a:lnTo>
                        <a:pt x="8" y="70"/>
                      </a:lnTo>
                      <a:lnTo>
                        <a:pt x="8" y="70"/>
                      </a:lnTo>
                      <a:lnTo>
                        <a:pt x="8" y="70"/>
                      </a:lnTo>
                      <a:lnTo>
                        <a:pt x="8" y="70"/>
                      </a:lnTo>
                      <a:lnTo>
                        <a:pt x="8" y="66"/>
                      </a:lnTo>
                      <a:lnTo>
                        <a:pt x="8" y="66"/>
                      </a:lnTo>
                      <a:lnTo>
                        <a:pt x="4" y="66"/>
                      </a:lnTo>
                      <a:lnTo>
                        <a:pt x="4" y="62"/>
                      </a:lnTo>
                      <a:lnTo>
                        <a:pt x="4" y="62"/>
                      </a:lnTo>
                      <a:lnTo>
                        <a:pt x="4" y="62"/>
                      </a:lnTo>
                      <a:lnTo>
                        <a:pt x="4" y="62"/>
                      </a:lnTo>
                      <a:lnTo>
                        <a:pt x="4" y="62"/>
                      </a:lnTo>
                      <a:lnTo>
                        <a:pt x="4" y="62"/>
                      </a:lnTo>
                      <a:lnTo>
                        <a:pt x="4" y="62"/>
                      </a:lnTo>
                      <a:lnTo>
                        <a:pt x="4" y="62"/>
                      </a:lnTo>
                      <a:lnTo>
                        <a:pt x="4" y="62"/>
                      </a:lnTo>
                      <a:lnTo>
                        <a:pt x="4" y="62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4" y="52"/>
                      </a:lnTo>
                      <a:lnTo>
                        <a:pt x="8" y="52"/>
                      </a:lnTo>
                      <a:lnTo>
                        <a:pt x="8" y="52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4" y="44"/>
                      </a:lnTo>
                      <a:lnTo>
                        <a:pt x="4" y="44"/>
                      </a:lnTo>
                      <a:lnTo>
                        <a:pt x="4" y="44"/>
                      </a:lnTo>
                      <a:lnTo>
                        <a:pt x="8" y="44"/>
                      </a:lnTo>
                      <a:lnTo>
                        <a:pt x="8" y="44"/>
                      </a:lnTo>
                      <a:lnTo>
                        <a:pt x="8" y="40"/>
                      </a:lnTo>
                      <a:lnTo>
                        <a:pt x="8" y="40"/>
                      </a:lnTo>
                      <a:lnTo>
                        <a:pt x="8" y="40"/>
                      </a:lnTo>
                      <a:lnTo>
                        <a:pt x="10" y="40"/>
                      </a:lnTo>
                      <a:lnTo>
                        <a:pt x="10" y="40"/>
                      </a:lnTo>
                      <a:lnTo>
                        <a:pt x="10" y="40"/>
                      </a:lnTo>
                      <a:lnTo>
                        <a:pt x="10" y="36"/>
                      </a:lnTo>
                      <a:lnTo>
                        <a:pt x="10" y="36"/>
                      </a:lnTo>
                      <a:lnTo>
                        <a:pt x="10" y="34"/>
                      </a:lnTo>
                      <a:lnTo>
                        <a:pt x="10" y="30"/>
                      </a:lnTo>
                      <a:lnTo>
                        <a:pt x="10" y="26"/>
                      </a:lnTo>
                      <a:lnTo>
                        <a:pt x="10" y="26"/>
                      </a:lnTo>
                      <a:lnTo>
                        <a:pt x="10" y="26"/>
                      </a:lnTo>
                      <a:lnTo>
                        <a:pt x="10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22" y="30"/>
                      </a:lnTo>
                      <a:lnTo>
                        <a:pt x="22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30" y="26"/>
                      </a:lnTo>
                      <a:lnTo>
                        <a:pt x="30" y="26"/>
                      </a:lnTo>
                      <a:lnTo>
                        <a:pt x="30" y="26"/>
                      </a:lnTo>
                      <a:lnTo>
                        <a:pt x="40" y="26"/>
                      </a:lnTo>
                      <a:lnTo>
                        <a:pt x="40" y="26"/>
                      </a:lnTo>
                      <a:lnTo>
                        <a:pt x="52" y="30"/>
                      </a:lnTo>
                      <a:lnTo>
                        <a:pt x="56" y="30"/>
                      </a:lnTo>
                      <a:lnTo>
                        <a:pt x="60" y="30"/>
                      </a:lnTo>
                      <a:lnTo>
                        <a:pt x="64" y="34"/>
                      </a:lnTo>
                      <a:lnTo>
                        <a:pt x="66" y="34"/>
                      </a:lnTo>
                      <a:lnTo>
                        <a:pt x="70" y="34"/>
                      </a:lnTo>
                      <a:lnTo>
                        <a:pt x="70" y="34"/>
                      </a:lnTo>
                      <a:lnTo>
                        <a:pt x="74" y="26"/>
                      </a:lnTo>
                      <a:lnTo>
                        <a:pt x="78" y="22"/>
                      </a:lnTo>
                      <a:lnTo>
                        <a:pt x="82" y="14"/>
                      </a:lnTo>
                      <a:lnTo>
                        <a:pt x="94" y="4"/>
                      </a:lnTo>
                      <a:lnTo>
                        <a:pt x="120" y="4"/>
                      </a:lnTo>
                      <a:lnTo>
                        <a:pt x="122" y="0"/>
                      </a:lnTo>
                      <a:lnTo>
                        <a:pt x="134" y="0"/>
                      </a:lnTo>
                      <a:lnTo>
                        <a:pt x="144" y="26"/>
                      </a:lnTo>
                      <a:lnTo>
                        <a:pt x="144" y="30"/>
                      </a:lnTo>
                      <a:lnTo>
                        <a:pt x="152" y="40"/>
                      </a:lnTo>
                      <a:lnTo>
                        <a:pt x="148" y="40"/>
                      </a:lnTo>
                      <a:lnTo>
                        <a:pt x="148" y="40"/>
                      </a:lnTo>
                      <a:lnTo>
                        <a:pt x="148" y="40"/>
                      </a:lnTo>
                      <a:lnTo>
                        <a:pt x="148" y="40"/>
                      </a:lnTo>
                      <a:lnTo>
                        <a:pt x="148" y="40"/>
                      </a:lnTo>
                      <a:lnTo>
                        <a:pt x="144" y="40"/>
                      </a:lnTo>
                      <a:lnTo>
                        <a:pt x="144" y="40"/>
                      </a:lnTo>
                      <a:lnTo>
                        <a:pt x="144" y="40"/>
                      </a:lnTo>
                      <a:lnTo>
                        <a:pt x="144" y="40"/>
                      </a:lnTo>
                      <a:lnTo>
                        <a:pt x="140" y="44"/>
                      </a:lnTo>
                      <a:lnTo>
                        <a:pt x="140" y="44"/>
                      </a:lnTo>
                      <a:lnTo>
                        <a:pt x="140" y="44"/>
                      </a:lnTo>
                      <a:lnTo>
                        <a:pt x="140" y="44"/>
                      </a:lnTo>
                      <a:lnTo>
                        <a:pt x="140" y="44"/>
                      </a:lnTo>
                      <a:lnTo>
                        <a:pt x="136" y="44"/>
                      </a:lnTo>
                      <a:lnTo>
                        <a:pt x="136" y="48"/>
                      </a:lnTo>
                      <a:lnTo>
                        <a:pt x="136" y="52"/>
                      </a:lnTo>
                      <a:lnTo>
                        <a:pt x="136" y="52"/>
                      </a:lnTo>
                      <a:lnTo>
                        <a:pt x="136" y="56"/>
                      </a:lnTo>
                      <a:lnTo>
                        <a:pt x="136" y="56"/>
                      </a:lnTo>
                      <a:lnTo>
                        <a:pt x="136" y="60"/>
                      </a:lnTo>
                      <a:lnTo>
                        <a:pt x="134" y="60"/>
                      </a:lnTo>
                      <a:lnTo>
                        <a:pt x="134" y="60"/>
                      </a:lnTo>
                      <a:lnTo>
                        <a:pt x="130" y="60"/>
                      </a:lnTo>
                      <a:lnTo>
                        <a:pt x="130" y="62"/>
                      </a:lnTo>
                      <a:lnTo>
                        <a:pt x="130" y="62"/>
                      </a:lnTo>
                      <a:lnTo>
                        <a:pt x="130" y="62"/>
                      </a:lnTo>
                      <a:lnTo>
                        <a:pt x="126" y="62"/>
                      </a:lnTo>
                      <a:lnTo>
                        <a:pt x="126" y="62"/>
                      </a:lnTo>
                      <a:lnTo>
                        <a:pt x="122" y="66"/>
                      </a:lnTo>
                      <a:lnTo>
                        <a:pt x="122" y="66"/>
                      </a:lnTo>
                      <a:lnTo>
                        <a:pt x="122" y="66"/>
                      </a:lnTo>
                      <a:lnTo>
                        <a:pt x="122" y="66"/>
                      </a:lnTo>
                      <a:lnTo>
                        <a:pt x="120" y="66"/>
                      </a:lnTo>
                      <a:lnTo>
                        <a:pt x="120" y="66"/>
                      </a:lnTo>
                      <a:lnTo>
                        <a:pt x="116" y="66"/>
                      </a:lnTo>
                      <a:lnTo>
                        <a:pt x="116" y="66"/>
                      </a:lnTo>
                      <a:lnTo>
                        <a:pt x="116" y="66"/>
                      </a:lnTo>
                      <a:lnTo>
                        <a:pt x="116" y="66"/>
                      </a:lnTo>
                      <a:lnTo>
                        <a:pt x="112" y="66"/>
                      </a:lnTo>
                      <a:lnTo>
                        <a:pt x="112" y="66"/>
                      </a:lnTo>
                      <a:lnTo>
                        <a:pt x="108" y="70"/>
                      </a:lnTo>
                      <a:lnTo>
                        <a:pt x="108" y="70"/>
                      </a:lnTo>
                      <a:lnTo>
                        <a:pt x="108" y="70"/>
                      </a:lnTo>
                      <a:lnTo>
                        <a:pt x="108" y="70"/>
                      </a:lnTo>
                      <a:lnTo>
                        <a:pt x="104" y="70"/>
                      </a:lnTo>
                      <a:lnTo>
                        <a:pt x="100" y="74"/>
                      </a:lnTo>
                      <a:lnTo>
                        <a:pt x="100" y="74"/>
                      </a:lnTo>
                      <a:lnTo>
                        <a:pt x="96" y="74"/>
                      </a:lnTo>
                      <a:lnTo>
                        <a:pt x="94" y="78"/>
                      </a:lnTo>
                      <a:lnTo>
                        <a:pt x="94" y="78"/>
                      </a:lnTo>
                      <a:lnTo>
                        <a:pt x="94" y="78"/>
                      </a:lnTo>
                      <a:lnTo>
                        <a:pt x="94" y="78"/>
                      </a:lnTo>
                      <a:lnTo>
                        <a:pt x="94" y="78"/>
                      </a:lnTo>
                      <a:lnTo>
                        <a:pt x="94" y="82"/>
                      </a:lnTo>
                      <a:lnTo>
                        <a:pt x="90" y="82"/>
                      </a:lnTo>
                      <a:lnTo>
                        <a:pt x="90" y="86"/>
                      </a:lnTo>
                      <a:lnTo>
                        <a:pt x="90" y="86"/>
                      </a:lnTo>
                      <a:lnTo>
                        <a:pt x="90" y="86"/>
                      </a:lnTo>
                      <a:lnTo>
                        <a:pt x="86" y="86"/>
                      </a:lnTo>
                      <a:lnTo>
                        <a:pt x="86" y="86"/>
                      </a:lnTo>
                      <a:lnTo>
                        <a:pt x="86" y="86"/>
                      </a:lnTo>
                      <a:lnTo>
                        <a:pt x="82" y="86"/>
                      </a:lnTo>
                      <a:lnTo>
                        <a:pt x="82" y="86"/>
                      </a:lnTo>
                      <a:lnTo>
                        <a:pt x="82" y="86"/>
                      </a:lnTo>
                      <a:lnTo>
                        <a:pt x="82" y="86"/>
                      </a:lnTo>
                      <a:lnTo>
                        <a:pt x="82" y="86"/>
                      </a:lnTo>
                      <a:lnTo>
                        <a:pt x="78" y="86"/>
                      </a:lnTo>
                      <a:lnTo>
                        <a:pt x="78" y="86"/>
                      </a:lnTo>
                      <a:lnTo>
                        <a:pt x="78" y="86"/>
                      </a:lnTo>
                      <a:lnTo>
                        <a:pt x="78" y="86"/>
                      </a:lnTo>
                      <a:lnTo>
                        <a:pt x="78" y="86"/>
                      </a:lnTo>
                      <a:lnTo>
                        <a:pt x="78" y="86"/>
                      </a:lnTo>
                      <a:lnTo>
                        <a:pt x="78" y="86"/>
                      </a:lnTo>
                      <a:lnTo>
                        <a:pt x="78" y="86"/>
                      </a:lnTo>
                      <a:lnTo>
                        <a:pt x="78" y="86"/>
                      </a:lnTo>
                      <a:lnTo>
                        <a:pt x="74" y="86"/>
                      </a:lnTo>
                      <a:lnTo>
                        <a:pt x="74" y="86"/>
                      </a:lnTo>
                      <a:lnTo>
                        <a:pt x="74" y="86"/>
                      </a:lnTo>
                      <a:lnTo>
                        <a:pt x="74" y="90"/>
                      </a:lnTo>
                      <a:lnTo>
                        <a:pt x="74" y="90"/>
                      </a:lnTo>
                      <a:lnTo>
                        <a:pt x="74" y="90"/>
                      </a:lnTo>
                      <a:lnTo>
                        <a:pt x="74" y="90"/>
                      </a:lnTo>
                      <a:lnTo>
                        <a:pt x="70" y="90"/>
                      </a:lnTo>
                      <a:lnTo>
                        <a:pt x="70" y="92"/>
                      </a:lnTo>
                      <a:lnTo>
                        <a:pt x="70" y="92"/>
                      </a:lnTo>
                      <a:lnTo>
                        <a:pt x="70" y="92"/>
                      </a:lnTo>
                      <a:lnTo>
                        <a:pt x="66" y="92"/>
                      </a:lnTo>
                      <a:lnTo>
                        <a:pt x="66" y="92"/>
                      </a:lnTo>
                      <a:lnTo>
                        <a:pt x="66" y="92"/>
                      </a:lnTo>
                      <a:lnTo>
                        <a:pt x="66" y="92"/>
                      </a:lnTo>
                      <a:close/>
                      <a:moveTo>
                        <a:pt x="140" y="118"/>
                      </a:moveTo>
                      <a:lnTo>
                        <a:pt x="136" y="118"/>
                      </a:lnTo>
                      <a:lnTo>
                        <a:pt x="136" y="118"/>
                      </a:lnTo>
                      <a:lnTo>
                        <a:pt x="136" y="116"/>
                      </a:lnTo>
                      <a:lnTo>
                        <a:pt x="136" y="116"/>
                      </a:lnTo>
                      <a:lnTo>
                        <a:pt x="136" y="116"/>
                      </a:lnTo>
                      <a:lnTo>
                        <a:pt x="136" y="116"/>
                      </a:lnTo>
                      <a:lnTo>
                        <a:pt x="136" y="116"/>
                      </a:lnTo>
                      <a:lnTo>
                        <a:pt x="136" y="116"/>
                      </a:lnTo>
                      <a:lnTo>
                        <a:pt x="136" y="116"/>
                      </a:lnTo>
                      <a:lnTo>
                        <a:pt x="136" y="116"/>
                      </a:lnTo>
                      <a:lnTo>
                        <a:pt x="136" y="116"/>
                      </a:lnTo>
                      <a:lnTo>
                        <a:pt x="136" y="116"/>
                      </a:lnTo>
                      <a:lnTo>
                        <a:pt x="136" y="116"/>
                      </a:lnTo>
                      <a:lnTo>
                        <a:pt x="136" y="116"/>
                      </a:lnTo>
                      <a:lnTo>
                        <a:pt x="136" y="116"/>
                      </a:lnTo>
                      <a:lnTo>
                        <a:pt x="136" y="116"/>
                      </a:lnTo>
                      <a:lnTo>
                        <a:pt x="136" y="116"/>
                      </a:lnTo>
                      <a:lnTo>
                        <a:pt x="140" y="116"/>
                      </a:lnTo>
                      <a:lnTo>
                        <a:pt x="140" y="116"/>
                      </a:lnTo>
                      <a:lnTo>
                        <a:pt x="140" y="118"/>
                      </a:lnTo>
                      <a:lnTo>
                        <a:pt x="140" y="118"/>
                      </a:lnTo>
                      <a:lnTo>
                        <a:pt x="140" y="118"/>
                      </a:lnTo>
                      <a:lnTo>
                        <a:pt x="140" y="118"/>
                      </a:lnTo>
                      <a:lnTo>
                        <a:pt x="140" y="118"/>
                      </a:lnTo>
                      <a:close/>
                      <a:moveTo>
                        <a:pt x="4" y="62"/>
                      </a:moveTo>
                      <a:lnTo>
                        <a:pt x="4" y="62"/>
                      </a:lnTo>
                      <a:lnTo>
                        <a:pt x="4" y="62"/>
                      </a:lnTo>
                      <a:lnTo>
                        <a:pt x="0" y="62"/>
                      </a:lnTo>
                      <a:lnTo>
                        <a:pt x="4" y="62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62"/>
                      </a:lnTo>
                      <a:lnTo>
                        <a:pt x="4" y="62"/>
                      </a:lnTo>
                      <a:lnTo>
                        <a:pt x="4" y="62"/>
                      </a:lnTo>
                      <a:lnTo>
                        <a:pt x="4" y="62"/>
                      </a:lnTo>
                      <a:lnTo>
                        <a:pt x="4" y="62"/>
                      </a:lnTo>
                      <a:lnTo>
                        <a:pt x="4" y="62"/>
                      </a:lnTo>
                      <a:lnTo>
                        <a:pt x="4" y="62"/>
                      </a:lnTo>
                      <a:close/>
                      <a:moveTo>
                        <a:pt x="4" y="86"/>
                      </a:moveTo>
                      <a:lnTo>
                        <a:pt x="4" y="86"/>
                      </a:lnTo>
                      <a:lnTo>
                        <a:pt x="4" y="86"/>
                      </a:lnTo>
                      <a:lnTo>
                        <a:pt x="4" y="86"/>
                      </a:lnTo>
                      <a:lnTo>
                        <a:pt x="4" y="86"/>
                      </a:lnTo>
                      <a:lnTo>
                        <a:pt x="4" y="86"/>
                      </a:lnTo>
                      <a:lnTo>
                        <a:pt x="4" y="86"/>
                      </a:lnTo>
                      <a:lnTo>
                        <a:pt x="4" y="86"/>
                      </a:lnTo>
                      <a:lnTo>
                        <a:pt x="4" y="86"/>
                      </a:lnTo>
                      <a:lnTo>
                        <a:pt x="4" y="86"/>
                      </a:lnTo>
                      <a:lnTo>
                        <a:pt x="4" y="86"/>
                      </a:lnTo>
                      <a:lnTo>
                        <a:pt x="4" y="86"/>
                      </a:lnTo>
                      <a:lnTo>
                        <a:pt x="4" y="86"/>
                      </a:lnTo>
                      <a:close/>
                      <a:moveTo>
                        <a:pt x="166" y="108"/>
                      </a:moveTo>
                      <a:lnTo>
                        <a:pt x="166" y="108"/>
                      </a:lnTo>
                      <a:lnTo>
                        <a:pt x="170" y="112"/>
                      </a:lnTo>
                      <a:lnTo>
                        <a:pt x="170" y="112"/>
                      </a:lnTo>
                      <a:lnTo>
                        <a:pt x="166" y="112"/>
                      </a:lnTo>
                      <a:lnTo>
                        <a:pt x="166" y="112"/>
                      </a:lnTo>
                      <a:lnTo>
                        <a:pt x="166" y="116"/>
                      </a:lnTo>
                      <a:lnTo>
                        <a:pt x="164" y="116"/>
                      </a:lnTo>
                      <a:lnTo>
                        <a:pt x="164" y="116"/>
                      </a:lnTo>
                      <a:lnTo>
                        <a:pt x="164" y="116"/>
                      </a:lnTo>
                      <a:lnTo>
                        <a:pt x="160" y="116"/>
                      </a:lnTo>
                      <a:lnTo>
                        <a:pt x="160" y="116"/>
                      </a:lnTo>
                      <a:lnTo>
                        <a:pt x="160" y="116"/>
                      </a:lnTo>
                      <a:lnTo>
                        <a:pt x="156" y="116"/>
                      </a:lnTo>
                      <a:lnTo>
                        <a:pt x="156" y="116"/>
                      </a:lnTo>
                      <a:lnTo>
                        <a:pt x="156" y="112"/>
                      </a:lnTo>
                      <a:lnTo>
                        <a:pt x="152" y="112"/>
                      </a:lnTo>
                      <a:lnTo>
                        <a:pt x="156" y="112"/>
                      </a:lnTo>
                      <a:lnTo>
                        <a:pt x="156" y="112"/>
                      </a:lnTo>
                      <a:lnTo>
                        <a:pt x="156" y="112"/>
                      </a:lnTo>
                      <a:lnTo>
                        <a:pt x="156" y="108"/>
                      </a:lnTo>
                      <a:lnTo>
                        <a:pt x="156" y="108"/>
                      </a:lnTo>
                      <a:lnTo>
                        <a:pt x="156" y="108"/>
                      </a:lnTo>
                      <a:lnTo>
                        <a:pt x="160" y="108"/>
                      </a:lnTo>
                      <a:lnTo>
                        <a:pt x="160" y="108"/>
                      </a:lnTo>
                      <a:lnTo>
                        <a:pt x="160" y="108"/>
                      </a:lnTo>
                      <a:lnTo>
                        <a:pt x="160" y="112"/>
                      </a:lnTo>
                      <a:lnTo>
                        <a:pt x="164" y="108"/>
                      </a:lnTo>
                      <a:lnTo>
                        <a:pt x="164" y="108"/>
                      </a:lnTo>
                      <a:lnTo>
                        <a:pt x="164" y="108"/>
                      </a:lnTo>
                      <a:lnTo>
                        <a:pt x="164" y="108"/>
                      </a:lnTo>
                      <a:lnTo>
                        <a:pt x="164" y="108"/>
                      </a:lnTo>
                      <a:lnTo>
                        <a:pt x="166" y="108"/>
                      </a:lnTo>
                      <a:lnTo>
                        <a:pt x="166" y="108"/>
                      </a:lnTo>
                      <a:lnTo>
                        <a:pt x="166" y="108"/>
                      </a:lnTo>
                      <a:lnTo>
                        <a:pt x="166" y="10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Freeform 65"/>
                <p:cNvSpPr>
                  <a:spLocks/>
                </p:cNvSpPr>
                <p:nvPr/>
              </p:nvSpPr>
              <p:spPr bwMode="auto">
                <a:xfrm>
                  <a:off x="2819400" y="4213293"/>
                  <a:ext cx="6350" cy="6350"/>
                </a:xfrm>
                <a:custGeom>
                  <a:avLst/>
                  <a:gdLst>
                    <a:gd name="T0" fmla="*/ 4 w 4"/>
                    <a:gd name="T1" fmla="*/ 4 h 4"/>
                    <a:gd name="T2" fmla="*/ 4 w 4"/>
                    <a:gd name="T3" fmla="*/ 4 h 4"/>
                    <a:gd name="T4" fmla="*/ 0 w 4"/>
                    <a:gd name="T5" fmla="*/ 4 h 4"/>
                    <a:gd name="T6" fmla="*/ 0 w 4"/>
                    <a:gd name="T7" fmla="*/ 0 h 4"/>
                    <a:gd name="T8" fmla="*/ 0 w 4"/>
                    <a:gd name="T9" fmla="*/ 0 h 4"/>
                    <a:gd name="T10" fmla="*/ 4 w 4"/>
                    <a:gd name="T11" fmla="*/ 4 h 4"/>
                    <a:gd name="T12" fmla="*/ 4 w 4"/>
                    <a:gd name="T13" fmla="*/ 4 h 4"/>
                    <a:gd name="T14" fmla="*/ 4 w 4"/>
                    <a:gd name="T15" fmla="*/ 4 h 4"/>
                    <a:gd name="T16" fmla="*/ 4 w 4"/>
                    <a:gd name="T17" fmla="*/ 4 h 4"/>
                    <a:gd name="T18" fmla="*/ 4 w 4"/>
                    <a:gd name="T19" fmla="*/ 4 h 4"/>
                    <a:gd name="T20" fmla="*/ 4 w 4"/>
                    <a:gd name="T21" fmla="*/ 4 h 4"/>
                    <a:gd name="T22" fmla="*/ 4 w 4"/>
                    <a:gd name="T23" fmla="*/ 4 h 4"/>
                    <a:gd name="T24" fmla="*/ 4 w 4"/>
                    <a:gd name="T25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4" h="4">
                      <a:moveTo>
                        <a:pt x="4" y="4"/>
                      </a:moveTo>
                      <a:lnTo>
                        <a:pt x="4" y="4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27" name="Freeform 66"/>
                <p:cNvSpPr>
                  <a:spLocks noEditPoints="1"/>
                </p:cNvSpPr>
                <p:nvPr/>
              </p:nvSpPr>
              <p:spPr bwMode="auto">
                <a:xfrm>
                  <a:off x="2390775" y="4054543"/>
                  <a:ext cx="31750" cy="69850"/>
                </a:xfrm>
                <a:custGeom>
                  <a:avLst/>
                  <a:gdLst>
                    <a:gd name="T0" fmla="*/ 14 w 20"/>
                    <a:gd name="T1" fmla="*/ 0 h 44"/>
                    <a:gd name="T2" fmla="*/ 14 w 20"/>
                    <a:gd name="T3" fmla="*/ 4 h 44"/>
                    <a:gd name="T4" fmla="*/ 16 w 20"/>
                    <a:gd name="T5" fmla="*/ 4 h 44"/>
                    <a:gd name="T6" fmla="*/ 16 w 20"/>
                    <a:gd name="T7" fmla="*/ 4 h 44"/>
                    <a:gd name="T8" fmla="*/ 16 w 20"/>
                    <a:gd name="T9" fmla="*/ 6 h 44"/>
                    <a:gd name="T10" fmla="*/ 14 w 20"/>
                    <a:gd name="T11" fmla="*/ 10 h 44"/>
                    <a:gd name="T12" fmla="*/ 14 w 20"/>
                    <a:gd name="T13" fmla="*/ 10 h 44"/>
                    <a:gd name="T14" fmla="*/ 14 w 20"/>
                    <a:gd name="T15" fmla="*/ 10 h 44"/>
                    <a:gd name="T16" fmla="*/ 14 w 20"/>
                    <a:gd name="T17" fmla="*/ 14 h 44"/>
                    <a:gd name="T18" fmla="*/ 14 w 20"/>
                    <a:gd name="T19" fmla="*/ 14 h 44"/>
                    <a:gd name="T20" fmla="*/ 14 w 20"/>
                    <a:gd name="T21" fmla="*/ 14 h 44"/>
                    <a:gd name="T22" fmla="*/ 14 w 20"/>
                    <a:gd name="T23" fmla="*/ 18 h 44"/>
                    <a:gd name="T24" fmla="*/ 14 w 20"/>
                    <a:gd name="T25" fmla="*/ 22 h 44"/>
                    <a:gd name="T26" fmla="*/ 14 w 20"/>
                    <a:gd name="T27" fmla="*/ 22 h 44"/>
                    <a:gd name="T28" fmla="*/ 14 w 20"/>
                    <a:gd name="T29" fmla="*/ 22 h 44"/>
                    <a:gd name="T30" fmla="*/ 14 w 20"/>
                    <a:gd name="T31" fmla="*/ 26 h 44"/>
                    <a:gd name="T32" fmla="*/ 14 w 20"/>
                    <a:gd name="T33" fmla="*/ 26 h 44"/>
                    <a:gd name="T34" fmla="*/ 14 w 20"/>
                    <a:gd name="T35" fmla="*/ 26 h 44"/>
                    <a:gd name="T36" fmla="*/ 14 w 20"/>
                    <a:gd name="T37" fmla="*/ 28 h 44"/>
                    <a:gd name="T38" fmla="*/ 14 w 20"/>
                    <a:gd name="T39" fmla="*/ 32 h 44"/>
                    <a:gd name="T40" fmla="*/ 14 w 20"/>
                    <a:gd name="T41" fmla="*/ 32 h 44"/>
                    <a:gd name="T42" fmla="*/ 14 w 20"/>
                    <a:gd name="T43" fmla="*/ 32 h 44"/>
                    <a:gd name="T44" fmla="*/ 10 w 20"/>
                    <a:gd name="T45" fmla="*/ 36 h 44"/>
                    <a:gd name="T46" fmla="*/ 6 w 20"/>
                    <a:gd name="T47" fmla="*/ 40 h 44"/>
                    <a:gd name="T48" fmla="*/ 6 w 20"/>
                    <a:gd name="T49" fmla="*/ 40 h 44"/>
                    <a:gd name="T50" fmla="*/ 6 w 20"/>
                    <a:gd name="T51" fmla="*/ 44 h 44"/>
                    <a:gd name="T52" fmla="*/ 6 w 20"/>
                    <a:gd name="T53" fmla="*/ 44 h 44"/>
                    <a:gd name="T54" fmla="*/ 2 w 20"/>
                    <a:gd name="T55" fmla="*/ 44 h 44"/>
                    <a:gd name="T56" fmla="*/ 0 w 20"/>
                    <a:gd name="T57" fmla="*/ 44 h 44"/>
                    <a:gd name="T58" fmla="*/ 0 w 20"/>
                    <a:gd name="T59" fmla="*/ 40 h 44"/>
                    <a:gd name="T60" fmla="*/ 2 w 20"/>
                    <a:gd name="T61" fmla="*/ 26 h 44"/>
                    <a:gd name="T62" fmla="*/ 2 w 20"/>
                    <a:gd name="T63" fmla="*/ 14 h 44"/>
                    <a:gd name="T64" fmla="*/ 2 w 20"/>
                    <a:gd name="T65" fmla="*/ 10 h 44"/>
                    <a:gd name="T66" fmla="*/ 2 w 20"/>
                    <a:gd name="T67" fmla="*/ 6 h 44"/>
                    <a:gd name="T68" fmla="*/ 2 w 20"/>
                    <a:gd name="T69" fmla="*/ 6 h 44"/>
                    <a:gd name="T70" fmla="*/ 6 w 20"/>
                    <a:gd name="T71" fmla="*/ 10 h 44"/>
                    <a:gd name="T72" fmla="*/ 6 w 20"/>
                    <a:gd name="T73" fmla="*/ 6 h 44"/>
                    <a:gd name="T74" fmla="*/ 6 w 20"/>
                    <a:gd name="T75" fmla="*/ 6 h 44"/>
                    <a:gd name="T76" fmla="*/ 10 w 20"/>
                    <a:gd name="T77" fmla="*/ 4 h 44"/>
                    <a:gd name="T78" fmla="*/ 10 w 20"/>
                    <a:gd name="T79" fmla="*/ 0 h 44"/>
                    <a:gd name="T80" fmla="*/ 10 w 20"/>
                    <a:gd name="T81" fmla="*/ 0 h 44"/>
                    <a:gd name="T82" fmla="*/ 14 w 20"/>
                    <a:gd name="T83" fmla="*/ 0 h 44"/>
                    <a:gd name="T84" fmla="*/ 14 w 20"/>
                    <a:gd name="T85" fmla="*/ 0 h 44"/>
                    <a:gd name="T86" fmla="*/ 14 w 20"/>
                    <a:gd name="T87" fmla="*/ 0 h 44"/>
                    <a:gd name="T88" fmla="*/ 16 w 20"/>
                    <a:gd name="T89" fmla="*/ 6 h 44"/>
                    <a:gd name="T90" fmla="*/ 16 w 20"/>
                    <a:gd name="T91" fmla="*/ 10 h 44"/>
                    <a:gd name="T92" fmla="*/ 16 w 20"/>
                    <a:gd name="T93" fmla="*/ 10 h 44"/>
                    <a:gd name="T94" fmla="*/ 16 w 20"/>
                    <a:gd name="T95" fmla="*/ 10 h 44"/>
                    <a:gd name="T96" fmla="*/ 16 w 20"/>
                    <a:gd name="T97" fmla="*/ 10 h 44"/>
                    <a:gd name="T98" fmla="*/ 20 w 20"/>
                    <a:gd name="T99" fmla="*/ 6 h 44"/>
                    <a:gd name="T100" fmla="*/ 20 w 20"/>
                    <a:gd name="T101" fmla="*/ 6 h 44"/>
                    <a:gd name="T102" fmla="*/ 16 w 20"/>
                    <a:gd name="T103" fmla="*/ 6 h 44"/>
                    <a:gd name="T104" fmla="*/ 16 w 20"/>
                    <a:gd name="T105" fmla="*/ 6 h 44"/>
                    <a:gd name="T106" fmla="*/ 16 w 20"/>
                    <a:gd name="T107" fmla="*/ 22 h 44"/>
                    <a:gd name="T108" fmla="*/ 16 w 20"/>
                    <a:gd name="T109" fmla="*/ 22 h 44"/>
                    <a:gd name="T110" fmla="*/ 20 w 20"/>
                    <a:gd name="T111" fmla="*/ 14 h 44"/>
                    <a:gd name="T112" fmla="*/ 20 w 20"/>
                    <a:gd name="T113" fmla="*/ 18 h 44"/>
                    <a:gd name="T114" fmla="*/ 20 w 20"/>
                    <a:gd name="T115" fmla="*/ 18 h 44"/>
                    <a:gd name="T116" fmla="*/ 20 w 20"/>
                    <a:gd name="T117" fmla="*/ 18 h 44"/>
                    <a:gd name="T118" fmla="*/ 20 w 20"/>
                    <a:gd name="T119" fmla="*/ 18 h 44"/>
                    <a:gd name="T120" fmla="*/ 16 w 20"/>
                    <a:gd name="T121" fmla="*/ 18 h 44"/>
                    <a:gd name="T122" fmla="*/ 16 w 20"/>
                    <a:gd name="T123" fmla="*/ 22 h 44"/>
                    <a:gd name="T124" fmla="*/ 16 w 20"/>
                    <a:gd name="T125" fmla="*/ 22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0" h="44">
                      <a:moveTo>
                        <a:pt x="14" y="0"/>
                      </a:move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6"/>
                      </a:lnTo>
                      <a:lnTo>
                        <a:pt x="16" y="6"/>
                      </a:lnTo>
                      <a:lnTo>
                        <a:pt x="14" y="10"/>
                      </a:lnTo>
                      <a:lnTo>
                        <a:pt x="14" y="10"/>
                      </a:lnTo>
                      <a:lnTo>
                        <a:pt x="14" y="10"/>
                      </a:lnTo>
                      <a:lnTo>
                        <a:pt x="14" y="10"/>
                      </a:lnTo>
                      <a:lnTo>
                        <a:pt x="14" y="10"/>
                      </a:lnTo>
                      <a:lnTo>
                        <a:pt x="14" y="10"/>
                      </a:lnTo>
                      <a:lnTo>
                        <a:pt x="14" y="14"/>
                      </a:lnTo>
                      <a:lnTo>
                        <a:pt x="14" y="14"/>
                      </a:lnTo>
                      <a:lnTo>
                        <a:pt x="14" y="14"/>
                      </a:lnTo>
                      <a:lnTo>
                        <a:pt x="14" y="14"/>
                      </a:lnTo>
                      <a:lnTo>
                        <a:pt x="14" y="14"/>
                      </a:lnTo>
                      <a:lnTo>
                        <a:pt x="14" y="14"/>
                      </a:lnTo>
                      <a:lnTo>
                        <a:pt x="14" y="18"/>
                      </a:lnTo>
                      <a:lnTo>
                        <a:pt x="14" y="18"/>
                      </a:lnTo>
                      <a:lnTo>
                        <a:pt x="14" y="18"/>
                      </a:lnTo>
                      <a:lnTo>
                        <a:pt x="14" y="22"/>
                      </a:lnTo>
                      <a:lnTo>
                        <a:pt x="14" y="22"/>
                      </a:lnTo>
                      <a:lnTo>
                        <a:pt x="14" y="22"/>
                      </a:lnTo>
                      <a:lnTo>
                        <a:pt x="14" y="22"/>
                      </a:lnTo>
                      <a:lnTo>
                        <a:pt x="14" y="22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8"/>
                      </a:lnTo>
                      <a:lnTo>
                        <a:pt x="14" y="28"/>
                      </a:lnTo>
                      <a:lnTo>
                        <a:pt x="14" y="32"/>
                      </a:lnTo>
                      <a:lnTo>
                        <a:pt x="14" y="32"/>
                      </a:lnTo>
                      <a:lnTo>
                        <a:pt x="14" y="32"/>
                      </a:lnTo>
                      <a:lnTo>
                        <a:pt x="14" y="32"/>
                      </a:lnTo>
                      <a:lnTo>
                        <a:pt x="14" y="32"/>
                      </a:lnTo>
                      <a:lnTo>
                        <a:pt x="14" y="32"/>
                      </a:lnTo>
                      <a:lnTo>
                        <a:pt x="14" y="32"/>
                      </a:lnTo>
                      <a:lnTo>
                        <a:pt x="10" y="36"/>
                      </a:lnTo>
                      <a:lnTo>
                        <a:pt x="10" y="36"/>
                      </a:lnTo>
                      <a:lnTo>
                        <a:pt x="6" y="40"/>
                      </a:lnTo>
                      <a:lnTo>
                        <a:pt x="6" y="40"/>
                      </a:lnTo>
                      <a:lnTo>
                        <a:pt x="6" y="40"/>
                      </a:lnTo>
                      <a:lnTo>
                        <a:pt x="6" y="40"/>
                      </a:lnTo>
                      <a:lnTo>
                        <a:pt x="6" y="44"/>
                      </a:lnTo>
                      <a:lnTo>
                        <a:pt x="6" y="44"/>
                      </a:lnTo>
                      <a:lnTo>
                        <a:pt x="6" y="44"/>
                      </a:lnTo>
                      <a:lnTo>
                        <a:pt x="2" y="44"/>
                      </a:lnTo>
                      <a:lnTo>
                        <a:pt x="2" y="44"/>
                      </a:lnTo>
                      <a:lnTo>
                        <a:pt x="2" y="44"/>
                      </a:lnTo>
                      <a:lnTo>
                        <a:pt x="0" y="44"/>
                      </a:lnTo>
                      <a:lnTo>
                        <a:pt x="0" y="44"/>
                      </a:lnTo>
                      <a:lnTo>
                        <a:pt x="0" y="40"/>
                      </a:lnTo>
                      <a:lnTo>
                        <a:pt x="2" y="36"/>
                      </a:lnTo>
                      <a:lnTo>
                        <a:pt x="2" y="26"/>
                      </a:lnTo>
                      <a:lnTo>
                        <a:pt x="2" y="18"/>
                      </a:lnTo>
                      <a:lnTo>
                        <a:pt x="2" y="14"/>
                      </a:lnTo>
                      <a:lnTo>
                        <a:pt x="2" y="10"/>
                      </a:lnTo>
                      <a:lnTo>
                        <a:pt x="2" y="10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10"/>
                      </a:lnTo>
                      <a:lnTo>
                        <a:pt x="6" y="10"/>
                      </a:lnTo>
                      <a:lnTo>
                        <a:pt x="6" y="10"/>
                      </a:lnTo>
                      <a:lnTo>
                        <a:pt x="6" y="6"/>
                      </a:lnTo>
                      <a:lnTo>
                        <a:pt x="6" y="6"/>
                      </a:lnTo>
                      <a:lnTo>
                        <a:pt x="6" y="6"/>
                      </a:lnTo>
                      <a:lnTo>
                        <a:pt x="6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close/>
                      <a:moveTo>
                        <a:pt x="16" y="6"/>
                      </a:moveTo>
                      <a:lnTo>
                        <a:pt x="16" y="6"/>
                      </a:lnTo>
                      <a:lnTo>
                        <a:pt x="16" y="6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6" y="6"/>
                      </a:lnTo>
                      <a:lnTo>
                        <a:pt x="20" y="6"/>
                      </a:lnTo>
                      <a:lnTo>
                        <a:pt x="20" y="6"/>
                      </a:lnTo>
                      <a:lnTo>
                        <a:pt x="20" y="6"/>
                      </a:lnTo>
                      <a:lnTo>
                        <a:pt x="16" y="6"/>
                      </a:lnTo>
                      <a:lnTo>
                        <a:pt x="16" y="6"/>
                      </a:lnTo>
                      <a:lnTo>
                        <a:pt x="16" y="6"/>
                      </a:lnTo>
                      <a:lnTo>
                        <a:pt x="16" y="6"/>
                      </a:lnTo>
                      <a:close/>
                      <a:moveTo>
                        <a:pt x="16" y="22"/>
                      </a:move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18"/>
                      </a:lnTo>
                      <a:lnTo>
                        <a:pt x="20" y="14"/>
                      </a:lnTo>
                      <a:lnTo>
                        <a:pt x="20" y="14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28" name="Freeform 67"/>
                <p:cNvSpPr>
                  <a:spLocks/>
                </p:cNvSpPr>
                <p:nvPr/>
              </p:nvSpPr>
              <p:spPr bwMode="auto">
                <a:xfrm>
                  <a:off x="2936875" y="3657668"/>
                  <a:ext cx="6350" cy="6350"/>
                </a:xfrm>
                <a:custGeom>
                  <a:avLst/>
                  <a:gdLst>
                    <a:gd name="T0" fmla="*/ 0 w 4"/>
                    <a:gd name="T1" fmla="*/ 4 h 4"/>
                    <a:gd name="T2" fmla="*/ 0 w 4"/>
                    <a:gd name="T3" fmla="*/ 4 h 4"/>
                    <a:gd name="T4" fmla="*/ 0 w 4"/>
                    <a:gd name="T5" fmla="*/ 4 h 4"/>
                    <a:gd name="T6" fmla="*/ 0 w 4"/>
                    <a:gd name="T7" fmla="*/ 0 h 4"/>
                    <a:gd name="T8" fmla="*/ 0 w 4"/>
                    <a:gd name="T9" fmla="*/ 0 h 4"/>
                    <a:gd name="T10" fmla="*/ 0 w 4"/>
                    <a:gd name="T11" fmla="*/ 0 h 4"/>
                    <a:gd name="T12" fmla="*/ 4 w 4"/>
                    <a:gd name="T13" fmla="*/ 0 h 4"/>
                    <a:gd name="T14" fmla="*/ 0 w 4"/>
                    <a:gd name="T15" fmla="*/ 0 h 4"/>
                    <a:gd name="T16" fmla="*/ 0 w 4"/>
                    <a:gd name="T17" fmla="*/ 0 h 4"/>
                    <a:gd name="T18" fmla="*/ 0 w 4"/>
                    <a:gd name="T19" fmla="*/ 4 h 4"/>
                    <a:gd name="T20" fmla="*/ 0 w 4"/>
                    <a:gd name="T21" fmla="*/ 4 h 4"/>
                    <a:gd name="T22" fmla="*/ 0 w 4"/>
                    <a:gd name="T23" fmla="*/ 4 h 4"/>
                    <a:gd name="T24" fmla="*/ 0 w 4"/>
                    <a:gd name="T25" fmla="*/ 4 h 4"/>
                    <a:gd name="T26" fmla="*/ 0 w 4"/>
                    <a:gd name="T27" fmla="*/ 4 h 4"/>
                    <a:gd name="T28" fmla="*/ 0 w 4"/>
                    <a:gd name="T29" fmla="*/ 4 h 4"/>
                    <a:gd name="T30" fmla="*/ 0 w 4"/>
                    <a:gd name="T31" fmla="*/ 4 h 4"/>
                    <a:gd name="T32" fmla="*/ 0 w 4"/>
                    <a:gd name="T3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" h="4">
                      <a:moveTo>
                        <a:pt x="0" y="4"/>
                      </a:move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29" name="Freeform 68"/>
                <p:cNvSpPr>
                  <a:spLocks noEditPoints="1"/>
                </p:cNvSpPr>
                <p:nvPr/>
              </p:nvSpPr>
              <p:spPr bwMode="auto">
                <a:xfrm>
                  <a:off x="1228725" y="1803468"/>
                  <a:ext cx="1981200" cy="1574800"/>
                </a:xfrm>
                <a:custGeom>
                  <a:avLst/>
                  <a:gdLst>
                    <a:gd name="T0" fmla="*/ 682 w 1248"/>
                    <a:gd name="T1" fmla="*/ 556 h 992"/>
                    <a:gd name="T2" fmla="*/ 876 w 1248"/>
                    <a:gd name="T3" fmla="*/ 788 h 992"/>
                    <a:gd name="T4" fmla="*/ 1006 w 1248"/>
                    <a:gd name="T5" fmla="*/ 590 h 992"/>
                    <a:gd name="T6" fmla="*/ 1106 w 1248"/>
                    <a:gd name="T7" fmla="*/ 642 h 992"/>
                    <a:gd name="T8" fmla="*/ 1144 w 1248"/>
                    <a:gd name="T9" fmla="*/ 754 h 992"/>
                    <a:gd name="T10" fmla="*/ 1018 w 1248"/>
                    <a:gd name="T11" fmla="*/ 862 h 992"/>
                    <a:gd name="T12" fmla="*/ 1080 w 1248"/>
                    <a:gd name="T13" fmla="*/ 910 h 992"/>
                    <a:gd name="T14" fmla="*/ 672 w 1248"/>
                    <a:gd name="T15" fmla="*/ 854 h 992"/>
                    <a:gd name="T16" fmla="*/ 194 w 1248"/>
                    <a:gd name="T17" fmla="*/ 802 h 992"/>
                    <a:gd name="T18" fmla="*/ 100 w 1248"/>
                    <a:gd name="T19" fmla="*/ 638 h 992"/>
                    <a:gd name="T20" fmla="*/ 124 w 1248"/>
                    <a:gd name="T21" fmla="*/ 396 h 992"/>
                    <a:gd name="T22" fmla="*/ 384 w 1248"/>
                    <a:gd name="T23" fmla="*/ 422 h 992"/>
                    <a:gd name="T24" fmla="*/ 596 w 1248"/>
                    <a:gd name="T25" fmla="*/ 418 h 992"/>
                    <a:gd name="T26" fmla="*/ 646 w 1248"/>
                    <a:gd name="T27" fmla="*/ 332 h 992"/>
                    <a:gd name="T28" fmla="*/ 790 w 1248"/>
                    <a:gd name="T29" fmla="*/ 374 h 992"/>
                    <a:gd name="T30" fmla="*/ 992 w 1248"/>
                    <a:gd name="T31" fmla="*/ 550 h 992"/>
                    <a:gd name="T32" fmla="*/ 790 w 1248"/>
                    <a:gd name="T33" fmla="*/ 124 h 992"/>
                    <a:gd name="T34" fmla="*/ 336 w 1248"/>
                    <a:gd name="T35" fmla="*/ 350 h 992"/>
                    <a:gd name="T36" fmla="*/ 1104 w 1248"/>
                    <a:gd name="T37" fmla="*/ 440 h 992"/>
                    <a:gd name="T38" fmla="*/ 206 w 1248"/>
                    <a:gd name="T39" fmla="*/ 806 h 992"/>
                    <a:gd name="T40" fmla="*/ 698 w 1248"/>
                    <a:gd name="T41" fmla="*/ 116 h 992"/>
                    <a:gd name="T42" fmla="*/ 694 w 1248"/>
                    <a:gd name="T43" fmla="*/ 64 h 992"/>
                    <a:gd name="T44" fmla="*/ 578 w 1248"/>
                    <a:gd name="T45" fmla="*/ 132 h 992"/>
                    <a:gd name="T46" fmla="*/ 536 w 1248"/>
                    <a:gd name="T47" fmla="*/ 142 h 992"/>
                    <a:gd name="T48" fmla="*/ 280 w 1248"/>
                    <a:gd name="T49" fmla="*/ 208 h 992"/>
                    <a:gd name="T50" fmla="*/ 820 w 1248"/>
                    <a:gd name="T51" fmla="*/ 246 h 992"/>
                    <a:gd name="T52" fmla="*/ 734 w 1248"/>
                    <a:gd name="T53" fmla="*/ 202 h 992"/>
                    <a:gd name="T54" fmla="*/ 352 w 1248"/>
                    <a:gd name="T55" fmla="*/ 216 h 992"/>
                    <a:gd name="T56" fmla="*/ 418 w 1248"/>
                    <a:gd name="T57" fmla="*/ 246 h 992"/>
                    <a:gd name="T58" fmla="*/ 552 w 1248"/>
                    <a:gd name="T59" fmla="*/ 202 h 992"/>
                    <a:gd name="T60" fmla="*/ 544 w 1248"/>
                    <a:gd name="T61" fmla="*/ 208 h 992"/>
                    <a:gd name="T62" fmla="*/ 284 w 1248"/>
                    <a:gd name="T63" fmla="*/ 250 h 992"/>
                    <a:gd name="T64" fmla="*/ 620 w 1248"/>
                    <a:gd name="T65" fmla="*/ 280 h 992"/>
                    <a:gd name="T66" fmla="*/ 988 w 1248"/>
                    <a:gd name="T67" fmla="*/ 522 h 992"/>
                    <a:gd name="T68" fmla="*/ 924 w 1248"/>
                    <a:gd name="T69" fmla="*/ 396 h 992"/>
                    <a:gd name="T70" fmla="*/ 756 w 1248"/>
                    <a:gd name="T71" fmla="*/ 340 h 992"/>
                    <a:gd name="T72" fmla="*/ 802 w 1248"/>
                    <a:gd name="T73" fmla="*/ 288 h 992"/>
                    <a:gd name="T74" fmla="*/ 948 w 1248"/>
                    <a:gd name="T75" fmla="*/ 314 h 992"/>
                    <a:gd name="T76" fmla="*/ 1014 w 1248"/>
                    <a:gd name="T77" fmla="*/ 362 h 992"/>
                    <a:gd name="T78" fmla="*/ 1056 w 1248"/>
                    <a:gd name="T79" fmla="*/ 414 h 992"/>
                    <a:gd name="T80" fmla="*/ 1092 w 1248"/>
                    <a:gd name="T81" fmla="*/ 494 h 992"/>
                    <a:gd name="T82" fmla="*/ 1076 w 1248"/>
                    <a:gd name="T83" fmla="*/ 538 h 992"/>
                    <a:gd name="T84" fmla="*/ 508 w 1248"/>
                    <a:gd name="T85" fmla="*/ 292 h 992"/>
                    <a:gd name="T86" fmla="*/ 448 w 1248"/>
                    <a:gd name="T87" fmla="*/ 294 h 992"/>
                    <a:gd name="T88" fmla="*/ 444 w 1248"/>
                    <a:gd name="T89" fmla="*/ 400 h 992"/>
                    <a:gd name="T90" fmla="*/ 574 w 1248"/>
                    <a:gd name="T91" fmla="*/ 348 h 992"/>
                    <a:gd name="T92" fmla="*/ 94 w 1248"/>
                    <a:gd name="T93" fmla="*/ 388 h 992"/>
                    <a:gd name="T94" fmla="*/ 932 w 1248"/>
                    <a:gd name="T95" fmla="*/ 410 h 992"/>
                    <a:gd name="T96" fmla="*/ 842 w 1248"/>
                    <a:gd name="T97" fmla="*/ 512 h 992"/>
                    <a:gd name="T98" fmla="*/ 832 w 1248"/>
                    <a:gd name="T99" fmla="*/ 538 h 992"/>
                    <a:gd name="T100" fmla="*/ 872 w 1248"/>
                    <a:gd name="T101" fmla="*/ 698 h 992"/>
                    <a:gd name="T102" fmla="*/ 168 w 1248"/>
                    <a:gd name="T103" fmla="*/ 754 h 992"/>
                    <a:gd name="T104" fmla="*/ 1208 w 1248"/>
                    <a:gd name="T105" fmla="*/ 792 h 992"/>
                    <a:gd name="T106" fmla="*/ 1208 w 1248"/>
                    <a:gd name="T107" fmla="*/ 874 h 992"/>
                    <a:gd name="T108" fmla="*/ 246 w 1248"/>
                    <a:gd name="T109" fmla="*/ 852 h 992"/>
                    <a:gd name="T110" fmla="*/ 772 w 1248"/>
                    <a:gd name="T111" fmla="*/ 78 h 992"/>
                    <a:gd name="T112" fmla="*/ 786 w 1248"/>
                    <a:gd name="T113" fmla="*/ 34 h 992"/>
                    <a:gd name="T114" fmla="*/ 918 w 1248"/>
                    <a:gd name="T115" fmla="*/ 4 h 992"/>
                    <a:gd name="T116" fmla="*/ 1040 w 1248"/>
                    <a:gd name="T117" fmla="*/ 52 h 992"/>
                    <a:gd name="T118" fmla="*/ 918 w 1248"/>
                    <a:gd name="T119" fmla="*/ 116 h 992"/>
                    <a:gd name="T120" fmla="*/ 894 w 1248"/>
                    <a:gd name="T121" fmla="*/ 190 h 992"/>
                    <a:gd name="T122" fmla="*/ 820 w 1248"/>
                    <a:gd name="T123" fmla="*/ 158 h 992"/>
                    <a:gd name="T124" fmla="*/ 794 w 1248"/>
                    <a:gd name="T125" fmla="*/ 86 h 9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248" h="992">
                      <a:moveTo>
                        <a:pt x="600" y="254"/>
                      </a:moveTo>
                      <a:lnTo>
                        <a:pt x="596" y="254"/>
                      </a:lnTo>
                      <a:lnTo>
                        <a:pt x="600" y="250"/>
                      </a:lnTo>
                      <a:lnTo>
                        <a:pt x="600" y="254"/>
                      </a:lnTo>
                      <a:lnTo>
                        <a:pt x="600" y="254"/>
                      </a:lnTo>
                      <a:lnTo>
                        <a:pt x="600" y="254"/>
                      </a:lnTo>
                      <a:close/>
                      <a:moveTo>
                        <a:pt x="612" y="258"/>
                      </a:moveTo>
                      <a:lnTo>
                        <a:pt x="612" y="262"/>
                      </a:lnTo>
                      <a:lnTo>
                        <a:pt x="608" y="264"/>
                      </a:lnTo>
                      <a:lnTo>
                        <a:pt x="604" y="264"/>
                      </a:lnTo>
                      <a:lnTo>
                        <a:pt x="600" y="264"/>
                      </a:lnTo>
                      <a:lnTo>
                        <a:pt x="596" y="264"/>
                      </a:lnTo>
                      <a:lnTo>
                        <a:pt x="592" y="264"/>
                      </a:lnTo>
                      <a:lnTo>
                        <a:pt x="590" y="264"/>
                      </a:lnTo>
                      <a:lnTo>
                        <a:pt x="590" y="262"/>
                      </a:lnTo>
                      <a:lnTo>
                        <a:pt x="592" y="262"/>
                      </a:lnTo>
                      <a:lnTo>
                        <a:pt x="596" y="262"/>
                      </a:lnTo>
                      <a:lnTo>
                        <a:pt x="600" y="262"/>
                      </a:lnTo>
                      <a:lnTo>
                        <a:pt x="604" y="262"/>
                      </a:lnTo>
                      <a:lnTo>
                        <a:pt x="604" y="258"/>
                      </a:lnTo>
                      <a:lnTo>
                        <a:pt x="608" y="258"/>
                      </a:lnTo>
                      <a:lnTo>
                        <a:pt x="612" y="258"/>
                      </a:lnTo>
                      <a:lnTo>
                        <a:pt x="612" y="258"/>
                      </a:lnTo>
                      <a:lnTo>
                        <a:pt x="612" y="258"/>
                      </a:lnTo>
                      <a:close/>
                      <a:moveTo>
                        <a:pt x="764" y="478"/>
                      </a:moveTo>
                      <a:lnTo>
                        <a:pt x="760" y="478"/>
                      </a:lnTo>
                      <a:lnTo>
                        <a:pt x="760" y="482"/>
                      </a:lnTo>
                      <a:lnTo>
                        <a:pt x="756" y="482"/>
                      </a:lnTo>
                      <a:lnTo>
                        <a:pt x="752" y="482"/>
                      </a:lnTo>
                      <a:lnTo>
                        <a:pt x="748" y="482"/>
                      </a:lnTo>
                      <a:lnTo>
                        <a:pt x="746" y="478"/>
                      </a:lnTo>
                      <a:lnTo>
                        <a:pt x="742" y="474"/>
                      </a:lnTo>
                      <a:lnTo>
                        <a:pt x="738" y="474"/>
                      </a:lnTo>
                      <a:lnTo>
                        <a:pt x="742" y="474"/>
                      </a:lnTo>
                      <a:lnTo>
                        <a:pt x="738" y="474"/>
                      </a:lnTo>
                      <a:lnTo>
                        <a:pt x="734" y="474"/>
                      </a:lnTo>
                      <a:lnTo>
                        <a:pt x="734" y="470"/>
                      </a:lnTo>
                      <a:lnTo>
                        <a:pt x="732" y="470"/>
                      </a:lnTo>
                      <a:lnTo>
                        <a:pt x="728" y="466"/>
                      </a:lnTo>
                      <a:lnTo>
                        <a:pt x="724" y="466"/>
                      </a:lnTo>
                      <a:lnTo>
                        <a:pt x="720" y="466"/>
                      </a:lnTo>
                      <a:lnTo>
                        <a:pt x="724" y="466"/>
                      </a:lnTo>
                      <a:lnTo>
                        <a:pt x="724" y="470"/>
                      </a:lnTo>
                      <a:lnTo>
                        <a:pt x="720" y="466"/>
                      </a:lnTo>
                      <a:lnTo>
                        <a:pt x="720" y="470"/>
                      </a:lnTo>
                      <a:lnTo>
                        <a:pt x="716" y="470"/>
                      </a:lnTo>
                      <a:lnTo>
                        <a:pt x="716" y="466"/>
                      </a:lnTo>
                      <a:lnTo>
                        <a:pt x="720" y="466"/>
                      </a:lnTo>
                      <a:lnTo>
                        <a:pt x="716" y="466"/>
                      </a:lnTo>
                      <a:lnTo>
                        <a:pt x="712" y="466"/>
                      </a:lnTo>
                      <a:lnTo>
                        <a:pt x="708" y="466"/>
                      </a:lnTo>
                      <a:lnTo>
                        <a:pt x="706" y="466"/>
                      </a:lnTo>
                      <a:lnTo>
                        <a:pt x="702" y="466"/>
                      </a:lnTo>
                      <a:lnTo>
                        <a:pt x="706" y="470"/>
                      </a:lnTo>
                      <a:lnTo>
                        <a:pt x="708" y="470"/>
                      </a:lnTo>
                      <a:lnTo>
                        <a:pt x="706" y="470"/>
                      </a:lnTo>
                      <a:lnTo>
                        <a:pt x="706" y="466"/>
                      </a:lnTo>
                      <a:lnTo>
                        <a:pt x="708" y="466"/>
                      </a:lnTo>
                      <a:lnTo>
                        <a:pt x="712" y="466"/>
                      </a:lnTo>
                      <a:lnTo>
                        <a:pt x="720" y="470"/>
                      </a:lnTo>
                      <a:lnTo>
                        <a:pt x="724" y="470"/>
                      </a:lnTo>
                      <a:lnTo>
                        <a:pt x="728" y="470"/>
                      </a:lnTo>
                      <a:lnTo>
                        <a:pt x="728" y="474"/>
                      </a:lnTo>
                      <a:lnTo>
                        <a:pt x="732" y="478"/>
                      </a:lnTo>
                      <a:lnTo>
                        <a:pt x="734" y="482"/>
                      </a:lnTo>
                      <a:lnTo>
                        <a:pt x="738" y="482"/>
                      </a:lnTo>
                      <a:lnTo>
                        <a:pt x="742" y="482"/>
                      </a:lnTo>
                      <a:lnTo>
                        <a:pt x="746" y="482"/>
                      </a:lnTo>
                      <a:lnTo>
                        <a:pt x="748" y="482"/>
                      </a:lnTo>
                      <a:lnTo>
                        <a:pt x="752" y="482"/>
                      </a:lnTo>
                      <a:lnTo>
                        <a:pt x="756" y="482"/>
                      </a:lnTo>
                      <a:lnTo>
                        <a:pt x="760" y="482"/>
                      </a:lnTo>
                      <a:lnTo>
                        <a:pt x="764" y="486"/>
                      </a:lnTo>
                      <a:lnTo>
                        <a:pt x="764" y="490"/>
                      </a:lnTo>
                      <a:lnTo>
                        <a:pt x="760" y="490"/>
                      </a:lnTo>
                      <a:lnTo>
                        <a:pt x="756" y="496"/>
                      </a:lnTo>
                      <a:lnTo>
                        <a:pt x="756" y="500"/>
                      </a:lnTo>
                      <a:lnTo>
                        <a:pt x="752" y="500"/>
                      </a:lnTo>
                      <a:lnTo>
                        <a:pt x="752" y="504"/>
                      </a:lnTo>
                      <a:lnTo>
                        <a:pt x="748" y="508"/>
                      </a:lnTo>
                      <a:lnTo>
                        <a:pt x="748" y="512"/>
                      </a:lnTo>
                      <a:lnTo>
                        <a:pt x="746" y="512"/>
                      </a:lnTo>
                      <a:lnTo>
                        <a:pt x="742" y="512"/>
                      </a:lnTo>
                      <a:lnTo>
                        <a:pt x="738" y="516"/>
                      </a:lnTo>
                      <a:lnTo>
                        <a:pt x="734" y="516"/>
                      </a:lnTo>
                      <a:lnTo>
                        <a:pt x="734" y="512"/>
                      </a:lnTo>
                      <a:lnTo>
                        <a:pt x="732" y="512"/>
                      </a:lnTo>
                      <a:lnTo>
                        <a:pt x="732" y="508"/>
                      </a:lnTo>
                      <a:lnTo>
                        <a:pt x="732" y="512"/>
                      </a:lnTo>
                      <a:lnTo>
                        <a:pt x="734" y="512"/>
                      </a:lnTo>
                      <a:lnTo>
                        <a:pt x="734" y="516"/>
                      </a:lnTo>
                      <a:lnTo>
                        <a:pt x="732" y="516"/>
                      </a:lnTo>
                      <a:lnTo>
                        <a:pt x="732" y="512"/>
                      </a:lnTo>
                      <a:lnTo>
                        <a:pt x="728" y="512"/>
                      </a:lnTo>
                      <a:lnTo>
                        <a:pt x="728" y="516"/>
                      </a:lnTo>
                      <a:lnTo>
                        <a:pt x="728" y="512"/>
                      </a:lnTo>
                      <a:lnTo>
                        <a:pt x="724" y="512"/>
                      </a:lnTo>
                      <a:lnTo>
                        <a:pt x="724" y="508"/>
                      </a:lnTo>
                      <a:lnTo>
                        <a:pt x="724" y="512"/>
                      </a:lnTo>
                      <a:lnTo>
                        <a:pt x="724" y="508"/>
                      </a:lnTo>
                      <a:lnTo>
                        <a:pt x="720" y="512"/>
                      </a:lnTo>
                      <a:lnTo>
                        <a:pt x="724" y="512"/>
                      </a:lnTo>
                      <a:lnTo>
                        <a:pt x="724" y="516"/>
                      </a:lnTo>
                      <a:lnTo>
                        <a:pt x="720" y="516"/>
                      </a:lnTo>
                      <a:lnTo>
                        <a:pt x="724" y="516"/>
                      </a:lnTo>
                      <a:lnTo>
                        <a:pt x="720" y="516"/>
                      </a:lnTo>
                      <a:lnTo>
                        <a:pt x="720" y="512"/>
                      </a:lnTo>
                      <a:lnTo>
                        <a:pt x="716" y="512"/>
                      </a:lnTo>
                      <a:lnTo>
                        <a:pt x="720" y="516"/>
                      </a:lnTo>
                      <a:lnTo>
                        <a:pt x="724" y="520"/>
                      </a:lnTo>
                      <a:lnTo>
                        <a:pt x="720" y="520"/>
                      </a:lnTo>
                      <a:lnTo>
                        <a:pt x="720" y="522"/>
                      </a:lnTo>
                      <a:lnTo>
                        <a:pt x="716" y="522"/>
                      </a:lnTo>
                      <a:lnTo>
                        <a:pt x="712" y="520"/>
                      </a:lnTo>
                      <a:lnTo>
                        <a:pt x="712" y="522"/>
                      </a:lnTo>
                      <a:lnTo>
                        <a:pt x="708" y="522"/>
                      </a:lnTo>
                      <a:lnTo>
                        <a:pt x="706" y="522"/>
                      </a:lnTo>
                      <a:lnTo>
                        <a:pt x="702" y="522"/>
                      </a:lnTo>
                      <a:lnTo>
                        <a:pt x="702" y="520"/>
                      </a:lnTo>
                      <a:lnTo>
                        <a:pt x="698" y="520"/>
                      </a:lnTo>
                      <a:lnTo>
                        <a:pt x="694" y="520"/>
                      </a:lnTo>
                      <a:lnTo>
                        <a:pt x="690" y="520"/>
                      </a:lnTo>
                      <a:lnTo>
                        <a:pt x="686" y="520"/>
                      </a:lnTo>
                      <a:lnTo>
                        <a:pt x="682" y="520"/>
                      </a:lnTo>
                      <a:lnTo>
                        <a:pt x="682" y="516"/>
                      </a:lnTo>
                      <a:lnTo>
                        <a:pt x="678" y="516"/>
                      </a:lnTo>
                      <a:lnTo>
                        <a:pt x="676" y="516"/>
                      </a:lnTo>
                      <a:lnTo>
                        <a:pt x="672" y="512"/>
                      </a:lnTo>
                      <a:lnTo>
                        <a:pt x="668" y="508"/>
                      </a:lnTo>
                      <a:lnTo>
                        <a:pt x="672" y="512"/>
                      </a:lnTo>
                      <a:lnTo>
                        <a:pt x="672" y="516"/>
                      </a:lnTo>
                      <a:lnTo>
                        <a:pt x="668" y="516"/>
                      </a:lnTo>
                      <a:lnTo>
                        <a:pt x="672" y="516"/>
                      </a:lnTo>
                      <a:lnTo>
                        <a:pt x="672" y="520"/>
                      </a:lnTo>
                      <a:lnTo>
                        <a:pt x="676" y="520"/>
                      </a:lnTo>
                      <a:lnTo>
                        <a:pt x="676" y="516"/>
                      </a:lnTo>
                      <a:lnTo>
                        <a:pt x="672" y="516"/>
                      </a:lnTo>
                      <a:lnTo>
                        <a:pt x="676" y="516"/>
                      </a:lnTo>
                      <a:lnTo>
                        <a:pt x="678" y="516"/>
                      </a:lnTo>
                      <a:lnTo>
                        <a:pt x="682" y="520"/>
                      </a:lnTo>
                      <a:lnTo>
                        <a:pt x="686" y="520"/>
                      </a:lnTo>
                      <a:lnTo>
                        <a:pt x="690" y="520"/>
                      </a:lnTo>
                      <a:lnTo>
                        <a:pt x="690" y="522"/>
                      </a:lnTo>
                      <a:lnTo>
                        <a:pt x="686" y="522"/>
                      </a:lnTo>
                      <a:lnTo>
                        <a:pt x="690" y="522"/>
                      </a:lnTo>
                      <a:lnTo>
                        <a:pt x="694" y="522"/>
                      </a:lnTo>
                      <a:lnTo>
                        <a:pt x="698" y="520"/>
                      </a:lnTo>
                      <a:lnTo>
                        <a:pt x="698" y="522"/>
                      </a:lnTo>
                      <a:lnTo>
                        <a:pt x="702" y="526"/>
                      </a:lnTo>
                      <a:lnTo>
                        <a:pt x="706" y="526"/>
                      </a:lnTo>
                      <a:lnTo>
                        <a:pt x="708" y="526"/>
                      </a:lnTo>
                      <a:lnTo>
                        <a:pt x="712" y="530"/>
                      </a:lnTo>
                      <a:lnTo>
                        <a:pt x="712" y="534"/>
                      </a:lnTo>
                      <a:lnTo>
                        <a:pt x="712" y="538"/>
                      </a:lnTo>
                      <a:lnTo>
                        <a:pt x="708" y="538"/>
                      </a:lnTo>
                      <a:lnTo>
                        <a:pt x="706" y="538"/>
                      </a:lnTo>
                      <a:lnTo>
                        <a:pt x="706" y="542"/>
                      </a:lnTo>
                      <a:lnTo>
                        <a:pt x="702" y="542"/>
                      </a:lnTo>
                      <a:lnTo>
                        <a:pt x="698" y="542"/>
                      </a:lnTo>
                      <a:lnTo>
                        <a:pt x="694" y="542"/>
                      </a:lnTo>
                      <a:lnTo>
                        <a:pt x="690" y="542"/>
                      </a:lnTo>
                      <a:lnTo>
                        <a:pt x="686" y="542"/>
                      </a:lnTo>
                      <a:lnTo>
                        <a:pt x="690" y="546"/>
                      </a:lnTo>
                      <a:lnTo>
                        <a:pt x="694" y="546"/>
                      </a:lnTo>
                      <a:lnTo>
                        <a:pt x="694" y="550"/>
                      </a:lnTo>
                      <a:lnTo>
                        <a:pt x="690" y="546"/>
                      </a:lnTo>
                      <a:lnTo>
                        <a:pt x="690" y="550"/>
                      </a:lnTo>
                      <a:lnTo>
                        <a:pt x="686" y="550"/>
                      </a:lnTo>
                      <a:lnTo>
                        <a:pt x="682" y="550"/>
                      </a:lnTo>
                      <a:lnTo>
                        <a:pt x="682" y="552"/>
                      </a:lnTo>
                      <a:lnTo>
                        <a:pt x="686" y="552"/>
                      </a:lnTo>
                      <a:lnTo>
                        <a:pt x="686" y="556"/>
                      </a:lnTo>
                      <a:lnTo>
                        <a:pt x="682" y="556"/>
                      </a:lnTo>
                      <a:lnTo>
                        <a:pt x="682" y="552"/>
                      </a:lnTo>
                      <a:lnTo>
                        <a:pt x="678" y="552"/>
                      </a:lnTo>
                      <a:lnTo>
                        <a:pt x="682" y="552"/>
                      </a:lnTo>
                      <a:lnTo>
                        <a:pt x="682" y="556"/>
                      </a:lnTo>
                      <a:lnTo>
                        <a:pt x="678" y="556"/>
                      </a:lnTo>
                      <a:lnTo>
                        <a:pt x="678" y="560"/>
                      </a:lnTo>
                      <a:lnTo>
                        <a:pt x="676" y="560"/>
                      </a:lnTo>
                      <a:lnTo>
                        <a:pt x="676" y="564"/>
                      </a:lnTo>
                      <a:lnTo>
                        <a:pt x="672" y="564"/>
                      </a:lnTo>
                      <a:lnTo>
                        <a:pt x="672" y="560"/>
                      </a:lnTo>
                      <a:lnTo>
                        <a:pt x="672" y="564"/>
                      </a:lnTo>
                      <a:lnTo>
                        <a:pt x="676" y="564"/>
                      </a:lnTo>
                      <a:lnTo>
                        <a:pt x="676" y="566"/>
                      </a:lnTo>
                      <a:lnTo>
                        <a:pt x="672" y="566"/>
                      </a:lnTo>
                      <a:lnTo>
                        <a:pt x="668" y="570"/>
                      </a:lnTo>
                      <a:lnTo>
                        <a:pt x="664" y="570"/>
                      </a:lnTo>
                      <a:lnTo>
                        <a:pt x="664" y="574"/>
                      </a:lnTo>
                      <a:lnTo>
                        <a:pt x="668" y="574"/>
                      </a:lnTo>
                      <a:lnTo>
                        <a:pt x="664" y="578"/>
                      </a:lnTo>
                      <a:lnTo>
                        <a:pt x="664" y="582"/>
                      </a:lnTo>
                      <a:lnTo>
                        <a:pt x="660" y="586"/>
                      </a:lnTo>
                      <a:lnTo>
                        <a:pt x="660" y="590"/>
                      </a:lnTo>
                      <a:lnTo>
                        <a:pt x="656" y="594"/>
                      </a:lnTo>
                      <a:lnTo>
                        <a:pt x="656" y="596"/>
                      </a:lnTo>
                      <a:lnTo>
                        <a:pt x="656" y="600"/>
                      </a:lnTo>
                      <a:lnTo>
                        <a:pt x="656" y="604"/>
                      </a:lnTo>
                      <a:lnTo>
                        <a:pt x="652" y="604"/>
                      </a:lnTo>
                      <a:lnTo>
                        <a:pt x="652" y="608"/>
                      </a:lnTo>
                      <a:lnTo>
                        <a:pt x="652" y="612"/>
                      </a:lnTo>
                      <a:lnTo>
                        <a:pt x="652" y="616"/>
                      </a:lnTo>
                      <a:lnTo>
                        <a:pt x="652" y="620"/>
                      </a:lnTo>
                      <a:lnTo>
                        <a:pt x="656" y="620"/>
                      </a:lnTo>
                      <a:lnTo>
                        <a:pt x="656" y="622"/>
                      </a:lnTo>
                      <a:lnTo>
                        <a:pt x="652" y="622"/>
                      </a:lnTo>
                      <a:lnTo>
                        <a:pt x="652" y="626"/>
                      </a:lnTo>
                      <a:lnTo>
                        <a:pt x="656" y="630"/>
                      </a:lnTo>
                      <a:lnTo>
                        <a:pt x="656" y="634"/>
                      </a:lnTo>
                      <a:lnTo>
                        <a:pt x="660" y="634"/>
                      </a:lnTo>
                      <a:lnTo>
                        <a:pt x="660" y="638"/>
                      </a:lnTo>
                      <a:lnTo>
                        <a:pt x="660" y="642"/>
                      </a:lnTo>
                      <a:lnTo>
                        <a:pt x="660" y="646"/>
                      </a:lnTo>
                      <a:lnTo>
                        <a:pt x="660" y="642"/>
                      </a:lnTo>
                      <a:lnTo>
                        <a:pt x="660" y="638"/>
                      </a:lnTo>
                      <a:lnTo>
                        <a:pt x="664" y="634"/>
                      </a:lnTo>
                      <a:lnTo>
                        <a:pt x="668" y="634"/>
                      </a:lnTo>
                      <a:lnTo>
                        <a:pt x="672" y="634"/>
                      </a:lnTo>
                      <a:lnTo>
                        <a:pt x="676" y="634"/>
                      </a:lnTo>
                      <a:lnTo>
                        <a:pt x="678" y="634"/>
                      </a:lnTo>
                      <a:lnTo>
                        <a:pt x="678" y="638"/>
                      </a:lnTo>
                      <a:lnTo>
                        <a:pt x="678" y="642"/>
                      </a:lnTo>
                      <a:lnTo>
                        <a:pt x="678" y="646"/>
                      </a:lnTo>
                      <a:lnTo>
                        <a:pt x="682" y="650"/>
                      </a:lnTo>
                      <a:lnTo>
                        <a:pt x="682" y="652"/>
                      </a:lnTo>
                      <a:lnTo>
                        <a:pt x="682" y="656"/>
                      </a:lnTo>
                      <a:lnTo>
                        <a:pt x="686" y="660"/>
                      </a:lnTo>
                      <a:lnTo>
                        <a:pt x="686" y="664"/>
                      </a:lnTo>
                      <a:lnTo>
                        <a:pt x="686" y="668"/>
                      </a:lnTo>
                      <a:lnTo>
                        <a:pt x="686" y="672"/>
                      </a:lnTo>
                      <a:lnTo>
                        <a:pt x="682" y="676"/>
                      </a:lnTo>
                      <a:lnTo>
                        <a:pt x="686" y="676"/>
                      </a:lnTo>
                      <a:lnTo>
                        <a:pt x="686" y="672"/>
                      </a:lnTo>
                      <a:lnTo>
                        <a:pt x="690" y="672"/>
                      </a:lnTo>
                      <a:lnTo>
                        <a:pt x="690" y="676"/>
                      </a:lnTo>
                      <a:lnTo>
                        <a:pt x="686" y="676"/>
                      </a:lnTo>
                      <a:lnTo>
                        <a:pt x="690" y="676"/>
                      </a:lnTo>
                      <a:lnTo>
                        <a:pt x="690" y="672"/>
                      </a:lnTo>
                      <a:lnTo>
                        <a:pt x="694" y="672"/>
                      </a:lnTo>
                      <a:lnTo>
                        <a:pt x="698" y="672"/>
                      </a:lnTo>
                      <a:lnTo>
                        <a:pt x="706" y="668"/>
                      </a:lnTo>
                      <a:lnTo>
                        <a:pt x="708" y="668"/>
                      </a:lnTo>
                      <a:lnTo>
                        <a:pt x="712" y="668"/>
                      </a:lnTo>
                      <a:lnTo>
                        <a:pt x="716" y="668"/>
                      </a:lnTo>
                      <a:lnTo>
                        <a:pt x="716" y="672"/>
                      </a:lnTo>
                      <a:lnTo>
                        <a:pt x="720" y="672"/>
                      </a:lnTo>
                      <a:lnTo>
                        <a:pt x="724" y="672"/>
                      </a:lnTo>
                      <a:lnTo>
                        <a:pt x="724" y="676"/>
                      </a:lnTo>
                      <a:lnTo>
                        <a:pt x="728" y="676"/>
                      </a:lnTo>
                      <a:lnTo>
                        <a:pt x="732" y="676"/>
                      </a:lnTo>
                      <a:lnTo>
                        <a:pt x="734" y="676"/>
                      </a:lnTo>
                      <a:lnTo>
                        <a:pt x="738" y="680"/>
                      </a:lnTo>
                      <a:lnTo>
                        <a:pt x="742" y="680"/>
                      </a:lnTo>
                      <a:lnTo>
                        <a:pt x="742" y="682"/>
                      </a:lnTo>
                      <a:lnTo>
                        <a:pt x="746" y="682"/>
                      </a:lnTo>
                      <a:lnTo>
                        <a:pt x="746" y="686"/>
                      </a:lnTo>
                      <a:lnTo>
                        <a:pt x="748" y="686"/>
                      </a:lnTo>
                      <a:lnTo>
                        <a:pt x="752" y="690"/>
                      </a:lnTo>
                      <a:lnTo>
                        <a:pt x="756" y="694"/>
                      </a:lnTo>
                      <a:lnTo>
                        <a:pt x="760" y="698"/>
                      </a:lnTo>
                      <a:lnTo>
                        <a:pt x="764" y="698"/>
                      </a:lnTo>
                      <a:lnTo>
                        <a:pt x="768" y="698"/>
                      </a:lnTo>
                      <a:lnTo>
                        <a:pt x="772" y="698"/>
                      </a:lnTo>
                      <a:lnTo>
                        <a:pt x="772" y="702"/>
                      </a:lnTo>
                      <a:lnTo>
                        <a:pt x="776" y="702"/>
                      </a:lnTo>
                      <a:lnTo>
                        <a:pt x="778" y="702"/>
                      </a:lnTo>
                      <a:lnTo>
                        <a:pt x="782" y="706"/>
                      </a:lnTo>
                      <a:lnTo>
                        <a:pt x="786" y="708"/>
                      </a:lnTo>
                      <a:lnTo>
                        <a:pt x="790" y="708"/>
                      </a:lnTo>
                      <a:lnTo>
                        <a:pt x="790" y="712"/>
                      </a:lnTo>
                      <a:lnTo>
                        <a:pt x="786" y="712"/>
                      </a:lnTo>
                      <a:lnTo>
                        <a:pt x="786" y="716"/>
                      </a:lnTo>
                      <a:lnTo>
                        <a:pt x="786" y="712"/>
                      </a:lnTo>
                      <a:lnTo>
                        <a:pt x="790" y="712"/>
                      </a:lnTo>
                      <a:lnTo>
                        <a:pt x="794" y="712"/>
                      </a:lnTo>
                      <a:lnTo>
                        <a:pt x="798" y="712"/>
                      </a:lnTo>
                      <a:lnTo>
                        <a:pt x="802" y="712"/>
                      </a:lnTo>
                      <a:lnTo>
                        <a:pt x="806" y="712"/>
                      </a:lnTo>
                      <a:lnTo>
                        <a:pt x="806" y="708"/>
                      </a:lnTo>
                      <a:lnTo>
                        <a:pt x="808" y="708"/>
                      </a:lnTo>
                      <a:lnTo>
                        <a:pt x="812" y="712"/>
                      </a:lnTo>
                      <a:lnTo>
                        <a:pt x="808" y="712"/>
                      </a:lnTo>
                      <a:lnTo>
                        <a:pt x="812" y="712"/>
                      </a:lnTo>
                      <a:lnTo>
                        <a:pt x="816" y="712"/>
                      </a:lnTo>
                      <a:lnTo>
                        <a:pt x="820" y="712"/>
                      </a:lnTo>
                      <a:lnTo>
                        <a:pt x="824" y="712"/>
                      </a:lnTo>
                      <a:lnTo>
                        <a:pt x="828" y="712"/>
                      </a:lnTo>
                      <a:lnTo>
                        <a:pt x="828" y="716"/>
                      </a:lnTo>
                      <a:lnTo>
                        <a:pt x="832" y="716"/>
                      </a:lnTo>
                      <a:lnTo>
                        <a:pt x="832" y="712"/>
                      </a:lnTo>
                      <a:lnTo>
                        <a:pt x="832" y="716"/>
                      </a:lnTo>
                      <a:lnTo>
                        <a:pt x="832" y="720"/>
                      </a:lnTo>
                      <a:lnTo>
                        <a:pt x="832" y="728"/>
                      </a:lnTo>
                      <a:lnTo>
                        <a:pt x="828" y="732"/>
                      </a:lnTo>
                      <a:lnTo>
                        <a:pt x="828" y="736"/>
                      </a:lnTo>
                      <a:lnTo>
                        <a:pt x="832" y="736"/>
                      </a:lnTo>
                      <a:lnTo>
                        <a:pt x="832" y="738"/>
                      </a:lnTo>
                      <a:lnTo>
                        <a:pt x="832" y="742"/>
                      </a:lnTo>
                      <a:lnTo>
                        <a:pt x="832" y="746"/>
                      </a:lnTo>
                      <a:lnTo>
                        <a:pt x="832" y="750"/>
                      </a:lnTo>
                      <a:lnTo>
                        <a:pt x="832" y="754"/>
                      </a:lnTo>
                      <a:lnTo>
                        <a:pt x="832" y="758"/>
                      </a:lnTo>
                      <a:lnTo>
                        <a:pt x="832" y="762"/>
                      </a:lnTo>
                      <a:lnTo>
                        <a:pt x="834" y="766"/>
                      </a:lnTo>
                      <a:lnTo>
                        <a:pt x="838" y="768"/>
                      </a:lnTo>
                      <a:lnTo>
                        <a:pt x="838" y="772"/>
                      </a:lnTo>
                      <a:lnTo>
                        <a:pt x="842" y="772"/>
                      </a:lnTo>
                      <a:lnTo>
                        <a:pt x="842" y="776"/>
                      </a:lnTo>
                      <a:lnTo>
                        <a:pt x="838" y="776"/>
                      </a:lnTo>
                      <a:lnTo>
                        <a:pt x="834" y="776"/>
                      </a:lnTo>
                      <a:lnTo>
                        <a:pt x="838" y="776"/>
                      </a:lnTo>
                      <a:lnTo>
                        <a:pt x="842" y="776"/>
                      </a:lnTo>
                      <a:lnTo>
                        <a:pt x="842" y="780"/>
                      </a:lnTo>
                      <a:lnTo>
                        <a:pt x="846" y="780"/>
                      </a:lnTo>
                      <a:lnTo>
                        <a:pt x="850" y="780"/>
                      </a:lnTo>
                      <a:lnTo>
                        <a:pt x="850" y="784"/>
                      </a:lnTo>
                      <a:lnTo>
                        <a:pt x="854" y="788"/>
                      </a:lnTo>
                      <a:lnTo>
                        <a:pt x="854" y="792"/>
                      </a:lnTo>
                      <a:lnTo>
                        <a:pt x="858" y="792"/>
                      </a:lnTo>
                      <a:lnTo>
                        <a:pt x="858" y="794"/>
                      </a:lnTo>
                      <a:lnTo>
                        <a:pt x="854" y="794"/>
                      </a:lnTo>
                      <a:lnTo>
                        <a:pt x="854" y="798"/>
                      </a:lnTo>
                      <a:lnTo>
                        <a:pt x="850" y="798"/>
                      </a:lnTo>
                      <a:lnTo>
                        <a:pt x="850" y="802"/>
                      </a:lnTo>
                      <a:lnTo>
                        <a:pt x="850" y="798"/>
                      </a:lnTo>
                      <a:lnTo>
                        <a:pt x="854" y="798"/>
                      </a:lnTo>
                      <a:lnTo>
                        <a:pt x="854" y="794"/>
                      </a:lnTo>
                      <a:lnTo>
                        <a:pt x="858" y="794"/>
                      </a:lnTo>
                      <a:lnTo>
                        <a:pt x="862" y="794"/>
                      </a:lnTo>
                      <a:lnTo>
                        <a:pt x="862" y="798"/>
                      </a:lnTo>
                      <a:lnTo>
                        <a:pt x="864" y="798"/>
                      </a:lnTo>
                      <a:lnTo>
                        <a:pt x="864" y="802"/>
                      </a:lnTo>
                      <a:lnTo>
                        <a:pt x="868" y="802"/>
                      </a:lnTo>
                      <a:lnTo>
                        <a:pt x="868" y="806"/>
                      </a:lnTo>
                      <a:lnTo>
                        <a:pt x="872" y="806"/>
                      </a:lnTo>
                      <a:lnTo>
                        <a:pt x="872" y="810"/>
                      </a:lnTo>
                      <a:lnTo>
                        <a:pt x="872" y="806"/>
                      </a:lnTo>
                      <a:lnTo>
                        <a:pt x="868" y="806"/>
                      </a:lnTo>
                      <a:lnTo>
                        <a:pt x="868" y="802"/>
                      </a:lnTo>
                      <a:lnTo>
                        <a:pt x="864" y="798"/>
                      </a:lnTo>
                      <a:lnTo>
                        <a:pt x="868" y="798"/>
                      </a:lnTo>
                      <a:lnTo>
                        <a:pt x="868" y="794"/>
                      </a:lnTo>
                      <a:lnTo>
                        <a:pt x="868" y="792"/>
                      </a:lnTo>
                      <a:lnTo>
                        <a:pt x="872" y="792"/>
                      </a:lnTo>
                      <a:lnTo>
                        <a:pt x="872" y="788"/>
                      </a:lnTo>
                      <a:lnTo>
                        <a:pt x="872" y="792"/>
                      </a:lnTo>
                      <a:lnTo>
                        <a:pt x="876" y="792"/>
                      </a:lnTo>
                      <a:lnTo>
                        <a:pt x="876" y="794"/>
                      </a:lnTo>
                      <a:lnTo>
                        <a:pt x="876" y="798"/>
                      </a:lnTo>
                      <a:lnTo>
                        <a:pt x="880" y="798"/>
                      </a:lnTo>
                      <a:lnTo>
                        <a:pt x="880" y="794"/>
                      </a:lnTo>
                      <a:lnTo>
                        <a:pt x="880" y="792"/>
                      </a:lnTo>
                      <a:lnTo>
                        <a:pt x="876" y="788"/>
                      </a:lnTo>
                      <a:lnTo>
                        <a:pt x="880" y="788"/>
                      </a:lnTo>
                      <a:lnTo>
                        <a:pt x="880" y="784"/>
                      </a:lnTo>
                      <a:lnTo>
                        <a:pt x="880" y="780"/>
                      </a:lnTo>
                      <a:lnTo>
                        <a:pt x="884" y="780"/>
                      </a:lnTo>
                      <a:lnTo>
                        <a:pt x="884" y="776"/>
                      </a:lnTo>
                      <a:lnTo>
                        <a:pt x="884" y="772"/>
                      </a:lnTo>
                      <a:lnTo>
                        <a:pt x="884" y="768"/>
                      </a:lnTo>
                      <a:lnTo>
                        <a:pt x="880" y="768"/>
                      </a:lnTo>
                      <a:lnTo>
                        <a:pt x="880" y="766"/>
                      </a:lnTo>
                      <a:lnTo>
                        <a:pt x="880" y="762"/>
                      </a:lnTo>
                      <a:lnTo>
                        <a:pt x="880" y="758"/>
                      </a:lnTo>
                      <a:lnTo>
                        <a:pt x="880" y="754"/>
                      </a:lnTo>
                      <a:lnTo>
                        <a:pt x="876" y="754"/>
                      </a:lnTo>
                      <a:lnTo>
                        <a:pt x="876" y="750"/>
                      </a:lnTo>
                      <a:lnTo>
                        <a:pt x="880" y="750"/>
                      </a:lnTo>
                      <a:lnTo>
                        <a:pt x="876" y="746"/>
                      </a:lnTo>
                      <a:lnTo>
                        <a:pt x="876" y="742"/>
                      </a:lnTo>
                      <a:lnTo>
                        <a:pt x="880" y="742"/>
                      </a:lnTo>
                      <a:lnTo>
                        <a:pt x="876" y="742"/>
                      </a:lnTo>
                      <a:lnTo>
                        <a:pt x="876" y="738"/>
                      </a:lnTo>
                      <a:lnTo>
                        <a:pt x="876" y="736"/>
                      </a:lnTo>
                      <a:lnTo>
                        <a:pt x="872" y="736"/>
                      </a:lnTo>
                      <a:lnTo>
                        <a:pt x="872" y="732"/>
                      </a:lnTo>
                      <a:lnTo>
                        <a:pt x="868" y="732"/>
                      </a:lnTo>
                      <a:lnTo>
                        <a:pt x="868" y="728"/>
                      </a:lnTo>
                      <a:lnTo>
                        <a:pt x="868" y="724"/>
                      </a:lnTo>
                      <a:lnTo>
                        <a:pt x="864" y="724"/>
                      </a:lnTo>
                      <a:lnTo>
                        <a:pt x="868" y="724"/>
                      </a:lnTo>
                      <a:lnTo>
                        <a:pt x="872" y="724"/>
                      </a:lnTo>
                      <a:lnTo>
                        <a:pt x="876" y="720"/>
                      </a:lnTo>
                      <a:lnTo>
                        <a:pt x="880" y="720"/>
                      </a:lnTo>
                      <a:lnTo>
                        <a:pt x="884" y="716"/>
                      </a:lnTo>
                      <a:lnTo>
                        <a:pt x="888" y="716"/>
                      </a:lnTo>
                      <a:lnTo>
                        <a:pt x="890" y="712"/>
                      </a:lnTo>
                      <a:lnTo>
                        <a:pt x="894" y="708"/>
                      </a:lnTo>
                      <a:lnTo>
                        <a:pt x="898" y="706"/>
                      </a:lnTo>
                      <a:lnTo>
                        <a:pt x="902" y="706"/>
                      </a:lnTo>
                      <a:lnTo>
                        <a:pt x="902" y="702"/>
                      </a:lnTo>
                      <a:lnTo>
                        <a:pt x="906" y="702"/>
                      </a:lnTo>
                      <a:lnTo>
                        <a:pt x="910" y="698"/>
                      </a:lnTo>
                      <a:lnTo>
                        <a:pt x="910" y="694"/>
                      </a:lnTo>
                      <a:lnTo>
                        <a:pt x="914" y="690"/>
                      </a:lnTo>
                      <a:lnTo>
                        <a:pt x="914" y="686"/>
                      </a:lnTo>
                      <a:lnTo>
                        <a:pt x="914" y="682"/>
                      </a:lnTo>
                      <a:lnTo>
                        <a:pt x="914" y="680"/>
                      </a:lnTo>
                      <a:lnTo>
                        <a:pt x="914" y="676"/>
                      </a:lnTo>
                      <a:lnTo>
                        <a:pt x="910" y="672"/>
                      </a:lnTo>
                      <a:lnTo>
                        <a:pt x="914" y="672"/>
                      </a:lnTo>
                      <a:lnTo>
                        <a:pt x="910" y="668"/>
                      </a:lnTo>
                      <a:lnTo>
                        <a:pt x="910" y="664"/>
                      </a:lnTo>
                      <a:lnTo>
                        <a:pt x="910" y="660"/>
                      </a:lnTo>
                      <a:lnTo>
                        <a:pt x="906" y="656"/>
                      </a:lnTo>
                      <a:lnTo>
                        <a:pt x="902" y="650"/>
                      </a:lnTo>
                      <a:lnTo>
                        <a:pt x="898" y="650"/>
                      </a:lnTo>
                      <a:lnTo>
                        <a:pt x="898" y="646"/>
                      </a:lnTo>
                      <a:lnTo>
                        <a:pt x="894" y="646"/>
                      </a:lnTo>
                      <a:lnTo>
                        <a:pt x="890" y="642"/>
                      </a:lnTo>
                      <a:lnTo>
                        <a:pt x="888" y="638"/>
                      </a:lnTo>
                      <a:lnTo>
                        <a:pt x="884" y="638"/>
                      </a:lnTo>
                      <a:lnTo>
                        <a:pt x="888" y="638"/>
                      </a:lnTo>
                      <a:lnTo>
                        <a:pt x="884" y="638"/>
                      </a:lnTo>
                      <a:lnTo>
                        <a:pt x="884" y="634"/>
                      </a:lnTo>
                      <a:lnTo>
                        <a:pt x="884" y="630"/>
                      </a:lnTo>
                      <a:lnTo>
                        <a:pt x="888" y="630"/>
                      </a:lnTo>
                      <a:lnTo>
                        <a:pt x="888" y="626"/>
                      </a:lnTo>
                      <a:lnTo>
                        <a:pt x="890" y="626"/>
                      </a:lnTo>
                      <a:lnTo>
                        <a:pt x="890" y="622"/>
                      </a:lnTo>
                      <a:lnTo>
                        <a:pt x="894" y="622"/>
                      </a:lnTo>
                      <a:lnTo>
                        <a:pt x="894" y="620"/>
                      </a:lnTo>
                      <a:lnTo>
                        <a:pt x="890" y="620"/>
                      </a:lnTo>
                      <a:lnTo>
                        <a:pt x="894" y="616"/>
                      </a:lnTo>
                      <a:lnTo>
                        <a:pt x="894" y="612"/>
                      </a:lnTo>
                      <a:lnTo>
                        <a:pt x="898" y="612"/>
                      </a:lnTo>
                      <a:lnTo>
                        <a:pt x="898" y="616"/>
                      </a:lnTo>
                      <a:lnTo>
                        <a:pt x="902" y="616"/>
                      </a:lnTo>
                      <a:lnTo>
                        <a:pt x="898" y="616"/>
                      </a:lnTo>
                      <a:lnTo>
                        <a:pt x="898" y="612"/>
                      </a:lnTo>
                      <a:lnTo>
                        <a:pt x="902" y="612"/>
                      </a:lnTo>
                      <a:lnTo>
                        <a:pt x="898" y="608"/>
                      </a:lnTo>
                      <a:lnTo>
                        <a:pt x="902" y="604"/>
                      </a:lnTo>
                      <a:lnTo>
                        <a:pt x="906" y="604"/>
                      </a:lnTo>
                      <a:lnTo>
                        <a:pt x="910" y="604"/>
                      </a:lnTo>
                      <a:lnTo>
                        <a:pt x="910" y="600"/>
                      </a:lnTo>
                      <a:lnTo>
                        <a:pt x="906" y="600"/>
                      </a:lnTo>
                      <a:lnTo>
                        <a:pt x="906" y="604"/>
                      </a:lnTo>
                      <a:lnTo>
                        <a:pt x="902" y="604"/>
                      </a:lnTo>
                      <a:lnTo>
                        <a:pt x="898" y="604"/>
                      </a:lnTo>
                      <a:lnTo>
                        <a:pt x="898" y="600"/>
                      </a:lnTo>
                      <a:lnTo>
                        <a:pt x="898" y="596"/>
                      </a:lnTo>
                      <a:lnTo>
                        <a:pt x="894" y="596"/>
                      </a:lnTo>
                      <a:lnTo>
                        <a:pt x="898" y="594"/>
                      </a:lnTo>
                      <a:lnTo>
                        <a:pt x="894" y="594"/>
                      </a:lnTo>
                      <a:lnTo>
                        <a:pt x="894" y="590"/>
                      </a:lnTo>
                      <a:lnTo>
                        <a:pt x="898" y="586"/>
                      </a:lnTo>
                      <a:lnTo>
                        <a:pt x="894" y="590"/>
                      </a:lnTo>
                      <a:lnTo>
                        <a:pt x="890" y="590"/>
                      </a:lnTo>
                      <a:lnTo>
                        <a:pt x="890" y="586"/>
                      </a:lnTo>
                      <a:lnTo>
                        <a:pt x="890" y="590"/>
                      </a:lnTo>
                      <a:lnTo>
                        <a:pt x="888" y="590"/>
                      </a:lnTo>
                      <a:lnTo>
                        <a:pt x="888" y="586"/>
                      </a:lnTo>
                      <a:lnTo>
                        <a:pt x="890" y="582"/>
                      </a:lnTo>
                      <a:lnTo>
                        <a:pt x="894" y="582"/>
                      </a:lnTo>
                      <a:lnTo>
                        <a:pt x="894" y="578"/>
                      </a:lnTo>
                      <a:lnTo>
                        <a:pt x="894" y="574"/>
                      </a:lnTo>
                      <a:lnTo>
                        <a:pt x="894" y="570"/>
                      </a:lnTo>
                      <a:lnTo>
                        <a:pt x="898" y="570"/>
                      </a:lnTo>
                      <a:lnTo>
                        <a:pt x="894" y="570"/>
                      </a:lnTo>
                      <a:lnTo>
                        <a:pt x="898" y="570"/>
                      </a:lnTo>
                      <a:lnTo>
                        <a:pt x="894" y="570"/>
                      </a:lnTo>
                      <a:lnTo>
                        <a:pt x="894" y="566"/>
                      </a:lnTo>
                      <a:lnTo>
                        <a:pt x="890" y="566"/>
                      </a:lnTo>
                      <a:lnTo>
                        <a:pt x="890" y="564"/>
                      </a:lnTo>
                      <a:lnTo>
                        <a:pt x="890" y="560"/>
                      </a:lnTo>
                      <a:lnTo>
                        <a:pt x="888" y="560"/>
                      </a:lnTo>
                      <a:lnTo>
                        <a:pt x="888" y="556"/>
                      </a:lnTo>
                      <a:lnTo>
                        <a:pt x="888" y="552"/>
                      </a:lnTo>
                      <a:lnTo>
                        <a:pt x="890" y="552"/>
                      </a:lnTo>
                      <a:lnTo>
                        <a:pt x="894" y="550"/>
                      </a:lnTo>
                      <a:lnTo>
                        <a:pt x="898" y="550"/>
                      </a:lnTo>
                      <a:lnTo>
                        <a:pt x="906" y="550"/>
                      </a:lnTo>
                      <a:lnTo>
                        <a:pt x="910" y="550"/>
                      </a:lnTo>
                      <a:lnTo>
                        <a:pt x="914" y="550"/>
                      </a:lnTo>
                      <a:lnTo>
                        <a:pt x="914" y="552"/>
                      </a:lnTo>
                      <a:lnTo>
                        <a:pt x="918" y="552"/>
                      </a:lnTo>
                      <a:lnTo>
                        <a:pt x="924" y="552"/>
                      </a:lnTo>
                      <a:lnTo>
                        <a:pt x="924" y="556"/>
                      </a:lnTo>
                      <a:lnTo>
                        <a:pt x="920" y="556"/>
                      </a:lnTo>
                      <a:lnTo>
                        <a:pt x="924" y="556"/>
                      </a:lnTo>
                      <a:lnTo>
                        <a:pt x="924" y="552"/>
                      </a:lnTo>
                      <a:lnTo>
                        <a:pt x="928" y="552"/>
                      </a:lnTo>
                      <a:lnTo>
                        <a:pt x="932" y="552"/>
                      </a:lnTo>
                      <a:lnTo>
                        <a:pt x="936" y="556"/>
                      </a:lnTo>
                      <a:lnTo>
                        <a:pt x="940" y="556"/>
                      </a:lnTo>
                      <a:lnTo>
                        <a:pt x="936" y="556"/>
                      </a:lnTo>
                      <a:lnTo>
                        <a:pt x="940" y="556"/>
                      </a:lnTo>
                      <a:lnTo>
                        <a:pt x="944" y="556"/>
                      </a:lnTo>
                      <a:lnTo>
                        <a:pt x="944" y="552"/>
                      </a:lnTo>
                      <a:lnTo>
                        <a:pt x="948" y="552"/>
                      </a:lnTo>
                      <a:lnTo>
                        <a:pt x="950" y="550"/>
                      </a:lnTo>
                      <a:lnTo>
                        <a:pt x="954" y="550"/>
                      </a:lnTo>
                      <a:lnTo>
                        <a:pt x="954" y="552"/>
                      </a:lnTo>
                      <a:lnTo>
                        <a:pt x="958" y="552"/>
                      </a:lnTo>
                      <a:lnTo>
                        <a:pt x="958" y="556"/>
                      </a:lnTo>
                      <a:lnTo>
                        <a:pt x="962" y="556"/>
                      </a:lnTo>
                      <a:lnTo>
                        <a:pt x="966" y="556"/>
                      </a:lnTo>
                      <a:lnTo>
                        <a:pt x="970" y="560"/>
                      </a:lnTo>
                      <a:lnTo>
                        <a:pt x="966" y="560"/>
                      </a:lnTo>
                      <a:lnTo>
                        <a:pt x="966" y="564"/>
                      </a:lnTo>
                      <a:lnTo>
                        <a:pt x="970" y="564"/>
                      </a:lnTo>
                      <a:lnTo>
                        <a:pt x="966" y="564"/>
                      </a:lnTo>
                      <a:lnTo>
                        <a:pt x="970" y="564"/>
                      </a:lnTo>
                      <a:lnTo>
                        <a:pt x="974" y="564"/>
                      </a:lnTo>
                      <a:lnTo>
                        <a:pt x="976" y="566"/>
                      </a:lnTo>
                      <a:lnTo>
                        <a:pt x="974" y="570"/>
                      </a:lnTo>
                      <a:lnTo>
                        <a:pt x="974" y="566"/>
                      </a:lnTo>
                      <a:lnTo>
                        <a:pt x="974" y="570"/>
                      </a:lnTo>
                      <a:lnTo>
                        <a:pt x="976" y="570"/>
                      </a:lnTo>
                      <a:lnTo>
                        <a:pt x="976" y="566"/>
                      </a:lnTo>
                      <a:lnTo>
                        <a:pt x="980" y="566"/>
                      </a:lnTo>
                      <a:lnTo>
                        <a:pt x="980" y="570"/>
                      </a:lnTo>
                      <a:lnTo>
                        <a:pt x="976" y="574"/>
                      </a:lnTo>
                      <a:lnTo>
                        <a:pt x="980" y="574"/>
                      </a:lnTo>
                      <a:lnTo>
                        <a:pt x="980" y="578"/>
                      </a:lnTo>
                      <a:lnTo>
                        <a:pt x="984" y="578"/>
                      </a:lnTo>
                      <a:lnTo>
                        <a:pt x="988" y="578"/>
                      </a:lnTo>
                      <a:lnTo>
                        <a:pt x="992" y="582"/>
                      </a:lnTo>
                      <a:lnTo>
                        <a:pt x="996" y="582"/>
                      </a:lnTo>
                      <a:lnTo>
                        <a:pt x="1000" y="582"/>
                      </a:lnTo>
                      <a:lnTo>
                        <a:pt x="1004" y="582"/>
                      </a:lnTo>
                      <a:lnTo>
                        <a:pt x="1004" y="586"/>
                      </a:lnTo>
                      <a:lnTo>
                        <a:pt x="1006" y="586"/>
                      </a:lnTo>
                      <a:lnTo>
                        <a:pt x="1010" y="586"/>
                      </a:lnTo>
                      <a:lnTo>
                        <a:pt x="1010" y="582"/>
                      </a:lnTo>
                      <a:lnTo>
                        <a:pt x="1014" y="586"/>
                      </a:lnTo>
                      <a:lnTo>
                        <a:pt x="1014" y="590"/>
                      </a:lnTo>
                      <a:lnTo>
                        <a:pt x="1010" y="590"/>
                      </a:lnTo>
                      <a:lnTo>
                        <a:pt x="1006" y="590"/>
                      </a:lnTo>
                      <a:lnTo>
                        <a:pt x="1010" y="590"/>
                      </a:lnTo>
                      <a:lnTo>
                        <a:pt x="1010" y="594"/>
                      </a:lnTo>
                      <a:lnTo>
                        <a:pt x="1006" y="594"/>
                      </a:lnTo>
                      <a:lnTo>
                        <a:pt x="1006" y="596"/>
                      </a:lnTo>
                      <a:lnTo>
                        <a:pt x="1006" y="600"/>
                      </a:lnTo>
                      <a:lnTo>
                        <a:pt x="1010" y="600"/>
                      </a:lnTo>
                      <a:lnTo>
                        <a:pt x="1010" y="604"/>
                      </a:lnTo>
                      <a:lnTo>
                        <a:pt x="1006" y="604"/>
                      </a:lnTo>
                      <a:lnTo>
                        <a:pt x="1004" y="604"/>
                      </a:lnTo>
                      <a:lnTo>
                        <a:pt x="1000" y="604"/>
                      </a:lnTo>
                      <a:lnTo>
                        <a:pt x="996" y="604"/>
                      </a:lnTo>
                      <a:lnTo>
                        <a:pt x="992" y="604"/>
                      </a:lnTo>
                      <a:lnTo>
                        <a:pt x="996" y="608"/>
                      </a:lnTo>
                      <a:lnTo>
                        <a:pt x="1000" y="608"/>
                      </a:lnTo>
                      <a:lnTo>
                        <a:pt x="1004" y="608"/>
                      </a:lnTo>
                      <a:lnTo>
                        <a:pt x="1006" y="608"/>
                      </a:lnTo>
                      <a:lnTo>
                        <a:pt x="1010" y="608"/>
                      </a:lnTo>
                      <a:lnTo>
                        <a:pt x="1010" y="612"/>
                      </a:lnTo>
                      <a:lnTo>
                        <a:pt x="1010" y="616"/>
                      </a:lnTo>
                      <a:lnTo>
                        <a:pt x="1006" y="616"/>
                      </a:lnTo>
                      <a:lnTo>
                        <a:pt x="1006" y="620"/>
                      </a:lnTo>
                      <a:lnTo>
                        <a:pt x="1010" y="620"/>
                      </a:lnTo>
                      <a:lnTo>
                        <a:pt x="1006" y="620"/>
                      </a:lnTo>
                      <a:lnTo>
                        <a:pt x="1006" y="622"/>
                      </a:lnTo>
                      <a:lnTo>
                        <a:pt x="1010" y="622"/>
                      </a:lnTo>
                      <a:lnTo>
                        <a:pt x="1010" y="620"/>
                      </a:lnTo>
                      <a:lnTo>
                        <a:pt x="1014" y="620"/>
                      </a:lnTo>
                      <a:lnTo>
                        <a:pt x="1014" y="622"/>
                      </a:lnTo>
                      <a:lnTo>
                        <a:pt x="1010" y="622"/>
                      </a:lnTo>
                      <a:lnTo>
                        <a:pt x="1010" y="626"/>
                      </a:lnTo>
                      <a:lnTo>
                        <a:pt x="1014" y="626"/>
                      </a:lnTo>
                      <a:lnTo>
                        <a:pt x="1010" y="626"/>
                      </a:lnTo>
                      <a:lnTo>
                        <a:pt x="1010" y="630"/>
                      </a:lnTo>
                      <a:lnTo>
                        <a:pt x="1010" y="634"/>
                      </a:lnTo>
                      <a:lnTo>
                        <a:pt x="1006" y="630"/>
                      </a:lnTo>
                      <a:lnTo>
                        <a:pt x="1010" y="630"/>
                      </a:lnTo>
                      <a:lnTo>
                        <a:pt x="1006" y="630"/>
                      </a:lnTo>
                      <a:lnTo>
                        <a:pt x="1006" y="626"/>
                      </a:lnTo>
                      <a:lnTo>
                        <a:pt x="1006" y="630"/>
                      </a:lnTo>
                      <a:lnTo>
                        <a:pt x="1006" y="634"/>
                      </a:lnTo>
                      <a:lnTo>
                        <a:pt x="1004" y="634"/>
                      </a:lnTo>
                      <a:lnTo>
                        <a:pt x="1006" y="634"/>
                      </a:lnTo>
                      <a:lnTo>
                        <a:pt x="1006" y="638"/>
                      </a:lnTo>
                      <a:lnTo>
                        <a:pt x="1010" y="634"/>
                      </a:lnTo>
                      <a:lnTo>
                        <a:pt x="1014" y="634"/>
                      </a:lnTo>
                      <a:lnTo>
                        <a:pt x="1014" y="630"/>
                      </a:lnTo>
                      <a:lnTo>
                        <a:pt x="1018" y="630"/>
                      </a:lnTo>
                      <a:lnTo>
                        <a:pt x="1022" y="630"/>
                      </a:lnTo>
                      <a:lnTo>
                        <a:pt x="1026" y="630"/>
                      </a:lnTo>
                      <a:lnTo>
                        <a:pt x="1026" y="634"/>
                      </a:lnTo>
                      <a:lnTo>
                        <a:pt x="1030" y="634"/>
                      </a:lnTo>
                      <a:lnTo>
                        <a:pt x="1030" y="638"/>
                      </a:lnTo>
                      <a:lnTo>
                        <a:pt x="1030" y="642"/>
                      </a:lnTo>
                      <a:lnTo>
                        <a:pt x="1030" y="646"/>
                      </a:lnTo>
                      <a:lnTo>
                        <a:pt x="1030" y="650"/>
                      </a:lnTo>
                      <a:lnTo>
                        <a:pt x="1026" y="650"/>
                      </a:lnTo>
                      <a:lnTo>
                        <a:pt x="1022" y="652"/>
                      </a:lnTo>
                      <a:lnTo>
                        <a:pt x="1018" y="652"/>
                      </a:lnTo>
                      <a:lnTo>
                        <a:pt x="1014" y="652"/>
                      </a:lnTo>
                      <a:lnTo>
                        <a:pt x="1014" y="656"/>
                      </a:lnTo>
                      <a:lnTo>
                        <a:pt x="1014" y="652"/>
                      </a:lnTo>
                      <a:lnTo>
                        <a:pt x="1018" y="652"/>
                      </a:lnTo>
                      <a:lnTo>
                        <a:pt x="1022" y="652"/>
                      </a:lnTo>
                      <a:lnTo>
                        <a:pt x="1026" y="652"/>
                      </a:lnTo>
                      <a:lnTo>
                        <a:pt x="1026" y="650"/>
                      </a:lnTo>
                      <a:lnTo>
                        <a:pt x="1030" y="650"/>
                      </a:lnTo>
                      <a:lnTo>
                        <a:pt x="1030" y="646"/>
                      </a:lnTo>
                      <a:lnTo>
                        <a:pt x="1030" y="642"/>
                      </a:lnTo>
                      <a:lnTo>
                        <a:pt x="1030" y="638"/>
                      </a:lnTo>
                      <a:lnTo>
                        <a:pt x="1032" y="638"/>
                      </a:lnTo>
                      <a:lnTo>
                        <a:pt x="1032" y="642"/>
                      </a:lnTo>
                      <a:lnTo>
                        <a:pt x="1032" y="646"/>
                      </a:lnTo>
                      <a:lnTo>
                        <a:pt x="1032" y="650"/>
                      </a:lnTo>
                      <a:lnTo>
                        <a:pt x="1032" y="646"/>
                      </a:lnTo>
                      <a:lnTo>
                        <a:pt x="1036" y="646"/>
                      </a:lnTo>
                      <a:lnTo>
                        <a:pt x="1036" y="642"/>
                      </a:lnTo>
                      <a:lnTo>
                        <a:pt x="1036" y="646"/>
                      </a:lnTo>
                      <a:lnTo>
                        <a:pt x="1036" y="652"/>
                      </a:lnTo>
                      <a:lnTo>
                        <a:pt x="1036" y="650"/>
                      </a:lnTo>
                      <a:lnTo>
                        <a:pt x="1040" y="646"/>
                      </a:lnTo>
                      <a:lnTo>
                        <a:pt x="1044" y="642"/>
                      </a:lnTo>
                      <a:lnTo>
                        <a:pt x="1048" y="642"/>
                      </a:lnTo>
                      <a:lnTo>
                        <a:pt x="1052" y="642"/>
                      </a:lnTo>
                      <a:lnTo>
                        <a:pt x="1052" y="638"/>
                      </a:lnTo>
                      <a:lnTo>
                        <a:pt x="1052" y="634"/>
                      </a:lnTo>
                      <a:lnTo>
                        <a:pt x="1056" y="634"/>
                      </a:lnTo>
                      <a:lnTo>
                        <a:pt x="1056" y="630"/>
                      </a:lnTo>
                      <a:lnTo>
                        <a:pt x="1060" y="634"/>
                      </a:lnTo>
                      <a:lnTo>
                        <a:pt x="1060" y="638"/>
                      </a:lnTo>
                      <a:lnTo>
                        <a:pt x="1062" y="638"/>
                      </a:lnTo>
                      <a:lnTo>
                        <a:pt x="1060" y="642"/>
                      </a:lnTo>
                      <a:lnTo>
                        <a:pt x="1060" y="646"/>
                      </a:lnTo>
                      <a:lnTo>
                        <a:pt x="1060" y="642"/>
                      </a:lnTo>
                      <a:lnTo>
                        <a:pt x="1062" y="642"/>
                      </a:lnTo>
                      <a:lnTo>
                        <a:pt x="1062" y="638"/>
                      </a:lnTo>
                      <a:lnTo>
                        <a:pt x="1060" y="634"/>
                      </a:lnTo>
                      <a:lnTo>
                        <a:pt x="1060" y="630"/>
                      </a:lnTo>
                      <a:lnTo>
                        <a:pt x="1062" y="630"/>
                      </a:lnTo>
                      <a:lnTo>
                        <a:pt x="1062" y="634"/>
                      </a:lnTo>
                      <a:lnTo>
                        <a:pt x="1062" y="630"/>
                      </a:lnTo>
                      <a:lnTo>
                        <a:pt x="1062" y="626"/>
                      </a:lnTo>
                      <a:lnTo>
                        <a:pt x="1066" y="626"/>
                      </a:lnTo>
                      <a:lnTo>
                        <a:pt x="1066" y="630"/>
                      </a:lnTo>
                      <a:lnTo>
                        <a:pt x="1066" y="626"/>
                      </a:lnTo>
                      <a:lnTo>
                        <a:pt x="1070" y="626"/>
                      </a:lnTo>
                      <a:lnTo>
                        <a:pt x="1066" y="626"/>
                      </a:lnTo>
                      <a:lnTo>
                        <a:pt x="1066" y="622"/>
                      </a:lnTo>
                      <a:lnTo>
                        <a:pt x="1066" y="620"/>
                      </a:lnTo>
                      <a:lnTo>
                        <a:pt x="1070" y="620"/>
                      </a:lnTo>
                      <a:lnTo>
                        <a:pt x="1070" y="622"/>
                      </a:lnTo>
                      <a:lnTo>
                        <a:pt x="1070" y="620"/>
                      </a:lnTo>
                      <a:lnTo>
                        <a:pt x="1066" y="620"/>
                      </a:lnTo>
                      <a:lnTo>
                        <a:pt x="1070" y="620"/>
                      </a:lnTo>
                      <a:lnTo>
                        <a:pt x="1074" y="620"/>
                      </a:lnTo>
                      <a:lnTo>
                        <a:pt x="1070" y="620"/>
                      </a:lnTo>
                      <a:lnTo>
                        <a:pt x="1070" y="616"/>
                      </a:lnTo>
                      <a:lnTo>
                        <a:pt x="1066" y="616"/>
                      </a:lnTo>
                      <a:lnTo>
                        <a:pt x="1066" y="612"/>
                      </a:lnTo>
                      <a:lnTo>
                        <a:pt x="1070" y="612"/>
                      </a:lnTo>
                      <a:lnTo>
                        <a:pt x="1070" y="608"/>
                      </a:lnTo>
                      <a:lnTo>
                        <a:pt x="1070" y="612"/>
                      </a:lnTo>
                      <a:lnTo>
                        <a:pt x="1074" y="612"/>
                      </a:lnTo>
                      <a:lnTo>
                        <a:pt x="1074" y="608"/>
                      </a:lnTo>
                      <a:lnTo>
                        <a:pt x="1070" y="608"/>
                      </a:lnTo>
                      <a:lnTo>
                        <a:pt x="1074" y="608"/>
                      </a:lnTo>
                      <a:lnTo>
                        <a:pt x="1074" y="604"/>
                      </a:lnTo>
                      <a:lnTo>
                        <a:pt x="1076" y="600"/>
                      </a:lnTo>
                      <a:lnTo>
                        <a:pt x="1076" y="596"/>
                      </a:lnTo>
                      <a:lnTo>
                        <a:pt x="1080" y="596"/>
                      </a:lnTo>
                      <a:lnTo>
                        <a:pt x="1080" y="600"/>
                      </a:lnTo>
                      <a:lnTo>
                        <a:pt x="1076" y="600"/>
                      </a:lnTo>
                      <a:lnTo>
                        <a:pt x="1080" y="600"/>
                      </a:lnTo>
                      <a:lnTo>
                        <a:pt x="1084" y="600"/>
                      </a:lnTo>
                      <a:lnTo>
                        <a:pt x="1080" y="604"/>
                      </a:lnTo>
                      <a:lnTo>
                        <a:pt x="1076" y="604"/>
                      </a:lnTo>
                      <a:lnTo>
                        <a:pt x="1076" y="608"/>
                      </a:lnTo>
                      <a:lnTo>
                        <a:pt x="1076" y="604"/>
                      </a:lnTo>
                      <a:lnTo>
                        <a:pt x="1080" y="604"/>
                      </a:lnTo>
                      <a:lnTo>
                        <a:pt x="1084" y="604"/>
                      </a:lnTo>
                      <a:lnTo>
                        <a:pt x="1084" y="608"/>
                      </a:lnTo>
                      <a:lnTo>
                        <a:pt x="1080" y="608"/>
                      </a:lnTo>
                      <a:lnTo>
                        <a:pt x="1084" y="608"/>
                      </a:lnTo>
                      <a:lnTo>
                        <a:pt x="1084" y="604"/>
                      </a:lnTo>
                      <a:lnTo>
                        <a:pt x="1088" y="604"/>
                      </a:lnTo>
                      <a:lnTo>
                        <a:pt x="1088" y="608"/>
                      </a:lnTo>
                      <a:lnTo>
                        <a:pt x="1084" y="612"/>
                      </a:lnTo>
                      <a:lnTo>
                        <a:pt x="1088" y="612"/>
                      </a:lnTo>
                      <a:lnTo>
                        <a:pt x="1088" y="616"/>
                      </a:lnTo>
                      <a:lnTo>
                        <a:pt x="1092" y="616"/>
                      </a:lnTo>
                      <a:lnTo>
                        <a:pt x="1092" y="620"/>
                      </a:lnTo>
                      <a:lnTo>
                        <a:pt x="1088" y="620"/>
                      </a:lnTo>
                      <a:lnTo>
                        <a:pt x="1092" y="620"/>
                      </a:lnTo>
                      <a:lnTo>
                        <a:pt x="1092" y="622"/>
                      </a:lnTo>
                      <a:lnTo>
                        <a:pt x="1092" y="620"/>
                      </a:lnTo>
                      <a:lnTo>
                        <a:pt x="1096" y="620"/>
                      </a:lnTo>
                      <a:lnTo>
                        <a:pt x="1096" y="622"/>
                      </a:lnTo>
                      <a:lnTo>
                        <a:pt x="1100" y="622"/>
                      </a:lnTo>
                      <a:lnTo>
                        <a:pt x="1096" y="626"/>
                      </a:lnTo>
                      <a:lnTo>
                        <a:pt x="1092" y="626"/>
                      </a:lnTo>
                      <a:lnTo>
                        <a:pt x="1088" y="626"/>
                      </a:lnTo>
                      <a:lnTo>
                        <a:pt x="1088" y="630"/>
                      </a:lnTo>
                      <a:lnTo>
                        <a:pt x="1092" y="626"/>
                      </a:lnTo>
                      <a:lnTo>
                        <a:pt x="1096" y="626"/>
                      </a:lnTo>
                      <a:lnTo>
                        <a:pt x="1100" y="626"/>
                      </a:lnTo>
                      <a:lnTo>
                        <a:pt x="1100" y="630"/>
                      </a:lnTo>
                      <a:lnTo>
                        <a:pt x="1104" y="630"/>
                      </a:lnTo>
                      <a:lnTo>
                        <a:pt x="1104" y="634"/>
                      </a:lnTo>
                      <a:lnTo>
                        <a:pt x="1106" y="634"/>
                      </a:lnTo>
                      <a:lnTo>
                        <a:pt x="1106" y="638"/>
                      </a:lnTo>
                      <a:lnTo>
                        <a:pt x="1104" y="638"/>
                      </a:lnTo>
                      <a:lnTo>
                        <a:pt x="1100" y="642"/>
                      </a:lnTo>
                      <a:lnTo>
                        <a:pt x="1096" y="642"/>
                      </a:lnTo>
                      <a:lnTo>
                        <a:pt x="1096" y="646"/>
                      </a:lnTo>
                      <a:lnTo>
                        <a:pt x="1096" y="642"/>
                      </a:lnTo>
                      <a:lnTo>
                        <a:pt x="1100" y="642"/>
                      </a:lnTo>
                      <a:lnTo>
                        <a:pt x="1104" y="642"/>
                      </a:lnTo>
                      <a:lnTo>
                        <a:pt x="1106" y="642"/>
                      </a:lnTo>
                      <a:lnTo>
                        <a:pt x="1110" y="642"/>
                      </a:lnTo>
                      <a:lnTo>
                        <a:pt x="1106" y="642"/>
                      </a:lnTo>
                      <a:lnTo>
                        <a:pt x="1106" y="646"/>
                      </a:lnTo>
                      <a:lnTo>
                        <a:pt x="1110" y="646"/>
                      </a:lnTo>
                      <a:lnTo>
                        <a:pt x="1106" y="646"/>
                      </a:lnTo>
                      <a:lnTo>
                        <a:pt x="1106" y="650"/>
                      </a:lnTo>
                      <a:lnTo>
                        <a:pt x="1106" y="646"/>
                      </a:lnTo>
                      <a:lnTo>
                        <a:pt x="1104" y="650"/>
                      </a:lnTo>
                      <a:lnTo>
                        <a:pt x="1100" y="650"/>
                      </a:lnTo>
                      <a:lnTo>
                        <a:pt x="1100" y="652"/>
                      </a:lnTo>
                      <a:lnTo>
                        <a:pt x="1104" y="650"/>
                      </a:lnTo>
                      <a:lnTo>
                        <a:pt x="1106" y="650"/>
                      </a:lnTo>
                      <a:lnTo>
                        <a:pt x="1110" y="650"/>
                      </a:lnTo>
                      <a:lnTo>
                        <a:pt x="1110" y="646"/>
                      </a:lnTo>
                      <a:lnTo>
                        <a:pt x="1110" y="650"/>
                      </a:lnTo>
                      <a:lnTo>
                        <a:pt x="1114" y="650"/>
                      </a:lnTo>
                      <a:lnTo>
                        <a:pt x="1110" y="650"/>
                      </a:lnTo>
                      <a:lnTo>
                        <a:pt x="1110" y="652"/>
                      </a:lnTo>
                      <a:lnTo>
                        <a:pt x="1110" y="650"/>
                      </a:lnTo>
                      <a:lnTo>
                        <a:pt x="1110" y="652"/>
                      </a:lnTo>
                      <a:lnTo>
                        <a:pt x="1106" y="652"/>
                      </a:lnTo>
                      <a:lnTo>
                        <a:pt x="1110" y="652"/>
                      </a:lnTo>
                      <a:lnTo>
                        <a:pt x="1114" y="652"/>
                      </a:lnTo>
                      <a:lnTo>
                        <a:pt x="1114" y="656"/>
                      </a:lnTo>
                      <a:lnTo>
                        <a:pt x="1118" y="656"/>
                      </a:lnTo>
                      <a:lnTo>
                        <a:pt x="1118" y="660"/>
                      </a:lnTo>
                      <a:lnTo>
                        <a:pt x="1114" y="660"/>
                      </a:lnTo>
                      <a:lnTo>
                        <a:pt x="1114" y="664"/>
                      </a:lnTo>
                      <a:lnTo>
                        <a:pt x="1110" y="664"/>
                      </a:lnTo>
                      <a:lnTo>
                        <a:pt x="1110" y="660"/>
                      </a:lnTo>
                      <a:lnTo>
                        <a:pt x="1110" y="664"/>
                      </a:lnTo>
                      <a:lnTo>
                        <a:pt x="1114" y="664"/>
                      </a:lnTo>
                      <a:lnTo>
                        <a:pt x="1118" y="664"/>
                      </a:lnTo>
                      <a:lnTo>
                        <a:pt x="1118" y="668"/>
                      </a:lnTo>
                      <a:lnTo>
                        <a:pt x="1118" y="672"/>
                      </a:lnTo>
                      <a:lnTo>
                        <a:pt x="1122" y="672"/>
                      </a:lnTo>
                      <a:lnTo>
                        <a:pt x="1126" y="672"/>
                      </a:lnTo>
                      <a:lnTo>
                        <a:pt x="1126" y="676"/>
                      </a:lnTo>
                      <a:lnTo>
                        <a:pt x="1122" y="676"/>
                      </a:lnTo>
                      <a:lnTo>
                        <a:pt x="1122" y="680"/>
                      </a:lnTo>
                      <a:lnTo>
                        <a:pt x="1118" y="680"/>
                      </a:lnTo>
                      <a:lnTo>
                        <a:pt x="1122" y="680"/>
                      </a:lnTo>
                      <a:lnTo>
                        <a:pt x="1118" y="680"/>
                      </a:lnTo>
                      <a:lnTo>
                        <a:pt x="1122" y="680"/>
                      </a:lnTo>
                      <a:lnTo>
                        <a:pt x="1122" y="682"/>
                      </a:lnTo>
                      <a:lnTo>
                        <a:pt x="1118" y="682"/>
                      </a:lnTo>
                      <a:lnTo>
                        <a:pt x="1118" y="680"/>
                      </a:lnTo>
                      <a:lnTo>
                        <a:pt x="1114" y="680"/>
                      </a:lnTo>
                      <a:lnTo>
                        <a:pt x="1110" y="680"/>
                      </a:lnTo>
                      <a:lnTo>
                        <a:pt x="1114" y="680"/>
                      </a:lnTo>
                      <a:lnTo>
                        <a:pt x="1114" y="676"/>
                      </a:lnTo>
                      <a:lnTo>
                        <a:pt x="1110" y="676"/>
                      </a:lnTo>
                      <a:lnTo>
                        <a:pt x="1110" y="680"/>
                      </a:lnTo>
                      <a:lnTo>
                        <a:pt x="1114" y="680"/>
                      </a:lnTo>
                      <a:lnTo>
                        <a:pt x="1118" y="682"/>
                      </a:lnTo>
                      <a:lnTo>
                        <a:pt x="1114" y="682"/>
                      </a:lnTo>
                      <a:lnTo>
                        <a:pt x="1118" y="682"/>
                      </a:lnTo>
                      <a:lnTo>
                        <a:pt x="1122" y="682"/>
                      </a:lnTo>
                      <a:lnTo>
                        <a:pt x="1122" y="686"/>
                      </a:lnTo>
                      <a:lnTo>
                        <a:pt x="1118" y="686"/>
                      </a:lnTo>
                      <a:lnTo>
                        <a:pt x="1118" y="682"/>
                      </a:lnTo>
                      <a:lnTo>
                        <a:pt x="1114" y="686"/>
                      </a:lnTo>
                      <a:lnTo>
                        <a:pt x="1118" y="686"/>
                      </a:lnTo>
                      <a:lnTo>
                        <a:pt x="1114" y="686"/>
                      </a:lnTo>
                      <a:lnTo>
                        <a:pt x="1118" y="686"/>
                      </a:lnTo>
                      <a:lnTo>
                        <a:pt x="1122" y="686"/>
                      </a:lnTo>
                      <a:lnTo>
                        <a:pt x="1122" y="690"/>
                      </a:lnTo>
                      <a:lnTo>
                        <a:pt x="1118" y="690"/>
                      </a:lnTo>
                      <a:lnTo>
                        <a:pt x="1114" y="690"/>
                      </a:lnTo>
                      <a:lnTo>
                        <a:pt x="1118" y="690"/>
                      </a:lnTo>
                      <a:lnTo>
                        <a:pt x="1122" y="690"/>
                      </a:lnTo>
                      <a:lnTo>
                        <a:pt x="1126" y="690"/>
                      </a:lnTo>
                      <a:lnTo>
                        <a:pt x="1126" y="694"/>
                      </a:lnTo>
                      <a:lnTo>
                        <a:pt x="1130" y="694"/>
                      </a:lnTo>
                      <a:lnTo>
                        <a:pt x="1126" y="694"/>
                      </a:lnTo>
                      <a:lnTo>
                        <a:pt x="1126" y="698"/>
                      </a:lnTo>
                      <a:lnTo>
                        <a:pt x="1130" y="698"/>
                      </a:lnTo>
                      <a:lnTo>
                        <a:pt x="1132" y="698"/>
                      </a:lnTo>
                      <a:lnTo>
                        <a:pt x="1136" y="698"/>
                      </a:lnTo>
                      <a:lnTo>
                        <a:pt x="1136" y="702"/>
                      </a:lnTo>
                      <a:lnTo>
                        <a:pt x="1132" y="702"/>
                      </a:lnTo>
                      <a:lnTo>
                        <a:pt x="1136" y="702"/>
                      </a:lnTo>
                      <a:lnTo>
                        <a:pt x="1136" y="698"/>
                      </a:lnTo>
                      <a:lnTo>
                        <a:pt x="1136" y="702"/>
                      </a:lnTo>
                      <a:lnTo>
                        <a:pt x="1136" y="706"/>
                      </a:lnTo>
                      <a:lnTo>
                        <a:pt x="1136" y="702"/>
                      </a:lnTo>
                      <a:lnTo>
                        <a:pt x="1140" y="702"/>
                      </a:lnTo>
                      <a:lnTo>
                        <a:pt x="1136" y="702"/>
                      </a:lnTo>
                      <a:lnTo>
                        <a:pt x="1136" y="706"/>
                      </a:lnTo>
                      <a:lnTo>
                        <a:pt x="1140" y="706"/>
                      </a:lnTo>
                      <a:lnTo>
                        <a:pt x="1140" y="708"/>
                      </a:lnTo>
                      <a:lnTo>
                        <a:pt x="1136" y="708"/>
                      </a:lnTo>
                      <a:lnTo>
                        <a:pt x="1140" y="708"/>
                      </a:lnTo>
                      <a:lnTo>
                        <a:pt x="1140" y="706"/>
                      </a:lnTo>
                      <a:lnTo>
                        <a:pt x="1144" y="706"/>
                      </a:lnTo>
                      <a:lnTo>
                        <a:pt x="1144" y="708"/>
                      </a:lnTo>
                      <a:lnTo>
                        <a:pt x="1140" y="708"/>
                      </a:lnTo>
                      <a:lnTo>
                        <a:pt x="1140" y="712"/>
                      </a:lnTo>
                      <a:lnTo>
                        <a:pt x="1136" y="712"/>
                      </a:lnTo>
                      <a:lnTo>
                        <a:pt x="1140" y="712"/>
                      </a:lnTo>
                      <a:lnTo>
                        <a:pt x="1136" y="716"/>
                      </a:lnTo>
                      <a:lnTo>
                        <a:pt x="1140" y="716"/>
                      </a:lnTo>
                      <a:lnTo>
                        <a:pt x="1140" y="712"/>
                      </a:lnTo>
                      <a:lnTo>
                        <a:pt x="1144" y="712"/>
                      </a:lnTo>
                      <a:lnTo>
                        <a:pt x="1144" y="716"/>
                      </a:lnTo>
                      <a:lnTo>
                        <a:pt x="1140" y="716"/>
                      </a:lnTo>
                      <a:lnTo>
                        <a:pt x="1144" y="716"/>
                      </a:lnTo>
                      <a:lnTo>
                        <a:pt x="1144" y="712"/>
                      </a:lnTo>
                      <a:lnTo>
                        <a:pt x="1148" y="712"/>
                      </a:lnTo>
                      <a:lnTo>
                        <a:pt x="1148" y="708"/>
                      </a:lnTo>
                      <a:lnTo>
                        <a:pt x="1148" y="712"/>
                      </a:lnTo>
                      <a:lnTo>
                        <a:pt x="1144" y="712"/>
                      </a:lnTo>
                      <a:lnTo>
                        <a:pt x="1144" y="716"/>
                      </a:lnTo>
                      <a:lnTo>
                        <a:pt x="1148" y="716"/>
                      </a:lnTo>
                      <a:lnTo>
                        <a:pt x="1152" y="712"/>
                      </a:lnTo>
                      <a:lnTo>
                        <a:pt x="1152" y="716"/>
                      </a:lnTo>
                      <a:lnTo>
                        <a:pt x="1148" y="720"/>
                      </a:lnTo>
                      <a:lnTo>
                        <a:pt x="1148" y="724"/>
                      </a:lnTo>
                      <a:lnTo>
                        <a:pt x="1148" y="720"/>
                      </a:lnTo>
                      <a:lnTo>
                        <a:pt x="1152" y="720"/>
                      </a:lnTo>
                      <a:lnTo>
                        <a:pt x="1156" y="716"/>
                      </a:lnTo>
                      <a:lnTo>
                        <a:pt x="1156" y="712"/>
                      </a:lnTo>
                      <a:lnTo>
                        <a:pt x="1160" y="712"/>
                      </a:lnTo>
                      <a:lnTo>
                        <a:pt x="1156" y="712"/>
                      </a:lnTo>
                      <a:lnTo>
                        <a:pt x="1156" y="716"/>
                      </a:lnTo>
                      <a:lnTo>
                        <a:pt x="1160" y="716"/>
                      </a:lnTo>
                      <a:lnTo>
                        <a:pt x="1160" y="712"/>
                      </a:lnTo>
                      <a:lnTo>
                        <a:pt x="1160" y="716"/>
                      </a:lnTo>
                      <a:lnTo>
                        <a:pt x="1160" y="720"/>
                      </a:lnTo>
                      <a:lnTo>
                        <a:pt x="1162" y="720"/>
                      </a:lnTo>
                      <a:lnTo>
                        <a:pt x="1166" y="724"/>
                      </a:lnTo>
                      <a:lnTo>
                        <a:pt x="1166" y="720"/>
                      </a:lnTo>
                      <a:lnTo>
                        <a:pt x="1170" y="720"/>
                      </a:lnTo>
                      <a:lnTo>
                        <a:pt x="1170" y="724"/>
                      </a:lnTo>
                      <a:lnTo>
                        <a:pt x="1174" y="724"/>
                      </a:lnTo>
                      <a:lnTo>
                        <a:pt x="1178" y="724"/>
                      </a:lnTo>
                      <a:lnTo>
                        <a:pt x="1182" y="724"/>
                      </a:lnTo>
                      <a:lnTo>
                        <a:pt x="1182" y="728"/>
                      </a:lnTo>
                      <a:lnTo>
                        <a:pt x="1178" y="728"/>
                      </a:lnTo>
                      <a:lnTo>
                        <a:pt x="1182" y="728"/>
                      </a:lnTo>
                      <a:lnTo>
                        <a:pt x="1182" y="732"/>
                      </a:lnTo>
                      <a:lnTo>
                        <a:pt x="1178" y="732"/>
                      </a:lnTo>
                      <a:lnTo>
                        <a:pt x="1174" y="732"/>
                      </a:lnTo>
                      <a:lnTo>
                        <a:pt x="1170" y="732"/>
                      </a:lnTo>
                      <a:lnTo>
                        <a:pt x="1174" y="732"/>
                      </a:lnTo>
                      <a:lnTo>
                        <a:pt x="1170" y="736"/>
                      </a:lnTo>
                      <a:lnTo>
                        <a:pt x="1166" y="736"/>
                      </a:lnTo>
                      <a:lnTo>
                        <a:pt x="1162" y="736"/>
                      </a:lnTo>
                      <a:lnTo>
                        <a:pt x="1160" y="736"/>
                      </a:lnTo>
                      <a:lnTo>
                        <a:pt x="1156" y="738"/>
                      </a:lnTo>
                      <a:lnTo>
                        <a:pt x="1152" y="738"/>
                      </a:lnTo>
                      <a:lnTo>
                        <a:pt x="1156" y="738"/>
                      </a:lnTo>
                      <a:lnTo>
                        <a:pt x="1160" y="738"/>
                      </a:lnTo>
                      <a:lnTo>
                        <a:pt x="1162" y="736"/>
                      </a:lnTo>
                      <a:lnTo>
                        <a:pt x="1166" y="736"/>
                      </a:lnTo>
                      <a:lnTo>
                        <a:pt x="1166" y="738"/>
                      </a:lnTo>
                      <a:lnTo>
                        <a:pt x="1162" y="738"/>
                      </a:lnTo>
                      <a:lnTo>
                        <a:pt x="1160" y="738"/>
                      </a:lnTo>
                      <a:lnTo>
                        <a:pt x="1156" y="738"/>
                      </a:lnTo>
                      <a:lnTo>
                        <a:pt x="1156" y="742"/>
                      </a:lnTo>
                      <a:lnTo>
                        <a:pt x="1152" y="742"/>
                      </a:lnTo>
                      <a:lnTo>
                        <a:pt x="1148" y="742"/>
                      </a:lnTo>
                      <a:lnTo>
                        <a:pt x="1144" y="742"/>
                      </a:lnTo>
                      <a:lnTo>
                        <a:pt x="1144" y="746"/>
                      </a:lnTo>
                      <a:lnTo>
                        <a:pt x="1144" y="750"/>
                      </a:lnTo>
                      <a:lnTo>
                        <a:pt x="1140" y="746"/>
                      </a:lnTo>
                      <a:lnTo>
                        <a:pt x="1136" y="746"/>
                      </a:lnTo>
                      <a:lnTo>
                        <a:pt x="1132" y="742"/>
                      </a:lnTo>
                      <a:lnTo>
                        <a:pt x="1132" y="746"/>
                      </a:lnTo>
                      <a:lnTo>
                        <a:pt x="1136" y="746"/>
                      </a:lnTo>
                      <a:lnTo>
                        <a:pt x="1140" y="746"/>
                      </a:lnTo>
                      <a:lnTo>
                        <a:pt x="1140" y="750"/>
                      </a:lnTo>
                      <a:lnTo>
                        <a:pt x="1144" y="750"/>
                      </a:lnTo>
                      <a:lnTo>
                        <a:pt x="1140" y="754"/>
                      </a:lnTo>
                      <a:lnTo>
                        <a:pt x="1144" y="754"/>
                      </a:lnTo>
                      <a:lnTo>
                        <a:pt x="1140" y="754"/>
                      </a:lnTo>
                      <a:lnTo>
                        <a:pt x="1144" y="754"/>
                      </a:lnTo>
                      <a:lnTo>
                        <a:pt x="1144" y="750"/>
                      </a:lnTo>
                      <a:lnTo>
                        <a:pt x="1148" y="750"/>
                      </a:lnTo>
                      <a:lnTo>
                        <a:pt x="1152" y="750"/>
                      </a:lnTo>
                      <a:lnTo>
                        <a:pt x="1152" y="746"/>
                      </a:lnTo>
                      <a:lnTo>
                        <a:pt x="1156" y="746"/>
                      </a:lnTo>
                      <a:lnTo>
                        <a:pt x="1160" y="746"/>
                      </a:lnTo>
                      <a:lnTo>
                        <a:pt x="1160" y="742"/>
                      </a:lnTo>
                      <a:lnTo>
                        <a:pt x="1162" y="742"/>
                      </a:lnTo>
                      <a:lnTo>
                        <a:pt x="1166" y="738"/>
                      </a:lnTo>
                      <a:lnTo>
                        <a:pt x="1170" y="738"/>
                      </a:lnTo>
                      <a:lnTo>
                        <a:pt x="1174" y="738"/>
                      </a:lnTo>
                      <a:lnTo>
                        <a:pt x="1178" y="738"/>
                      </a:lnTo>
                      <a:lnTo>
                        <a:pt x="1174" y="736"/>
                      </a:lnTo>
                      <a:lnTo>
                        <a:pt x="1170" y="736"/>
                      </a:lnTo>
                      <a:lnTo>
                        <a:pt x="1166" y="736"/>
                      </a:lnTo>
                      <a:lnTo>
                        <a:pt x="1170" y="736"/>
                      </a:lnTo>
                      <a:lnTo>
                        <a:pt x="1174" y="736"/>
                      </a:lnTo>
                      <a:lnTo>
                        <a:pt x="1178" y="736"/>
                      </a:lnTo>
                      <a:lnTo>
                        <a:pt x="1182" y="736"/>
                      </a:lnTo>
                      <a:lnTo>
                        <a:pt x="1182" y="738"/>
                      </a:lnTo>
                      <a:lnTo>
                        <a:pt x="1186" y="742"/>
                      </a:lnTo>
                      <a:lnTo>
                        <a:pt x="1186" y="746"/>
                      </a:lnTo>
                      <a:lnTo>
                        <a:pt x="1182" y="746"/>
                      </a:lnTo>
                      <a:lnTo>
                        <a:pt x="1186" y="750"/>
                      </a:lnTo>
                      <a:lnTo>
                        <a:pt x="1182" y="750"/>
                      </a:lnTo>
                      <a:lnTo>
                        <a:pt x="1186" y="750"/>
                      </a:lnTo>
                      <a:lnTo>
                        <a:pt x="1186" y="746"/>
                      </a:lnTo>
                      <a:lnTo>
                        <a:pt x="1188" y="746"/>
                      </a:lnTo>
                      <a:lnTo>
                        <a:pt x="1192" y="746"/>
                      </a:lnTo>
                      <a:lnTo>
                        <a:pt x="1192" y="742"/>
                      </a:lnTo>
                      <a:lnTo>
                        <a:pt x="1196" y="742"/>
                      </a:lnTo>
                      <a:lnTo>
                        <a:pt x="1196" y="746"/>
                      </a:lnTo>
                      <a:lnTo>
                        <a:pt x="1192" y="746"/>
                      </a:lnTo>
                      <a:lnTo>
                        <a:pt x="1196" y="746"/>
                      </a:lnTo>
                      <a:lnTo>
                        <a:pt x="1200" y="746"/>
                      </a:lnTo>
                      <a:lnTo>
                        <a:pt x="1204" y="750"/>
                      </a:lnTo>
                      <a:lnTo>
                        <a:pt x="1200" y="750"/>
                      </a:lnTo>
                      <a:lnTo>
                        <a:pt x="1204" y="750"/>
                      </a:lnTo>
                      <a:lnTo>
                        <a:pt x="1200" y="754"/>
                      </a:lnTo>
                      <a:lnTo>
                        <a:pt x="1204" y="754"/>
                      </a:lnTo>
                      <a:lnTo>
                        <a:pt x="1204" y="758"/>
                      </a:lnTo>
                      <a:lnTo>
                        <a:pt x="1204" y="762"/>
                      </a:lnTo>
                      <a:lnTo>
                        <a:pt x="1200" y="762"/>
                      </a:lnTo>
                      <a:lnTo>
                        <a:pt x="1204" y="762"/>
                      </a:lnTo>
                      <a:lnTo>
                        <a:pt x="1204" y="766"/>
                      </a:lnTo>
                      <a:lnTo>
                        <a:pt x="1200" y="766"/>
                      </a:lnTo>
                      <a:lnTo>
                        <a:pt x="1204" y="768"/>
                      </a:lnTo>
                      <a:lnTo>
                        <a:pt x="1200" y="768"/>
                      </a:lnTo>
                      <a:lnTo>
                        <a:pt x="1204" y="768"/>
                      </a:lnTo>
                      <a:lnTo>
                        <a:pt x="1200" y="768"/>
                      </a:lnTo>
                      <a:lnTo>
                        <a:pt x="1196" y="768"/>
                      </a:lnTo>
                      <a:lnTo>
                        <a:pt x="1200" y="768"/>
                      </a:lnTo>
                      <a:lnTo>
                        <a:pt x="1204" y="772"/>
                      </a:lnTo>
                      <a:lnTo>
                        <a:pt x="1208" y="772"/>
                      </a:lnTo>
                      <a:lnTo>
                        <a:pt x="1204" y="776"/>
                      </a:lnTo>
                      <a:lnTo>
                        <a:pt x="1204" y="772"/>
                      </a:lnTo>
                      <a:lnTo>
                        <a:pt x="1200" y="772"/>
                      </a:lnTo>
                      <a:lnTo>
                        <a:pt x="1204" y="772"/>
                      </a:lnTo>
                      <a:lnTo>
                        <a:pt x="1204" y="776"/>
                      </a:lnTo>
                      <a:lnTo>
                        <a:pt x="1208" y="776"/>
                      </a:lnTo>
                      <a:lnTo>
                        <a:pt x="1208" y="780"/>
                      </a:lnTo>
                      <a:lnTo>
                        <a:pt x="1204" y="784"/>
                      </a:lnTo>
                      <a:lnTo>
                        <a:pt x="1200" y="784"/>
                      </a:lnTo>
                      <a:lnTo>
                        <a:pt x="1200" y="788"/>
                      </a:lnTo>
                      <a:lnTo>
                        <a:pt x="1196" y="788"/>
                      </a:lnTo>
                      <a:lnTo>
                        <a:pt x="1192" y="792"/>
                      </a:lnTo>
                      <a:lnTo>
                        <a:pt x="1188" y="792"/>
                      </a:lnTo>
                      <a:lnTo>
                        <a:pt x="1188" y="794"/>
                      </a:lnTo>
                      <a:lnTo>
                        <a:pt x="1186" y="794"/>
                      </a:lnTo>
                      <a:lnTo>
                        <a:pt x="1186" y="792"/>
                      </a:lnTo>
                      <a:lnTo>
                        <a:pt x="1182" y="792"/>
                      </a:lnTo>
                      <a:lnTo>
                        <a:pt x="1182" y="794"/>
                      </a:lnTo>
                      <a:lnTo>
                        <a:pt x="1178" y="794"/>
                      </a:lnTo>
                      <a:lnTo>
                        <a:pt x="1178" y="792"/>
                      </a:lnTo>
                      <a:lnTo>
                        <a:pt x="1174" y="794"/>
                      </a:lnTo>
                      <a:lnTo>
                        <a:pt x="1170" y="798"/>
                      </a:lnTo>
                      <a:lnTo>
                        <a:pt x="1166" y="794"/>
                      </a:lnTo>
                      <a:lnTo>
                        <a:pt x="1166" y="798"/>
                      </a:lnTo>
                      <a:lnTo>
                        <a:pt x="1162" y="798"/>
                      </a:lnTo>
                      <a:lnTo>
                        <a:pt x="1166" y="798"/>
                      </a:lnTo>
                      <a:lnTo>
                        <a:pt x="1162" y="802"/>
                      </a:lnTo>
                      <a:lnTo>
                        <a:pt x="1160" y="802"/>
                      </a:lnTo>
                      <a:lnTo>
                        <a:pt x="1160" y="806"/>
                      </a:lnTo>
                      <a:lnTo>
                        <a:pt x="1160" y="810"/>
                      </a:lnTo>
                      <a:lnTo>
                        <a:pt x="1160" y="806"/>
                      </a:lnTo>
                      <a:lnTo>
                        <a:pt x="1156" y="810"/>
                      </a:lnTo>
                      <a:lnTo>
                        <a:pt x="1152" y="810"/>
                      </a:lnTo>
                      <a:lnTo>
                        <a:pt x="1152" y="814"/>
                      </a:lnTo>
                      <a:lnTo>
                        <a:pt x="1148" y="814"/>
                      </a:lnTo>
                      <a:lnTo>
                        <a:pt x="1148" y="818"/>
                      </a:lnTo>
                      <a:lnTo>
                        <a:pt x="1144" y="818"/>
                      </a:lnTo>
                      <a:lnTo>
                        <a:pt x="1140" y="818"/>
                      </a:lnTo>
                      <a:lnTo>
                        <a:pt x="1136" y="818"/>
                      </a:lnTo>
                      <a:lnTo>
                        <a:pt x="1136" y="822"/>
                      </a:lnTo>
                      <a:lnTo>
                        <a:pt x="1136" y="818"/>
                      </a:lnTo>
                      <a:lnTo>
                        <a:pt x="1132" y="822"/>
                      </a:lnTo>
                      <a:lnTo>
                        <a:pt x="1130" y="822"/>
                      </a:lnTo>
                      <a:lnTo>
                        <a:pt x="1126" y="822"/>
                      </a:lnTo>
                      <a:lnTo>
                        <a:pt x="1122" y="822"/>
                      </a:lnTo>
                      <a:lnTo>
                        <a:pt x="1118" y="822"/>
                      </a:lnTo>
                      <a:lnTo>
                        <a:pt x="1118" y="818"/>
                      </a:lnTo>
                      <a:lnTo>
                        <a:pt x="1114" y="818"/>
                      </a:lnTo>
                      <a:lnTo>
                        <a:pt x="1110" y="818"/>
                      </a:lnTo>
                      <a:lnTo>
                        <a:pt x="1106" y="818"/>
                      </a:lnTo>
                      <a:lnTo>
                        <a:pt x="1100" y="818"/>
                      </a:lnTo>
                      <a:lnTo>
                        <a:pt x="1096" y="818"/>
                      </a:lnTo>
                      <a:lnTo>
                        <a:pt x="1092" y="818"/>
                      </a:lnTo>
                      <a:lnTo>
                        <a:pt x="1088" y="818"/>
                      </a:lnTo>
                      <a:lnTo>
                        <a:pt x="1084" y="818"/>
                      </a:lnTo>
                      <a:lnTo>
                        <a:pt x="1080" y="818"/>
                      </a:lnTo>
                      <a:lnTo>
                        <a:pt x="1076" y="818"/>
                      </a:lnTo>
                      <a:lnTo>
                        <a:pt x="1074" y="818"/>
                      </a:lnTo>
                      <a:lnTo>
                        <a:pt x="1070" y="818"/>
                      </a:lnTo>
                      <a:lnTo>
                        <a:pt x="1066" y="818"/>
                      </a:lnTo>
                      <a:lnTo>
                        <a:pt x="1062" y="818"/>
                      </a:lnTo>
                      <a:lnTo>
                        <a:pt x="1060" y="818"/>
                      </a:lnTo>
                      <a:lnTo>
                        <a:pt x="1060" y="822"/>
                      </a:lnTo>
                      <a:lnTo>
                        <a:pt x="1056" y="822"/>
                      </a:lnTo>
                      <a:lnTo>
                        <a:pt x="1056" y="818"/>
                      </a:lnTo>
                      <a:lnTo>
                        <a:pt x="1052" y="822"/>
                      </a:lnTo>
                      <a:lnTo>
                        <a:pt x="1048" y="824"/>
                      </a:lnTo>
                      <a:lnTo>
                        <a:pt x="1048" y="828"/>
                      </a:lnTo>
                      <a:lnTo>
                        <a:pt x="1044" y="828"/>
                      </a:lnTo>
                      <a:lnTo>
                        <a:pt x="1044" y="832"/>
                      </a:lnTo>
                      <a:lnTo>
                        <a:pt x="1044" y="836"/>
                      </a:lnTo>
                      <a:lnTo>
                        <a:pt x="1040" y="836"/>
                      </a:lnTo>
                      <a:lnTo>
                        <a:pt x="1036" y="840"/>
                      </a:lnTo>
                      <a:lnTo>
                        <a:pt x="1032" y="840"/>
                      </a:lnTo>
                      <a:lnTo>
                        <a:pt x="1030" y="840"/>
                      </a:lnTo>
                      <a:lnTo>
                        <a:pt x="1030" y="844"/>
                      </a:lnTo>
                      <a:lnTo>
                        <a:pt x="1026" y="844"/>
                      </a:lnTo>
                      <a:lnTo>
                        <a:pt x="1022" y="848"/>
                      </a:lnTo>
                      <a:lnTo>
                        <a:pt x="1018" y="852"/>
                      </a:lnTo>
                      <a:lnTo>
                        <a:pt x="1018" y="854"/>
                      </a:lnTo>
                      <a:lnTo>
                        <a:pt x="1014" y="854"/>
                      </a:lnTo>
                      <a:lnTo>
                        <a:pt x="1014" y="858"/>
                      </a:lnTo>
                      <a:lnTo>
                        <a:pt x="1010" y="858"/>
                      </a:lnTo>
                      <a:lnTo>
                        <a:pt x="1010" y="862"/>
                      </a:lnTo>
                      <a:lnTo>
                        <a:pt x="1006" y="862"/>
                      </a:lnTo>
                      <a:lnTo>
                        <a:pt x="1004" y="858"/>
                      </a:lnTo>
                      <a:lnTo>
                        <a:pt x="1000" y="858"/>
                      </a:lnTo>
                      <a:lnTo>
                        <a:pt x="996" y="858"/>
                      </a:lnTo>
                      <a:lnTo>
                        <a:pt x="996" y="854"/>
                      </a:lnTo>
                      <a:lnTo>
                        <a:pt x="992" y="854"/>
                      </a:lnTo>
                      <a:lnTo>
                        <a:pt x="988" y="854"/>
                      </a:lnTo>
                      <a:lnTo>
                        <a:pt x="992" y="854"/>
                      </a:lnTo>
                      <a:lnTo>
                        <a:pt x="992" y="858"/>
                      </a:lnTo>
                      <a:lnTo>
                        <a:pt x="996" y="858"/>
                      </a:lnTo>
                      <a:lnTo>
                        <a:pt x="1000" y="858"/>
                      </a:lnTo>
                      <a:lnTo>
                        <a:pt x="1004" y="858"/>
                      </a:lnTo>
                      <a:lnTo>
                        <a:pt x="1006" y="862"/>
                      </a:lnTo>
                      <a:lnTo>
                        <a:pt x="1006" y="866"/>
                      </a:lnTo>
                      <a:lnTo>
                        <a:pt x="1006" y="870"/>
                      </a:lnTo>
                      <a:lnTo>
                        <a:pt x="1004" y="870"/>
                      </a:lnTo>
                      <a:lnTo>
                        <a:pt x="1004" y="874"/>
                      </a:lnTo>
                      <a:lnTo>
                        <a:pt x="1004" y="878"/>
                      </a:lnTo>
                      <a:lnTo>
                        <a:pt x="1000" y="878"/>
                      </a:lnTo>
                      <a:lnTo>
                        <a:pt x="996" y="878"/>
                      </a:lnTo>
                      <a:lnTo>
                        <a:pt x="996" y="880"/>
                      </a:lnTo>
                      <a:lnTo>
                        <a:pt x="996" y="884"/>
                      </a:lnTo>
                      <a:lnTo>
                        <a:pt x="992" y="884"/>
                      </a:lnTo>
                      <a:lnTo>
                        <a:pt x="988" y="888"/>
                      </a:lnTo>
                      <a:lnTo>
                        <a:pt x="984" y="892"/>
                      </a:lnTo>
                      <a:lnTo>
                        <a:pt x="988" y="888"/>
                      </a:lnTo>
                      <a:lnTo>
                        <a:pt x="992" y="888"/>
                      </a:lnTo>
                      <a:lnTo>
                        <a:pt x="996" y="888"/>
                      </a:lnTo>
                      <a:lnTo>
                        <a:pt x="996" y="884"/>
                      </a:lnTo>
                      <a:lnTo>
                        <a:pt x="1000" y="884"/>
                      </a:lnTo>
                      <a:lnTo>
                        <a:pt x="1000" y="880"/>
                      </a:lnTo>
                      <a:lnTo>
                        <a:pt x="1004" y="878"/>
                      </a:lnTo>
                      <a:lnTo>
                        <a:pt x="1004" y="874"/>
                      </a:lnTo>
                      <a:lnTo>
                        <a:pt x="1006" y="874"/>
                      </a:lnTo>
                      <a:lnTo>
                        <a:pt x="1010" y="870"/>
                      </a:lnTo>
                      <a:lnTo>
                        <a:pt x="1010" y="866"/>
                      </a:lnTo>
                      <a:lnTo>
                        <a:pt x="1014" y="866"/>
                      </a:lnTo>
                      <a:lnTo>
                        <a:pt x="1014" y="862"/>
                      </a:lnTo>
                      <a:lnTo>
                        <a:pt x="1018" y="862"/>
                      </a:lnTo>
                      <a:lnTo>
                        <a:pt x="1018" y="858"/>
                      </a:lnTo>
                      <a:lnTo>
                        <a:pt x="1022" y="858"/>
                      </a:lnTo>
                      <a:lnTo>
                        <a:pt x="1026" y="854"/>
                      </a:lnTo>
                      <a:lnTo>
                        <a:pt x="1030" y="854"/>
                      </a:lnTo>
                      <a:lnTo>
                        <a:pt x="1030" y="852"/>
                      </a:lnTo>
                      <a:lnTo>
                        <a:pt x="1032" y="852"/>
                      </a:lnTo>
                      <a:lnTo>
                        <a:pt x="1036" y="848"/>
                      </a:lnTo>
                      <a:lnTo>
                        <a:pt x="1040" y="848"/>
                      </a:lnTo>
                      <a:lnTo>
                        <a:pt x="1044" y="848"/>
                      </a:lnTo>
                      <a:lnTo>
                        <a:pt x="1044" y="844"/>
                      </a:lnTo>
                      <a:lnTo>
                        <a:pt x="1048" y="844"/>
                      </a:lnTo>
                      <a:lnTo>
                        <a:pt x="1052" y="844"/>
                      </a:lnTo>
                      <a:lnTo>
                        <a:pt x="1056" y="840"/>
                      </a:lnTo>
                      <a:lnTo>
                        <a:pt x="1060" y="840"/>
                      </a:lnTo>
                      <a:lnTo>
                        <a:pt x="1062" y="840"/>
                      </a:lnTo>
                      <a:lnTo>
                        <a:pt x="1066" y="840"/>
                      </a:lnTo>
                      <a:lnTo>
                        <a:pt x="1070" y="840"/>
                      </a:lnTo>
                      <a:lnTo>
                        <a:pt x="1074" y="840"/>
                      </a:lnTo>
                      <a:lnTo>
                        <a:pt x="1076" y="840"/>
                      </a:lnTo>
                      <a:lnTo>
                        <a:pt x="1080" y="844"/>
                      </a:lnTo>
                      <a:lnTo>
                        <a:pt x="1084" y="844"/>
                      </a:lnTo>
                      <a:lnTo>
                        <a:pt x="1084" y="848"/>
                      </a:lnTo>
                      <a:lnTo>
                        <a:pt x="1088" y="852"/>
                      </a:lnTo>
                      <a:lnTo>
                        <a:pt x="1084" y="848"/>
                      </a:lnTo>
                      <a:lnTo>
                        <a:pt x="1080" y="848"/>
                      </a:lnTo>
                      <a:lnTo>
                        <a:pt x="1084" y="848"/>
                      </a:lnTo>
                      <a:lnTo>
                        <a:pt x="1084" y="852"/>
                      </a:lnTo>
                      <a:lnTo>
                        <a:pt x="1088" y="852"/>
                      </a:lnTo>
                      <a:lnTo>
                        <a:pt x="1084" y="852"/>
                      </a:lnTo>
                      <a:lnTo>
                        <a:pt x="1084" y="854"/>
                      </a:lnTo>
                      <a:lnTo>
                        <a:pt x="1084" y="858"/>
                      </a:lnTo>
                      <a:lnTo>
                        <a:pt x="1080" y="858"/>
                      </a:lnTo>
                      <a:lnTo>
                        <a:pt x="1076" y="858"/>
                      </a:lnTo>
                      <a:lnTo>
                        <a:pt x="1076" y="862"/>
                      </a:lnTo>
                      <a:lnTo>
                        <a:pt x="1074" y="862"/>
                      </a:lnTo>
                      <a:lnTo>
                        <a:pt x="1074" y="866"/>
                      </a:lnTo>
                      <a:lnTo>
                        <a:pt x="1070" y="866"/>
                      </a:lnTo>
                      <a:lnTo>
                        <a:pt x="1066" y="866"/>
                      </a:lnTo>
                      <a:lnTo>
                        <a:pt x="1066" y="862"/>
                      </a:lnTo>
                      <a:lnTo>
                        <a:pt x="1062" y="862"/>
                      </a:lnTo>
                      <a:lnTo>
                        <a:pt x="1060" y="862"/>
                      </a:lnTo>
                      <a:lnTo>
                        <a:pt x="1056" y="862"/>
                      </a:lnTo>
                      <a:lnTo>
                        <a:pt x="1052" y="866"/>
                      </a:lnTo>
                      <a:lnTo>
                        <a:pt x="1048" y="866"/>
                      </a:lnTo>
                      <a:lnTo>
                        <a:pt x="1052" y="866"/>
                      </a:lnTo>
                      <a:lnTo>
                        <a:pt x="1056" y="862"/>
                      </a:lnTo>
                      <a:lnTo>
                        <a:pt x="1060" y="866"/>
                      </a:lnTo>
                      <a:lnTo>
                        <a:pt x="1062" y="866"/>
                      </a:lnTo>
                      <a:lnTo>
                        <a:pt x="1066" y="870"/>
                      </a:lnTo>
                      <a:lnTo>
                        <a:pt x="1066" y="874"/>
                      </a:lnTo>
                      <a:lnTo>
                        <a:pt x="1070" y="870"/>
                      </a:lnTo>
                      <a:lnTo>
                        <a:pt x="1074" y="870"/>
                      </a:lnTo>
                      <a:lnTo>
                        <a:pt x="1076" y="870"/>
                      </a:lnTo>
                      <a:lnTo>
                        <a:pt x="1080" y="870"/>
                      </a:lnTo>
                      <a:lnTo>
                        <a:pt x="1076" y="870"/>
                      </a:lnTo>
                      <a:lnTo>
                        <a:pt x="1076" y="874"/>
                      </a:lnTo>
                      <a:lnTo>
                        <a:pt x="1076" y="878"/>
                      </a:lnTo>
                      <a:lnTo>
                        <a:pt x="1074" y="880"/>
                      </a:lnTo>
                      <a:lnTo>
                        <a:pt x="1070" y="884"/>
                      </a:lnTo>
                      <a:lnTo>
                        <a:pt x="1074" y="884"/>
                      </a:lnTo>
                      <a:lnTo>
                        <a:pt x="1076" y="884"/>
                      </a:lnTo>
                      <a:lnTo>
                        <a:pt x="1076" y="888"/>
                      </a:lnTo>
                      <a:lnTo>
                        <a:pt x="1076" y="892"/>
                      </a:lnTo>
                      <a:lnTo>
                        <a:pt x="1080" y="896"/>
                      </a:lnTo>
                      <a:lnTo>
                        <a:pt x="1080" y="900"/>
                      </a:lnTo>
                      <a:lnTo>
                        <a:pt x="1084" y="900"/>
                      </a:lnTo>
                      <a:lnTo>
                        <a:pt x="1088" y="904"/>
                      </a:lnTo>
                      <a:lnTo>
                        <a:pt x="1092" y="904"/>
                      </a:lnTo>
                      <a:lnTo>
                        <a:pt x="1088" y="904"/>
                      </a:lnTo>
                      <a:lnTo>
                        <a:pt x="1088" y="908"/>
                      </a:lnTo>
                      <a:lnTo>
                        <a:pt x="1092" y="908"/>
                      </a:lnTo>
                      <a:lnTo>
                        <a:pt x="1092" y="910"/>
                      </a:lnTo>
                      <a:lnTo>
                        <a:pt x="1096" y="908"/>
                      </a:lnTo>
                      <a:lnTo>
                        <a:pt x="1096" y="910"/>
                      </a:lnTo>
                      <a:lnTo>
                        <a:pt x="1100" y="910"/>
                      </a:lnTo>
                      <a:lnTo>
                        <a:pt x="1104" y="910"/>
                      </a:lnTo>
                      <a:lnTo>
                        <a:pt x="1106" y="910"/>
                      </a:lnTo>
                      <a:lnTo>
                        <a:pt x="1110" y="910"/>
                      </a:lnTo>
                      <a:lnTo>
                        <a:pt x="1110" y="914"/>
                      </a:lnTo>
                      <a:lnTo>
                        <a:pt x="1114" y="910"/>
                      </a:lnTo>
                      <a:lnTo>
                        <a:pt x="1118" y="910"/>
                      </a:lnTo>
                      <a:lnTo>
                        <a:pt x="1118" y="908"/>
                      </a:lnTo>
                      <a:lnTo>
                        <a:pt x="1118" y="910"/>
                      </a:lnTo>
                      <a:lnTo>
                        <a:pt x="1122" y="914"/>
                      </a:lnTo>
                      <a:lnTo>
                        <a:pt x="1122" y="910"/>
                      </a:lnTo>
                      <a:lnTo>
                        <a:pt x="1126" y="910"/>
                      </a:lnTo>
                      <a:lnTo>
                        <a:pt x="1126" y="914"/>
                      </a:lnTo>
                      <a:lnTo>
                        <a:pt x="1130" y="914"/>
                      </a:lnTo>
                      <a:lnTo>
                        <a:pt x="1130" y="918"/>
                      </a:lnTo>
                      <a:lnTo>
                        <a:pt x="1126" y="918"/>
                      </a:lnTo>
                      <a:lnTo>
                        <a:pt x="1130" y="918"/>
                      </a:lnTo>
                      <a:lnTo>
                        <a:pt x="1132" y="918"/>
                      </a:lnTo>
                      <a:lnTo>
                        <a:pt x="1132" y="922"/>
                      </a:lnTo>
                      <a:lnTo>
                        <a:pt x="1130" y="922"/>
                      </a:lnTo>
                      <a:lnTo>
                        <a:pt x="1126" y="922"/>
                      </a:lnTo>
                      <a:lnTo>
                        <a:pt x="1122" y="922"/>
                      </a:lnTo>
                      <a:lnTo>
                        <a:pt x="1122" y="926"/>
                      </a:lnTo>
                      <a:lnTo>
                        <a:pt x="1118" y="926"/>
                      </a:lnTo>
                      <a:lnTo>
                        <a:pt x="1114" y="926"/>
                      </a:lnTo>
                      <a:lnTo>
                        <a:pt x="1110" y="930"/>
                      </a:lnTo>
                      <a:lnTo>
                        <a:pt x="1106" y="930"/>
                      </a:lnTo>
                      <a:lnTo>
                        <a:pt x="1104" y="934"/>
                      </a:lnTo>
                      <a:lnTo>
                        <a:pt x="1104" y="930"/>
                      </a:lnTo>
                      <a:lnTo>
                        <a:pt x="1104" y="934"/>
                      </a:lnTo>
                      <a:lnTo>
                        <a:pt x="1100" y="934"/>
                      </a:lnTo>
                      <a:lnTo>
                        <a:pt x="1096" y="934"/>
                      </a:lnTo>
                      <a:lnTo>
                        <a:pt x="1092" y="934"/>
                      </a:lnTo>
                      <a:lnTo>
                        <a:pt x="1096" y="934"/>
                      </a:lnTo>
                      <a:lnTo>
                        <a:pt x="1096" y="938"/>
                      </a:lnTo>
                      <a:lnTo>
                        <a:pt x="1088" y="938"/>
                      </a:lnTo>
                      <a:lnTo>
                        <a:pt x="1088" y="934"/>
                      </a:lnTo>
                      <a:lnTo>
                        <a:pt x="1088" y="938"/>
                      </a:lnTo>
                      <a:lnTo>
                        <a:pt x="1088" y="934"/>
                      </a:lnTo>
                      <a:lnTo>
                        <a:pt x="1084" y="934"/>
                      </a:lnTo>
                      <a:lnTo>
                        <a:pt x="1084" y="938"/>
                      </a:lnTo>
                      <a:lnTo>
                        <a:pt x="1084" y="940"/>
                      </a:lnTo>
                      <a:lnTo>
                        <a:pt x="1080" y="940"/>
                      </a:lnTo>
                      <a:lnTo>
                        <a:pt x="1080" y="944"/>
                      </a:lnTo>
                      <a:lnTo>
                        <a:pt x="1076" y="948"/>
                      </a:lnTo>
                      <a:lnTo>
                        <a:pt x="1074" y="952"/>
                      </a:lnTo>
                      <a:lnTo>
                        <a:pt x="1070" y="952"/>
                      </a:lnTo>
                      <a:lnTo>
                        <a:pt x="1070" y="956"/>
                      </a:lnTo>
                      <a:lnTo>
                        <a:pt x="1066" y="956"/>
                      </a:lnTo>
                      <a:lnTo>
                        <a:pt x="1062" y="956"/>
                      </a:lnTo>
                      <a:lnTo>
                        <a:pt x="1062" y="952"/>
                      </a:lnTo>
                      <a:lnTo>
                        <a:pt x="1062" y="948"/>
                      </a:lnTo>
                      <a:lnTo>
                        <a:pt x="1062" y="952"/>
                      </a:lnTo>
                      <a:lnTo>
                        <a:pt x="1060" y="952"/>
                      </a:lnTo>
                      <a:lnTo>
                        <a:pt x="1060" y="948"/>
                      </a:lnTo>
                      <a:lnTo>
                        <a:pt x="1060" y="944"/>
                      </a:lnTo>
                      <a:lnTo>
                        <a:pt x="1060" y="940"/>
                      </a:lnTo>
                      <a:lnTo>
                        <a:pt x="1060" y="938"/>
                      </a:lnTo>
                      <a:lnTo>
                        <a:pt x="1062" y="938"/>
                      </a:lnTo>
                      <a:lnTo>
                        <a:pt x="1062" y="934"/>
                      </a:lnTo>
                      <a:lnTo>
                        <a:pt x="1062" y="938"/>
                      </a:lnTo>
                      <a:lnTo>
                        <a:pt x="1060" y="938"/>
                      </a:lnTo>
                      <a:lnTo>
                        <a:pt x="1062" y="934"/>
                      </a:lnTo>
                      <a:lnTo>
                        <a:pt x="1066" y="934"/>
                      </a:lnTo>
                      <a:lnTo>
                        <a:pt x="1066" y="930"/>
                      </a:lnTo>
                      <a:lnTo>
                        <a:pt x="1066" y="934"/>
                      </a:lnTo>
                      <a:lnTo>
                        <a:pt x="1066" y="930"/>
                      </a:lnTo>
                      <a:lnTo>
                        <a:pt x="1070" y="926"/>
                      </a:lnTo>
                      <a:lnTo>
                        <a:pt x="1074" y="926"/>
                      </a:lnTo>
                      <a:lnTo>
                        <a:pt x="1076" y="926"/>
                      </a:lnTo>
                      <a:lnTo>
                        <a:pt x="1076" y="922"/>
                      </a:lnTo>
                      <a:lnTo>
                        <a:pt x="1080" y="922"/>
                      </a:lnTo>
                      <a:lnTo>
                        <a:pt x="1084" y="922"/>
                      </a:lnTo>
                      <a:lnTo>
                        <a:pt x="1084" y="918"/>
                      </a:lnTo>
                      <a:lnTo>
                        <a:pt x="1080" y="918"/>
                      </a:lnTo>
                      <a:lnTo>
                        <a:pt x="1084" y="918"/>
                      </a:lnTo>
                      <a:lnTo>
                        <a:pt x="1084" y="922"/>
                      </a:lnTo>
                      <a:lnTo>
                        <a:pt x="1084" y="926"/>
                      </a:lnTo>
                      <a:lnTo>
                        <a:pt x="1084" y="922"/>
                      </a:lnTo>
                      <a:lnTo>
                        <a:pt x="1088" y="926"/>
                      </a:lnTo>
                      <a:lnTo>
                        <a:pt x="1084" y="922"/>
                      </a:lnTo>
                      <a:lnTo>
                        <a:pt x="1088" y="922"/>
                      </a:lnTo>
                      <a:lnTo>
                        <a:pt x="1092" y="918"/>
                      </a:lnTo>
                      <a:lnTo>
                        <a:pt x="1096" y="918"/>
                      </a:lnTo>
                      <a:lnTo>
                        <a:pt x="1100" y="918"/>
                      </a:lnTo>
                      <a:lnTo>
                        <a:pt x="1092" y="918"/>
                      </a:lnTo>
                      <a:lnTo>
                        <a:pt x="1088" y="918"/>
                      </a:lnTo>
                      <a:lnTo>
                        <a:pt x="1084" y="918"/>
                      </a:lnTo>
                      <a:lnTo>
                        <a:pt x="1080" y="918"/>
                      </a:lnTo>
                      <a:lnTo>
                        <a:pt x="1076" y="918"/>
                      </a:lnTo>
                      <a:lnTo>
                        <a:pt x="1076" y="914"/>
                      </a:lnTo>
                      <a:lnTo>
                        <a:pt x="1080" y="914"/>
                      </a:lnTo>
                      <a:lnTo>
                        <a:pt x="1080" y="910"/>
                      </a:lnTo>
                      <a:lnTo>
                        <a:pt x="1084" y="910"/>
                      </a:lnTo>
                      <a:lnTo>
                        <a:pt x="1084" y="908"/>
                      </a:lnTo>
                      <a:lnTo>
                        <a:pt x="1084" y="910"/>
                      </a:lnTo>
                      <a:lnTo>
                        <a:pt x="1080" y="910"/>
                      </a:lnTo>
                      <a:lnTo>
                        <a:pt x="1080" y="908"/>
                      </a:lnTo>
                      <a:lnTo>
                        <a:pt x="1080" y="904"/>
                      </a:lnTo>
                      <a:lnTo>
                        <a:pt x="1076" y="904"/>
                      </a:lnTo>
                      <a:lnTo>
                        <a:pt x="1076" y="908"/>
                      </a:lnTo>
                      <a:lnTo>
                        <a:pt x="1080" y="908"/>
                      </a:lnTo>
                      <a:lnTo>
                        <a:pt x="1080" y="910"/>
                      </a:lnTo>
                      <a:lnTo>
                        <a:pt x="1076" y="914"/>
                      </a:lnTo>
                      <a:lnTo>
                        <a:pt x="1074" y="914"/>
                      </a:lnTo>
                      <a:lnTo>
                        <a:pt x="1070" y="918"/>
                      </a:lnTo>
                      <a:lnTo>
                        <a:pt x="1066" y="918"/>
                      </a:lnTo>
                      <a:lnTo>
                        <a:pt x="1062" y="922"/>
                      </a:lnTo>
                      <a:lnTo>
                        <a:pt x="1060" y="918"/>
                      </a:lnTo>
                      <a:lnTo>
                        <a:pt x="1062" y="918"/>
                      </a:lnTo>
                      <a:lnTo>
                        <a:pt x="1060" y="918"/>
                      </a:lnTo>
                      <a:lnTo>
                        <a:pt x="1060" y="922"/>
                      </a:lnTo>
                      <a:lnTo>
                        <a:pt x="1056" y="926"/>
                      </a:lnTo>
                      <a:lnTo>
                        <a:pt x="1056" y="922"/>
                      </a:lnTo>
                      <a:lnTo>
                        <a:pt x="1052" y="922"/>
                      </a:lnTo>
                      <a:lnTo>
                        <a:pt x="1052" y="926"/>
                      </a:lnTo>
                      <a:lnTo>
                        <a:pt x="1048" y="922"/>
                      </a:lnTo>
                      <a:lnTo>
                        <a:pt x="1044" y="922"/>
                      </a:lnTo>
                      <a:lnTo>
                        <a:pt x="1040" y="922"/>
                      </a:lnTo>
                      <a:lnTo>
                        <a:pt x="1040" y="918"/>
                      </a:lnTo>
                      <a:lnTo>
                        <a:pt x="1040" y="914"/>
                      </a:lnTo>
                      <a:lnTo>
                        <a:pt x="1036" y="914"/>
                      </a:lnTo>
                      <a:lnTo>
                        <a:pt x="1036" y="910"/>
                      </a:lnTo>
                      <a:lnTo>
                        <a:pt x="1036" y="908"/>
                      </a:lnTo>
                      <a:lnTo>
                        <a:pt x="1036" y="900"/>
                      </a:lnTo>
                      <a:lnTo>
                        <a:pt x="1036" y="888"/>
                      </a:lnTo>
                      <a:lnTo>
                        <a:pt x="1036" y="884"/>
                      </a:lnTo>
                      <a:lnTo>
                        <a:pt x="1032" y="884"/>
                      </a:lnTo>
                      <a:lnTo>
                        <a:pt x="1032" y="880"/>
                      </a:lnTo>
                      <a:lnTo>
                        <a:pt x="1030" y="878"/>
                      </a:lnTo>
                      <a:lnTo>
                        <a:pt x="1026" y="880"/>
                      </a:lnTo>
                      <a:lnTo>
                        <a:pt x="1022" y="880"/>
                      </a:lnTo>
                      <a:lnTo>
                        <a:pt x="1018" y="880"/>
                      </a:lnTo>
                      <a:lnTo>
                        <a:pt x="1018" y="878"/>
                      </a:lnTo>
                      <a:lnTo>
                        <a:pt x="1014" y="878"/>
                      </a:lnTo>
                      <a:lnTo>
                        <a:pt x="1014" y="880"/>
                      </a:lnTo>
                      <a:lnTo>
                        <a:pt x="1010" y="884"/>
                      </a:lnTo>
                      <a:lnTo>
                        <a:pt x="1006" y="884"/>
                      </a:lnTo>
                      <a:lnTo>
                        <a:pt x="1006" y="888"/>
                      </a:lnTo>
                      <a:lnTo>
                        <a:pt x="1004" y="892"/>
                      </a:lnTo>
                      <a:lnTo>
                        <a:pt x="1004" y="896"/>
                      </a:lnTo>
                      <a:lnTo>
                        <a:pt x="1004" y="900"/>
                      </a:lnTo>
                      <a:lnTo>
                        <a:pt x="1000" y="900"/>
                      </a:lnTo>
                      <a:lnTo>
                        <a:pt x="1000" y="904"/>
                      </a:lnTo>
                      <a:lnTo>
                        <a:pt x="1000" y="908"/>
                      </a:lnTo>
                      <a:lnTo>
                        <a:pt x="1000" y="910"/>
                      </a:lnTo>
                      <a:lnTo>
                        <a:pt x="996" y="910"/>
                      </a:lnTo>
                      <a:lnTo>
                        <a:pt x="996" y="914"/>
                      </a:lnTo>
                      <a:lnTo>
                        <a:pt x="996" y="918"/>
                      </a:lnTo>
                      <a:lnTo>
                        <a:pt x="992" y="922"/>
                      </a:lnTo>
                      <a:lnTo>
                        <a:pt x="988" y="918"/>
                      </a:lnTo>
                      <a:lnTo>
                        <a:pt x="988" y="922"/>
                      </a:lnTo>
                      <a:lnTo>
                        <a:pt x="988" y="918"/>
                      </a:lnTo>
                      <a:lnTo>
                        <a:pt x="984" y="918"/>
                      </a:lnTo>
                      <a:lnTo>
                        <a:pt x="984" y="922"/>
                      </a:lnTo>
                      <a:lnTo>
                        <a:pt x="984" y="926"/>
                      </a:lnTo>
                      <a:lnTo>
                        <a:pt x="980" y="926"/>
                      </a:lnTo>
                      <a:lnTo>
                        <a:pt x="976" y="926"/>
                      </a:lnTo>
                      <a:lnTo>
                        <a:pt x="974" y="926"/>
                      </a:lnTo>
                      <a:lnTo>
                        <a:pt x="970" y="926"/>
                      </a:lnTo>
                      <a:lnTo>
                        <a:pt x="966" y="926"/>
                      </a:lnTo>
                      <a:lnTo>
                        <a:pt x="962" y="926"/>
                      </a:lnTo>
                      <a:lnTo>
                        <a:pt x="958" y="926"/>
                      </a:lnTo>
                      <a:lnTo>
                        <a:pt x="954" y="926"/>
                      </a:lnTo>
                      <a:lnTo>
                        <a:pt x="950" y="926"/>
                      </a:lnTo>
                      <a:lnTo>
                        <a:pt x="944" y="926"/>
                      </a:lnTo>
                      <a:lnTo>
                        <a:pt x="940" y="926"/>
                      </a:lnTo>
                      <a:lnTo>
                        <a:pt x="936" y="926"/>
                      </a:lnTo>
                      <a:lnTo>
                        <a:pt x="932" y="926"/>
                      </a:lnTo>
                      <a:lnTo>
                        <a:pt x="932" y="930"/>
                      </a:lnTo>
                      <a:lnTo>
                        <a:pt x="928" y="930"/>
                      </a:lnTo>
                      <a:lnTo>
                        <a:pt x="924" y="934"/>
                      </a:lnTo>
                      <a:lnTo>
                        <a:pt x="924" y="938"/>
                      </a:lnTo>
                      <a:lnTo>
                        <a:pt x="920" y="938"/>
                      </a:lnTo>
                      <a:lnTo>
                        <a:pt x="920" y="940"/>
                      </a:lnTo>
                      <a:lnTo>
                        <a:pt x="918" y="940"/>
                      </a:lnTo>
                      <a:lnTo>
                        <a:pt x="914" y="944"/>
                      </a:lnTo>
                      <a:lnTo>
                        <a:pt x="914" y="948"/>
                      </a:lnTo>
                      <a:lnTo>
                        <a:pt x="910" y="948"/>
                      </a:lnTo>
                      <a:lnTo>
                        <a:pt x="910" y="952"/>
                      </a:lnTo>
                      <a:lnTo>
                        <a:pt x="906" y="952"/>
                      </a:lnTo>
                      <a:lnTo>
                        <a:pt x="902" y="952"/>
                      </a:lnTo>
                      <a:lnTo>
                        <a:pt x="898" y="952"/>
                      </a:lnTo>
                      <a:lnTo>
                        <a:pt x="894" y="952"/>
                      </a:lnTo>
                      <a:lnTo>
                        <a:pt x="890" y="952"/>
                      </a:lnTo>
                      <a:lnTo>
                        <a:pt x="888" y="952"/>
                      </a:lnTo>
                      <a:lnTo>
                        <a:pt x="880" y="952"/>
                      </a:lnTo>
                      <a:lnTo>
                        <a:pt x="876" y="956"/>
                      </a:lnTo>
                      <a:lnTo>
                        <a:pt x="876" y="960"/>
                      </a:lnTo>
                      <a:lnTo>
                        <a:pt x="876" y="964"/>
                      </a:lnTo>
                      <a:lnTo>
                        <a:pt x="876" y="966"/>
                      </a:lnTo>
                      <a:lnTo>
                        <a:pt x="880" y="966"/>
                      </a:lnTo>
                      <a:lnTo>
                        <a:pt x="876" y="966"/>
                      </a:lnTo>
                      <a:lnTo>
                        <a:pt x="876" y="970"/>
                      </a:lnTo>
                      <a:lnTo>
                        <a:pt x="872" y="970"/>
                      </a:lnTo>
                      <a:lnTo>
                        <a:pt x="868" y="974"/>
                      </a:lnTo>
                      <a:lnTo>
                        <a:pt x="864" y="974"/>
                      </a:lnTo>
                      <a:lnTo>
                        <a:pt x="862" y="978"/>
                      </a:lnTo>
                      <a:lnTo>
                        <a:pt x="854" y="978"/>
                      </a:lnTo>
                      <a:lnTo>
                        <a:pt x="850" y="980"/>
                      </a:lnTo>
                      <a:lnTo>
                        <a:pt x="846" y="980"/>
                      </a:lnTo>
                      <a:lnTo>
                        <a:pt x="842" y="980"/>
                      </a:lnTo>
                      <a:lnTo>
                        <a:pt x="838" y="984"/>
                      </a:lnTo>
                      <a:lnTo>
                        <a:pt x="834" y="984"/>
                      </a:lnTo>
                      <a:lnTo>
                        <a:pt x="832" y="988"/>
                      </a:lnTo>
                      <a:lnTo>
                        <a:pt x="828" y="992"/>
                      </a:lnTo>
                      <a:lnTo>
                        <a:pt x="824" y="992"/>
                      </a:lnTo>
                      <a:lnTo>
                        <a:pt x="820" y="988"/>
                      </a:lnTo>
                      <a:lnTo>
                        <a:pt x="820" y="984"/>
                      </a:lnTo>
                      <a:lnTo>
                        <a:pt x="816" y="984"/>
                      </a:lnTo>
                      <a:lnTo>
                        <a:pt x="820" y="980"/>
                      </a:lnTo>
                      <a:lnTo>
                        <a:pt x="820" y="978"/>
                      </a:lnTo>
                      <a:lnTo>
                        <a:pt x="824" y="978"/>
                      </a:lnTo>
                      <a:lnTo>
                        <a:pt x="824" y="974"/>
                      </a:lnTo>
                      <a:lnTo>
                        <a:pt x="828" y="974"/>
                      </a:lnTo>
                      <a:lnTo>
                        <a:pt x="828" y="970"/>
                      </a:lnTo>
                      <a:lnTo>
                        <a:pt x="828" y="966"/>
                      </a:lnTo>
                      <a:lnTo>
                        <a:pt x="828" y="964"/>
                      </a:lnTo>
                      <a:lnTo>
                        <a:pt x="832" y="964"/>
                      </a:lnTo>
                      <a:lnTo>
                        <a:pt x="832" y="960"/>
                      </a:lnTo>
                      <a:lnTo>
                        <a:pt x="832" y="956"/>
                      </a:lnTo>
                      <a:lnTo>
                        <a:pt x="832" y="948"/>
                      </a:lnTo>
                      <a:lnTo>
                        <a:pt x="832" y="938"/>
                      </a:lnTo>
                      <a:lnTo>
                        <a:pt x="828" y="930"/>
                      </a:lnTo>
                      <a:lnTo>
                        <a:pt x="828" y="918"/>
                      </a:lnTo>
                      <a:lnTo>
                        <a:pt x="824" y="918"/>
                      </a:lnTo>
                      <a:lnTo>
                        <a:pt x="820" y="914"/>
                      </a:lnTo>
                      <a:lnTo>
                        <a:pt x="816" y="910"/>
                      </a:lnTo>
                      <a:lnTo>
                        <a:pt x="812" y="910"/>
                      </a:lnTo>
                      <a:lnTo>
                        <a:pt x="812" y="908"/>
                      </a:lnTo>
                      <a:lnTo>
                        <a:pt x="812" y="904"/>
                      </a:lnTo>
                      <a:lnTo>
                        <a:pt x="808" y="904"/>
                      </a:lnTo>
                      <a:lnTo>
                        <a:pt x="806" y="904"/>
                      </a:lnTo>
                      <a:lnTo>
                        <a:pt x="806" y="900"/>
                      </a:lnTo>
                      <a:lnTo>
                        <a:pt x="806" y="896"/>
                      </a:lnTo>
                      <a:lnTo>
                        <a:pt x="802" y="896"/>
                      </a:lnTo>
                      <a:lnTo>
                        <a:pt x="798" y="896"/>
                      </a:lnTo>
                      <a:lnTo>
                        <a:pt x="794" y="892"/>
                      </a:lnTo>
                      <a:lnTo>
                        <a:pt x="794" y="888"/>
                      </a:lnTo>
                      <a:lnTo>
                        <a:pt x="786" y="884"/>
                      </a:lnTo>
                      <a:lnTo>
                        <a:pt x="786" y="880"/>
                      </a:lnTo>
                      <a:lnTo>
                        <a:pt x="782" y="880"/>
                      </a:lnTo>
                      <a:lnTo>
                        <a:pt x="778" y="880"/>
                      </a:lnTo>
                      <a:lnTo>
                        <a:pt x="778" y="878"/>
                      </a:lnTo>
                      <a:lnTo>
                        <a:pt x="776" y="878"/>
                      </a:lnTo>
                      <a:lnTo>
                        <a:pt x="772" y="874"/>
                      </a:lnTo>
                      <a:lnTo>
                        <a:pt x="768" y="874"/>
                      </a:lnTo>
                      <a:lnTo>
                        <a:pt x="764" y="870"/>
                      </a:lnTo>
                      <a:lnTo>
                        <a:pt x="760" y="870"/>
                      </a:lnTo>
                      <a:lnTo>
                        <a:pt x="760" y="866"/>
                      </a:lnTo>
                      <a:lnTo>
                        <a:pt x="756" y="866"/>
                      </a:lnTo>
                      <a:lnTo>
                        <a:pt x="746" y="858"/>
                      </a:lnTo>
                      <a:lnTo>
                        <a:pt x="742" y="858"/>
                      </a:lnTo>
                      <a:lnTo>
                        <a:pt x="738" y="858"/>
                      </a:lnTo>
                      <a:lnTo>
                        <a:pt x="734" y="862"/>
                      </a:lnTo>
                      <a:lnTo>
                        <a:pt x="732" y="866"/>
                      </a:lnTo>
                      <a:lnTo>
                        <a:pt x="728" y="866"/>
                      </a:lnTo>
                      <a:lnTo>
                        <a:pt x="724" y="866"/>
                      </a:lnTo>
                      <a:lnTo>
                        <a:pt x="720" y="866"/>
                      </a:lnTo>
                      <a:lnTo>
                        <a:pt x="720" y="862"/>
                      </a:lnTo>
                      <a:lnTo>
                        <a:pt x="716" y="862"/>
                      </a:lnTo>
                      <a:lnTo>
                        <a:pt x="712" y="862"/>
                      </a:lnTo>
                      <a:lnTo>
                        <a:pt x="708" y="862"/>
                      </a:lnTo>
                      <a:lnTo>
                        <a:pt x="708" y="858"/>
                      </a:lnTo>
                      <a:lnTo>
                        <a:pt x="708" y="862"/>
                      </a:lnTo>
                      <a:lnTo>
                        <a:pt x="706" y="862"/>
                      </a:lnTo>
                      <a:lnTo>
                        <a:pt x="702" y="862"/>
                      </a:lnTo>
                      <a:lnTo>
                        <a:pt x="702" y="866"/>
                      </a:lnTo>
                      <a:lnTo>
                        <a:pt x="702" y="862"/>
                      </a:lnTo>
                      <a:lnTo>
                        <a:pt x="698" y="862"/>
                      </a:lnTo>
                      <a:lnTo>
                        <a:pt x="694" y="862"/>
                      </a:lnTo>
                      <a:lnTo>
                        <a:pt x="694" y="858"/>
                      </a:lnTo>
                      <a:lnTo>
                        <a:pt x="690" y="858"/>
                      </a:lnTo>
                      <a:lnTo>
                        <a:pt x="690" y="862"/>
                      </a:lnTo>
                      <a:lnTo>
                        <a:pt x="686" y="858"/>
                      </a:lnTo>
                      <a:lnTo>
                        <a:pt x="686" y="854"/>
                      </a:lnTo>
                      <a:lnTo>
                        <a:pt x="682" y="854"/>
                      </a:lnTo>
                      <a:lnTo>
                        <a:pt x="678" y="852"/>
                      </a:lnTo>
                      <a:lnTo>
                        <a:pt x="676" y="852"/>
                      </a:lnTo>
                      <a:lnTo>
                        <a:pt x="672" y="854"/>
                      </a:lnTo>
                      <a:lnTo>
                        <a:pt x="668" y="854"/>
                      </a:lnTo>
                      <a:lnTo>
                        <a:pt x="668" y="852"/>
                      </a:lnTo>
                      <a:lnTo>
                        <a:pt x="664" y="852"/>
                      </a:lnTo>
                      <a:lnTo>
                        <a:pt x="660" y="852"/>
                      </a:lnTo>
                      <a:lnTo>
                        <a:pt x="656" y="852"/>
                      </a:lnTo>
                      <a:lnTo>
                        <a:pt x="656" y="848"/>
                      </a:lnTo>
                      <a:lnTo>
                        <a:pt x="656" y="844"/>
                      </a:lnTo>
                      <a:lnTo>
                        <a:pt x="652" y="844"/>
                      </a:lnTo>
                      <a:lnTo>
                        <a:pt x="652" y="840"/>
                      </a:lnTo>
                      <a:lnTo>
                        <a:pt x="652" y="836"/>
                      </a:lnTo>
                      <a:lnTo>
                        <a:pt x="650" y="836"/>
                      </a:lnTo>
                      <a:lnTo>
                        <a:pt x="650" y="840"/>
                      </a:lnTo>
                      <a:lnTo>
                        <a:pt x="650" y="844"/>
                      </a:lnTo>
                      <a:lnTo>
                        <a:pt x="646" y="844"/>
                      </a:lnTo>
                      <a:lnTo>
                        <a:pt x="620" y="844"/>
                      </a:lnTo>
                      <a:lnTo>
                        <a:pt x="616" y="844"/>
                      </a:lnTo>
                      <a:lnTo>
                        <a:pt x="612" y="844"/>
                      </a:lnTo>
                      <a:lnTo>
                        <a:pt x="608" y="844"/>
                      </a:lnTo>
                      <a:lnTo>
                        <a:pt x="604" y="844"/>
                      </a:lnTo>
                      <a:lnTo>
                        <a:pt x="600" y="844"/>
                      </a:lnTo>
                      <a:lnTo>
                        <a:pt x="596" y="844"/>
                      </a:lnTo>
                      <a:lnTo>
                        <a:pt x="590" y="844"/>
                      </a:lnTo>
                      <a:lnTo>
                        <a:pt x="582" y="844"/>
                      </a:lnTo>
                      <a:lnTo>
                        <a:pt x="574" y="844"/>
                      </a:lnTo>
                      <a:lnTo>
                        <a:pt x="564" y="844"/>
                      </a:lnTo>
                      <a:lnTo>
                        <a:pt x="560" y="844"/>
                      </a:lnTo>
                      <a:lnTo>
                        <a:pt x="548" y="844"/>
                      </a:lnTo>
                      <a:lnTo>
                        <a:pt x="544" y="844"/>
                      </a:lnTo>
                      <a:lnTo>
                        <a:pt x="540" y="844"/>
                      </a:lnTo>
                      <a:lnTo>
                        <a:pt x="536" y="844"/>
                      </a:lnTo>
                      <a:lnTo>
                        <a:pt x="534" y="844"/>
                      </a:lnTo>
                      <a:lnTo>
                        <a:pt x="530" y="844"/>
                      </a:lnTo>
                      <a:lnTo>
                        <a:pt x="526" y="844"/>
                      </a:lnTo>
                      <a:lnTo>
                        <a:pt x="522" y="844"/>
                      </a:lnTo>
                      <a:lnTo>
                        <a:pt x="518" y="844"/>
                      </a:lnTo>
                      <a:lnTo>
                        <a:pt x="510" y="844"/>
                      </a:lnTo>
                      <a:lnTo>
                        <a:pt x="508" y="844"/>
                      </a:lnTo>
                      <a:lnTo>
                        <a:pt x="500" y="844"/>
                      </a:lnTo>
                      <a:lnTo>
                        <a:pt x="496" y="844"/>
                      </a:lnTo>
                      <a:lnTo>
                        <a:pt x="492" y="844"/>
                      </a:lnTo>
                      <a:lnTo>
                        <a:pt x="488" y="844"/>
                      </a:lnTo>
                      <a:lnTo>
                        <a:pt x="484" y="844"/>
                      </a:lnTo>
                      <a:lnTo>
                        <a:pt x="478" y="844"/>
                      </a:lnTo>
                      <a:lnTo>
                        <a:pt x="474" y="844"/>
                      </a:lnTo>
                      <a:lnTo>
                        <a:pt x="470" y="844"/>
                      </a:lnTo>
                      <a:lnTo>
                        <a:pt x="466" y="844"/>
                      </a:lnTo>
                      <a:lnTo>
                        <a:pt x="462" y="844"/>
                      </a:lnTo>
                      <a:lnTo>
                        <a:pt x="458" y="844"/>
                      </a:lnTo>
                      <a:lnTo>
                        <a:pt x="454" y="844"/>
                      </a:lnTo>
                      <a:lnTo>
                        <a:pt x="448" y="844"/>
                      </a:lnTo>
                      <a:lnTo>
                        <a:pt x="444" y="844"/>
                      </a:lnTo>
                      <a:lnTo>
                        <a:pt x="440" y="844"/>
                      </a:lnTo>
                      <a:lnTo>
                        <a:pt x="436" y="844"/>
                      </a:lnTo>
                      <a:lnTo>
                        <a:pt x="432" y="844"/>
                      </a:lnTo>
                      <a:lnTo>
                        <a:pt x="428" y="844"/>
                      </a:lnTo>
                      <a:lnTo>
                        <a:pt x="418" y="844"/>
                      </a:lnTo>
                      <a:lnTo>
                        <a:pt x="414" y="844"/>
                      </a:lnTo>
                      <a:lnTo>
                        <a:pt x="410" y="844"/>
                      </a:lnTo>
                      <a:lnTo>
                        <a:pt x="408" y="844"/>
                      </a:lnTo>
                      <a:lnTo>
                        <a:pt x="404" y="844"/>
                      </a:lnTo>
                      <a:lnTo>
                        <a:pt x="396" y="844"/>
                      </a:lnTo>
                      <a:lnTo>
                        <a:pt x="392" y="844"/>
                      </a:lnTo>
                      <a:lnTo>
                        <a:pt x="388" y="844"/>
                      </a:lnTo>
                      <a:lnTo>
                        <a:pt x="380" y="844"/>
                      </a:lnTo>
                      <a:lnTo>
                        <a:pt x="378" y="844"/>
                      </a:lnTo>
                      <a:lnTo>
                        <a:pt x="374" y="844"/>
                      </a:lnTo>
                      <a:lnTo>
                        <a:pt x="370" y="844"/>
                      </a:lnTo>
                      <a:lnTo>
                        <a:pt x="366" y="844"/>
                      </a:lnTo>
                      <a:lnTo>
                        <a:pt x="362" y="844"/>
                      </a:lnTo>
                      <a:lnTo>
                        <a:pt x="358" y="844"/>
                      </a:lnTo>
                      <a:lnTo>
                        <a:pt x="354" y="844"/>
                      </a:lnTo>
                      <a:lnTo>
                        <a:pt x="340" y="844"/>
                      </a:lnTo>
                      <a:lnTo>
                        <a:pt x="336" y="844"/>
                      </a:lnTo>
                      <a:lnTo>
                        <a:pt x="332" y="844"/>
                      </a:lnTo>
                      <a:lnTo>
                        <a:pt x="328" y="844"/>
                      </a:lnTo>
                      <a:lnTo>
                        <a:pt x="324" y="844"/>
                      </a:lnTo>
                      <a:lnTo>
                        <a:pt x="322" y="844"/>
                      </a:lnTo>
                      <a:lnTo>
                        <a:pt x="314" y="844"/>
                      </a:lnTo>
                      <a:lnTo>
                        <a:pt x="310" y="844"/>
                      </a:lnTo>
                      <a:lnTo>
                        <a:pt x="306" y="844"/>
                      </a:lnTo>
                      <a:lnTo>
                        <a:pt x="298" y="844"/>
                      </a:lnTo>
                      <a:lnTo>
                        <a:pt x="294" y="844"/>
                      </a:lnTo>
                      <a:lnTo>
                        <a:pt x="292" y="844"/>
                      </a:lnTo>
                      <a:lnTo>
                        <a:pt x="284" y="844"/>
                      </a:lnTo>
                      <a:lnTo>
                        <a:pt x="268" y="844"/>
                      </a:lnTo>
                      <a:lnTo>
                        <a:pt x="266" y="844"/>
                      </a:lnTo>
                      <a:lnTo>
                        <a:pt x="262" y="844"/>
                      </a:lnTo>
                      <a:lnTo>
                        <a:pt x="258" y="844"/>
                      </a:lnTo>
                      <a:lnTo>
                        <a:pt x="254" y="844"/>
                      </a:lnTo>
                      <a:lnTo>
                        <a:pt x="250" y="844"/>
                      </a:lnTo>
                      <a:lnTo>
                        <a:pt x="250" y="840"/>
                      </a:lnTo>
                      <a:lnTo>
                        <a:pt x="254" y="840"/>
                      </a:lnTo>
                      <a:lnTo>
                        <a:pt x="258" y="840"/>
                      </a:lnTo>
                      <a:lnTo>
                        <a:pt x="258" y="836"/>
                      </a:lnTo>
                      <a:lnTo>
                        <a:pt x="254" y="836"/>
                      </a:lnTo>
                      <a:lnTo>
                        <a:pt x="254" y="840"/>
                      </a:lnTo>
                      <a:lnTo>
                        <a:pt x="250" y="836"/>
                      </a:lnTo>
                      <a:lnTo>
                        <a:pt x="250" y="832"/>
                      </a:lnTo>
                      <a:lnTo>
                        <a:pt x="254" y="828"/>
                      </a:lnTo>
                      <a:lnTo>
                        <a:pt x="250" y="832"/>
                      </a:lnTo>
                      <a:lnTo>
                        <a:pt x="246" y="832"/>
                      </a:lnTo>
                      <a:lnTo>
                        <a:pt x="246" y="836"/>
                      </a:lnTo>
                      <a:lnTo>
                        <a:pt x="242" y="836"/>
                      </a:lnTo>
                      <a:lnTo>
                        <a:pt x="242" y="832"/>
                      </a:lnTo>
                      <a:lnTo>
                        <a:pt x="238" y="832"/>
                      </a:lnTo>
                      <a:lnTo>
                        <a:pt x="238" y="828"/>
                      </a:lnTo>
                      <a:lnTo>
                        <a:pt x="242" y="828"/>
                      </a:lnTo>
                      <a:lnTo>
                        <a:pt x="242" y="832"/>
                      </a:lnTo>
                      <a:lnTo>
                        <a:pt x="246" y="832"/>
                      </a:lnTo>
                      <a:lnTo>
                        <a:pt x="246" y="828"/>
                      </a:lnTo>
                      <a:lnTo>
                        <a:pt x="246" y="832"/>
                      </a:lnTo>
                      <a:lnTo>
                        <a:pt x="242" y="832"/>
                      </a:lnTo>
                      <a:lnTo>
                        <a:pt x="242" y="828"/>
                      </a:lnTo>
                      <a:lnTo>
                        <a:pt x="242" y="824"/>
                      </a:lnTo>
                      <a:lnTo>
                        <a:pt x="242" y="822"/>
                      </a:lnTo>
                      <a:lnTo>
                        <a:pt x="238" y="822"/>
                      </a:lnTo>
                      <a:lnTo>
                        <a:pt x="242" y="822"/>
                      </a:lnTo>
                      <a:lnTo>
                        <a:pt x="242" y="824"/>
                      </a:lnTo>
                      <a:lnTo>
                        <a:pt x="238" y="824"/>
                      </a:lnTo>
                      <a:lnTo>
                        <a:pt x="242" y="824"/>
                      </a:lnTo>
                      <a:lnTo>
                        <a:pt x="242" y="828"/>
                      </a:lnTo>
                      <a:lnTo>
                        <a:pt x="238" y="828"/>
                      </a:lnTo>
                      <a:lnTo>
                        <a:pt x="238" y="824"/>
                      </a:lnTo>
                      <a:lnTo>
                        <a:pt x="238" y="828"/>
                      </a:lnTo>
                      <a:lnTo>
                        <a:pt x="236" y="828"/>
                      </a:lnTo>
                      <a:lnTo>
                        <a:pt x="232" y="828"/>
                      </a:lnTo>
                      <a:lnTo>
                        <a:pt x="232" y="824"/>
                      </a:lnTo>
                      <a:lnTo>
                        <a:pt x="228" y="824"/>
                      </a:lnTo>
                      <a:lnTo>
                        <a:pt x="228" y="822"/>
                      </a:lnTo>
                      <a:lnTo>
                        <a:pt x="232" y="824"/>
                      </a:lnTo>
                      <a:lnTo>
                        <a:pt x="232" y="822"/>
                      </a:lnTo>
                      <a:lnTo>
                        <a:pt x="232" y="818"/>
                      </a:lnTo>
                      <a:lnTo>
                        <a:pt x="232" y="814"/>
                      </a:lnTo>
                      <a:lnTo>
                        <a:pt x="232" y="818"/>
                      </a:lnTo>
                      <a:lnTo>
                        <a:pt x="232" y="814"/>
                      </a:lnTo>
                      <a:lnTo>
                        <a:pt x="236" y="814"/>
                      </a:lnTo>
                      <a:lnTo>
                        <a:pt x="232" y="814"/>
                      </a:lnTo>
                      <a:lnTo>
                        <a:pt x="232" y="818"/>
                      </a:lnTo>
                      <a:lnTo>
                        <a:pt x="228" y="818"/>
                      </a:lnTo>
                      <a:lnTo>
                        <a:pt x="224" y="818"/>
                      </a:lnTo>
                      <a:lnTo>
                        <a:pt x="224" y="814"/>
                      </a:lnTo>
                      <a:lnTo>
                        <a:pt x="228" y="814"/>
                      </a:lnTo>
                      <a:lnTo>
                        <a:pt x="228" y="810"/>
                      </a:lnTo>
                      <a:lnTo>
                        <a:pt x="228" y="806"/>
                      </a:lnTo>
                      <a:lnTo>
                        <a:pt x="228" y="810"/>
                      </a:lnTo>
                      <a:lnTo>
                        <a:pt x="228" y="814"/>
                      </a:lnTo>
                      <a:lnTo>
                        <a:pt x="224" y="814"/>
                      </a:lnTo>
                      <a:lnTo>
                        <a:pt x="220" y="814"/>
                      </a:lnTo>
                      <a:lnTo>
                        <a:pt x="220" y="810"/>
                      </a:lnTo>
                      <a:lnTo>
                        <a:pt x="216" y="810"/>
                      </a:lnTo>
                      <a:lnTo>
                        <a:pt x="216" y="814"/>
                      </a:lnTo>
                      <a:lnTo>
                        <a:pt x="212" y="814"/>
                      </a:lnTo>
                      <a:lnTo>
                        <a:pt x="210" y="814"/>
                      </a:lnTo>
                      <a:lnTo>
                        <a:pt x="210" y="810"/>
                      </a:lnTo>
                      <a:lnTo>
                        <a:pt x="212" y="810"/>
                      </a:lnTo>
                      <a:lnTo>
                        <a:pt x="216" y="810"/>
                      </a:lnTo>
                      <a:lnTo>
                        <a:pt x="220" y="806"/>
                      </a:lnTo>
                      <a:lnTo>
                        <a:pt x="220" y="802"/>
                      </a:lnTo>
                      <a:lnTo>
                        <a:pt x="216" y="802"/>
                      </a:lnTo>
                      <a:lnTo>
                        <a:pt x="216" y="806"/>
                      </a:lnTo>
                      <a:lnTo>
                        <a:pt x="216" y="810"/>
                      </a:lnTo>
                      <a:lnTo>
                        <a:pt x="212" y="810"/>
                      </a:lnTo>
                      <a:lnTo>
                        <a:pt x="210" y="810"/>
                      </a:lnTo>
                      <a:lnTo>
                        <a:pt x="210" y="806"/>
                      </a:lnTo>
                      <a:lnTo>
                        <a:pt x="206" y="806"/>
                      </a:lnTo>
                      <a:lnTo>
                        <a:pt x="210" y="806"/>
                      </a:lnTo>
                      <a:lnTo>
                        <a:pt x="210" y="802"/>
                      </a:lnTo>
                      <a:lnTo>
                        <a:pt x="210" y="806"/>
                      </a:lnTo>
                      <a:lnTo>
                        <a:pt x="206" y="802"/>
                      </a:lnTo>
                      <a:lnTo>
                        <a:pt x="206" y="806"/>
                      </a:lnTo>
                      <a:lnTo>
                        <a:pt x="202" y="806"/>
                      </a:lnTo>
                      <a:lnTo>
                        <a:pt x="198" y="806"/>
                      </a:lnTo>
                      <a:lnTo>
                        <a:pt x="194" y="806"/>
                      </a:lnTo>
                      <a:lnTo>
                        <a:pt x="198" y="806"/>
                      </a:lnTo>
                      <a:lnTo>
                        <a:pt x="194" y="806"/>
                      </a:lnTo>
                      <a:lnTo>
                        <a:pt x="190" y="802"/>
                      </a:lnTo>
                      <a:lnTo>
                        <a:pt x="194" y="802"/>
                      </a:lnTo>
                      <a:lnTo>
                        <a:pt x="198" y="802"/>
                      </a:lnTo>
                      <a:lnTo>
                        <a:pt x="202" y="802"/>
                      </a:lnTo>
                      <a:lnTo>
                        <a:pt x="202" y="798"/>
                      </a:lnTo>
                      <a:lnTo>
                        <a:pt x="202" y="802"/>
                      </a:lnTo>
                      <a:lnTo>
                        <a:pt x="198" y="802"/>
                      </a:lnTo>
                      <a:lnTo>
                        <a:pt x="194" y="802"/>
                      </a:lnTo>
                      <a:lnTo>
                        <a:pt x="190" y="798"/>
                      </a:lnTo>
                      <a:lnTo>
                        <a:pt x="190" y="802"/>
                      </a:lnTo>
                      <a:lnTo>
                        <a:pt x="186" y="798"/>
                      </a:lnTo>
                      <a:lnTo>
                        <a:pt x="190" y="794"/>
                      </a:lnTo>
                      <a:lnTo>
                        <a:pt x="194" y="798"/>
                      </a:lnTo>
                      <a:lnTo>
                        <a:pt x="194" y="794"/>
                      </a:lnTo>
                      <a:lnTo>
                        <a:pt x="198" y="794"/>
                      </a:lnTo>
                      <a:lnTo>
                        <a:pt x="194" y="794"/>
                      </a:lnTo>
                      <a:lnTo>
                        <a:pt x="190" y="794"/>
                      </a:lnTo>
                      <a:lnTo>
                        <a:pt x="186" y="794"/>
                      </a:lnTo>
                      <a:lnTo>
                        <a:pt x="190" y="794"/>
                      </a:lnTo>
                      <a:lnTo>
                        <a:pt x="190" y="792"/>
                      </a:lnTo>
                      <a:lnTo>
                        <a:pt x="194" y="788"/>
                      </a:lnTo>
                      <a:lnTo>
                        <a:pt x="198" y="788"/>
                      </a:lnTo>
                      <a:lnTo>
                        <a:pt x="202" y="792"/>
                      </a:lnTo>
                      <a:lnTo>
                        <a:pt x="202" y="788"/>
                      </a:lnTo>
                      <a:lnTo>
                        <a:pt x="206" y="788"/>
                      </a:lnTo>
                      <a:lnTo>
                        <a:pt x="202" y="788"/>
                      </a:lnTo>
                      <a:lnTo>
                        <a:pt x="198" y="788"/>
                      </a:lnTo>
                      <a:lnTo>
                        <a:pt x="194" y="788"/>
                      </a:lnTo>
                      <a:lnTo>
                        <a:pt x="190" y="788"/>
                      </a:lnTo>
                      <a:lnTo>
                        <a:pt x="194" y="788"/>
                      </a:lnTo>
                      <a:lnTo>
                        <a:pt x="194" y="784"/>
                      </a:lnTo>
                      <a:lnTo>
                        <a:pt x="190" y="788"/>
                      </a:lnTo>
                      <a:lnTo>
                        <a:pt x="190" y="792"/>
                      </a:lnTo>
                      <a:lnTo>
                        <a:pt x="190" y="794"/>
                      </a:lnTo>
                      <a:lnTo>
                        <a:pt x="186" y="794"/>
                      </a:lnTo>
                      <a:lnTo>
                        <a:pt x="186" y="792"/>
                      </a:lnTo>
                      <a:lnTo>
                        <a:pt x="186" y="788"/>
                      </a:lnTo>
                      <a:lnTo>
                        <a:pt x="186" y="784"/>
                      </a:lnTo>
                      <a:lnTo>
                        <a:pt x="190" y="784"/>
                      </a:lnTo>
                      <a:lnTo>
                        <a:pt x="190" y="780"/>
                      </a:lnTo>
                      <a:lnTo>
                        <a:pt x="190" y="776"/>
                      </a:lnTo>
                      <a:lnTo>
                        <a:pt x="194" y="776"/>
                      </a:lnTo>
                      <a:lnTo>
                        <a:pt x="198" y="776"/>
                      </a:lnTo>
                      <a:lnTo>
                        <a:pt x="202" y="780"/>
                      </a:lnTo>
                      <a:lnTo>
                        <a:pt x="202" y="784"/>
                      </a:lnTo>
                      <a:lnTo>
                        <a:pt x="202" y="780"/>
                      </a:lnTo>
                      <a:lnTo>
                        <a:pt x="202" y="776"/>
                      </a:lnTo>
                      <a:lnTo>
                        <a:pt x="198" y="776"/>
                      </a:lnTo>
                      <a:lnTo>
                        <a:pt x="202" y="772"/>
                      </a:lnTo>
                      <a:lnTo>
                        <a:pt x="198" y="772"/>
                      </a:lnTo>
                      <a:lnTo>
                        <a:pt x="198" y="776"/>
                      </a:lnTo>
                      <a:lnTo>
                        <a:pt x="194" y="772"/>
                      </a:lnTo>
                      <a:lnTo>
                        <a:pt x="194" y="768"/>
                      </a:lnTo>
                      <a:lnTo>
                        <a:pt x="198" y="768"/>
                      </a:lnTo>
                      <a:lnTo>
                        <a:pt x="198" y="766"/>
                      </a:lnTo>
                      <a:lnTo>
                        <a:pt x="198" y="768"/>
                      </a:lnTo>
                      <a:lnTo>
                        <a:pt x="194" y="768"/>
                      </a:lnTo>
                      <a:lnTo>
                        <a:pt x="194" y="772"/>
                      </a:lnTo>
                      <a:lnTo>
                        <a:pt x="190" y="772"/>
                      </a:lnTo>
                      <a:lnTo>
                        <a:pt x="190" y="776"/>
                      </a:lnTo>
                      <a:lnTo>
                        <a:pt x="186" y="776"/>
                      </a:lnTo>
                      <a:lnTo>
                        <a:pt x="186" y="772"/>
                      </a:lnTo>
                      <a:lnTo>
                        <a:pt x="182" y="776"/>
                      </a:lnTo>
                      <a:lnTo>
                        <a:pt x="182" y="772"/>
                      </a:lnTo>
                      <a:lnTo>
                        <a:pt x="186" y="768"/>
                      </a:lnTo>
                      <a:lnTo>
                        <a:pt x="182" y="768"/>
                      </a:lnTo>
                      <a:lnTo>
                        <a:pt x="182" y="772"/>
                      </a:lnTo>
                      <a:lnTo>
                        <a:pt x="180" y="776"/>
                      </a:lnTo>
                      <a:lnTo>
                        <a:pt x="180" y="772"/>
                      </a:lnTo>
                      <a:lnTo>
                        <a:pt x="180" y="768"/>
                      </a:lnTo>
                      <a:lnTo>
                        <a:pt x="182" y="768"/>
                      </a:lnTo>
                      <a:lnTo>
                        <a:pt x="182" y="766"/>
                      </a:lnTo>
                      <a:lnTo>
                        <a:pt x="182" y="762"/>
                      </a:lnTo>
                      <a:lnTo>
                        <a:pt x="182" y="766"/>
                      </a:lnTo>
                      <a:lnTo>
                        <a:pt x="180" y="766"/>
                      </a:lnTo>
                      <a:lnTo>
                        <a:pt x="176" y="762"/>
                      </a:lnTo>
                      <a:lnTo>
                        <a:pt x="176" y="758"/>
                      </a:lnTo>
                      <a:lnTo>
                        <a:pt x="172" y="754"/>
                      </a:lnTo>
                      <a:lnTo>
                        <a:pt x="172" y="750"/>
                      </a:lnTo>
                      <a:lnTo>
                        <a:pt x="176" y="750"/>
                      </a:lnTo>
                      <a:lnTo>
                        <a:pt x="176" y="754"/>
                      </a:lnTo>
                      <a:lnTo>
                        <a:pt x="180" y="750"/>
                      </a:lnTo>
                      <a:lnTo>
                        <a:pt x="182" y="750"/>
                      </a:lnTo>
                      <a:lnTo>
                        <a:pt x="182" y="754"/>
                      </a:lnTo>
                      <a:lnTo>
                        <a:pt x="186" y="754"/>
                      </a:lnTo>
                      <a:lnTo>
                        <a:pt x="182" y="754"/>
                      </a:lnTo>
                      <a:lnTo>
                        <a:pt x="182" y="750"/>
                      </a:lnTo>
                      <a:lnTo>
                        <a:pt x="180" y="750"/>
                      </a:lnTo>
                      <a:lnTo>
                        <a:pt x="176" y="750"/>
                      </a:lnTo>
                      <a:lnTo>
                        <a:pt x="172" y="746"/>
                      </a:lnTo>
                      <a:lnTo>
                        <a:pt x="172" y="742"/>
                      </a:lnTo>
                      <a:lnTo>
                        <a:pt x="176" y="742"/>
                      </a:lnTo>
                      <a:lnTo>
                        <a:pt x="176" y="738"/>
                      </a:lnTo>
                      <a:lnTo>
                        <a:pt x="172" y="742"/>
                      </a:lnTo>
                      <a:lnTo>
                        <a:pt x="168" y="746"/>
                      </a:lnTo>
                      <a:lnTo>
                        <a:pt x="168" y="750"/>
                      </a:lnTo>
                      <a:lnTo>
                        <a:pt x="164" y="754"/>
                      </a:lnTo>
                      <a:lnTo>
                        <a:pt x="164" y="750"/>
                      </a:lnTo>
                      <a:lnTo>
                        <a:pt x="160" y="750"/>
                      </a:lnTo>
                      <a:lnTo>
                        <a:pt x="160" y="746"/>
                      </a:lnTo>
                      <a:lnTo>
                        <a:pt x="156" y="742"/>
                      </a:lnTo>
                      <a:lnTo>
                        <a:pt x="152" y="742"/>
                      </a:lnTo>
                      <a:lnTo>
                        <a:pt x="152" y="738"/>
                      </a:lnTo>
                      <a:lnTo>
                        <a:pt x="152" y="736"/>
                      </a:lnTo>
                      <a:lnTo>
                        <a:pt x="156" y="736"/>
                      </a:lnTo>
                      <a:lnTo>
                        <a:pt x="160" y="736"/>
                      </a:lnTo>
                      <a:lnTo>
                        <a:pt x="164" y="736"/>
                      </a:lnTo>
                      <a:lnTo>
                        <a:pt x="160" y="736"/>
                      </a:lnTo>
                      <a:lnTo>
                        <a:pt x="156" y="736"/>
                      </a:lnTo>
                      <a:lnTo>
                        <a:pt x="152" y="736"/>
                      </a:lnTo>
                      <a:lnTo>
                        <a:pt x="152" y="732"/>
                      </a:lnTo>
                      <a:lnTo>
                        <a:pt x="150" y="732"/>
                      </a:lnTo>
                      <a:lnTo>
                        <a:pt x="150" y="728"/>
                      </a:lnTo>
                      <a:lnTo>
                        <a:pt x="150" y="724"/>
                      </a:lnTo>
                      <a:lnTo>
                        <a:pt x="150" y="728"/>
                      </a:lnTo>
                      <a:lnTo>
                        <a:pt x="152" y="728"/>
                      </a:lnTo>
                      <a:lnTo>
                        <a:pt x="152" y="732"/>
                      </a:lnTo>
                      <a:lnTo>
                        <a:pt x="156" y="732"/>
                      </a:lnTo>
                      <a:lnTo>
                        <a:pt x="152" y="728"/>
                      </a:lnTo>
                      <a:lnTo>
                        <a:pt x="150" y="728"/>
                      </a:lnTo>
                      <a:lnTo>
                        <a:pt x="150" y="724"/>
                      </a:lnTo>
                      <a:lnTo>
                        <a:pt x="152" y="724"/>
                      </a:lnTo>
                      <a:lnTo>
                        <a:pt x="156" y="724"/>
                      </a:lnTo>
                      <a:lnTo>
                        <a:pt x="156" y="728"/>
                      </a:lnTo>
                      <a:lnTo>
                        <a:pt x="156" y="724"/>
                      </a:lnTo>
                      <a:lnTo>
                        <a:pt x="152" y="724"/>
                      </a:lnTo>
                      <a:lnTo>
                        <a:pt x="152" y="720"/>
                      </a:lnTo>
                      <a:lnTo>
                        <a:pt x="152" y="716"/>
                      </a:lnTo>
                      <a:lnTo>
                        <a:pt x="156" y="716"/>
                      </a:lnTo>
                      <a:lnTo>
                        <a:pt x="160" y="716"/>
                      </a:lnTo>
                      <a:lnTo>
                        <a:pt x="156" y="716"/>
                      </a:lnTo>
                      <a:lnTo>
                        <a:pt x="156" y="712"/>
                      </a:lnTo>
                      <a:lnTo>
                        <a:pt x="160" y="708"/>
                      </a:lnTo>
                      <a:lnTo>
                        <a:pt x="164" y="708"/>
                      </a:lnTo>
                      <a:lnTo>
                        <a:pt x="164" y="706"/>
                      </a:lnTo>
                      <a:lnTo>
                        <a:pt x="160" y="708"/>
                      </a:lnTo>
                      <a:lnTo>
                        <a:pt x="160" y="706"/>
                      </a:lnTo>
                      <a:lnTo>
                        <a:pt x="160" y="708"/>
                      </a:lnTo>
                      <a:lnTo>
                        <a:pt x="156" y="706"/>
                      </a:lnTo>
                      <a:lnTo>
                        <a:pt x="160" y="706"/>
                      </a:lnTo>
                      <a:lnTo>
                        <a:pt x="160" y="708"/>
                      </a:lnTo>
                      <a:lnTo>
                        <a:pt x="156" y="712"/>
                      </a:lnTo>
                      <a:lnTo>
                        <a:pt x="156" y="716"/>
                      </a:lnTo>
                      <a:lnTo>
                        <a:pt x="152" y="716"/>
                      </a:lnTo>
                      <a:lnTo>
                        <a:pt x="152" y="712"/>
                      </a:lnTo>
                      <a:lnTo>
                        <a:pt x="156" y="712"/>
                      </a:lnTo>
                      <a:lnTo>
                        <a:pt x="156" y="708"/>
                      </a:lnTo>
                      <a:lnTo>
                        <a:pt x="152" y="706"/>
                      </a:lnTo>
                      <a:lnTo>
                        <a:pt x="152" y="702"/>
                      </a:lnTo>
                      <a:lnTo>
                        <a:pt x="152" y="698"/>
                      </a:lnTo>
                      <a:lnTo>
                        <a:pt x="156" y="698"/>
                      </a:lnTo>
                      <a:lnTo>
                        <a:pt x="156" y="694"/>
                      </a:lnTo>
                      <a:lnTo>
                        <a:pt x="152" y="694"/>
                      </a:lnTo>
                      <a:lnTo>
                        <a:pt x="150" y="694"/>
                      </a:lnTo>
                      <a:lnTo>
                        <a:pt x="150" y="690"/>
                      </a:lnTo>
                      <a:lnTo>
                        <a:pt x="146" y="690"/>
                      </a:lnTo>
                      <a:lnTo>
                        <a:pt x="146" y="686"/>
                      </a:lnTo>
                      <a:lnTo>
                        <a:pt x="142" y="686"/>
                      </a:lnTo>
                      <a:lnTo>
                        <a:pt x="138" y="686"/>
                      </a:lnTo>
                      <a:lnTo>
                        <a:pt x="138" y="682"/>
                      </a:lnTo>
                      <a:lnTo>
                        <a:pt x="134" y="682"/>
                      </a:lnTo>
                      <a:lnTo>
                        <a:pt x="130" y="682"/>
                      </a:lnTo>
                      <a:lnTo>
                        <a:pt x="130" y="680"/>
                      </a:lnTo>
                      <a:lnTo>
                        <a:pt x="126" y="676"/>
                      </a:lnTo>
                      <a:lnTo>
                        <a:pt x="126" y="672"/>
                      </a:lnTo>
                      <a:lnTo>
                        <a:pt x="124" y="672"/>
                      </a:lnTo>
                      <a:lnTo>
                        <a:pt x="124" y="668"/>
                      </a:lnTo>
                      <a:lnTo>
                        <a:pt x="124" y="664"/>
                      </a:lnTo>
                      <a:lnTo>
                        <a:pt x="120" y="664"/>
                      </a:lnTo>
                      <a:lnTo>
                        <a:pt x="120" y="660"/>
                      </a:lnTo>
                      <a:lnTo>
                        <a:pt x="116" y="656"/>
                      </a:lnTo>
                      <a:lnTo>
                        <a:pt x="116" y="652"/>
                      </a:lnTo>
                      <a:lnTo>
                        <a:pt x="112" y="652"/>
                      </a:lnTo>
                      <a:lnTo>
                        <a:pt x="112" y="650"/>
                      </a:lnTo>
                      <a:lnTo>
                        <a:pt x="112" y="646"/>
                      </a:lnTo>
                      <a:lnTo>
                        <a:pt x="108" y="646"/>
                      </a:lnTo>
                      <a:lnTo>
                        <a:pt x="108" y="642"/>
                      </a:lnTo>
                      <a:lnTo>
                        <a:pt x="104" y="638"/>
                      </a:lnTo>
                      <a:lnTo>
                        <a:pt x="100" y="638"/>
                      </a:lnTo>
                      <a:lnTo>
                        <a:pt x="100" y="634"/>
                      </a:lnTo>
                      <a:lnTo>
                        <a:pt x="96" y="634"/>
                      </a:lnTo>
                      <a:lnTo>
                        <a:pt x="96" y="630"/>
                      </a:lnTo>
                      <a:lnTo>
                        <a:pt x="94" y="630"/>
                      </a:lnTo>
                      <a:lnTo>
                        <a:pt x="94" y="626"/>
                      </a:lnTo>
                      <a:lnTo>
                        <a:pt x="90" y="626"/>
                      </a:lnTo>
                      <a:lnTo>
                        <a:pt x="90" y="622"/>
                      </a:lnTo>
                      <a:lnTo>
                        <a:pt x="86" y="622"/>
                      </a:lnTo>
                      <a:lnTo>
                        <a:pt x="82" y="620"/>
                      </a:lnTo>
                      <a:lnTo>
                        <a:pt x="86" y="620"/>
                      </a:lnTo>
                      <a:lnTo>
                        <a:pt x="86" y="616"/>
                      </a:lnTo>
                      <a:lnTo>
                        <a:pt x="82" y="616"/>
                      </a:lnTo>
                      <a:lnTo>
                        <a:pt x="80" y="612"/>
                      </a:lnTo>
                      <a:lnTo>
                        <a:pt x="76" y="612"/>
                      </a:lnTo>
                      <a:lnTo>
                        <a:pt x="72" y="612"/>
                      </a:lnTo>
                      <a:lnTo>
                        <a:pt x="72" y="616"/>
                      </a:lnTo>
                      <a:lnTo>
                        <a:pt x="68" y="616"/>
                      </a:lnTo>
                      <a:lnTo>
                        <a:pt x="68" y="620"/>
                      </a:lnTo>
                      <a:lnTo>
                        <a:pt x="64" y="620"/>
                      </a:lnTo>
                      <a:lnTo>
                        <a:pt x="64" y="622"/>
                      </a:lnTo>
                      <a:lnTo>
                        <a:pt x="64" y="626"/>
                      </a:lnTo>
                      <a:lnTo>
                        <a:pt x="60" y="626"/>
                      </a:lnTo>
                      <a:lnTo>
                        <a:pt x="56" y="626"/>
                      </a:lnTo>
                      <a:lnTo>
                        <a:pt x="54" y="626"/>
                      </a:lnTo>
                      <a:lnTo>
                        <a:pt x="54" y="630"/>
                      </a:lnTo>
                      <a:lnTo>
                        <a:pt x="50" y="630"/>
                      </a:lnTo>
                      <a:lnTo>
                        <a:pt x="50" y="626"/>
                      </a:lnTo>
                      <a:lnTo>
                        <a:pt x="50" y="622"/>
                      </a:lnTo>
                      <a:lnTo>
                        <a:pt x="46" y="620"/>
                      </a:lnTo>
                      <a:lnTo>
                        <a:pt x="42" y="616"/>
                      </a:lnTo>
                      <a:lnTo>
                        <a:pt x="38" y="616"/>
                      </a:lnTo>
                      <a:lnTo>
                        <a:pt x="34" y="612"/>
                      </a:lnTo>
                      <a:lnTo>
                        <a:pt x="34" y="608"/>
                      </a:lnTo>
                      <a:lnTo>
                        <a:pt x="30" y="608"/>
                      </a:lnTo>
                      <a:lnTo>
                        <a:pt x="26" y="604"/>
                      </a:lnTo>
                      <a:lnTo>
                        <a:pt x="26" y="600"/>
                      </a:lnTo>
                      <a:lnTo>
                        <a:pt x="26" y="596"/>
                      </a:lnTo>
                      <a:lnTo>
                        <a:pt x="24" y="596"/>
                      </a:lnTo>
                      <a:lnTo>
                        <a:pt x="20" y="596"/>
                      </a:lnTo>
                      <a:lnTo>
                        <a:pt x="20" y="600"/>
                      </a:lnTo>
                      <a:lnTo>
                        <a:pt x="16" y="600"/>
                      </a:lnTo>
                      <a:lnTo>
                        <a:pt x="8" y="600"/>
                      </a:lnTo>
                      <a:lnTo>
                        <a:pt x="0" y="600"/>
                      </a:lnTo>
                      <a:lnTo>
                        <a:pt x="0" y="596"/>
                      </a:lnTo>
                      <a:lnTo>
                        <a:pt x="0" y="586"/>
                      </a:lnTo>
                      <a:lnTo>
                        <a:pt x="0" y="546"/>
                      </a:lnTo>
                      <a:lnTo>
                        <a:pt x="0" y="534"/>
                      </a:lnTo>
                      <a:lnTo>
                        <a:pt x="0" y="520"/>
                      </a:lnTo>
                      <a:lnTo>
                        <a:pt x="0" y="516"/>
                      </a:lnTo>
                      <a:lnTo>
                        <a:pt x="0" y="508"/>
                      </a:lnTo>
                      <a:lnTo>
                        <a:pt x="0" y="486"/>
                      </a:lnTo>
                      <a:lnTo>
                        <a:pt x="0" y="474"/>
                      </a:lnTo>
                      <a:lnTo>
                        <a:pt x="0" y="464"/>
                      </a:lnTo>
                      <a:lnTo>
                        <a:pt x="0" y="452"/>
                      </a:lnTo>
                      <a:lnTo>
                        <a:pt x="0" y="448"/>
                      </a:lnTo>
                      <a:lnTo>
                        <a:pt x="0" y="444"/>
                      </a:lnTo>
                      <a:lnTo>
                        <a:pt x="0" y="440"/>
                      </a:lnTo>
                      <a:lnTo>
                        <a:pt x="0" y="434"/>
                      </a:lnTo>
                      <a:lnTo>
                        <a:pt x="0" y="430"/>
                      </a:lnTo>
                      <a:lnTo>
                        <a:pt x="0" y="422"/>
                      </a:lnTo>
                      <a:lnTo>
                        <a:pt x="0" y="418"/>
                      </a:lnTo>
                      <a:lnTo>
                        <a:pt x="0" y="414"/>
                      </a:lnTo>
                      <a:lnTo>
                        <a:pt x="0" y="410"/>
                      </a:lnTo>
                      <a:lnTo>
                        <a:pt x="0" y="404"/>
                      </a:lnTo>
                      <a:lnTo>
                        <a:pt x="0" y="392"/>
                      </a:lnTo>
                      <a:lnTo>
                        <a:pt x="0" y="380"/>
                      </a:lnTo>
                      <a:lnTo>
                        <a:pt x="0" y="378"/>
                      </a:lnTo>
                      <a:lnTo>
                        <a:pt x="0" y="374"/>
                      </a:lnTo>
                      <a:lnTo>
                        <a:pt x="4" y="374"/>
                      </a:lnTo>
                      <a:lnTo>
                        <a:pt x="4" y="378"/>
                      </a:lnTo>
                      <a:lnTo>
                        <a:pt x="8" y="378"/>
                      </a:lnTo>
                      <a:lnTo>
                        <a:pt x="12" y="378"/>
                      </a:lnTo>
                      <a:lnTo>
                        <a:pt x="16" y="378"/>
                      </a:lnTo>
                      <a:lnTo>
                        <a:pt x="20" y="378"/>
                      </a:lnTo>
                      <a:lnTo>
                        <a:pt x="24" y="378"/>
                      </a:lnTo>
                      <a:lnTo>
                        <a:pt x="26" y="378"/>
                      </a:lnTo>
                      <a:lnTo>
                        <a:pt x="26" y="380"/>
                      </a:lnTo>
                      <a:lnTo>
                        <a:pt x="30" y="380"/>
                      </a:lnTo>
                      <a:lnTo>
                        <a:pt x="34" y="384"/>
                      </a:lnTo>
                      <a:lnTo>
                        <a:pt x="38" y="384"/>
                      </a:lnTo>
                      <a:lnTo>
                        <a:pt x="38" y="388"/>
                      </a:lnTo>
                      <a:lnTo>
                        <a:pt x="42" y="388"/>
                      </a:lnTo>
                      <a:lnTo>
                        <a:pt x="46" y="388"/>
                      </a:lnTo>
                      <a:lnTo>
                        <a:pt x="50" y="392"/>
                      </a:lnTo>
                      <a:lnTo>
                        <a:pt x="54" y="392"/>
                      </a:lnTo>
                      <a:lnTo>
                        <a:pt x="56" y="392"/>
                      </a:lnTo>
                      <a:lnTo>
                        <a:pt x="60" y="396"/>
                      </a:lnTo>
                      <a:lnTo>
                        <a:pt x="64" y="392"/>
                      </a:lnTo>
                      <a:lnTo>
                        <a:pt x="68" y="392"/>
                      </a:lnTo>
                      <a:lnTo>
                        <a:pt x="68" y="396"/>
                      </a:lnTo>
                      <a:lnTo>
                        <a:pt x="72" y="396"/>
                      </a:lnTo>
                      <a:lnTo>
                        <a:pt x="76" y="396"/>
                      </a:lnTo>
                      <a:lnTo>
                        <a:pt x="80" y="396"/>
                      </a:lnTo>
                      <a:lnTo>
                        <a:pt x="80" y="400"/>
                      </a:lnTo>
                      <a:lnTo>
                        <a:pt x="82" y="400"/>
                      </a:lnTo>
                      <a:lnTo>
                        <a:pt x="80" y="396"/>
                      </a:lnTo>
                      <a:lnTo>
                        <a:pt x="76" y="396"/>
                      </a:lnTo>
                      <a:lnTo>
                        <a:pt x="76" y="392"/>
                      </a:lnTo>
                      <a:lnTo>
                        <a:pt x="80" y="392"/>
                      </a:lnTo>
                      <a:lnTo>
                        <a:pt x="82" y="392"/>
                      </a:lnTo>
                      <a:lnTo>
                        <a:pt x="86" y="396"/>
                      </a:lnTo>
                      <a:lnTo>
                        <a:pt x="86" y="392"/>
                      </a:lnTo>
                      <a:lnTo>
                        <a:pt x="90" y="392"/>
                      </a:lnTo>
                      <a:lnTo>
                        <a:pt x="90" y="396"/>
                      </a:lnTo>
                      <a:lnTo>
                        <a:pt x="94" y="400"/>
                      </a:lnTo>
                      <a:lnTo>
                        <a:pt x="96" y="400"/>
                      </a:lnTo>
                      <a:lnTo>
                        <a:pt x="94" y="400"/>
                      </a:lnTo>
                      <a:lnTo>
                        <a:pt x="94" y="396"/>
                      </a:lnTo>
                      <a:lnTo>
                        <a:pt x="90" y="392"/>
                      </a:lnTo>
                      <a:lnTo>
                        <a:pt x="90" y="388"/>
                      </a:lnTo>
                      <a:lnTo>
                        <a:pt x="94" y="388"/>
                      </a:lnTo>
                      <a:lnTo>
                        <a:pt x="96" y="384"/>
                      </a:lnTo>
                      <a:lnTo>
                        <a:pt x="100" y="384"/>
                      </a:lnTo>
                      <a:lnTo>
                        <a:pt x="104" y="380"/>
                      </a:lnTo>
                      <a:lnTo>
                        <a:pt x="108" y="380"/>
                      </a:lnTo>
                      <a:lnTo>
                        <a:pt x="112" y="380"/>
                      </a:lnTo>
                      <a:lnTo>
                        <a:pt x="112" y="378"/>
                      </a:lnTo>
                      <a:lnTo>
                        <a:pt x="116" y="374"/>
                      </a:lnTo>
                      <a:lnTo>
                        <a:pt x="120" y="374"/>
                      </a:lnTo>
                      <a:lnTo>
                        <a:pt x="124" y="374"/>
                      </a:lnTo>
                      <a:lnTo>
                        <a:pt x="120" y="374"/>
                      </a:lnTo>
                      <a:lnTo>
                        <a:pt x="124" y="374"/>
                      </a:lnTo>
                      <a:lnTo>
                        <a:pt x="126" y="374"/>
                      </a:lnTo>
                      <a:lnTo>
                        <a:pt x="130" y="374"/>
                      </a:lnTo>
                      <a:lnTo>
                        <a:pt x="130" y="370"/>
                      </a:lnTo>
                      <a:lnTo>
                        <a:pt x="134" y="370"/>
                      </a:lnTo>
                      <a:lnTo>
                        <a:pt x="134" y="366"/>
                      </a:lnTo>
                      <a:lnTo>
                        <a:pt x="138" y="366"/>
                      </a:lnTo>
                      <a:lnTo>
                        <a:pt x="138" y="370"/>
                      </a:lnTo>
                      <a:lnTo>
                        <a:pt x="142" y="370"/>
                      </a:lnTo>
                      <a:lnTo>
                        <a:pt x="142" y="366"/>
                      </a:lnTo>
                      <a:lnTo>
                        <a:pt x="142" y="362"/>
                      </a:lnTo>
                      <a:lnTo>
                        <a:pt x="146" y="362"/>
                      </a:lnTo>
                      <a:lnTo>
                        <a:pt x="150" y="362"/>
                      </a:lnTo>
                      <a:lnTo>
                        <a:pt x="152" y="366"/>
                      </a:lnTo>
                      <a:lnTo>
                        <a:pt x="156" y="362"/>
                      </a:lnTo>
                      <a:lnTo>
                        <a:pt x="156" y="358"/>
                      </a:lnTo>
                      <a:lnTo>
                        <a:pt x="160" y="358"/>
                      </a:lnTo>
                      <a:lnTo>
                        <a:pt x="164" y="362"/>
                      </a:lnTo>
                      <a:lnTo>
                        <a:pt x="164" y="366"/>
                      </a:lnTo>
                      <a:lnTo>
                        <a:pt x="160" y="366"/>
                      </a:lnTo>
                      <a:lnTo>
                        <a:pt x="156" y="370"/>
                      </a:lnTo>
                      <a:lnTo>
                        <a:pt x="152" y="370"/>
                      </a:lnTo>
                      <a:lnTo>
                        <a:pt x="150" y="370"/>
                      </a:lnTo>
                      <a:lnTo>
                        <a:pt x="150" y="374"/>
                      </a:lnTo>
                      <a:lnTo>
                        <a:pt x="146" y="374"/>
                      </a:lnTo>
                      <a:lnTo>
                        <a:pt x="142" y="378"/>
                      </a:lnTo>
                      <a:lnTo>
                        <a:pt x="142" y="374"/>
                      </a:lnTo>
                      <a:lnTo>
                        <a:pt x="138" y="374"/>
                      </a:lnTo>
                      <a:lnTo>
                        <a:pt x="138" y="378"/>
                      </a:lnTo>
                      <a:lnTo>
                        <a:pt x="134" y="378"/>
                      </a:lnTo>
                      <a:lnTo>
                        <a:pt x="130" y="378"/>
                      </a:lnTo>
                      <a:lnTo>
                        <a:pt x="126" y="378"/>
                      </a:lnTo>
                      <a:lnTo>
                        <a:pt x="126" y="380"/>
                      </a:lnTo>
                      <a:lnTo>
                        <a:pt x="124" y="384"/>
                      </a:lnTo>
                      <a:lnTo>
                        <a:pt x="120" y="384"/>
                      </a:lnTo>
                      <a:lnTo>
                        <a:pt x="116" y="384"/>
                      </a:lnTo>
                      <a:lnTo>
                        <a:pt x="116" y="388"/>
                      </a:lnTo>
                      <a:lnTo>
                        <a:pt x="112" y="388"/>
                      </a:lnTo>
                      <a:lnTo>
                        <a:pt x="112" y="392"/>
                      </a:lnTo>
                      <a:lnTo>
                        <a:pt x="108" y="392"/>
                      </a:lnTo>
                      <a:lnTo>
                        <a:pt x="112" y="392"/>
                      </a:lnTo>
                      <a:lnTo>
                        <a:pt x="108" y="392"/>
                      </a:lnTo>
                      <a:lnTo>
                        <a:pt x="108" y="396"/>
                      </a:lnTo>
                      <a:lnTo>
                        <a:pt x="108" y="392"/>
                      </a:lnTo>
                      <a:lnTo>
                        <a:pt x="104" y="396"/>
                      </a:lnTo>
                      <a:lnTo>
                        <a:pt x="108" y="396"/>
                      </a:lnTo>
                      <a:lnTo>
                        <a:pt x="112" y="400"/>
                      </a:lnTo>
                      <a:lnTo>
                        <a:pt x="116" y="400"/>
                      </a:lnTo>
                      <a:lnTo>
                        <a:pt x="112" y="400"/>
                      </a:lnTo>
                      <a:lnTo>
                        <a:pt x="108" y="396"/>
                      </a:lnTo>
                      <a:lnTo>
                        <a:pt x="112" y="396"/>
                      </a:lnTo>
                      <a:lnTo>
                        <a:pt x="108" y="396"/>
                      </a:lnTo>
                      <a:lnTo>
                        <a:pt x="112" y="396"/>
                      </a:lnTo>
                      <a:lnTo>
                        <a:pt x="116" y="396"/>
                      </a:lnTo>
                      <a:lnTo>
                        <a:pt x="120" y="396"/>
                      </a:lnTo>
                      <a:lnTo>
                        <a:pt x="124" y="396"/>
                      </a:lnTo>
                      <a:lnTo>
                        <a:pt x="120" y="392"/>
                      </a:lnTo>
                      <a:lnTo>
                        <a:pt x="120" y="396"/>
                      </a:lnTo>
                      <a:lnTo>
                        <a:pt x="116" y="396"/>
                      </a:lnTo>
                      <a:lnTo>
                        <a:pt x="116" y="392"/>
                      </a:lnTo>
                      <a:lnTo>
                        <a:pt x="116" y="388"/>
                      </a:lnTo>
                      <a:lnTo>
                        <a:pt x="120" y="388"/>
                      </a:lnTo>
                      <a:lnTo>
                        <a:pt x="124" y="388"/>
                      </a:lnTo>
                      <a:lnTo>
                        <a:pt x="124" y="384"/>
                      </a:lnTo>
                      <a:lnTo>
                        <a:pt x="124" y="388"/>
                      </a:lnTo>
                      <a:lnTo>
                        <a:pt x="124" y="384"/>
                      </a:lnTo>
                      <a:lnTo>
                        <a:pt x="126" y="384"/>
                      </a:lnTo>
                      <a:lnTo>
                        <a:pt x="130" y="384"/>
                      </a:lnTo>
                      <a:lnTo>
                        <a:pt x="130" y="380"/>
                      </a:lnTo>
                      <a:lnTo>
                        <a:pt x="126" y="380"/>
                      </a:lnTo>
                      <a:lnTo>
                        <a:pt x="130" y="380"/>
                      </a:lnTo>
                      <a:lnTo>
                        <a:pt x="134" y="380"/>
                      </a:lnTo>
                      <a:lnTo>
                        <a:pt x="138" y="378"/>
                      </a:lnTo>
                      <a:lnTo>
                        <a:pt x="138" y="380"/>
                      </a:lnTo>
                      <a:lnTo>
                        <a:pt x="134" y="384"/>
                      </a:lnTo>
                      <a:lnTo>
                        <a:pt x="138" y="384"/>
                      </a:lnTo>
                      <a:lnTo>
                        <a:pt x="138" y="380"/>
                      </a:lnTo>
                      <a:lnTo>
                        <a:pt x="138" y="378"/>
                      </a:lnTo>
                      <a:lnTo>
                        <a:pt x="138" y="380"/>
                      </a:lnTo>
                      <a:lnTo>
                        <a:pt x="142" y="380"/>
                      </a:lnTo>
                      <a:lnTo>
                        <a:pt x="142" y="378"/>
                      </a:lnTo>
                      <a:lnTo>
                        <a:pt x="138" y="378"/>
                      </a:lnTo>
                      <a:lnTo>
                        <a:pt x="142" y="378"/>
                      </a:lnTo>
                      <a:lnTo>
                        <a:pt x="142" y="380"/>
                      </a:lnTo>
                      <a:lnTo>
                        <a:pt x="138" y="384"/>
                      </a:lnTo>
                      <a:lnTo>
                        <a:pt x="142" y="380"/>
                      </a:lnTo>
                      <a:lnTo>
                        <a:pt x="142" y="378"/>
                      </a:lnTo>
                      <a:lnTo>
                        <a:pt x="142" y="380"/>
                      </a:lnTo>
                      <a:lnTo>
                        <a:pt x="142" y="384"/>
                      </a:lnTo>
                      <a:lnTo>
                        <a:pt x="142" y="380"/>
                      </a:lnTo>
                      <a:lnTo>
                        <a:pt x="142" y="384"/>
                      </a:lnTo>
                      <a:lnTo>
                        <a:pt x="142" y="388"/>
                      </a:lnTo>
                      <a:lnTo>
                        <a:pt x="142" y="384"/>
                      </a:lnTo>
                      <a:lnTo>
                        <a:pt x="146" y="380"/>
                      </a:lnTo>
                      <a:lnTo>
                        <a:pt x="150" y="378"/>
                      </a:lnTo>
                      <a:lnTo>
                        <a:pt x="150" y="374"/>
                      </a:lnTo>
                      <a:lnTo>
                        <a:pt x="152" y="374"/>
                      </a:lnTo>
                      <a:lnTo>
                        <a:pt x="156" y="374"/>
                      </a:lnTo>
                      <a:lnTo>
                        <a:pt x="160" y="370"/>
                      </a:lnTo>
                      <a:lnTo>
                        <a:pt x="164" y="370"/>
                      </a:lnTo>
                      <a:lnTo>
                        <a:pt x="168" y="370"/>
                      </a:lnTo>
                      <a:lnTo>
                        <a:pt x="168" y="366"/>
                      </a:lnTo>
                      <a:lnTo>
                        <a:pt x="172" y="366"/>
                      </a:lnTo>
                      <a:lnTo>
                        <a:pt x="172" y="370"/>
                      </a:lnTo>
                      <a:lnTo>
                        <a:pt x="168" y="370"/>
                      </a:lnTo>
                      <a:lnTo>
                        <a:pt x="168" y="374"/>
                      </a:lnTo>
                      <a:lnTo>
                        <a:pt x="172" y="374"/>
                      </a:lnTo>
                      <a:lnTo>
                        <a:pt x="176" y="370"/>
                      </a:lnTo>
                      <a:lnTo>
                        <a:pt x="180" y="366"/>
                      </a:lnTo>
                      <a:lnTo>
                        <a:pt x="180" y="362"/>
                      </a:lnTo>
                      <a:lnTo>
                        <a:pt x="182" y="362"/>
                      </a:lnTo>
                      <a:lnTo>
                        <a:pt x="186" y="362"/>
                      </a:lnTo>
                      <a:lnTo>
                        <a:pt x="190" y="358"/>
                      </a:lnTo>
                      <a:lnTo>
                        <a:pt x="186" y="358"/>
                      </a:lnTo>
                      <a:lnTo>
                        <a:pt x="182" y="358"/>
                      </a:lnTo>
                      <a:lnTo>
                        <a:pt x="186" y="354"/>
                      </a:lnTo>
                      <a:lnTo>
                        <a:pt x="182" y="354"/>
                      </a:lnTo>
                      <a:lnTo>
                        <a:pt x="182" y="350"/>
                      </a:lnTo>
                      <a:lnTo>
                        <a:pt x="186" y="350"/>
                      </a:lnTo>
                      <a:lnTo>
                        <a:pt x="186" y="354"/>
                      </a:lnTo>
                      <a:lnTo>
                        <a:pt x="190" y="354"/>
                      </a:lnTo>
                      <a:lnTo>
                        <a:pt x="194" y="358"/>
                      </a:lnTo>
                      <a:lnTo>
                        <a:pt x="198" y="358"/>
                      </a:lnTo>
                      <a:lnTo>
                        <a:pt x="198" y="362"/>
                      </a:lnTo>
                      <a:lnTo>
                        <a:pt x="198" y="366"/>
                      </a:lnTo>
                      <a:lnTo>
                        <a:pt x="202" y="370"/>
                      </a:lnTo>
                      <a:lnTo>
                        <a:pt x="202" y="374"/>
                      </a:lnTo>
                      <a:lnTo>
                        <a:pt x="206" y="374"/>
                      </a:lnTo>
                      <a:lnTo>
                        <a:pt x="210" y="378"/>
                      </a:lnTo>
                      <a:lnTo>
                        <a:pt x="210" y="380"/>
                      </a:lnTo>
                      <a:lnTo>
                        <a:pt x="212" y="380"/>
                      </a:lnTo>
                      <a:lnTo>
                        <a:pt x="220" y="380"/>
                      </a:lnTo>
                      <a:lnTo>
                        <a:pt x="220" y="384"/>
                      </a:lnTo>
                      <a:lnTo>
                        <a:pt x="220" y="380"/>
                      </a:lnTo>
                      <a:lnTo>
                        <a:pt x="224" y="380"/>
                      </a:lnTo>
                      <a:lnTo>
                        <a:pt x="220" y="380"/>
                      </a:lnTo>
                      <a:lnTo>
                        <a:pt x="216" y="380"/>
                      </a:lnTo>
                      <a:lnTo>
                        <a:pt x="220" y="378"/>
                      </a:lnTo>
                      <a:lnTo>
                        <a:pt x="224" y="378"/>
                      </a:lnTo>
                      <a:lnTo>
                        <a:pt x="220" y="374"/>
                      </a:lnTo>
                      <a:lnTo>
                        <a:pt x="224" y="374"/>
                      </a:lnTo>
                      <a:lnTo>
                        <a:pt x="228" y="374"/>
                      </a:lnTo>
                      <a:lnTo>
                        <a:pt x="224" y="374"/>
                      </a:lnTo>
                      <a:lnTo>
                        <a:pt x="224" y="370"/>
                      </a:lnTo>
                      <a:lnTo>
                        <a:pt x="228" y="370"/>
                      </a:lnTo>
                      <a:lnTo>
                        <a:pt x="228" y="366"/>
                      </a:lnTo>
                      <a:lnTo>
                        <a:pt x="232" y="366"/>
                      </a:lnTo>
                      <a:lnTo>
                        <a:pt x="228" y="366"/>
                      </a:lnTo>
                      <a:lnTo>
                        <a:pt x="224" y="366"/>
                      </a:lnTo>
                      <a:lnTo>
                        <a:pt x="228" y="362"/>
                      </a:lnTo>
                      <a:lnTo>
                        <a:pt x="228" y="366"/>
                      </a:lnTo>
                      <a:lnTo>
                        <a:pt x="232" y="362"/>
                      </a:lnTo>
                      <a:lnTo>
                        <a:pt x="232" y="366"/>
                      </a:lnTo>
                      <a:lnTo>
                        <a:pt x="236" y="366"/>
                      </a:lnTo>
                      <a:lnTo>
                        <a:pt x="236" y="362"/>
                      </a:lnTo>
                      <a:lnTo>
                        <a:pt x="232" y="362"/>
                      </a:lnTo>
                      <a:lnTo>
                        <a:pt x="236" y="362"/>
                      </a:lnTo>
                      <a:lnTo>
                        <a:pt x="236" y="366"/>
                      </a:lnTo>
                      <a:lnTo>
                        <a:pt x="236" y="370"/>
                      </a:lnTo>
                      <a:lnTo>
                        <a:pt x="236" y="374"/>
                      </a:lnTo>
                      <a:lnTo>
                        <a:pt x="238" y="374"/>
                      </a:lnTo>
                      <a:lnTo>
                        <a:pt x="238" y="378"/>
                      </a:lnTo>
                      <a:lnTo>
                        <a:pt x="236" y="378"/>
                      </a:lnTo>
                      <a:lnTo>
                        <a:pt x="232" y="380"/>
                      </a:lnTo>
                      <a:lnTo>
                        <a:pt x="236" y="380"/>
                      </a:lnTo>
                      <a:lnTo>
                        <a:pt x="238" y="380"/>
                      </a:lnTo>
                      <a:lnTo>
                        <a:pt x="242" y="380"/>
                      </a:lnTo>
                      <a:lnTo>
                        <a:pt x="246" y="380"/>
                      </a:lnTo>
                      <a:lnTo>
                        <a:pt x="250" y="380"/>
                      </a:lnTo>
                      <a:lnTo>
                        <a:pt x="250" y="378"/>
                      </a:lnTo>
                      <a:lnTo>
                        <a:pt x="254" y="378"/>
                      </a:lnTo>
                      <a:lnTo>
                        <a:pt x="254" y="374"/>
                      </a:lnTo>
                      <a:lnTo>
                        <a:pt x="254" y="370"/>
                      </a:lnTo>
                      <a:lnTo>
                        <a:pt x="258" y="370"/>
                      </a:lnTo>
                      <a:lnTo>
                        <a:pt x="262" y="370"/>
                      </a:lnTo>
                      <a:lnTo>
                        <a:pt x="266" y="370"/>
                      </a:lnTo>
                      <a:lnTo>
                        <a:pt x="268" y="370"/>
                      </a:lnTo>
                      <a:lnTo>
                        <a:pt x="272" y="370"/>
                      </a:lnTo>
                      <a:lnTo>
                        <a:pt x="276" y="374"/>
                      </a:lnTo>
                      <a:lnTo>
                        <a:pt x="280" y="374"/>
                      </a:lnTo>
                      <a:lnTo>
                        <a:pt x="284" y="374"/>
                      </a:lnTo>
                      <a:lnTo>
                        <a:pt x="284" y="378"/>
                      </a:lnTo>
                      <a:lnTo>
                        <a:pt x="288" y="378"/>
                      </a:lnTo>
                      <a:lnTo>
                        <a:pt x="292" y="380"/>
                      </a:lnTo>
                      <a:lnTo>
                        <a:pt x="294" y="380"/>
                      </a:lnTo>
                      <a:lnTo>
                        <a:pt x="298" y="380"/>
                      </a:lnTo>
                      <a:lnTo>
                        <a:pt x="302" y="384"/>
                      </a:lnTo>
                      <a:lnTo>
                        <a:pt x="306" y="384"/>
                      </a:lnTo>
                      <a:lnTo>
                        <a:pt x="310" y="384"/>
                      </a:lnTo>
                      <a:lnTo>
                        <a:pt x="314" y="384"/>
                      </a:lnTo>
                      <a:lnTo>
                        <a:pt x="318" y="384"/>
                      </a:lnTo>
                      <a:lnTo>
                        <a:pt x="318" y="388"/>
                      </a:lnTo>
                      <a:lnTo>
                        <a:pt x="322" y="388"/>
                      </a:lnTo>
                      <a:lnTo>
                        <a:pt x="324" y="388"/>
                      </a:lnTo>
                      <a:lnTo>
                        <a:pt x="324" y="392"/>
                      </a:lnTo>
                      <a:lnTo>
                        <a:pt x="328" y="392"/>
                      </a:lnTo>
                      <a:lnTo>
                        <a:pt x="332" y="392"/>
                      </a:lnTo>
                      <a:lnTo>
                        <a:pt x="336" y="392"/>
                      </a:lnTo>
                      <a:lnTo>
                        <a:pt x="336" y="396"/>
                      </a:lnTo>
                      <a:lnTo>
                        <a:pt x="340" y="392"/>
                      </a:lnTo>
                      <a:lnTo>
                        <a:pt x="344" y="396"/>
                      </a:lnTo>
                      <a:lnTo>
                        <a:pt x="348" y="396"/>
                      </a:lnTo>
                      <a:lnTo>
                        <a:pt x="352" y="396"/>
                      </a:lnTo>
                      <a:lnTo>
                        <a:pt x="354" y="396"/>
                      </a:lnTo>
                      <a:lnTo>
                        <a:pt x="352" y="396"/>
                      </a:lnTo>
                      <a:lnTo>
                        <a:pt x="352" y="392"/>
                      </a:lnTo>
                      <a:lnTo>
                        <a:pt x="354" y="392"/>
                      </a:lnTo>
                      <a:lnTo>
                        <a:pt x="358" y="392"/>
                      </a:lnTo>
                      <a:lnTo>
                        <a:pt x="354" y="392"/>
                      </a:lnTo>
                      <a:lnTo>
                        <a:pt x="358" y="392"/>
                      </a:lnTo>
                      <a:lnTo>
                        <a:pt x="362" y="392"/>
                      </a:lnTo>
                      <a:lnTo>
                        <a:pt x="366" y="396"/>
                      </a:lnTo>
                      <a:lnTo>
                        <a:pt x="370" y="396"/>
                      </a:lnTo>
                      <a:lnTo>
                        <a:pt x="374" y="396"/>
                      </a:lnTo>
                      <a:lnTo>
                        <a:pt x="374" y="400"/>
                      </a:lnTo>
                      <a:lnTo>
                        <a:pt x="378" y="400"/>
                      </a:lnTo>
                      <a:lnTo>
                        <a:pt x="378" y="404"/>
                      </a:lnTo>
                      <a:lnTo>
                        <a:pt x="380" y="404"/>
                      </a:lnTo>
                      <a:lnTo>
                        <a:pt x="380" y="410"/>
                      </a:lnTo>
                      <a:lnTo>
                        <a:pt x="378" y="410"/>
                      </a:lnTo>
                      <a:lnTo>
                        <a:pt x="374" y="410"/>
                      </a:lnTo>
                      <a:lnTo>
                        <a:pt x="370" y="410"/>
                      </a:lnTo>
                      <a:lnTo>
                        <a:pt x="366" y="410"/>
                      </a:lnTo>
                      <a:lnTo>
                        <a:pt x="366" y="414"/>
                      </a:lnTo>
                      <a:lnTo>
                        <a:pt x="366" y="418"/>
                      </a:lnTo>
                      <a:lnTo>
                        <a:pt x="362" y="418"/>
                      </a:lnTo>
                      <a:lnTo>
                        <a:pt x="366" y="418"/>
                      </a:lnTo>
                      <a:lnTo>
                        <a:pt x="366" y="422"/>
                      </a:lnTo>
                      <a:lnTo>
                        <a:pt x="370" y="422"/>
                      </a:lnTo>
                      <a:lnTo>
                        <a:pt x="374" y="422"/>
                      </a:lnTo>
                      <a:lnTo>
                        <a:pt x="378" y="422"/>
                      </a:lnTo>
                      <a:lnTo>
                        <a:pt x="380" y="422"/>
                      </a:lnTo>
                      <a:lnTo>
                        <a:pt x="384" y="422"/>
                      </a:lnTo>
                      <a:lnTo>
                        <a:pt x="388" y="422"/>
                      </a:lnTo>
                      <a:lnTo>
                        <a:pt x="392" y="422"/>
                      </a:lnTo>
                      <a:lnTo>
                        <a:pt x="396" y="422"/>
                      </a:lnTo>
                      <a:lnTo>
                        <a:pt x="396" y="426"/>
                      </a:lnTo>
                      <a:lnTo>
                        <a:pt x="400" y="426"/>
                      </a:lnTo>
                      <a:lnTo>
                        <a:pt x="404" y="426"/>
                      </a:lnTo>
                      <a:lnTo>
                        <a:pt x="408" y="426"/>
                      </a:lnTo>
                      <a:lnTo>
                        <a:pt x="408" y="422"/>
                      </a:lnTo>
                      <a:lnTo>
                        <a:pt x="410" y="422"/>
                      </a:lnTo>
                      <a:lnTo>
                        <a:pt x="414" y="422"/>
                      </a:lnTo>
                      <a:lnTo>
                        <a:pt x="418" y="422"/>
                      </a:lnTo>
                      <a:lnTo>
                        <a:pt x="422" y="422"/>
                      </a:lnTo>
                      <a:lnTo>
                        <a:pt x="424" y="422"/>
                      </a:lnTo>
                      <a:lnTo>
                        <a:pt x="428" y="422"/>
                      </a:lnTo>
                      <a:lnTo>
                        <a:pt x="428" y="418"/>
                      </a:lnTo>
                      <a:lnTo>
                        <a:pt x="432" y="418"/>
                      </a:lnTo>
                      <a:lnTo>
                        <a:pt x="436" y="418"/>
                      </a:lnTo>
                      <a:lnTo>
                        <a:pt x="436" y="414"/>
                      </a:lnTo>
                      <a:lnTo>
                        <a:pt x="440" y="418"/>
                      </a:lnTo>
                      <a:lnTo>
                        <a:pt x="440" y="422"/>
                      </a:lnTo>
                      <a:lnTo>
                        <a:pt x="440" y="418"/>
                      </a:lnTo>
                      <a:lnTo>
                        <a:pt x="440" y="422"/>
                      </a:lnTo>
                      <a:lnTo>
                        <a:pt x="444" y="422"/>
                      </a:lnTo>
                      <a:lnTo>
                        <a:pt x="444" y="426"/>
                      </a:lnTo>
                      <a:lnTo>
                        <a:pt x="444" y="422"/>
                      </a:lnTo>
                      <a:lnTo>
                        <a:pt x="448" y="422"/>
                      </a:lnTo>
                      <a:lnTo>
                        <a:pt x="450" y="422"/>
                      </a:lnTo>
                      <a:lnTo>
                        <a:pt x="450" y="426"/>
                      </a:lnTo>
                      <a:lnTo>
                        <a:pt x="454" y="430"/>
                      </a:lnTo>
                      <a:lnTo>
                        <a:pt x="450" y="430"/>
                      </a:lnTo>
                      <a:lnTo>
                        <a:pt x="454" y="430"/>
                      </a:lnTo>
                      <a:lnTo>
                        <a:pt x="454" y="434"/>
                      </a:lnTo>
                      <a:lnTo>
                        <a:pt x="454" y="430"/>
                      </a:lnTo>
                      <a:lnTo>
                        <a:pt x="454" y="426"/>
                      </a:lnTo>
                      <a:lnTo>
                        <a:pt x="458" y="426"/>
                      </a:lnTo>
                      <a:lnTo>
                        <a:pt x="458" y="430"/>
                      </a:lnTo>
                      <a:lnTo>
                        <a:pt x="458" y="434"/>
                      </a:lnTo>
                      <a:lnTo>
                        <a:pt x="462" y="434"/>
                      </a:lnTo>
                      <a:lnTo>
                        <a:pt x="458" y="430"/>
                      </a:lnTo>
                      <a:lnTo>
                        <a:pt x="462" y="430"/>
                      </a:lnTo>
                      <a:lnTo>
                        <a:pt x="466" y="434"/>
                      </a:lnTo>
                      <a:lnTo>
                        <a:pt x="466" y="436"/>
                      </a:lnTo>
                      <a:lnTo>
                        <a:pt x="470" y="436"/>
                      </a:lnTo>
                      <a:lnTo>
                        <a:pt x="470" y="440"/>
                      </a:lnTo>
                      <a:lnTo>
                        <a:pt x="466" y="440"/>
                      </a:lnTo>
                      <a:lnTo>
                        <a:pt x="462" y="440"/>
                      </a:lnTo>
                      <a:lnTo>
                        <a:pt x="458" y="440"/>
                      </a:lnTo>
                      <a:lnTo>
                        <a:pt x="458" y="436"/>
                      </a:lnTo>
                      <a:lnTo>
                        <a:pt x="458" y="440"/>
                      </a:lnTo>
                      <a:lnTo>
                        <a:pt x="462" y="440"/>
                      </a:lnTo>
                      <a:lnTo>
                        <a:pt x="466" y="440"/>
                      </a:lnTo>
                      <a:lnTo>
                        <a:pt x="466" y="444"/>
                      </a:lnTo>
                      <a:lnTo>
                        <a:pt x="466" y="448"/>
                      </a:lnTo>
                      <a:lnTo>
                        <a:pt x="470" y="448"/>
                      </a:lnTo>
                      <a:lnTo>
                        <a:pt x="470" y="452"/>
                      </a:lnTo>
                      <a:lnTo>
                        <a:pt x="474" y="452"/>
                      </a:lnTo>
                      <a:lnTo>
                        <a:pt x="474" y="456"/>
                      </a:lnTo>
                      <a:lnTo>
                        <a:pt x="478" y="456"/>
                      </a:lnTo>
                      <a:lnTo>
                        <a:pt x="474" y="452"/>
                      </a:lnTo>
                      <a:lnTo>
                        <a:pt x="474" y="448"/>
                      </a:lnTo>
                      <a:lnTo>
                        <a:pt x="470" y="448"/>
                      </a:lnTo>
                      <a:lnTo>
                        <a:pt x="470" y="444"/>
                      </a:lnTo>
                      <a:lnTo>
                        <a:pt x="470" y="440"/>
                      </a:lnTo>
                      <a:lnTo>
                        <a:pt x="474" y="440"/>
                      </a:lnTo>
                      <a:lnTo>
                        <a:pt x="470" y="440"/>
                      </a:lnTo>
                      <a:lnTo>
                        <a:pt x="474" y="440"/>
                      </a:lnTo>
                      <a:lnTo>
                        <a:pt x="474" y="444"/>
                      </a:lnTo>
                      <a:lnTo>
                        <a:pt x="474" y="440"/>
                      </a:lnTo>
                      <a:lnTo>
                        <a:pt x="470" y="440"/>
                      </a:lnTo>
                      <a:lnTo>
                        <a:pt x="474" y="444"/>
                      </a:lnTo>
                      <a:lnTo>
                        <a:pt x="474" y="440"/>
                      </a:lnTo>
                      <a:lnTo>
                        <a:pt x="478" y="440"/>
                      </a:lnTo>
                      <a:lnTo>
                        <a:pt x="478" y="444"/>
                      </a:lnTo>
                      <a:lnTo>
                        <a:pt x="480" y="444"/>
                      </a:lnTo>
                      <a:lnTo>
                        <a:pt x="478" y="444"/>
                      </a:lnTo>
                      <a:lnTo>
                        <a:pt x="478" y="440"/>
                      </a:lnTo>
                      <a:lnTo>
                        <a:pt x="478" y="436"/>
                      </a:lnTo>
                      <a:lnTo>
                        <a:pt x="474" y="436"/>
                      </a:lnTo>
                      <a:lnTo>
                        <a:pt x="470" y="434"/>
                      </a:lnTo>
                      <a:lnTo>
                        <a:pt x="474" y="430"/>
                      </a:lnTo>
                      <a:lnTo>
                        <a:pt x="470" y="426"/>
                      </a:lnTo>
                      <a:lnTo>
                        <a:pt x="466" y="426"/>
                      </a:lnTo>
                      <a:lnTo>
                        <a:pt x="466" y="422"/>
                      </a:lnTo>
                      <a:lnTo>
                        <a:pt x="466" y="418"/>
                      </a:lnTo>
                      <a:lnTo>
                        <a:pt x="470" y="418"/>
                      </a:lnTo>
                      <a:lnTo>
                        <a:pt x="466" y="414"/>
                      </a:lnTo>
                      <a:lnTo>
                        <a:pt x="470" y="414"/>
                      </a:lnTo>
                      <a:lnTo>
                        <a:pt x="474" y="414"/>
                      </a:lnTo>
                      <a:lnTo>
                        <a:pt x="478" y="414"/>
                      </a:lnTo>
                      <a:lnTo>
                        <a:pt x="480" y="414"/>
                      </a:lnTo>
                      <a:lnTo>
                        <a:pt x="484" y="414"/>
                      </a:lnTo>
                      <a:lnTo>
                        <a:pt x="484" y="410"/>
                      </a:lnTo>
                      <a:lnTo>
                        <a:pt x="488" y="410"/>
                      </a:lnTo>
                      <a:lnTo>
                        <a:pt x="488" y="408"/>
                      </a:lnTo>
                      <a:lnTo>
                        <a:pt x="492" y="408"/>
                      </a:lnTo>
                      <a:lnTo>
                        <a:pt x="500" y="408"/>
                      </a:lnTo>
                      <a:lnTo>
                        <a:pt x="500" y="404"/>
                      </a:lnTo>
                      <a:lnTo>
                        <a:pt x="500" y="400"/>
                      </a:lnTo>
                      <a:lnTo>
                        <a:pt x="496" y="400"/>
                      </a:lnTo>
                      <a:lnTo>
                        <a:pt x="492" y="404"/>
                      </a:lnTo>
                      <a:lnTo>
                        <a:pt x="488" y="404"/>
                      </a:lnTo>
                      <a:lnTo>
                        <a:pt x="484" y="404"/>
                      </a:lnTo>
                      <a:lnTo>
                        <a:pt x="488" y="408"/>
                      </a:lnTo>
                      <a:lnTo>
                        <a:pt x="484" y="408"/>
                      </a:lnTo>
                      <a:lnTo>
                        <a:pt x="480" y="408"/>
                      </a:lnTo>
                      <a:lnTo>
                        <a:pt x="478" y="410"/>
                      </a:lnTo>
                      <a:lnTo>
                        <a:pt x="478" y="408"/>
                      </a:lnTo>
                      <a:lnTo>
                        <a:pt x="474" y="408"/>
                      </a:lnTo>
                      <a:lnTo>
                        <a:pt x="470" y="408"/>
                      </a:lnTo>
                      <a:lnTo>
                        <a:pt x="470" y="410"/>
                      </a:lnTo>
                      <a:lnTo>
                        <a:pt x="474" y="410"/>
                      </a:lnTo>
                      <a:lnTo>
                        <a:pt x="470" y="410"/>
                      </a:lnTo>
                      <a:lnTo>
                        <a:pt x="466" y="410"/>
                      </a:lnTo>
                      <a:lnTo>
                        <a:pt x="462" y="410"/>
                      </a:lnTo>
                      <a:lnTo>
                        <a:pt x="462" y="414"/>
                      </a:lnTo>
                      <a:lnTo>
                        <a:pt x="462" y="410"/>
                      </a:lnTo>
                      <a:lnTo>
                        <a:pt x="462" y="414"/>
                      </a:lnTo>
                      <a:lnTo>
                        <a:pt x="462" y="410"/>
                      </a:lnTo>
                      <a:lnTo>
                        <a:pt x="462" y="408"/>
                      </a:lnTo>
                      <a:lnTo>
                        <a:pt x="458" y="408"/>
                      </a:lnTo>
                      <a:lnTo>
                        <a:pt x="458" y="410"/>
                      </a:lnTo>
                      <a:lnTo>
                        <a:pt x="454" y="410"/>
                      </a:lnTo>
                      <a:lnTo>
                        <a:pt x="454" y="408"/>
                      </a:lnTo>
                      <a:lnTo>
                        <a:pt x="458" y="408"/>
                      </a:lnTo>
                      <a:lnTo>
                        <a:pt x="458" y="404"/>
                      </a:lnTo>
                      <a:lnTo>
                        <a:pt x="462" y="404"/>
                      </a:lnTo>
                      <a:lnTo>
                        <a:pt x="462" y="400"/>
                      </a:lnTo>
                      <a:lnTo>
                        <a:pt x="466" y="400"/>
                      </a:lnTo>
                      <a:lnTo>
                        <a:pt x="470" y="400"/>
                      </a:lnTo>
                      <a:lnTo>
                        <a:pt x="474" y="400"/>
                      </a:lnTo>
                      <a:lnTo>
                        <a:pt x="478" y="400"/>
                      </a:lnTo>
                      <a:lnTo>
                        <a:pt x="480" y="396"/>
                      </a:lnTo>
                      <a:lnTo>
                        <a:pt x="484" y="396"/>
                      </a:lnTo>
                      <a:lnTo>
                        <a:pt x="492" y="392"/>
                      </a:lnTo>
                      <a:lnTo>
                        <a:pt x="496" y="396"/>
                      </a:lnTo>
                      <a:lnTo>
                        <a:pt x="500" y="396"/>
                      </a:lnTo>
                      <a:lnTo>
                        <a:pt x="504" y="400"/>
                      </a:lnTo>
                      <a:lnTo>
                        <a:pt x="504" y="404"/>
                      </a:lnTo>
                      <a:lnTo>
                        <a:pt x="500" y="408"/>
                      </a:lnTo>
                      <a:lnTo>
                        <a:pt x="504" y="408"/>
                      </a:lnTo>
                      <a:lnTo>
                        <a:pt x="508" y="410"/>
                      </a:lnTo>
                      <a:lnTo>
                        <a:pt x="508" y="408"/>
                      </a:lnTo>
                      <a:lnTo>
                        <a:pt x="510" y="408"/>
                      </a:lnTo>
                      <a:lnTo>
                        <a:pt x="510" y="410"/>
                      </a:lnTo>
                      <a:lnTo>
                        <a:pt x="514" y="410"/>
                      </a:lnTo>
                      <a:lnTo>
                        <a:pt x="514" y="414"/>
                      </a:lnTo>
                      <a:lnTo>
                        <a:pt x="518" y="414"/>
                      </a:lnTo>
                      <a:lnTo>
                        <a:pt x="522" y="414"/>
                      </a:lnTo>
                      <a:lnTo>
                        <a:pt x="526" y="414"/>
                      </a:lnTo>
                      <a:lnTo>
                        <a:pt x="530" y="414"/>
                      </a:lnTo>
                      <a:lnTo>
                        <a:pt x="530" y="410"/>
                      </a:lnTo>
                      <a:lnTo>
                        <a:pt x="534" y="410"/>
                      </a:lnTo>
                      <a:lnTo>
                        <a:pt x="534" y="414"/>
                      </a:lnTo>
                      <a:lnTo>
                        <a:pt x="534" y="418"/>
                      </a:lnTo>
                      <a:lnTo>
                        <a:pt x="536" y="418"/>
                      </a:lnTo>
                      <a:lnTo>
                        <a:pt x="540" y="422"/>
                      </a:lnTo>
                      <a:lnTo>
                        <a:pt x="544" y="422"/>
                      </a:lnTo>
                      <a:lnTo>
                        <a:pt x="548" y="422"/>
                      </a:lnTo>
                      <a:lnTo>
                        <a:pt x="552" y="422"/>
                      </a:lnTo>
                      <a:lnTo>
                        <a:pt x="556" y="422"/>
                      </a:lnTo>
                      <a:lnTo>
                        <a:pt x="560" y="426"/>
                      </a:lnTo>
                      <a:lnTo>
                        <a:pt x="560" y="422"/>
                      </a:lnTo>
                      <a:lnTo>
                        <a:pt x="564" y="422"/>
                      </a:lnTo>
                      <a:lnTo>
                        <a:pt x="566" y="422"/>
                      </a:lnTo>
                      <a:lnTo>
                        <a:pt x="570" y="422"/>
                      </a:lnTo>
                      <a:lnTo>
                        <a:pt x="574" y="418"/>
                      </a:lnTo>
                      <a:lnTo>
                        <a:pt x="578" y="418"/>
                      </a:lnTo>
                      <a:lnTo>
                        <a:pt x="578" y="422"/>
                      </a:lnTo>
                      <a:lnTo>
                        <a:pt x="582" y="422"/>
                      </a:lnTo>
                      <a:lnTo>
                        <a:pt x="586" y="422"/>
                      </a:lnTo>
                      <a:lnTo>
                        <a:pt x="590" y="422"/>
                      </a:lnTo>
                      <a:lnTo>
                        <a:pt x="592" y="422"/>
                      </a:lnTo>
                      <a:lnTo>
                        <a:pt x="596" y="422"/>
                      </a:lnTo>
                      <a:lnTo>
                        <a:pt x="600" y="422"/>
                      </a:lnTo>
                      <a:lnTo>
                        <a:pt x="604" y="422"/>
                      </a:lnTo>
                      <a:lnTo>
                        <a:pt x="600" y="418"/>
                      </a:lnTo>
                      <a:lnTo>
                        <a:pt x="596" y="418"/>
                      </a:lnTo>
                      <a:lnTo>
                        <a:pt x="596" y="414"/>
                      </a:lnTo>
                      <a:lnTo>
                        <a:pt x="600" y="414"/>
                      </a:lnTo>
                      <a:lnTo>
                        <a:pt x="604" y="418"/>
                      </a:lnTo>
                      <a:lnTo>
                        <a:pt x="608" y="422"/>
                      </a:lnTo>
                      <a:lnTo>
                        <a:pt x="612" y="426"/>
                      </a:lnTo>
                      <a:lnTo>
                        <a:pt x="616" y="426"/>
                      </a:lnTo>
                      <a:lnTo>
                        <a:pt x="620" y="426"/>
                      </a:lnTo>
                      <a:lnTo>
                        <a:pt x="620" y="422"/>
                      </a:lnTo>
                      <a:lnTo>
                        <a:pt x="620" y="418"/>
                      </a:lnTo>
                      <a:lnTo>
                        <a:pt x="616" y="418"/>
                      </a:lnTo>
                      <a:lnTo>
                        <a:pt x="612" y="414"/>
                      </a:lnTo>
                      <a:lnTo>
                        <a:pt x="612" y="418"/>
                      </a:lnTo>
                      <a:lnTo>
                        <a:pt x="608" y="418"/>
                      </a:lnTo>
                      <a:lnTo>
                        <a:pt x="608" y="422"/>
                      </a:lnTo>
                      <a:lnTo>
                        <a:pt x="604" y="418"/>
                      </a:lnTo>
                      <a:lnTo>
                        <a:pt x="604" y="414"/>
                      </a:lnTo>
                      <a:lnTo>
                        <a:pt x="600" y="410"/>
                      </a:lnTo>
                      <a:lnTo>
                        <a:pt x="600" y="414"/>
                      </a:lnTo>
                      <a:lnTo>
                        <a:pt x="604" y="414"/>
                      </a:lnTo>
                      <a:lnTo>
                        <a:pt x="604" y="410"/>
                      </a:lnTo>
                      <a:lnTo>
                        <a:pt x="600" y="410"/>
                      </a:lnTo>
                      <a:lnTo>
                        <a:pt x="600" y="408"/>
                      </a:lnTo>
                      <a:lnTo>
                        <a:pt x="596" y="408"/>
                      </a:lnTo>
                      <a:lnTo>
                        <a:pt x="600" y="408"/>
                      </a:lnTo>
                      <a:lnTo>
                        <a:pt x="604" y="408"/>
                      </a:lnTo>
                      <a:lnTo>
                        <a:pt x="608" y="408"/>
                      </a:lnTo>
                      <a:lnTo>
                        <a:pt x="612" y="408"/>
                      </a:lnTo>
                      <a:lnTo>
                        <a:pt x="608" y="408"/>
                      </a:lnTo>
                      <a:lnTo>
                        <a:pt x="608" y="404"/>
                      </a:lnTo>
                      <a:lnTo>
                        <a:pt x="612" y="404"/>
                      </a:lnTo>
                      <a:lnTo>
                        <a:pt x="616" y="408"/>
                      </a:lnTo>
                      <a:lnTo>
                        <a:pt x="616" y="404"/>
                      </a:lnTo>
                      <a:lnTo>
                        <a:pt x="620" y="404"/>
                      </a:lnTo>
                      <a:lnTo>
                        <a:pt x="620" y="408"/>
                      </a:lnTo>
                      <a:lnTo>
                        <a:pt x="622" y="408"/>
                      </a:lnTo>
                      <a:lnTo>
                        <a:pt x="622" y="410"/>
                      </a:lnTo>
                      <a:lnTo>
                        <a:pt x="626" y="410"/>
                      </a:lnTo>
                      <a:lnTo>
                        <a:pt x="630" y="410"/>
                      </a:lnTo>
                      <a:lnTo>
                        <a:pt x="630" y="408"/>
                      </a:lnTo>
                      <a:lnTo>
                        <a:pt x="630" y="410"/>
                      </a:lnTo>
                      <a:lnTo>
                        <a:pt x="626" y="414"/>
                      </a:lnTo>
                      <a:lnTo>
                        <a:pt x="630" y="414"/>
                      </a:lnTo>
                      <a:lnTo>
                        <a:pt x="630" y="410"/>
                      </a:lnTo>
                      <a:lnTo>
                        <a:pt x="634" y="410"/>
                      </a:lnTo>
                      <a:lnTo>
                        <a:pt x="638" y="410"/>
                      </a:lnTo>
                      <a:lnTo>
                        <a:pt x="634" y="410"/>
                      </a:lnTo>
                      <a:lnTo>
                        <a:pt x="638" y="414"/>
                      </a:lnTo>
                      <a:lnTo>
                        <a:pt x="634" y="414"/>
                      </a:lnTo>
                      <a:lnTo>
                        <a:pt x="634" y="418"/>
                      </a:lnTo>
                      <a:lnTo>
                        <a:pt x="634" y="422"/>
                      </a:lnTo>
                      <a:lnTo>
                        <a:pt x="634" y="426"/>
                      </a:lnTo>
                      <a:lnTo>
                        <a:pt x="630" y="426"/>
                      </a:lnTo>
                      <a:lnTo>
                        <a:pt x="630" y="430"/>
                      </a:lnTo>
                      <a:lnTo>
                        <a:pt x="634" y="430"/>
                      </a:lnTo>
                      <a:lnTo>
                        <a:pt x="634" y="434"/>
                      </a:lnTo>
                      <a:lnTo>
                        <a:pt x="634" y="436"/>
                      </a:lnTo>
                      <a:lnTo>
                        <a:pt x="638" y="434"/>
                      </a:lnTo>
                      <a:lnTo>
                        <a:pt x="642" y="434"/>
                      </a:lnTo>
                      <a:lnTo>
                        <a:pt x="642" y="436"/>
                      </a:lnTo>
                      <a:lnTo>
                        <a:pt x="638" y="436"/>
                      </a:lnTo>
                      <a:lnTo>
                        <a:pt x="642" y="436"/>
                      </a:lnTo>
                      <a:lnTo>
                        <a:pt x="646" y="436"/>
                      </a:lnTo>
                      <a:lnTo>
                        <a:pt x="646" y="440"/>
                      </a:lnTo>
                      <a:lnTo>
                        <a:pt x="642" y="440"/>
                      </a:lnTo>
                      <a:lnTo>
                        <a:pt x="638" y="440"/>
                      </a:lnTo>
                      <a:lnTo>
                        <a:pt x="634" y="440"/>
                      </a:lnTo>
                      <a:lnTo>
                        <a:pt x="630" y="440"/>
                      </a:lnTo>
                      <a:lnTo>
                        <a:pt x="630" y="436"/>
                      </a:lnTo>
                      <a:lnTo>
                        <a:pt x="630" y="440"/>
                      </a:lnTo>
                      <a:lnTo>
                        <a:pt x="634" y="440"/>
                      </a:lnTo>
                      <a:lnTo>
                        <a:pt x="634" y="444"/>
                      </a:lnTo>
                      <a:lnTo>
                        <a:pt x="638" y="444"/>
                      </a:lnTo>
                      <a:lnTo>
                        <a:pt x="638" y="448"/>
                      </a:lnTo>
                      <a:lnTo>
                        <a:pt x="642" y="448"/>
                      </a:lnTo>
                      <a:lnTo>
                        <a:pt x="638" y="444"/>
                      </a:lnTo>
                      <a:lnTo>
                        <a:pt x="634" y="444"/>
                      </a:lnTo>
                      <a:lnTo>
                        <a:pt x="634" y="440"/>
                      </a:lnTo>
                      <a:lnTo>
                        <a:pt x="638" y="440"/>
                      </a:lnTo>
                      <a:lnTo>
                        <a:pt x="642" y="440"/>
                      </a:lnTo>
                      <a:lnTo>
                        <a:pt x="642" y="444"/>
                      </a:lnTo>
                      <a:lnTo>
                        <a:pt x="646" y="444"/>
                      </a:lnTo>
                      <a:lnTo>
                        <a:pt x="650" y="440"/>
                      </a:lnTo>
                      <a:lnTo>
                        <a:pt x="646" y="440"/>
                      </a:lnTo>
                      <a:lnTo>
                        <a:pt x="646" y="436"/>
                      </a:lnTo>
                      <a:lnTo>
                        <a:pt x="650" y="434"/>
                      </a:lnTo>
                      <a:lnTo>
                        <a:pt x="646" y="434"/>
                      </a:lnTo>
                      <a:lnTo>
                        <a:pt x="646" y="430"/>
                      </a:lnTo>
                      <a:lnTo>
                        <a:pt x="646" y="426"/>
                      </a:lnTo>
                      <a:lnTo>
                        <a:pt x="642" y="426"/>
                      </a:lnTo>
                      <a:lnTo>
                        <a:pt x="642" y="422"/>
                      </a:lnTo>
                      <a:lnTo>
                        <a:pt x="646" y="418"/>
                      </a:lnTo>
                      <a:lnTo>
                        <a:pt x="642" y="418"/>
                      </a:lnTo>
                      <a:lnTo>
                        <a:pt x="646" y="418"/>
                      </a:lnTo>
                      <a:lnTo>
                        <a:pt x="646" y="414"/>
                      </a:lnTo>
                      <a:lnTo>
                        <a:pt x="650" y="414"/>
                      </a:lnTo>
                      <a:lnTo>
                        <a:pt x="652" y="414"/>
                      </a:lnTo>
                      <a:lnTo>
                        <a:pt x="656" y="414"/>
                      </a:lnTo>
                      <a:lnTo>
                        <a:pt x="660" y="410"/>
                      </a:lnTo>
                      <a:lnTo>
                        <a:pt x="664" y="410"/>
                      </a:lnTo>
                      <a:lnTo>
                        <a:pt x="664" y="408"/>
                      </a:lnTo>
                      <a:lnTo>
                        <a:pt x="660" y="408"/>
                      </a:lnTo>
                      <a:lnTo>
                        <a:pt x="664" y="408"/>
                      </a:lnTo>
                      <a:lnTo>
                        <a:pt x="664" y="404"/>
                      </a:lnTo>
                      <a:lnTo>
                        <a:pt x="668" y="404"/>
                      </a:lnTo>
                      <a:lnTo>
                        <a:pt x="672" y="404"/>
                      </a:lnTo>
                      <a:lnTo>
                        <a:pt x="672" y="400"/>
                      </a:lnTo>
                      <a:lnTo>
                        <a:pt x="668" y="400"/>
                      </a:lnTo>
                      <a:lnTo>
                        <a:pt x="668" y="396"/>
                      </a:lnTo>
                      <a:lnTo>
                        <a:pt x="672" y="396"/>
                      </a:lnTo>
                      <a:lnTo>
                        <a:pt x="672" y="392"/>
                      </a:lnTo>
                      <a:lnTo>
                        <a:pt x="668" y="392"/>
                      </a:lnTo>
                      <a:lnTo>
                        <a:pt x="664" y="392"/>
                      </a:lnTo>
                      <a:lnTo>
                        <a:pt x="664" y="396"/>
                      </a:lnTo>
                      <a:lnTo>
                        <a:pt x="668" y="396"/>
                      </a:lnTo>
                      <a:lnTo>
                        <a:pt x="668" y="392"/>
                      </a:lnTo>
                      <a:lnTo>
                        <a:pt x="668" y="396"/>
                      </a:lnTo>
                      <a:lnTo>
                        <a:pt x="664" y="396"/>
                      </a:lnTo>
                      <a:lnTo>
                        <a:pt x="660" y="400"/>
                      </a:lnTo>
                      <a:lnTo>
                        <a:pt x="656" y="400"/>
                      </a:lnTo>
                      <a:lnTo>
                        <a:pt x="656" y="396"/>
                      </a:lnTo>
                      <a:lnTo>
                        <a:pt x="656" y="392"/>
                      </a:lnTo>
                      <a:lnTo>
                        <a:pt x="660" y="392"/>
                      </a:lnTo>
                      <a:lnTo>
                        <a:pt x="664" y="388"/>
                      </a:lnTo>
                      <a:lnTo>
                        <a:pt x="660" y="388"/>
                      </a:lnTo>
                      <a:lnTo>
                        <a:pt x="660" y="384"/>
                      </a:lnTo>
                      <a:lnTo>
                        <a:pt x="664" y="380"/>
                      </a:lnTo>
                      <a:lnTo>
                        <a:pt x="668" y="380"/>
                      </a:lnTo>
                      <a:lnTo>
                        <a:pt x="672" y="380"/>
                      </a:lnTo>
                      <a:lnTo>
                        <a:pt x="668" y="380"/>
                      </a:lnTo>
                      <a:lnTo>
                        <a:pt x="668" y="384"/>
                      </a:lnTo>
                      <a:lnTo>
                        <a:pt x="668" y="388"/>
                      </a:lnTo>
                      <a:lnTo>
                        <a:pt x="672" y="384"/>
                      </a:lnTo>
                      <a:lnTo>
                        <a:pt x="676" y="380"/>
                      </a:lnTo>
                      <a:lnTo>
                        <a:pt x="672" y="380"/>
                      </a:lnTo>
                      <a:lnTo>
                        <a:pt x="672" y="378"/>
                      </a:lnTo>
                      <a:lnTo>
                        <a:pt x="668" y="378"/>
                      </a:lnTo>
                      <a:lnTo>
                        <a:pt x="668" y="380"/>
                      </a:lnTo>
                      <a:lnTo>
                        <a:pt x="664" y="380"/>
                      </a:lnTo>
                      <a:lnTo>
                        <a:pt x="660" y="380"/>
                      </a:lnTo>
                      <a:lnTo>
                        <a:pt x="660" y="378"/>
                      </a:lnTo>
                      <a:lnTo>
                        <a:pt x="656" y="378"/>
                      </a:lnTo>
                      <a:lnTo>
                        <a:pt x="656" y="374"/>
                      </a:lnTo>
                      <a:lnTo>
                        <a:pt x="652" y="374"/>
                      </a:lnTo>
                      <a:lnTo>
                        <a:pt x="656" y="378"/>
                      </a:lnTo>
                      <a:lnTo>
                        <a:pt x="652" y="378"/>
                      </a:lnTo>
                      <a:lnTo>
                        <a:pt x="650" y="378"/>
                      </a:lnTo>
                      <a:lnTo>
                        <a:pt x="650" y="374"/>
                      </a:lnTo>
                      <a:lnTo>
                        <a:pt x="646" y="374"/>
                      </a:lnTo>
                      <a:lnTo>
                        <a:pt x="642" y="374"/>
                      </a:lnTo>
                      <a:lnTo>
                        <a:pt x="642" y="370"/>
                      </a:lnTo>
                      <a:lnTo>
                        <a:pt x="638" y="370"/>
                      </a:lnTo>
                      <a:lnTo>
                        <a:pt x="634" y="370"/>
                      </a:lnTo>
                      <a:lnTo>
                        <a:pt x="634" y="366"/>
                      </a:lnTo>
                      <a:lnTo>
                        <a:pt x="630" y="366"/>
                      </a:lnTo>
                      <a:lnTo>
                        <a:pt x="630" y="362"/>
                      </a:lnTo>
                      <a:lnTo>
                        <a:pt x="630" y="358"/>
                      </a:lnTo>
                      <a:lnTo>
                        <a:pt x="634" y="350"/>
                      </a:lnTo>
                      <a:lnTo>
                        <a:pt x="638" y="350"/>
                      </a:lnTo>
                      <a:lnTo>
                        <a:pt x="634" y="350"/>
                      </a:lnTo>
                      <a:lnTo>
                        <a:pt x="638" y="348"/>
                      </a:lnTo>
                      <a:lnTo>
                        <a:pt x="634" y="348"/>
                      </a:lnTo>
                      <a:lnTo>
                        <a:pt x="634" y="350"/>
                      </a:lnTo>
                      <a:lnTo>
                        <a:pt x="630" y="348"/>
                      </a:lnTo>
                      <a:lnTo>
                        <a:pt x="626" y="348"/>
                      </a:lnTo>
                      <a:lnTo>
                        <a:pt x="626" y="344"/>
                      </a:lnTo>
                      <a:lnTo>
                        <a:pt x="630" y="344"/>
                      </a:lnTo>
                      <a:lnTo>
                        <a:pt x="630" y="340"/>
                      </a:lnTo>
                      <a:lnTo>
                        <a:pt x="630" y="336"/>
                      </a:lnTo>
                      <a:lnTo>
                        <a:pt x="630" y="340"/>
                      </a:lnTo>
                      <a:lnTo>
                        <a:pt x="630" y="336"/>
                      </a:lnTo>
                      <a:lnTo>
                        <a:pt x="630" y="332"/>
                      </a:lnTo>
                      <a:lnTo>
                        <a:pt x="634" y="332"/>
                      </a:lnTo>
                      <a:lnTo>
                        <a:pt x="634" y="328"/>
                      </a:lnTo>
                      <a:lnTo>
                        <a:pt x="638" y="328"/>
                      </a:lnTo>
                      <a:lnTo>
                        <a:pt x="638" y="332"/>
                      </a:lnTo>
                      <a:lnTo>
                        <a:pt x="642" y="332"/>
                      </a:lnTo>
                      <a:lnTo>
                        <a:pt x="646" y="332"/>
                      </a:lnTo>
                      <a:lnTo>
                        <a:pt x="642" y="328"/>
                      </a:lnTo>
                      <a:lnTo>
                        <a:pt x="638" y="328"/>
                      </a:lnTo>
                      <a:lnTo>
                        <a:pt x="638" y="324"/>
                      </a:lnTo>
                      <a:lnTo>
                        <a:pt x="642" y="324"/>
                      </a:lnTo>
                      <a:lnTo>
                        <a:pt x="642" y="322"/>
                      </a:lnTo>
                      <a:lnTo>
                        <a:pt x="646" y="322"/>
                      </a:lnTo>
                      <a:lnTo>
                        <a:pt x="650" y="318"/>
                      </a:lnTo>
                      <a:lnTo>
                        <a:pt x="652" y="318"/>
                      </a:lnTo>
                      <a:lnTo>
                        <a:pt x="656" y="318"/>
                      </a:lnTo>
                      <a:lnTo>
                        <a:pt x="652" y="318"/>
                      </a:lnTo>
                      <a:lnTo>
                        <a:pt x="650" y="318"/>
                      </a:lnTo>
                      <a:lnTo>
                        <a:pt x="652" y="314"/>
                      </a:lnTo>
                      <a:lnTo>
                        <a:pt x="656" y="314"/>
                      </a:lnTo>
                      <a:lnTo>
                        <a:pt x="660" y="318"/>
                      </a:lnTo>
                      <a:lnTo>
                        <a:pt x="656" y="318"/>
                      </a:lnTo>
                      <a:lnTo>
                        <a:pt x="656" y="322"/>
                      </a:lnTo>
                      <a:lnTo>
                        <a:pt x="656" y="318"/>
                      </a:lnTo>
                      <a:lnTo>
                        <a:pt x="660" y="318"/>
                      </a:lnTo>
                      <a:lnTo>
                        <a:pt x="660" y="322"/>
                      </a:lnTo>
                      <a:lnTo>
                        <a:pt x="664" y="322"/>
                      </a:lnTo>
                      <a:lnTo>
                        <a:pt x="668" y="322"/>
                      </a:lnTo>
                      <a:lnTo>
                        <a:pt x="668" y="324"/>
                      </a:lnTo>
                      <a:lnTo>
                        <a:pt x="672" y="324"/>
                      </a:lnTo>
                      <a:lnTo>
                        <a:pt x="676" y="328"/>
                      </a:lnTo>
                      <a:lnTo>
                        <a:pt x="678" y="332"/>
                      </a:lnTo>
                      <a:lnTo>
                        <a:pt x="678" y="336"/>
                      </a:lnTo>
                      <a:lnTo>
                        <a:pt x="682" y="336"/>
                      </a:lnTo>
                      <a:lnTo>
                        <a:pt x="682" y="340"/>
                      </a:lnTo>
                      <a:lnTo>
                        <a:pt x="678" y="344"/>
                      </a:lnTo>
                      <a:lnTo>
                        <a:pt x="682" y="344"/>
                      </a:lnTo>
                      <a:lnTo>
                        <a:pt x="682" y="348"/>
                      </a:lnTo>
                      <a:lnTo>
                        <a:pt x="686" y="348"/>
                      </a:lnTo>
                      <a:lnTo>
                        <a:pt x="690" y="350"/>
                      </a:lnTo>
                      <a:lnTo>
                        <a:pt x="690" y="354"/>
                      </a:lnTo>
                      <a:lnTo>
                        <a:pt x="694" y="354"/>
                      </a:lnTo>
                      <a:lnTo>
                        <a:pt x="694" y="358"/>
                      </a:lnTo>
                      <a:lnTo>
                        <a:pt x="694" y="354"/>
                      </a:lnTo>
                      <a:lnTo>
                        <a:pt x="698" y="354"/>
                      </a:lnTo>
                      <a:lnTo>
                        <a:pt x="698" y="358"/>
                      </a:lnTo>
                      <a:lnTo>
                        <a:pt x="702" y="362"/>
                      </a:lnTo>
                      <a:lnTo>
                        <a:pt x="698" y="362"/>
                      </a:lnTo>
                      <a:lnTo>
                        <a:pt x="694" y="362"/>
                      </a:lnTo>
                      <a:lnTo>
                        <a:pt x="690" y="358"/>
                      </a:lnTo>
                      <a:lnTo>
                        <a:pt x="690" y="362"/>
                      </a:lnTo>
                      <a:lnTo>
                        <a:pt x="686" y="362"/>
                      </a:lnTo>
                      <a:lnTo>
                        <a:pt x="690" y="362"/>
                      </a:lnTo>
                      <a:lnTo>
                        <a:pt x="694" y="362"/>
                      </a:lnTo>
                      <a:lnTo>
                        <a:pt x="694" y="366"/>
                      </a:lnTo>
                      <a:lnTo>
                        <a:pt x="690" y="366"/>
                      </a:lnTo>
                      <a:lnTo>
                        <a:pt x="686" y="370"/>
                      </a:lnTo>
                      <a:lnTo>
                        <a:pt x="682" y="374"/>
                      </a:lnTo>
                      <a:lnTo>
                        <a:pt x="686" y="374"/>
                      </a:lnTo>
                      <a:lnTo>
                        <a:pt x="682" y="374"/>
                      </a:lnTo>
                      <a:lnTo>
                        <a:pt x="678" y="374"/>
                      </a:lnTo>
                      <a:lnTo>
                        <a:pt x="682" y="374"/>
                      </a:lnTo>
                      <a:lnTo>
                        <a:pt x="686" y="374"/>
                      </a:lnTo>
                      <a:lnTo>
                        <a:pt x="690" y="374"/>
                      </a:lnTo>
                      <a:lnTo>
                        <a:pt x="694" y="378"/>
                      </a:lnTo>
                      <a:lnTo>
                        <a:pt x="690" y="378"/>
                      </a:lnTo>
                      <a:lnTo>
                        <a:pt x="690" y="374"/>
                      </a:lnTo>
                      <a:lnTo>
                        <a:pt x="690" y="378"/>
                      </a:lnTo>
                      <a:lnTo>
                        <a:pt x="694" y="378"/>
                      </a:lnTo>
                      <a:lnTo>
                        <a:pt x="698" y="378"/>
                      </a:lnTo>
                      <a:lnTo>
                        <a:pt x="702" y="374"/>
                      </a:lnTo>
                      <a:lnTo>
                        <a:pt x="706" y="374"/>
                      </a:lnTo>
                      <a:lnTo>
                        <a:pt x="702" y="378"/>
                      </a:lnTo>
                      <a:lnTo>
                        <a:pt x="706" y="378"/>
                      </a:lnTo>
                      <a:lnTo>
                        <a:pt x="708" y="378"/>
                      </a:lnTo>
                      <a:lnTo>
                        <a:pt x="712" y="378"/>
                      </a:lnTo>
                      <a:lnTo>
                        <a:pt x="716" y="378"/>
                      </a:lnTo>
                      <a:lnTo>
                        <a:pt x="716" y="380"/>
                      </a:lnTo>
                      <a:lnTo>
                        <a:pt x="712" y="380"/>
                      </a:lnTo>
                      <a:lnTo>
                        <a:pt x="708" y="380"/>
                      </a:lnTo>
                      <a:lnTo>
                        <a:pt x="708" y="384"/>
                      </a:lnTo>
                      <a:lnTo>
                        <a:pt x="706" y="384"/>
                      </a:lnTo>
                      <a:lnTo>
                        <a:pt x="702" y="384"/>
                      </a:lnTo>
                      <a:lnTo>
                        <a:pt x="702" y="380"/>
                      </a:lnTo>
                      <a:lnTo>
                        <a:pt x="702" y="384"/>
                      </a:lnTo>
                      <a:lnTo>
                        <a:pt x="706" y="384"/>
                      </a:lnTo>
                      <a:lnTo>
                        <a:pt x="708" y="384"/>
                      </a:lnTo>
                      <a:lnTo>
                        <a:pt x="708" y="388"/>
                      </a:lnTo>
                      <a:lnTo>
                        <a:pt x="712" y="388"/>
                      </a:lnTo>
                      <a:lnTo>
                        <a:pt x="712" y="392"/>
                      </a:lnTo>
                      <a:lnTo>
                        <a:pt x="716" y="392"/>
                      </a:lnTo>
                      <a:lnTo>
                        <a:pt x="716" y="396"/>
                      </a:lnTo>
                      <a:lnTo>
                        <a:pt x="712" y="396"/>
                      </a:lnTo>
                      <a:lnTo>
                        <a:pt x="716" y="400"/>
                      </a:lnTo>
                      <a:lnTo>
                        <a:pt x="716" y="404"/>
                      </a:lnTo>
                      <a:lnTo>
                        <a:pt x="712" y="404"/>
                      </a:lnTo>
                      <a:lnTo>
                        <a:pt x="712" y="408"/>
                      </a:lnTo>
                      <a:lnTo>
                        <a:pt x="716" y="408"/>
                      </a:lnTo>
                      <a:lnTo>
                        <a:pt x="716" y="410"/>
                      </a:lnTo>
                      <a:lnTo>
                        <a:pt x="720" y="410"/>
                      </a:lnTo>
                      <a:lnTo>
                        <a:pt x="720" y="408"/>
                      </a:lnTo>
                      <a:lnTo>
                        <a:pt x="724" y="408"/>
                      </a:lnTo>
                      <a:lnTo>
                        <a:pt x="724" y="404"/>
                      </a:lnTo>
                      <a:lnTo>
                        <a:pt x="724" y="400"/>
                      </a:lnTo>
                      <a:lnTo>
                        <a:pt x="728" y="396"/>
                      </a:lnTo>
                      <a:lnTo>
                        <a:pt x="724" y="392"/>
                      </a:lnTo>
                      <a:lnTo>
                        <a:pt x="728" y="392"/>
                      </a:lnTo>
                      <a:lnTo>
                        <a:pt x="728" y="388"/>
                      </a:lnTo>
                      <a:lnTo>
                        <a:pt x="732" y="388"/>
                      </a:lnTo>
                      <a:lnTo>
                        <a:pt x="732" y="384"/>
                      </a:lnTo>
                      <a:lnTo>
                        <a:pt x="734" y="384"/>
                      </a:lnTo>
                      <a:lnTo>
                        <a:pt x="738" y="388"/>
                      </a:lnTo>
                      <a:lnTo>
                        <a:pt x="742" y="388"/>
                      </a:lnTo>
                      <a:lnTo>
                        <a:pt x="742" y="392"/>
                      </a:lnTo>
                      <a:lnTo>
                        <a:pt x="746" y="392"/>
                      </a:lnTo>
                      <a:lnTo>
                        <a:pt x="748" y="396"/>
                      </a:lnTo>
                      <a:lnTo>
                        <a:pt x="748" y="400"/>
                      </a:lnTo>
                      <a:lnTo>
                        <a:pt x="748" y="404"/>
                      </a:lnTo>
                      <a:lnTo>
                        <a:pt x="752" y="404"/>
                      </a:lnTo>
                      <a:lnTo>
                        <a:pt x="752" y="408"/>
                      </a:lnTo>
                      <a:lnTo>
                        <a:pt x="752" y="410"/>
                      </a:lnTo>
                      <a:lnTo>
                        <a:pt x="748" y="410"/>
                      </a:lnTo>
                      <a:lnTo>
                        <a:pt x="746" y="408"/>
                      </a:lnTo>
                      <a:lnTo>
                        <a:pt x="746" y="410"/>
                      </a:lnTo>
                      <a:lnTo>
                        <a:pt x="746" y="414"/>
                      </a:lnTo>
                      <a:lnTo>
                        <a:pt x="746" y="418"/>
                      </a:lnTo>
                      <a:lnTo>
                        <a:pt x="746" y="422"/>
                      </a:lnTo>
                      <a:lnTo>
                        <a:pt x="746" y="426"/>
                      </a:lnTo>
                      <a:lnTo>
                        <a:pt x="748" y="426"/>
                      </a:lnTo>
                      <a:lnTo>
                        <a:pt x="752" y="426"/>
                      </a:lnTo>
                      <a:lnTo>
                        <a:pt x="752" y="430"/>
                      </a:lnTo>
                      <a:lnTo>
                        <a:pt x="756" y="430"/>
                      </a:lnTo>
                      <a:lnTo>
                        <a:pt x="756" y="434"/>
                      </a:lnTo>
                      <a:lnTo>
                        <a:pt x="756" y="436"/>
                      </a:lnTo>
                      <a:lnTo>
                        <a:pt x="760" y="436"/>
                      </a:lnTo>
                      <a:lnTo>
                        <a:pt x="764" y="436"/>
                      </a:lnTo>
                      <a:lnTo>
                        <a:pt x="764" y="434"/>
                      </a:lnTo>
                      <a:lnTo>
                        <a:pt x="764" y="430"/>
                      </a:lnTo>
                      <a:lnTo>
                        <a:pt x="768" y="430"/>
                      </a:lnTo>
                      <a:lnTo>
                        <a:pt x="768" y="434"/>
                      </a:lnTo>
                      <a:lnTo>
                        <a:pt x="772" y="434"/>
                      </a:lnTo>
                      <a:lnTo>
                        <a:pt x="772" y="430"/>
                      </a:lnTo>
                      <a:lnTo>
                        <a:pt x="772" y="426"/>
                      </a:lnTo>
                      <a:lnTo>
                        <a:pt x="772" y="422"/>
                      </a:lnTo>
                      <a:lnTo>
                        <a:pt x="776" y="418"/>
                      </a:lnTo>
                      <a:lnTo>
                        <a:pt x="778" y="414"/>
                      </a:lnTo>
                      <a:lnTo>
                        <a:pt x="778" y="410"/>
                      </a:lnTo>
                      <a:lnTo>
                        <a:pt x="778" y="408"/>
                      </a:lnTo>
                      <a:lnTo>
                        <a:pt x="782" y="408"/>
                      </a:lnTo>
                      <a:lnTo>
                        <a:pt x="782" y="404"/>
                      </a:lnTo>
                      <a:lnTo>
                        <a:pt x="782" y="400"/>
                      </a:lnTo>
                      <a:lnTo>
                        <a:pt x="782" y="396"/>
                      </a:lnTo>
                      <a:lnTo>
                        <a:pt x="782" y="400"/>
                      </a:lnTo>
                      <a:lnTo>
                        <a:pt x="786" y="400"/>
                      </a:lnTo>
                      <a:lnTo>
                        <a:pt x="786" y="396"/>
                      </a:lnTo>
                      <a:lnTo>
                        <a:pt x="782" y="396"/>
                      </a:lnTo>
                      <a:lnTo>
                        <a:pt x="786" y="396"/>
                      </a:lnTo>
                      <a:lnTo>
                        <a:pt x="786" y="400"/>
                      </a:lnTo>
                      <a:lnTo>
                        <a:pt x="790" y="400"/>
                      </a:lnTo>
                      <a:lnTo>
                        <a:pt x="790" y="396"/>
                      </a:lnTo>
                      <a:lnTo>
                        <a:pt x="794" y="396"/>
                      </a:lnTo>
                      <a:lnTo>
                        <a:pt x="794" y="400"/>
                      </a:lnTo>
                      <a:lnTo>
                        <a:pt x="794" y="396"/>
                      </a:lnTo>
                      <a:lnTo>
                        <a:pt x="790" y="396"/>
                      </a:lnTo>
                      <a:lnTo>
                        <a:pt x="790" y="392"/>
                      </a:lnTo>
                      <a:lnTo>
                        <a:pt x="794" y="392"/>
                      </a:lnTo>
                      <a:lnTo>
                        <a:pt x="790" y="392"/>
                      </a:lnTo>
                      <a:lnTo>
                        <a:pt x="794" y="392"/>
                      </a:lnTo>
                      <a:lnTo>
                        <a:pt x="798" y="392"/>
                      </a:lnTo>
                      <a:lnTo>
                        <a:pt x="794" y="388"/>
                      </a:lnTo>
                      <a:lnTo>
                        <a:pt x="790" y="388"/>
                      </a:lnTo>
                      <a:lnTo>
                        <a:pt x="786" y="388"/>
                      </a:lnTo>
                      <a:lnTo>
                        <a:pt x="790" y="388"/>
                      </a:lnTo>
                      <a:lnTo>
                        <a:pt x="786" y="384"/>
                      </a:lnTo>
                      <a:lnTo>
                        <a:pt x="786" y="380"/>
                      </a:lnTo>
                      <a:lnTo>
                        <a:pt x="782" y="380"/>
                      </a:lnTo>
                      <a:lnTo>
                        <a:pt x="782" y="374"/>
                      </a:lnTo>
                      <a:lnTo>
                        <a:pt x="786" y="370"/>
                      </a:lnTo>
                      <a:lnTo>
                        <a:pt x="786" y="374"/>
                      </a:lnTo>
                      <a:lnTo>
                        <a:pt x="786" y="370"/>
                      </a:lnTo>
                      <a:lnTo>
                        <a:pt x="782" y="370"/>
                      </a:lnTo>
                      <a:lnTo>
                        <a:pt x="786" y="370"/>
                      </a:lnTo>
                      <a:lnTo>
                        <a:pt x="790" y="370"/>
                      </a:lnTo>
                      <a:lnTo>
                        <a:pt x="790" y="374"/>
                      </a:lnTo>
                      <a:lnTo>
                        <a:pt x="794" y="370"/>
                      </a:lnTo>
                      <a:lnTo>
                        <a:pt x="798" y="370"/>
                      </a:lnTo>
                      <a:lnTo>
                        <a:pt x="802" y="370"/>
                      </a:lnTo>
                      <a:lnTo>
                        <a:pt x="806" y="370"/>
                      </a:lnTo>
                      <a:lnTo>
                        <a:pt x="806" y="374"/>
                      </a:lnTo>
                      <a:lnTo>
                        <a:pt x="808" y="374"/>
                      </a:lnTo>
                      <a:lnTo>
                        <a:pt x="812" y="374"/>
                      </a:lnTo>
                      <a:lnTo>
                        <a:pt x="816" y="374"/>
                      </a:lnTo>
                      <a:lnTo>
                        <a:pt x="820" y="374"/>
                      </a:lnTo>
                      <a:lnTo>
                        <a:pt x="824" y="374"/>
                      </a:lnTo>
                      <a:lnTo>
                        <a:pt x="828" y="374"/>
                      </a:lnTo>
                      <a:lnTo>
                        <a:pt x="832" y="374"/>
                      </a:lnTo>
                      <a:lnTo>
                        <a:pt x="832" y="378"/>
                      </a:lnTo>
                      <a:lnTo>
                        <a:pt x="828" y="378"/>
                      </a:lnTo>
                      <a:lnTo>
                        <a:pt x="828" y="374"/>
                      </a:lnTo>
                      <a:lnTo>
                        <a:pt x="824" y="378"/>
                      </a:lnTo>
                      <a:lnTo>
                        <a:pt x="828" y="378"/>
                      </a:lnTo>
                      <a:lnTo>
                        <a:pt x="824" y="378"/>
                      </a:lnTo>
                      <a:lnTo>
                        <a:pt x="820" y="378"/>
                      </a:lnTo>
                      <a:lnTo>
                        <a:pt x="816" y="378"/>
                      </a:lnTo>
                      <a:lnTo>
                        <a:pt x="820" y="378"/>
                      </a:lnTo>
                      <a:lnTo>
                        <a:pt x="824" y="378"/>
                      </a:lnTo>
                      <a:lnTo>
                        <a:pt x="832" y="380"/>
                      </a:lnTo>
                      <a:lnTo>
                        <a:pt x="832" y="384"/>
                      </a:lnTo>
                      <a:lnTo>
                        <a:pt x="834" y="384"/>
                      </a:lnTo>
                      <a:lnTo>
                        <a:pt x="838" y="384"/>
                      </a:lnTo>
                      <a:lnTo>
                        <a:pt x="842" y="384"/>
                      </a:lnTo>
                      <a:lnTo>
                        <a:pt x="842" y="388"/>
                      </a:lnTo>
                      <a:lnTo>
                        <a:pt x="838" y="392"/>
                      </a:lnTo>
                      <a:lnTo>
                        <a:pt x="834" y="392"/>
                      </a:lnTo>
                      <a:lnTo>
                        <a:pt x="834" y="396"/>
                      </a:lnTo>
                      <a:lnTo>
                        <a:pt x="834" y="392"/>
                      </a:lnTo>
                      <a:lnTo>
                        <a:pt x="838" y="392"/>
                      </a:lnTo>
                      <a:lnTo>
                        <a:pt x="838" y="396"/>
                      </a:lnTo>
                      <a:lnTo>
                        <a:pt x="842" y="396"/>
                      </a:lnTo>
                      <a:lnTo>
                        <a:pt x="846" y="396"/>
                      </a:lnTo>
                      <a:lnTo>
                        <a:pt x="846" y="400"/>
                      </a:lnTo>
                      <a:lnTo>
                        <a:pt x="842" y="400"/>
                      </a:lnTo>
                      <a:lnTo>
                        <a:pt x="838" y="404"/>
                      </a:lnTo>
                      <a:lnTo>
                        <a:pt x="834" y="404"/>
                      </a:lnTo>
                      <a:lnTo>
                        <a:pt x="834" y="408"/>
                      </a:lnTo>
                      <a:lnTo>
                        <a:pt x="834" y="404"/>
                      </a:lnTo>
                      <a:lnTo>
                        <a:pt x="832" y="404"/>
                      </a:lnTo>
                      <a:lnTo>
                        <a:pt x="828" y="404"/>
                      </a:lnTo>
                      <a:lnTo>
                        <a:pt x="824" y="404"/>
                      </a:lnTo>
                      <a:lnTo>
                        <a:pt x="828" y="404"/>
                      </a:lnTo>
                      <a:lnTo>
                        <a:pt x="828" y="408"/>
                      </a:lnTo>
                      <a:lnTo>
                        <a:pt x="828" y="410"/>
                      </a:lnTo>
                      <a:lnTo>
                        <a:pt x="832" y="410"/>
                      </a:lnTo>
                      <a:lnTo>
                        <a:pt x="832" y="414"/>
                      </a:lnTo>
                      <a:lnTo>
                        <a:pt x="832" y="410"/>
                      </a:lnTo>
                      <a:lnTo>
                        <a:pt x="834" y="410"/>
                      </a:lnTo>
                      <a:lnTo>
                        <a:pt x="834" y="414"/>
                      </a:lnTo>
                      <a:lnTo>
                        <a:pt x="832" y="414"/>
                      </a:lnTo>
                      <a:lnTo>
                        <a:pt x="832" y="418"/>
                      </a:lnTo>
                      <a:lnTo>
                        <a:pt x="834" y="418"/>
                      </a:lnTo>
                      <a:lnTo>
                        <a:pt x="834" y="422"/>
                      </a:lnTo>
                      <a:lnTo>
                        <a:pt x="838" y="422"/>
                      </a:lnTo>
                      <a:lnTo>
                        <a:pt x="838" y="426"/>
                      </a:lnTo>
                      <a:lnTo>
                        <a:pt x="842" y="426"/>
                      </a:lnTo>
                      <a:lnTo>
                        <a:pt x="846" y="430"/>
                      </a:lnTo>
                      <a:lnTo>
                        <a:pt x="842" y="430"/>
                      </a:lnTo>
                      <a:lnTo>
                        <a:pt x="842" y="434"/>
                      </a:lnTo>
                      <a:lnTo>
                        <a:pt x="842" y="436"/>
                      </a:lnTo>
                      <a:lnTo>
                        <a:pt x="842" y="440"/>
                      </a:lnTo>
                      <a:lnTo>
                        <a:pt x="838" y="440"/>
                      </a:lnTo>
                      <a:lnTo>
                        <a:pt x="834" y="440"/>
                      </a:lnTo>
                      <a:lnTo>
                        <a:pt x="834" y="444"/>
                      </a:lnTo>
                      <a:lnTo>
                        <a:pt x="832" y="448"/>
                      </a:lnTo>
                      <a:lnTo>
                        <a:pt x="828" y="448"/>
                      </a:lnTo>
                      <a:lnTo>
                        <a:pt x="828" y="452"/>
                      </a:lnTo>
                      <a:lnTo>
                        <a:pt x="824" y="452"/>
                      </a:lnTo>
                      <a:lnTo>
                        <a:pt x="820" y="452"/>
                      </a:lnTo>
                      <a:lnTo>
                        <a:pt x="820" y="456"/>
                      </a:lnTo>
                      <a:lnTo>
                        <a:pt x="816" y="456"/>
                      </a:lnTo>
                      <a:lnTo>
                        <a:pt x="812" y="456"/>
                      </a:lnTo>
                      <a:lnTo>
                        <a:pt x="808" y="452"/>
                      </a:lnTo>
                      <a:lnTo>
                        <a:pt x="806" y="452"/>
                      </a:lnTo>
                      <a:lnTo>
                        <a:pt x="806" y="448"/>
                      </a:lnTo>
                      <a:lnTo>
                        <a:pt x="808" y="444"/>
                      </a:lnTo>
                      <a:lnTo>
                        <a:pt x="806" y="444"/>
                      </a:lnTo>
                      <a:lnTo>
                        <a:pt x="806" y="448"/>
                      </a:lnTo>
                      <a:lnTo>
                        <a:pt x="802" y="448"/>
                      </a:lnTo>
                      <a:lnTo>
                        <a:pt x="802" y="444"/>
                      </a:lnTo>
                      <a:lnTo>
                        <a:pt x="802" y="440"/>
                      </a:lnTo>
                      <a:lnTo>
                        <a:pt x="798" y="440"/>
                      </a:lnTo>
                      <a:lnTo>
                        <a:pt x="794" y="440"/>
                      </a:lnTo>
                      <a:lnTo>
                        <a:pt x="798" y="440"/>
                      </a:lnTo>
                      <a:lnTo>
                        <a:pt x="794" y="440"/>
                      </a:lnTo>
                      <a:lnTo>
                        <a:pt x="790" y="440"/>
                      </a:lnTo>
                      <a:lnTo>
                        <a:pt x="790" y="444"/>
                      </a:lnTo>
                      <a:lnTo>
                        <a:pt x="794" y="444"/>
                      </a:lnTo>
                      <a:lnTo>
                        <a:pt x="794" y="440"/>
                      </a:lnTo>
                      <a:lnTo>
                        <a:pt x="798" y="440"/>
                      </a:lnTo>
                      <a:lnTo>
                        <a:pt x="798" y="444"/>
                      </a:lnTo>
                      <a:lnTo>
                        <a:pt x="794" y="444"/>
                      </a:lnTo>
                      <a:lnTo>
                        <a:pt x="798" y="444"/>
                      </a:lnTo>
                      <a:lnTo>
                        <a:pt x="802" y="448"/>
                      </a:lnTo>
                      <a:lnTo>
                        <a:pt x="806" y="448"/>
                      </a:lnTo>
                      <a:lnTo>
                        <a:pt x="806" y="452"/>
                      </a:lnTo>
                      <a:lnTo>
                        <a:pt x="806" y="456"/>
                      </a:lnTo>
                      <a:lnTo>
                        <a:pt x="808" y="456"/>
                      </a:lnTo>
                      <a:lnTo>
                        <a:pt x="808" y="460"/>
                      </a:lnTo>
                      <a:lnTo>
                        <a:pt x="808" y="464"/>
                      </a:lnTo>
                      <a:lnTo>
                        <a:pt x="806" y="460"/>
                      </a:lnTo>
                      <a:lnTo>
                        <a:pt x="802" y="460"/>
                      </a:lnTo>
                      <a:lnTo>
                        <a:pt x="802" y="456"/>
                      </a:lnTo>
                      <a:lnTo>
                        <a:pt x="798" y="456"/>
                      </a:lnTo>
                      <a:lnTo>
                        <a:pt x="798" y="460"/>
                      </a:lnTo>
                      <a:lnTo>
                        <a:pt x="802" y="460"/>
                      </a:lnTo>
                      <a:lnTo>
                        <a:pt x="802" y="464"/>
                      </a:lnTo>
                      <a:lnTo>
                        <a:pt x="798" y="464"/>
                      </a:lnTo>
                      <a:lnTo>
                        <a:pt x="798" y="460"/>
                      </a:lnTo>
                      <a:lnTo>
                        <a:pt x="794" y="460"/>
                      </a:lnTo>
                      <a:lnTo>
                        <a:pt x="790" y="460"/>
                      </a:lnTo>
                      <a:lnTo>
                        <a:pt x="786" y="460"/>
                      </a:lnTo>
                      <a:lnTo>
                        <a:pt x="786" y="456"/>
                      </a:lnTo>
                      <a:lnTo>
                        <a:pt x="786" y="452"/>
                      </a:lnTo>
                      <a:lnTo>
                        <a:pt x="782" y="452"/>
                      </a:lnTo>
                      <a:lnTo>
                        <a:pt x="778" y="452"/>
                      </a:lnTo>
                      <a:lnTo>
                        <a:pt x="776" y="452"/>
                      </a:lnTo>
                      <a:lnTo>
                        <a:pt x="768" y="452"/>
                      </a:lnTo>
                      <a:lnTo>
                        <a:pt x="768" y="456"/>
                      </a:lnTo>
                      <a:lnTo>
                        <a:pt x="768" y="460"/>
                      </a:lnTo>
                      <a:lnTo>
                        <a:pt x="772" y="460"/>
                      </a:lnTo>
                      <a:lnTo>
                        <a:pt x="776" y="460"/>
                      </a:lnTo>
                      <a:lnTo>
                        <a:pt x="778" y="460"/>
                      </a:lnTo>
                      <a:lnTo>
                        <a:pt x="778" y="464"/>
                      </a:lnTo>
                      <a:lnTo>
                        <a:pt x="776" y="466"/>
                      </a:lnTo>
                      <a:lnTo>
                        <a:pt x="772" y="466"/>
                      </a:lnTo>
                      <a:lnTo>
                        <a:pt x="772" y="470"/>
                      </a:lnTo>
                      <a:lnTo>
                        <a:pt x="772" y="474"/>
                      </a:lnTo>
                      <a:lnTo>
                        <a:pt x="768" y="474"/>
                      </a:lnTo>
                      <a:lnTo>
                        <a:pt x="764" y="474"/>
                      </a:lnTo>
                      <a:lnTo>
                        <a:pt x="764" y="478"/>
                      </a:lnTo>
                      <a:lnTo>
                        <a:pt x="764" y="478"/>
                      </a:lnTo>
                      <a:lnTo>
                        <a:pt x="764" y="478"/>
                      </a:lnTo>
                      <a:close/>
                      <a:moveTo>
                        <a:pt x="408" y="354"/>
                      </a:moveTo>
                      <a:lnTo>
                        <a:pt x="410" y="358"/>
                      </a:lnTo>
                      <a:lnTo>
                        <a:pt x="414" y="358"/>
                      </a:lnTo>
                      <a:lnTo>
                        <a:pt x="410" y="358"/>
                      </a:lnTo>
                      <a:lnTo>
                        <a:pt x="408" y="358"/>
                      </a:lnTo>
                      <a:lnTo>
                        <a:pt x="408" y="354"/>
                      </a:lnTo>
                      <a:lnTo>
                        <a:pt x="408" y="354"/>
                      </a:lnTo>
                      <a:lnTo>
                        <a:pt x="408" y="354"/>
                      </a:lnTo>
                      <a:close/>
                      <a:moveTo>
                        <a:pt x="560" y="384"/>
                      </a:moveTo>
                      <a:lnTo>
                        <a:pt x="560" y="388"/>
                      </a:lnTo>
                      <a:lnTo>
                        <a:pt x="556" y="388"/>
                      </a:lnTo>
                      <a:lnTo>
                        <a:pt x="556" y="384"/>
                      </a:lnTo>
                      <a:lnTo>
                        <a:pt x="560" y="384"/>
                      </a:lnTo>
                      <a:lnTo>
                        <a:pt x="560" y="384"/>
                      </a:lnTo>
                      <a:lnTo>
                        <a:pt x="560" y="384"/>
                      </a:lnTo>
                      <a:close/>
                      <a:moveTo>
                        <a:pt x="1056" y="410"/>
                      </a:moveTo>
                      <a:lnTo>
                        <a:pt x="1052" y="410"/>
                      </a:lnTo>
                      <a:lnTo>
                        <a:pt x="1056" y="410"/>
                      </a:lnTo>
                      <a:lnTo>
                        <a:pt x="1060" y="410"/>
                      </a:lnTo>
                      <a:lnTo>
                        <a:pt x="1056" y="410"/>
                      </a:lnTo>
                      <a:lnTo>
                        <a:pt x="1056" y="410"/>
                      </a:lnTo>
                      <a:lnTo>
                        <a:pt x="1056" y="410"/>
                      </a:lnTo>
                      <a:close/>
                      <a:moveTo>
                        <a:pt x="466" y="418"/>
                      </a:moveTo>
                      <a:lnTo>
                        <a:pt x="462" y="418"/>
                      </a:lnTo>
                      <a:lnTo>
                        <a:pt x="466" y="418"/>
                      </a:lnTo>
                      <a:lnTo>
                        <a:pt x="466" y="418"/>
                      </a:lnTo>
                      <a:lnTo>
                        <a:pt x="466" y="418"/>
                      </a:lnTo>
                      <a:close/>
                      <a:moveTo>
                        <a:pt x="1088" y="426"/>
                      </a:moveTo>
                      <a:lnTo>
                        <a:pt x="1092" y="426"/>
                      </a:lnTo>
                      <a:lnTo>
                        <a:pt x="1092" y="430"/>
                      </a:lnTo>
                      <a:lnTo>
                        <a:pt x="1088" y="430"/>
                      </a:lnTo>
                      <a:lnTo>
                        <a:pt x="1088" y="426"/>
                      </a:lnTo>
                      <a:lnTo>
                        <a:pt x="1088" y="426"/>
                      </a:lnTo>
                      <a:lnTo>
                        <a:pt x="1088" y="426"/>
                      </a:lnTo>
                      <a:close/>
                      <a:moveTo>
                        <a:pt x="996" y="542"/>
                      </a:moveTo>
                      <a:lnTo>
                        <a:pt x="1000" y="546"/>
                      </a:lnTo>
                      <a:lnTo>
                        <a:pt x="1004" y="546"/>
                      </a:lnTo>
                      <a:lnTo>
                        <a:pt x="1000" y="550"/>
                      </a:lnTo>
                      <a:lnTo>
                        <a:pt x="996" y="550"/>
                      </a:lnTo>
                      <a:lnTo>
                        <a:pt x="992" y="550"/>
                      </a:lnTo>
                      <a:lnTo>
                        <a:pt x="992" y="546"/>
                      </a:lnTo>
                      <a:lnTo>
                        <a:pt x="992" y="542"/>
                      </a:lnTo>
                      <a:lnTo>
                        <a:pt x="988" y="542"/>
                      </a:lnTo>
                      <a:lnTo>
                        <a:pt x="992" y="542"/>
                      </a:lnTo>
                      <a:lnTo>
                        <a:pt x="996" y="542"/>
                      </a:lnTo>
                      <a:lnTo>
                        <a:pt x="996" y="542"/>
                      </a:lnTo>
                      <a:lnTo>
                        <a:pt x="996" y="542"/>
                      </a:lnTo>
                      <a:close/>
                      <a:moveTo>
                        <a:pt x="1084" y="596"/>
                      </a:moveTo>
                      <a:lnTo>
                        <a:pt x="1080" y="596"/>
                      </a:lnTo>
                      <a:lnTo>
                        <a:pt x="1080" y="600"/>
                      </a:lnTo>
                      <a:lnTo>
                        <a:pt x="1084" y="600"/>
                      </a:lnTo>
                      <a:lnTo>
                        <a:pt x="1080" y="600"/>
                      </a:lnTo>
                      <a:lnTo>
                        <a:pt x="1080" y="596"/>
                      </a:lnTo>
                      <a:lnTo>
                        <a:pt x="1076" y="596"/>
                      </a:lnTo>
                      <a:lnTo>
                        <a:pt x="1076" y="594"/>
                      </a:lnTo>
                      <a:lnTo>
                        <a:pt x="1080" y="594"/>
                      </a:lnTo>
                      <a:lnTo>
                        <a:pt x="1080" y="596"/>
                      </a:lnTo>
                      <a:lnTo>
                        <a:pt x="1084" y="596"/>
                      </a:lnTo>
                      <a:lnTo>
                        <a:pt x="1084" y="596"/>
                      </a:lnTo>
                      <a:lnTo>
                        <a:pt x="1084" y="596"/>
                      </a:lnTo>
                      <a:close/>
                      <a:moveTo>
                        <a:pt x="862" y="612"/>
                      </a:moveTo>
                      <a:lnTo>
                        <a:pt x="862" y="616"/>
                      </a:lnTo>
                      <a:lnTo>
                        <a:pt x="858" y="616"/>
                      </a:lnTo>
                      <a:lnTo>
                        <a:pt x="858" y="612"/>
                      </a:lnTo>
                      <a:lnTo>
                        <a:pt x="862" y="612"/>
                      </a:lnTo>
                      <a:lnTo>
                        <a:pt x="862" y="612"/>
                      </a:lnTo>
                      <a:lnTo>
                        <a:pt x="862" y="612"/>
                      </a:lnTo>
                      <a:close/>
                      <a:moveTo>
                        <a:pt x="1130" y="682"/>
                      </a:moveTo>
                      <a:lnTo>
                        <a:pt x="1130" y="680"/>
                      </a:lnTo>
                      <a:lnTo>
                        <a:pt x="1130" y="682"/>
                      </a:lnTo>
                      <a:lnTo>
                        <a:pt x="1130" y="682"/>
                      </a:lnTo>
                      <a:lnTo>
                        <a:pt x="1130" y="682"/>
                      </a:lnTo>
                      <a:close/>
                      <a:moveTo>
                        <a:pt x="1122" y="682"/>
                      </a:moveTo>
                      <a:lnTo>
                        <a:pt x="1126" y="682"/>
                      </a:lnTo>
                      <a:lnTo>
                        <a:pt x="1130" y="686"/>
                      </a:lnTo>
                      <a:lnTo>
                        <a:pt x="1126" y="686"/>
                      </a:lnTo>
                      <a:lnTo>
                        <a:pt x="1122" y="686"/>
                      </a:lnTo>
                      <a:lnTo>
                        <a:pt x="1126" y="686"/>
                      </a:lnTo>
                      <a:lnTo>
                        <a:pt x="1126" y="682"/>
                      </a:lnTo>
                      <a:lnTo>
                        <a:pt x="1122" y="682"/>
                      </a:lnTo>
                      <a:lnTo>
                        <a:pt x="1122" y="682"/>
                      </a:lnTo>
                      <a:lnTo>
                        <a:pt x="1122" y="682"/>
                      </a:lnTo>
                      <a:close/>
                      <a:moveTo>
                        <a:pt x="160" y="758"/>
                      </a:moveTo>
                      <a:lnTo>
                        <a:pt x="160" y="754"/>
                      </a:lnTo>
                      <a:lnTo>
                        <a:pt x="156" y="754"/>
                      </a:lnTo>
                      <a:lnTo>
                        <a:pt x="156" y="750"/>
                      </a:lnTo>
                      <a:lnTo>
                        <a:pt x="156" y="746"/>
                      </a:lnTo>
                      <a:lnTo>
                        <a:pt x="152" y="746"/>
                      </a:lnTo>
                      <a:lnTo>
                        <a:pt x="156" y="746"/>
                      </a:lnTo>
                      <a:lnTo>
                        <a:pt x="152" y="746"/>
                      </a:lnTo>
                      <a:lnTo>
                        <a:pt x="152" y="742"/>
                      </a:lnTo>
                      <a:lnTo>
                        <a:pt x="156" y="742"/>
                      </a:lnTo>
                      <a:lnTo>
                        <a:pt x="156" y="746"/>
                      </a:lnTo>
                      <a:lnTo>
                        <a:pt x="160" y="750"/>
                      </a:lnTo>
                      <a:lnTo>
                        <a:pt x="164" y="750"/>
                      </a:lnTo>
                      <a:lnTo>
                        <a:pt x="164" y="754"/>
                      </a:lnTo>
                      <a:lnTo>
                        <a:pt x="164" y="758"/>
                      </a:lnTo>
                      <a:lnTo>
                        <a:pt x="160" y="758"/>
                      </a:lnTo>
                      <a:lnTo>
                        <a:pt x="160" y="758"/>
                      </a:lnTo>
                      <a:lnTo>
                        <a:pt x="160" y="758"/>
                      </a:lnTo>
                      <a:close/>
                      <a:moveTo>
                        <a:pt x="168" y="766"/>
                      </a:moveTo>
                      <a:lnTo>
                        <a:pt x="168" y="762"/>
                      </a:lnTo>
                      <a:lnTo>
                        <a:pt x="172" y="762"/>
                      </a:lnTo>
                      <a:lnTo>
                        <a:pt x="172" y="758"/>
                      </a:lnTo>
                      <a:lnTo>
                        <a:pt x="168" y="758"/>
                      </a:lnTo>
                      <a:lnTo>
                        <a:pt x="172" y="758"/>
                      </a:lnTo>
                      <a:lnTo>
                        <a:pt x="172" y="762"/>
                      </a:lnTo>
                      <a:lnTo>
                        <a:pt x="168" y="762"/>
                      </a:lnTo>
                      <a:lnTo>
                        <a:pt x="168" y="758"/>
                      </a:lnTo>
                      <a:lnTo>
                        <a:pt x="168" y="754"/>
                      </a:lnTo>
                      <a:lnTo>
                        <a:pt x="172" y="754"/>
                      </a:lnTo>
                      <a:lnTo>
                        <a:pt x="172" y="758"/>
                      </a:lnTo>
                      <a:lnTo>
                        <a:pt x="176" y="758"/>
                      </a:lnTo>
                      <a:lnTo>
                        <a:pt x="176" y="762"/>
                      </a:lnTo>
                      <a:lnTo>
                        <a:pt x="176" y="768"/>
                      </a:lnTo>
                      <a:lnTo>
                        <a:pt x="172" y="768"/>
                      </a:lnTo>
                      <a:lnTo>
                        <a:pt x="172" y="766"/>
                      </a:lnTo>
                      <a:lnTo>
                        <a:pt x="176" y="766"/>
                      </a:lnTo>
                      <a:lnTo>
                        <a:pt x="176" y="762"/>
                      </a:lnTo>
                      <a:lnTo>
                        <a:pt x="172" y="766"/>
                      </a:lnTo>
                      <a:lnTo>
                        <a:pt x="172" y="768"/>
                      </a:lnTo>
                      <a:lnTo>
                        <a:pt x="168" y="768"/>
                      </a:lnTo>
                      <a:lnTo>
                        <a:pt x="168" y="766"/>
                      </a:lnTo>
                      <a:lnTo>
                        <a:pt x="168" y="766"/>
                      </a:lnTo>
                      <a:lnTo>
                        <a:pt x="168" y="766"/>
                      </a:lnTo>
                      <a:close/>
                      <a:moveTo>
                        <a:pt x="138" y="780"/>
                      </a:moveTo>
                      <a:lnTo>
                        <a:pt x="134" y="776"/>
                      </a:lnTo>
                      <a:lnTo>
                        <a:pt x="134" y="772"/>
                      </a:lnTo>
                      <a:lnTo>
                        <a:pt x="130" y="772"/>
                      </a:lnTo>
                      <a:lnTo>
                        <a:pt x="126" y="768"/>
                      </a:lnTo>
                      <a:lnTo>
                        <a:pt x="126" y="766"/>
                      </a:lnTo>
                      <a:lnTo>
                        <a:pt x="124" y="766"/>
                      </a:lnTo>
                      <a:lnTo>
                        <a:pt x="124" y="762"/>
                      </a:lnTo>
                      <a:lnTo>
                        <a:pt x="126" y="762"/>
                      </a:lnTo>
                      <a:lnTo>
                        <a:pt x="124" y="762"/>
                      </a:lnTo>
                      <a:lnTo>
                        <a:pt x="120" y="762"/>
                      </a:lnTo>
                      <a:lnTo>
                        <a:pt x="120" y="758"/>
                      </a:lnTo>
                      <a:lnTo>
                        <a:pt x="124" y="758"/>
                      </a:lnTo>
                      <a:lnTo>
                        <a:pt x="126" y="758"/>
                      </a:lnTo>
                      <a:lnTo>
                        <a:pt x="126" y="754"/>
                      </a:lnTo>
                      <a:lnTo>
                        <a:pt x="130" y="754"/>
                      </a:lnTo>
                      <a:lnTo>
                        <a:pt x="130" y="758"/>
                      </a:lnTo>
                      <a:lnTo>
                        <a:pt x="134" y="762"/>
                      </a:lnTo>
                      <a:lnTo>
                        <a:pt x="130" y="762"/>
                      </a:lnTo>
                      <a:lnTo>
                        <a:pt x="130" y="758"/>
                      </a:lnTo>
                      <a:lnTo>
                        <a:pt x="126" y="758"/>
                      </a:lnTo>
                      <a:lnTo>
                        <a:pt x="126" y="762"/>
                      </a:lnTo>
                      <a:lnTo>
                        <a:pt x="130" y="762"/>
                      </a:lnTo>
                      <a:lnTo>
                        <a:pt x="134" y="762"/>
                      </a:lnTo>
                      <a:lnTo>
                        <a:pt x="130" y="762"/>
                      </a:lnTo>
                      <a:lnTo>
                        <a:pt x="130" y="766"/>
                      </a:lnTo>
                      <a:lnTo>
                        <a:pt x="130" y="762"/>
                      </a:lnTo>
                      <a:lnTo>
                        <a:pt x="126" y="762"/>
                      </a:lnTo>
                      <a:lnTo>
                        <a:pt x="130" y="766"/>
                      </a:lnTo>
                      <a:lnTo>
                        <a:pt x="130" y="768"/>
                      </a:lnTo>
                      <a:lnTo>
                        <a:pt x="134" y="768"/>
                      </a:lnTo>
                      <a:lnTo>
                        <a:pt x="134" y="772"/>
                      </a:lnTo>
                      <a:lnTo>
                        <a:pt x="138" y="772"/>
                      </a:lnTo>
                      <a:lnTo>
                        <a:pt x="138" y="776"/>
                      </a:lnTo>
                      <a:lnTo>
                        <a:pt x="142" y="776"/>
                      </a:lnTo>
                      <a:lnTo>
                        <a:pt x="138" y="780"/>
                      </a:lnTo>
                      <a:lnTo>
                        <a:pt x="138" y="780"/>
                      </a:lnTo>
                      <a:lnTo>
                        <a:pt x="138" y="780"/>
                      </a:lnTo>
                      <a:close/>
                      <a:moveTo>
                        <a:pt x="182" y="776"/>
                      </a:moveTo>
                      <a:lnTo>
                        <a:pt x="182" y="780"/>
                      </a:lnTo>
                      <a:lnTo>
                        <a:pt x="180" y="780"/>
                      </a:lnTo>
                      <a:lnTo>
                        <a:pt x="180" y="776"/>
                      </a:lnTo>
                      <a:lnTo>
                        <a:pt x="182" y="776"/>
                      </a:lnTo>
                      <a:lnTo>
                        <a:pt x="182" y="776"/>
                      </a:lnTo>
                      <a:lnTo>
                        <a:pt x="182" y="776"/>
                      </a:lnTo>
                      <a:close/>
                      <a:moveTo>
                        <a:pt x="182" y="780"/>
                      </a:moveTo>
                      <a:lnTo>
                        <a:pt x="182" y="784"/>
                      </a:lnTo>
                      <a:lnTo>
                        <a:pt x="182" y="788"/>
                      </a:lnTo>
                      <a:lnTo>
                        <a:pt x="180" y="784"/>
                      </a:lnTo>
                      <a:lnTo>
                        <a:pt x="182" y="780"/>
                      </a:lnTo>
                      <a:lnTo>
                        <a:pt x="182" y="780"/>
                      </a:lnTo>
                      <a:lnTo>
                        <a:pt x="182" y="780"/>
                      </a:lnTo>
                      <a:close/>
                      <a:moveTo>
                        <a:pt x="884" y="8"/>
                      </a:moveTo>
                      <a:lnTo>
                        <a:pt x="888" y="4"/>
                      </a:lnTo>
                      <a:lnTo>
                        <a:pt x="890" y="8"/>
                      </a:lnTo>
                      <a:lnTo>
                        <a:pt x="888" y="8"/>
                      </a:lnTo>
                      <a:lnTo>
                        <a:pt x="884" y="8"/>
                      </a:lnTo>
                      <a:lnTo>
                        <a:pt x="884" y="8"/>
                      </a:lnTo>
                      <a:lnTo>
                        <a:pt x="884" y="8"/>
                      </a:lnTo>
                      <a:close/>
                      <a:moveTo>
                        <a:pt x="698" y="50"/>
                      </a:moveTo>
                      <a:lnTo>
                        <a:pt x="694" y="50"/>
                      </a:lnTo>
                      <a:lnTo>
                        <a:pt x="694" y="46"/>
                      </a:lnTo>
                      <a:lnTo>
                        <a:pt x="698" y="46"/>
                      </a:lnTo>
                      <a:lnTo>
                        <a:pt x="698" y="50"/>
                      </a:lnTo>
                      <a:lnTo>
                        <a:pt x="698" y="50"/>
                      </a:lnTo>
                      <a:lnTo>
                        <a:pt x="698" y="50"/>
                      </a:lnTo>
                      <a:close/>
                      <a:moveTo>
                        <a:pt x="1052" y="50"/>
                      </a:moveTo>
                      <a:lnTo>
                        <a:pt x="1048" y="50"/>
                      </a:lnTo>
                      <a:lnTo>
                        <a:pt x="1048" y="46"/>
                      </a:lnTo>
                      <a:lnTo>
                        <a:pt x="1052" y="46"/>
                      </a:lnTo>
                      <a:lnTo>
                        <a:pt x="1056" y="46"/>
                      </a:lnTo>
                      <a:lnTo>
                        <a:pt x="1056" y="50"/>
                      </a:lnTo>
                      <a:lnTo>
                        <a:pt x="1052" y="50"/>
                      </a:lnTo>
                      <a:lnTo>
                        <a:pt x="1052" y="50"/>
                      </a:lnTo>
                      <a:lnTo>
                        <a:pt x="1052" y="50"/>
                      </a:lnTo>
                      <a:close/>
                      <a:moveTo>
                        <a:pt x="650" y="76"/>
                      </a:moveTo>
                      <a:lnTo>
                        <a:pt x="652" y="76"/>
                      </a:lnTo>
                      <a:lnTo>
                        <a:pt x="650" y="76"/>
                      </a:lnTo>
                      <a:lnTo>
                        <a:pt x="646" y="76"/>
                      </a:lnTo>
                      <a:lnTo>
                        <a:pt x="642" y="76"/>
                      </a:lnTo>
                      <a:lnTo>
                        <a:pt x="638" y="76"/>
                      </a:lnTo>
                      <a:lnTo>
                        <a:pt x="634" y="76"/>
                      </a:lnTo>
                      <a:lnTo>
                        <a:pt x="638" y="76"/>
                      </a:lnTo>
                      <a:lnTo>
                        <a:pt x="646" y="76"/>
                      </a:lnTo>
                      <a:lnTo>
                        <a:pt x="650" y="76"/>
                      </a:lnTo>
                      <a:lnTo>
                        <a:pt x="650" y="76"/>
                      </a:lnTo>
                      <a:lnTo>
                        <a:pt x="650" y="76"/>
                      </a:lnTo>
                      <a:close/>
                      <a:moveTo>
                        <a:pt x="778" y="120"/>
                      </a:moveTo>
                      <a:lnTo>
                        <a:pt x="782" y="120"/>
                      </a:lnTo>
                      <a:lnTo>
                        <a:pt x="786" y="120"/>
                      </a:lnTo>
                      <a:lnTo>
                        <a:pt x="790" y="120"/>
                      </a:lnTo>
                      <a:lnTo>
                        <a:pt x="790" y="124"/>
                      </a:lnTo>
                      <a:lnTo>
                        <a:pt x="786" y="124"/>
                      </a:lnTo>
                      <a:lnTo>
                        <a:pt x="782" y="124"/>
                      </a:lnTo>
                      <a:lnTo>
                        <a:pt x="778" y="124"/>
                      </a:lnTo>
                      <a:lnTo>
                        <a:pt x="776" y="128"/>
                      </a:lnTo>
                      <a:lnTo>
                        <a:pt x="772" y="128"/>
                      </a:lnTo>
                      <a:lnTo>
                        <a:pt x="772" y="124"/>
                      </a:lnTo>
                      <a:lnTo>
                        <a:pt x="776" y="124"/>
                      </a:lnTo>
                      <a:lnTo>
                        <a:pt x="776" y="120"/>
                      </a:lnTo>
                      <a:lnTo>
                        <a:pt x="778" y="120"/>
                      </a:lnTo>
                      <a:lnTo>
                        <a:pt x="778" y="120"/>
                      </a:lnTo>
                      <a:lnTo>
                        <a:pt x="778" y="120"/>
                      </a:lnTo>
                      <a:close/>
                      <a:moveTo>
                        <a:pt x="944" y="132"/>
                      </a:moveTo>
                      <a:lnTo>
                        <a:pt x="940" y="132"/>
                      </a:lnTo>
                      <a:lnTo>
                        <a:pt x="936" y="132"/>
                      </a:lnTo>
                      <a:lnTo>
                        <a:pt x="940" y="132"/>
                      </a:lnTo>
                      <a:lnTo>
                        <a:pt x="940" y="128"/>
                      </a:lnTo>
                      <a:lnTo>
                        <a:pt x="940" y="132"/>
                      </a:lnTo>
                      <a:lnTo>
                        <a:pt x="944" y="132"/>
                      </a:lnTo>
                      <a:lnTo>
                        <a:pt x="948" y="132"/>
                      </a:lnTo>
                      <a:lnTo>
                        <a:pt x="944" y="132"/>
                      </a:lnTo>
                      <a:lnTo>
                        <a:pt x="944" y="132"/>
                      </a:lnTo>
                      <a:lnTo>
                        <a:pt x="944" y="132"/>
                      </a:lnTo>
                      <a:close/>
                      <a:moveTo>
                        <a:pt x="748" y="138"/>
                      </a:moveTo>
                      <a:lnTo>
                        <a:pt x="746" y="142"/>
                      </a:lnTo>
                      <a:lnTo>
                        <a:pt x="746" y="146"/>
                      </a:lnTo>
                      <a:lnTo>
                        <a:pt x="746" y="142"/>
                      </a:lnTo>
                      <a:lnTo>
                        <a:pt x="742" y="142"/>
                      </a:lnTo>
                      <a:lnTo>
                        <a:pt x="746" y="142"/>
                      </a:lnTo>
                      <a:lnTo>
                        <a:pt x="746" y="138"/>
                      </a:lnTo>
                      <a:lnTo>
                        <a:pt x="748" y="138"/>
                      </a:lnTo>
                      <a:lnTo>
                        <a:pt x="748" y="138"/>
                      </a:lnTo>
                      <a:lnTo>
                        <a:pt x="748" y="138"/>
                      </a:lnTo>
                      <a:close/>
                      <a:moveTo>
                        <a:pt x="556" y="146"/>
                      </a:moveTo>
                      <a:lnTo>
                        <a:pt x="552" y="146"/>
                      </a:lnTo>
                      <a:lnTo>
                        <a:pt x="556" y="146"/>
                      </a:lnTo>
                      <a:lnTo>
                        <a:pt x="556" y="146"/>
                      </a:lnTo>
                      <a:lnTo>
                        <a:pt x="556" y="146"/>
                      </a:lnTo>
                      <a:close/>
                      <a:moveTo>
                        <a:pt x="894" y="154"/>
                      </a:moveTo>
                      <a:lnTo>
                        <a:pt x="898" y="154"/>
                      </a:lnTo>
                      <a:lnTo>
                        <a:pt x="898" y="158"/>
                      </a:lnTo>
                      <a:lnTo>
                        <a:pt x="894" y="158"/>
                      </a:lnTo>
                      <a:lnTo>
                        <a:pt x="890" y="158"/>
                      </a:lnTo>
                      <a:lnTo>
                        <a:pt x="894" y="158"/>
                      </a:lnTo>
                      <a:lnTo>
                        <a:pt x="894" y="154"/>
                      </a:lnTo>
                      <a:lnTo>
                        <a:pt x="894" y="154"/>
                      </a:lnTo>
                      <a:lnTo>
                        <a:pt x="894" y="154"/>
                      </a:lnTo>
                      <a:close/>
                      <a:moveTo>
                        <a:pt x="786" y="164"/>
                      </a:moveTo>
                      <a:lnTo>
                        <a:pt x="790" y="164"/>
                      </a:lnTo>
                      <a:lnTo>
                        <a:pt x="794" y="164"/>
                      </a:lnTo>
                      <a:lnTo>
                        <a:pt x="790" y="168"/>
                      </a:lnTo>
                      <a:lnTo>
                        <a:pt x="790" y="164"/>
                      </a:lnTo>
                      <a:lnTo>
                        <a:pt x="786" y="164"/>
                      </a:lnTo>
                      <a:lnTo>
                        <a:pt x="782" y="164"/>
                      </a:lnTo>
                      <a:lnTo>
                        <a:pt x="786" y="164"/>
                      </a:lnTo>
                      <a:lnTo>
                        <a:pt x="786" y="164"/>
                      </a:lnTo>
                      <a:lnTo>
                        <a:pt x="786" y="164"/>
                      </a:lnTo>
                      <a:close/>
                      <a:moveTo>
                        <a:pt x="806" y="194"/>
                      </a:moveTo>
                      <a:lnTo>
                        <a:pt x="808" y="194"/>
                      </a:lnTo>
                      <a:lnTo>
                        <a:pt x="806" y="194"/>
                      </a:lnTo>
                      <a:lnTo>
                        <a:pt x="806" y="194"/>
                      </a:lnTo>
                      <a:lnTo>
                        <a:pt x="806" y="194"/>
                      </a:lnTo>
                      <a:close/>
                      <a:moveTo>
                        <a:pt x="540" y="198"/>
                      </a:moveTo>
                      <a:lnTo>
                        <a:pt x="544" y="202"/>
                      </a:lnTo>
                      <a:lnTo>
                        <a:pt x="540" y="206"/>
                      </a:lnTo>
                      <a:lnTo>
                        <a:pt x="536" y="206"/>
                      </a:lnTo>
                      <a:lnTo>
                        <a:pt x="534" y="206"/>
                      </a:lnTo>
                      <a:lnTo>
                        <a:pt x="530" y="206"/>
                      </a:lnTo>
                      <a:lnTo>
                        <a:pt x="526" y="206"/>
                      </a:lnTo>
                      <a:lnTo>
                        <a:pt x="522" y="206"/>
                      </a:lnTo>
                      <a:lnTo>
                        <a:pt x="526" y="206"/>
                      </a:lnTo>
                      <a:lnTo>
                        <a:pt x="522" y="206"/>
                      </a:lnTo>
                      <a:lnTo>
                        <a:pt x="518" y="206"/>
                      </a:lnTo>
                      <a:lnTo>
                        <a:pt x="518" y="202"/>
                      </a:lnTo>
                      <a:lnTo>
                        <a:pt x="522" y="202"/>
                      </a:lnTo>
                      <a:lnTo>
                        <a:pt x="526" y="202"/>
                      </a:lnTo>
                      <a:lnTo>
                        <a:pt x="530" y="198"/>
                      </a:lnTo>
                      <a:lnTo>
                        <a:pt x="534" y="198"/>
                      </a:lnTo>
                      <a:lnTo>
                        <a:pt x="536" y="198"/>
                      </a:lnTo>
                      <a:lnTo>
                        <a:pt x="540" y="198"/>
                      </a:lnTo>
                      <a:lnTo>
                        <a:pt x="540" y="198"/>
                      </a:lnTo>
                      <a:lnTo>
                        <a:pt x="540" y="198"/>
                      </a:lnTo>
                      <a:close/>
                      <a:moveTo>
                        <a:pt x="880" y="206"/>
                      </a:moveTo>
                      <a:lnTo>
                        <a:pt x="876" y="206"/>
                      </a:lnTo>
                      <a:lnTo>
                        <a:pt x="876" y="208"/>
                      </a:lnTo>
                      <a:lnTo>
                        <a:pt x="880" y="208"/>
                      </a:lnTo>
                      <a:lnTo>
                        <a:pt x="880" y="212"/>
                      </a:lnTo>
                      <a:lnTo>
                        <a:pt x="876" y="212"/>
                      </a:lnTo>
                      <a:lnTo>
                        <a:pt x="876" y="208"/>
                      </a:lnTo>
                      <a:lnTo>
                        <a:pt x="872" y="208"/>
                      </a:lnTo>
                      <a:lnTo>
                        <a:pt x="872" y="212"/>
                      </a:lnTo>
                      <a:lnTo>
                        <a:pt x="868" y="212"/>
                      </a:lnTo>
                      <a:lnTo>
                        <a:pt x="868" y="208"/>
                      </a:lnTo>
                      <a:lnTo>
                        <a:pt x="864" y="208"/>
                      </a:lnTo>
                      <a:lnTo>
                        <a:pt x="868" y="208"/>
                      </a:lnTo>
                      <a:lnTo>
                        <a:pt x="872" y="206"/>
                      </a:lnTo>
                      <a:lnTo>
                        <a:pt x="876" y="206"/>
                      </a:lnTo>
                      <a:lnTo>
                        <a:pt x="876" y="202"/>
                      </a:lnTo>
                      <a:lnTo>
                        <a:pt x="880" y="206"/>
                      </a:lnTo>
                      <a:lnTo>
                        <a:pt x="880" y="206"/>
                      </a:lnTo>
                      <a:lnTo>
                        <a:pt x="880" y="206"/>
                      </a:lnTo>
                      <a:close/>
                      <a:moveTo>
                        <a:pt x="284" y="208"/>
                      </a:moveTo>
                      <a:lnTo>
                        <a:pt x="284" y="212"/>
                      </a:lnTo>
                      <a:lnTo>
                        <a:pt x="280" y="212"/>
                      </a:lnTo>
                      <a:lnTo>
                        <a:pt x="284" y="212"/>
                      </a:lnTo>
                      <a:lnTo>
                        <a:pt x="284" y="208"/>
                      </a:lnTo>
                      <a:lnTo>
                        <a:pt x="284" y="208"/>
                      </a:lnTo>
                      <a:lnTo>
                        <a:pt x="284" y="208"/>
                      </a:lnTo>
                      <a:close/>
                      <a:moveTo>
                        <a:pt x="262" y="208"/>
                      </a:moveTo>
                      <a:lnTo>
                        <a:pt x="266" y="208"/>
                      </a:lnTo>
                      <a:lnTo>
                        <a:pt x="262" y="208"/>
                      </a:lnTo>
                      <a:lnTo>
                        <a:pt x="258" y="208"/>
                      </a:lnTo>
                      <a:lnTo>
                        <a:pt x="262" y="208"/>
                      </a:lnTo>
                      <a:lnTo>
                        <a:pt x="262" y="208"/>
                      </a:lnTo>
                      <a:lnTo>
                        <a:pt x="262" y="208"/>
                      </a:lnTo>
                      <a:close/>
                      <a:moveTo>
                        <a:pt x="534" y="208"/>
                      </a:moveTo>
                      <a:lnTo>
                        <a:pt x="530" y="212"/>
                      </a:lnTo>
                      <a:lnTo>
                        <a:pt x="526" y="212"/>
                      </a:lnTo>
                      <a:lnTo>
                        <a:pt x="526" y="208"/>
                      </a:lnTo>
                      <a:lnTo>
                        <a:pt x="530" y="208"/>
                      </a:lnTo>
                      <a:lnTo>
                        <a:pt x="534" y="208"/>
                      </a:lnTo>
                      <a:lnTo>
                        <a:pt x="534" y="208"/>
                      </a:lnTo>
                      <a:lnTo>
                        <a:pt x="534" y="208"/>
                      </a:lnTo>
                      <a:close/>
                      <a:moveTo>
                        <a:pt x="574" y="220"/>
                      </a:moveTo>
                      <a:lnTo>
                        <a:pt x="574" y="216"/>
                      </a:lnTo>
                      <a:lnTo>
                        <a:pt x="570" y="220"/>
                      </a:lnTo>
                      <a:lnTo>
                        <a:pt x="566" y="220"/>
                      </a:lnTo>
                      <a:lnTo>
                        <a:pt x="566" y="216"/>
                      </a:lnTo>
                      <a:lnTo>
                        <a:pt x="570" y="216"/>
                      </a:lnTo>
                      <a:lnTo>
                        <a:pt x="574" y="216"/>
                      </a:lnTo>
                      <a:lnTo>
                        <a:pt x="578" y="216"/>
                      </a:lnTo>
                      <a:lnTo>
                        <a:pt x="578" y="220"/>
                      </a:lnTo>
                      <a:lnTo>
                        <a:pt x="574" y="220"/>
                      </a:lnTo>
                      <a:lnTo>
                        <a:pt x="574" y="220"/>
                      </a:lnTo>
                      <a:lnTo>
                        <a:pt x="574" y="220"/>
                      </a:lnTo>
                      <a:close/>
                      <a:moveTo>
                        <a:pt x="862" y="298"/>
                      </a:moveTo>
                      <a:lnTo>
                        <a:pt x="864" y="302"/>
                      </a:lnTo>
                      <a:lnTo>
                        <a:pt x="862" y="302"/>
                      </a:lnTo>
                      <a:lnTo>
                        <a:pt x="862" y="298"/>
                      </a:lnTo>
                      <a:lnTo>
                        <a:pt x="862" y="298"/>
                      </a:lnTo>
                      <a:lnTo>
                        <a:pt x="862" y="298"/>
                      </a:lnTo>
                      <a:close/>
                      <a:moveTo>
                        <a:pt x="868" y="302"/>
                      </a:moveTo>
                      <a:lnTo>
                        <a:pt x="872" y="302"/>
                      </a:lnTo>
                      <a:lnTo>
                        <a:pt x="872" y="306"/>
                      </a:lnTo>
                      <a:lnTo>
                        <a:pt x="868" y="306"/>
                      </a:lnTo>
                      <a:lnTo>
                        <a:pt x="868" y="302"/>
                      </a:lnTo>
                      <a:lnTo>
                        <a:pt x="868" y="302"/>
                      </a:lnTo>
                      <a:lnTo>
                        <a:pt x="868" y="302"/>
                      </a:lnTo>
                      <a:close/>
                      <a:moveTo>
                        <a:pt x="876" y="302"/>
                      </a:moveTo>
                      <a:lnTo>
                        <a:pt x="880" y="302"/>
                      </a:lnTo>
                      <a:lnTo>
                        <a:pt x="880" y="306"/>
                      </a:lnTo>
                      <a:lnTo>
                        <a:pt x="876" y="306"/>
                      </a:lnTo>
                      <a:lnTo>
                        <a:pt x="876" y="302"/>
                      </a:lnTo>
                      <a:lnTo>
                        <a:pt x="876" y="302"/>
                      </a:lnTo>
                      <a:lnTo>
                        <a:pt x="876" y="302"/>
                      </a:lnTo>
                      <a:close/>
                      <a:moveTo>
                        <a:pt x="776" y="306"/>
                      </a:moveTo>
                      <a:lnTo>
                        <a:pt x="778" y="306"/>
                      </a:lnTo>
                      <a:lnTo>
                        <a:pt x="778" y="310"/>
                      </a:lnTo>
                      <a:lnTo>
                        <a:pt x="778" y="306"/>
                      </a:lnTo>
                      <a:lnTo>
                        <a:pt x="776" y="306"/>
                      </a:lnTo>
                      <a:lnTo>
                        <a:pt x="776" y="306"/>
                      </a:lnTo>
                      <a:lnTo>
                        <a:pt x="776" y="306"/>
                      </a:lnTo>
                      <a:close/>
                      <a:moveTo>
                        <a:pt x="646" y="318"/>
                      </a:moveTo>
                      <a:lnTo>
                        <a:pt x="646" y="322"/>
                      </a:lnTo>
                      <a:lnTo>
                        <a:pt x="646" y="318"/>
                      </a:lnTo>
                      <a:lnTo>
                        <a:pt x="646" y="318"/>
                      </a:lnTo>
                      <a:lnTo>
                        <a:pt x="646" y="318"/>
                      </a:lnTo>
                      <a:close/>
                      <a:moveTo>
                        <a:pt x="626" y="332"/>
                      </a:moveTo>
                      <a:lnTo>
                        <a:pt x="630" y="332"/>
                      </a:lnTo>
                      <a:lnTo>
                        <a:pt x="630" y="336"/>
                      </a:lnTo>
                      <a:lnTo>
                        <a:pt x="626" y="336"/>
                      </a:lnTo>
                      <a:lnTo>
                        <a:pt x="626" y="332"/>
                      </a:lnTo>
                      <a:lnTo>
                        <a:pt x="626" y="332"/>
                      </a:lnTo>
                      <a:lnTo>
                        <a:pt x="626" y="332"/>
                      </a:lnTo>
                      <a:close/>
                      <a:moveTo>
                        <a:pt x="336" y="350"/>
                      </a:moveTo>
                      <a:lnTo>
                        <a:pt x="340" y="350"/>
                      </a:lnTo>
                      <a:lnTo>
                        <a:pt x="336" y="350"/>
                      </a:lnTo>
                      <a:lnTo>
                        <a:pt x="336" y="350"/>
                      </a:lnTo>
                      <a:lnTo>
                        <a:pt x="336" y="350"/>
                      </a:lnTo>
                      <a:close/>
                      <a:moveTo>
                        <a:pt x="352" y="350"/>
                      </a:moveTo>
                      <a:lnTo>
                        <a:pt x="348" y="350"/>
                      </a:lnTo>
                      <a:lnTo>
                        <a:pt x="352" y="350"/>
                      </a:lnTo>
                      <a:lnTo>
                        <a:pt x="352" y="350"/>
                      </a:lnTo>
                      <a:lnTo>
                        <a:pt x="352" y="350"/>
                      </a:lnTo>
                      <a:close/>
                      <a:moveTo>
                        <a:pt x="620" y="366"/>
                      </a:moveTo>
                      <a:lnTo>
                        <a:pt x="620" y="370"/>
                      </a:lnTo>
                      <a:lnTo>
                        <a:pt x="616" y="370"/>
                      </a:lnTo>
                      <a:lnTo>
                        <a:pt x="616" y="366"/>
                      </a:lnTo>
                      <a:lnTo>
                        <a:pt x="620" y="366"/>
                      </a:lnTo>
                      <a:lnTo>
                        <a:pt x="620" y="366"/>
                      </a:lnTo>
                      <a:lnTo>
                        <a:pt x="620" y="366"/>
                      </a:lnTo>
                      <a:close/>
                      <a:moveTo>
                        <a:pt x="702" y="374"/>
                      </a:moveTo>
                      <a:lnTo>
                        <a:pt x="698" y="370"/>
                      </a:lnTo>
                      <a:lnTo>
                        <a:pt x="702" y="370"/>
                      </a:lnTo>
                      <a:lnTo>
                        <a:pt x="702" y="374"/>
                      </a:lnTo>
                      <a:lnTo>
                        <a:pt x="702" y="374"/>
                      </a:lnTo>
                      <a:lnTo>
                        <a:pt x="702" y="374"/>
                      </a:lnTo>
                      <a:close/>
                      <a:moveTo>
                        <a:pt x="634" y="378"/>
                      </a:moveTo>
                      <a:lnTo>
                        <a:pt x="634" y="380"/>
                      </a:lnTo>
                      <a:lnTo>
                        <a:pt x="630" y="380"/>
                      </a:lnTo>
                      <a:lnTo>
                        <a:pt x="626" y="378"/>
                      </a:lnTo>
                      <a:lnTo>
                        <a:pt x="630" y="378"/>
                      </a:lnTo>
                      <a:lnTo>
                        <a:pt x="634" y="378"/>
                      </a:lnTo>
                      <a:lnTo>
                        <a:pt x="634" y="378"/>
                      </a:lnTo>
                      <a:lnTo>
                        <a:pt x="634" y="378"/>
                      </a:lnTo>
                      <a:close/>
                      <a:moveTo>
                        <a:pt x="720" y="380"/>
                      </a:moveTo>
                      <a:lnTo>
                        <a:pt x="716" y="384"/>
                      </a:lnTo>
                      <a:lnTo>
                        <a:pt x="716" y="380"/>
                      </a:lnTo>
                      <a:lnTo>
                        <a:pt x="720" y="380"/>
                      </a:lnTo>
                      <a:lnTo>
                        <a:pt x="720" y="380"/>
                      </a:lnTo>
                      <a:lnTo>
                        <a:pt x="720" y="380"/>
                      </a:lnTo>
                      <a:close/>
                      <a:moveTo>
                        <a:pt x="82" y="384"/>
                      </a:moveTo>
                      <a:lnTo>
                        <a:pt x="80" y="384"/>
                      </a:lnTo>
                      <a:lnTo>
                        <a:pt x="80" y="380"/>
                      </a:lnTo>
                      <a:lnTo>
                        <a:pt x="82" y="380"/>
                      </a:lnTo>
                      <a:lnTo>
                        <a:pt x="82" y="384"/>
                      </a:lnTo>
                      <a:lnTo>
                        <a:pt x="82" y="384"/>
                      </a:lnTo>
                      <a:lnTo>
                        <a:pt x="82" y="384"/>
                      </a:lnTo>
                      <a:close/>
                      <a:moveTo>
                        <a:pt x="712" y="384"/>
                      </a:moveTo>
                      <a:lnTo>
                        <a:pt x="712" y="380"/>
                      </a:lnTo>
                      <a:lnTo>
                        <a:pt x="716" y="384"/>
                      </a:lnTo>
                      <a:lnTo>
                        <a:pt x="712" y="384"/>
                      </a:lnTo>
                      <a:lnTo>
                        <a:pt x="712" y="384"/>
                      </a:lnTo>
                      <a:lnTo>
                        <a:pt x="712" y="384"/>
                      </a:lnTo>
                      <a:close/>
                      <a:moveTo>
                        <a:pt x="578" y="388"/>
                      </a:moveTo>
                      <a:lnTo>
                        <a:pt x="582" y="392"/>
                      </a:lnTo>
                      <a:lnTo>
                        <a:pt x="578" y="392"/>
                      </a:lnTo>
                      <a:lnTo>
                        <a:pt x="578" y="388"/>
                      </a:lnTo>
                      <a:lnTo>
                        <a:pt x="578" y="388"/>
                      </a:lnTo>
                      <a:lnTo>
                        <a:pt x="578" y="388"/>
                      </a:lnTo>
                      <a:close/>
                      <a:moveTo>
                        <a:pt x="574" y="392"/>
                      </a:moveTo>
                      <a:lnTo>
                        <a:pt x="578" y="392"/>
                      </a:lnTo>
                      <a:lnTo>
                        <a:pt x="578" y="396"/>
                      </a:lnTo>
                      <a:lnTo>
                        <a:pt x="574" y="396"/>
                      </a:lnTo>
                      <a:lnTo>
                        <a:pt x="574" y="400"/>
                      </a:lnTo>
                      <a:lnTo>
                        <a:pt x="570" y="396"/>
                      </a:lnTo>
                      <a:lnTo>
                        <a:pt x="570" y="392"/>
                      </a:lnTo>
                      <a:lnTo>
                        <a:pt x="570" y="388"/>
                      </a:lnTo>
                      <a:lnTo>
                        <a:pt x="574" y="388"/>
                      </a:lnTo>
                      <a:lnTo>
                        <a:pt x="574" y="392"/>
                      </a:lnTo>
                      <a:lnTo>
                        <a:pt x="574" y="392"/>
                      </a:lnTo>
                      <a:lnTo>
                        <a:pt x="574" y="392"/>
                      </a:lnTo>
                      <a:close/>
                      <a:moveTo>
                        <a:pt x="724" y="392"/>
                      </a:moveTo>
                      <a:lnTo>
                        <a:pt x="720" y="392"/>
                      </a:lnTo>
                      <a:lnTo>
                        <a:pt x="724" y="392"/>
                      </a:lnTo>
                      <a:lnTo>
                        <a:pt x="724" y="392"/>
                      </a:lnTo>
                      <a:lnTo>
                        <a:pt x="724" y="392"/>
                      </a:lnTo>
                      <a:close/>
                      <a:moveTo>
                        <a:pt x="724" y="400"/>
                      </a:moveTo>
                      <a:lnTo>
                        <a:pt x="720" y="400"/>
                      </a:lnTo>
                      <a:lnTo>
                        <a:pt x="720" y="396"/>
                      </a:lnTo>
                      <a:lnTo>
                        <a:pt x="724" y="396"/>
                      </a:lnTo>
                      <a:lnTo>
                        <a:pt x="724" y="400"/>
                      </a:lnTo>
                      <a:lnTo>
                        <a:pt x="724" y="400"/>
                      </a:lnTo>
                      <a:lnTo>
                        <a:pt x="724" y="400"/>
                      </a:lnTo>
                      <a:close/>
                      <a:moveTo>
                        <a:pt x="1026" y="396"/>
                      </a:moveTo>
                      <a:lnTo>
                        <a:pt x="1030" y="396"/>
                      </a:lnTo>
                      <a:lnTo>
                        <a:pt x="1032" y="396"/>
                      </a:lnTo>
                      <a:lnTo>
                        <a:pt x="1036" y="400"/>
                      </a:lnTo>
                      <a:lnTo>
                        <a:pt x="1032" y="400"/>
                      </a:lnTo>
                      <a:lnTo>
                        <a:pt x="1032" y="396"/>
                      </a:lnTo>
                      <a:lnTo>
                        <a:pt x="1030" y="396"/>
                      </a:lnTo>
                      <a:lnTo>
                        <a:pt x="1026" y="396"/>
                      </a:lnTo>
                      <a:lnTo>
                        <a:pt x="1026" y="396"/>
                      </a:lnTo>
                      <a:lnTo>
                        <a:pt x="1026" y="396"/>
                      </a:lnTo>
                      <a:close/>
                      <a:moveTo>
                        <a:pt x="428" y="404"/>
                      </a:moveTo>
                      <a:lnTo>
                        <a:pt x="424" y="404"/>
                      </a:lnTo>
                      <a:lnTo>
                        <a:pt x="422" y="404"/>
                      </a:lnTo>
                      <a:lnTo>
                        <a:pt x="424" y="404"/>
                      </a:lnTo>
                      <a:lnTo>
                        <a:pt x="428" y="404"/>
                      </a:lnTo>
                      <a:lnTo>
                        <a:pt x="428" y="404"/>
                      </a:lnTo>
                      <a:lnTo>
                        <a:pt x="428" y="404"/>
                      </a:lnTo>
                      <a:close/>
                      <a:moveTo>
                        <a:pt x="834" y="408"/>
                      </a:moveTo>
                      <a:lnTo>
                        <a:pt x="832" y="408"/>
                      </a:lnTo>
                      <a:lnTo>
                        <a:pt x="834" y="408"/>
                      </a:lnTo>
                      <a:lnTo>
                        <a:pt x="834" y="408"/>
                      </a:lnTo>
                      <a:lnTo>
                        <a:pt x="834" y="408"/>
                      </a:lnTo>
                      <a:close/>
                      <a:moveTo>
                        <a:pt x="418" y="408"/>
                      </a:moveTo>
                      <a:lnTo>
                        <a:pt x="418" y="410"/>
                      </a:lnTo>
                      <a:lnTo>
                        <a:pt x="414" y="410"/>
                      </a:lnTo>
                      <a:lnTo>
                        <a:pt x="414" y="408"/>
                      </a:lnTo>
                      <a:lnTo>
                        <a:pt x="418" y="408"/>
                      </a:lnTo>
                      <a:lnTo>
                        <a:pt x="418" y="408"/>
                      </a:lnTo>
                      <a:lnTo>
                        <a:pt x="418" y="408"/>
                      </a:lnTo>
                      <a:close/>
                      <a:moveTo>
                        <a:pt x="444" y="410"/>
                      </a:moveTo>
                      <a:lnTo>
                        <a:pt x="440" y="410"/>
                      </a:lnTo>
                      <a:lnTo>
                        <a:pt x="440" y="414"/>
                      </a:lnTo>
                      <a:lnTo>
                        <a:pt x="440" y="410"/>
                      </a:lnTo>
                      <a:lnTo>
                        <a:pt x="444" y="410"/>
                      </a:lnTo>
                      <a:lnTo>
                        <a:pt x="444" y="410"/>
                      </a:lnTo>
                      <a:lnTo>
                        <a:pt x="444" y="410"/>
                      </a:lnTo>
                      <a:close/>
                      <a:moveTo>
                        <a:pt x="518" y="410"/>
                      </a:moveTo>
                      <a:lnTo>
                        <a:pt x="518" y="414"/>
                      </a:lnTo>
                      <a:lnTo>
                        <a:pt x="514" y="414"/>
                      </a:lnTo>
                      <a:lnTo>
                        <a:pt x="514" y="410"/>
                      </a:lnTo>
                      <a:lnTo>
                        <a:pt x="518" y="410"/>
                      </a:lnTo>
                      <a:lnTo>
                        <a:pt x="518" y="410"/>
                      </a:lnTo>
                      <a:lnTo>
                        <a:pt x="518" y="410"/>
                      </a:lnTo>
                      <a:close/>
                      <a:moveTo>
                        <a:pt x="440" y="414"/>
                      </a:moveTo>
                      <a:lnTo>
                        <a:pt x="436" y="414"/>
                      </a:lnTo>
                      <a:lnTo>
                        <a:pt x="440" y="414"/>
                      </a:lnTo>
                      <a:lnTo>
                        <a:pt x="440" y="414"/>
                      </a:lnTo>
                      <a:lnTo>
                        <a:pt x="440" y="414"/>
                      </a:lnTo>
                      <a:close/>
                      <a:moveTo>
                        <a:pt x="448" y="414"/>
                      </a:moveTo>
                      <a:lnTo>
                        <a:pt x="448" y="418"/>
                      </a:lnTo>
                      <a:lnTo>
                        <a:pt x="448" y="414"/>
                      </a:lnTo>
                      <a:lnTo>
                        <a:pt x="444" y="414"/>
                      </a:lnTo>
                      <a:lnTo>
                        <a:pt x="448" y="414"/>
                      </a:lnTo>
                      <a:lnTo>
                        <a:pt x="448" y="414"/>
                      </a:lnTo>
                      <a:lnTo>
                        <a:pt x="448" y="414"/>
                      </a:lnTo>
                      <a:close/>
                      <a:moveTo>
                        <a:pt x="462" y="418"/>
                      </a:moveTo>
                      <a:lnTo>
                        <a:pt x="458" y="418"/>
                      </a:lnTo>
                      <a:lnTo>
                        <a:pt x="462" y="418"/>
                      </a:lnTo>
                      <a:lnTo>
                        <a:pt x="462" y="418"/>
                      </a:lnTo>
                      <a:lnTo>
                        <a:pt x="462" y="418"/>
                      </a:lnTo>
                      <a:close/>
                      <a:moveTo>
                        <a:pt x="620" y="422"/>
                      </a:moveTo>
                      <a:lnTo>
                        <a:pt x="620" y="426"/>
                      </a:lnTo>
                      <a:lnTo>
                        <a:pt x="616" y="426"/>
                      </a:lnTo>
                      <a:lnTo>
                        <a:pt x="616" y="422"/>
                      </a:lnTo>
                      <a:lnTo>
                        <a:pt x="620" y="422"/>
                      </a:lnTo>
                      <a:lnTo>
                        <a:pt x="620" y="422"/>
                      </a:lnTo>
                      <a:lnTo>
                        <a:pt x="620" y="422"/>
                      </a:lnTo>
                      <a:close/>
                      <a:moveTo>
                        <a:pt x="466" y="430"/>
                      </a:moveTo>
                      <a:lnTo>
                        <a:pt x="466" y="426"/>
                      </a:lnTo>
                      <a:lnTo>
                        <a:pt x="466" y="430"/>
                      </a:lnTo>
                      <a:lnTo>
                        <a:pt x="466" y="430"/>
                      </a:lnTo>
                      <a:lnTo>
                        <a:pt x="466" y="430"/>
                      </a:lnTo>
                      <a:close/>
                      <a:moveTo>
                        <a:pt x="466" y="430"/>
                      </a:moveTo>
                      <a:lnTo>
                        <a:pt x="462" y="430"/>
                      </a:lnTo>
                      <a:lnTo>
                        <a:pt x="462" y="426"/>
                      </a:lnTo>
                      <a:lnTo>
                        <a:pt x="466" y="426"/>
                      </a:lnTo>
                      <a:lnTo>
                        <a:pt x="466" y="430"/>
                      </a:lnTo>
                      <a:lnTo>
                        <a:pt x="466" y="430"/>
                      </a:lnTo>
                      <a:lnTo>
                        <a:pt x="466" y="430"/>
                      </a:lnTo>
                      <a:close/>
                      <a:moveTo>
                        <a:pt x="1096" y="434"/>
                      </a:moveTo>
                      <a:lnTo>
                        <a:pt x="1092" y="434"/>
                      </a:lnTo>
                      <a:lnTo>
                        <a:pt x="1096" y="434"/>
                      </a:lnTo>
                      <a:lnTo>
                        <a:pt x="1100" y="434"/>
                      </a:lnTo>
                      <a:lnTo>
                        <a:pt x="1096" y="434"/>
                      </a:lnTo>
                      <a:lnTo>
                        <a:pt x="1096" y="434"/>
                      </a:lnTo>
                      <a:lnTo>
                        <a:pt x="1096" y="434"/>
                      </a:lnTo>
                      <a:close/>
                      <a:moveTo>
                        <a:pt x="646" y="434"/>
                      </a:moveTo>
                      <a:lnTo>
                        <a:pt x="646" y="436"/>
                      </a:lnTo>
                      <a:lnTo>
                        <a:pt x="642" y="436"/>
                      </a:lnTo>
                      <a:lnTo>
                        <a:pt x="642" y="434"/>
                      </a:lnTo>
                      <a:lnTo>
                        <a:pt x="646" y="434"/>
                      </a:lnTo>
                      <a:lnTo>
                        <a:pt x="646" y="434"/>
                      </a:lnTo>
                      <a:lnTo>
                        <a:pt x="646" y="434"/>
                      </a:lnTo>
                      <a:close/>
                      <a:moveTo>
                        <a:pt x="474" y="436"/>
                      </a:moveTo>
                      <a:lnTo>
                        <a:pt x="474" y="440"/>
                      </a:lnTo>
                      <a:lnTo>
                        <a:pt x="474" y="436"/>
                      </a:lnTo>
                      <a:lnTo>
                        <a:pt x="474" y="436"/>
                      </a:lnTo>
                      <a:lnTo>
                        <a:pt x="474" y="436"/>
                      </a:lnTo>
                      <a:close/>
                      <a:moveTo>
                        <a:pt x="1104" y="440"/>
                      </a:moveTo>
                      <a:lnTo>
                        <a:pt x="1100" y="440"/>
                      </a:lnTo>
                      <a:lnTo>
                        <a:pt x="1104" y="440"/>
                      </a:lnTo>
                      <a:lnTo>
                        <a:pt x="1104" y="440"/>
                      </a:lnTo>
                      <a:lnTo>
                        <a:pt x="1104" y="440"/>
                      </a:lnTo>
                      <a:close/>
                      <a:moveTo>
                        <a:pt x="470" y="440"/>
                      </a:moveTo>
                      <a:lnTo>
                        <a:pt x="470" y="444"/>
                      </a:lnTo>
                      <a:lnTo>
                        <a:pt x="466" y="444"/>
                      </a:lnTo>
                      <a:lnTo>
                        <a:pt x="470" y="440"/>
                      </a:lnTo>
                      <a:lnTo>
                        <a:pt x="470" y="440"/>
                      </a:lnTo>
                      <a:lnTo>
                        <a:pt x="470" y="440"/>
                      </a:lnTo>
                      <a:close/>
                      <a:moveTo>
                        <a:pt x="1114" y="460"/>
                      </a:moveTo>
                      <a:lnTo>
                        <a:pt x="1110" y="460"/>
                      </a:lnTo>
                      <a:lnTo>
                        <a:pt x="1114" y="460"/>
                      </a:lnTo>
                      <a:lnTo>
                        <a:pt x="1114" y="460"/>
                      </a:lnTo>
                      <a:lnTo>
                        <a:pt x="1114" y="460"/>
                      </a:lnTo>
                      <a:close/>
                      <a:moveTo>
                        <a:pt x="954" y="500"/>
                      </a:moveTo>
                      <a:lnTo>
                        <a:pt x="954" y="504"/>
                      </a:lnTo>
                      <a:lnTo>
                        <a:pt x="954" y="508"/>
                      </a:lnTo>
                      <a:lnTo>
                        <a:pt x="954" y="504"/>
                      </a:lnTo>
                      <a:lnTo>
                        <a:pt x="950" y="504"/>
                      </a:lnTo>
                      <a:lnTo>
                        <a:pt x="954" y="500"/>
                      </a:lnTo>
                      <a:lnTo>
                        <a:pt x="950" y="500"/>
                      </a:lnTo>
                      <a:lnTo>
                        <a:pt x="954" y="500"/>
                      </a:lnTo>
                      <a:lnTo>
                        <a:pt x="954" y="500"/>
                      </a:lnTo>
                      <a:lnTo>
                        <a:pt x="954" y="500"/>
                      </a:lnTo>
                      <a:close/>
                      <a:moveTo>
                        <a:pt x="944" y="500"/>
                      </a:moveTo>
                      <a:lnTo>
                        <a:pt x="944" y="504"/>
                      </a:lnTo>
                      <a:lnTo>
                        <a:pt x="948" y="504"/>
                      </a:lnTo>
                      <a:lnTo>
                        <a:pt x="944" y="504"/>
                      </a:lnTo>
                      <a:lnTo>
                        <a:pt x="944" y="500"/>
                      </a:lnTo>
                      <a:lnTo>
                        <a:pt x="944" y="500"/>
                      </a:lnTo>
                      <a:lnTo>
                        <a:pt x="944" y="500"/>
                      </a:lnTo>
                      <a:close/>
                      <a:moveTo>
                        <a:pt x="1076" y="504"/>
                      </a:moveTo>
                      <a:lnTo>
                        <a:pt x="1076" y="508"/>
                      </a:lnTo>
                      <a:lnTo>
                        <a:pt x="1076" y="504"/>
                      </a:lnTo>
                      <a:lnTo>
                        <a:pt x="1074" y="504"/>
                      </a:lnTo>
                      <a:lnTo>
                        <a:pt x="1076" y="504"/>
                      </a:lnTo>
                      <a:lnTo>
                        <a:pt x="1076" y="504"/>
                      </a:lnTo>
                      <a:lnTo>
                        <a:pt x="1076" y="504"/>
                      </a:lnTo>
                      <a:close/>
                      <a:moveTo>
                        <a:pt x="950" y="504"/>
                      </a:moveTo>
                      <a:lnTo>
                        <a:pt x="950" y="508"/>
                      </a:lnTo>
                      <a:lnTo>
                        <a:pt x="950" y="504"/>
                      </a:lnTo>
                      <a:lnTo>
                        <a:pt x="950" y="504"/>
                      </a:lnTo>
                      <a:lnTo>
                        <a:pt x="950" y="504"/>
                      </a:lnTo>
                      <a:close/>
                      <a:moveTo>
                        <a:pt x="1074" y="504"/>
                      </a:moveTo>
                      <a:lnTo>
                        <a:pt x="1076" y="508"/>
                      </a:lnTo>
                      <a:lnTo>
                        <a:pt x="1074" y="508"/>
                      </a:lnTo>
                      <a:lnTo>
                        <a:pt x="1074" y="504"/>
                      </a:lnTo>
                      <a:lnTo>
                        <a:pt x="1074" y="504"/>
                      </a:lnTo>
                      <a:lnTo>
                        <a:pt x="1074" y="504"/>
                      </a:lnTo>
                      <a:close/>
                      <a:moveTo>
                        <a:pt x="1080" y="516"/>
                      </a:moveTo>
                      <a:lnTo>
                        <a:pt x="1080" y="520"/>
                      </a:lnTo>
                      <a:lnTo>
                        <a:pt x="1084" y="520"/>
                      </a:lnTo>
                      <a:lnTo>
                        <a:pt x="1084" y="522"/>
                      </a:lnTo>
                      <a:lnTo>
                        <a:pt x="1080" y="522"/>
                      </a:lnTo>
                      <a:lnTo>
                        <a:pt x="1080" y="520"/>
                      </a:lnTo>
                      <a:lnTo>
                        <a:pt x="1076" y="520"/>
                      </a:lnTo>
                      <a:lnTo>
                        <a:pt x="1076" y="516"/>
                      </a:lnTo>
                      <a:lnTo>
                        <a:pt x="1080" y="516"/>
                      </a:lnTo>
                      <a:lnTo>
                        <a:pt x="1080" y="516"/>
                      </a:lnTo>
                      <a:lnTo>
                        <a:pt x="1080" y="516"/>
                      </a:lnTo>
                      <a:close/>
                      <a:moveTo>
                        <a:pt x="1084" y="516"/>
                      </a:moveTo>
                      <a:lnTo>
                        <a:pt x="1084" y="520"/>
                      </a:lnTo>
                      <a:lnTo>
                        <a:pt x="1084" y="516"/>
                      </a:lnTo>
                      <a:lnTo>
                        <a:pt x="1084" y="516"/>
                      </a:lnTo>
                      <a:lnTo>
                        <a:pt x="1084" y="516"/>
                      </a:lnTo>
                      <a:close/>
                      <a:moveTo>
                        <a:pt x="1088" y="520"/>
                      </a:moveTo>
                      <a:lnTo>
                        <a:pt x="1088" y="522"/>
                      </a:lnTo>
                      <a:lnTo>
                        <a:pt x="1084" y="522"/>
                      </a:lnTo>
                      <a:lnTo>
                        <a:pt x="1084" y="520"/>
                      </a:lnTo>
                      <a:lnTo>
                        <a:pt x="1088" y="520"/>
                      </a:lnTo>
                      <a:lnTo>
                        <a:pt x="1088" y="520"/>
                      </a:lnTo>
                      <a:lnTo>
                        <a:pt x="1088" y="520"/>
                      </a:lnTo>
                      <a:close/>
                      <a:moveTo>
                        <a:pt x="1084" y="522"/>
                      </a:moveTo>
                      <a:lnTo>
                        <a:pt x="1088" y="522"/>
                      </a:lnTo>
                      <a:lnTo>
                        <a:pt x="1088" y="526"/>
                      </a:lnTo>
                      <a:lnTo>
                        <a:pt x="1084" y="526"/>
                      </a:lnTo>
                      <a:lnTo>
                        <a:pt x="1084" y="522"/>
                      </a:lnTo>
                      <a:lnTo>
                        <a:pt x="1084" y="522"/>
                      </a:lnTo>
                      <a:lnTo>
                        <a:pt x="1084" y="522"/>
                      </a:lnTo>
                      <a:close/>
                      <a:moveTo>
                        <a:pt x="712" y="522"/>
                      </a:moveTo>
                      <a:lnTo>
                        <a:pt x="712" y="526"/>
                      </a:lnTo>
                      <a:lnTo>
                        <a:pt x="708" y="526"/>
                      </a:lnTo>
                      <a:lnTo>
                        <a:pt x="708" y="522"/>
                      </a:lnTo>
                      <a:lnTo>
                        <a:pt x="712" y="522"/>
                      </a:lnTo>
                      <a:lnTo>
                        <a:pt x="712" y="522"/>
                      </a:lnTo>
                      <a:lnTo>
                        <a:pt x="712" y="522"/>
                      </a:lnTo>
                      <a:close/>
                      <a:moveTo>
                        <a:pt x="890" y="546"/>
                      </a:moveTo>
                      <a:lnTo>
                        <a:pt x="894" y="546"/>
                      </a:lnTo>
                      <a:lnTo>
                        <a:pt x="894" y="550"/>
                      </a:lnTo>
                      <a:lnTo>
                        <a:pt x="890" y="550"/>
                      </a:lnTo>
                      <a:lnTo>
                        <a:pt x="890" y="546"/>
                      </a:lnTo>
                      <a:lnTo>
                        <a:pt x="890" y="546"/>
                      </a:lnTo>
                      <a:lnTo>
                        <a:pt x="890" y="546"/>
                      </a:lnTo>
                      <a:close/>
                      <a:moveTo>
                        <a:pt x="690" y="552"/>
                      </a:moveTo>
                      <a:lnTo>
                        <a:pt x="686" y="552"/>
                      </a:lnTo>
                      <a:lnTo>
                        <a:pt x="690" y="552"/>
                      </a:lnTo>
                      <a:lnTo>
                        <a:pt x="690" y="552"/>
                      </a:lnTo>
                      <a:lnTo>
                        <a:pt x="690" y="552"/>
                      </a:lnTo>
                      <a:close/>
                      <a:moveTo>
                        <a:pt x="1066" y="564"/>
                      </a:moveTo>
                      <a:lnTo>
                        <a:pt x="1066" y="566"/>
                      </a:lnTo>
                      <a:lnTo>
                        <a:pt x="1062" y="566"/>
                      </a:lnTo>
                      <a:lnTo>
                        <a:pt x="1062" y="564"/>
                      </a:lnTo>
                      <a:lnTo>
                        <a:pt x="1066" y="564"/>
                      </a:lnTo>
                      <a:lnTo>
                        <a:pt x="1066" y="564"/>
                      </a:lnTo>
                      <a:lnTo>
                        <a:pt x="1066" y="564"/>
                      </a:lnTo>
                      <a:close/>
                      <a:moveTo>
                        <a:pt x="1088" y="608"/>
                      </a:moveTo>
                      <a:lnTo>
                        <a:pt x="1088" y="612"/>
                      </a:lnTo>
                      <a:lnTo>
                        <a:pt x="1084" y="612"/>
                      </a:lnTo>
                      <a:lnTo>
                        <a:pt x="1088" y="608"/>
                      </a:lnTo>
                      <a:lnTo>
                        <a:pt x="1088" y="608"/>
                      </a:lnTo>
                      <a:lnTo>
                        <a:pt x="1088" y="608"/>
                      </a:lnTo>
                      <a:close/>
                      <a:moveTo>
                        <a:pt x="1118" y="664"/>
                      </a:moveTo>
                      <a:lnTo>
                        <a:pt x="1118" y="660"/>
                      </a:lnTo>
                      <a:lnTo>
                        <a:pt x="1122" y="660"/>
                      </a:lnTo>
                      <a:lnTo>
                        <a:pt x="1118" y="664"/>
                      </a:lnTo>
                      <a:lnTo>
                        <a:pt x="1118" y="664"/>
                      </a:lnTo>
                      <a:lnTo>
                        <a:pt x="1118" y="664"/>
                      </a:lnTo>
                      <a:close/>
                      <a:moveTo>
                        <a:pt x="1122" y="660"/>
                      </a:moveTo>
                      <a:lnTo>
                        <a:pt x="1122" y="664"/>
                      </a:lnTo>
                      <a:lnTo>
                        <a:pt x="1118" y="664"/>
                      </a:lnTo>
                      <a:lnTo>
                        <a:pt x="1122" y="664"/>
                      </a:lnTo>
                      <a:lnTo>
                        <a:pt x="1122" y="660"/>
                      </a:lnTo>
                      <a:lnTo>
                        <a:pt x="1122" y="660"/>
                      </a:lnTo>
                      <a:lnTo>
                        <a:pt x="1122" y="660"/>
                      </a:lnTo>
                      <a:close/>
                      <a:moveTo>
                        <a:pt x="864" y="676"/>
                      </a:moveTo>
                      <a:lnTo>
                        <a:pt x="864" y="680"/>
                      </a:lnTo>
                      <a:lnTo>
                        <a:pt x="864" y="676"/>
                      </a:lnTo>
                      <a:lnTo>
                        <a:pt x="864" y="676"/>
                      </a:lnTo>
                      <a:lnTo>
                        <a:pt x="864" y="676"/>
                      </a:lnTo>
                      <a:close/>
                      <a:moveTo>
                        <a:pt x="1132" y="698"/>
                      </a:moveTo>
                      <a:lnTo>
                        <a:pt x="1136" y="698"/>
                      </a:lnTo>
                      <a:lnTo>
                        <a:pt x="1132" y="698"/>
                      </a:lnTo>
                      <a:lnTo>
                        <a:pt x="1132" y="698"/>
                      </a:lnTo>
                      <a:lnTo>
                        <a:pt x="1132" y="698"/>
                      </a:lnTo>
                      <a:close/>
                      <a:moveTo>
                        <a:pt x="1174" y="720"/>
                      </a:moveTo>
                      <a:lnTo>
                        <a:pt x="1174" y="724"/>
                      </a:lnTo>
                      <a:lnTo>
                        <a:pt x="1170" y="724"/>
                      </a:lnTo>
                      <a:lnTo>
                        <a:pt x="1170" y="720"/>
                      </a:lnTo>
                      <a:lnTo>
                        <a:pt x="1174" y="720"/>
                      </a:lnTo>
                      <a:lnTo>
                        <a:pt x="1174" y="720"/>
                      </a:lnTo>
                      <a:lnTo>
                        <a:pt x="1174" y="720"/>
                      </a:lnTo>
                      <a:close/>
                      <a:moveTo>
                        <a:pt x="150" y="720"/>
                      </a:moveTo>
                      <a:lnTo>
                        <a:pt x="150" y="724"/>
                      </a:lnTo>
                      <a:lnTo>
                        <a:pt x="146" y="724"/>
                      </a:lnTo>
                      <a:lnTo>
                        <a:pt x="150" y="720"/>
                      </a:lnTo>
                      <a:lnTo>
                        <a:pt x="150" y="720"/>
                      </a:lnTo>
                      <a:lnTo>
                        <a:pt x="150" y="720"/>
                      </a:lnTo>
                      <a:close/>
                      <a:moveTo>
                        <a:pt x="1204" y="750"/>
                      </a:moveTo>
                      <a:lnTo>
                        <a:pt x="1208" y="750"/>
                      </a:lnTo>
                      <a:lnTo>
                        <a:pt x="1204" y="754"/>
                      </a:lnTo>
                      <a:lnTo>
                        <a:pt x="1204" y="750"/>
                      </a:lnTo>
                      <a:lnTo>
                        <a:pt x="1204" y="750"/>
                      </a:lnTo>
                      <a:lnTo>
                        <a:pt x="1204" y="750"/>
                      </a:lnTo>
                      <a:close/>
                      <a:moveTo>
                        <a:pt x="176" y="766"/>
                      </a:moveTo>
                      <a:lnTo>
                        <a:pt x="180" y="766"/>
                      </a:lnTo>
                      <a:lnTo>
                        <a:pt x="176" y="768"/>
                      </a:lnTo>
                      <a:lnTo>
                        <a:pt x="176" y="766"/>
                      </a:lnTo>
                      <a:lnTo>
                        <a:pt x="176" y="766"/>
                      </a:lnTo>
                      <a:lnTo>
                        <a:pt x="176" y="766"/>
                      </a:lnTo>
                      <a:close/>
                      <a:moveTo>
                        <a:pt x="182" y="776"/>
                      </a:moveTo>
                      <a:lnTo>
                        <a:pt x="186" y="776"/>
                      </a:lnTo>
                      <a:lnTo>
                        <a:pt x="182" y="776"/>
                      </a:lnTo>
                      <a:lnTo>
                        <a:pt x="182" y="776"/>
                      </a:lnTo>
                      <a:lnTo>
                        <a:pt x="182" y="776"/>
                      </a:lnTo>
                      <a:close/>
                      <a:moveTo>
                        <a:pt x="180" y="780"/>
                      </a:moveTo>
                      <a:lnTo>
                        <a:pt x="180" y="776"/>
                      </a:lnTo>
                      <a:lnTo>
                        <a:pt x="180" y="780"/>
                      </a:lnTo>
                      <a:lnTo>
                        <a:pt x="180" y="780"/>
                      </a:lnTo>
                      <a:lnTo>
                        <a:pt x="180" y="780"/>
                      </a:lnTo>
                      <a:close/>
                      <a:moveTo>
                        <a:pt x="182" y="780"/>
                      </a:moveTo>
                      <a:lnTo>
                        <a:pt x="186" y="780"/>
                      </a:lnTo>
                      <a:lnTo>
                        <a:pt x="182" y="780"/>
                      </a:lnTo>
                      <a:lnTo>
                        <a:pt x="182" y="780"/>
                      </a:lnTo>
                      <a:lnTo>
                        <a:pt x="182" y="780"/>
                      </a:lnTo>
                      <a:close/>
                      <a:moveTo>
                        <a:pt x="202" y="806"/>
                      </a:moveTo>
                      <a:lnTo>
                        <a:pt x="198" y="806"/>
                      </a:lnTo>
                      <a:lnTo>
                        <a:pt x="202" y="806"/>
                      </a:lnTo>
                      <a:lnTo>
                        <a:pt x="206" y="806"/>
                      </a:lnTo>
                      <a:lnTo>
                        <a:pt x="202" y="806"/>
                      </a:lnTo>
                      <a:lnTo>
                        <a:pt x="202" y="806"/>
                      </a:lnTo>
                      <a:lnTo>
                        <a:pt x="202" y="806"/>
                      </a:lnTo>
                      <a:close/>
                      <a:moveTo>
                        <a:pt x="1212" y="806"/>
                      </a:moveTo>
                      <a:lnTo>
                        <a:pt x="1208" y="810"/>
                      </a:lnTo>
                      <a:lnTo>
                        <a:pt x="1208" y="806"/>
                      </a:lnTo>
                      <a:lnTo>
                        <a:pt x="1212" y="806"/>
                      </a:lnTo>
                      <a:lnTo>
                        <a:pt x="1212" y="806"/>
                      </a:lnTo>
                      <a:lnTo>
                        <a:pt x="1212" y="806"/>
                      </a:lnTo>
                      <a:close/>
                      <a:moveTo>
                        <a:pt x="198" y="810"/>
                      </a:moveTo>
                      <a:lnTo>
                        <a:pt x="202" y="810"/>
                      </a:lnTo>
                      <a:lnTo>
                        <a:pt x="198" y="810"/>
                      </a:lnTo>
                      <a:lnTo>
                        <a:pt x="198" y="810"/>
                      </a:lnTo>
                      <a:lnTo>
                        <a:pt x="198" y="810"/>
                      </a:lnTo>
                      <a:close/>
                      <a:moveTo>
                        <a:pt x="210" y="810"/>
                      </a:moveTo>
                      <a:lnTo>
                        <a:pt x="210" y="814"/>
                      </a:lnTo>
                      <a:lnTo>
                        <a:pt x="206" y="814"/>
                      </a:lnTo>
                      <a:lnTo>
                        <a:pt x="202" y="814"/>
                      </a:lnTo>
                      <a:lnTo>
                        <a:pt x="206" y="814"/>
                      </a:lnTo>
                      <a:lnTo>
                        <a:pt x="210" y="810"/>
                      </a:lnTo>
                      <a:lnTo>
                        <a:pt x="210" y="810"/>
                      </a:lnTo>
                      <a:lnTo>
                        <a:pt x="210" y="810"/>
                      </a:lnTo>
                      <a:close/>
                      <a:moveTo>
                        <a:pt x="220" y="814"/>
                      </a:moveTo>
                      <a:lnTo>
                        <a:pt x="220" y="818"/>
                      </a:lnTo>
                      <a:lnTo>
                        <a:pt x="220" y="814"/>
                      </a:lnTo>
                      <a:lnTo>
                        <a:pt x="220" y="814"/>
                      </a:lnTo>
                      <a:lnTo>
                        <a:pt x="220" y="814"/>
                      </a:lnTo>
                      <a:close/>
                      <a:moveTo>
                        <a:pt x="224" y="814"/>
                      </a:moveTo>
                      <a:lnTo>
                        <a:pt x="224" y="818"/>
                      </a:lnTo>
                      <a:lnTo>
                        <a:pt x="224" y="822"/>
                      </a:lnTo>
                      <a:lnTo>
                        <a:pt x="224" y="818"/>
                      </a:lnTo>
                      <a:lnTo>
                        <a:pt x="220" y="818"/>
                      </a:lnTo>
                      <a:lnTo>
                        <a:pt x="224" y="814"/>
                      </a:lnTo>
                      <a:lnTo>
                        <a:pt x="224" y="814"/>
                      </a:lnTo>
                      <a:lnTo>
                        <a:pt x="224" y="814"/>
                      </a:lnTo>
                      <a:close/>
                      <a:moveTo>
                        <a:pt x="232" y="818"/>
                      </a:moveTo>
                      <a:lnTo>
                        <a:pt x="232" y="822"/>
                      </a:lnTo>
                      <a:lnTo>
                        <a:pt x="228" y="818"/>
                      </a:lnTo>
                      <a:lnTo>
                        <a:pt x="232" y="818"/>
                      </a:lnTo>
                      <a:lnTo>
                        <a:pt x="232" y="818"/>
                      </a:lnTo>
                      <a:lnTo>
                        <a:pt x="232" y="818"/>
                      </a:lnTo>
                      <a:close/>
                      <a:moveTo>
                        <a:pt x="228" y="818"/>
                      </a:moveTo>
                      <a:lnTo>
                        <a:pt x="232" y="822"/>
                      </a:lnTo>
                      <a:lnTo>
                        <a:pt x="228" y="822"/>
                      </a:lnTo>
                      <a:lnTo>
                        <a:pt x="228" y="818"/>
                      </a:lnTo>
                      <a:lnTo>
                        <a:pt x="228" y="818"/>
                      </a:lnTo>
                      <a:lnTo>
                        <a:pt x="228" y="818"/>
                      </a:lnTo>
                      <a:close/>
                      <a:moveTo>
                        <a:pt x="228" y="818"/>
                      </a:moveTo>
                      <a:lnTo>
                        <a:pt x="228" y="822"/>
                      </a:lnTo>
                      <a:lnTo>
                        <a:pt x="228" y="824"/>
                      </a:lnTo>
                      <a:lnTo>
                        <a:pt x="228" y="822"/>
                      </a:lnTo>
                      <a:lnTo>
                        <a:pt x="224" y="822"/>
                      </a:lnTo>
                      <a:lnTo>
                        <a:pt x="228" y="822"/>
                      </a:lnTo>
                      <a:lnTo>
                        <a:pt x="228" y="818"/>
                      </a:lnTo>
                      <a:lnTo>
                        <a:pt x="228" y="818"/>
                      </a:lnTo>
                      <a:lnTo>
                        <a:pt x="228" y="818"/>
                      </a:lnTo>
                      <a:close/>
                      <a:moveTo>
                        <a:pt x="238" y="828"/>
                      </a:moveTo>
                      <a:lnTo>
                        <a:pt x="238" y="832"/>
                      </a:lnTo>
                      <a:lnTo>
                        <a:pt x="238" y="828"/>
                      </a:lnTo>
                      <a:lnTo>
                        <a:pt x="238" y="828"/>
                      </a:lnTo>
                      <a:lnTo>
                        <a:pt x="238" y="828"/>
                      </a:lnTo>
                      <a:close/>
                      <a:moveTo>
                        <a:pt x="1230" y="828"/>
                      </a:moveTo>
                      <a:lnTo>
                        <a:pt x="1230" y="832"/>
                      </a:lnTo>
                      <a:lnTo>
                        <a:pt x="1226" y="832"/>
                      </a:lnTo>
                      <a:lnTo>
                        <a:pt x="1226" y="828"/>
                      </a:lnTo>
                      <a:lnTo>
                        <a:pt x="1230" y="828"/>
                      </a:lnTo>
                      <a:lnTo>
                        <a:pt x="1230" y="828"/>
                      </a:lnTo>
                      <a:lnTo>
                        <a:pt x="1230" y="828"/>
                      </a:lnTo>
                      <a:close/>
                      <a:moveTo>
                        <a:pt x="1222" y="832"/>
                      </a:moveTo>
                      <a:lnTo>
                        <a:pt x="1218" y="836"/>
                      </a:lnTo>
                      <a:lnTo>
                        <a:pt x="1218" y="832"/>
                      </a:lnTo>
                      <a:lnTo>
                        <a:pt x="1222" y="832"/>
                      </a:lnTo>
                      <a:lnTo>
                        <a:pt x="1222" y="832"/>
                      </a:lnTo>
                      <a:lnTo>
                        <a:pt x="1222" y="832"/>
                      </a:lnTo>
                      <a:close/>
                      <a:moveTo>
                        <a:pt x="250" y="832"/>
                      </a:moveTo>
                      <a:lnTo>
                        <a:pt x="250" y="836"/>
                      </a:lnTo>
                      <a:lnTo>
                        <a:pt x="246" y="836"/>
                      </a:lnTo>
                      <a:lnTo>
                        <a:pt x="250" y="836"/>
                      </a:lnTo>
                      <a:lnTo>
                        <a:pt x="250" y="832"/>
                      </a:lnTo>
                      <a:lnTo>
                        <a:pt x="250" y="832"/>
                      </a:lnTo>
                      <a:lnTo>
                        <a:pt x="250" y="832"/>
                      </a:lnTo>
                      <a:close/>
                      <a:moveTo>
                        <a:pt x="212" y="840"/>
                      </a:moveTo>
                      <a:lnTo>
                        <a:pt x="216" y="840"/>
                      </a:lnTo>
                      <a:lnTo>
                        <a:pt x="216" y="844"/>
                      </a:lnTo>
                      <a:lnTo>
                        <a:pt x="212" y="844"/>
                      </a:lnTo>
                      <a:lnTo>
                        <a:pt x="212" y="840"/>
                      </a:lnTo>
                      <a:lnTo>
                        <a:pt x="212" y="840"/>
                      </a:lnTo>
                      <a:lnTo>
                        <a:pt x="212" y="840"/>
                      </a:lnTo>
                      <a:close/>
                      <a:moveTo>
                        <a:pt x="1238" y="862"/>
                      </a:moveTo>
                      <a:lnTo>
                        <a:pt x="1234" y="862"/>
                      </a:lnTo>
                      <a:lnTo>
                        <a:pt x="1230" y="862"/>
                      </a:lnTo>
                      <a:lnTo>
                        <a:pt x="1234" y="862"/>
                      </a:lnTo>
                      <a:lnTo>
                        <a:pt x="1238" y="862"/>
                      </a:lnTo>
                      <a:lnTo>
                        <a:pt x="1238" y="862"/>
                      </a:lnTo>
                      <a:lnTo>
                        <a:pt x="1238" y="862"/>
                      </a:lnTo>
                      <a:close/>
                      <a:moveTo>
                        <a:pt x="1204" y="874"/>
                      </a:moveTo>
                      <a:lnTo>
                        <a:pt x="1200" y="874"/>
                      </a:lnTo>
                      <a:lnTo>
                        <a:pt x="1204" y="874"/>
                      </a:lnTo>
                      <a:lnTo>
                        <a:pt x="1204" y="874"/>
                      </a:lnTo>
                      <a:lnTo>
                        <a:pt x="1204" y="874"/>
                      </a:lnTo>
                      <a:close/>
                      <a:moveTo>
                        <a:pt x="1230" y="874"/>
                      </a:moveTo>
                      <a:lnTo>
                        <a:pt x="1226" y="874"/>
                      </a:lnTo>
                      <a:lnTo>
                        <a:pt x="1226" y="878"/>
                      </a:lnTo>
                      <a:lnTo>
                        <a:pt x="1226" y="874"/>
                      </a:lnTo>
                      <a:lnTo>
                        <a:pt x="1230" y="874"/>
                      </a:lnTo>
                      <a:lnTo>
                        <a:pt x="1230" y="874"/>
                      </a:lnTo>
                      <a:lnTo>
                        <a:pt x="1230" y="874"/>
                      </a:lnTo>
                      <a:close/>
                      <a:moveTo>
                        <a:pt x="738" y="146"/>
                      </a:moveTo>
                      <a:lnTo>
                        <a:pt x="734" y="146"/>
                      </a:lnTo>
                      <a:lnTo>
                        <a:pt x="732" y="146"/>
                      </a:lnTo>
                      <a:lnTo>
                        <a:pt x="732" y="142"/>
                      </a:lnTo>
                      <a:lnTo>
                        <a:pt x="728" y="138"/>
                      </a:lnTo>
                      <a:lnTo>
                        <a:pt x="724" y="138"/>
                      </a:lnTo>
                      <a:lnTo>
                        <a:pt x="724" y="136"/>
                      </a:lnTo>
                      <a:lnTo>
                        <a:pt x="720" y="136"/>
                      </a:lnTo>
                      <a:lnTo>
                        <a:pt x="720" y="138"/>
                      </a:lnTo>
                      <a:lnTo>
                        <a:pt x="724" y="138"/>
                      </a:lnTo>
                      <a:lnTo>
                        <a:pt x="724" y="142"/>
                      </a:lnTo>
                      <a:lnTo>
                        <a:pt x="728" y="142"/>
                      </a:lnTo>
                      <a:lnTo>
                        <a:pt x="732" y="146"/>
                      </a:lnTo>
                      <a:lnTo>
                        <a:pt x="728" y="146"/>
                      </a:lnTo>
                      <a:lnTo>
                        <a:pt x="724" y="146"/>
                      </a:lnTo>
                      <a:lnTo>
                        <a:pt x="724" y="142"/>
                      </a:lnTo>
                      <a:lnTo>
                        <a:pt x="720" y="142"/>
                      </a:lnTo>
                      <a:lnTo>
                        <a:pt x="716" y="142"/>
                      </a:lnTo>
                      <a:lnTo>
                        <a:pt x="712" y="142"/>
                      </a:lnTo>
                      <a:lnTo>
                        <a:pt x="716" y="142"/>
                      </a:lnTo>
                      <a:lnTo>
                        <a:pt x="716" y="146"/>
                      </a:lnTo>
                      <a:lnTo>
                        <a:pt x="712" y="146"/>
                      </a:lnTo>
                      <a:lnTo>
                        <a:pt x="708" y="146"/>
                      </a:lnTo>
                      <a:lnTo>
                        <a:pt x="706" y="146"/>
                      </a:lnTo>
                      <a:lnTo>
                        <a:pt x="702" y="146"/>
                      </a:lnTo>
                      <a:lnTo>
                        <a:pt x="698" y="146"/>
                      </a:lnTo>
                      <a:lnTo>
                        <a:pt x="694" y="146"/>
                      </a:lnTo>
                      <a:lnTo>
                        <a:pt x="690" y="146"/>
                      </a:lnTo>
                      <a:lnTo>
                        <a:pt x="690" y="142"/>
                      </a:lnTo>
                      <a:lnTo>
                        <a:pt x="686" y="142"/>
                      </a:lnTo>
                      <a:lnTo>
                        <a:pt x="678" y="138"/>
                      </a:lnTo>
                      <a:lnTo>
                        <a:pt x="682" y="138"/>
                      </a:lnTo>
                      <a:lnTo>
                        <a:pt x="686" y="138"/>
                      </a:lnTo>
                      <a:lnTo>
                        <a:pt x="686" y="136"/>
                      </a:lnTo>
                      <a:lnTo>
                        <a:pt x="690" y="136"/>
                      </a:lnTo>
                      <a:lnTo>
                        <a:pt x="694" y="136"/>
                      </a:lnTo>
                      <a:lnTo>
                        <a:pt x="698" y="136"/>
                      </a:lnTo>
                      <a:lnTo>
                        <a:pt x="694" y="136"/>
                      </a:lnTo>
                      <a:lnTo>
                        <a:pt x="690" y="136"/>
                      </a:lnTo>
                      <a:lnTo>
                        <a:pt x="686" y="136"/>
                      </a:lnTo>
                      <a:lnTo>
                        <a:pt x="682" y="136"/>
                      </a:lnTo>
                      <a:lnTo>
                        <a:pt x="678" y="136"/>
                      </a:lnTo>
                      <a:lnTo>
                        <a:pt x="676" y="136"/>
                      </a:lnTo>
                      <a:lnTo>
                        <a:pt x="672" y="136"/>
                      </a:lnTo>
                      <a:lnTo>
                        <a:pt x="668" y="132"/>
                      </a:lnTo>
                      <a:lnTo>
                        <a:pt x="668" y="128"/>
                      </a:lnTo>
                      <a:lnTo>
                        <a:pt x="672" y="128"/>
                      </a:lnTo>
                      <a:lnTo>
                        <a:pt x="672" y="132"/>
                      </a:lnTo>
                      <a:lnTo>
                        <a:pt x="676" y="132"/>
                      </a:lnTo>
                      <a:lnTo>
                        <a:pt x="678" y="132"/>
                      </a:lnTo>
                      <a:lnTo>
                        <a:pt x="676" y="128"/>
                      </a:lnTo>
                      <a:lnTo>
                        <a:pt x="672" y="128"/>
                      </a:lnTo>
                      <a:lnTo>
                        <a:pt x="668" y="128"/>
                      </a:lnTo>
                      <a:lnTo>
                        <a:pt x="664" y="128"/>
                      </a:lnTo>
                      <a:lnTo>
                        <a:pt x="664" y="124"/>
                      </a:lnTo>
                      <a:lnTo>
                        <a:pt x="660" y="124"/>
                      </a:lnTo>
                      <a:lnTo>
                        <a:pt x="664" y="124"/>
                      </a:lnTo>
                      <a:lnTo>
                        <a:pt x="668" y="120"/>
                      </a:lnTo>
                      <a:lnTo>
                        <a:pt x="668" y="124"/>
                      </a:lnTo>
                      <a:lnTo>
                        <a:pt x="668" y="120"/>
                      </a:lnTo>
                      <a:lnTo>
                        <a:pt x="672" y="120"/>
                      </a:lnTo>
                      <a:lnTo>
                        <a:pt x="676" y="120"/>
                      </a:lnTo>
                      <a:lnTo>
                        <a:pt x="676" y="116"/>
                      </a:lnTo>
                      <a:lnTo>
                        <a:pt x="676" y="120"/>
                      </a:lnTo>
                      <a:lnTo>
                        <a:pt x="678" y="120"/>
                      </a:lnTo>
                      <a:lnTo>
                        <a:pt x="682" y="120"/>
                      </a:lnTo>
                      <a:lnTo>
                        <a:pt x="686" y="120"/>
                      </a:lnTo>
                      <a:lnTo>
                        <a:pt x="690" y="120"/>
                      </a:lnTo>
                      <a:lnTo>
                        <a:pt x="694" y="120"/>
                      </a:lnTo>
                      <a:lnTo>
                        <a:pt x="698" y="116"/>
                      </a:lnTo>
                      <a:lnTo>
                        <a:pt x="702" y="116"/>
                      </a:lnTo>
                      <a:lnTo>
                        <a:pt x="706" y="116"/>
                      </a:lnTo>
                      <a:lnTo>
                        <a:pt x="708" y="116"/>
                      </a:lnTo>
                      <a:lnTo>
                        <a:pt x="712" y="116"/>
                      </a:lnTo>
                      <a:lnTo>
                        <a:pt x="716" y="116"/>
                      </a:lnTo>
                      <a:lnTo>
                        <a:pt x="712" y="116"/>
                      </a:lnTo>
                      <a:lnTo>
                        <a:pt x="708" y="116"/>
                      </a:lnTo>
                      <a:lnTo>
                        <a:pt x="706" y="116"/>
                      </a:lnTo>
                      <a:lnTo>
                        <a:pt x="702" y="116"/>
                      </a:lnTo>
                      <a:lnTo>
                        <a:pt x="694" y="116"/>
                      </a:lnTo>
                      <a:lnTo>
                        <a:pt x="690" y="116"/>
                      </a:lnTo>
                      <a:lnTo>
                        <a:pt x="686" y="116"/>
                      </a:lnTo>
                      <a:lnTo>
                        <a:pt x="682" y="116"/>
                      </a:lnTo>
                      <a:lnTo>
                        <a:pt x="686" y="116"/>
                      </a:lnTo>
                      <a:lnTo>
                        <a:pt x="686" y="112"/>
                      </a:lnTo>
                      <a:lnTo>
                        <a:pt x="690" y="112"/>
                      </a:lnTo>
                      <a:lnTo>
                        <a:pt x="694" y="116"/>
                      </a:lnTo>
                      <a:lnTo>
                        <a:pt x="694" y="112"/>
                      </a:lnTo>
                      <a:lnTo>
                        <a:pt x="698" y="112"/>
                      </a:lnTo>
                      <a:lnTo>
                        <a:pt x="702" y="112"/>
                      </a:lnTo>
                      <a:lnTo>
                        <a:pt x="706" y="112"/>
                      </a:lnTo>
                      <a:lnTo>
                        <a:pt x="702" y="112"/>
                      </a:lnTo>
                      <a:lnTo>
                        <a:pt x="698" y="112"/>
                      </a:lnTo>
                      <a:lnTo>
                        <a:pt x="694" y="112"/>
                      </a:lnTo>
                      <a:lnTo>
                        <a:pt x="690" y="112"/>
                      </a:lnTo>
                      <a:lnTo>
                        <a:pt x="686" y="112"/>
                      </a:lnTo>
                      <a:lnTo>
                        <a:pt x="690" y="112"/>
                      </a:lnTo>
                      <a:lnTo>
                        <a:pt x="690" y="108"/>
                      </a:lnTo>
                      <a:lnTo>
                        <a:pt x="686" y="108"/>
                      </a:lnTo>
                      <a:lnTo>
                        <a:pt x="682" y="108"/>
                      </a:lnTo>
                      <a:lnTo>
                        <a:pt x="682" y="112"/>
                      </a:lnTo>
                      <a:lnTo>
                        <a:pt x="678" y="112"/>
                      </a:lnTo>
                      <a:lnTo>
                        <a:pt x="678" y="108"/>
                      </a:lnTo>
                      <a:lnTo>
                        <a:pt x="678" y="112"/>
                      </a:lnTo>
                      <a:lnTo>
                        <a:pt x="676" y="112"/>
                      </a:lnTo>
                      <a:lnTo>
                        <a:pt x="676" y="108"/>
                      </a:lnTo>
                      <a:lnTo>
                        <a:pt x="672" y="112"/>
                      </a:lnTo>
                      <a:lnTo>
                        <a:pt x="668" y="116"/>
                      </a:lnTo>
                      <a:lnTo>
                        <a:pt x="664" y="116"/>
                      </a:lnTo>
                      <a:lnTo>
                        <a:pt x="660" y="116"/>
                      </a:lnTo>
                      <a:lnTo>
                        <a:pt x="664" y="112"/>
                      </a:lnTo>
                      <a:lnTo>
                        <a:pt x="660" y="112"/>
                      </a:lnTo>
                      <a:lnTo>
                        <a:pt x="656" y="112"/>
                      </a:lnTo>
                      <a:lnTo>
                        <a:pt x="660" y="112"/>
                      </a:lnTo>
                      <a:lnTo>
                        <a:pt x="656" y="112"/>
                      </a:lnTo>
                      <a:lnTo>
                        <a:pt x="652" y="112"/>
                      </a:lnTo>
                      <a:lnTo>
                        <a:pt x="652" y="116"/>
                      </a:lnTo>
                      <a:lnTo>
                        <a:pt x="650" y="116"/>
                      </a:lnTo>
                      <a:lnTo>
                        <a:pt x="646" y="112"/>
                      </a:lnTo>
                      <a:lnTo>
                        <a:pt x="642" y="112"/>
                      </a:lnTo>
                      <a:lnTo>
                        <a:pt x="642" y="108"/>
                      </a:lnTo>
                      <a:lnTo>
                        <a:pt x="642" y="106"/>
                      </a:lnTo>
                      <a:lnTo>
                        <a:pt x="646" y="106"/>
                      </a:lnTo>
                      <a:lnTo>
                        <a:pt x="650" y="106"/>
                      </a:lnTo>
                      <a:lnTo>
                        <a:pt x="652" y="106"/>
                      </a:lnTo>
                      <a:lnTo>
                        <a:pt x="656" y="106"/>
                      </a:lnTo>
                      <a:lnTo>
                        <a:pt x="660" y="106"/>
                      </a:lnTo>
                      <a:lnTo>
                        <a:pt x="660" y="102"/>
                      </a:lnTo>
                      <a:lnTo>
                        <a:pt x="656" y="102"/>
                      </a:lnTo>
                      <a:lnTo>
                        <a:pt x="652" y="106"/>
                      </a:lnTo>
                      <a:lnTo>
                        <a:pt x="650" y="106"/>
                      </a:lnTo>
                      <a:lnTo>
                        <a:pt x="646" y="106"/>
                      </a:lnTo>
                      <a:lnTo>
                        <a:pt x="642" y="106"/>
                      </a:lnTo>
                      <a:lnTo>
                        <a:pt x="638" y="106"/>
                      </a:lnTo>
                      <a:lnTo>
                        <a:pt x="638" y="102"/>
                      </a:lnTo>
                      <a:lnTo>
                        <a:pt x="634" y="102"/>
                      </a:lnTo>
                      <a:lnTo>
                        <a:pt x="630" y="98"/>
                      </a:lnTo>
                      <a:lnTo>
                        <a:pt x="626" y="98"/>
                      </a:lnTo>
                      <a:lnTo>
                        <a:pt x="630" y="98"/>
                      </a:lnTo>
                      <a:lnTo>
                        <a:pt x="634" y="98"/>
                      </a:lnTo>
                      <a:lnTo>
                        <a:pt x="630" y="94"/>
                      </a:lnTo>
                      <a:lnTo>
                        <a:pt x="626" y="94"/>
                      </a:lnTo>
                      <a:lnTo>
                        <a:pt x="630" y="94"/>
                      </a:lnTo>
                      <a:lnTo>
                        <a:pt x="626" y="94"/>
                      </a:lnTo>
                      <a:lnTo>
                        <a:pt x="626" y="90"/>
                      </a:lnTo>
                      <a:lnTo>
                        <a:pt x="630" y="90"/>
                      </a:lnTo>
                      <a:lnTo>
                        <a:pt x="634" y="90"/>
                      </a:lnTo>
                      <a:lnTo>
                        <a:pt x="638" y="90"/>
                      </a:lnTo>
                      <a:lnTo>
                        <a:pt x="638" y="94"/>
                      </a:lnTo>
                      <a:lnTo>
                        <a:pt x="642" y="94"/>
                      </a:lnTo>
                      <a:lnTo>
                        <a:pt x="646" y="94"/>
                      </a:lnTo>
                      <a:lnTo>
                        <a:pt x="650" y="94"/>
                      </a:lnTo>
                      <a:lnTo>
                        <a:pt x="652" y="94"/>
                      </a:lnTo>
                      <a:lnTo>
                        <a:pt x="656" y="94"/>
                      </a:lnTo>
                      <a:lnTo>
                        <a:pt x="660" y="94"/>
                      </a:lnTo>
                      <a:lnTo>
                        <a:pt x="656" y="94"/>
                      </a:lnTo>
                      <a:lnTo>
                        <a:pt x="652" y="90"/>
                      </a:lnTo>
                      <a:lnTo>
                        <a:pt x="656" y="90"/>
                      </a:lnTo>
                      <a:lnTo>
                        <a:pt x="660" y="90"/>
                      </a:lnTo>
                      <a:lnTo>
                        <a:pt x="664" y="90"/>
                      </a:lnTo>
                      <a:lnTo>
                        <a:pt x="660" y="90"/>
                      </a:lnTo>
                      <a:lnTo>
                        <a:pt x="656" y="86"/>
                      </a:lnTo>
                      <a:lnTo>
                        <a:pt x="656" y="90"/>
                      </a:lnTo>
                      <a:lnTo>
                        <a:pt x="652" y="90"/>
                      </a:lnTo>
                      <a:lnTo>
                        <a:pt x="650" y="90"/>
                      </a:lnTo>
                      <a:lnTo>
                        <a:pt x="646" y="90"/>
                      </a:lnTo>
                      <a:lnTo>
                        <a:pt x="642" y="90"/>
                      </a:lnTo>
                      <a:lnTo>
                        <a:pt x="642" y="86"/>
                      </a:lnTo>
                      <a:lnTo>
                        <a:pt x="646" y="86"/>
                      </a:lnTo>
                      <a:lnTo>
                        <a:pt x="650" y="86"/>
                      </a:lnTo>
                      <a:lnTo>
                        <a:pt x="646" y="86"/>
                      </a:lnTo>
                      <a:lnTo>
                        <a:pt x="642" y="86"/>
                      </a:lnTo>
                      <a:lnTo>
                        <a:pt x="638" y="86"/>
                      </a:lnTo>
                      <a:lnTo>
                        <a:pt x="638" y="90"/>
                      </a:lnTo>
                      <a:lnTo>
                        <a:pt x="638" y="86"/>
                      </a:lnTo>
                      <a:lnTo>
                        <a:pt x="634" y="86"/>
                      </a:lnTo>
                      <a:lnTo>
                        <a:pt x="630" y="86"/>
                      </a:lnTo>
                      <a:lnTo>
                        <a:pt x="626" y="82"/>
                      </a:lnTo>
                      <a:lnTo>
                        <a:pt x="630" y="82"/>
                      </a:lnTo>
                      <a:lnTo>
                        <a:pt x="634" y="82"/>
                      </a:lnTo>
                      <a:lnTo>
                        <a:pt x="638" y="82"/>
                      </a:lnTo>
                      <a:lnTo>
                        <a:pt x="642" y="82"/>
                      </a:lnTo>
                      <a:lnTo>
                        <a:pt x="646" y="82"/>
                      </a:lnTo>
                      <a:lnTo>
                        <a:pt x="642" y="82"/>
                      </a:lnTo>
                      <a:lnTo>
                        <a:pt x="638" y="78"/>
                      </a:lnTo>
                      <a:lnTo>
                        <a:pt x="638" y="76"/>
                      </a:lnTo>
                      <a:lnTo>
                        <a:pt x="642" y="76"/>
                      </a:lnTo>
                      <a:lnTo>
                        <a:pt x="646" y="76"/>
                      </a:lnTo>
                      <a:lnTo>
                        <a:pt x="650" y="76"/>
                      </a:lnTo>
                      <a:lnTo>
                        <a:pt x="652" y="76"/>
                      </a:lnTo>
                      <a:lnTo>
                        <a:pt x="652" y="78"/>
                      </a:lnTo>
                      <a:lnTo>
                        <a:pt x="656" y="78"/>
                      </a:lnTo>
                      <a:lnTo>
                        <a:pt x="660" y="78"/>
                      </a:lnTo>
                      <a:lnTo>
                        <a:pt x="664" y="78"/>
                      </a:lnTo>
                      <a:lnTo>
                        <a:pt x="668" y="78"/>
                      </a:lnTo>
                      <a:lnTo>
                        <a:pt x="664" y="78"/>
                      </a:lnTo>
                      <a:lnTo>
                        <a:pt x="664" y="76"/>
                      </a:lnTo>
                      <a:lnTo>
                        <a:pt x="660" y="76"/>
                      </a:lnTo>
                      <a:lnTo>
                        <a:pt x="656" y="76"/>
                      </a:lnTo>
                      <a:lnTo>
                        <a:pt x="660" y="76"/>
                      </a:lnTo>
                      <a:lnTo>
                        <a:pt x="664" y="76"/>
                      </a:lnTo>
                      <a:lnTo>
                        <a:pt x="664" y="72"/>
                      </a:lnTo>
                      <a:lnTo>
                        <a:pt x="660" y="72"/>
                      </a:lnTo>
                      <a:lnTo>
                        <a:pt x="656" y="72"/>
                      </a:lnTo>
                      <a:lnTo>
                        <a:pt x="652" y="72"/>
                      </a:lnTo>
                      <a:lnTo>
                        <a:pt x="650" y="72"/>
                      </a:lnTo>
                      <a:lnTo>
                        <a:pt x="646" y="72"/>
                      </a:lnTo>
                      <a:lnTo>
                        <a:pt x="642" y="72"/>
                      </a:lnTo>
                      <a:lnTo>
                        <a:pt x="646" y="68"/>
                      </a:lnTo>
                      <a:lnTo>
                        <a:pt x="650" y="68"/>
                      </a:lnTo>
                      <a:lnTo>
                        <a:pt x="646" y="68"/>
                      </a:lnTo>
                      <a:lnTo>
                        <a:pt x="650" y="64"/>
                      </a:lnTo>
                      <a:lnTo>
                        <a:pt x="652" y="64"/>
                      </a:lnTo>
                      <a:lnTo>
                        <a:pt x="656" y="64"/>
                      </a:lnTo>
                      <a:lnTo>
                        <a:pt x="660" y="64"/>
                      </a:lnTo>
                      <a:lnTo>
                        <a:pt x="664" y="64"/>
                      </a:lnTo>
                      <a:lnTo>
                        <a:pt x="668" y="64"/>
                      </a:lnTo>
                      <a:lnTo>
                        <a:pt x="664" y="64"/>
                      </a:lnTo>
                      <a:lnTo>
                        <a:pt x="660" y="60"/>
                      </a:lnTo>
                      <a:lnTo>
                        <a:pt x="664" y="60"/>
                      </a:lnTo>
                      <a:lnTo>
                        <a:pt x="668" y="60"/>
                      </a:lnTo>
                      <a:lnTo>
                        <a:pt x="672" y="64"/>
                      </a:lnTo>
                      <a:lnTo>
                        <a:pt x="676" y="64"/>
                      </a:lnTo>
                      <a:lnTo>
                        <a:pt x="676" y="60"/>
                      </a:lnTo>
                      <a:lnTo>
                        <a:pt x="678" y="60"/>
                      </a:lnTo>
                      <a:lnTo>
                        <a:pt x="676" y="56"/>
                      </a:lnTo>
                      <a:lnTo>
                        <a:pt x="672" y="56"/>
                      </a:lnTo>
                      <a:lnTo>
                        <a:pt x="668" y="60"/>
                      </a:lnTo>
                      <a:lnTo>
                        <a:pt x="664" y="60"/>
                      </a:lnTo>
                      <a:lnTo>
                        <a:pt x="664" y="56"/>
                      </a:lnTo>
                      <a:lnTo>
                        <a:pt x="660" y="56"/>
                      </a:lnTo>
                      <a:lnTo>
                        <a:pt x="660" y="52"/>
                      </a:lnTo>
                      <a:lnTo>
                        <a:pt x="664" y="52"/>
                      </a:lnTo>
                      <a:lnTo>
                        <a:pt x="668" y="52"/>
                      </a:lnTo>
                      <a:lnTo>
                        <a:pt x="672" y="56"/>
                      </a:lnTo>
                      <a:lnTo>
                        <a:pt x="672" y="52"/>
                      </a:lnTo>
                      <a:lnTo>
                        <a:pt x="676" y="52"/>
                      </a:lnTo>
                      <a:lnTo>
                        <a:pt x="678" y="52"/>
                      </a:lnTo>
                      <a:lnTo>
                        <a:pt x="678" y="56"/>
                      </a:lnTo>
                      <a:lnTo>
                        <a:pt x="682" y="56"/>
                      </a:lnTo>
                      <a:lnTo>
                        <a:pt x="686" y="56"/>
                      </a:lnTo>
                      <a:lnTo>
                        <a:pt x="690" y="56"/>
                      </a:lnTo>
                      <a:lnTo>
                        <a:pt x="694" y="56"/>
                      </a:lnTo>
                      <a:lnTo>
                        <a:pt x="694" y="60"/>
                      </a:lnTo>
                      <a:lnTo>
                        <a:pt x="698" y="60"/>
                      </a:lnTo>
                      <a:lnTo>
                        <a:pt x="698" y="64"/>
                      </a:lnTo>
                      <a:lnTo>
                        <a:pt x="694" y="64"/>
                      </a:lnTo>
                      <a:lnTo>
                        <a:pt x="698" y="64"/>
                      </a:lnTo>
                      <a:lnTo>
                        <a:pt x="702" y="64"/>
                      </a:lnTo>
                      <a:lnTo>
                        <a:pt x="702" y="68"/>
                      </a:lnTo>
                      <a:lnTo>
                        <a:pt x="706" y="72"/>
                      </a:lnTo>
                      <a:lnTo>
                        <a:pt x="708" y="72"/>
                      </a:lnTo>
                      <a:lnTo>
                        <a:pt x="712" y="72"/>
                      </a:lnTo>
                      <a:lnTo>
                        <a:pt x="712" y="76"/>
                      </a:lnTo>
                      <a:lnTo>
                        <a:pt x="712" y="78"/>
                      </a:lnTo>
                      <a:lnTo>
                        <a:pt x="716" y="78"/>
                      </a:lnTo>
                      <a:lnTo>
                        <a:pt x="720" y="78"/>
                      </a:lnTo>
                      <a:lnTo>
                        <a:pt x="724" y="78"/>
                      </a:lnTo>
                      <a:lnTo>
                        <a:pt x="728" y="78"/>
                      </a:lnTo>
                      <a:lnTo>
                        <a:pt x="732" y="78"/>
                      </a:lnTo>
                      <a:lnTo>
                        <a:pt x="734" y="78"/>
                      </a:lnTo>
                      <a:lnTo>
                        <a:pt x="734" y="82"/>
                      </a:lnTo>
                      <a:lnTo>
                        <a:pt x="732" y="82"/>
                      </a:lnTo>
                      <a:lnTo>
                        <a:pt x="734" y="82"/>
                      </a:lnTo>
                      <a:lnTo>
                        <a:pt x="734" y="86"/>
                      </a:lnTo>
                      <a:lnTo>
                        <a:pt x="732" y="86"/>
                      </a:lnTo>
                      <a:lnTo>
                        <a:pt x="734" y="86"/>
                      </a:lnTo>
                      <a:lnTo>
                        <a:pt x="734" y="90"/>
                      </a:lnTo>
                      <a:lnTo>
                        <a:pt x="738" y="90"/>
                      </a:lnTo>
                      <a:lnTo>
                        <a:pt x="742" y="90"/>
                      </a:lnTo>
                      <a:lnTo>
                        <a:pt x="746" y="90"/>
                      </a:lnTo>
                      <a:lnTo>
                        <a:pt x="746" y="86"/>
                      </a:lnTo>
                      <a:lnTo>
                        <a:pt x="742" y="86"/>
                      </a:lnTo>
                      <a:lnTo>
                        <a:pt x="738" y="82"/>
                      </a:lnTo>
                      <a:lnTo>
                        <a:pt x="742" y="82"/>
                      </a:lnTo>
                      <a:lnTo>
                        <a:pt x="746" y="82"/>
                      </a:lnTo>
                      <a:lnTo>
                        <a:pt x="748" y="82"/>
                      </a:lnTo>
                      <a:lnTo>
                        <a:pt x="752" y="82"/>
                      </a:lnTo>
                      <a:lnTo>
                        <a:pt x="756" y="86"/>
                      </a:lnTo>
                      <a:lnTo>
                        <a:pt x="756" y="90"/>
                      </a:lnTo>
                      <a:lnTo>
                        <a:pt x="752" y="90"/>
                      </a:lnTo>
                      <a:lnTo>
                        <a:pt x="748" y="90"/>
                      </a:lnTo>
                      <a:lnTo>
                        <a:pt x="748" y="94"/>
                      </a:lnTo>
                      <a:lnTo>
                        <a:pt x="752" y="94"/>
                      </a:lnTo>
                      <a:lnTo>
                        <a:pt x="752" y="90"/>
                      </a:lnTo>
                      <a:lnTo>
                        <a:pt x="756" y="90"/>
                      </a:lnTo>
                      <a:lnTo>
                        <a:pt x="760" y="90"/>
                      </a:lnTo>
                      <a:lnTo>
                        <a:pt x="760" y="94"/>
                      </a:lnTo>
                      <a:lnTo>
                        <a:pt x="764" y="94"/>
                      </a:lnTo>
                      <a:lnTo>
                        <a:pt x="760" y="98"/>
                      </a:lnTo>
                      <a:lnTo>
                        <a:pt x="756" y="98"/>
                      </a:lnTo>
                      <a:lnTo>
                        <a:pt x="760" y="98"/>
                      </a:lnTo>
                      <a:lnTo>
                        <a:pt x="764" y="98"/>
                      </a:lnTo>
                      <a:lnTo>
                        <a:pt x="764" y="102"/>
                      </a:lnTo>
                      <a:lnTo>
                        <a:pt x="760" y="106"/>
                      </a:lnTo>
                      <a:lnTo>
                        <a:pt x="756" y="106"/>
                      </a:lnTo>
                      <a:lnTo>
                        <a:pt x="756" y="108"/>
                      </a:lnTo>
                      <a:lnTo>
                        <a:pt x="760" y="108"/>
                      </a:lnTo>
                      <a:lnTo>
                        <a:pt x="760" y="106"/>
                      </a:lnTo>
                      <a:lnTo>
                        <a:pt x="764" y="106"/>
                      </a:lnTo>
                      <a:lnTo>
                        <a:pt x="768" y="106"/>
                      </a:lnTo>
                      <a:lnTo>
                        <a:pt x="764" y="108"/>
                      </a:lnTo>
                      <a:lnTo>
                        <a:pt x="768" y="108"/>
                      </a:lnTo>
                      <a:lnTo>
                        <a:pt x="768" y="106"/>
                      </a:lnTo>
                      <a:lnTo>
                        <a:pt x="772" y="106"/>
                      </a:lnTo>
                      <a:lnTo>
                        <a:pt x="776" y="106"/>
                      </a:lnTo>
                      <a:lnTo>
                        <a:pt x="778" y="108"/>
                      </a:lnTo>
                      <a:lnTo>
                        <a:pt x="776" y="108"/>
                      </a:lnTo>
                      <a:lnTo>
                        <a:pt x="778" y="108"/>
                      </a:lnTo>
                      <a:lnTo>
                        <a:pt x="778" y="106"/>
                      </a:lnTo>
                      <a:lnTo>
                        <a:pt x="782" y="106"/>
                      </a:lnTo>
                      <a:lnTo>
                        <a:pt x="786" y="108"/>
                      </a:lnTo>
                      <a:lnTo>
                        <a:pt x="786" y="112"/>
                      </a:lnTo>
                      <a:lnTo>
                        <a:pt x="790" y="112"/>
                      </a:lnTo>
                      <a:lnTo>
                        <a:pt x="794" y="112"/>
                      </a:lnTo>
                      <a:lnTo>
                        <a:pt x="794" y="116"/>
                      </a:lnTo>
                      <a:lnTo>
                        <a:pt x="790" y="116"/>
                      </a:lnTo>
                      <a:lnTo>
                        <a:pt x="786" y="116"/>
                      </a:lnTo>
                      <a:lnTo>
                        <a:pt x="782" y="120"/>
                      </a:lnTo>
                      <a:lnTo>
                        <a:pt x="778" y="120"/>
                      </a:lnTo>
                      <a:lnTo>
                        <a:pt x="776" y="120"/>
                      </a:lnTo>
                      <a:lnTo>
                        <a:pt x="772" y="120"/>
                      </a:lnTo>
                      <a:lnTo>
                        <a:pt x="768" y="124"/>
                      </a:lnTo>
                      <a:lnTo>
                        <a:pt x="764" y="124"/>
                      </a:lnTo>
                      <a:lnTo>
                        <a:pt x="764" y="120"/>
                      </a:lnTo>
                      <a:lnTo>
                        <a:pt x="764" y="124"/>
                      </a:lnTo>
                      <a:lnTo>
                        <a:pt x="764" y="128"/>
                      </a:lnTo>
                      <a:lnTo>
                        <a:pt x="760" y="128"/>
                      </a:lnTo>
                      <a:lnTo>
                        <a:pt x="756" y="132"/>
                      </a:lnTo>
                      <a:lnTo>
                        <a:pt x="756" y="136"/>
                      </a:lnTo>
                      <a:lnTo>
                        <a:pt x="752" y="136"/>
                      </a:lnTo>
                      <a:lnTo>
                        <a:pt x="752" y="132"/>
                      </a:lnTo>
                      <a:lnTo>
                        <a:pt x="748" y="132"/>
                      </a:lnTo>
                      <a:lnTo>
                        <a:pt x="748" y="128"/>
                      </a:lnTo>
                      <a:lnTo>
                        <a:pt x="748" y="124"/>
                      </a:lnTo>
                      <a:lnTo>
                        <a:pt x="752" y="124"/>
                      </a:lnTo>
                      <a:lnTo>
                        <a:pt x="752" y="120"/>
                      </a:lnTo>
                      <a:lnTo>
                        <a:pt x="748" y="124"/>
                      </a:lnTo>
                      <a:lnTo>
                        <a:pt x="746" y="124"/>
                      </a:lnTo>
                      <a:lnTo>
                        <a:pt x="746" y="128"/>
                      </a:lnTo>
                      <a:lnTo>
                        <a:pt x="746" y="132"/>
                      </a:lnTo>
                      <a:lnTo>
                        <a:pt x="748" y="132"/>
                      </a:lnTo>
                      <a:lnTo>
                        <a:pt x="748" y="136"/>
                      </a:lnTo>
                      <a:lnTo>
                        <a:pt x="748" y="138"/>
                      </a:lnTo>
                      <a:lnTo>
                        <a:pt x="746" y="138"/>
                      </a:lnTo>
                      <a:lnTo>
                        <a:pt x="746" y="136"/>
                      </a:lnTo>
                      <a:lnTo>
                        <a:pt x="742" y="136"/>
                      </a:lnTo>
                      <a:lnTo>
                        <a:pt x="738" y="136"/>
                      </a:lnTo>
                      <a:lnTo>
                        <a:pt x="742" y="138"/>
                      </a:lnTo>
                      <a:lnTo>
                        <a:pt x="742" y="142"/>
                      </a:lnTo>
                      <a:lnTo>
                        <a:pt x="738" y="142"/>
                      </a:lnTo>
                      <a:lnTo>
                        <a:pt x="738" y="146"/>
                      </a:lnTo>
                      <a:lnTo>
                        <a:pt x="738" y="146"/>
                      </a:lnTo>
                      <a:lnTo>
                        <a:pt x="738" y="146"/>
                      </a:lnTo>
                      <a:close/>
                      <a:moveTo>
                        <a:pt x="596" y="106"/>
                      </a:moveTo>
                      <a:lnTo>
                        <a:pt x="596" y="102"/>
                      </a:lnTo>
                      <a:lnTo>
                        <a:pt x="592" y="102"/>
                      </a:lnTo>
                      <a:lnTo>
                        <a:pt x="590" y="102"/>
                      </a:lnTo>
                      <a:lnTo>
                        <a:pt x="590" y="98"/>
                      </a:lnTo>
                      <a:lnTo>
                        <a:pt x="586" y="98"/>
                      </a:lnTo>
                      <a:lnTo>
                        <a:pt x="582" y="98"/>
                      </a:lnTo>
                      <a:lnTo>
                        <a:pt x="578" y="98"/>
                      </a:lnTo>
                      <a:lnTo>
                        <a:pt x="578" y="94"/>
                      </a:lnTo>
                      <a:lnTo>
                        <a:pt x="578" y="90"/>
                      </a:lnTo>
                      <a:lnTo>
                        <a:pt x="582" y="90"/>
                      </a:lnTo>
                      <a:lnTo>
                        <a:pt x="586" y="90"/>
                      </a:lnTo>
                      <a:lnTo>
                        <a:pt x="590" y="90"/>
                      </a:lnTo>
                      <a:lnTo>
                        <a:pt x="592" y="90"/>
                      </a:lnTo>
                      <a:lnTo>
                        <a:pt x="596" y="90"/>
                      </a:lnTo>
                      <a:lnTo>
                        <a:pt x="596" y="94"/>
                      </a:lnTo>
                      <a:lnTo>
                        <a:pt x="600" y="102"/>
                      </a:lnTo>
                      <a:lnTo>
                        <a:pt x="596" y="102"/>
                      </a:lnTo>
                      <a:lnTo>
                        <a:pt x="596" y="106"/>
                      </a:lnTo>
                      <a:lnTo>
                        <a:pt x="596" y="106"/>
                      </a:lnTo>
                      <a:lnTo>
                        <a:pt x="596" y="106"/>
                      </a:lnTo>
                      <a:close/>
                      <a:moveTo>
                        <a:pt x="526" y="132"/>
                      </a:moveTo>
                      <a:lnTo>
                        <a:pt x="526" y="128"/>
                      </a:lnTo>
                      <a:lnTo>
                        <a:pt x="526" y="132"/>
                      </a:lnTo>
                      <a:lnTo>
                        <a:pt x="522" y="132"/>
                      </a:lnTo>
                      <a:lnTo>
                        <a:pt x="522" y="128"/>
                      </a:lnTo>
                      <a:lnTo>
                        <a:pt x="526" y="128"/>
                      </a:lnTo>
                      <a:lnTo>
                        <a:pt x="526" y="124"/>
                      </a:lnTo>
                      <a:lnTo>
                        <a:pt x="522" y="124"/>
                      </a:lnTo>
                      <a:lnTo>
                        <a:pt x="518" y="124"/>
                      </a:lnTo>
                      <a:lnTo>
                        <a:pt x="514" y="124"/>
                      </a:lnTo>
                      <a:lnTo>
                        <a:pt x="514" y="128"/>
                      </a:lnTo>
                      <a:lnTo>
                        <a:pt x="510" y="128"/>
                      </a:lnTo>
                      <a:lnTo>
                        <a:pt x="508" y="128"/>
                      </a:lnTo>
                      <a:lnTo>
                        <a:pt x="510" y="124"/>
                      </a:lnTo>
                      <a:lnTo>
                        <a:pt x="514" y="124"/>
                      </a:lnTo>
                      <a:lnTo>
                        <a:pt x="510" y="120"/>
                      </a:lnTo>
                      <a:lnTo>
                        <a:pt x="508" y="120"/>
                      </a:lnTo>
                      <a:lnTo>
                        <a:pt x="508" y="124"/>
                      </a:lnTo>
                      <a:lnTo>
                        <a:pt x="504" y="124"/>
                      </a:lnTo>
                      <a:lnTo>
                        <a:pt x="500" y="124"/>
                      </a:lnTo>
                      <a:lnTo>
                        <a:pt x="500" y="120"/>
                      </a:lnTo>
                      <a:lnTo>
                        <a:pt x="504" y="112"/>
                      </a:lnTo>
                      <a:lnTo>
                        <a:pt x="508" y="112"/>
                      </a:lnTo>
                      <a:lnTo>
                        <a:pt x="510" y="112"/>
                      </a:lnTo>
                      <a:lnTo>
                        <a:pt x="514" y="112"/>
                      </a:lnTo>
                      <a:lnTo>
                        <a:pt x="518" y="112"/>
                      </a:lnTo>
                      <a:lnTo>
                        <a:pt x="522" y="112"/>
                      </a:lnTo>
                      <a:lnTo>
                        <a:pt x="526" y="112"/>
                      </a:lnTo>
                      <a:lnTo>
                        <a:pt x="530" y="112"/>
                      </a:lnTo>
                      <a:lnTo>
                        <a:pt x="534" y="112"/>
                      </a:lnTo>
                      <a:lnTo>
                        <a:pt x="536" y="116"/>
                      </a:lnTo>
                      <a:lnTo>
                        <a:pt x="540" y="116"/>
                      </a:lnTo>
                      <a:lnTo>
                        <a:pt x="540" y="120"/>
                      </a:lnTo>
                      <a:lnTo>
                        <a:pt x="544" y="120"/>
                      </a:lnTo>
                      <a:lnTo>
                        <a:pt x="540" y="124"/>
                      </a:lnTo>
                      <a:lnTo>
                        <a:pt x="544" y="128"/>
                      </a:lnTo>
                      <a:lnTo>
                        <a:pt x="544" y="124"/>
                      </a:lnTo>
                      <a:lnTo>
                        <a:pt x="548" y="124"/>
                      </a:lnTo>
                      <a:lnTo>
                        <a:pt x="552" y="120"/>
                      </a:lnTo>
                      <a:lnTo>
                        <a:pt x="556" y="120"/>
                      </a:lnTo>
                      <a:lnTo>
                        <a:pt x="560" y="120"/>
                      </a:lnTo>
                      <a:lnTo>
                        <a:pt x="564" y="124"/>
                      </a:lnTo>
                      <a:lnTo>
                        <a:pt x="566" y="124"/>
                      </a:lnTo>
                      <a:lnTo>
                        <a:pt x="564" y="128"/>
                      </a:lnTo>
                      <a:lnTo>
                        <a:pt x="566" y="128"/>
                      </a:lnTo>
                      <a:lnTo>
                        <a:pt x="570" y="128"/>
                      </a:lnTo>
                      <a:lnTo>
                        <a:pt x="574" y="128"/>
                      </a:lnTo>
                      <a:lnTo>
                        <a:pt x="574" y="132"/>
                      </a:lnTo>
                      <a:lnTo>
                        <a:pt x="578" y="132"/>
                      </a:lnTo>
                      <a:lnTo>
                        <a:pt x="582" y="132"/>
                      </a:lnTo>
                      <a:lnTo>
                        <a:pt x="578" y="136"/>
                      </a:lnTo>
                      <a:lnTo>
                        <a:pt x="582" y="136"/>
                      </a:lnTo>
                      <a:lnTo>
                        <a:pt x="586" y="136"/>
                      </a:lnTo>
                      <a:lnTo>
                        <a:pt x="586" y="138"/>
                      </a:lnTo>
                      <a:lnTo>
                        <a:pt x="582" y="138"/>
                      </a:lnTo>
                      <a:lnTo>
                        <a:pt x="582" y="142"/>
                      </a:lnTo>
                      <a:lnTo>
                        <a:pt x="586" y="142"/>
                      </a:lnTo>
                      <a:lnTo>
                        <a:pt x="586" y="146"/>
                      </a:lnTo>
                      <a:lnTo>
                        <a:pt x="590" y="146"/>
                      </a:lnTo>
                      <a:lnTo>
                        <a:pt x="592" y="146"/>
                      </a:lnTo>
                      <a:lnTo>
                        <a:pt x="592" y="150"/>
                      </a:lnTo>
                      <a:lnTo>
                        <a:pt x="596" y="150"/>
                      </a:lnTo>
                      <a:lnTo>
                        <a:pt x="592" y="150"/>
                      </a:lnTo>
                      <a:lnTo>
                        <a:pt x="592" y="154"/>
                      </a:lnTo>
                      <a:lnTo>
                        <a:pt x="590" y="158"/>
                      </a:lnTo>
                      <a:lnTo>
                        <a:pt x="586" y="158"/>
                      </a:lnTo>
                      <a:lnTo>
                        <a:pt x="582" y="158"/>
                      </a:lnTo>
                      <a:lnTo>
                        <a:pt x="578" y="158"/>
                      </a:lnTo>
                      <a:lnTo>
                        <a:pt x="574" y="158"/>
                      </a:lnTo>
                      <a:lnTo>
                        <a:pt x="570" y="154"/>
                      </a:lnTo>
                      <a:lnTo>
                        <a:pt x="566" y="150"/>
                      </a:lnTo>
                      <a:lnTo>
                        <a:pt x="566" y="146"/>
                      </a:lnTo>
                      <a:lnTo>
                        <a:pt x="564" y="146"/>
                      </a:lnTo>
                      <a:lnTo>
                        <a:pt x="560" y="146"/>
                      </a:lnTo>
                      <a:lnTo>
                        <a:pt x="556" y="142"/>
                      </a:lnTo>
                      <a:lnTo>
                        <a:pt x="548" y="142"/>
                      </a:lnTo>
                      <a:lnTo>
                        <a:pt x="544" y="142"/>
                      </a:lnTo>
                      <a:lnTo>
                        <a:pt x="544" y="146"/>
                      </a:lnTo>
                      <a:lnTo>
                        <a:pt x="540" y="146"/>
                      </a:lnTo>
                      <a:lnTo>
                        <a:pt x="540" y="142"/>
                      </a:lnTo>
                      <a:lnTo>
                        <a:pt x="536" y="142"/>
                      </a:lnTo>
                      <a:lnTo>
                        <a:pt x="534" y="142"/>
                      </a:lnTo>
                      <a:lnTo>
                        <a:pt x="530" y="142"/>
                      </a:lnTo>
                      <a:lnTo>
                        <a:pt x="526" y="142"/>
                      </a:lnTo>
                      <a:lnTo>
                        <a:pt x="526" y="146"/>
                      </a:lnTo>
                      <a:lnTo>
                        <a:pt x="522" y="146"/>
                      </a:lnTo>
                      <a:lnTo>
                        <a:pt x="518" y="146"/>
                      </a:lnTo>
                      <a:lnTo>
                        <a:pt x="518" y="142"/>
                      </a:lnTo>
                      <a:lnTo>
                        <a:pt x="514" y="142"/>
                      </a:lnTo>
                      <a:lnTo>
                        <a:pt x="510" y="142"/>
                      </a:lnTo>
                      <a:lnTo>
                        <a:pt x="510" y="138"/>
                      </a:lnTo>
                      <a:lnTo>
                        <a:pt x="508" y="138"/>
                      </a:lnTo>
                      <a:lnTo>
                        <a:pt x="508" y="136"/>
                      </a:lnTo>
                      <a:lnTo>
                        <a:pt x="510" y="136"/>
                      </a:lnTo>
                      <a:lnTo>
                        <a:pt x="514" y="136"/>
                      </a:lnTo>
                      <a:lnTo>
                        <a:pt x="518" y="136"/>
                      </a:lnTo>
                      <a:lnTo>
                        <a:pt x="522" y="136"/>
                      </a:lnTo>
                      <a:lnTo>
                        <a:pt x="526" y="136"/>
                      </a:lnTo>
                      <a:lnTo>
                        <a:pt x="530" y="138"/>
                      </a:lnTo>
                      <a:lnTo>
                        <a:pt x="530" y="136"/>
                      </a:lnTo>
                      <a:lnTo>
                        <a:pt x="534" y="136"/>
                      </a:lnTo>
                      <a:lnTo>
                        <a:pt x="530" y="136"/>
                      </a:lnTo>
                      <a:lnTo>
                        <a:pt x="526" y="136"/>
                      </a:lnTo>
                      <a:lnTo>
                        <a:pt x="522" y="136"/>
                      </a:lnTo>
                      <a:lnTo>
                        <a:pt x="526" y="132"/>
                      </a:lnTo>
                      <a:lnTo>
                        <a:pt x="530" y="132"/>
                      </a:lnTo>
                      <a:lnTo>
                        <a:pt x="534" y="132"/>
                      </a:lnTo>
                      <a:lnTo>
                        <a:pt x="534" y="128"/>
                      </a:lnTo>
                      <a:lnTo>
                        <a:pt x="530" y="128"/>
                      </a:lnTo>
                      <a:lnTo>
                        <a:pt x="530" y="132"/>
                      </a:lnTo>
                      <a:lnTo>
                        <a:pt x="526" y="132"/>
                      </a:lnTo>
                      <a:lnTo>
                        <a:pt x="526" y="132"/>
                      </a:lnTo>
                      <a:lnTo>
                        <a:pt x="526" y="132"/>
                      </a:lnTo>
                      <a:close/>
                      <a:moveTo>
                        <a:pt x="622" y="158"/>
                      </a:moveTo>
                      <a:lnTo>
                        <a:pt x="620" y="154"/>
                      </a:lnTo>
                      <a:lnTo>
                        <a:pt x="622" y="154"/>
                      </a:lnTo>
                      <a:lnTo>
                        <a:pt x="620" y="154"/>
                      </a:lnTo>
                      <a:lnTo>
                        <a:pt x="616" y="154"/>
                      </a:lnTo>
                      <a:lnTo>
                        <a:pt x="616" y="150"/>
                      </a:lnTo>
                      <a:lnTo>
                        <a:pt x="612" y="150"/>
                      </a:lnTo>
                      <a:lnTo>
                        <a:pt x="616" y="150"/>
                      </a:lnTo>
                      <a:lnTo>
                        <a:pt x="620" y="150"/>
                      </a:lnTo>
                      <a:lnTo>
                        <a:pt x="622" y="150"/>
                      </a:lnTo>
                      <a:lnTo>
                        <a:pt x="622" y="146"/>
                      </a:lnTo>
                      <a:lnTo>
                        <a:pt x="620" y="146"/>
                      </a:lnTo>
                      <a:lnTo>
                        <a:pt x="616" y="146"/>
                      </a:lnTo>
                      <a:lnTo>
                        <a:pt x="612" y="146"/>
                      </a:lnTo>
                      <a:lnTo>
                        <a:pt x="612" y="142"/>
                      </a:lnTo>
                      <a:lnTo>
                        <a:pt x="608" y="142"/>
                      </a:lnTo>
                      <a:lnTo>
                        <a:pt x="608" y="138"/>
                      </a:lnTo>
                      <a:lnTo>
                        <a:pt x="604" y="138"/>
                      </a:lnTo>
                      <a:lnTo>
                        <a:pt x="604" y="136"/>
                      </a:lnTo>
                      <a:lnTo>
                        <a:pt x="608" y="136"/>
                      </a:lnTo>
                      <a:lnTo>
                        <a:pt x="604" y="136"/>
                      </a:lnTo>
                      <a:lnTo>
                        <a:pt x="604" y="132"/>
                      </a:lnTo>
                      <a:lnTo>
                        <a:pt x="604" y="128"/>
                      </a:lnTo>
                      <a:lnTo>
                        <a:pt x="608" y="128"/>
                      </a:lnTo>
                      <a:lnTo>
                        <a:pt x="612" y="128"/>
                      </a:lnTo>
                      <a:lnTo>
                        <a:pt x="616" y="128"/>
                      </a:lnTo>
                      <a:lnTo>
                        <a:pt x="616" y="132"/>
                      </a:lnTo>
                      <a:lnTo>
                        <a:pt x="620" y="132"/>
                      </a:lnTo>
                      <a:lnTo>
                        <a:pt x="622" y="132"/>
                      </a:lnTo>
                      <a:lnTo>
                        <a:pt x="626" y="132"/>
                      </a:lnTo>
                      <a:lnTo>
                        <a:pt x="630" y="132"/>
                      </a:lnTo>
                      <a:lnTo>
                        <a:pt x="630" y="136"/>
                      </a:lnTo>
                      <a:lnTo>
                        <a:pt x="634" y="136"/>
                      </a:lnTo>
                      <a:lnTo>
                        <a:pt x="638" y="138"/>
                      </a:lnTo>
                      <a:lnTo>
                        <a:pt x="642" y="138"/>
                      </a:lnTo>
                      <a:lnTo>
                        <a:pt x="642" y="136"/>
                      </a:lnTo>
                      <a:lnTo>
                        <a:pt x="642" y="138"/>
                      </a:lnTo>
                      <a:lnTo>
                        <a:pt x="646" y="138"/>
                      </a:lnTo>
                      <a:lnTo>
                        <a:pt x="650" y="138"/>
                      </a:lnTo>
                      <a:lnTo>
                        <a:pt x="652" y="138"/>
                      </a:lnTo>
                      <a:lnTo>
                        <a:pt x="652" y="142"/>
                      </a:lnTo>
                      <a:lnTo>
                        <a:pt x="650" y="142"/>
                      </a:lnTo>
                      <a:lnTo>
                        <a:pt x="646" y="146"/>
                      </a:lnTo>
                      <a:lnTo>
                        <a:pt x="650" y="146"/>
                      </a:lnTo>
                      <a:lnTo>
                        <a:pt x="652" y="146"/>
                      </a:lnTo>
                      <a:lnTo>
                        <a:pt x="652" y="150"/>
                      </a:lnTo>
                      <a:lnTo>
                        <a:pt x="650" y="150"/>
                      </a:lnTo>
                      <a:lnTo>
                        <a:pt x="650" y="154"/>
                      </a:lnTo>
                      <a:lnTo>
                        <a:pt x="646" y="154"/>
                      </a:lnTo>
                      <a:lnTo>
                        <a:pt x="642" y="154"/>
                      </a:lnTo>
                      <a:lnTo>
                        <a:pt x="638" y="154"/>
                      </a:lnTo>
                      <a:lnTo>
                        <a:pt x="634" y="154"/>
                      </a:lnTo>
                      <a:lnTo>
                        <a:pt x="630" y="158"/>
                      </a:lnTo>
                      <a:lnTo>
                        <a:pt x="630" y="154"/>
                      </a:lnTo>
                      <a:lnTo>
                        <a:pt x="626" y="154"/>
                      </a:lnTo>
                      <a:lnTo>
                        <a:pt x="626" y="158"/>
                      </a:lnTo>
                      <a:lnTo>
                        <a:pt x="630" y="154"/>
                      </a:lnTo>
                      <a:lnTo>
                        <a:pt x="630" y="158"/>
                      </a:lnTo>
                      <a:lnTo>
                        <a:pt x="626" y="158"/>
                      </a:lnTo>
                      <a:lnTo>
                        <a:pt x="622" y="158"/>
                      </a:lnTo>
                      <a:lnTo>
                        <a:pt x="622" y="158"/>
                      </a:lnTo>
                      <a:lnTo>
                        <a:pt x="622" y="158"/>
                      </a:lnTo>
                      <a:close/>
                      <a:moveTo>
                        <a:pt x="440" y="142"/>
                      </a:moveTo>
                      <a:lnTo>
                        <a:pt x="436" y="142"/>
                      </a:lnTo>
                      <a:lnTo>
                        <a:pt x="432" y="142"/>
                      </a:lnTo>
                      <a:lnTo>
                        <a:pt x="428" y="142"/>
                      </a:lnTo>
                      <a:lnTo>
                        <a:pt x="424" y="142"/>
                      </a:lnTo>
                      <a:lnTo>
                        <a:pt x="422" y="138"/>
                      </a:lnTo>
                      <a:lnTo>
                        <a:pt x="422" y="142"/>
                      </a:lnTo>
                      <a:lnTo>
                        <a:pt x="418" y="142"/>
                      </a:lnTo>
                      <a:lnTo>
                        <a:pt x="414" y="142"/>
                      </a:lnTo>
                      <a:lnTo>
                        <a:pt x="410" y="142"/>
                      </a:lnTo>
                      <a:lnTo>
                        <a:pt x="408" y="142"/>
                      </a:lnTo>
                      <a:lnTo>
                        <a:pt x="404" y="142"/>
                      </a:lnTo>
                      <a:lnTo>
                        <a:pt x="400" y="142"/>
                      </a:lnTo>
                      <a:lnTo>
                        <a:pt x="396" y="142"/>
                      </a:lnTo>
                      <a:lnTo>
                        <a:pt x="392" y="142"/>
                      </a:lnTo>
                      <a:lnTo>
                        <a:pt x="392" y="138"/>
                      </a:lnTo>
                      <a:lnTo>
                        <a:pt x="396" y="138"/>
                      </a:lnTo>
                      <a:lnTo>
                        <a:pt x="400" y="138"/>
                      </a:lnTo>
                      <a:lnTo>
                        <a:pt x="404" y="138"/>
                      </a:lnTo>
                      <a:lnTo>
                        <a:pt x="408" y="136"/>
                      </a:lnTo>
                      <a:lnTo>
                        <a:pt x="410" y="136"/>
                      </a:lnTo>
                      <a:lnTo>
                        <a:pt x="414" y="136"/>
                      </a:lnTo>
                      <a:lnTo>
                        <a:pt x="418" y="136"/>
                      </a:lnTo>
                      <a:lnTo>
                        <a:pt x="422" y="132"/>
                      </a:lnTo>
                      <a:lnTo>
                        <a:pt x="424" y="132"/>
                      </a:lnTo>
                      <a:lnTo>
                        <a:pt x="428" y="132"/>
                      </a:lnTo>
                      <a:lnTo>
                        <a:pt x="432" y="132"/>
                      </a:lnTo>
                      <a:lnTo>
                        <a:pt x="436" y="132"/>
                      </a:lnTo>
                      <a:lnTo>
                        <a:pt x="440" y="132"/>
                      </a:lnTo>
                      <a:lnTo>
                        <a:pt x="444" y="136"/>
                      </a:lnTo>
                      <a:lnTo>
                        <a:pt x="448" y="136"/>
                      </a:lnTo>
                      <a:lnTo>
                        <a:pt x="448" y="138"/>
                      </a:lnTo>
                      <a:lnTo>
                        <a:pt x="448" y="142"/>
                      </a:lnTo>
                      <a:lnTo>
                        <a:pt x="444" y="142"/>
                      </a:lnTo>
                      <a:lnTo>
                        <a:pt x="440" y="142"/>
                      </a:lnTo>
                      <a:lnTo>
                        <a:pt x="440" y="142"/>
                      </a:lnTo>
                      <a:lnTo>
                        <a:pt x="440" y="142"/>
                      </a:lnTo>
                      <a:close/>
                      <a:moveTo>
                        <a:pt x="656" y="142"/>
                      </a:moveTo>
                      <a:lnTo>
                        <a:pt x="660" y="146"/>
                      </a:lnTo>
                      <a:lnTo>
                        <a:pt x="656" y="146"/>
                      </a:lnTo>
                      <a:lnTo>
                        <a:pt x="656" y="142"/>
                      </a:lnTo>
                      <a:lnTo>
                        <a:pt x="656" y="142"/>
                      </a:lnTo>
                      <a:lnTo>
                        <a:pt x="656" y="142"/>
                      </a:lnTo>
                      <a:close/>
                      <a:moveTo>
                        <a:pt x="540" y="142"/>
                      </a:moveTo>
                      <a:lnTo>
                        <a:pt x="540" y="146"/>
                      </a:lnTo>
                      <a:lnTo>
                        <a:pt x="536" y="146"/>
                      </a:lnTo>
                      <a:lnTo>
                        <a:pt x="536" y="150"/>
                      </a:lnTo>
                      <a:lnTo>
                        <a:pt x="534" y="150"/>
                      </a:lnTo>
                      <a:lnTo>
                        <a:pt x="534" y="146"/>
                      </a:lnTo>
                      <a:lnTo>
                        <a:pt x="536" y="146"/>
                      </a:lnTo>
                      <a:lnTo>
                        <a:pt x="536" y="142"/>
                      </a:lnTo>
                      <a:lnTo>
                        <a:pt x="540" y="142"/>
                      </a:lnTo>
                      <a:lnTo>
                        <a:pt x="540" y="142"/>
                      </a:lnTo>
                      <a:lnTo>
                        <a:pt x="540" y="142"/>
                      </a:lnTo>
                      <a:close/>
                      <a:moveTo>
                        <a:pt x="440" y="150"/>
                      </a:moveTo>
                      <a:lnTo>
                        <a:pt x="444" y="150"/>
                      </a:lnTo>
                      <a:lnTo>
                        <a:pt x="444" y="154"/>
                      </a:lnTo>
                      <a:lnTo>
                        <a:pt x="440" y="154"/>
                      </a:lnTo>
                      <a:lnTo>
                        <a:pt x="436" y="154"/>
                      </a:lnTo>
                      <a:lnTo>
                        <a:pt x="432" y="154"/>
                      </a:lnTo>
                      <a:lnTo>
                        <a:pt x="428" y="154"/>
                      </a:lnTo>
                      <a:lnTo>
                        <a:pt x="424" y="154"/>
                      </a:lnTo>
                      <a:lnTo>
                        <a:pt x="424" y="158"/>
                      </a:lnTo>
                      <a:lnTo>
                        <a:pt x="428" y="158"/>
                      </a:lnTo>
                      <a:lnTo>
                        <a:pt x="432" y="158"/>
                      </a:lnTo>
                      <a:lnTo>
                        <a:pt x="436" y="158"/>
                      </a:lnTo>
                      <a:lnTo>
                        <a:pt x="436" y="160"/>
                      </a:lnTo>
                      <a:lnTo>
                        <a:pt x="436" y="164"/>
                      </a:lnTo>
                      <a:lnTo>
                        <a:pt x="432" y="164"/>
                      </a:lnTo>
                      <a:lnTo>
                        <a:pt x="432" y="168"/>
                      </a:lnTo>
                      <a:lnTo>
                        <a:pt x="424" y="168"/>
                      </a:lnTo>
                      <a:lnTo>
                        <a:pt x="422" y="168"/>
                      </a:lnTo>
                      <a:lnTo>
                        <a:pt x="418" y="168"/>
                      </a:lnTo>
                      <a:lnTo>
                        <a:pt x="414" y="168"/>
                      </a:lnTo>
                      <a:lnTo>
                        <a:pt x="410" y="172"/>
                      </a:lnTo>
                      <a:lnTo>
                        <a:pt x="408" y="172"/>
                      </a:lnTo>
                      <a:lnTo>
                        <a:pt x="404" y="168"/>
                      </a:lnTo>
                      <a:lnTo>
                        <a:pt x="400" y="168"/>
                      </a:lnTo>
                      <a:lnTo>
                        <a:pt x="396" y="164"/>
                      </a:lnTo>
                      <a:lnTo>
                        <a:pt x="392" y="164"/>
                      </a:lnTo>
                      <a:lnTo>
                        <a:pt x="396" y="160"/>
                      </a:lnTo>
                      <a:lnTo>
                        <a:pt x="392" y="158"/>
                      </a:lnTo>
                      <a:lnTo>
                        <a:pt x="392" y="154"/>
                      </a:lnTo>
                      <a:lnTo>
                        <a:pt x="396" y="154"/>
                      </a:lnTo>
                      <a:lnTo>
                        <a:pt x="400" y="154"/>
                      </a:lnTo>
                      <a:lnTo>
                        <a:pt x="404" y="154"/>
                      </a:lnTo>
                      <a:lnTo>
                        <a:pt x="404" y="150"/>
                      </a:lnTo>
                      <a:lnTo>
                        <a:pt x="408" y="150"/>
                      </a:lnTo>
                      <a:lnTo>
                        <a:pt x="410" y="150"/>
                      </a:lnTo>
                      <a:lnTo>
                        <a:pt x="414" y="150"/>
                      </a:lnTo>
                      <a:lnTo>
                        <a:pt x="418" y="150"/>
                      </a:lnTo>
                      <a:lnTo>
                        <a:pt x="422" y="150"/>
                      </a:lnTo>
                      <a:lnTo>
                        <a:pt x="424" y="150"/>
                      </a:lnTo>
                      <a:lnTo>
                        <a:pt x="428" y="150"/>
                      </a:lnTo>
                      <a:lnTo>
                        <a:pt x="432" y="150"/>
                      </a:lnTo>
                      <a:lnTo>
                        <a:pt x="436" y="150"/>
                      </a:lnTo>
                      <a:lnTo>
                        <a:pt x="440" y="150"/>
                      </a:lnTo>
                      <a:lnTo>
                        <a:pt x="440" y="150"/>
                      </a:lnTo>
                      <a:lnTo>
                        <a:pt x="440" y="150"/>
                      </a:lnTo>
                      <a:close/>
                      <a:moveTo>
                        <a:pt x="380" y="160"/>
                      </a:moveTo>
                      <a:lnTo>
                        <a:pt x="378" y="160"/>
                      </a:lnTo>
                      <a:lnTo>
                        <a:pt x="378" y="158"/>
                      </a:lnTo>
                      <a:lnTo>
                        <a:pt x="374" y="158"/>
                      </a:lnTo>
                      <a:lnTo>
                        <a:pt x="370" y="158"/>
                      </a:lnTo>
                      <a:lnTo>
                        <a:pt x="366" y="154"/>
                      </a:lnTo>
                      <a:lnTo>
                        <a:pt x="370" y="154"/>
                      </a:lnTo>
                      <a:lnTo>
                        <a:pt x="374" y="150"/>
                      </a:lnTo>
                      <a:lnTo>
                        <a:pt x="378" y="150"/>
                      </a:lnTo>
                      <a:lnTo>
                        <a:pt x="380" y="154"/>
                      </a:lnTo>
                      <a:lnTo>
                        <a:pt x="384" y="154"/>
                      </a:lnTo>
                      <a:lnTo>
                        <a:pt x="388" y="154"/>
                      </a:lnTo>
                      <a:lnTo>
                        <a:pt x="388" y="158"/>
                      </a:lnTo>
                      <a:lnTo>
                        <a:pt x="384" y="158"/>
                      </a:lnTo>
                      <a:lnTo>
                        <a:pt x="384" y="160"/>
                      </a:lnTo>
                      <a:lnTo>
                        <a:pt x="380" y="160"/>
                      </a:lnTo>
                      <a:lnTo>
                        <a:pt x="380" y="160"/>
                      </a:lnTo>
                      <a:lnTo>
                        <a:pt x="380" y="160"/>
                      </a:lnTo>
                      <a:close/>
                      <a:moveTo>
                        <a:pt x="556" y="154"/>
                      </a:moveTo>
                      <a:lnTo>
                        <a:pt x="560" y="154"/>
                      </a:lnTo>
                      <a:lnTo>
                        <a:pt x="560" y="158"/>
                      </a:lnTo>
                      <a:lnTo>
                        <a:pt x="564" y="158"/>
                      </a:lnTo>
                      <a:lnTo>
                        <a:pt x="566" y="158"/>
                      </a:lnTo>
                      <a:lnTo>
                        <a:pt x="566" y="160"/>
                      </a:lnTo>
                      <a:lnTo>
                        <a:pt x="564" y="160"/>
                      </a:lnTo>
                      <a:lnTo>
                        <a:pt x="560" y="160"/>
                      </a:lnTo>
                      <a:lnTo>
                        <a:pt x="556" y="160"/>
                      </a:lnTo>
                      <a:lnTo>
                        <a:pt x="552" y="160"/>
                      </a:lnTo>
                      <a:lnTo>
                        <a:pt x="548" y="160"/>
                      </a:lnTo>
                      <a:lnTo>
                        <a:pt x="544" y="158"/>
                      </a:lnTo>
                      <a:lnTo>
                        <a:pt x="544" y="154"/>
                      </a:lnTo>
                      <a:lnTo>
                        <a:pt x="548" y="154"/>
                      </a:lnTo>
                      <a:lnTo>
                        <a:pt x="552" y="154"/>
                      </a:lnTo>
                      <a:lnTo>
                        <a:pt x="556" y="154"/>
                      </a:lnTo>
                      <a:lnTo>
                        <a:pt x="556" y="154"/>
                      </a:lnTo>
                      <a:lnTo>
                        <a:pt x="556" y="154"/>
                      </a:lnTo>
                      <a:close/>
                      <a:moveTo>
                        <a:pt x="676" y="160"/>
                      </a:moveTo>
                      <a:lnTo>
                        <a:pt x="678" y="160"/>
                      </a:lnTo>
                      <a:lnTo>
                        <a:pt x="676" y="160"/>
                      </a:lnTo>
                      <a:lnTo>
                        <a:pt x="672" y="164"/>
                      </a:lnTo>
                      <a:lnTo>
                        <a:pt x="672" y="168"/>
                      </a:lnTo>
                      <a:lnTo>
                        <a:pt x="668" y="168"/>
                      </a:lnTo>
                      <a:lnTo>
                        <a:pt x="660" y="168"/>
                      </a:lnTo>
                      <a:lnTo>
                        <a:pt x="660" y="164"/>
                      </a:lnTo>
                      <a:lnTo>
                        <a:pt x="652" y="164"/>
                      </a:lnTo>
                      <a:lnTo>
                        <a:pt x="650" y="164"/>
                      </a:lnTo>
                      <a:lnTo>
                        <a:pt x="650" y="168"/>
                      </a:lnTo>
                      <a:lnTo>
                        <a:pt x="646" y="164"/>
                      </a:lnTo>
                      <a:lnTo>
                        <a:pt x="642" y="164"/>
                      </a:lnTo>
                      <a:lnTo>
                        <a:pt x="638" y="164"/>
                      </a:lnTo>
                      <a:lnTo>
                        <a:pt x="634" y="164"/>
                      </a:lnTo>
                      <a:lnTo>
                        <a:pt x="630" y="160"/>
                      </a:lnTo>
                      <a:lnTo>
                        <a:pt x="634" y="160"/>
                      </a:lnTo>
                      <a:lnTo>
                        <a:pt x="634" y="158"/>
                      </a:lnTo>
                      <a:lnTo>
                        <a:pt x="638" y="158"/>
                      </a:lnTo>
                      <a:lnTo>
                        <a:pt x="642" y="158"/>
                      </a:lnTo>
                      <a:lnTo>
                        <a:pt x="646" y="158"/>
                      </a:lnTo>
                      <a:lnTo>
                        <a:pt x="650" y="158"/>
                      </a:lnTo>
                      <a:lnTo>
                        <a:pt x="652" y="158"/>
                      </a:lnTo>
                      <a:lnTo>
                        <a:pt x="656" y="158"/>
                      </a:lnTo>
                      <a:lnTo>
                        <a:pt x="660" y="158"/>
                      </a:lnTo>
                      <a:lnTo>
                        <a:pt x="664" y="158"/>
                      </a:lnTo>
                      <a:lnTo>
                        <a:pt x="668" y="158"/>
                      </a:lnTo>
                      <a:lnTo>
                        <a:pt x="672" y="158"/>
                      </a:lnTo>
                      <a:lnTo>
                        <a:pt x="676" y="158"/>
                      </a:lnTo>
                      <a:lnTo>
                        <a:pt x="676" y="160"/>
                      </a:lnTo>
                      <a:lnTo>
                        <a:pt x="676" y="160"/>
                      </a:lnTo>
                      <a:lnTo>
                        <a:pt x="676" y="160"/>
                      </a:lnTo>
                      <a:close/>
                      <a:moveTo>
                        <a:pt x="500" y="158"/>
                      </a:moveTo>
                      <a:lnTo>
                        <a:pt x="504" y="160"/>
                      </a:lnTo>
                      <a:lnTo>
                        <a:pt x="508" y="160"/>
                      </a:lnTo>
                      <a:lnTo>
                        <a:pt x="508" y="164"/>
                      </a:lnTo>
                      <a:lnTo>
                        <a:pt x="510" y="164"/>
                      </a:lnTo>
                      <a:lnTo>
                        <a:pt x="510" y="168"/>
                      </a:lnTo>
                      <a:lnTo>
                        <a:pt x="508" y="168"/>
                      </a:lnTo>
                      <a:lnTo>
                        <a:pt x="510" y="168"/>
                      </a:lnTo>
                      <a:lnTo>
                        <a:pt x="514" y="168"/>
                      </a:lnTo>
                      <a:lnTo>
                        <a:pt x="514" y="172"/>
                      </a:lnTo>
                      <a:lnTo>
                        <a:pt x="518" y="172"/>
                      </a:lnTo>
                      <a:lnTo>
                        <a:pt x="518" y="176"/>
                      </a:lnTo>
                      <a:lnTo>
                        <a:pt x="514" y="176"/>
                      </a:lnTo>
                      <a:lnTo>
                        <a:pt x="510" y="176"/>
                      </a:lnTo>
                      <a:lnTo>
                        <a:pt x="508" y="176"/>
                      </a:lnTo>
                      <a:lnTo>
                        <a:pt x="504" y="172"/>
                      </a:lnTo>
                      <a:lnTo>
                        <a:pt x="500" y="172"/>
                      </a:lnTo>
                      <a:lnTo>
                        <a:pt x="500" y="168"/>
                      </a:lnTo>
                      <a:lnTo>
                        <a:pt x="500" y="164"/>
                      </a:lnTo>
                      <a:lnTo>
                        <a:pt x="496" y="160"/>
                      </a:lnTo>
                      <a:lnTo>
                        <a:pt x="492" y="160"/>
                      </a:lnTo>
                      <a:lnTo>
                        <a:pt x="492" y="158"/>
                      </a:lnTo>
                      <a:lnTo>
                        <a:pt x="496" y="158"/>
                      </a:lnTo>
                      <a:lnTo>
                        <a:pt x="500" y="158"/>
                      </a:lnTo>
                      <a:lnTo>
                        <a:pt x="500" y="158"/>
                      </a:lnTo>
                      <a:lnTo>
                        <a:pt x="500" y="158"/>
                      </a:lnTo>
                      <a:close/>
                      <a:moveTo>
                        <a:pt x="716" y="172"/>
                      </a:moveTo>
                      <a:lnTo>
                        <a:pt x="712" y="172"/>
                      </a:lnTo>
                      <a:lnTo>
                        <a:pt x="708" y="172"/>
                      </a:lnTo>
                      <a:lnTo>
                        <a:pt x="706" y="168"/>
                      </a:lnTo>
                      <a:lnTo>
                        <a:pt x="706" y="164"/>
                      </a:lnTo>
                      <a:lnTo>
                        <a:pt x="706" y="160"/>
                      </a:lnTo>
                      <a:lnTo>
                        <a:pt x="708" y="160"/>
                      </a:lnTo>
                      <a:lnTo>
                        <a:pt x="712" y="160"/>
                      </a:lnTo>
                      <a:lnTo>
                        <a:pt x="716" y="160"/>
                      </a:lnTo>
                      <a:lnTo>
                        <a:pt x="720" y="160"/>
                      </a:lnTo>
                      <a:lnTo>
                        <a:pt x="720" y="164"/>
                      </a:lnTo>
                      <a:lnTo>
                        <a:pt x="724" y="164"/>
                      </a:lnTo>
                      <a:lnTo>
                        <a:pt x="728" y="168"/>
                      </a:lnTo>
                      <a:lnTo>
                        <a:pt x="728" y="172"/>
                      </a:lnTo>
                      <a:lnTo>
                        <a:pt x="724" y="172"/>
                      </a:lnTo>
                      <a:lnTo>
                        <a:pt x="720" y="172"/>
                      </a:lnTo>
                      <a:lnTo>
                        <a:pt x="716" y="172"/>
                      </a:lnTo>
                      <a:lnTo>
                        <a:pt x="716" y="172"/>
                      </a:lnTo>
                      <a:lnTo>
                        <a:pt x="716" y="172"/>
                      </a:lnTo>
                      <a:close/>
                      <a:moveTo>
                        <a:pt x="294" y="212"/>
                      </a:moveTo>
                      <a:lnTo>
                        <a:pt x="294" y="208"/>
                      </a:lnTo>
                      <a:lnTo>
                        <a:pt x="294" y="212"/>
                      </a:lnTo>
                      <a:lnTo>
                        <a:pt x="292" y="212"/>
                      </a:lnTo>
                      <a:lnTo>
                        <a:pt x="292" y="208"/>
                      </a:lnTo>
                      <a:lnTo>
                        <a:pt x="292" y="206"/>
                      </a:lnTo>
                      <a:lnTo>
                        <a:pt x="288" y="206"/>
                      </a:lnTo>
                      <a:lnTo>
                        <a:pt x="288" y="208"/>
                      </a:lnTo>
                      <a:lnTo>
                        <a:pt x="288" y="206"/>
                      </a:lnTo>
                      <a:lnTo>
                        <a:pt x="288" y="202"/>
                      </a:lnTo>
                      <a:lnTo>
                        <a:pt x="284" y="202"/>
                      </a:lnTo>
                      <a:lnTo>
                        <a:pt x="284" y="206"/>
                      </a:lnTo>
                      <a:lnTo>
                        <a:pt x="284" y="208"/>
                      </a:lnTo>
                      <a:lnTo>
                        <a:pt x="284" y="206"/>
                      </a:lnTo>
                      <a:lnTo>
                        <a:pt x="280" y="206"/>
                      </a:lnTo>
                      <a:lnTo>
                        <a:pt x="280" y="208"/>
                      </a:lnTo>
                      <a:lnTo>
                        <a:pt x="276" y="208"/>
                      </a:lnTo>
                      <a:lnTo>
                        <a:pt x="276" y="206"/>
                      </a:lnTo>
                      <a:lnTo>
                        <a:pt x="272" y="206"/>
                      </a:lnTo>
                      <a:lnTo>
                        <a:pt x="266" y="206"/>
                      </a:lnTo>
                      <a:lnTo>
                        <a:pt x="266" y="208"/>
                      </a:lnTo>
                      <a:lnTo>
                        <a:pt x="262" y="208"/>
                      </a:lnTo>
                      <a:lnTo>
                        <a:pt x="258" y="208"/>
                      </a:lnTo>
                      <a:lnTo>
                        <a:pt x="262" y="208"/>
                      </a:lnTo>
                      <a:lnTo>
                        <a:pt x="262" y="206"/>
                      </a:lnTo>
                      <a:lnTo>
                        <a:pt x="262" y="202"/>
                      </a:lnTo>
                      <a:lnTo>
                        <a:pt x="262" y="206"/>
                      </a:lnTo>
                      <a:lnTo>
                        <a:pt x="258" y="206"/>
                      </a:lnTo>
                      <a:lnTo>
                        <a:pt x="262" y="202"/>
                      </a:lnTo>
                      <a:lnTo>
                        <a:pt x="258" y="202"/>
                      </a:lnTo>
                      <a:lnTo>
                        <a:pt x="258" y="206"/>
                      </a:lnTo>
                      <a:lnTo>
                        <a:pt x="254" y="206"/>
                      </a:lnTo>
                      <a:lnTo>
                        <a:pt x="254" y="202"/>
                      </a:lnTo>
                      <a:lnTo>
                        <a:pt x="258" y="202"/>
                      </a:lnTo>
                      <a:lnTo>
                        <a:pt x="262" y="198"/>
                      </a:lnTo>
                      <a:lnTo>
                        <a:pt x="266" y="194"/>
                      </a:lnTo>
                      <a:lnTo>
                        <a:pt x="268" y="194"/>
                      </a:lnTo>
                      <a:lnTo>
                        <a:pt x="272" y="194"/>
                      </a:lnTo>
                      <a:lnTo>
                        <a:pt x="276" y="194"/>
                      </a:lnTo>
                      <a:lnTo>
                        <a:pt x="280" y="190"/>
                      </a:lnTo>
                      <a:lnTo>
                        <a:pt x="280" y="186"/>
                      </a:lnTo>
                      <a:lnTo>
                        <a:pt x="284" y="186"/>
                      </a:lnTo>
                      <a:lnTo>
                        <a:pt x="288" y="186"/>
                      </a:lnTo>
                      <a:lnTo>
                        <a:pt x="292" y="182"/>
                      </a:lnTo>
                      <a:lnTo>
                        <a:pt x="294" y="180"/>
                      </a:lnTo>
                      <a:lnTo>
                        <a:pt x="298" y="180"/>
                      </a:lnTo>
                      <a:lnTo>
                        <a:pt x="298" y="176"/>
                      </a:lnTo>
                      <a:lnTo>
                        <a:pt x="302" y="176"/>
                      </a:lnTo>
                      <a:lnTo>
                        <a:pt x="306" y="176"/>
                      </a:lnTo>
                      <a:lnTo>
                        <a:pt x="306" y="172"/>
                      </a:lnTo>
                      <a:lnTo>
                        <a:pt x="310" y="172"/>
                      </a:lnTo>
                      <a:lnTo>
                        <a:pt x="314" y="172"/>
                      </a:lnTo>
                      <a:lnTo>
                        <a:pt x="314" y="168"/>
                      </a:lnTo>
                      <a:lnTo>
                        <a:pt x="318" y="168"/>
                      </a:lnTo>
                      <a:lnTo>
                        <a:pt x="322" y="168"/>
                      </a:lnTo>
                      <a:lnTo>
                        <a:pt x="324" y="168"/>
                      </a:lnTo>
                      <a:lnTo>
                        <a:pt x="328" y="168"/>
                      </a:lnTo>
                      <a:lnTo>
                        <a:pt x="332" y="172"/>
                      </a:lnTo>
                      <a:lnTo>
                        <a:pt x="336" y="172"/>
                      </a:lnTo>
                      <a:lnTo>
                        <a:pt x="340" y="172"/>
                      </a:lnTo>
                      <a:lnTo>
                        <a:pt x="340" y="168"/>
                      </a:lnTo>
                      <a:lnTo>
                        <a:pt x="336" y="168"/>
                      </a:lnTo>
                      <a:lnTo>
                        <a:pt x="340" y="168"/>
                      </a:lnTo>
                      <a:lnTo>
                        <a:pt x="340" y="172"/>
                      </a:lnTo>
                      <a:lnTo>
                        <a:pt x="344" y="172"/>
                      </a:lnTo>
                      <a:lnTo>
                        <a:pt x="344" y="168"/>
                      </a:lnTo>
                      <a:lnTo>
                        <a:pt x="340" y="168"/>
                      </a:lnTo>
                      <a:lnTo>
                        <a:pt x="336" y="168"/>
                      </a:lnTo>
                      <a:lnTo>
                        <a:pt x="340" y="164"/>
                      </a:lnTo>
                      <a:lnTo>
                        <a:pt x="344" y="164"/>
                      </a:lnTo>
                      <a:lnTo>
                        <a:pt x="340" y="164"/>
                      </a:lnTo>
                      <a:lnTo>
                        <a:pt x="344" y="164"/>
                      </a:lnTo>
                      <a:lnTo>
                        <a:pt x="348" y="164"/>
                      </a:lnTo>
                      <a:lnTo>
                        <a:pt x="352" y="164"/>
                      </a:lnTo>
                      <a:lnTo>
                        <a:pt x="354" y="168"/>
                      </a:lnTo>
                      <a:lnTo>
                        <a:pt x="362" y="168"/>
                      </a:lnTo>
                      <a:lnTo>
                        <a:pt x="362" y="172"/>
                      </a:lnTo>
                      <a:lnTo>
                        <a:pt x="358" y="172"/>
                      </a:lnTo>
                      <a:lnTo>
                        <a:pt x="354" y="172"/>
                      </a:lnTo>
                      <a:lnTo>
                        <a:pt x="352" y="176"/>
                      </a:lnTo>
                      <a:lnTo>
                        <a:pt x="352" y="180"/>
                      </a:lnTo>
                      <a:lnTo>
                        <a:pt x="354" y="180"/>
                      </a:lnTo>
                      <a:lnTo>
                        <a:pt x="358" y="180"/>
                      </a:lnTo>
                      <a:lnTo>
                        <a:pt x="358" y="182"/>
                      </a:lnTo>
                      <a:lnTo>
                        <a:pt x="354" y="182"/>
                      </a:lnTo>
                      <a:lnTo>
                        <a:pt x="352" y="182"/>
                      </a:lnTo>
                      <a:lnTo>
                        <a:pt x="352" y="180"/>
                      </a:lnTo>
                      <a:lnTo>
                        <a:pt x="348" y="180"/>
                      </a:lnTo>
                      <a:lnTo>
                        <a:pt x="348" y="182"/>
                      </a:lnTo>
                      <a:lnTo>
                        <a:pt x="352" y="182"/>
                      </a:lnTo>
                      <a:lnTo>
                        <a:pt x="354" y="182"/>
                      </a:lnTo>
                      <a:lnTo>
                        <a:pt x="354" y="186"/>
                      </a:lnTo>
                      <a:lnTo>
                        <a:pt x="354" y="190"/>
                      </a:lnTo>
                      <a:lnTo>
                        <a:pt x="352" y="190"/>
                      </a:lnTo>
                      <a:lnTo>
                        <a:pt x="348" y="190"/>
                      </a:lnTo>
                      <a:lnTo>
                        <a:pt x="344" y="190"/>
                      </a:lnTo>
                      <a:lnTo>
                        <a:pt x="340" y="190"/>
                      </a:lnTo>
                      <a:lnTo>
                        <a:pt x="340" y="194"/>
                      </a:lnTo>
                      <a:lnTo>
                        <a:pt x="340" y="198"/>
                      </a:lnTo>
                      <a:lnTo>
                        <a:pt x="336" y="198"/>
                      </a:lnTo>
                      <a:lnTo>
                        <a:pt x="332" y="198"/>
                      </a:lnTo>
                      <a:lnTo>
                        <a:pt x="328" y="198"/>
                      </a:lnTo>
                      <a:lnTo>
                        <a:pt x="324" y="194"/>
                      </a:lnTo>
                      <a:lnTo>
                        <a:pt x="324" y="190"/>
                      </a:lnTo>
                      <a:lnTo>
                        <a:pt x="324" y="186"/>
                      </a:lnTo>
                      <a:lnTo>
                        <a:pt x="328" y="186"/>
                      </a:lnTo>
                      <a:lnTo>
                        <a:pt x="328" y="182"/>
                      </a:lnTo>
                      <a:lnTo>
                        <a:pt x="324" y="186"/>
                      </a:lnTo>
                      <a:lnTo>
                        <a:pt x="322" y="186"/>
                      </a:lnTo>
                      <a:lnTo>
                        <a:pt x="318" y="186"/>
                      </a:lnTo>
                      <a:lnTo>
                        <a:pt x="322" y="186"/>
                      </a:lnTo>
                      <a:lnTo>
                        <a:pt x="322" y="190"/>
                      </a:lnTo>
                      <a:lnTo>
                        <a:pt x="318" y="194"/>
                      </a:lnTo>
                      <a:lnTo>
                        <a:pt x="314" y="190"/>
                      </a:lnTo>
                      <a:lnTo>
                        <a:pt x="314" y="194"/>
                      </a:lnTo>
                      <a:lnTo>
                        <a:pt x="318" y="194"/>
                      </a:lnTo>
                      <a:lnTo>
                        <a:pt x="318" y="198"/>
                      </a:lnTo>
                      <a:lnTo>
                        <a:pt x="314" y="198"/>
                      </a:lnTo>
                      <a:lnTo>
                        <a:pt x="314" y="202"/>
                      </a:lnTo>
                      <a:lnTo>
                        <a:pt x="310" y="206"/>
                      </a:lnTo>
                      <a:lnTo>
                        <a:pt x="306" y="206"/>
                      </a:lnTo>
                      <a:lnTo>
                        <a:pt x="306" y="202"/>
                      </a:lnTo>
                      <a:lnTo>
                        <a:pt x="302" y="198"/>
                      </a:lnTo>
                      <a:lnTo>
                        <a:pt x="302" y="202"/>
                      </a:lnTo>
                      <a:lnTo>
                        <a:pt x="302" y="206"/>
                      </a:lnTo>
                      <a:lnTo>
                        <a:pt x="298" y="206"/>
                      </a:lnTo>
                      <a:lnTo>
                        <a:pt x="302" y="206"/>
                      </a:lnTo>
                      <a:lnTo>
                        <a:pt x="306" y="206"/>
                      </a:lnTo>
                      <a:lnTo>
                        <a:pt x="306" y="208"/>
                      </a:lnTo>
                      <a:lnTo>
                        <a:pt x="302" y="208"/>
                      </a:lnTo>
                      <a:lnTo>
                        <a:pt x="302" y="206"/>
                      </a:lnTo>
                      <a:lnTo>
                        <a:pt x="302" y="208"/>
                      </a:lnTo>
                      <a:lnTo>
                        <a:pt x="298" y="208"/>
                      </a:lnTo>
                      <a:lnTo>
                        <a:pt x="298" y="212"/>
                      </a:lnTo>
                      <a:lnTo>
                        <a:pt x="294" y="212"/>
                      </a:lnTo>
                      <a:lnTo>
                        <a:pt x="294" y="212"/>
                      </a:lnTo>
                      <a:lnTo>
                        <a:pt x="294" y="212"/>
                      </a:lnTo>
                      <a:close/>
                      <a:moveTo>
                        <a:pt x="706" y="172"/>
                      </a:moveTo>
                      <a:lnTo>
                        <a:pt x="708" y="172"/>
                      </a:lnTo>
                      <a:lnTo>
                        <a:pt x="712" y="172"/>
                      </a:lnTo>
                      <a:lnTo>
                        <a:pt x="712" y="176"/>
                      </a:lnTo>
                      <a:lnTo>
                        <a:pt x="708" y="176"/>
                      </a:lnTo>
                      <a:lnTo>
                        <a:pt x="706" y="176"/>
                      </a:lnTo>
                      <a:lnTo>
                        <a:pt x="706" y="172"/>
                      </a:lnTo>
                      <a:lnTo>
                        <a:pt x="706" y="172"/>
                      </a:lnTo>
                      <a:lnTo>
                        <a:pt x="706" y="172"/>
                      </a:lnTo>
                      <a:close/>
                      <a:moveTo>
                        <a:pt x="646" y="172"/>
                      </a:moveTo>
                      <a:lnTo>
                        <a:pt x="650" y="172"/>
                      </a:lnTo>
                      <a:lnTo>
                        <a:pt x="650" y="176"/>
                      </a:lnTo>
                      <a:lnTo>
                        <a:pt x="646" y="176"/>
                      </a:lnTo>
                      <a:lnTo>
                        <a:pt x="642" y="172"/>
                      </a:lnTo>
                      <a:lnTo>
                        <a:pt x="646" y="172"/>
                      </a:lnTo>
                      <a:lnTo>
                        <a:pt x="646" y="172"/>
                      </a:lnTo>
                      <a:lnTo>
                        <a:pt x="646" y="172"/>
                      </a:lnTo>
                      <a:close/>
                      <a:moveTo>
                        <a:pt x="522" y="176"/>
                      </a:moveTo>
                      <a:lnTo>
                        <a:pt x="518" y="176"/>
                      </a:lnTo>
                      <a:lnTo>
                        <a:pt x="522" y="176"/>
                      </a:lnTo>
                      <a:lnTo>
                        <a:pt x="522" y="176"/>
                      </a:lnTo>
                      <a:lnTo>
                        <a:pt x="522" y="176"/>
                      </a:lnTo>
                      <a:close/>
                      <a:moveTo>
                        <a:pt x="384" y="176"/>
                      </a:moveTo>
                      <a:lnTo>
                        <a:pt x="388" y="176"/>
                      </a:lnTo>
                      <a:lnTo>
                        <a:pt x="384" y="176"/>
                      </a:lnTo>
                      <a:lnTo>
                        <a:pt x="384" y="176"/>
                      </a:lnTo>
                      <a:lnTo>
                        <a:pt x="384" y="176"/>
                      </a:lnTo>
                      <a:close/>
                      <a:moveTo>
                        <a:pt x="858" y="236"/>
                      </a:moveTo>
                      <a:lnTo>
                        <a:pt x="862" y="236"/>
                      </a:lnTo>
                      <a:lnTo>
                        <a:pt x="858" y="236"/>
                      </a:lnTo>
                      <a:lnTo>
                        <a:pt x="862" y="236"/>
                      </a:lnTo>
                      <a:lnTo>
                        <a:pt x="864" y="236"/>
                      </a:lnTo>
                      <a:lnTo>
                        <a:pt x="868" y="236"/>
                      </a:lnTo>
                      <a:lnTo>
                        <a:pt x="872" y="236"/>
                      </a:lnTo>
                      <a:lnTo>
                        <a:pt x="872" y="238"/>
                      </a:lnTo>
                      <a:lnTo>
                        <a:pt x="868" y="238"/>
                      </a:lnTo>
                      <a:lnTo>
                        <a:pt x="864" y="238"/>
                      </a:lnTo>
                      <a:lnTo>
                        <a:pt x="862" y="238"/>
                      </a:lnTo>
                      <a:lnTo>
                        <a:pt x="858" y="238"/>
                      </a:lnTo>
                      <a:lnTo>
                        <a:pt x="858" y="236"/>
                      </a:lnTo>
                      <a:lnTo>
                        <a:pt x="858" y="238"/>
                      </a:lnTo>
                      <a:lnTo>
                        <a:pt x="862" y="238"/>
                      </a:lnTo>
                      <a:lnTo>
                        <a:pt x="862" y="242"/>
                      </a:lnTo>
                      <a:lnTo>
                        <a:pt x="862" y="246"/>
                      </a:lnTo>
                      <a:lnTo>
                        <a:pt x="858" y="246"/>
                      </a:lnTo>
                      <a:lnTo>
                        <a:pt x="854" y="246"/>
                      </a:lnTo>
                      <a:lnTo>
                        <a:pt x="850" y="246"/>
                      </a:lnTo>
                      <a:lnTo>
                        <a:pt x="846" y="246"/>
                      </a:lnTo>
                      <a:lnTo>
                        <a:pt x="842" y="246"/>
                      </a:lnTo>
                      <a:lnTo>
                        <a:pt x="838" y="246"/>
                      </a:lnTo>
                      <a:lnTo>
                        <a:pt x="838" y="250"/>
                      </a:lnTo>
                      <a:lnTo>
                        <a:pt x="834" y="250"/>
                      </a:lnTo>
                      <a:lnTo>
                        <a:pt x="832" y="246"/>
                      </a:lnTo>
                      <a:lnTo>
                        <a:pt x="828" y="246"/>
                      </a:lnTo>
                      <a:lnTo>
                        <a:pt x="824" y="246"/>
                      </a:lnTo>
                      <a:lnTo>
                        <a:pt x="820" y="246"/>
                      </a:lnTo>
                      <a:lnTo>
                        <a:pt x="820" y="242"/>
                      </a:lnTo>
                      <a:lnTo>
                        <a:pt x="820" y="238"/>
                      </a:lnTo>
                      <a:lnTo>
                        <a:pt x="816" y="238"/>
                      </a:lnTo>
                      <a:lnTo>
                        <a:pt x="812" y="236"/>
                      </a:lnTo>
                      <a:lnTo>
                        <a:pt x="812" y="238"/>
                      </a:lnTo>
                      <a:lnTo>
                        <a:pt x="816" y="238"/>
                      </a:lnTo>
                      <a:lnTo>
                        <a:pt x="816" y="242"/>
                      </a:lnTo>
                      <a:lnTo>
                        <a:pt x="812" y="246"/>
                      </a:lnTo>
                      <a:lnTo>
                        <a:pt x="808" y="246"/>
                      </a:lnTo>
                      <a:lnTo>
                        <a:pt x="806" y="246"/>
                      </a:lnTo>
                      <a:lnTo>
                        <a:pt x="802" y="246"/>
                      </a:lnTo>
                      <a:lnTo>
                        <a:pt x="798" y="246"/>
                      </a:lnTo>
                      <a:lnTo>
                        <a:pt x="794" y="246"/>
                      </a:lnTo>
                      <a:lnTo>
                        <a:pt x="790" y="246"/>
                      </a:lnTo>
                      <a:lnTo>
                        <a:pt x="794" y="242"/>
                      </a:lnTo>
                      <a:lnTo>
                        <a:pt x="790" y="242"/>
                      </a:lnTo>
                      <a:lnTo>
                        <a:pt x="790" y="246"/>
                      </a:lnTo>
                      <a:lnTo>
                        <a:pt x="786" y="246"/>
                      </a:lnTo>
                      <a:lnTo>
                        <a:pt x="786" y="242"/>
                      </a:lnTo>
                      <a:lnTo>
                        <a:pt x="782" y="242"/>
                      </a:lnTo>
                      <a:lnTo>
                        <a:pt x="782" y="246"/>
                      </a:lnTo>
                      <a:lnTo>
                        <a:pt x="786" y="246"/>
                      </a:lnTo>
                      <a:lnTo>
                        <a:pt x="782" y="246"/>
                      </a:lnTo>
                      <a:lnTo>
                        <a:pt x="778" y="246"/>
                      </a:lnTo>
                      <a:lnTo>
                        <a:pt x="776" y="246"/>
                      </a:lnTo>
                      <a:lnTo>
                        <a:pt x="772" y="246"/>
                      </a:lnTo>
                      <a:lnTo>
                        <a:pt x="768" y="246"/>
                      </a:lnTo>
                      <a:lnTo>
                        <a:pt x="768" y="242"/>
                      </a:lnTo>
                      <a:lnTo>
                        <a:pt x="768" y="246"/>
                      </a:lnTo>
                      <a:lnTo>
                        <a:pt x="768" y="250"/>
                      </a:lnTo>
                      <a:lnTo>
                        <a:pt x="764" y="250"/>
                      </a:lnTo>
                      <a:lnTo>
                        <a:pt x="760" y="250"/>
                      </a:lnTo>
                      <a:lnTo>
                        <a:pt x="760" y="246"/>
                      </a:lnTo>
                      <a:lnTo>
                        <a:pt x="756" y="250"/>
                      </a:lnTo>
                      <a:lnTo>
                        <a:pt x="752" y="250"/>
                      </a:lnTo>
                      <a:lnTo>
                        <a:pt x="752" y="246"/>
                      </a:lnTo>
                      <a:lnTo>
                        <a:pt x="752" y="250"/>
                      </a:lnTo>
                      <a:lnTo>
                        <a:pt x="748" y="250"/>
                      </a:lnTo>
                      <a:lnTo>
                        <a:pt x="746" y="246"/>
                      </a:lnTo>
                      <a:lnTo>
                        <a:pt x="742" y="246"/>
                      </a:lnTo>
                      <a:lnTo>
                        <a:pt x="746" y="242"/>
                      </a:lnTo>
                      <a:lnTo>
                        <a:pt x="746" y="238"/>
                      </a:lnTo>
                      <a:lnTo>
                        <a:pt x="742" y="238"/>
                      </a:lnTo>
                      <a:lnTo>
                        <a:pt x="742" y="236"/>
                      </a:lnTo>
                      <a:lnTo>
                        <a:pt x="742" y="238"/>
                      </a:lnTo>
                      <a:lnTo>
                        <a:pt x="738" y="238"/>
                      </a:lnTo>
                      <a:lnTo>
                        <a:pt x="738" y="242"/>
                      </a:lnTo>
                      <a:lnTo>
                        <a:pt x="738" y="238"/>
                      </a:lnTo>
                      <a:lnTo>
                        <a:pt x="734" y="238"/>
                      </a:lnTo>
                      <a:lnTo>
                        <a:pt x="734" y="242"/>
                      </a:lnTo>
                      <a:lnTo>
                        <a:pt x="732" y="242"/>
                      </a:lnTo>
                      <a:lnTo>
                        <a:pt x="732" y="238"/>
                      </a:lnTo>
                      <a:lnTo>
                        <a:pt x="732" y="242"/>
                      </a:lnTo>
                      <a:lnTo>
                        <a:pt x="734" y="242"/>
                      </a:lnTo>
                      <a:lnTo>
                        <a:pt x="734" y="246"/>
                      </a:lnTo>
                      <a:lnTo>
                        <a:pt x="732" y="246"/>
                      </a:lnTo>
                      <a:lnTo>
                        <a:pt x="728" y="246"/>
                      </a:lnTo>
                      <a:lnTo>
                        <a:pt x="724" y="246"/>
                      </a:lnTo>
                      <a:lnTo>
                        <a:pt x="720" y="246"/>
                      </a:lnTo>
                      <a:lnTo>
                        <a:pt x="716" y="246"/>
                      </a:lnTo>
                      <a:lnTo>
                        <a:pt x="712" y="246"/>
                      </a:lnTo>
                      <a:lnTo>
                        <a:pt x="712" y="242"/>
                      </a:lnTo>
                      <a:lnTo>
                        <a:pt x="708" y="242"/>
                      </a:lnTo>
                      <a:lnTo>
                        <a:pt x="708" y="238"/>
                      </a:lnTo>
                      <a:lnTo>
                        <a:pt x="712" y="238"/>
                      </a:lnTo>
                      <a:lnTo>
                        <a:pt x="708" y="238"/>
                      </a:lnTo>
                      <a:lnTo>
                        <a:pt x="706" y="238"/>
                      </a:lnTo>
                      <a:lnTo>
                        <a:pt x="706" y="242"/>
                      </a:lnTo>
                      <a:lnTo>
                        <a:pt x="706" y="238"/>
                      </a:lnTo>
                      <a:lnTo>
                        <a:pt x="706" y="242"/>
                      </a:lnTo>
                      <a:lnTo>
                        <a:pt x="702" y="242"/>
                      </a:lnTo>
                      <a:lnTo>
                        <a:pt x="698" y="242"/>
                      </a:lnTo>
                      <a:lnTo>
                        <a:pt x="694" y="242"/>
                      </a:lnTo>
                      <a:lnTo>
                        <a:pt x="694" y="238"/>
                      </a:lnTo>
                      <a:lnTo>
                        <a:pt x="694" y="236"/>
                      </a:lnTo>
                      <a:lnTo>
                        <a:pt x="690" y="236"/>
                      </a:lnTo>
                      <a:lnTo>
                        <a:pt x="690" y="232"/>
                      </a:lnTo>
                      <a:lnTo>
                        <a:pt x="694" y="232"/>
                      </a:lnTo>
                      <a:lnTo>
                        <a:pt x="690" y="232"/>
                      </a:lnTo>
                      <a:lnTo>
                        <a:pt x="686" y="228"/>
                      </a:lnTo>
                      <a:lnTo>
                        <a:pt x="686" y="224"/>
                      </a:lnTo>
                      <a:lnTo>
                        <a:pt x="686" y="220"/>
                      </a:lnTo>
                      <a:lnTo>
                        <a:pt x="690" y="220"/>
                      </a:lnTo>
                      <a:lnTo>
                        <a:pt x="694" y="220"/>
                      </a:lnTo>
                      <a:lnTo>
                        <a:pt x="694" y="216"/>
                      </a:lnTo>
                      <a:lnTo>
                        <a:pt x="690" y="212"/>
                      </a:lnTo>
                      <a:lnTo>
                        <a:pt x="690" y="208"/>
                      </a:lnTo>
                      <a:lnTo>
                        <a:pt x="686" y="208"/>
                      </a:lnTo>
                      <a:lnTo>
                        <a:pt x="686" y="206"/>
                      </a:lnTo>
                      <a:lnTo>
                        <a:pt x="682" y="206"/>
                      </a:lnTo>
                      <a:lnTo>
                        <a:pt x="682" y="202"/>
                      </a:lnTo>
                      <a:lnTo>
                        <a:pt x="678" y="202"/>
                      </a:lnTo>
                      <a:lnTo>
                        <a:pt x="678" y="198"/>
                      </a:lnTo>
                      <a:lnTo>
                        <a:pt x="676" y="198"/>
                      </a:lnTo>
                      <a:lnTo>
                        <a:pt x="672" y="198"/>
                      </a:lnTo>
                      <a:lnTo>
                        <a:pt x="668" y="198"/>
                      </a:lnTo>
                      <a:lnTo>
                        <a:pt x="668" y="202"/>
                      </a:lnTo>
                      <a:lnTo>
                        <a:pt x="664" y="198"/>
                      </a:lnTo>
                      <a:lnTo>
                        <a:pt x="660" y="198"/>
                      </a:lnTo>
                      <a:lnTo>
                        <a:pt x="656" y="198"/>
                      </a:lnTo>
                      <a:lnTo>
                        <a:pt x="652" y="198"/>
                      </a:lnTo>
                      <a:lnTo>
                        <a:pt x="650" y="202"/>
                      </a:lnTo>
                      <a:lnTo>
                        <a:pt x="646" y="202"/>
                      </a:lnTo>
                      <a:lnTo>
                        <a:pt x="646" y="198"/>
                      </a:lnTo>
                      <a:lnTo>
                        <a:pt x="650" y="198"/>
                      </a:lnTo>
                      <a:lnTo>
                        <a:pt x="652" y="198"/>
                      </a:lnTo>
                      <a:lnTo>
                        <a:pt x="650" y="198"/>
                      </a:lnTo>
                      <a:lnTo>
                        <a:pt x="646" y="198"/>
                      </a:lnTo>
                      <a:lnTo>
                        <a:pt x="642" y="198"/>
                      </a:lnTo>
                      <a:lnTo>
                        <a:pt x="642" y="194"/>
                      </a:lnTo>
                      <a:lnTo>
                        <a:pt x="638" y="194"/>
                      </a:lnTo>
                      <a:lnTo>
                        <a:pt x="634" y="194"/>
                      </a:lnTo>
                      <a:lnTo>
                        <a:pt x="638" y="194"/>
                      </a:lnTo>
                      <a:lnTo>
                        <a:pt x="642" y="194"/>
                      </a:lnTo>
                      <a:lnTo>
                        <a:pt x="642" y="190"/>
                      </a:lnTo>
                      <a:lnTo>
                        <a:pt x="638" y="190"/>
                      </a:lnTo>
                      <a:lnTo>
                        <a:pt x="634" y="190"/>
                      </a:lnTo>
                      <a:lnTo>
                        <a:pt x="630" y="190"/>
                      </a:lnTo>
                      <a:lnTo>
                        <a:pt x="630" y="186"/>
                      </a:lnTo>
                      <a:lnTo>
                        <a:pt x="626" y="186"/>
                      </a:lnTo>
                      <a:lnTo>
                        <a:pt x="622" y="186"/>
                      </a:lnTo>
                      <a:lnTo>
                        <a:pt x="622" y="182"/>
                      </a:lnTo>
                      <a:lnTo>
                        <a:pt x="626" y="186"/>
                      </a:lnTo>
                      <a:lnTo>
                        <a:pt x="630" y="186"/>
                      </a:lnTo>
                      <a:lnTo>
                        <a:pt x="634" y="186"/>
                      </a:lnTo>
                      <a:lnTo>
                        <a:pt x="630" y="182"/>
                      </a:lnTo>
                      <a:lnTo>
                        <a:pt x="626" y="182"/>
                      </a:lnTo>
                      <a:lnTo>
                        <a:pt x="622" y="182"/>
                      </a:lnTo>
                      <a:lnTo>
                        <a:pt x="626" y="180"/>
                      </a:lnTo>
                      <a:lnTo>
                        <a:pt x="630" y="180"/>
                      </a:lnTo>
                      <a:lnTo>
                        <a:pt x="634" y="180"/>
                      </a:lnTo>
                      <a:lnTo>
                        <a:pt x="638" y="180"/>
                      </a:lnTo>
                      <a:lnTo>
                        <a:pt x="642" y="176"/>
                      </a:lnTo>
                      <a:lnTo>
                        <a:pt x="642" y="180"/>
                      </a:lnTo>
                      <a:lnTo>
                        <a:pt x="646" y="180"/>
                      </a:lnTo>
                      <a:lnTo>
                        <a:pt x="650" y="180"/>
                      </a:lnTo>
                      <a:lnTo>
                        <a:pt x="652" y="180"/>
                      </a:lnTo>
                      <a:lnTo>
                        <a:pt x="656" y="180"/>
                      </a:lnTo>
                      <a:lnTo>
                        <a:pt x="660" y="182"/>
                      </a:lnTo>
                      <a:lnTo>
                        <a:pt x="664" y="182"/>
                      </a:lnTo>
                      <a:lnTo>
                        <a:pt x="664" y="180"/>
                      </a:lnTo>
                      <a:lnTo>
                        <a:pt x="668" y="180"/>
                      </a:lnTo>
                      <a:lnTo>
                        <a:pt x="668" y="182"/>
                      </a:lnTo>
                      <a:lnTo>
                        <a:pt x="672" y="182"/>
                      </a:lnTo>
                      <a:lnTo>
                        <a:pt x="676" y="186"/>
                      </a:lnTo>
                      <a:lnTo>
                        <a:pt x="676" y="190"/>
                      </a:lnTo>
                      <a:lnTo>
                        <a:pt x="672" y="194"/>
                      </a:lnTo>
                      <a:lnTo>
                        <a:pt x="672" y="198"/>
                      </a:lnTo>
                      <a:lnTo>
                        <a:pt x="672" y="194"/>
                      </a:lnTo>
                      <a:lnTo>
                        <a:pt x="676" y="194"/>
                      </a:lnTo>
                      <a:lnTo>
                        <a:pt x="678" y="190"/>
                      </a:lnTo>
                      <a:lnTo>
                        <a:pt x="682" y="190"/>
                      </a:lnTo>
                      <a:lnTo>
                        <a:pt x="686" y="190"/>
                      </a:lnTo>
                      <a:lnTo>
                        <a:pt x="690" y="190"/>
                      </a:lnTo>
                      <a:lnTo>
                        <a:pt x="694" y="190"/>
                      </a:lnTo>
                      <a:lnTo>
                        <a:pt x="694" y="186"/>
                      </a:lnTo>
                      <a:lnTo>
                        <a:pt x="698" y="186"/>
                      </a:lnTo>
                      <a:lnTo>
                        <a:pt x="702" y="186"/>
                      </a:lnTo>
                      <a:lnTo>
                        <a:pt x="706" y="186"/>
                      </a:lnTo>
                      <a:lnTo>
                        <a:pt x="708" y="190"/>
                      </a:lnTo>
                      <a:lnTo>
                        <a:pt x="712" y="190"/>
                      </a:lnTo>
                      <a:lnTo>
                        <a:pt x="716" y="190"/>
                      </a:lnTo>
                      <a:lnTo>
                        <a:pt x="716" y="194"/>
                      </a:lnTo>
                      <a:lnTo>
                        <a:pt x="712" y="194"/>
                      </a:lnTo>
                      <a:lnTo>
                        <a:pt x="708" y="194"/>
                      </a:lnTo>
                      <a:lnTo>
                        <a:pt x="706" y="194"/>
                      </a:lnTo>
                      <a:lnTo>
                        <a:pt x="702" y="194"/>
                      </a:lnTo>
                      <a:lnTo>
                        <a:pt x="706" y="194"/>
                      </a:lnTo>
                      <a:lnTo>
                        <a:pt x="708" y="194"/>
                      </a:lnTo>
                      <a:lnTo>
                        <a:pt x="712" y="194"/>
                      </a:lnTo>
                      <a:lnTo>
                        <a:pt x="716" y="194"/>
                      </a:lnTo>
                      <a:lnTo>
                        <a:pt x="716" y="198"/>
                      </a:lnTo>
                      <a:lnTo>
                        <a:pt x="720" y="198"/>
                      </a:lnTo>
                      <a:lnTo>
                        <a:pt x="724" y="198"/>
                      </a:lnTo>
                      <a:lnTo>
                        <a:pt x="728" y="198"/>
                      </a:lnTo>
                      <a:lnTo>
                        <a:pt x="732" y="198"/>
                      </a:lnTo>
                      <a:lnTo>
                        <a:pt x="734" y="202"/>
                      </a:lnTo>
                      <a:lnTo>
                        <a:pt x="732" y="202"/>
                      </a:lnTo>
                      <a:lnTo>
                        <a:pt x="728" y="202"/>
                      </a:lnTo>
                      <a:lnTo>
                        <a:pt x="724" y="202"/>
                      </a:lnTo>
                      <a:lnTo>
                        <a:pt x="716" y="202"/>
                      </a:lnTo>
                      <a:lnTo>
                        <a:pt x="720" y="202"/>
                      </a:lnTo>
                      <a:lnTo>
                        <a:pt x="716" y="202"/>
                      </a:lnTo>
                      <a:lnTo>
                        <a:pt x="712" y="202"/>
                      </a:lnTo>
                      <a:lnTo>
                        <a:pt x="708" y="202"/>
                      </a:lnTo>
                      <a:lnTo>
                        <a:pt x="706" y="202"/>
                      </a:lnTo>
                      <a:lnTo>
                        <a:pt x="702" y="202"/>
                      </a:lnTo>
                      <a:lnTo>
                        <a:pt x="702" y="198"/>
                      </a:lnTo>
                      <a:lnTo>
                        <a:pt x="698" y="198"/>
                      </a:lnTo>
                      <a:lnTo>
                        <a:pt x="698" y="202"/>
                      </a:lnTo>
                      <a:lnTo>
                        <a:pt x="702" y="202"/>
                      </a:lnTo>
                      <a:lnTo>
                        <a:pt x="706" y="202"/>
                      </a:lnTo>
                      <a:lnTo>
                        <a:pt x="708" y="202"/>
                      </a:lnTo>
                      <a:lnTo>
                        <a:pt x="712" y="206"/>
                      </a:lnTo>
                      <a:lnTo>
                        <a:pt x="708" y="206"/>
                      </a:lnTo>
                      <a:lnTo>
                        <a:pt x="712" y="206"/>
                      </a:lnTo>
                      <a:lnTo>
                        <a:pt x="716" y="206"/>
                      </a:lnTo>
                      <a:lnTo>
                        <a:pt x="720" y="206"/>
                      </a:lnTo>
                      <a:lnTo>
                        <a:pt x="716" y="206"/>
                      </a:lnTo>
                      <a:lnTo>
                        <a:pt x="712" y="206"/>
                      </a:lnTo>
                      <a:lnTo>
                        <a:pt x="708" y="206"/>
                      </a:lnTo>
                      <a:lnTo>
                        <a:pt x="706" y="206"/>
                      </a:lnTo>
                      <a:lnTo>
                        <a:pt x="708" y="208"/>
                      </a:lnTo>
                      <a:lnTo>
                        <a:pt x="706" y="208"/>
                      </a:lnTo>
                      <a:lnTo>
                        <a:pt x="706" y="212"/>
                      </a:lnTo>
                      <a:lnTo>
                        <a:pt x="706" y="208"/>
                      </a:lnTo>
                      <a:lnTo>
                        <a:pt x="708" y="208"/>
                      </a:lnTo>
                      <a:lnTo>
                        <a:pt x="708" y="206"/>
                      </a:lnTo>
                      <a:lnTo>
                        <a:pt x="712" y="206"/>
                      </a:lnTo>
                      <a:lnTo>
                        <a:pt x="712" y="208"/>
                      </a:lnTo>
                      <a:lnTo>
                        <a:pt x="716" y="208"/>
                      </a:lnTo>
                      <a:lnTo>
                        <a:pt x="712" y="208"/>
                      </a:lnTo>
                      <a:lnTo>
                        <a:pt x="716" y="208"/>
                      </a:lnTo>
                      <a:lnTo>
                        <a:pt x="720" y="208"/>
                      </a:lnTo>
                      <a:lnTo>
                        <a:pt x="720" y="206"/>
                      </a:lnTo>
                      <a:lnTo>
                        <a:pt x="724" y="206"/>
                      </a:lnTo>
                      <a:lnTo>
                        <a:pt x="724" y="208"/>
                      </a:lnTo>
                      <a:lnTo>
                        <a:pt x="728" y="208"/>
                      </a:lnTo>
                      <a:lnTo>
                        <a:pt x="724" y="212"/>
                      </a:lnTo>
                      <a:lnTo>
                        <a:pt x="728" y="212"/>
                      </a:lnTo>
                      <a:lnTo>
                        <a:pt x="728" y="208"/>
                      </a:lnTo>
                      <a:lnTo>
                        <a:pt x="732" y="212"/>
                      </a:lnTo>
                      <a:lnTo>
                        <a:pt x="734" y="212"/>
                      </a:lnTo>
                      <a:lnTo>
                        <a:pt x="732" y="216"/>
                      </a:lnTo>
                      <a:lnTo>
                        <a:pt x="728" y="216"/>
                      </a:lnTo>
                      <a:lnTo>
                        <a:pt x="724" y="220"/>
                      </a:lnTo>
                      <a:lnTo>
                        <a:pt x="728" y="216"/>
                      </a:lnTo>
                      <a:lnTo>
                        <a:pt x="728" y="220"/>
                      </a:lnTo>
                      <a:lnTo>
                        <a:pt x="728" y="216"/>
                      </a:lnTo>
                      <a:lnTo>
                        <a:pt x="732" y="216"/>
                      </a:lnTo>
                      <a:lnTo>
                        <a:pt x="734" y="220"/>
                      </a:lnTo>
                      <a:lnTo>
                        <a:pt x="734" y="224"/>
                      </a:lnTo>
                      <a:lnTo>
                        <a:pt x="738" y="224"/>
                      </a:lnTo>
                      <a:lnTo>
                        <a:pt x="738" y="220"/>
                      </a:lnTo>
                      <a:lnTo>
                        <a:pt x="738" y="216"/>
                      </a:lnTo>
                      <a:lnTo>
                        <a:pt x="742" y="216"/>
                      </a:lnTo>
                      <a:lnTo>
                        <a:pt x="746" y="216"/>
                      </a:lnTo>
                      <a:lnTo>
                        <a:pt x="746" y="220"/>
                      </a:lnTo>
                      <a:lnTo>
                        <a:pt x="748" y="220"/>
                      </a:lnTo>
                      <a:lnTo>
                        <a:pt x="752" y="220"/>
                      </a:lnTo>
                      <a:lnTo>
                        <a:pt x="756" y="220"/>
                      </a:lnTo>
                      <a:lnTo>
                        <a:pt x="756" y="216"/>
                      </a:lnTo>
                      <a:lnTo>
                        <a:pt x="760" y="216"/>
                      </a:lnTo>
                      <a:lnTo>
                        <a:pt x="764" y="216"/>
                      </a:lnTo>
                      <a:lnTo>
                        <a:pt x="764" y="220"/>
                      </a:lnTo>
                      <a:lnTo>
                        <a:pt x="768" y="220"/>
                      </a:lnTo>
                      <a:lnTo>
                        <a:pt x="772" y="220"/>
                      </a:lnTo>
                      <a:lnTo>
                        <a:pt x="772" y="224"/>
                      </a:lnTo>
                      <a:lnTo>
                        <a:pt x="768" y="224"/>
                      </a:lnTo>
                      <a:lnTo>
                        <a:pt x="772" y="224"/>
                      </a:lnTo>
                      <a:lnTo>
                        <a:pt x="776" y="224"/>
                      </a:lnTo>
                      <a:lnTo>
                        <a:pt x="778" y="224"/>
                      </a:lnTo>
                      <a:lnTo>
                        <a:pt x="782" y="224"/>
                      </a:lnTo>
                      <a:lnTo>
                        <a:pt x="778" y="220"/>
                      </a:lnTo>
                      <a:lnTo>
                        <a:pt x="776" y="220"/>
                      </a:lnTo>
                      <a:lnTo>
                        <a:pt x="778" y="220"/>
                      </a:lnTo>
                      <a:lnTo>
                        <a:pt x="782" y="220"/>
                      </a:lnTo>
                      <a:lnTo>
                        <a:pt x="786" y="220"/>
                      </a:lnTo>
                      <a:lnTo>
                        <a:pt x="790" y="216"/>
                      </a:lnTo>
                      <a:lnTo>
                        <a:pt x="794" y="216"/>
                      </a:lnTo>
                      <a:lnTo>
                        <a:pt x="798" y="216"/>
                      </a:lnTo>
                      <a:lnTo>
                        <a:pt x="802" y="216"/>
                      </a:lnTo>
                      <a:lnTo>
                        <a:pt x="806" y="212"/>
                      </a:lnTo>
                      <a:lnTo>
                        <a:pt x="808" y="212"/>
                      </a:lnTo>
                      <a:lnTo>
                        <a:pt x="812" y="212"/>
                      </a:lnTo>
                      <a:lnTo>
                        <a:pt x="816" y="212"/>
                      </a:lnTo>
                      <a:lnTo>
                        <a:pt x="820" y="212"/>
                      </a:lnTo>
                      <a:lnTo>
                        <a:pt x="824" y="212"/>
                      </a:lnTo>
                      <a:lnTo>
                        <a:pt x="828" y="212"/>
                      </a:lnTo>
                      <a:lnTo>
                        <a:pt x="832" y="212"/>
                      </a:lnTo>
                      <a:lnTo>
                        <a:pt x="834" y="212"/>
                      </a:lnTo>
                      <a:lnTo>
                        <a:pt x="838" y="212"/>
                      </a:lnTo>
                      <a:lnTo>
                        <a:pt x="842" y="212"/>
                      </a:lnTo>
                      <a:lnTo>
                        <a:pt x="846" y="212"/>
                      </a:lnTo>
                      <a:lnTo>
                        <a:pt x="846" y="216"/>
                      </a:lnTo>
                      <a:lnTo>
                        <a:pt x="850" y="216"/>
                      </a:lnTo>
                      <a:lnTo>
                        <a:pt x="854" y="216"/>
                      </a:lnTo>
                      <a:lnTo>
                        <a:pt x="858" y="216"/>
                      </a:lnTo>
                      <a:lnTo>
                        <a:pt x="862" y="216"/>
                      </a:lnTo>
                      <a:lnTo>
                        <a:pt x="864" y="220"/>
                      </a:lnTo>
                      <a:lnTo>
                        <a:pt x="862" y="220"/>
                      </a:lnTo>
                      <a:lnTo>
                        <a:pt x="858" y="220"/>
                      </a:lnTo>
                      <a:lnTo>
                        <a:pt x="862" y="220"/>
                      </a:lnTo>
                      <a:lnTo>
                        <a:pt x="864" y="220"/>
                      </a:lnTo>
                      <a:lnTo>
                        <a:pt x="868" y="220"/>
                      </a:lnTo>
                      <a:lnTo>
                        <a:pt x="868" y="224"/>
                      </a:lnTo>
                      <a:lnTo>
                        <a:pt x="868" y="228"/>
                      </a:lnTo>
                      <a:lnTo>
                        <a:pt x="872" y="228"/>
                      </a:lnTo>
                      <a:lnTo>
                        <a:pt x="868" y="228"/>
                      </a:lnTo>
                      <a:lnTo>
                        <a:pt x="864" y="232"/>
                      </a:lnTo>
                      <a:lnTo>
                        <a:pt x="864" y="228"/>
                      </a:lnTo>
                      <a:lnTo>
                        <a:pt x="864" y="232"/>
                      </a:lnTo>
                      <a:lnTo>
                        <a:pt x="862" y="232"/>
                      </a:lnTo>
                      <a:lnTo>
                        <a:pt x="858" y="232"/>
                      </a:lnTo>
                      <a:lnTo>
                        <a:pt x="858" y="236"/>
                      </a:lnTo>
                      <a:lnTo>
                        <a:pt x="858" y="236"/>
                      </a:lnTo>
                      <a:lnTo>
                        <a:pt x="858" y="236"/>
                      </a:lnTo>
                      <a:close/>
                      <a:moveTo>
                        <a:pt x="620" y="180"/>
                      </a:moveTo>
                      <a:lnTo>
                        <a:pt x="622" y="180"/>
                      </a:lnTo>
                      <a:lnTo>
                        <a:pt x="620" y="180"/>
                      </a:lnTo>
                      <a:lnTo>
                        <a:pt x="616" y="180"/>
                      </a:lnTo>
                      <a:lnTo>
                        <a:pt x="620" y="180"/>
                      </a:lnTo>
                      <a:lnTo>
                        <a:pt x="620" y="180"/>
                      </a:lnTo>
                      <a:lnTo>
                        <a:pt x="620" y="180"/>
                      </a:lnTo>
                      <a:close/>
                      <a:moveTo>
                        <a:pt x="380" y="186"/>
                      </a:moveTo>
                      <a:lnTo>
                        <a:pt x="374" y="186"/>
                      </a:lnTo>
                      <a:lnTo>
                        <a:pt x="370" y="186"/>
                      </a:lnTo>
                      <a:lnTo>
                        <a:pt x="370" y="182"/>
                      </a:lnTo>
                      <a:lnTo>
                        <a:pt x="374" y="182"/>
                      </a:lnTo>
                      <a:lnTo>
                        <a:pt x="378" y="182"/>
                      </a:lnTo>
                      <a:lnTo>
                        <a:pt x="380" y="182"/>
                      </a:lnTo>
                      <a:lnTo>
                        <a:pt x="384" y="182"/>
                      </a:lnTo>
                      <a:lnTo>
                        <a:pt x="388" y="182"/>
                      </a:lnTo>
                      <a:lnTo>
                        <a:pt x="388" y="186"/>
                      </a:lnTo>
                      <a:lnTo>
                        <a:pt x="384" y="186"/>
                      </a:lnTo>
                      <a:lnTo>
                        <a:pt x="380" y="186"/>
                      </a:lnTo>
                      <a:lnTo>
                        <a:pt x="380" y="186"/>
                      </a:lnTo>
                      <a:lnTo>
                        <a:pt x="380" y="186"/>
                      </a:lnTo>
                      <a:close/>
                      <a:moveTo>
                        <a:pt x="370" y="236"/>
                      </a:moveTo>
                      <a:lnTo>
                        <a:pt x="366" y="236"/>
                      </a:lnTo>
                      <a:lnTo>
                        <a:pt x="366" y="232"/>
                      </a:lnTo>
                      <a:lnTo>
                        <a:pt x="366" y="228"/>
                      </a:lnTo>
                      <a:lnTo>
                        <a:pt x="366" y="232"/>
                      </a:lnTo>
                      <a:lnTo>
                        <a:pt x="362" y="232"/>
                      </a:lnTo>
                      <a:lnTo>
                        <a:pt x="358" y="232"/>
                      </a:lnTo>
                      <a:lnTo>
                        <a:pt x="362" y="232"/>
                      </a:lnTo>
                      <a:lnTo>
                        <a:pt x="362" y="236"/>
                      </a:lnTo>
                      <a:lnTo>
                        <a:pt x="358" y="236"/>
                      </a:lnTo>
                      <a:lnTo>
                        <a:pt x="354" y="236"/>
                      </a:lnTo>
                      <a:lnTo>
                        <a:pt x="352" y="232"/>
                      </a:lnTo>
                      <a:lnTo>
                        <a:pt x="352" y="228"/>
                      </a:lnTo>
                      <a:lnTo>
                        <a:pt x="348" y="228"/>
                      </a:lnTo>
                      <a:lnTo>
                        <a:pt x="344" y="232"/>
                      </a:lnTo>
                      <a:lnTo>
                        <a:pt x="336" y="232"/>
                      </a:lnTo>
                      <a:lnTo>
                        <a:pt x="336" y="228"/>
                      </a:lnTo>
                      <a:lnTo>
                        <a:pt x="332" y="228"/>
                      </a:lnTo>
                      <a:lnTo>
                        <a:pt x="328" y="228"/>
                      </a:lnTo>
                      <a:lnTo>
                        <a:pt x="332" y="224"/>
                      </a:lnTo>
                      <a:lnTo>
                        <a:pt x="336" y="224"/>
                      </a:lnTo>
                      <a:lnTo>
                        <a:pt x="336" y="220"/>
                      </a:lnTo>
                      <a:lnTo>
                        <a:pt x="340" y="220"/>
                      </a:lnTo>
                      <a:lnTo>
                        <a:pt x="344" y="220"/>
                      </a:lnTo>
                      <a:lnTo>
                        <a:pt x="352" y="220"/>
                      </a:lnTo>
                      <a:lnTo>
                        <a:pt x="354" y="220"/>
                      </a:lnTo>
                      <a:lnTo>
                        <a:pt x="358" y="220"/>
                      </a:lnTo>
                      <a:lnTo>
                        <a:pt x="358" y="216"/>
                      </a:lnTo>
                      <a:lnTo>
                        <a:pt x="362" y="216"/>
                      </a:lnTo>
                      <a:lnTo>
                        <a:pt x="366" y="216"/>
                      </a:lnTo>
                      <a:lnTo>
                        <a:pt x="370" y="216"/>
                      </a:lnTo>
                      <a:lnTo>
                        <a:pt x="366" y="216"/>
                      </a:lnTo>
                      <a:lnTo>
                        <a:pt x="362" y="216"/>
                      </a:lnTo>
                      <a:lnTo>
                        <a:pt x="358" y="216"/>
                      </a:lnTo>
                      <a:lnTo>
                        <a:pt x="354" y="216"/>
                      </a:lnTo>
                      <a:lnTo>
                        <a:pt x="352" y="216"/>
                      </a:lnTo>
                      <a:lnTo>
                        <a:pt x="352" y="220"/>
                      </a:lnTo>
                      <a:lnTo>
                        <a:pt x="348" y="220"/>
                      </a:lnTo>
                      <a:lnTo>
                        <a:pt x="344" y="220"/>
                      </a:lnTo>
                      <a:lnTo>
                        <a:pt x="336" y="220"/>
                      </a:lnTo>
                      <a:lnTo>
                        <a:pt x="336" y="216"/>
                      </a:lnTo>
                      <a:lnTo>
                        <a:pt x="340" y="216"/>
                      </a:lnTo>
                      <a:lnTo>
                        <a:pt x="340" y="212"/>
                      </a:lnTo>
                      <a:lnTo>
                        <a:pt x="344" y="212"/>
                      </a:lnTo>
                      <a:lnTo>
                        <a:pt x="348" y="212"/>
                      </a:lnTo>
                      <a:lnTo>
                        <a:pt x="352" y="212"/>
                      </a:lnTo>
                      <a:lnTo>
                        <a:pt x="354" y="212"/>
                      </a:lnTo>
                      <a:lnTo>
                        <a:pt x="358" y="212"/>
                      </a:lnTo>
                      <a:lnTo>
                        <a:pt x="358" y="208"/>
                      </a:lnTo>
                      <a:lnTo>
                        <a:pt x="358" y="212"/>
                      </a:lnTo>
                      <a:lnTo>
                        <a:pt x="362" y="212"/>
                      </a:lnTo>
                      <a:lnTo>
                        <a:pt x="362" y="208"/>
                      </a:lnTo>
                      <a:lnTo>
                        <a:pt x="366" y="208"/>
                      </a:lnTo>
                      <a:lnTo>
                        <a:pt x="370" y="208"/>
                      </a:lnTo>
                      <a:lnTo>
                        <a:pt x="366" y="208"/>
                      </a:lnTo>
                      <a:lnTo>
                        <a:pt x="362" y="208"/>
                      </a:lnTo>
                      <a:lnTo>
                        <a:pt x="358" y="208"/>
                      </a:lnTo>
                      <a:lnTo>
                        <a:pt x="354" y="208"/>
                      </a:lnTo>
                      <a:lnTo>
                        <a:pt x="352" y="208"/>
                      </a:lnTo>
                      <a:lnTo>
                        <a:pt x="348" y="208"/>
                      </a:lnTo>
                      <a:lnTo>
                        <a:pt x="344" y="208"/>
                      </a:lnTo>
                      <a:lnTo>
                        <a:pt x="348" y="208"/>
                      </a:lnTo>
                      <a:lnTo>
                        <a:pt x="348" y="206"/>
                      </a:lnTo>
                      <a:lnTo>
                        <a:pt x="344" y="206"/>
                      </a:lnTo>
                      <a:lnTo>
                        <a:pt x="348" y="202"/>
                      </a:lnTo>
                      <a:lnTo>
                        <a:pt x="352" y="202"/>
                      </a:lnTo>
                      <a:lnTo>
                        <a:pt x="354" y="202"/>
                      </a:lnTo>
                      <a:lnTo>
                        <a:pt x="358" y="202"/>
                      </a:lnTo>
                      <a:lnTo>
                        <a:pt x="362" y="202"/>
                      </a:lnTo>
                      <a:lnTo>
                        <a:pt x="366" y="202"/>
                      </a:lnTo>
                      <a:lnTo>
                        <a:pt x="370" y="202"/>
                      </a:lnTo>
                      <a:lnTo>
                        <a:pt x="374" y="202"/>
                      </a:lnTo>
                      <a:lnTo>
                        <a:pt x="370" y="202"/>
                      </a:lnTo>
                      <a:lnTo>
                        <a:pt x="366" y="202"/>
                      </a:lnTo>
                      <a:lnTo>
                        <a:pt x="362" y="202"/>
                      </a:lnTo>
                      <a:lnTo>
                        <a:pt x="358" y="202"/>
                      </a:lnTo>
                      <a:lnTo>
                        <a:pt x="354" y="202"/>
                      </a:lnTo>
                      <a:lnTo>
                        <a:pt x="354" y="198"/>
                      </a:lnTo>
                      <a:lnTo>
                        <a:pt x="358" y="194"/>
                      </a:lnTo>
                      <a:lnTo>
                        <a:pt x="362" y="194"/>
                      </a:lnTo>
                      <a:lnTo>
                        <a:pt x="366" y="194"/>
                      </a:lnTo>
                      <a:lnTo>
                        <a:pt x="370" y="194"/>
                      </a:lnTo>
                      <a:lnTo>
                        <a:pt x="374" y="194"/>
                      </a:lnTo>
                      <a:lnTo>
                        <a:pt x="378" y="194"/>
                      </a:lnTo>
                      <a:lnTo>
                        <a:pt x="380" y="194"/>
                      </a:lnTo>
                      <a:lnTo>
                        <a:pt x="380" y="198"/>
                      </a:lnTo>
                      <a:lnTo>
                        <a:pt x="380" y="202"/>
                      </a:lnTo>
                      <a:lnTo>
                        <a:pt x="384" y="202"/>
                      </a:lnTo>
                      <a:lnTo>
                        <a:pt x="388" y="202"/>
                      </a:lnTo>
                      <a:lnTo>
                        <a:pt x="392" y="198"/>
                      </a:lnTo>
                      <a:lnTo>
                        <a:pt x="396" y="198"/>
                      </a:lnTo>
                      <a:lnTo>
                        <a:pt x="400" y="198"/>
                      </a:lnTo>
                      <a:lnTo>
                        <a:pt x="400" y="202"/>
                      </a:lnTo>
                      <a:lnTo>
                        <a:pt x="404" y="202"/>
                      </a:lnTo>
                      <a:lnTo>
                        <a:pt x="404" y="206"/>
                      </a:lnTo>
                      <a:lnTo>
                        <a:pt x="408" y="206"/>
                      </a:lnTo>
                      <a:lnTo>
                        <a:pt x="410" y="206"/>
                      </a:lnTo>
                      <a:lnTo>
                        <a:pt x="410" y="208"/>
                      </a:lnTo>
                      <a:lnTo>
                        <a:pt x="414" y="208"/>
                      </a:lnTo>
                      <a:lnTo>
                        <a:pt x="410" y="208"/>
                      </a:lnTo>
                      <a:lnTo>
                        <a:pt x="408" y="208"/>
                      </a:lnTo>
                      <a:lnTo>
                        <a:pt x="408" y="212"/>
                      </a:lnTo>
                      <a:lnTo>
                        <a:pt x="410" y="212"/>
                      </a:lnTo>
                      <a:lnTo>
                        <a:pt x="414" y="212"/>
                      </a:lnTo>
                      <a:lnTo>
                        <a:pt x="418" y="212"/>
                      </a:lnTo>
                      <a:lnTo>
                        <a:pt x="418" y="216"/>
                      </a:lnTo>
                      <a:lnTo>
                        <a:pt x="418" y="220"/>
                      </a:lnTo>
                      <a:lnTo>
                        <a:pt x="422" y="220"/>
                      </a:lnTo>
                      <a:lnTo>
                        <a:pt x="424" y="220"/>
                      </a:lnTo>
                      <a:lnTo>
                        <a:pt x="428" y="220"/>
                      </a:lnTo>
                      <a:lnTo>
                        <a:pt x="432" y="220"/>
                      </a:lnTo>
                      <a:lnTo>
                        <a:pt x="436" y="220"/>
                      </a:lnTo>
                      <a:lnTo>
                        <a:pt x="440" y="220"/>
                      </a:lnTo>
                      <a:lnTo>
                        <a:pt x="444" y="220"/>
                      </a:lnTo>
                      <a:lnTo>
                        <a:pt x="448" y="220"/>
                      </a:lnTo>
                      <a:lnTo>
                        <a:pt x="450" y="220"/>
                      </a:lnTo>
                      <a:lnTo>
                        <a:pt x="454" y="220"/>
                      </a:lnTo>
                      <a:lnTo>
                        <a:pt x="454" y="216"/>
                      </a:lnTo>
                      <a:lnTo>
                        <a:pt x="450" y="212"/>
                      </a:lnTo>
                      <a:lnTo>
                        <a:pt x="448" y="212"/>
                      </a:lnTo>
                      <a:lnTo>
                        <a:pt x="444" y="212"/>
                      </a:lnTo>
                      <a:lnTo>
                        <a:pt x="444" y="208"/>
                      </a:lnTo>
                      <a:lnTo>
                        <a:pt x="440" y="208"/>
                      </a:lnTo>
                      <a:lnTo>
                        <a:pt x="436" y="208"/>
                      </a:lnTo>
                      <a:lnTo>
                        <a:pt x="440" y="208"/>
                      </a:lnTo>
                      <a:lnTo>
                        <a:pt x="444" y="208"/>
                      </a:lnTo>
                      <a:lnTo>
                        <a:pt x="448" y="206"/>
                      </a:lnTo>
                      <a:lnTo>
                        <a:pt x="448" y="202"/>
                      </a:lnTo>
                      <a:lnTo>
                        <a:pt x="444" y="202"/>
                      </a:lnTo>
                      <a:lnTo>
                        <a:pt x="440" y="202"/>
                      </a:lnTo>
                      <a:lnTo>
                        <a:pt x="436" y="202"/>
                      </a:lnTo>
                      <a:lnTo>
                        <a:pt x="436" y="198"/>
                      </a:lnTo>
                      <a:lnTo>
                        <a:pt x="432" y="198"/>
                      </a:lnTo>
                      <a:lnTo>
                        <a:pt x="432" y="194"/>
                      </a:lnTo>
                      <a:lnTo>
                        <a:pt x="436" y="194"/>
                      </a:lnTo>
                      <a:lnTo>
                        <a:pt x="440" y="194"/>
                      </a:lnTo>
                      <a:lnTo>
                        <a:pt x="444" y="194"/>
                      </a:lnTo>
                      <a:lnTo>
                        <a:pt x="444" y="190"/>
                      </a:lnTo>
                      <a:lnTo>
                        <a:pt x="440" y="190"/>
                      </a:lnTo>
                      <a:lnTo>
                        <a:pt x="444" y="190"/>
                      </a:lnTo>
                      <a:lnTo>
                        <a:pt x="444" y="186"/>
                      </a:lnTo>
                      <a:lnTo>
                        <a:pt x="448" y="182"/>
                      </a:lnTo>
                      <a:lnTo>
                        <a:pt x="450" y="182"/>
                      </a:lnTo>
                      <a:lnTo>
                        <a:pt x="454" y="182"/>
                      </a:lnTo>
                      <a:lnTo>
                        <a:pt x="458" y="182"/>
                      </a:lnTo>
                      <a:lnTo>
                        <a:pt x="458" y="186"/>
                      </a:lnTo>
                      <a:lnTo>
                        <a:pt x="458" y="190"/>
                      </a:lnTo>
                      <a:lnTo>
                        <a:pt x="454" y="190"/>
                      </a:lnTo>
                      <a:lnTo>
                        <a:pt x="458" y="190"/>
                      </a:lnTo>
                      <a:lnTo>
                        <a:pt x="458" y="194"/>
                      </a:lnTo>
                      <a:lnTo>
                        <a:pt x="462" y="194"/>
                      </a:lnTo>
                      <a:lnTo>
                        <a:pt x="462" y="198"/>
                      </a:lnTo>
                      <a:lnTo>
                        <a:pt x="466" y="198"/>
                      </a:lnTo>
                      <a:lnTo>
                        <a:pt x="462" y="202"/>
                      </a:lnTo>
                      <a:lnTo>
                        <a:pt x="462" y="206"/>
                      </a:lnTo>
                      <a:lnTo>
                        <a:pt x="466" y="206"/>
                      </a:lnTo>
                      <a:lnTo>
                        <a:pt x="470" y="206"/>
                      </a:lnTo>
                      <a:lnTo>
                        <a:pt x="474" y="206"/>
                      </a:lnTo>
                      <a:lnTo>
                        <a:pt x="470" y="208"/>
                      </a:lnTo>
                      <a:lnTo>
                        <a:pt x="466" y="208"/>
                      </a:lnTo>
                      <a:lnTo>
                        <a:pt x="466" y="212"/>
                      </a:lnTo>
                      <a:lnTo>
                        <a:pt x="470" y="212"/>
                      </a:lnTo>
                      <a:lnTo>
                        <a:pt x="470" y="208"/>
                      </a:lnTo>
                      <a:lnTo>
                        <a:pt x="474" y="208"/>
                      </a:lnTo>
                      <a:lnTo>
                        <a:pt x="478" y="208"/>
                      </a:lnTo>
                      <a:lnTo>
                        <a:pt x="480" y="208"/>
                      </a:lnTo>
                      <a:lnTo>
                        <a:pt x="480" y="212"/>
                      </a:lnTo>
                      <a:lnTo>
                        <a:pt x="484" y="212"/>
                      </a:lnTo>
                      <a:lnTo>
                        <a:pt x="480" y="212"/>
                      </a:lnTo>
                      <a:lnTo>
                        <a:pt x="480" y="208"/>
                      </a:lnTo>
                      <a:lnTo>
                        <a:pt x="484" y="206"/>
                      </a:lnTo>
                      <a:lnTo>
                        <a:pt x="488" y="206"/>
                      </a:lnTo>
                      <a:lnTo>
                        <a:pt x="492" y="206"/>
                      </a:lnTo>
                      <a:lnTo>
                        <a:pt x="496" y="206"/>
                      </a:lnTo>
                      <a:lnTo>
                        <a:pt x="500" y="208"/>
                      </a:lnTo>
                      <a:lnTo>
                        <a:pt x="504" y="208"/>
                      </a:lnTo>
                      <a:lnTo>
                        <a:pt x="504" y="212"/>
                      </a:lnTo>
                      <a:lnTo>
                        <a:pt x="504" y="216"/>
                      </a:lnTo>
                      <a:lnTo>
                        <a:pt x="504" y="220"/>
                      </a:lnTo>
                      <a:lnTo>
                        <a:pt x="500" y="220"/>
                      </a:lnTo>
                      <a:lnTo>
                        <a:pt x="500" y="224"/>
                      </a:lnTo>
                      <a:lnTo>
                        <a:pt x="500" y="228"/>
                      </a:lnTo>
                      <a:lnTo>
                        <a:pt x="496" y="228"/>
                      </a:lnTo>
                      <a:lnTo>
                        <a:pt x="496" y="232"/>
                      </a:lnTo>
                      <a:lnTo>
                        <a:pt x="492" y="232"/>
                      </a:lnTo>
                      <a:lnTo>
                        <a:pt x="496" y="232"/>
                      </a:lnTo>
                      <a:lnTo>
                        <a:pt x="492" y="236"/>
                      </a:lnTo>
                      <a:lnTo>
                        <a:pt x="488" y="236"/>
                      </a:lnTo>
                      <a:lnTo>
                        <a:pt x="484" y="236"/>
                      </a:lnTo>
                      <a:lnTo>
                        <a:pt x="480" y="236"/>
                      </a:lnTo>
                      <a:lnTo>
                        <a:pt x="478" y="236"/>
                      </a:lnTo>
                      <a:lnTo>
                        <a:pt x="474" y="236"/>
                      </a:lnTo>
                      <a:lnTo>
                        <a:pt x="470" y="236"/>
                      </a:lnTo>
                      <a:lnTo>
                        <a:pt x="470" y="232"/>
                      </a:lnTo>
                      <a:lnTo>
                        <a:pt x="470" y="236"/>
                      </a:lnTo>
                      <a:lnTo>
                        <a:pt x="466" y="236"/>
                      </a:lnTo>
                      <a:lnTo>
                        <a:pt x="462" y="236"/>
                      </a:lnTo>
                      <a:lnTo>
                        <a:pt x="458" y="236"/>
                      </a:lnTo>
                      <a:lnTo>
                        <a:pt x="454" y="236"/>
                      </a:lnTo>
                      <a:lnTo>
                        <a:pt x="458" y="236"/>
                      </a:lnTo>
                      <a:lnTo>
                        <a:pt x="458" y="232"/>
                      </a:lnTo>
                      <a:lnTo>
                        <a:pt x="454" y="232"/>
                      </a:lnTo>
                      <a:lnTo>
                        <a:pt x="450" y="236"/>
                      </a:lnTo>
                      <a:lnTo>
                        <a:pt x="448" y="236"/>
                      </a:lnTo>
                      <a:lnTo>
                        <a:pt x="444" y="238"/>
                      </a:lnTo>
                      <a:lnTo>
                        <a:pt x="440" y="238"/>
                      </a:lnTo>
                      <a:lnTo>
                        <a:pt x="436" y="238"/>
                      </a:lnTo>
                      <a:lnTo>
                        <a:pt x="432" y="238"/>
                      </a:lnTo>
                      <a:lnTo>
                        <a:pt x="428" y="238"/>
                      </a:lnTo>
                      <a:lnTo>
                        <a:pt x="428" y="242"/>
                      </a:lnTo>
                      <a:lnTo>
                        <a:pt x="424" y="242"/>
                      </a:lnTo>
                      <a:lnTo>
                        <a:pt x="422" y="246"/>
                      </a:lnTo>
                      <a:lnTo>
                        <a:pt x="418" y="246"/>
                      </a:lnTo>
                      <a:lnTo>
                        <a:pt x="414" y="246"/>
                      </a:lnTo>
                      <a:lnTo>
                        <a:pt x="410" y="250"/>
                      </a:lnTo>
                      <a:lnTo>
                        <a:pt x="408" y="250"/>
                      </a:lnTo>
                      <a:lnTo>
                        <a:pt x="404" y="250"/>
                      </a:lnTo>
                      <a:lnTo>
                        <a:pt x="400" y="250"/>
                      </a:lnTo>
                      <a:lnTo>
                        <a:pt x="396" y="250"/>
                      </a:lnTo>
                      <a:lnTo>
                        <a:pt x="392" y="250"/>
                      </a:lnTo>
                      <a:lnTo>
                        <a:pt x="388" y="250"/>
                      </a:lnTo>
                      <a:lnTo>
                        <a:pt x="384" y="246"/>
                      </a:lnTo>
                      <a:lnTo>
                        <a:pt x="380" y="246"/>
                      </a:lnTo>
                      <a:lnTo>
                        <a:pt x="378" y="246"/>
                      </a:lnTo>
                      <a:lnTo>
                        <a:pt x="378" y="242"/>
                      </a:lnTo>
                      <a:lnTo>
                        <a:pt x="380" y="238"/>
                      </a:lnTo>
                      <a:lnTo>
                        <a:pt x="384" y="238"/>
                      </a:lnTo>
                      <a:lnTo>
                        <a:pt x="388" y="238"/>
                      </a:lnTo>
                      <a:lnTo>
                        <a:pt x="392" y="238"/>
                      </a:lnTo>
                      <a:lnTo>
                        <a:pt x="392" y="236"/>
                      </a:lnTo>
                      <a:lnTo>
                        <a:pt x="396" y="236"/>
                      </a:lnTo>
                      <a:lnTo>
                        <a:pt x="400" y="236"/>
                      </a:lnTo>
                      <a:lnTo>
                        <a:pt x="404" y="236"/>
                      </a:lnTo>
                      <a:lnTo>
                        <a:pt x="408" y="236"/>
                      </a:lnTo>
                      <a:lnTo>
                        <a:pt x="410" y="236"/>
                      </a:lnTo>
                      <a:lnTo>
                        <a:pt x="414" y="236"/>
                      </a:lnTo>
                      <a:lnTo>
                        <a:pt x="418" y="236"/>
                      </a:lnTo>
                      <a:lnTo>
                        <a:pt x="422" y="232"/>
                      </a:lnTo>
                      <a:lnTo>
                        <a:pt x="424" y="228"/>
                      </a:lnTo>
                      <a:lnTo>
                        <a:pt x="422" y="228"/>
                      </a:lnTo>
                      <a:lnTo>
                        <a:pt x="418" y="228"/>
                      </a:lnTo>
                      <a:lnTo>
                        <a:pt x="418" y="232"/>
                      </a:lnTo>
                      <a:lnTo>
                        <a:pt x="414" y="232"/>
                      </a:lnTo>
                      <a:lnTo>
                        <a:pt x="414" y="228"/>
                      </a:lnTo>
                      <a:lnTo>
                        <a:pt x="410" y="232"/>
                      </a:lnTo>
                      <a:lnTo>
                        <a:pt x="408" y="232"/>
                      </a:lnTo>
                      <a:lnTo>
                        <a:pt x="404" y="232"/>
                      </a:lnTo>
                      <a:lnTo>
                        <a:pt x="408" y="228"/>
                      </a:lnTo>
                      <a:lnTo>
                        <a:pt x="404" y="228"/>
                      </a:lnTo>
                      <a:lnTo>
                        <a:pt x="400" y="228"/>
                      </a:lnTo>
                      <a:lnTo>
                        <a:pt x="400" y="232"/>
                      </a:lnTo>
                      <a:lnTo>
                        <a:pt x="396" y="232"/>
                      </a:lnTo>
                      <a:lnTo>
                        <a:pt x="392" y="232"/>
                      </a:lnTo>
                      <a:lnTo>
                        <a:pt x="388" y="232"/>
                      </a:lnTo>
                      <a:lnTo>
                        <a:pt x="384" y="232"/>
                      </a:lnTo>
                      <a:lnTo>
                        <a:pt x="380" y="232"/>
                      </a:lnTo>
                      <a:lnTo>
                        <a:pt x="384" y="228"/>
                      </a:lnTo>
                      <a:lnTo>
                        <a:pt x="384" y="224"/>
                      </a:lnTo>
                      <a:lnTo>
                        <a:pt x="388" y="224"/>
                      </a:lnTo>
                      <a:lnTo>
                        <a:pt x="392" y="224"/>
                      </a:lnTo>
                      <a:lnTo>
                        <a:pt x="388" y="224"/>
                      </a:lnTo>
                      <a:lnTo>
                        <a:pt x="384" y="224"/>
                      </a:lnTo>
                      <a:lnTo>
                        <a:pt x="380" y="224"/>
                      </a:lnTo>
                      <a:lnTo>
                        <a:pt x="380" y="220"/>
                      </a:lnTo>
                      <a:lnTo>
                        <a:pt x="380" y="224"/>
                      </a:lnTo>
                      <a:lnTo>
                        <a:pt x="380" y="228"/>
                      </a:lnTo>
                      <a:lnTo>
                        <a:pt x="378" y="228"/>
                      </a:lnTo>
                      <a:lnTo>
                        <a:pt x="374" y="224"/>
                      </a:lnTo>
                      <a:lnTo>
                        <a:pt x="374" y="228"/>
                      </a:lnTo>
                      <a:lnTo>
                        <a:pt x="378" y="228"/>
                      </a:lnTo>
                      <a:lnTo>
                        <a:pt x="378" y="232"/>
                      </a:lnTo>
                      <a:lnTo>
                        <a:pt x="374" y="232"/>
                      </a:lnTo>
                      <a:lnTo>
                        <a:pt x="374" y="236"/>
                      </a:lnTo>
                      <a:lnTo>
                        <a:pt x="370" y="236"/>
                      </a:lnTo>
                      <a:lnTo>
                        <a:pt x="370" y="236"/>
                      </a:lnTo>
                      <a:lnTo>
                        <a:pt x="370" y="236"/>
                      </a:lnTo>
                      <a:close/>
                      <a:moveTo>
                        <a:pt x="724" y="194"/>
                      </a:moveTo>
                      <a:lnTo>
                        <a:pt x="720" y="194"/>
                      </a:lnTo>
                      <a:lnTo>
                        <a:pt x="720" y="190"/>
                      </a:lnTo>
                      <a:lnTo>
                        <a:pt x="716" y="190"/>
                      </a:lnTo>
                      <a:lnTo>
                        <a:pt x="716" y="186"/>
                      </a:lnTo>
                      <a:lnTo>
                        <a:pt x="712" y="186"/>
                      </a:lnTo>
                      <a:lnTo>
                        <a:pt x="716" y="186"/>
                      </a:lnTo>
                      <a:lnTo>
                        <a:pt x="716" y="182"/>
                      </a:lnTo>
                      <a:lnTo>
                        <a:pt x="720" y="182"/>
                      </a:lnTo>
                      <a:lnTo>
                        <a:pt x="724" y="182"/>
                      </a:lnTo>
                      <a:lnTo>
                        <a:pt x="724" y="186"/>
                      </a:lnTo>
                      <a:lnTo>
                        <a:pt x="728" y="186"/>
                      </a:lnTo>
                      <a:lnTo>
                        <a:pt x="724" y="186"/>
                      </a:lnTo>
                      <a:lnTo>
                        <a:pt x="724" y="190"/>
                      </a:lnTo>
                      <a:lnTo>
                        <a:pt x="724" y="194"/>
                      </a:lnTo>
                      <a:lnTo>
                        <a:pt x="728" y="194"/>
                      </a:lnTo>
                      <a:lnTo>
                        <a:pt x="724" y="194"/>
                      </a:lnTo>
                      <a:lnTo>
                        <a:pt x="724" y="194"/>
                      </a:lnTo>
                      <a:lnTo>
                        <a:pt x="724" y="194"/>
                      </a:lnTo>
                      <a:close/>
                      <a:moveTo>
                        <a:pt x="574" y="186"/>
                      </a:moveTo>
                      <a:lnTo>
                        <a:pt x="570" y="190"/>
                      </a:lnTo>
                      <a:lnTo>
                        <a:pt x="566" y="190"/>
                      </a:lnTo>
                      <a:lnTo>
                        <a:pt x="564" y="190"/>
                      </a:lnTo>
                      <a:lnTo>
                        <a:pt x="560" y="190"/>
                      </a:lnTo>
                      <a:lnTo>
                        <a:pt x="556" y="190"/>
                      </a:lnTo>
                      <a:lnTo>
                        <a:pt x="560" y="190"/>
                      </a:lnTo>
                      <a:lnTo>
                        <a:pt x="564" y="190"/>
                      </a:lnTo>
                      <a:lnTo>
                        <a:pt x="564" y="186"/>
                      </a:lnTo>
                      <a:lnTo>
                        <a:pt x="566" y="186"/>
                      </a:lnTo>
                      <a:lnTo>
                        <a:pt x="570" y="186"/>
                      </a:lnTo>
                      <a:lnTo>
                        <a:pt x="574" y="186"/>
                      </a:lnTo>
                      <a:lnTo>
                        <a:pt x="578" y="186"/>
                      </a:lnTo>
                      <a:lnTo>
                        <a:pt x="574" y="186"/>
                      </a:lnTo>
                      <a:lnTo>
                        <a:pt x="574" y="186"/>
                      </a:lnTo>
                      <a:lnTo>
                        <a:pt x="574" y="186"/>
                      </a:lnTo>
                      <a:close/>
                      <a:moveTo>
                        <a:pt x="586" y="186"/>
                      </a:moveTo>
                      <a:lnTo>
                        <a:pt x="590" y="186"/>
                      </a:lnTo>
                      <a:lnTo>
                        <a:pt x="586" y="186"/>
                      </a:lnTo>
                      <a:lnTo>
                        <a:pt x="582" y="186"/>
                      </a:lnTo>
                      <a:lnTo>
                        <a:pt x="578" y="186"/>
                      </a:lnTo>
                      <a:lnTo>
                        <a:pt x="582" y="186"/>
                      </a:lnTo>
                      <a:lnTo>
                        <a:pt x="586" y="186"/>
                      </a:lnTo>
                      <a:lnTo>
                        <a:pt x="586" y="186"/>
                      </a:lnTo>
                      <a:lnTo>
                        <a:pt x="586" y="186"/>
                      </a:lnTo>
                      <a:close/>
                      <a:moveTo>
                        <a:pt x="586" y="236"/>
                      </a:moveTo>
                      <a:lnTo>
                        <a:pt x="582" y="236"/>
                      </a:lnTo>
                      <a:lnTo>
                        <a:pt x="578" y="236"/>
                      </a:lnTo>
                      <a:lnTo>
                        <a:pt x="574" y="236"/>
                      </a:lnTo>
                      <a:lnTo>
                        <a:pt x="574" y="232"/>
                      </a:lnTo>
                      <a:lnTo>
                        <a:pt x="574" y="228"/>
                      </a:lnTo>
                      <a:lnTo>
                        <a:pt x="570" y="228"/>
                      </a:lnTo>
                      <a:lnTo>
                        <a:pt x="574" y="228"/>
                      </a:lnTo>
                      <a:lnTo>
                        <a:pt x="578" y="228"/>
                      </a:lnTo>
                      <a:lnTo>
                        <a:pt x="582" y="228"/>
                      </a:lnTo>
                      <a:lnTo>
                        <a:pt x="578" y="228"/>
                      </a:lnTo>
                      <a:lnTo>
                        <a:pt x="574" y="228"/>
                      </a:lnTo>
                      <a:lnTo>
                        <a:pt x="578" y="224"/>
                      </a:lnTo>
                      <a:lnTo>
                        <a:pt x="574" y="224"/>
                      </a:lnTo>
                      <a:lnTo>
                        <a:pt x="574" y="228"/>
                      </a:lnTo>
                      <a:lnTo>
                        <a:pt x="570" y="224"/>
                      </a:lnTo>
                      <a:lnTo>
                        <a:pt x="574" y="224"/>
                      </a:lnTo>
                      <a:lnTo>
                        <a:pt x="570" y="224"/>
                      </a:lnTo>
                      <a:lnTo>
                        <a:pt x="574" y="220"/>
                      </a:lnTo>
                      <a:lnTo>
                        <a:pt x="578" y="220"/>
                      </a:lnTo>
                      <a:lnTo>
                        <a:pt x="574" y="220"/>
                      </a:lnTo>
                      <a:lnTo>
                        <a:pt x="578" y="220"/>
                      </a:lnTo>
                      <a:lnTo>
                        <a:pt x="582" y="220"/>
                      </a:lnTo>
                      <a:lnTo>
                        <a:pt x="578" y="220"/>
                      </a:lnTo>
                      <a:lnTo>
                        <a:pt x="582" y="216"/>
                      </a:lnTo>
                      <a:lnTo>
                        <a:pt x="586" y="216"/>
                      </a:lnTo>
                      <a:lnTo>
                        <a:pt x="582" y="216"/>
                      </a:lnTo>
                      <a:lnTo>
                        <a:pt x="590" y="216"/>
                      </a:lnTo>
                      <a:lnTo>
                        <a:pt x="592" y="216"/>
                      </a:lnTo>
                      <a:lnTo>
                        <a:pt x="596" y="216"/>
                      </a:lnTo>
                      <a:lnTo>
                        <a:pt x="592" y="216"/>
                      </a:lnTo>
                      <a:lnTo>
                        <a:pt x="590" y="216"/>
                      </a:lnTo>
                      <a:lnTo>
                        <a:pt x="586" y="216"/>
                      </a:lnTo>
                      <a:lnTo>
                        <a:pt x="582" y="216"/>
                      </a:lnTo>
                      <a:lnTo>
                        <a:pt x="578" y="216"/>
                      </a:lnTo>
                      <a:lnTo>
                        <a:pt x="574" y="216"/>
                      </a:lnTo>
                      <a:lnTo>
                        <a:pt x="570" y="216"/>
                      </a:lnTo>
                      <a:lnTo>
                        <a:pt x="566" y="216"/>
                      </a:lnTo>
                      <a:lnTo>
                        <a:pt x="564" y="216"/>
                      </a:lnTo>
                      <a:lnTo>
                        <a:pt x="560" y="216"/>
                      </a:lnTo>
                      <a:lnTo>
                        <a:pt x="556" y="220"/>
                      </a:lnTo>
                      <a:lnTo>
                        <a:pt x="552" y="220"/>
                      </a:lnTo>
                      <a:lnTo>
                        <a:pt x="548" y="220"/>
                      </a:lnTo>
                      <a:lnTo>
                        <a:pt x="544" y="220"/>
                      </a:lnTo>
                      <a:lnTo>
                        <a:pt x="540" y="220"/>
                      </a:lnTo>
                      <a:lnTo>
                        <a:pt x="540" y="216"/>
                      </a:lnTo>
                      <a:lnTo>
                        <a:pt x="544" y="212"/>
                      </a:lnTo>
                      <a:lnTo>
                        <a:pt x="548" y="212"/>
                      </a:lnTo>
                      <a:lnTo>
                        <a:pt x="548" y="216"/>
                      </a:lnTo>
                      <a:lnTo>
                        <a:pt x="552" y="216"/>
                      </a:lnTo>
                      <a:lnTo>
                        <a:pt x="552" y="212"/>
                      </a:lnTo>
                      <a:lnTo>
                        <a:pt x="548" y="212"/>
                      </a:lnTo>
                      <a:lnTo>
                        <a:pt x="548" y="208"/>
                      </a:lnTo>
                      <a:lnTo>
                        <a:pt x="552" y="208"/>
                      </a:lnTo>
                      <a:lnTo>
                        <a:pt x="556" y="208"/>
                      </a:lnTo>
                      <a:lnTo>
                        <a:pt x="560" y="212"/>
                      </a:lnTo>
                      <a:lnTo>
                        <a:pt x="564" y="212"/>
                      </a:lnTo>
                      <a:lnTo>
                        <a:pt x="560" y="212"/>
                      </a:lnTo>
                      <a:lnTo>
                        <a:pt x="560" y="208"/>
                      </a:lnTo>
                      <a:lnTo>
                        <a:pt x="564" y="206"/>
                      </a:lnTo>
                      <a:lnTo>
                        <a:pt x="560" y="206"/>
                      </a:lnTo>
                      <a:lnTo>
                        <a:pt x="556" y="208"/>
                      </a:lnTo>
                      <a:lnTo>
                        <a:pt x="556" y="206"/>
                      </a:lnTo>
                      <a:lnTo>
                        <a:pt x="552" y="206"/>
                      </a:lnTo>
                      <a:lnTo>
                        <a:pt x="556" y="202"/>
                      </a:lnTo>
                      <a:lnTo>
                        <a:pt x="560" y="202"/>
                      </a:lnTo>
                      <a:lnTo>
                        <a:pt x="556" y="202"/>
                      </a:lnTo>
                      <a:lnTo>
                        <a:pt x="552" y="202"/>
                      </a:lnTo>
                      <a:lnTo>
                        <a:pt x="548" y="202"/>
                      </a:lnTo>
                      <a:lnTo>
                        <a:pt x="552" y="202"/>
                      </a:lnTo>
                      <a:lnTo>
                        <a:pt x="552" y="198"/>
                      </a:lnTo>
                      <a:lnTo>
                        <a:pt x="552" y="194"/>
                      </a:lnTo>
                      <a:lnTo>
                        <a:pt x="556" y="194"/>
                      </a:lnTo>
                      <a:lnTo>
                        <a:pt x="560" y="194"/>
                      </a:lnTo>
                      <a:lnTo>
                        <a:pt x="564" y="194"/>
                      </a:lnTo>
                      <a:lnTo>
                        <a:pt x="564" y="198"/>
                      </a:lnTo>
                      <a:lnTo>
                        <a:pt x="566" y="202"/>
                      </a:lnTo>
                      <a:lnTo>
                        <a:pt x="570" y="202"/>
                      </a:lnTo>
                      <a:lnTo>
                        <a:pt x="574" y="206"/>
                      </a:lnTo>
                      <a:lnTo>
                        <a:pt x="578" y="208"/>
                      </a:lnTo>
                      <a:lnTo>
                        <a:pt x="582" y="208"/>
                      </a:lnTo>
                      <a:lnTo>
                        <a:pt x="586" y="208"/>
                      </a:lnTo>
                      <a:lnTo>
                        <a:pt x="590" y="208"/>
                      </a:lnTo>
                      <a:lnTo>
                        <a:pt x="586" y="208"/>
                      </a:lnTo>
                      <a:lnTo>
                        <a:pt x="582" y="208"/>
                      </a:lnTo>
                      <a:lnTo>
                        <a:pt x="578" y="206"/>
                      </a:lnTo>
                      <a:lnTo>
                        <a:pt x="578" y="202"/>
                      </a:lnTo>
                      <a:lnTo>
                        <a:pt x="582" y="202"/>
                      </a:lnTo>
                      <a:lnTo>
                        <a:pt x="586" y="206"/>
                      </a:lnTo>
                      <a:lnTo>
                        <a:pt x="586" y="202"/>
                      </a:lnTo>
                      <a:lnTo>
                        <a:pt x="590" y="202"/>
                      </a:lnTo>
                      <a:lnTo>
                        <a:pt x="586" y="202"/>
                      </a:lnTo>
                      <a:lnTo>
                        <a:pt x="582" y="202"/>
                      </a:lnTo>
                      <a:lnTo>
                        <a:pt x="578" y="202"/>
                      </a:lnTo>
                      <a:lnTo>
                        <a:pt x="574" y="202"/>
                      </a:lnTo>
                      <a:lnTo>
                        <a:pt x="574" y="198"/>
                      </a:lnTo>
                      <a:lnTo>
                        <a:pt x="578" y="198"/>
                      </a:lnTo>
                      <a:lnTo>
                        <a:pt x="582" y="198"/>
                      </a:lnTo>
                      <a:lnTo>
                        <a:pt x="578" y="198"/>
                      </a:lnTo>
                      <a:lnTo>
                        <a:pt x="574" y="198"/>
                      </a:lnTo>
                      <a:lnTo>
                        <a:pt x="570" y="198"/>
                      </a:lnTo>
                      <a:lnTo>
                        <a:pt x="566" y="194"/>
                      </a:lnTo>
                      <a:lnTo>
                        <a:pt x="570" y="190"/>
                      </a:lnTo>
                      <a:lnTo>
                        <a:pt x="574" y="190"/>
                      </a:lnTo>
                      <a:lnTo>
                        <a:pt x="578" y="190"/>
                      </a:lnTo>
                      <a:lnTo>
                        <a:pt x="582" y="190"/>
                      </a:lnTo>
                      <a:lnTo>
                        <a:pt x="586" y="190"/>
                      </a:lnTo>
                      <a:lnTo>
                        <a:pt x="590" y="190"/>
                      </a:lnTo>
                      <a:lnTo>
                        <a:pt x="590" y="194"/>
                      </a:lnTo>
                      <a:lnTo>
                        <a:pt x="592" y="194"/>
                      </a:lnTo>
                      <a:lnTo>
                        <a:pt x="596" y="194"/>
                      </a:lnTo>
                      <a:lnTo>
                        <a:pt x="592" y="194"/>
                      </a:lnTo>
                      <a:lnTo>
                        <a:pt x="592" y="190"/>
                      </a:lnTo>
                      <a:lnTo>
                        <a:pt x="596" y="190"/>
                      </a:lnTo>
                      <a:lnTo>
                        <a:pt x="600" y="190"/>
                      </a:lnTo>
                      <a:lnTo>
                        <a:pt x="596" y="190"/>
                      </a:lnTo>
                      <a:lnTo>
                        <a:pt x="596" y="186"/>
                      </a:lnTo>
                      <a:lnTo>
                        <a:pt x="600" y="186"/>
                      </a:lnTo>
                      <a:lnTo>
                        <a:pt x="604" y="186"/>
                      </a:lnTo>
                      <a:lnTo>
                        <a:pt x="604" y="190"/>
                      </a:lnTo>
                      <a:lnTo>
                        <a:pt x="608" y="190"/>
                      </a:lnTo>
                      <a:lnTo>
                        <a:pt x="608" y="194"/>
                      </a:lnTo>
                      <a:lnTo>
                        <a:pt x="612" y="194"/>
                      </a:lnTo>
                      <a:lnTo>
                        <a:pt x="612" y="198"/>
                      </a:lnTo>
                      <a:lnTo>
                        <a:pt x="612" y="202"/>
                      </a:lnTo>
                      <a:lnTo>
                        <a:pt x="616" y="202"/>
                      </a:lnTo>
                      <a:lnTo>
                        <a:pt x="616" y="206"/>
                      </a:lnTo>
                      <a:lnTo>
                        <a:pt x="612" y="208"/>
                      </a:lnTo>
                      <a:lnTo>
                        <a:pt x="616" y="208"/>
                      </a:lnTo>
                      <a:lnTo>
                        <a:pt x="616" y="212"/>
                      </a:lnTo>
                      <a:lnTo>
                        <a:pt x="612" y="212"/>
                      </a:lnTo>
                      <a:lnTo>
                        <a:pt x="608" y="212"/>
                      </a:lnTo>
                      <a:lnTo>
                        <a:pt x="612" y="212"/>
                      </a:lnTo>
                      <a:lnTo>
                        <a:pt x="616" y="216"/>
                      </a:lnTo>
                      <a:lnTo>
                        <a:pt x="616" y="220"/>
                      </a:lnTo>
                      <a:lnTo>
                        <a:pt x="616" y="224"/>
                      </a:lnTo>
                      <a:lnTo>
                        <a:pt x="620" y="224"/>
                      </a:lnTo>
                      <a:lnTo>
                        <a:pt x="616" y="224"/>
                      </a:lnTo>
                      <a:lnTo>
                        <a:pt x="616" y="220"/>
                      </a:lnTo>
                      <a:lnTo>
                        <a:pt x="612" y="220"/>
                      </a:lnTo>
                      <a:lnTo>
                        <a:pt x="608" y="220"/>
                      </a:lnTo>
                      <a:lnTo>
                        <a:pt x="612" y="224"/>
                      </a:lnTo>
                      <a:lnTo>
                        <a:pt x="608" y="224"/>
                      </a:lnTo>
                      <a:lnTo>
                        <a:pt x="612" y="224"/>
                      </a:lnTo>
                      <a:lnTo>
                        <a:pt x="608" y="224"/>
                      </a:lnTo>
                      <a:lnTo>
                        <a:pt x="604" y="224"/>
                      </a:lnTo>
                      <a:lnTo>
                        <a:pt x="608" y="228"/>
                      </a:lnTo>
                      <a:lnTo>
                        <a:pt x="612" y="228"/>
                      </a:lnTo>
                      <a:lnTo>
                        <a:pt x="612" y="232"/>
                      </a:lnTo>
                      <a:lnTo>
                        <a:pt x="616" y="232"/>
                      </a:lnTo>
                      <a:lnTo>
                        <a:pt x="612" y="232"/>
                      </a:lnTo>
                      <a:lnTo>
                        <a:pt x="608" y="228"/>
                      </a:lnTo>
                      <a:lnTo>
                        <a:pt x="608" y="232"/>
                      </a:lnTo>
                      <a:lnTo>
                        <a:pt x="608" y="236"/>
                      </a:lnTo>
                      <a:lnTo>
                        <a:pt x="604" y="236"/>
                      </a:lnTo>
                      <a:lnTo>
                        <a:pt x="600" y="236"/>
                      </a:lnTo>
                      <a:lnTo>
                        <a:pt x="596" y="236"/>
                      </a:lnTo>
                      <a:lnTo>
                        <a:pt x="592" y="236"/>
                      </a:lnTo>
                      <a:lnTo>
                        <a:pt x="590" y="236"/>
                      </a:lnTo>
                      <a:lnTo>
                        <a:pt x="590" y="232"/>
                      </a:lnTo>
                      <a:lnTo>
                        <a:pt x="586" y="232"/>
                      </a:lnTo>
                      <a:lnTo>
                        <a:pt x="586" y="236"/>
                      </a:lnTo>
                      <a:lnTo>
                        <a:pt x="590" y="236"/>
                      </a:lnTo>
                      <a:lnTo>
                        <a:pt x="586" y="236"/>
                      </a:lnTo>
                      <a:lnTo>
                        <a:pt x="586" y="236"/>
                      </a:lnTo>
                      <a:lnTo>
                        <a:pt x="586" y="236"/>
                      </a:lnTo>
                      <a:close/>
                      <a:moveTo>
                        <a:pt x="522" y="186"/>
                      </a:moveTo>
                      <a:lnTo>
                        <a:pt x="522" y="190"/>
                      </a:lnTo>
                      <a:lnTo>
                        <a:pt x="526" y="190"/>
                      </a:lnTo>
                      <a:lnTo>
                        <a:pt x="522" y="190"/>
                      </a:lnTo>
                      <a:lnTo>
                        <a:pt x="526" y="190"/>
                      </a:lnTo>
                      <a:lnTo>
                        <a:pt x="530" y="190"/>
                      </a:lnTo>
                      <a:lnTo>
                        <a:pt x="530" y="194"/>
                      </a:lnTo>
                      <a:lnTo>
                        <a:pt x="534" y="194"/>
                      </a:lnTo>
                      <a:lnTo>
                        <a:pt x="536" y="194"/>
                      </a:lnTo>
                      <a:lnTo>
                        <a:pt x="536" y="198"/>
                      </a:lnTo>
                      <a:lnTo>
                        <a:pt x="534" y="198"/>
                      </a:lnTo>
                      <a:lnTo>
                        <a:pt x="530" y="198"/>
                      </a:lnTo>
                      <a:lnTo>
                        <a:pt x="526" y="198"/>
                      </a:lnTo>
                      <a:lnTo>
                        <a:pt x="522" y="198"/>
                      </a:lnTo>
                      <a:lnTo>
                        <a:pt x="518" y="198"/>
                      </a:lnTo>
                      <a:lnTo>
                        <a:pt x="518" y="194"/>
                      </a:lnTo>
                      <a:lnTo>
                        <a:pt x="514" y="194"/>
                      </a:lnTo>
                      <a:lnTo>
                        <a:pt x="514" y="190"/>
                      </a:lnTo>
                      <a:lnTo>
                        <a:pt x="518" y="190"/>
                      </a:lnTo>
                      <a:lnTo>
                        <a:pt x="518" y="186"/>
                      </a:lnTo>
                      <a:lnTo>
                        <a:pt x="522" y="186"/>
                      </a:lnTo>
                      <a:lnTo>
                        <a:pt x="522" y="186"/>
                      </a:lnTo>
                      <a:lnTo>
                        <a:pt x="522" y="186"/>
                      </a:lnTo>
                      <a:close/>
                      <a:moveTo>
                        <a:pt x="652" y="202"/>
                      </a:moveTo>
                      <a:lnTo>
                        <a:pt x="652" y="206"/>
                      </a:lnTo>
                      <a:lnTo>
                        <a:pt x="650" y="206"/>
                      </a:lnTo>
                      <a:lnTo>
                        <a:pt x="652" y="206"/>
                      </a:lnTo>
                      <a:lnTo>
                        <a:pt x="652" y="202"/>
                      </a:lnTo>
                      <a:lnTo>
                        <a:pt x="652" y="202"/>
                      </a:lnTo>
                      <a:lnTo>
                        <a:pt x="652" y="202"/>
                      </a:lnTo>
                      <a:close/>
                      <a:moveTo>
                        <a:pt x="332" y="206"/>
                      </a:moveTo>
                      <a:lnTo>
                        <a:pt x="332" y="208"/>
                      </a:lnTo>
                      <a:lnTo>
                        <a:pt x="328" y="208"/>
                      </a:lnTo>
                      <a:lnTo>
                        <a:pt x="324" y="212"/>
                      </a:lnTo>
                      <a:lnTo>
                        <a:pt x="324" y="216"/>
                      </a:lnTo>
                      <a:lnTo>
                        <a:pt x="322" y="216"/>
                      </a:lnTo>
                      <a:lnTo>
                        <a:pt x="322" y="220"/>
                      </a:lnTo>
                      <a:lnTo>
                        <a:pt x="318" y="220"/>
                      </a:lnTo>
                      <a:lnTo>
                        <a:pt x="314" y="220"/>
                      </a:lnTo>
                      <a:lnTo>
                        <a:pt x="310" y="220"/>
                      </a:lnTo>
                      <a:lnTo>
                        <a:pt x="306" y="216"/>
                      </a:lnTo>
                      <a:lnTo>
                        <a:pt x="310" y="216"/>
                      </a:lnTo>
                      <a:lnTo>
                        <a:pt x="310" y="212"/>
                      </a:lnTo>
                      <a:lnTo>
                        <a:pt x="314" y="212"/>
                      </a:lnTo>
                      <a:lnTo>
                        <a:pt x="314" y="208"/>
                      </a:lnTo>
                      <a:lnTo>
                        <a:pt x="318" y="208"/>
                      </a:lnTo>
                      <a:lnTo>
                        <a:pt x="322" y="208"/>
                      </a:lnTo>
                      <a:lnTo>
                        <a:pt x="324" y="208"/>
                      </a:lnTo>
                      <a:lnTo>
                        <a:pt x="324" y="206"/>
                      </a:lnTo>
                      <a:lnTo>
                        <a:pt x="328" y="206"/>
                      </a:lnTo>
                      <a:lnTo>
                        <a:pt x="332" y="206"/>
                      </a:lnTo>
                      <a:lnTo>
                        <a:pt x="332" y="206"/>
                      </a:lnTo>
                      <a:lnTo>
                        <a:pt x="332" y="206"/>
                      </a:lnTo>
                      <a:close/>
                      <a:moveTo>
                        <a:pt x="548" y="206"/>
                      </a:moveTo>
                      <a:lnTo>
                        <a:pt x="544" y="206"/>
                      </a:lnTo>
                      <a:lnTo>
                        <a:pt x="540" y="208"/>
                      </a:lnTo>
                      <a:lnTo>
                        <a:pt x="536" y="208"/>
                      </a:lnTo>
                      <a:lnTo>
                        <a:pt x="534" y="208"/>
                      </a:lnTo>
                      <a:lnTo>
                        <a:pt x="530" y="208"/>
                      </a:lnTo>
                      <a:lnTo>
                        <a:pt x="526" y="208"/>
                      </a:lnTo>
                      <a:lnTo>
                        <a:pt x="522" y="208"/>
                      </a:lnTo>
                      <a:lnTo>
                        <a:pt x="526" y="208"/>
                      </a:lnTo>
                      <a:lnTo>
                        <a:pt x="530" y="208"/>
                      </a:lnTo>
                      <a:lnTo>
                        <a:pt x="530" y="206"/>
                      </a:lnTo>
                      <a:lnTo>
                        <a:pt x="534" y="206"/>
                      </a:lnTo>
                      <a:lnTo>
                        <a:pt x="536" y="206"/>
                      </a:lnTo>
                      <a:lnTo>
                        <a:pt x="540" y="206"/>
                      </a:lnTo>
                      <a:lnTo>
                        <a:pt x="544" y="206"/>
                      </a:lnTo>
                      <a:lnTo>
                        <a:pt x="548" y="206"/>
                      </a:lnTo>
                      <a:lnTo>
                        <a:pt x="548" y="206"/>
                      </a:lnTo>
                      <a:lnTo>
                        <a:pt x="548" y="206"/>
                      </a:lnTo>
                      <a:close/>
                      <a:moveTo>
                        <a:pt x="552" y="208"/>
                      </a:moveTo>
                      <a:lnTo>
                        <a:pt x="548" y="208"/>
                      </a:lnTo>
                      <a:lnTo>
                        <a:pt x="544" y="208"/>
                      </a:lnTo>
                      <a:lnTo>
                        <a:pt x="544" y="212"/>
                      </a:lnTo>
                      <a:lnTo>
                        <a:pt x="540" y="212"/>
                      </a:lnTo>
                      <a:lnTo>
                        <a:pt x="536" y="212"/>
                      </a:lnTo>
                      <a:lnTo>
                        <a:pt x="534" y="212"/>
                      </a:lnTo>
                      <a:lnTo>
                        <a:pt x="536" y="208"/>
                      </a:lnTo>
                      <a:lnTo>
                        <a:pt x="540" y="208"/>
                      </a:lnTo>
                      <a:lnTo>
                        <a:pt x="544" y="208"/>
                      </a:lnTo>
                      <a:lnTo>
                        <a:pt x="548" y="208"/>
                      </a:lnTo>
                      <a:lnTo>
                        <a:pt x="548" y="206"/>
                      </a:lnTo>
                      <a:lnTo>
                        <a:pt x="552" y="208"/>
                      </a:lnTo>
                      <a:lnTo>
                        <a:pt x="552" y="208"/>
                      </a:lnTo>
                      <a:lnTo>
                        <a:pt x="552" y="208"/>
                      </a:lnTo>
                      <a:close/>
                      <a:moveTo>
                        <a:pt x="656" y="208"/>
                      </a:moveTo>
                      <a:lnTo>
                        <a:pt x="660" y="208"/>
                      </a:lnTo>
                      <a:lnTo>
                        <a:pt x="660" y="212"/>
                      </a:lnTo>
                      <a:lnTo>
                        <a:pt x="656" y="212"/>
                      </a:lnTo>
                      <a:lnTo>
                        <a:pt x="652" y="212"/>
                      </a:lnTo>
                      <a:lnTo>
                        <a:pt x="652" y="208"/>
                      </a:lnTo>
                      <a:lnTo>
                        <a:pt x="656" y="208"/>
                      </a:lnTo>
                      <a:lnTo>
                        <a:pt x="656" y="206"/>
                      </a:lnTo>
                      <a:lnTo>
                        <a:pt x="656" y="208"/>
                      </a:lnTo>
                      <a:lnTo>
                        <a:pt x="656" y="208"/>
                      </a:lnTo>
                      <a:lnTo>
                        <a:pt x="656" y="208"/>
                      </a:lnTo>
                      <a:close/>
                      <a:moveTo>
                        <a:pt x="630" y="212"/>
                      </a:moveTo>
                      <a:lnTo>
                        <a:pt x="626" y="212"/>
                      </a:lnTo>
                      <a:lnTo>
                        <a:pt x="630" y="212"/>
                      </a:lnTo>
                      <a:lnTo>
                        <a:pt x="630" y="212"/>
                      </a:lnTo>
                      <a:lnTo>
                        <a:pt x="630" y="212"/>
                      </a:lnTo>
                      <a:close/>
                      <a:moveTo>
                        <a:pt x="638" y="216"/>
                      </a:moveTo>
                      <a:lnTo>
                        <a:pt x="638" y="220"/>
                      </a:lnTo>
                      <a:lnTo>
                        <a:pt x="634" y="220"/>
                      </a:lnTo>
                      <a:lnTo>
                        <a:pt x="630" y="220"/>
                      </a:lnTo>
                      <a:lnTo>
                        <a:pt x="626" y="224"/>
                      </a:lnTo>
                      <a:lnTo>
                        <a:pt x="622" y="224"/>
                      </a:lnTo>
                      <a:lnTo>
                        <a:pt x="622" y="220"/>
                      </a:lnTo>
                      <a:lnTo>
                        <a:pt x="626" y="220"/>
                      </a:lnTo>
                      <a:lnTo>
                        <a:pt x="630" y="216"/>
                      </a:lnTo>
                      <a:lnTo>
                        <a:pt x="634" y="216"/>
                      </a:lnTo>
                      <a:lnTo>
                        <a:pt x="638" y="216"/>
                      </a:lnTo>
                      <a:lnTo>
                        <a:pt x="638" y="216"/>
                      </a:lnTo>
                      <a:lnTo>
                        <a:pt x="638" y="216"/>
                      </a:lnTo>
                      <a:close/>
                      <a:moveTo>
                        <a:pt x="638" y="238"/>
                      </a:moveTo>
                      <a:lnTo>
                        <a:pt x="634" y="236"/>
                      </a:lnTo>
                      <a:lnTo>
                        <a:pt x="630" y="236"/>
                      </a:lnTo>
                      <a:lnTo>
                        <a:pt x="626" y="236"/>
                      </a:lnTo>
                      <a:lnTo>
                        <a:pt x="626" y="232"/>
                      </a:lnTo>
                      <a:lnTo>
                        <a:pt x="630" y="232"/>
                      </a:lnTo>
                      <a:lnTo>
                        <a:pt x="630" y="228"/>
                      </a:lnTo>
                      <a:lnTo>
                        <a:pt x="634" y="228"/>
                      </a:lnTo>
                      <a:lnTo>
                        <a:pt x="638" y="228"/>
                      </a:lnTo>
                      <a:lnTo>
                        <a:pt x="634" y="224"/>
                      </a:lnTo>
                      <a:lnTo>
                        <a:pt x="638" y="224"/>
                      </a:lnTo>
                      <a:lnTo>
                        <a:pt x="634" y="224"/>
                      </a:lnTo>
                      <a:lnTo>
                        <a:pt x="638" y="224"/>
                      </a:lnTo>
                      <a:lnTo>
                        <a:pt x="642" y="224"/>
                      </a:lnTo>
                      <a:lnTo>
                        <a:pt x="638" y="224"/>
                      </a:lnTo>
                      <a:lnTo>
                        <a:pt x="638" y="220"/>
                      </a:lnTo>
                      <a:lnTo>
                        <a:pt x="642" y="220"/>
                      </a:lnTo>
                      <a:lnTo>
                        <a:pt x="646" y="220"/>
                      </a:lnTo>
                      <a:lnTo>
                        <a:pt x="646" y="216"/>
                      </a:lnTo>
                      <a:lnTo>
                        <a:pt x="650" y="216"/>
                      </a:lnTo>
                      <a:lnTo>
                        <a:pt x="652" y="216"/>
                      </a:lnTo>
                      <a:lnTo>
                        <a:pt x="656" y="216"/>
                      </a:lnTo>
                      <a:lnTo>
                        <a:pt x="660" y="216"/>
                      </a:lnTo>
                      <a:lnTo>
                        <a:pt x="660" y="220"/>
                      </a:lnTo>
                      <a:lnTo>
                        <a:pt x="664" y="220"/>
                      </a:lnTo>
                      <a:lnTo>
                        <a:pt x="664" y="224"/>
                      </a:lnTo>
                      <a:lnTo>
                        <a:pt x="668" y="224"/>
                      </a:lnTo>
                      <a:lnTo>
                        <a:pt x="672" y="228"/>
                      </a:lnTo>
                      <a:lnTo>
                        <a:pt x="672" y="232"/>
                      </a:lnTo>
                      <a:lnTo>
                        <a:pt x="672" y="236"/>
                      </a:lnTo>
                      <a:lnTo>
                        <a:pt x="676" y="238"/>
                      </a:lnTo>
                      <a:lnTo>
                        <a:pt x="672" y="242"/>
                      </a:lnTo>
                      <a:lnTo>
                        <a:pt x="668" y="242"/>
                      </a:lnTo>
                      <a:lnTo>
                        <a:pt x="664" y="242"/>
                      </a:lnTo>
                      <a:lnTo>
                        <a:pt x="660" y="242"/>
                      </a:lnTo>
                      <a:lnTo>
                        <a:pt x="656" y="242"/>
                      </a:lnTo>
                      <a:lnTo>
                        <a:pt x="650" y="242"/>
                      </a:lnTo>
                      <a:lnTo>
                        <a:pt x="646" y="238"/>
                      </a:lnTo>
                      <a:lnTo>
                        <a:pt x="642" y="238"/>
                      </a:lnTo>
                      <a:lnTo>
                        <a:pt x="638" y="238"/>
                      </a:lnTo>
                      <a:lnTo>
                        <a:pt x="638" y="238"/>
                      </a:lnTo>
                      <a:lnTo>
                        <a:pt x="638" y="238"/>
                      </a:lnTo>
                      <a:close/>
                      <a:moveTo>
                        <a:pt x="522" y="224"/>
                      </a:moveTo>
                      <a:lnTo>
                        <a:pt x="526" y="224"/>
                      </a:lnTo>
                      <a:lnTo>
                        <a:pt x="526" y="228"/>
                      </a:lnTo>
                      <a:lnTo>
                        <a:pt x="530" y="232"/>
                      </a:lnTo>
                      <a:lnTo>
                        <a:pt x="526" y="232"/>
                      </a:lnTo>
                      <a:lnTo>
                        <a:pt x="518" y="236"/>
                      </a:lnTo>
                      <a:lnTo>
                        <a:pt x="514" y="232"/>
                      </a:lnTo>
                      <a:lnTo>
                        <a:pt x="510" y="232"/>
                      </a:lnTo>
                      <a:lnTo>
                        <a:pt x="510" y="228"/>
                      </a:lnTo>
                      <a:lnTo>
                        <a:pt x="514" y="228"/>
                      </a:lnTo>
                      <a:lnTo>
                        <a:pt x="510" y="228"/>
                      </a:lnTo>
                      <a:lnTo>
                        <a:pt x="514" y="224"/>
                      </a:lnTo>
                      <a:lnTo>
                        <a:pt x="518" y="224"/>
                      </a:lnTo>
                      <a:lnTo>
                        <a:pt x="522" y="224"/>
                      </a:lnTo>
                      <a:lnTo>
                        <a:pt x="522" y="224"/>
                      </a:lnTo>
                      <a:lnTo>
                        <a:pt x="522" y="224"/>
                      </a:lnTo>
                      <a:close/>
                      <a:moveTo>
                        <a:pt x="642" y="242"/>
                      </a:moveTo>
                      <a:lnTo>
                        <a:pt x="646" y="242"/>
                      </a:lnTo>
                      <a:lnTo>
                        <a:pt x="646" y="246"/>
                      </a:lnTo>
                      <a:lnTo>
                        <a:pt x="650" y="246"/>
                      </a:lnTo>
                      <a:lnTo>
                        <a:pt x="646" y="246"/>
                      </a:lnTo>
                      <a:lnTo>
                        <a:pt x="642" y="246"/>
                      </a:lnTo>
                      <a:lnTo>
                        <a:pt x="638" y="246"/>
                      </a:lnTo>
                      <a:lnTo>
                        <a:pt x="642" y="242"/>
                      </a:lnTo>
                      <a:lnTo>
                        <a:pt x="642" y="242"/>
                      </a:lnTo>
                      <a:lnTo>
                        <a:pt x="642" y="242"/>
                      </a:lnTo>
                      <a:close/>
                      <a:moveTo>
                        <a:pt x="620" y="242"/>
                      </a:moveTo>
                      <a:lnTo>
                        <a:pt x="620" y="246"/>
                      </a:lnTo>
                      <a:lnTo>
                        <a:pt x="616" y="246"/>
                      </a:lnTo>
                      <a:lnTo>
                        <a:pt x="616" y="250"/>
                      </a:lnTo>
                      <a:lnTo>
                        <a:pt x="612" y="250"/>
                      </a:lnTo>
                      <a:lnTo>
                        <a:pt x="612" y="246"/>
                      </a:lnTo>
                      <a:lnTo>
                        <a:pt x="616" y="246"/>
                      </a:lnTo>
                      <a:lnTo>
                        <a:pt x="616" y="242"/>
                      </a:lnTo>
                      <a:lnTo>
                        <a:pt x="620" y="242"/>
                      </a:lnTo>
                      <a:lnTo>
                        <a:pt x="620" y="242"/>
                      </a:lnTo>
                      <a:lnTo>
                        <a:pt x="620" y="242"/>
                      </a:lnTo>
                      <a:close/>
                      <a:moveTo>
                        <a:pt x="250" y="332"/>
                      </a:moveTo>
                      <a:lnTo>
                        <a:pt x="246" y="332"/>
                      </a:lnTo>
                      <a:lnTo>
                        <a:pt x="246" y="328"/>
                      </a:lnTo>
                      <a:lnTo>
                        <a:pt x="242" y="324"/>
                      </a:lnTo>
                      <a:lnTo>
                        <a:pt x="242" y="322"/>
                      </a:lnTo>
                      <a:lnTo>
                        <a:pt x="238" y="322"/>
                      </a:lnTo>
                      <a:lnTo>
                        <a:pt x="236" y="322"/>
                      </a:lnTo>
                      <a:lnTo>
                        <a:pt x="232" y="322"/>
                      </a:lnTo>
                      <a:lnTo>
                        <a:pt x="232" y="318"/>
                      </a:lnTo>
                      <a:lnTo>
                        <a:pt x="228" y="318"/>
                      </a:lnTo>
                      <a:lnTo>
                        <a:pt x="224" y="318"/>
                      </a:lnTo>
                      <a:lnTo>
                        <a:pt x="224" y="314"/>
                      </a:lnTo>
                      <a:lnTo>
                        <a:pt x="228" y="318"/>
                      </a:lnTo>
                      <a:lnTo>
                        <a:pt x="228" y="314"/>
                      </a:lnTo>
                      <a:lnTo>
                        <a:pt x="224" y="314"/>
                      </a:lnTo>
                      <a:lnTo>
                        <a:pt x="220" y="314"/>
                      </a:lnTo>
                      <a:lnTo>
                        <a:pt x="216" y="314"/>
                      </a:lnTo>
                      <a:lnTo>
                        <a:pt x="212" y="314"/>
                      </a:lnTo>
                      <a:lnTo>
                        <a:pt x="216" y="314"/>
                      </a:lnTo>
                      <a:lnTo>
                        <a:pt x="216" y="310"/>
                      </a:lnTo>
                      <a:lnTo>
                        <a:pt x="216" y="306"/>
                      </a:lnTo>
                      <a:lnTo>
                        <a:pt x="220" y="306"/>
                      </a:lnTo>
                      <a:lnTo>
                        <a:pt x="220" y="302"/>
                      </a:lnTo>
                      <a:lnTo>
                        <a:pt x="224" y="302"/>
                      </a:lnTo>
                      <a:lnTo>
                        <a:pt x="224" y="298"/>
                      </a:lnTo>
                      <a:lnTo>
                        <a:pt x="228" y="298"/>
                      </a:lnTo>
                      <a:lnTo>
                        <a:pt x="228" y="294"/>
                      </a:lnTo>
                      <a:lnTo>
                        <a:pt x="228" y="292"/>
                      </a:lnTo>
                      <a:lnTo>
                        <a:pt x="232" y="292"/>
                      </a:lnTo>
                      <a:lnTo>
                        <a:pt x="236" y="292"/>
                      </a:lnTo>
                      <a:lnTo>
                        <a:pt x="236" y="288"/>
                      </a:lnTo>
                      <a:lnTo>
                        <a:pt x="232" y="288"/>
                      </a:lnTo>
                      <a:lnTo>
                        <a:pt x="228" y="288"/>
                      </a:lnTo>
                      <a:lnTo>
                        <a:pt x="228" y="284"/>
                      </a:lnTo>
                      <a:lnTo>
                        <a:pt x="232" y="284"/>
                      </a:lnTo>
                      <a:lnTo>
                        <a:pt x="232" y="280"/>
                      </a:lnTo>
                      <a:lnTo>
                        <a:pt x="236" y="280"/>
                      </a:lnTo>
                      <a:lnTo>
                        <a:pt x="236" y="276"/>
                      </a:lnTo>
                      <a:lnTo>
                        <a:pt x="238" y="276"/>
                      </a:lnTo>
                      <a:lnTo>
                        <a:pt x="238" y="272"/>
                      </a:lnTo>
                      <a:lnTo>
                        <a:pt x="238" y="268"/>
                      </a:lnTo>
                      <a:lnTo>
                        <a:pt x="242" y="268"/>
                      </a:lnTo>
                      <a:lnTo>
                        <a:pt x="242" y="264"/>
                      </a:lnTo>
                      <a:lnTo>
                        <a:pt x="238" y="264"/>
                      </a:lnTo>
                      <a:lnTo>
                        <a:pt x="236" y="262"/>
                      </a:lnTo>
                      <a:lnTo>
                        <a:pt x="236" y="258"/>
                      </a:lnTo>
                      <a:lnTo>
                        <a:pt x="232" y="254"/>
                      </a:lnTo>
                      <a:lnTo>
                        <a:pt x="228" y="254"/>
                      </a:lnTo>
                      <a:lnTo>
                        <a:pt x="232" y="250"/>
                      </a:lnTo>
                      <a:lnTo>
                        <a:pt x="236" y="250"/>
                      </a:lnTo>
                      <a:lnTo>
                        <a:pt x="238" y="250"/>
                      </a:lnTo>
                      <a:lnTo>
                        <a:pt x="242" y="250"/>
                      </a:lnTo>
                      <a:lnTo>
                        <a:pt x="246" y="250"/>
                      </a:lnTo>
                      <a:lnTo>
                        <a:pt x="250" y="250"/>
                      </a:lnTo>
                      <a:lnTo>
                        <a:pt x="254" y="250"/>
                      </a:lnTo>
                      <a:lnTo>
                        <a:pt x="258" y="250"/>
                      </a:lnTo>
                      <a:lnTo>
                        <a:pt x="262" y="250"/>
                      </a:lnTo>
                      <a:lnTo>
                        <a:pt x="266" y="250"/>
                      </a:lnTo>
                      <a:lnTo>
                        <a:pt x="268" y="246"/>
                      </a:lnTo>
                      <a:lnTo>
                        <a:pt x="272" y="246"/>
                      </a:lnTo>
                      <a:lnTo>
                        <a:pt x="276" y="246"/>
                      </a:lnTo>
                      <a:lnTo>
                        <a:pt x="280" y="246"/>
                      </a:lnTo>
                      <a:lnTo>
                        <a:pt x="284" y="246"/>
                      </a:lnTo>
                      <a:lnTo>
                        <a:pt x="284" y="250"/>
                      </a:lnTo>
                      <a:lnTo>
                        <a:pt x="288" y="250"/>
                      </a:lnTo>
                      <a:lnTo>
                        <a:pt x="292" y="254"/>
                      </a:lnTo>
                      <a:lnTo>
                        <a:pt x="294" y="254"/>
                      </a:lnTo>
                      <a:lnTo>
                        <a:pt x="298" y="254"/>
                      </a:lnTo>
                      <a:lnTo>
                        <a:pt x="302" y="254"/>
                      </a:lnTo>
                      <a:lnTo>
                        <a:pt x="302" y="258"/>
                      </a:lnTo>
                      <a:lnTo>
                        <a:pt x="298" y="258"/>
                      </a:lnTo>
                      <a:lnTo>
                        <a:pt x="298" y="262"/>
                      </a:lnTo>
                      <a:lnTo>
                        <a:pt x="302" y="262"/>
                      </a:lnTo>
                      <a:lnTo>
                        <a:pt x="302" y="258"/>
                      </a:lnTo>
                      <a:lnTo>
                        <a:pt x="306" y="254"/>
                      </a:lnTo>
                      <a:lnTo>
                        <a:pt x="310" y="254"/>
                      </a:lnTo>
                      <a:lnTo>
                        <a:pt x="310" y="258"/>
                      </a:lnTo>
                      <a:lnTo>
                        <a:pt x="310" y="262"/>
                      </a:lnTo>
                      <a:lnTo>
                        <a:pt x="314" y="262"/>
                      </a:lnTo>
                      <a:lnTo>
                        <a:pt x="314" y="258"/>
                      </a:lnTo>
                      <a:lnTo>
                        <a:pt x="314" y="254"/>
                      </a:lnTo>
                      <a:lnTo>
                        <a:pt x="318" y="254"/>
                      </a:lnTo>
                      <a:lnTo>
                        <a:pt x="324" y="254"/>
                      </a:lnTo>
                      <a:lnTo>
                        <a:pt x="328" y="254"/>
                      </a:lnTo>
                      <a:lnTo>
                        <a:pt x="332" y="254"/>
                      </a:lnTo>
                      <a:lnTo>
                        <a:pt x="336" y="254"/>
                      </a:lnTo>
                      <a:lnTo>
                        <a:pt x="336" y="258"/>
                      </a:lnTo>
                      <a:lnTo>
                        <a:pt x="344" y="258"/>
                      </a:lnTo>
                      <a:lnTo>
                        <a:pt x="344" y="262"/>
                      </a:lnTo>
                      <a:lnTo>
                        <a:pt x="348" y="262"/>
                      </a:lnTo>
                      <a:lnTo>
                        <a:pt x="348" y="264"/>
                      </a:lnTo>
                      <a:lnTo>
                        <a:pt x="352" y="264"/>
                      </a:lnTo>
                      <a:lnTo>
                        <a:pt x="354" y="264"/>
                      </a:lnTo>
                      <a:lnTo>
                        <a:pt x="354" y="268"/>
                      </a:lnTo>
                      <a:lnTo>
                        <a:pt x="358" y="268"/>
                      </a:lnTo>
                      <a:lnTo>
                        <a:pt x="362" y="272"/>
                      </a:lnTo>
                      <a:lnTo>
                        <a:pt x="362" y="276"/>
                      </a:lnTo>
                      <a:lnTo>
                        <a:pt x="358" y="276"/>
                      </a:lnTo>
                      <a:lnTo>
                        <a:pt x="354" y="280"/>
                      </a:lnTo>
                      <a:lnTo>
                        <a:pt x="352" y="280"/>
                      </a:lnTo>
                      <a:lnTo>
                        <a:pt x="348" y="280"/>
                      </a:lnTo>
                      <a:lnTo>
                        <a:pt x="344" y="284"/>
                      </a:lnTo>
                      <a:lnTo>
                        <a:pt x="340" y="284"/>
                      </a:lnTo>
                      <a:lnTo>
                        <a:pt x="336" y="284"/>
                      </a:lnTo>
                      <a:lnTo>
                        <a:pt x="336" y="288"/>
                      </a:lnTo>
                      <a:lnTo>
                        <a:pt x="332" y="288"/>
                      </a:lnTo>
                      <a:lnTo>
                        <a:pt x="328" y="288"/>
                      </a:lnTo>
                      <a:lnTo>
                        <a:pt x="328" y="292"/>
                      </a:lnTo>
                      <a:lnTo>
                        <a:pt x="324" y="292"/>
                      </a:lnTo>
                      <a:lnTo>
                        <a:pt x="322" y="292"/>
                      </a:lnTo>
                      <a:lnTo>
                        <a:pt x="318" y="294"/>
                      </a:lnTo>
                      <a:lnTo>
                        <a:pt x="314" y="294"/>
                      </a:lnTo>
                      <a:lnTo>
                        <a:pt x="310" y="298"/>
                      </a:lnTo>
                      <a:lnTo>
                        <a:pt x="306" y="302"/>
                      </a:lnTo>
                      <a:lnTo>
                        <a:pt x="306" y="306"/>
                      </a:lnTo>
                      <a:lnTo>
                        <a:pt x="302" y="306"/>
                      </a:lnTo>
                      <a:lnTo>
                        <a:pt x="302" y="310"/>
                      </a:lnTo>
                      <a:lnTo>
                        <a:pt x="298" y="310"/>
                      </a:lnTo>
                      <a:lnTo>
                        <a:pt x="294" y="306"/>
                      </a:lnTo>
                      <a:lnTo>
                        <a:pt x="294" y="310"/>
                      </a:lnTo>
                      <a:lnTo>
                        <a:pt x="294" y="314"/>
                      </a:lnTo>
                      <a:lnTo>
                        <a:pt x="292" y="314"/>
                      </a:lnTo>
                      <a:lnTo>
                        <a:pt x="292" y="318"/>
                      </a:lnTo>
                      <a:lnTo>
                        <a:pt x="292" y="322"/>
                      </a:lnTo>
                      <a:lnTo>
                        <a:pt x="292" y="324"/>
                      </a:lnTo>
                      <a:lnTo>
                        <a:pt x="288" y="328"/>
                      </a:lnTo>
                      <a:lnTo>
                        <a:pt x="284" y="328"/>
                      </a:lnTo>
                      <a:lnTo>
                        <a:pt x="280" y="328"/>
                      </a:lnTo>
                      <a:lnTo>
                        <a:pt x="276" y="328"/>
                      </a:lnTo>
                      <a:lnTo>
                        <a:pt x="272" y="328"/>
                      </a:lnTo>
                      <a:lnTo>
                        <a:pt x="268" y="328"/>
                      </a:lnTo>
                      <a:lnTo>
                        <a:pt x="268" y="332"/>
                      </a:lnTo>
                      <a:lnTo>
                        <a:pt x="266" y="332"/>
                      </a:lnTo>
                      <a:lnTo>
                        <a:pt x="266" y="336"/>
                      </a:lnTo>
                      <a:lnTo>
                        <a:pt x="262" y="336"/>
                      </a:lnTo>
                      <a:lnTo>
                        <a:pt x="258" y="336"/>
                      </a:lnTo>
                      <a:lnTo>
                        <a:pt x="258" y="340"/>
                      </a:lnTo>
                      <a:lnTo>
                        <a:pt x="254" y="340"/>
                      </a:lnTo>
                      <a:lnTo>
                        <a:pt x="254" y="336"/>
                      </a:lnTo>
                      <a:lnTo>
                        <a:pt x="250" y="336"/>
                      </a:lnTo>
                      <a:lnTo>
                        <a:pt x="250" y="332"/>
                      </a:lnTo>
                      <a:lnTo>
                        <a:pt x="250" y="332"/>
                      </a:lnTo>
                      <a:lnTo>
                        <a:pt x="250" y="332"/>
                      </a:lnTo>
                      <a:close/>
                      <a:moveTo>
                        <a:pt x="706" y="280"/>
                      </a:moveTo>
                      <a:lnTo>
                        <a:pt x="702" y="284"/>
                      </a:lnTo>
                      <a:lnTo>
                        <a:pt x="702" y="288"/>
                      </a:lnTo>
                      <a:lnTo>
                        <a:pt x="698" y="288"/>
                      </a:lnTo>
                      <a:lnTo>
                        <a:pt x="698" y="292"/>
                      </a:lnTo>
                      <a:lnTo>
                        <a:pt x="694" y="292"/>
                      </a:lnTo>
                      <a:lnTo>
                        <a:pt x="694" y="294"/>
                      </a:lnTo>
                      <a:lnTo>
                        <a:pt x="690" y="294"/>
                      </a:lnTo>
                      <a:lnTo>
                        <a:pt x="686" y="294"/>
                      </a:lnTo>
                      <a:lnTo>
                        <a:pt x="682" y="294"/>
                      </a:lnTo>
                      <a:lnTo>
                        <a:pt x="678" y="294"/>
                      </a:lnTo>
                      <a:lnTo>
                        <a:pt x="676" y="294"/>
                      </a:lnTo>
                      <a:lnTo>
                        <a:pt x="676" y="292"/>
                      </a:lnTo>
                      <a:lnTo>
                        <a:pt x="676" y="294"/>
                      </a:lnTo>
                      <a:lnTo>
                        <a:pt x="672" y="294"/>
                      </a:lnTo>
                      <a:lnTo>
                        <a:pt x="668" y="294"/>
                      </a:lnTo>
                      <a:lnTo>
                        <a:pt x="664" y="294"/>
                      </a:lnTo>
                      <a:lnTo>
                        <a:pt x="660" y="294"/>
                      </a:lnTo>
                      <a:lnTo>
                        <a:pt x="664" y="294"/>
                      </a:lnTo>
                      <a:lnTo>
                        <a:pt x="668" y="294"/>
                      </a:lnTo>
                      <a:lnTo>
                        <a:pt x="668" y="298"/>
                      </a:lnTo>
                      <a:lnTo>
                        <a:pt x="672" y="298"/>
                      </a:lnTo>
                      <a:lnTo>
                        <a:pt x="672" y="302"/>
                      </a:lnTo>
                      <a:lnTo>
                        <a:pt x="672" y="306"/>
                      </a:lnTo>
                      <a:lnTo>
                        <a:pt x="668" y="306"/>
                      </a:lnTo>
                      <a:lnTo>
                        <a:pt x="664" y="310"/>
                      </a:lnTo>
                      <a:lnTo>
                        <a:pt x="664" y="314"/>
                      </a:lnTo>
                      <a:lnTo>
                        <a:pt x="660" y="314"/>
                      </a:lnTo>
                      <a:lnTo>
                        <a:pt x="652" y="314"/>
                      </a:lnTo>
                      <a:lnTo>
                        <a:pt x="650" y="314"/>
                      </a:lnTo>
                      <a:lnTo>
                        <a:pt x="650" y="310"/>
                      </a:lnTo>
                      <a:lnTo>
                        <a:pt x="652" y="310"/>
                      </a:lnTo>
                      <a:lnTo>
                        <a:pt x="650" y="310"/>
                      </a:lnTo>
                      <a:lnTo>
                        <a:pt x="650" y="306"/>
                      </a:lnTo>
                      <a:lnTo>
                        <a:pt x="650" y="302"/>
                      </a:lnTo>
                      <a:lnTo>
                        <a:pt x="650" y="298"/>
                      </a:lnTo>
                      <a:lnTo>
                        <a:pt x="646" y="298"/>
                      </a:lnTo>
                      <a:lnTo>
                        <a:pt x="646" y="294"/>
                      </a:lnTo>
                      <a:lnTo>
                        <a:pt x="642" y="294"/>
                      </a:lnTo>
                      <a:lnTo>
                        <a:pt x="642" y="292"/>
                      </a:lnTo>
                      <a:lnTo>
                        <a:pt x="642" y="288"/>
                      </a:lnTo>
                      <a:lnTo>
                        <a:pt x="642" y="284"/>
                      </a:lnTo>
                      <a:lnTo>
                        <a:pt x="642" y="280"/>
                      </a:lnTo>
                      <a:lnTo>
                        <a:pt x="642" y="276"/>
                      </a:lnTo>
                      <a:lnTo>
                        <a:pt x="642" y="272"/>
                      </a:lnTo>
                      <a:lnTo>
                        <a:pt x="642" y="268"/>
                      </a:lnTo>
                      <a:lnTo>
                        <a:pt x="646" y="268"/>
                      </a:lnTo>
                      <a:lnTo>
                        <a:pt x="650" y="268"/>
                      </a:lnTo>
                      <a:lnTo>
                        <a:pt x="652" y="268"/>
                      </a:lnTo>
                      <a:lnTo>
                        <a:pt x="656" y="268"/>
                      </a:lnTo>
                      <a:lnTo>
                        <a:pt x="652" y="268"/>
                      </a:lnTo>
                      <a:lnTo>
                        <a:pt x="650" y="268"/>
                      </a:lnTo>
                      <a:lnTo>
                        <a:pt x="650" y="264"/>
                      </a:lnTo>
                      <a:lnTo>
                        <a:pt x="652" y="264"/>
                      </a:lnTo>
                      <a:lnTo>
                        <a:pt x="650" y="264"/>
                      </a:lnTo>
                      <a:lnTo>
                        <a:pt x="646" y="264"/>
                      </a:lnTo>
                      <a:lnTo>
                        <a:pt x="646" y="262"/>
                      </a:lnTo>
                      <a:lnTo>
                        <a:pt x="650" y="262"/>
                      </a:lnTo>
                      <a:lnTo>
                        <a:pt x="652" y="262"/>
                      </a:lnTo>
                      <a:lnTo>
                        <a:pt x="652" y="258"/>
                      </a:lnTo>
                      <a:lnTo>
                        <a:pt x="656" y="258"/>
                      </a:lnTo>
                      <a:lnTo>
                        <a:pt x="660" y="258"/>
                      </a:lnTo>
                      <a:lnTo>
                        <a:pt x="664" y="258"/>
                      </a:lnTo>
                      <a:lnTo>
                        <a:pt x="668" y="258"/>
                      </a:lnTo>
                      <a:lnTo>
                        <a:pt x="672" y="258"/>
                      </a:lnTo>
                      <a:lnTo>
                        <a:pt x="676" y="258"/>
                      </a:lnTo>
                      <a:lnTo>
                        <a:pt x="678" y="258"/>
                      </a:lnTo>
                      <a:lnTo>
                        <a:pt x="682" y="258"/>
                      </a:lnTo>
                      <a:lnTo>
                        <a:pt x="686" y="262"/>
                      </a:lnTo>
                      <a:lnTo>
                        <a:pt x="690" y="262"/>
                      </a:lnTo>
                      <a:lnTo>
                        <a:pt x="694" y="262"/>
                      </a:lnTo>
                      <a:lnTo>
                        <a:pt x="702" y="262"/>
                      </a:lnTo>
                      <a:lnTo>
                        <a:pt x="706" y="262"/>
                      </a:lnTo>
                      <a:lnTo>
                        <a:pt x="712" y="262"/>
                      </a:lnTo>
                      <a:lnTo>
                        <a:pt x="716" y="264"/>
                      </a:lnTo>
                      <a:lnTo>
                        <a:pt x="716" y="262"/>
                      </a:lnTo>
                      <a:lnTo>
                        <a:pt x="720" y="264"/>
                      </a:lnTo>
                      <a:lnTo>
                        <a:pt x="716" y="264"/>
                      </a:lnTo>
                      <a:lnTo>
                        <a:pt x="716" y="268"/>
                      </a:lnTo>
                      <a:lnTo>
                        <a:pt x="712" y="268"/>
                      </a:lnTo>
                      <a:lnTo>
                        <a:pt x="712" y="272"/>
                      </a:lnTo>
                      <a:lnTo>
                        <a:pt x="708" y="272"/>
                      </a:lnTo>
                      <a:lnTo>
                        <a:pt x="708" y="276"/>
                      </a:lnTo>
                      <a:lnTo>
                        <a:pt x="706" y="276"/>
                      </a:lnTo>
                      <a:lnTo>
                        <a:pt x="706" y="280"/>
                      </a:lnTo>
                      <a:lnTo>
                        <a:pt x="706" y="280"/>
                      </a:lnTo>
                      <a:lnTo>
                        <a:pt x="706" y="280"/>
                      </a:lnTo>
                      <a:close/>
                      <a:moveTo>
                        <a:pt x="720" y="262"/>
                      </a:moveTo>
                      <a:lnTo>
                        <a:pt x="716" y="262"/>
                      </a:lnTo>
                      <a:lnTo>
                        <a:pt x="720" y="262"/>
                      </a:lnTo>
                      <a:lnTo>
                        <a:pt x="720" y="258"/>
                      </a:lnTo>
                      <a:lnTo>
                        <a:pt x="724" y="258"/>
                      </a:lnTo>
                      <a:lnTo>
                        <a:pt x="724" y="262"/>
                      </a:lnTo>
                      <a:lnTo>
                        <a:pt x="720" y="262"/>
                      </a:lnTo>
                      <a:lnTo>
                        <a:pt x="720" y="262"/>
                      </a:lnTo>
                      <a:lnTo>
                        <a:pt x="720" y="262"/>
                      </a:lnTo>
                      <a:close/>
                      <a:moveTo>
                        <a:pt x="620" y="276"/>
                      </a:moveTo>
                      <a:lnTo>
                        <a:pt x="620" y="280"/>
                      </a:lnTo>
                      <a:lnTo>
                        <a:pt x="616" y="280"/>
                      </a:lnTo>
                      <a:lnTo>
                        <a:pt x="612" y="280"/>
                      </a:lnTo>
                      <a:lnTo>
                        <a:pt x="608" y="284"/>
                      </a:lnTo>
                      <a:lnTo>
                        <a:pt x="604" y="284"/>
                      </a:lnTo>
                      <a:lnTo>
                        <a:pt x="604" y="288"/>
                      </a:lnTo>
                      <a:lnTo>
                        <a:pt x="600" y="288"/>
                      </a:lnTo>
                      <a:lnTo>
                        <a:pt x="600" y="292"/>
                      </a:lnTo>
                      <a:lnTo>
                        <a:pt x="604" y="292"/>
                      </a:lnTo>
                      <a:lnTo>
                        <a:pt x="604" y="288"/>
                      </a:lnTo>
                      <a:lnTo>
                        <a:pt x="608" y="288"/>
                      </a:lnTo>
                      <a:lnTo>
                        <a:pt x="612" y="288"/>
                      </a:lnTo>
                      <a:lnTo>
                        <a:pt x="616" y="288"/>
                      </a:lnTo>
                      <a:lnTo>
                        <a:pt x="620" y="288"/>
                      </a:lnTo>
                      <a:lnTo>
                        <a:pt x="620" y="292"/>
                      </a:lnTo>
                      <a:lnTo>
                        <a:pt x="622" y="294"/>
                      </a:lnTo>
                      <a:lnTo>
                        <a:pt x="620" y="294"/>
                      </a:lnTo>
                      <a:lnTo>
                        <a:pt x="620" y="298"/>
                      </a:lnTo>
                      <a:lnTo>
                        <a:pt x="622" y="298"/>
                      </a:lnTo>
                      <a:lnTo>
                        <a:pt x="622" y="294"/>
                      </a:lnTo>
                      <a:lnTo>
                        <a:pt x="626" y="294"/>
                      </a:lnTo>
                      <a:lnTo>
                        <a:pt x="630" y="294"/>
                      </a:lnTo>
                      <a:lnTo>
                        <a:pt x="630" y="298"/>
                      </a:lnTo>
                      <a:lnTo>
                        <a:pt x="630" y="302"/>
                      </a:lnTo>
                      <a:lnTo>
                        <a:pt x="634" y="302"/>
                      </a:lnTo>
                      <a:lnTo>
                        <a:pt x="630" y="306"/>
                      </a:lnTo>
                      <a:lnTo>
                        <a:pt x="626" y="306"/>
                      </a:lnTo>
                      <a:lnTo>
                        <a:pt x="622" y="306"/>
                      </a:lnTo>
                      <a:lnTo>
                        <a:pt x="626" y="306"/>
                      </a:lnTo>
                      <a:lnTo>
                        <a:pt x="630" y="306"/>
                      </a:lnTo>
                      <a:lnTo>
                        <a:pt x="630" y="310"/>
                      </a:lnTo>
                      <a:lnTo>
                        <a:pt x="630" y="314"/>
                      </a:lnTo>
                      <a:lnTo>
                        <a:pt x="626" y="314"/>
                      </a:lnTo>
                      <a:lnTo>
                        <a:pt x="622" y="314"/>
                      </a:lnTo>
                      <a:lnTo>
                        <a:pt x="626" y="314"/>
                      </a:lnTo>
                      <a:lnTo>
                        <a:pt x="630" y="314"/>
                      </a:lnTo>
                      <a:lnTo>
                        <a:pt x="626" y="314"/>
                      </a:lnTo>
                      <a:lnTo>
                        <a:pt x="626" y="318"/>
                      </a:lnTo>
                      <a:lnTo>
                        <a:pt x="630" y="318"/>
                      </a:lnTo>
                      <a:lnTo>
                        <a:pt x="626" y="318"/>
                      </a:lnTo>
                      <a:lnTo>
                        <a:pt x="626" y="322"/>
                      </a:lnTo>
                      <a:lnTo>
                        <a:pt x="626" y="318"/>
                      </a:lnTo>
                      <a:lnTo>
                        <a:pt x="622" y="322"/>
                      </a:lnTo>
                      <a:lnTo>
                        <a:pt x="620" y="322"/>
                      </a:lnTo>
                      <a:lnTo>
                        <a:pt x="616" y="324"/>
                      </a:lnTo>
                      <a:lnTo>
                        <a:pt x="612" y="324"/>
                      </a:lnTo>
                      <a:lnTo>
                        <a:pt x="608" y="322"/>
                      </a:lnTo>
                      <a:lnTo>
                        <a:pt x="608" y="324"/>
                      </a:lnTo>
                      <a:lnTo>
                        <a:pt x="604" y="324"/>
                      </a:lnTo>
                      <a:lnTo>
                        <a:pt x="604" y="322"/>
                      </a:lnTo>
                      <a:lnTo>
                        <a:pt x="604" y="318"/>
                      </a:lnTo>
                      <a:lnTo>
                        <a:pt x="600" y="322"/>
                      </a:lnTo>
                      <a:lnTo>
                        <a:pt x="604" y="324"/>
                      </a:lnTo>
                      <a:lnTo>
                        <a:pt x="608" y="324"/>
                      </a:lnTo>
                      <a:lnTo>
                        <a:pt x="608" y="328"/>
                      </a:lnTo>
                      <a:lnTo>
                        <a:pt x="604" y="328"/>
                      </a:lnTo>
                      <a:lnTo>
                        <a:pt x="600" y="332"/>
                      </a:lnTo>
                      <a:lnTo>
                        <a:pt x="596" y="332"/>
                      </a:lnTo>
                      <a:lnTo>
                        <a:pt x="592" y="328"/>
                      </a:lnTo>
                      <a:lnTo>
                        <a:pt x="592" y="332"/>
                      </a:lnTo>
                      <a:lnTo>
                        <a:pt x="590" y="332"/>
                      </a:lnTo>
                      <a:lnTo>
                        <a:pt x="590" y="328"/>
                      </a:lnTo>
                      <a:lnTo>
                        <a:pt x="590" y="324"/>
                      </a:lnTo>
                      <a:lnTo>
                        <a:pt x="586" y="324"/>
                      </a:lnTo>
                      <a:lnTo>
                        <a:pt x="586" y="322"/>
                      </a:lnTo>
                      <a:lnTo>
                        <a:pt x="582" y="318"/>
                      </a:lnTo>
                      <a:lnTo>
                        <a:pt x="578" y="318"/>
                      </a:lnTo>
                      <a:lnTo>
                        <a:pt x="574" y="314"/>
                      </a:lnTo>
                      <a:lnTo>
                        <a:pt x="570" y="310"/>
                      </a:lnTo>
                      <a:lnTo>
                        <a:pt x="566" y="310"/>
                      </a:lnTo>
                      <a:lnTo>
                        <a:pt x="566" y="306"/>
                      </a:lnTo>
                      <a:lnTo>
                        <a:pt x="564" y="306"/>
                      </a:lnTo>
                      <a:lnTo>
                        <a:pt x="560" y="306"/>
                      </a:lnTo>
                      <a:lnTo>
                        <a:pt x="556" y="306"/>
                      </a:lnTo>
                      <a:lnTo>
                        <a:pt x="552" y="306"/>
                      </a:lnTo>
                      <a:lnTo>
                        <a:pt x="552" y="302"/>
                      </a:lnTo>
                      <a:lnTo>
                        <a:pt x="552" y="298"/>
                      </a:lnTo>
                      <a:lnTo>
                        <a:pt x="548" y="298"/>
                      </a:lnTo>
                      <a:lnTo>
                        <a:pt x="544" y="298"/>
                      </a:lnTo>
                      <a:lnTo>
                        <a:pt x="544" y="294"/>
                      </a:lnTo>
                      <a:lnTo>
                        <a:pt x="540" y="294"/>
                      </a:lnTo>
                      <a:lnTo>
                        <a:pt x="540" y="292"/>
                      </a:lnTo>
                      <a:lnTo>
                        <a:pt x="544" y="292"/>
                      </a:lnTo>
                      <a:lnTo>
                        <a:pt x="544" y="288"/>
                      </a:lnTo>
                      <a:lnTo>
                        <a:pt x="548" y="288"/>
                      </a:lnTo>
                      <a:lnTo>
                        <a:pt x="548" y="284"/>
                      </a:lnTo>
                      <a:lnTo>
                        <a:pt x="552" y="284"/>
                      </a:lnTo>
                      <a:lnTo>
                        <a:pt x="552" y="288"/>
                      </a:lnTo>
                      <a:lnTo>
                        <a:pt x="556" y="288"/>
                      </a:lnTo>
                      <a:lnTo>
                        <a:pt x="556" y="292"/>
                      </a:lnTo>
                      <a:lnTo>
                        <a:pt x="560" y="292"/>
                      </a:lnTo>
                      <a:lnTo>
                        <a:pt x="560" y="294"/>
                      </a:lnTo>
                      <a:lnTo>
                        <a:pt x="564" y="294"/>
                      </a:lnTo>
                      <a:lnTo>
                        <a:pt x="566" y="294"/>
                      </a:lnTo>
                      <a:lnTo>
                        <a:pt x="570" y="294"/>
                      </a:lnTo>
                      <a:lnTo>
                        <a:pt x="574" y="294"/>
                      </a:lnTo>
                      <a:lnTo>
                        <a:pt x="574" y="292"/>
                      </a:lnTo>
                      <a:lnTo>
                        <a:pt x="574" y="288"/>
                      </a:lnTo>
                      <a:lnTo>
                        <a:pt x="574" y="292"/>
                      </a:lnTo>
                      <a:lnTo>
                        <a:pt x="578" y="292"/>
                      </a:lnTo>
                      <a:lnTo>
                        <a:pt x="578" y="288"/>
                      </a:lnTo>
                      <a:lnTo>
                        <a:pt x="578" y="284"/>
                      </a:lnTo>
                      <a:lnTo>
                        <a:pt x="574" y="284"/>
                      </a:lnTo>
                      <a:lnTo>
                        <a:pt x="570" y="284"/>
                      </a:lnTo>
                      <a:lnTo>
                        <a:pt x="574" y="280"/>
                      </a:lnTo>
                      <a:lnTo>
                        <a:pt x="578" y="284"/>
                      </a:lnTo>
                      <a:lnTo>
                        <a:pt x="582" y="284"/>
                      </a:lnTo>
                      <a:lnTo>
                        <a:pt x="578" y="280"/>
                      </a:lnTo>
                      <a:lnTo>
                        <a:pt x="574" y="280"/>
                      </a:lnTo>
                      <a:lnTo>
                        <a:pt x="574" y="276"/>
                      </a:lnTo>
                      <a:lnTo>
                        <a:pt x="574" y="280"/>
                      </a:lnTo>
                      <a:lnTo>
                        <a:pt x="570" y="280"/>
                      </a:lnTo>
                      <a:lnTo>
                        <a:pt x="566" y="280"/>
                      </a:lnTo>
                      <a:lnTo>
                        <a:pt x="564" y="276"/>
                      </a:lnTo>
                      <a:lnTo>
                        <a:pt x="560" y="276"/>
                      </a:lnTo>
                      <a:lnTo>
                        <a:pt x="556" y="276"/>
                      </a:lnTo>
                      <a:lnTo>
                        <a:pt x="560" y="272"/>
                      </a:lnTo>
                      <a:lnTo>
                        <a:pt x="564" y="272"/>
                      </a:lnTo>
                      <a:lnTo>
                        <a:pt x="566" y="272"/>
                      </a:lnTo>
                      <a:lnTo>
                        <a:pt x="570" y="272"/>
                      </a:lnTo>
                      <a:lnTo>
                        <a:pt x="570" y="276"/>
                      </a:lnTo>
                      <a:lnTo>
                        <a:pt x="574" y="276"/>
                      </a:lnTo>
                      <a:lnTo>
                        <a:pt x="570" y="276"/>
                      </a:lnTo>
                      <a:lnTo>
                        <a:pt x="570" y="272"/>
                      </a:lnTo>
                      <a:lnTo>
                        <a:pt x="566" y="272"/>
                      </a:lnTo>
                      <a:lnTo>
                        <a:pt x="566" y="268"/>
                      </a:lnTo>
                      <a:lnTo>
                        <a:pt x="564" y="268"/>
                      </a:lnTo>
                      <a:lnTo>
                        <a:pt x="566" y="264"/>
                      </a:lnTo>
                      <a:lnTo>
                        <a:pt x="570" y="264"/>
                      </a:lnTo>
                      <a:lnTo>
                        <a:pt x="574" y="264"/>
                      </a:lnTo>
                      <a:lnTo>
                        <a:pt x="578" y="268"/>
                      </a:lnTo>
                      <a:lnTo>
                        <a:pt x="582" y="264"/>
                      </a:lnTo>
                      <a:lnTo>
                        <a:pt x="578" y="264"/>
                      </a:lnTo>
                      <a:lnTo>
                        <a:pt x="574" y="264"/>
                      </a:lnTo>
                      <a:lnTo>
                        <a:pt x="578" y="264"/>
                      </a:lnTo>
                      <a:lnTo>
                        <a:pt x="578" y="262"/>
                      </a:lnTo>
                      <a:lnTo>
                        <a:pt x="582" y="262"/>
                      </a:lnTo>
                      <a:lnTo>
                        <a:pt x="582" y="264"/>
                      </a:lnTo>
                      <a:lnTo>
                        <a:pt x="586" y="264"/>
                      </a:lnTo>
                      <a:lnTo>
                        <a:pt x="590" y="268"/>
                      </a:lnTo>
                      <a:lnTo>
                        <a:pt x="592" y="268"/>
                      </a:lnTo>
                      <a:lnTo>
                        <a:pt x="596" y="268"/>
                      </a:lnTo>
                      <a:lnTo>
                        <a:pt x="600" y="268"/>
                      </a:lnTo>
                      <a:lnTo>
                        <a:pt x="600" y="264"/>
                      </a:lnTo>
                      <a:lnTo>
                        <a:pt x="604" y="264"/>
                      </a:lnTo>
                      <a:lnTo>
                        <a:pt x="608" y="264"/>
                      </a:lnTo>
                      <a:lnTo>
                        <a:pt x="612" y="264"/>
                      </a:lnTo>
                      <a:lnTo>
                        <a:pt x="616" y="264"/>
                      </a:lnTo>
                      <a:lnTo>
                        <a:pt x="620" y="264"/>
                      </a:lnTo>
                      <a:lnTo>
                        <a:pt x="622" y="268"/>
                      </a:lnTo>
                      <a:lnTo>
                        <a:pt x="622" y="272"/>
                      </a:lnTo>
                      <a:lnTo>
                        <a:pt x="620" y="272"/>
                      </a:lnTo>
                      <a:lnTo>
                        <a:pt x="616" y="272"/>
                      </a:lnTo>
                      <a:lnTo>
                        <a:pt x="612" y="276"/>
                      </a:lnTo>
                      <a:lnTo>
                        <a:pt x="616" y="276"/>
                      </a:lnTo>
                      <a:lnTo>
                        <a:pt x="620" y="276"/>
                      </a:lnTo>
                      <a:lnTo>
                        <a:pt x="620" y="276"/>
                      </a:lnTo>
                      <a:lnTo>
                        <a:pt x="620" y="276"/>
                      </a:lnTo>
                      <a:close/>
                      <a:moveTo>
                        <a:pt x="1004" y="542"/>
                      </a:moveTo>
                      <a:lnTo>
                        <a:pt x="1000" y="542"/>
                      </a:lnTo>
                      <a:lnTo>
                        <a:pt x="996" y="542"/>
                      </a:lnTo>
                      <a:lnTo>
                        <a:pt x="992" y="538"/>
                      </a:lnTo>
                      <a:lnTo>
                        <a:pt x="988" y="538"/>
                      </a:lnTo>
                      <a:lnTo>
                        <a:pt x="992" y="538"/>
                      </a:lnTo>
                      <a:lnTo>
                        <a:pt x="992" y="534"/>
                      </a:lnTo>
                      <a:lnTo>
                        <a:pt x="988" y="534"/>
                      </a:lnTo>
                      <a:lnTo>
                        <a:pt x="988" y="538"/>
                      </a:lnTo>
                      <a:lnTo>
                        <a:pt x="984" y="534"/>
                      </a:lnTo>
                      <a:lnTo>
                        <a:pt x="980" y="534"/>
                      </a:lnTo>
                      <a:lnTo>
                        <a:pt x="980" y="530"/>
                      </a:lnTo>
                      <a:lnTo>
                        <a:pt x="980" y="526"/>
                      </a:lnTo>
                      <a:lnTo>
                        <a:pt x="976" y="526"/>
                      </a:lnTo>
                      <a:lnTo>
                        <a:pt x="974" y="526"/>
                      </a:lnTo>
                      <a:lnTo>
                        <a:pt x="976" y="526"/>
                      </a:lnTo>
                      <a:lnTo>
                        <a:pt x="980" y="526"/>
                      </a:lnTo>
                      <a:lnTo>
                        <a:pt x="984" y="526"/>
                      </a:lnTo>
                      <a:lnTo>
                        <a:pt x="984" y="522"/>
                      </a:lnTo>
                      <a:lnTo>
                        <a:pt x="988" y="522"/>
                      </a:lnTo>
                      <a:lnTo>
                        <a:pt x="984" y="522"/>
                      </a:lnTo>
                      <a:lnTo>
                        <a:pt x="980" y="522"/>
                      </a:lnTo>
                      <a:lnTo>
                        <a:pt x="980" y="520"/>
                      </a:lnTo>
                      <a:lnTo>
                        <a:pt x="976" y="520"/>
                      </a:lnTo>
                      <a:lnTo>
                        <a:pt x="976" y="522"/>
                      </a:lnTo>
                      <a:lnTo>
                        <a:pt x="974" y="520"/>
                      </a:lnTo>
                      <a:lnTo>
                        <a:pt x="974" y="522"/>
                      </a:lnTo>
                      <a:lnTo>
                        <a:pt x="970" y="520"/>
                      </a:lnTo>
                      <a:lnTo>
                        <a:pt x="974" y="520"/>
                      </a:lnTo>
                      <a:lnTo>
                        <a:pt x="974" y="516"/>
                      </a:lnTo>
                      <a:lnTo>
                        <a:pt x="970" y="516"/>
                      </a:lnTo>
                      <a:lnTo>
                        <a:pt x="970" y="520"/>
                      </a:lnTo>
                      <a:lnTo>
                        <a:pt x="970" y="516"/>
                      </a:lnTo>
                      <a:lnTo>
                        <a:pt x="966" y="516"/>
                      </a:lnTo>
                      <a:lnTo>
                        <a:pt x="970" y="512"/>
                      </a:lnTo>
                      <a:lnTo>
                        <a:pt x="966" y="512"/>
                      </a:lnTo>
                      <a:lnTo>
                        <a:pt x="966" y="516"/>
                      </a:lnTo>
                      <a:lnTo>
                        <a:pt x="966" y="512"/>
                      </a:lnTo>
                      <a:lnTo>
                        <a:pt x="962" y="512"/>
                      </a:lnTo>
                      <a:lnTo>
                        <a:pt x="962" y="508"/>
                      </a:lnTo>
                      <a:lnTo>
                        <a:pt x="958" y="508"/>
                      </a:lnTo>
                      <a:lnTo>
                        <a:pt x="954" y="504"/>
                      </a:lnTo>
                      <a:lnTo>
                        <a:pt x="958" y="500"/>
                      </a:lnTo>
                      <a:lnTo>
                        <a:pt x="958" y="496"/>
                      </a:lnTo>
                      <a:lnTo>
                        <a:pt x="958" y="500"/>
                      </a:lnTo>
                      <a:lnTo>
                        <a:pt x="954" y="500"/>
                      </a:lnTo>
                      <a:lnTo>
                        <a:pt x="954" y="496"/>
                      </a:lnTo>
                      <a:lnTo>
                        <a:pt x="950" y="496"/>
                      </a:lnTo>
                      <a:lnTo>
                        <a:pt x="950" y="500"/>
                      </a:lnTo>
                      <a:lnTo>
                        <a:pt x="948" y="500"/>
                      </a:lnTo>
                      <a:lnTo>
                        <a:pt x="950" y="500"/>
                      </a:lnTo>
                      <a:lnTo>
                        <a:pt x="948" y="504"/>
                      </a:lnTo>
                      <a:lnTo>
                        <a:pt x="948" y="500"/>
                      </a:lnTo>
                      <a:lnTo>
                        <a:pt x="948" y="496"/>
                      </a:lnTo>
                      <a:lnTo>
                        <a:pt x="944" y="496"/>
                      </a:lnTo>
                      <a:lnTo>
                        <a:pt x="944" y="500"/>
                      </a:lnTo>
                      <a:lnTo>
                        <a:pt x="940" y="500"/>
                      </a:lnTo>
                      <a:lnTo>
                        <a:pt x="940" y="496"/>
                      </a:lnTo>
                      <a:lnTo>
                        <a:pt x="940" y="494"/>
                      </a:lnTo>
                      <a:lnTo>
                        <a:pt x="936" y="494"/>
                      </a:lnTo>
                      <a:lnTo>
                        <a:pt x="936" y="496"/>
                      </a:lnTo>
                      <a:lnTo>
                        <a:pt x="936" y="494"/>
                      </a:lnTo>
                      <a:lnTo>
                        <a:pt x="932" y="494"/>
                      </a:lnTo>
                      <a:lnTo>
                        <a:pt x="936" y="496"/>
                      </a:lnTo>
                      <a:lnTo>
                        <a:pt x="940" y="496"/>
                      </a:lnTo>
                      <a:lnTo>
                        <a:pt x="940" y="500"/>
                      </a:lnTo>
                      <a:lnTo>
                        <a:pt x="940" y="504"/>
                      </a:lnTo>
                      <a:lnTo>
                        <a:pt x="936" y="504"/>
                      </a:lnTo>
                      <a:lnTo>
                        <a:pt x="932" y="504"/>
                      </a:lnTo>
                      <a:lnTo>
                        <a:pt x="932" y="500"/>
                      </a:lnTo>
                      <a:lnTo>
                        <a:pt x="932" y="504"/>
                      </a:lnTo>
                      <a:lnTo>
                        <a:pt x="928" y="504"/>
                      </a:lnTo>
                      <a:lnTo>
                        <a:pt x="928" y="500"/>
                      </a:lnTo>
                      <a:lnTo>
                        <a:pt x="924" y="500"/>
                      </a:lnTo>
                      <a:lnTo>
                        <a:pt x="920" y="500"/>
                      </a:lnTo>
                      <a:lnTo>
                        <a:pt x="924" y="500"/>
                      </a:lnTo>
                      <a:lnTo>
                        <a:pt x="924" y="504"/>
                      </a:lnTo>
                      <a:lnTo>
                        <a:pt x="920" y="504"/>
                      </a:lnTo>
                      <a:lnTo>
                        <a:pt x="920" y="500"/>
                      </a:lnTo>
                      <a:lnTo>
                        <a:pt x="924" y="504"/>
                      </a:lnTo>
                      <a:lnTo>
                        <a:pt x="920" y="504"/>
                      </a:lnTo>
                      <a:lnTo>
                        <a:pt x="918" y="504"/>
                      </a:lnTo>
                      <a:lnTo>
                        <a:pt x="918" y="508"/>
                      </a:lnTo>
                      <a:lnTo>
                        <a:pt x="914" y="508"/>
                      </a:lnTo>
                      <a:lnTo>
                        <a:pt x="910" y="508"/>
                      </a:lnTo>
                      <a:lnTo>
                        <a:pt x="906" y="508"/>
                      </a:lnTo>
                      <a:lnTo>
                        <a:pt x="902" y="508"/>
                      </a:lnTo>
                      <a:lnTo>
                        <a:pt x="898" y="508"/>
                      </a:lnTo>
                      <a:lnTo>
                        <a:pt x="898" y="504"/>
                      </a:lnTo>
                      <a:lnTo>
                        <a:pt x="894" y="504"/>
                      </a:lnTo>
                      <a:lnTo>
                        <a:pt x="890" y="504"/>
                      </a:lnTo>
                      <a:lnTo>
                        <a:pt x="888" y="500"/>
                      </a:lnTo>
                      <a:lnTo>
                        <a:pt x="888" y="496"/>
                      </a:lnTo>
                      <a:lnTo>
                        <a:pt x="890" y="494"/>
                      </a:lnTo>
                      <a:lnTo>
                        <a:pt x="888" y="490"/>
                      </a:lnTo>
                      <a:lnTo>
                        <a:pt x="890" y="490"/>
                      </a:lnTo>
                      <a:lnTo>
                        <a:pt x="894" y="486"/>
                      </a:lnTo>
                      <a:lnTo>
                        <a:pt x="898" y="486"/>
                      </a:lnTo>
                      <a:lnTo>
                        <a:pt x="902" y="486"/>
                      </a:lnTo>
                      <a:lnTo>
                        <a:pt x="898" y="482"/>
                      </a:lnTo>
                      <a:lnTo>
                        <a:pt x="902" y="482"/>
                      </a:lnTo>
                      <a:lnTo>
                        <a:pt x="898" y="478"/>
                      </a:lnTo>
                      <a:lnTo>
                        <a:pt x="902" y="478"/>
                      </a:lnTo>
                      <a:lnTo>
                        <a:pt x="906" y="478"/>
                      </a:lnTo>
                      <a:lnTo>
                        <a:pt x="910" y="482"/>
                      </a:lnTo>
                      <a:lnTo>
                        <a:pt x="914" y="482"/>
                      </a:lnTo>
                      <a:lnTo>
                        <a:pt x="918" y="482"/>
                      </a:lnTo>
                      <a:lnTo>
                        <a:pt x="920" y="482"/>
                      </a:lnTo>
                      <a:lnTo>
                        <a:pt x="920" y="486"/>
                      </a:lnTo>
                      <a:lnTo>
                        <a:pt x="924" y="486"/>
                      </a:lnTo>
                      <a:lnTo>
                        <a:pt x="928" y="490"/>
                      </a:lnTo>
                      <a:lnTo>
                        <a:pt x="924" y="490"/>
                      </a:lnTo>
                      <a:lnTo>
                        <a:pt x="924" y="494"/>
                      </a:lnTo>
                      <a:lnTo>
                        <a:pt x="928" y="494"/>
                      </a:lnTo>
                      <a:lnTo>
                        <a:pt x="928" y="496"/>
                      </a:lnTo>
                      <a:lnTo>
                        <a:pt x="928" y="494"/>
                      </a:lnTo>
                      <a:lnTo>
                        <a:pt x="924" y="494"/>
                      </a:lnTo>
                      <a:lnTo>
                        <a:pt x="928" y="494"/>
                      </a:lnTo>
                      <a:lnTo>
                        <a:pt x="928" y="490"/>
                      </a:lnTo>
                      <a:lnTo>
                        <a:pt x="932" y="490"/>
                      </a:lnTo>
                      <a:lnTo>
                        <a:pt x="932" y="486"/>
                      </a:lnTo>
                      <a:lnTo>
                        <a:pt x="928" y="486"/>
                      </a:lnTo>
                      <a:lnTo>
                        <a:pt x="928" y="490"/>
                      </a:lnTo>
                      <a:lnTo>
                        <a:pt x="928" y="486"/>
                      </a:lnTo>
                      <a:lnTo>
                        <a:pt x="924" y="486"/>
                      </a:lnTo>
                      <a:lnTo>
                        <a:pt x="920" y="486"/>
                      </a:lnTo>
                      <a:lnTo>
                        <a:pt x="920" y="482"/>
                      </a:lnTo>
                      <a:lnTo>
                        <a:pt x="924" y="482"/>
                      </a:lnTo>
                      <a:lnTo>
                        <a:pt x="928" y="482"/>
                      </a:lnTo>
                      <a:lnTo>
                        <a:pt x="932" y="482"/>
                      </a:lnTo>
                      <a:lnTo>
                        <a:pt x="936" y="482"/>
                      </a:lnTo>
                      <a:lnTo>
                        <a:pt x="940" y="482"/>
                      </a:lnTo>
                      <a:lnTo>
                        <a:pt x="944" y="478"/>
                      </a:lnTo>
                      <a:lnTo>
                        <a:pt x="948" y="478"/>
                      </a:lnTo>
                      <a:lnTo>
                        <a:pt x="950" y="478"/>
                      </a:lnTo>
                      <a:lnTo>
                        <a:pt x="954" y="478"/>
                      </a:lnTo>
                      <a:lnTo>
                        <a:pt x="954" y="474"/>
                      </a:lnTo>
                      <a:lnTo>
                        <a:pt x="950" y="474"/>
                      </a:lnTo>
                      <a:lnTo>
                        <a:pt x="950" y="470"/>
                      </a:lnTo>
                      <a:lnTo>
                        <a:pt x="948" y="470"/>
                      </a:lnTo>
                      <a:lnTo>
                        <a:pt x="948" y="466"/>
                      </a:lnTo>
                      <a:lnTo>
                        <a:pt x="944" y="466"/>
                      </a:lnTo>
                      <a:lnTo>
                        <a:pt x="944" y="464"/>
                      </a:lnTo>
                      <a:lnTo>
                        <a:pt x="940" y="464"/>
                      </a:lnTo>
                      <a:lnTo>
                        <a:pt x="944" y="460"/>
                      </a:lnTo>
                      <a:lnTo>
                        <a:pt x="948" y="460"/>
                      </a:lnTo>
                      <a:lnTo>
                        <a:pt x="950" y="456"/>
                      </a:lnTo>
                      <a:lnTo>
                        <a:pt x="954" y="452"/>
                      </a:lnTo>
                      <a:lnTo>
                        <a:pt x="958" y="448"/>
                      </a:lnTo>
                      <a:lnTo>
                        <a:pt x="962" y="448"/>
                      </a:lnTo>
                      <a:lnTo>
                        <a:pt x="962" y="444"/>
                      </a:lnTo>
                      <a:lnTo>
                        <a:pt x="966" y="440"/>
                      </a:lnTo>
                      <a:lnTo>
                        <a:pt x="970" y="440"/>
                      </a:lnTo>
                      <a:lnTo>
                        <a:pt x="970" y="436"/>
                      </a:lnTo>
                      <a:lnTo>
                        <a:pt x="974" y="436"/>
                      </a:lnTo>
                      <a:lnTo>
                        <a:pt x="974" y="434"/>
                      </a:lnTo>
                      <a:lnTo>
                        <a:pt x="970" y="434"/>
                      </a:lnTo>
                      <a:lnTo>
                        <a:pt x="970" y="430"/>
                      </a:lnTo>
                      <a:lnTo>
                        <a:pt x="970" y="426"/>
                      </a:lnTo>
                      <a:lnTo>
                        <a:pt x="966" y="426"/>
                      </a:lnTo>
                      <a:lnTo>
                        <a:pt x="966" y="422"/>
                      </a:lnTo>
                      <a:lnTo>
                        <a:pt x="970" y="422"/>
                      </a:lnTo>
                      <a:lnTo>
                        <a:pt x="966" y="422"/>
                      </a:lnTo>
                      <a:lnTo>
                        <a:pt x="966" y="418"/>
                      </a:lnTo>
                      <a:lnTo>
                        <a:pt x="962" y="418"/>
                      </a:lnTo>
                      <a:lnTo>
                        <a:pt x="962" y="414"/>
                      </a:lnTo>
                      <a:lnTo>
                        <a:pt x="962" y="410"/>
                      </a:lnTo>
                      <a:lnTo>
                        <a:pt x="958" y="410"/>
                      </a:lnTo>
                      <a:lnTo>
                        <a:pt x="954" y="410"/>
                      </a:lnTo>
                      <a:lnTo>
                        <a:pt x="954" y="408"/>
                      </a:lnTo>
                      <a:lnTo>
                        <a:pt x="958" y="408"/>
                      </a:lnTo>
                      <a:lnTo>
                        <a:pt x="954" y="408"/>
                      </a:lnTo>
                      <a:lnTo>
                        <a:pt x="954" y="410"/>
                      </a:lnTo>
                      <a:lnTo>
                        <a:pt x="950" y="408"/>
                      </a:lnTo>
                      <a:lnTo>
                        <a:pt x="950" y="404"/>
                      </a:lnTo>
                      <a:lnTo>
                        <a:pt x="950" y="400"/>
                      </a:lnTo>
                      <a:lnTo>
                        <a:pt x="948" y="400"/>
                      </a:lnTo>
                      <a:lnTo>
                        <a:pt x="950" y="404"/>
                      </a:lnTo>
                      <a:lnTo>
                        <a:pt x="948" y="404"/>
                      </a:lnTo>
                      <a:lnTo>
                        <a:pt x="944" y="404"/>
                      </a:lnTo>
                      <a:lnTo>
                        <a:pt x="940" y="400"/>
                      </a:lnTo>
                      <a:lnTo>
                        <a:pt x="936" y="400"/>
                      </a:lnTo>
                      <a:lnTo>
                        <a:pt x="936" y="396"/>
                      </a:lnTo>
                      <a:lnTo>
                        <a:pt x="940" y="396"/>
                      </a:lnTo>
                      <a:lnTo>
                        <a:pt x="936" y="396"/>
                      </a:lnTo>
                      <a:lnTo>
                        <a:pt x="940" y="396"/>
                      </a:lnTo>
                      <a:lnTo>
                        <a:pt x="936" y="396"/>
                      </a:lnTo>
                      <a:lnTo>
                        <a:pt x="936" y="392"/>
                      </a:lnTo>
                      <a:lnTo>
                        <a:pt x="932" y="392"/>
                      </a:lnTo>
                      <a:lnTo>
                        <a:pt x="936" y="392"/>
                      </a:lnTo>
                      <a:lnTo>
                        <a:pt x="940" y="392"/>
                      </a:lnTo>
                      <a:lnTo>
                        <a:pt x="940" y="388"/>
                      </a:lnTo>
                      <a:lnTo>
                        <a:pt x="936" y="388"/>
                      </a:lnTo>
                      <a:lnTo>
                        <a:pt x="932" y="392"/>
                      </a:lnTo>
                      <a:lnTo>
                        <a:pt x="928" y="392"/>
                      </a:lnTo>
                      <a:lnTo>
                        <a:pt x="924" y="392"/>
                      </a:lnTo>
                      <a:lnTo>
                        <a:pt x="924" y="396"/>
                      </a:lnTo>
                      <a:lnTo>
                        <a:pt x="920" y="396"/>
                      </a:lnTo>
                      <a:lnTo>
                        <a:pt x="918" y="396"/>
                      </a:lnTo>
                      <a:lnTo>
                        <a:pt x="918" y="400"/>
                      </a:lnTo>
                      <a:lnTo>
                        <a:pt x="914" y="400"/>
                      </a:lnTo>
                      <a:lnTo>
                        <a:pt x="910" y="400"/>
                      </a:lnTo>
                      <a:lnTo>
                        <a:pt x="910" y="396"/>
                      </a:lnTo>
                      <a:lnTo>
                        <a:pt x="914" y="396"/>
                      </a:lnTo>
                      <a:lnTo>
                        <a:pt x="910" y="396"/>
                      </a:lnTo>
                      <a:lnTo>
                        <a:pt x="910" y="392"/>
                      </a:lnTo>
                      <a:lnTo>
                        <a:pt x="914" y="388"/>
                      </a:lnTo>
                      <a:lnTo>
                        <a:pt x="918" y="388"/>
                      </a:lnTo>
                      <a:lnTo>
                        <a:pt x="918" y="392"/>
                      </a:lnTo>
                      <a:lnTo>
                        <a:pt x="920" y="392"/>
                      </a:lnTo>
                      <a:lnTo>
                        <a:pt x="920" y="388"/>
                      </a:lnTo>
                      <a:lnTo>
                        <a:pt x="924" y="388"/>
                      </a:lnTo>
                      <a:lnTo>
                        <a:pt x="924" y="384"/>
                      </a:lnTo>
                      <a:lnTo>
                        <a:pt x="920" y="384"/>
                      </a:lnTo>
                      <a:lnTo>
                        <a:pt x="920" y="380"/>
                      </a:lnTo>
                      <a:lnTo>
                        <a:pt x="918" y="380"/>
                      </a:lnTo>
                      <a:lnTo>
                        <a:pt x="914" y="380"/>
                      </a:lnTo>
                      <a:lnTo>
                        <a:pt x="910" y="378"/>
                      </a:lnTo>
                      <a:lnTo>
                        <a:pt x="914" y="374"/>
                      </a:lnTo>
                      <a:lnTo>
                        <a:pt x="918" y="374"/>
                      </a:lnTo>
                      <a:lnTo>
                        <a:pt x="914" y="374"/>
                      </a:lnTo>
                      <a:lnTo>
                        <a:pt x="910" y="374"/>
                      </a:lnTo>
                      <a:lnTo>
                        <a:pt x="914" y="374"/>
                      </a:lnTo>
                      <a:lnTo>
                        <a:pt x="910" y="378"/>
                      </a:lnTo>
                      <a:lnTo>
                        <a:pt x="906" y="378"/>
                      </a:lnTo>
                      <a:lnTo>
                        <a:pt x="902" y="374"/>
                      </a:lnTo>
                      <a:lnTo>
                        <a:pt x="906" y="374"/>
                      </a:lnTo>
                      <a:lnTo>
                        <a:pt x="910" y="374"/>
                      </a:lnTo>
                      <a:lnTo>
                        <a:pt x="906" y="370"/>
                      </a:lnTo>
                      <a:lnTo>
                        <a:pt x="902" y="370"/>
                      </a:lnTo>
                      <a:lnTo>
                        <a:pt x="906" y="366"/>
                      </a:lnTo>
                      <a:lnTo>
                        <a:pt x="902" y="366"/>
                      </a:lnTo>
                      <a:lnTo>
                        <a:pt x="902" y="370"/>
                      </a:lnTo>
                      <a:lnTo>
                        <a:pt x="898" y="370"/>
                      </a:lnTo>
                      <a:lnTo>
                        <a:pt x="898" y="374"/>
                      </a:lnTo>
                      <a:lnTo>
                        <a:pt x="894" y="374"/>
                      </a:lnTo>
                      <a:lnTo>
                        <a:pt x="894" y="370"/>
                      </a:lnTo>
                      <a:lnTo>
                        <a:pt x="894" y="366"/>
                      </a:lnTo>
                      <a:lnTo>
                        <a:pt x="894" y="362"/>
                      </a:lnTo>
                      <a:lnTo>
                        <a:pt x="894" y="358"/>
                      </a:lnTo>
                      <a:lnTo>
                        <a:pt x="890" y="358"/>
                      </a:lnTo>
                      <a:lnTo>
                        <a:pt x="888" y="358"/>
                      </a:lnTo>
                      <a:lnTo>
                        <a:pt x="888" y="362"/>
                      </a:lnTo>
                      <a:lnTo>
                        <a:pt x="884" y="358"/>
                      </a:lnTo>
                      <a:lnTo>
                        <a:pt x="884" y="354"/>
                      </a:lnTo>
                      <a:lnTo>
                        <a:pt x="884" y="358"/>
                      </a:lnTo>
                      <a:lnTo>
                        <a:pt x="880" y="354"/>
                      </a:lnTo>
                      <a:lnTo>
                        <a:pt x="876" y="354"/>
                      </a:lnTo>
                      <a:lnTo>
                        <a:pt x="876" y="350"/>
                      </a:lnTo>
                      <a:lnTo>
                        <a:pt x="880" y="350"/>
                      </a:lnTo>
                      <a:lnTo>
                        <a:pt x="876" y="350"/>
                      </a:lnTo>
                      <a:lnTo>
                        <a:pt x="876" y="348"/>
                      </a:lnTo>
                      <a:lnTo>
                        <a:pt x="876" y="350"/>
                      </a:lnTo>
                      <a:lnTo>
                        <a:pt x="876" y="354"/>
                      </a:lnTo>
                      <a:lnTo>
                        <a:pt x="872" y="354"/>
                      </a:lnTo>
                      <a:lnTo>
                        <a:pt x="868" y="354"/>
                      </a:lnTo>
                      <a:lnTo>
                        <a:pt x="872" y="354"/>
                      </a:lnTo>
                      <a:lnTo>
                        <a:pt x="872" y="358"/>
                      </a:lnTo>
                      <a:lnTo>
                        <a:pt x="876" y="358"/>
                      </a:lnTo>
                      <a:lnTo>
                        <a:pt x="880" y="358"/>
                      </a:lnTo>
                      <a:lnTo>
                        <a:pt x="880" y="362"/>
                      </a:lnTo>
                      <a:lnTo>
                        <a:pt x="880" y="366"/>
                      </a:lnTo>
                      <a:lnTo>
                        <a:pt x="880" y="370"/>
                      </a:lnTo>
                      <a:lnTo>
                        <a:pt x="876" y="370"/>
                      </a:lnTo>
                      <a:lnTo>
                        <a:pt x="872" y="370"/>
                      </a:lnTo>
                      <a:lnTo>
                        <a:pt x="868" y="370"/>
                      </a:lnTo>
                      <a:lnTo>
                        <a:pt x="864" y="370"/>
                      </a:lnTo>
                      <a:lnTo>
                        <a:pt x="864" y="366"/>
                      </a:lnTo>
                      <a:lnTo>
                        <a:pt x="862" y="366"/>
                      </a:lnTo>
                      <a:lnTo>
                        <a:pt x="858" y="366"/>
                      </a:lnTo>
                      <a:lnTo>
                        <a:pt x="854" y="366"/>
                      </a:lnTo>
                      <a:lnTo>
                        <a:pt x="850" y="366"/>
                      </a:lnTo>
                      <a:lnTo>
                        <a:pt x="850" y="362"/>
                      </a:lnTo>
                      <a:lnTo>
                        <a:pt x="846" y="362"/>
                      </a:lnTo>
                      <a:lnTo>
                        <a:pt x="842" y="362"/>
                      </a:lnTo>
                      <a:lnTo>
                        <a:pt x="838" y="362"/>
                      </a:lnTo>
                      <a:lnTo>
                        <a:pt x="838" y="366"/>
                      </a:lnTo>
                      <a:lnTo>
                        <a:pt x="842" y="366"/>
                      </a:lnTo>
                      <a:lnTo>
                        <a:pt x="846" y="366"/>
                      </a:lnTo>
                      <a:lnTo>
                        <a:pt x="846" y="370"/>
                      </a:lnTo>
                      <a:lnTo>
                        <a:pt x="850" y="370"/>
                      </a:lnTo>
                      <a:lnTo>
                        <a:pt x="854" y="374"/>
                      </a:lnTo>
                      <a:lnTo>
                        <a:pt x="850" y="374"/>
                      </a:lnTo>
                      <a:lnTo>
                        <a:pt x="846" y="374"/>
                      </a:lnTo>
                      <a:lnTo>
                        <a:pt x="846" y="370"/>
                      </a:lnTo>
                      <a:lnTo>
                        <a:pt x="842" y="370"/>
                      </a:lnTo>
                      <a:lnTo>
                        <a:pt x="842" y="366"/>
                      </a:lnTo>
                      <a:lnTo>
                        <a:pt x="838" y="366"/>
                      </a:lnTo>
                      <a:lnTo>
                        <a:pt x="834" y="366"/>
                      </a:lnTo>
                      <a:lnTo>
                        <a:pt x="834" y="362"/>
                      </a:lnTo>
                      <a:lnTo>
                        <a:pt x="832" y="362"/>
                      </a:lnTo>
                      <a:lnTo>
                        <a:pt x="828" y="362"/>
                      </a:lnTo>
                      <a:lnTo>
                        <a:pt x="824" y="358"/>
                      </a:lnTo>
                      <a:lnTo>
                        <a:pt x="820" y="358"/>
                      </a:lnTo>
                      <a:lnTo>
                        <a:pt x="824" y="358"/>
                      </a:lnTo>
                      <a:lnTo>
                        <a:pt x="824" y="362"/>
                      </a:lnTo>
                      <a:lnTo>
                        <a:pt x="828" y="362"/>
                      </a:lnTo>
                      <a:lnTo>
                        <a:pt x="832" y="362"/>
                      </a:lnTo>
                      <a:lnTo>
                        <a:pt x="834" y="366"/>
                      </a:lnTo>
                      <a:lnTo>
                        <a:pt x="838" y="366"/>
                      </a:lnTo>
                      <a:lnTo>
                        <a:pt x="838" y="370"/>
                      </a:lnTo>
                      <a:lnTo>
                        <a:pt x="834" y="370"/>
                      </a:lnTo>
                      <a:lnTo>
                        <a:pt x="832" y="370"/>
                      </a:lnTo>
                      <a:lnTo>
                        <a:pt x="828" y="370"/>
                      </a:lnTo>
                      <a:lnTo>
                        <a:pt x="824" y="370"/>
                      </a:lnTo>
                      <a:lnTo>
                        <a:pt x="820" y="366"/>
                      </a:lnTo>
                      <a:lnTo>
                        <a:pt x="816" y="366"/>
                      </a:lnTo>
                      <a:lnTo>
                        <a:pt x="812" y="366"/>
                      </a:lnTo>
                      <a:lnTo>
                        <a:pt x="808" y="366"/>
                      </a:lnTo>
                      <a:lnTo>
                        <a:pt x="806" y="366"/>
                      </a:lnTo>
                      <a:lnTo>
                        <a:pt x="802" y="366"/>
                      </a:lnTo>
                      <a:lnTo>
                        <a:pt x="798" y="366"/>
                      </a:lnTo>
                      <a:lnTo>
                        <a:pt x="794" y="366"/>
                      </a:lnTo>
                      <a:lnTo>
                        <a:pt x="790" y="362"/>
                      </a:lnTo>
                      <a:lnTo>
                        <a:pt x="786" y="362"/>
                      </a:lnTo>
                      <a:lnTo>
                        <a:pt x="782" y="362"/>
                      </a:lnTo>
                      <a:lnTo>
                        <a:pt x="778" y="362"/>
                      </a:lnTo>
                      <a:lnTo>
                        <a:pt x="778" y="366"/>
                      </a:lnTo>
                      <a:lnTo>
                        <a:pt x="782" y="362"/>
                      </a:lnTo>
                      <a:lnTo>
                        <a:pt x="786" y="366"/>
                      </a:lnTo>
                      <a:lnTo>
                        <a:pt x="790" y="366"/>
                      </a:lnTo>
                      <a:lnTo>
                        <a:pt x="786" y="366"/>
                      </a:lnTo>
                      <a:lnTo>
                        <a:pt x="782" y="366"/>
                      </a:lnTo>
                      <a:lnTo>
                        <a:pt x="778" y="366"/>
                      </a:lnTo>
                      <a:lnTo>
                        <a:pt x="776" y="366"/>
                      </a:lnTo>
                      <a:lnTo>
                        <a:pt x="776" y="362"/>
                      </a:lnTo>
                      <a:lnTo>
                        <a:pt x="772" y="362"/>
                      </a:lnTo>
                      <a:lnTo>
                        <a:pt x="772" y="358"/>
                      </a:lnTo>
                      <a:lnTo>
                        <a:pt x="768" y="354"/>
                      </a:lnTo>
                      <a:lnTo>
                        <a:pt x="772" y="354"/>
                      </a:lnTo>
                      <a:lnTo>
                        <a:pt x="776" y="354"/>
                      </a:lnTo>
                      <a:lnTo>
                        <a:pt x="772" y="354"/>
                      </a:lnTo>
                      <a:lnTo>
                        <a:pt x="772" y="350"/>
                      </a:lnTo>
                      <a:lnTo>
                        <a:pt x="772" y="354"/>
                      </a:lnTo>
                      <a:lnTo>
                        <a:pt x="768" y="354"/>
                      </a:lnTo>
                      <a:lnTo>
                        <a:pt x="768" y="358"/>
                      </a:lnTo>
                      <a:lnTo>
                        <a:pt x="764" y="358"/>
                      </a:lnTo>
                      <a:lnTo>
                        <a:pt x="764" y="354"/>
                      </a:lnTo>
                      <a:lnTo>
                        <a:pt x="760" y="354"/>
                      </a:lnTo>
                      <a:lnTo>
                        <a:pt x="764" y="354"/>
                      </a:lnTo>
                      <a:lnTo>
                        <a:pt x="764" y="358"/>
                      </a:lnTo>
                      <a:lnTo>
                        <a:pt x="760" y="358"/>
                      </a:lnTo>
                      <a:lnTo>
                        <a:pt x="756" y="358"/>
                      </a:lnTo>
                      <a:lnTo>
                        <a:pt x="752" y="358"/>
                      </a:lnTo>
                      <a:lnTo>
                        <a:pt x="756" y="358"/>
                      </a:lnTo>
                      <a:lnTo>
                        <a:pt x="752" y="358"/>
                      </a:lnTo>
                      <a:lnTo>
                        <a:pt x="748" y="358"/>
                      </a:lnTo>
                      <a:lnTo>
                        <a:pt x="746" y="358"/>
                      </a:lnTo>
                      <a:lnTo>
                        <a:pt x="748" y="358"/>
                      </a:lnTo>
                      <a:lnTo>
                        <a:pt x="748" y="354"/>
                      </a:lnTo>
                      <a:lnTo>
                        <a:pt x="746" y="354"/>
                      </a:lnTo>
                      <a:lnTo>
                        <a:pt x="742" y="354"/>
                      </a:lnTo>
                      <a:lnTo>
                        <a:pt x="738" y="354"/>
                      </a:lnTo>
                      <a:lnTo>
                        <a:pt x="738" y="350"/>
                      </a:lnTo>
                      <a:lnTo>
                        <a:pt x="734" y="350"/>
                      </a:lnTo>
                      <a:lnTo>
                        <a:pt x="734" y="348"/>
                      </a:lnTo>
                      <a:lnTo>
                        <a:pt x="732" y="348"/>
                      </a:lnTo>
                      <a:lnTo>
                        <a:pt x="732" y="344"/>
                      </a:lnTo>
                      <a:lnTo>
                        <a:pt x="734" y="340"/>
                      </a:lnTo>
                      <a:lnTo>
                        <a:pt x="732" y="340"/>
                      </a:lnTo>
                      <a:lnTo>
                        <a:pt x="728" y="340"/>
                      </a:lnTo>
                      <a:lnTo>
                        <a:pt x="728" y="336"/>
                      </a:lnTo>
                      <a:lnTo>
                        <a:pt x="732" y="340"/>
                      </a:lnTo>
                      <a:lnTo>
                        <a:pt x="734" y="340"/>
                      </a:lnTo>
                      <a:lnTo>
                        <a:pt x="738" y="340"/>
                      </a:lnTo>
                      <a:lnTo>
                        <a:pt x="742" y="340"/>
                      </a:lnTo>
                      <a:lnTo>
                        <a:pt x="746" y="340"/>
                      </a:lnTo>
                      <a:lnTo>
                        <a:pt x="748" y="344"/>
                      </a:lnTo>
                      <a:lnTo>
                        <a:pt x="752" y="340"/>
                      </a:lnTo>
                      <a:lnTo>
                        <a:pt x="756" y="340"/>
                      </a:lnTo>
                      <a:lnTo>
                        <a:pt x="760" y="340"/>
                      </a:lnTo>
                      <a:lnTo>
                        <a:pt x="764" y="340"/>
                      </a:lnTo>
                      <a:lnTo>
                        <a:pt x="760" y="340"/>
                      </a:lnTo>
                      <a:lnTo>
                        <a:pt x="756" y="340"/>
                      </a:lnTo>
                      <a:lnTo>
                        <a:pt x="756" y="336"/>
                      </a:lnTo>
                      <a:lnTo>
                        <a:pt x="752" y="336"/>
                      </a:lnTo>
                      <a:lnTo>
                        <a:pt x="752" y="332"/>
                      </a:lnTo>
                      <a:lnTo>
                        <a:pt x="748" y="332"/>
                      </a:lnTo>
                      <a:lnTo>
                        <a:pt x="748" y="336"/>
                      </a:lnTo>
                      <a:lnTo>
                        <a:pt x="746" y="332"/>
                      </a:lnTo>
                      <a:lnTo>
                        <a:pt x="742" y="332"/>
                      </a:lnTo>
                      <a:lnTo>
                        <a:pt x="738" y="332"/>
                      </a:lnTo>
                      <a:lnTo>
                        <a:pt x="734" y="332"/>
                      </a:lnTo>
                      <a:lnTo>
                        <a:pt x="732" y="332"/>
                      </a:lnTo>
                      <a:lnTo>
                        <a:pt x="728" y="332"/>
                      </a:lnTo>
                      <a:lnTo>
                        <a:pt x="724" y="332"/>
                      </a:lnTo>
                      <a:lnTo>
                        <a:pt x="724" y="328"/>
                      </a:lnTo>
                      <a:lnTo>
                        <a:pt x="720" y="324"/>
                      </a:lnTo>
                      <a:lnTo>
                        <a:pt x="724" y="324"/>
                      </a:lnTo>
                      <a:lnTo>
                        <a:pt x="724" y="322"/>
                      </a:lnTo>
                      <a:lnTo>
                        <a:pt x="724" y="318"/>
                      </a:lnTo>
                      <a:lnTo>
                        <a:pt x="720" y="318"/>
                      </a:lnTo>
                      <a:lnTo>
                        <a:pt x="720" y="314"/>
                      </a:lnTo>
                      <a:lnTo>
                        <a:pt x="724" y="314"/>
                      </a:lnTo>
                      <a:lnTo>
                        <a:pt x="724" y="310"/>
                      </a:lnTo>
                      <a:lnTo>
                        <a:pt x="728" y="310"/>
                      </a:lnTo>
                      <a:lnTo>
                        <a:pt x="724" y="310"/>
                      </a:lnTo>
                      <a:lnTo>
                        <a:pt x="724" y="306"/>
                      </a:lnTo>
                      <a:lnTo>
                        <a:pt x="724" y="302"/>
                      </a:lnTo>
                      <a:lnTo>
                        <a:pt x="724" y="298"/>
                      </a:lnTo>
                      <a:lnTo>
                        <a:pt x="728" y="298"/>
                      </a:lnTo>
                      <a:lnTo>
                        <a:pt x="728" y="294"/>
                      </a:lnTo>
                      <a:lnTo>
                        <a:pt x="732" y="294"/>
                      </a:lnTo>
                      <a:lnTo>
                        <a:pt x="732" y="288"/>
                      </a:lnTo>
                      <a:lnTo>
                        <a:pt x="732" y="284"/>
                      </a:lnTo>
                      <a:lnTo>
                        <a:pt x="734" y="280"/>
                      </a:lnTo>
                      <a:lnTo>
                        <a:pt x="738" y="280"/>
                      </a:lnTo>
                      <a:lnTo>
                        <a:pt x="738" y="276"/>
                      </a:lnTo>
                      <a:lnTo>
                        <a:pt x="742" y="276"/>
                      </a:lnTo>
                      <a:lnTo>
                        <a:pt x="742" y="272"/>
                      </a:lnTo>
                      <a:lnTo>
                        <a:pt x="746" y="272"/>
                      </a:lnTo>
                      <a:lnTo>
                        <a:pt x="748" y="272"/>
                      </a:lnTo>
                      <a:lnTo>
                        <a:pt x="748" y="268"/>
                      </a:lnTo>
                      <a:lnTo>
                        <a:pt x="752" y="268"/>
                      </a:lnTo>
                      <a:lnTo>
                        <a:pt x="756" y="268"/>
                      </a:lnTo>
                      <a:lnTo>
                        <a:pt x="760" y="264"/>
                      </a:lnTo>
                      <a:lnTo>
                        <a:pt x="764" y="264"/>
                      </a:lnTo>
                      <a:lnTo>
                        <a:pt x="768" y="264"/>
                      </a:lnTo>
                      <a:lnTo>
                        <a:pt x="772" y="264"/>
                      </a:lnTo>
                      <a:lnTo>
                        <a:pt x="776" y="264"/>
                      </a:lnTo>
                      <a:lnTo>
                        <a:pt x="782" y="264"/>
                      </a:lnTo>
                      <a:lnTo>
                        <a:pt x="786" y="264"/>
                      </a:lnTo>
                      <a:lnTo>
                        <a:pt x="790" y="264"/>
                      </a:lnTo>
                      <a:lnTo>
                        <a:pt x="794" y="268"/>
                      </a:lnTo>
                      <a:lnTo>
                        <a:pt x="790" y="268"/>
                      </a:lnTo>
                      <a:lnTo>
                        <a:pt x="786" y="272"/>
                      </a:lnTo>
                      <a:lnTo>
                        <a:pt x="782" y="276"/>
                      </a:lnTo>
                      <a:lnTo>
                        <a:pt x="778" y="276"/>
                      </a:lnTo>
                      <a:lnTo>
                        <a:pt x="778" y="280"/>
                      </a:lnTo>
                      <a:lnTo>
                        <a:pt x="776" y="280"/>
                      </a:lnTo>
                      <a:lnTo>
                        <a:pt x="776" y="284"/>
                      </a:lnTo>
                      <a:lnTo>
                        <a:pt x="776" y="288"/>
                      </a:lnTo>
                      <a:lnTo>
                        <a:pt x="772" y="288"/>
                      </a:lnTo>
                      <a:lnTo>
                        <a:pt x="768" y="292"/>
                      </a:lnTo>
                      <a:lnTo>
                        <a:pt x="768" y="294"/>
                      </a:lnTo>
                      <a:lnTo>
                        <a:pt x="768" y="298"/>
                      </a:lnTo>
                      <a:lnTo>
                        <a:pt x="772" y="298"/>
                      </a:lnTo>
                      <a:lnTo>
                        <a:pt x="772" y="302"/>
                      </a:lnTo>
                      <a:lnTo>
                        <a:pt x="776" y="302"/>
                      </a:lnTo>
                      <a:lnTo>
                        <a:pt x="772" y="306"/>
                      </a:lnTo>
                      <a:lnTo>
                        <a:pt x="772" y="310"/>
                      </a:lnTo>
                      <a:lnTo>
                        <a:pt x="772" y="314"/>
                      </a:lnTo>
                      <a:lnTo>
                        <a:pt x="776" y="318"/>
                      </a:lnTo>
                      <a:lnTo>
                        <a:pt x="776" y="322"/>
                      </a:lnTo>
                      <a:lnTo>
                        <a:pt x="778" y="322"/>
                      </a:lnTo>
                      <a:lnTo>
                        <a:pt x="786" y="328"/>
                      </a:lnTo>
                      <a:lnTo>
                        <a:pt x="790" y="328"/>
                      </a:lnTo>
                      <a:lnTo>
                        <a:pt x="794" y="328"/>
                      </a:lnTo>
                      <a:lnTo>
                        <a:pt x="794" y="332"/>
                      </a:lnTo>
                      <a:lnTo>
                        <a:pt x="790" y="332"/>
                      </a:lnTo>
                      <a:lnTo>
                        <a:pt x="786" y="336"/>
                      </a:lnTo>
                      <a:lnTo>
                        <a:pt x="782" y="336"/>
                      </a:lnTo>
                      <a:lnTo>
                        <a:pt x="778" y="336"/>
                      </a:lnTo>
                      <a:lnTo>
                        <a:pt x="776" y="336"/>
                      </a:lnTo>
                      <a:lnTo>
                        <a:pt x="776" y="340"/>
                      </a:lnTo>
                      <a:lnTo>
                        <a:pt x="772" y="340"/>
                      </a:lnTo>
                      <a:lnTo>
                        <a:pt x="768" y="340"/>
                      </a:lnTo>
                      <a:lnTo>
                        <a:pt x="772" y="340"/>
                      </a:lnTo>
                      <a:lnTo>
                        <a:pt x="776" y="340"/>
                      </a:lnTo>
                      <a:lnTo>
                        <a:pt x="778" y="340"/>
                      </a:lnTo>
                      <a:lnTo>
                        <a:pt x="778" y="336"/>
                      </a:lnTo>
                      <a:lnTo>
                        <a:pt x="782" y="336"/>
                      </a:lnTo>
                      <a:lnTo>
                        <a:pt x="786" y="336"/>
                      </a:lnTo>
                      <a:lnTo>
                        <a:pt x="790" y="336"/>
                      </a:lnTo>
                      <a:lnTo>
                        <a:pt x="794" y="336"/>
                      </a:lnTo>
                      <a:lnTo>
                        <a:pt x="794" y="340"/>
                      </a:lnTo>
                      <a:lnTo>
                        <a:pt x="794" y="336"/>
                      </a:lnTo>
                      <a:lnTo>
                        <a:pt x="790" y="336"/>
                      </a:lnTo>
                      <a:lnTo>
                        <a:pt x="790" y="340"/>
                      </a:lnTo>
                      <a:lnTo>
                        <a:pt x="794" y="340"/>
                      </a:lnTo>
                      <a:lnTo>
                        <a:pt x="794" y="344"/>
                      </a:lnTo>
                      <a:lnTo>
                        <a:pt x="794" y="340"/>
                      </a:lnTo>
                      <a:lnTo>
                        <a:pt x="794" y="336"/>
                      </a:lnTo>
                      <a:lnTo>
                        <a:pt x="794" y="332"/>
                      </a:lnTo>
                      <a:lnTo>
                        <a:pt x="794" y="328"/>
                      </a:lnTo>
                      <a:lnTo>
                        <a:pt x="798" y="328"/>
                      </a:lnTo>
                      <a:lnTo>
                        <a:pt x="798" y="324"/>
                      </a:lnTo>
                      <a:lnTo>
                        <a:pt x="798" y="322"/>
                      </a:lnTo>
                      <a:lnTo>
                        <a:pt x="794" y="322"/>
                      </a:lnTo>
                      <a:lnTo>
                        <a:pt x="794" y="324"/>
                      </a:lnTo>
                      <a:lnTo>
                        <a:pt x="790" y="324"/>
                      </a:lnTo>
                      <a:lnTo>
                        <a:pt x="790" y="322"/>
                      </a:lnTo>
                      <a:lnTo>
                        <a:pt x="786" y="322"/>
                      </a:lnTo>
                      <a:lnTo>
                        <a:pt x="782" y="322"/>
                      </a:lnTo>
                      <a:lnTo>
                        <a:pt x="786" y="322"/>
                      </a:lnTo>
                      <a:lnTo>
                        <a:pt x="786" y="318"/>
                      </a:lnTo>
                      <a:lnTo>
                        <a:pt x="782" y="318"/>
                      </a:lnTo>
                      <a:lnTo>
                        <a:pt x="778" y="314"/>
                      </a:lnTo>
                      <a:lnTo>
                        <a:pt x="776" y="314"/>
                      </a:lnTo>
                      <a:lnTo>
                        <a:pt x="778" y="314"/>
                      </a:lnTo>
                      <a:lnTo>
                        <a:pt x="782" y="314"/>
                      </a:lnTo>
                      <a:lnTo>
                        <a:pt x="786" y="314"/>
                      </a:lnTo>
                      <a:lnTo>
                        <a:pt x="786" y="310"/>
                      </a:lnTo>
                      <a:lnTo>
                        <a:pt x="786" y="306"/>
                      </a:lnTo>
                      <a:lnTo>
                        <a:pt x="790" y="306"/>
                      </a:lnTo>
                      <a:lnTo>
                        <a:pt x="794" y="306"/>
                      </a:lnTo>
                      <a:lnTo>
                        <a:pt x="794" y="310"/>
                      </a:lnTo>
                      <a:lnTo>
                        <a:pt x="798" y="310"/>
                      </a:lnTo>
                      <a:lnTo>
                        <a:pt x="802" y="314"/>
                      </a:lnTo>
                      <a:lnTo>
                        <a:pt x="802" y="318"/>
                      </a:lnTo>
                      <a:lnTo>
                        <a:pt x="806" y="318"/>
                      </a:lnTo>
                      <a:lnTo>
                        <a:pt x="806" y="314"/>
                      </a:lnTo>
                      <a:lnTo>
                        <a:pt x="802" y="314"/>
                      </a:lnTo>
                      <a:lnTo>
                        <a:pt x="802" y="310"/>
                      </a:lnTo>
                      <a:lnTo>
                        <a:pt x="798" y="310"/>
                      </a:lnTo>
                      <a:lnTo>
                        <a:pt x="794" y="310"/>
                      </a:lnTo>
                      <a:lnTo>
                        <a:pt x="794" y="306"/>
                      </a:lnTo>
                      <a:lnTo>
                        <a:pt x="798" y="306"/>
                      </a:lnTo>
                      <a:lnTo>
                        <a:pt x="802" y="302"/>
                      </a:lnTo>
                      <a:lnTo>
                        <a:pt x="798" y="302"/>
                      </a:lnTo>
                      <a:lnTo>
                        <a:pt x="798" y="306"/>
                      </a:lnTo>
                      <a:lnTo>
                        <a:pt x="794" y="306"/>
                      </a:lnTo>
                      <a:lnTo>
                        <a:pt x="794" y="302"/>
                      </a:lnTo>
                      <a:lnTo>
                        <a:pt x="790" y="302"/>
                      </a:lnTo>
                      <a:lnTo>
                        <a:pt x="790" y="306"/>
                      </a:lnTo>
                      <a:lnTo>
                        <a:pt x="786" y="302"/>
                      </a:lnTo>
                      <a:lnTo>
                        <a:pt x="782" y="302"/>
                      </a:lnTo>
                      <a:lnTo>
                        <a:pt x="782" y="298"/>
                      </a:lnTo>
                      <a:lnTo>
                        <a:pt x="786" y="298"/>
                      </a:lnTo>
                      <a:lnTo>
                        <a:pt x="782" y="298"/>
                      </a:lnTo>
                      <a:lnTo>
                        <a:pt x="782" y="294"/>
                      </a:lnTo>
                      <a:lnTo>
                        <a:pt x="782" y="292"/>
                      </a:lnTo>
                      <a:lnTo>
                        <a:pt x="782" y="288"/>
                      </a:lnTo>
                      <a:lnTo>
                        <a:pt x="786" y="288"/>
                      </a:lnTo>
                      <a:lnTo>
                        <a:pt x="790" y="292"/>
                      </a:lnTo>
                      <a:lnTo>
                        <a:pt x="794" y="292"/>
                      </a:lnTo>
                      <a:lnTo>
                        <a:pt x="798" y="292"/>
                      </a:lnTo>
                      <a:lnTo>
                        <a:pt x="802" y="292"/>
                      </a:lnTo>
                      <a:lnTo>
                        <a:pt x="802" y="294"/>
                      </a:lnTo>
                      <a:lnTo>
                        <a:pt x="806" y="294"/>
                      </a:lnTo>
                      <a:lnTo>
                        <a:pt x="802" y="294"/>
                      </a:lnTo>
                      <a:lnTo>
                        <a:pt x="802" y="292"/>
                      </a:lnTo>
                      <a:lnTo>
                        <a:pt x="798" y="292"/>
                      </a:lnTo>
                      <a:lnTo>
                        <a:pt x="794" y="292"/>
                      </a:lnTo>
                      <a:lnTo>
                        <a:pt x="794" y="288"/>
                      </a:lnTo>
                      <a:lnTo>
                        <a:pt x="790" y="288"/>
                      </a:lnTo>
                      <a:lnTo>
                        <a:pt x="782" y="288"/>
                      </a:lnTo>
                      <a:lnTo>
                        <a:pt x="786" y="284"/>
                      </a:lnTo>
                      <a:lnTo>
                        <a:pt x="786" y="288"/>
                      </a:lnTo>
                      <a:lnTo>
                        <a:pt x="790" y="288"/>
                      </a:lnTo>
                      <a:lnTo>
                        <a:pt x="790" y="284"/>
                      </a:lnTo>
                      <a:lnTo>
                        <a:pt x="794" y="284"/>
                      </a:lnTo>
                      <a:lnTo>
                        <a:pt x="794" y="288"/>
                      </a:lnTo>
                      <a:lnTo>
                        <a:pt x="798" y="288"/>
                      </a:lnTo>
                      <a:lnTo>
                        <a:pt x="802" y="288"/>
                      </a:lnTo>
                      <a:lnTo>
                        <a:pt x="806" y="288"/>
                      </a:lnTo>
                      <a:lnTo>
                        <a:pt x="808" y="288"/>
                      </a:lnTo>
                      <a:lnTo>
                        <a:pt x="812" y="288"/>
                      </a:lnTo>
                      <a:lnTo>
                        <a:pt x="808" y="288"/>
                      </a:lnTo>
                      <a:lnTo>
                        <a:pt x="806" y="288"/>
                      </a:lnTo>
                      <a:lnTo>
                        <a:pt x="802" y="288"/>
                      </a:lnTo>
                      <a:lnTo>
                        <a:pt x="802" y="284"/>
                      </a:lnTo>
                      <a:lnTo>
                        <a:pt x="798" y="284"/>
                      </a:lnTo>
                      <a:lnTo>
                        <a:pt x="794" y="284"/>
                      </a:lnTo>
                      <a:lnTo>
                        <a:pt x="790" y="284"/>
                      </a:lnTo>
                      <a:lnTo>
                        <a:pt x="790" y="280"/>
                      </a:lnTo>
                      <a:lnTo>
                        <a:pt x="794" y="280"/>
                      </a:lnTo>
                      <a:lnTo>
                        <a:pt x="794" y="276"/>
                      </a:lnTo>
                      <a:lnTo>
                        <a:pt x="798" y="280"/>
                      </a:lnTo>
                      <a:lnTo>
                        <a:pt x="802" y="280"/>
                      </a:lnTo>
                      <a:lnTo>
                        <a:pt x="798" y="280"/>
                      </a:lnTo>
                      <a:lnTo>
                        <a:pt x="798" y="276"/>
                      </a:lnTo>
                      <a:lnTo>
                        <a:pt x="802" y="276"/>
                      </a:lnTo>
                      <a:lnTo>
                        <a:pt x="806" y="276"/>
                      </a:lnTo>
                      <a:lnTo>
                        <a:pt x="808" y="276"/>
                      </a:lnTo>
                      <a:lnTo>
                        <a:pt x="808" y="280"/>
                      </a:lnTo>
                      <a:lnTo>
                        <a:pt x="812" y="280"/>
                      </a:lnTo>
                      <a:lnTo>
                        <a:pt x="812" y="276"/>
                      </a:lnTo>
                      <a:lnTo>
                        <a:pt x="808" y="276"/>
                      </a:lnTo>
                      <a:lnTo>
                        <a:pt x="806" y="276"/>
                      </a:lnTo>
                      <a:lnTo>
                        <a:pt x="806" y="272"/>
                      </a:lnTo>
                      <a:lnTo>
                        <a:pt x="808" y="272"/>
                      </a:lnTo>
                      <a:lnTo>
                        <a:pt x="812" y="272"/>
                      </a:lnTo>
                      <a:lnTo>
                        <a:pt x="816" y="268"/>
                      </a:lnTo>
                      <a:lnTo>
                        <a:pt x="820" y="268"/>
                      </a:lnTo>
                      <a:lnTo>
                        <a:pt x="824" y="268"/>
                      </a:lnTo>
                      <a:lnTo>
                        <a:pt x="828" y="268"/>
                      </a:lnTo>
                      <a:lnTo>
                        <a:pt x="832" y="268"/>
                      </a:lnTo>
                      <a:lnTo>
                        <a:pt x="834" y="268"/>
                      </a:lnTo>
                      <a:lnTo>
                        <a:pt x="838" y="268"/>
                      </a:lnTo>
                      <a:lnTo>
                        <a:pt x="842" y="268"/>
                      </a:lnTo>
                      <a:lnTo>
                        <a:pt x="846" y="272"/>
                      </a:lnTo>
                      <a:lnTo>
                        <a:pt x="846" y="276"/>
                      </a:lnTo>
                      <a:lnTo>
                        <a:pt x="846" y="280"/>
                      </a:lnTo>
                      <a:lnTo>
                        <a:pt x="850" y="284"/>
                      </a:lnTo>
                      <a:lnTo>
                        <a:pt x="854" y="284"/>
                      </a:lnTo>
                      <a:lnTo>
                        <a:pt x="854" y="288"/>
                      </a:lnTo>
                      <a:lnTo>
                        <a:pt x="854" y="292"/>
                      </a:lnTo>
                      <a:lnTo>
                        <a:pt x="858" y="292"/>
                      </a:lnTo>
                      <a:lnTo>
                        <a:pt x="858" y="294"/>
                      </a:lnTo>
                      <a:lnTo>
                        <a:pt x="854" y="298"/>
                      </a:lnTo>
                      <a:lnTo>
                        <a:pt x="850" y="302"/>
                      </a:lnTo>
                      <a:lnTo>
                        <a:pt x="846" y="306"/>
                      </a:lnTo>
                      <a:lnTo>
                        <a:pt x="842" y="306"/>
                      </a:lnTo>
                      <a:lnTo>
                        <a:pt x="846" y="306"/>
                      </a:lnTo>
                      <a:lnTo>
                        <a:pt x="850" y="302"/>
                      </a:lnTo>
                      <a:lnTo>
                        <a:pt x="854" y="302"/>
                      </a:lnTo>
                      <a:lnTo>
                        <a:pt x="858" y="302"/>
                      </a:lnTo>
                      <a:lnTo>
                        <a:pt x="854" y="302"/>
                      </a:lnTo>
                      <a:lnTo>
                        <a:pt x="854" y="306"/>
                      </a:lnTo>
                      <a:lnTo>
                        <a:pt x="850" y="306"/>
                      </a:lnTo>
                      <a:lnTo>
                        <a:pt x="850" y="310"/>
                      </a:lnTo>
                      <a:lnTo>
                        <a:pt x="854" y="310"/>
                      </a:lnTo>
                      <a:lnTo>
                        <a:pt x="854" y="314"/>
                      </a:lnTo>
                      <a:lnTo>
                        <a:pt x="854" y="310"/>
                      </a:lnTo>
                      <a:lnTo>
                        <a:pt x="850" y="314"/>
                      </a:lnTo>
                      <a:lnTo>
                        <a:pt x="846" y="314"/>
                      </a:lnTo>
                      <a:lnTo>
                        <a:pt x="850" y="314"/>
                      </a:lnTo>
                      <a:lnTo>
                        <a:pt x="850" y="318"/>
                      </a:lnTo>
                      <a:lnTo>
                        <a:pt x="854" y="318"/>
                      </a:lnTo>
                      <a:lnTo>
                        <a:pt x="854" y="314"/>
                      </a:lnTo>
                      <a:lnTo>
                        <a:pt x="858" y="314"/>
                      </a:lnTo>
                      <a:lnTo>
                        <a:pt x="858" y="310"/>
                      </a:lnTo>
                      <a:lnTo>
                        <a:pt x="862" y="310"/>
                      </a:lnTo>
                      <a:lnTo>
                        <a:pt x="858" y="310"/>
                      </a:lnTo>
                      <a:lnTo>
                        <a:pt x="858" y="306"/>
                      </a:lnTo>
                      <a:lnTo>
                        <a:pt x="862" y="306"/>
                      </a:lnTo>
                      <a:lnTo>
                        <a:pt x="862" y="310"/>
                      </a:lnTo>
                      <a:lnTo>
                        <a:pt x="864" y="310"/>
                      </a:lnTo>
                      <a:lnTo>
                        <a:pt x="868" y="310"/>
                      </a:lnTo>
                      <a:lnTo>
                        <a:pt x="864" y="310"/>
                      </a:lnTo>
                      <a:lnTo>
                        <a:pt x="862" y="306"/>
                      </a:lnTo>
                      <a:lnTo>
                        <a:pt x="862" y="302"/>
                      </a:lnTo>
                      <a:lnTo>
                        <a:pt x="864" y="302"/>
                      </a:lnTo>
                      <a:lnTo>
                        <a:pt x="868" y="302"/>
                      </a:lnTo>
                      <a:lnTo>
                        <a:pt x="864" y="302"/>
                      </a:lnTo>
                      <a:lnTo>
                        <a:pt x="868" y="302"/>
                      </a:lnTo>
                      <a:lnTo>
                        <a:pt x="868" y="306"/>
                      </a:lnTo>
                      <a:lnTo>
                        <a:pt x="864" y="306"/>
                      </a:lnTo>
                      <a:lnTo>
                        <a:pt x="864" y="310"/>
                      </a:lnTo>
                      <a:lnTo>
                        <a:pt x="868" y="310"/>
                      </a:lnTo>
                      <a:lnTo>
                        <a:pt x="868" y="306"/>
                      </a:lnTo>
                      <a:lnTo>
                        <a:pt x="872" y="302"/>
                      </a:lnTo>
                      <a:lnTo>
                        <a:pt x="876" y="306"/>
                      </a:lnTo>
                      <a:lnTo>
                        <a:pt x="876" y="310"/>
                      </a:lnTo>
                      <a:lnTo>
                        <a:pt x="876" y="314"/>
                      </a:lnTo>
                      <a:lnTo>
                        <a:pt x="872" y="314"/>
                      </a:lnTo>
                      <a:lnTo>
                        <a:pt x="876" y="314"/>
                      </a:lnTo>
                      <a:lnTo>
                        <a:pt x="880" y="318"/>
                      </a:lnTo>
                      <a:lnTo>
                        <a:pt x="884" y="318"/>
                      </a:lnTo>
                      <a:lnTo>
                        <a:pt x="880" y="314"/>
                      </a:lnTo>
                      <a:lnTo>
                        <a:pt x="880" y="310"/>
                      </a:lnTo>
                      <a:lnTo>
                        <a:pt x="884" y="310"/>
                      </a:lnTo>
                      <a:lnTo>
                        <a:pt x="884" y="314"/>
                      </a:lnTo>
                      <a:lnTo>
                        <a:pt x="888" y="314"/>
                      </a:lnTo>
                      <a:lnTo>
                        <a:pt x="888" y="318"/>
                      </a:lnTo>
                      <a:lnTo>
                        <a:pt x="890" y="318"/>
                      </a:lnTo>
                      <a:lnTo>
                        <a:pt x="890" y="322"/>
                      </a:lnTo>
                      <a:lnTo>
                        <a:pt x="890" y="318"/>
                      </a:lnTo>
                      <a:lnTo>
                        <a:pt x="888" y="318"/>
                      </a:lnTo>
                      <a:lnTo>
                        <a:pt x="888" y="314"/>
                      </a:lnTo>
                      <a:lnTo>
                        <a:pt x="890" y="318"/>
                      </a:lnTo>
                      <a:lnTo>
                        <a:pt x="894" y="322"/>
                      </a:lnTo>
                      <a:lnTo>
                        <a:pt x="894" y="318"/>
                      </a:lnTo>
                      <a:lnTo>
                        <a:pt x="890" y="318"/>
                      </a:lnTo>
                      <a:lnTo>
                        <a:pt x="890" y="314"/>
                      </a:lnTo>
                      <a:lnTo>
                        <a:pt x="888" y="314"/>
                      </a:lnTo>
                      <a:lnTo>
                        <a:pt x="888" y="310"/>
                      </a:lnTo>
                      <a:lnTo>
                        <a:pt x="884" y="310"/>
                      </a:lnTo>
                      <a:lnTo>
                        <a:pt x="880" y="310"/>
                      </a:lnTo>
                      <a:lnTo>
                        <a:pt x="880" y="306"/>
                      </a:lnTo>
                      <a:lnTo>
                        <a:pt x="884" y="306"/>
                      </a:lnTo>
                      <a:lnTo>
                        <a:pt x="884" y="310"/>
                      </a:lnTo>
                      <a:lnTo>
                        <a:pt x="888" y="310"/>
                      </a:lnTo>
                      <a:lnTo>
                        <a:pt x="884" y="310"/>
                      </a:lnTo>
                      <a:lnTo>
                        <a:pt x="884" y="306"/>
                      </a:lnTo>
                      <a:lnTo>
                        <a:pt x="888" y="306"/>
                      </a:lnTo>
                      <a:lnTo>
                        <a:pt x="890" y="306"/>
                      </a:lnTo>
                      <a:lnTo>
                        <a:pt x="894" y="306"/>
                      </a:lnTo>
                      <a:lnTo>
                        <a:pt x="894" y="310"/>
                      </a:lnTo>
                      <a:lnTo>
                        <a:pt x="898" y="310"/>
                      </a:lnTo>
                      <a:lnTo>
                        <a:pt x="902" y="310"/>
                      </a:lnTo>
                      <a:lnTo>
                        <a:pt x="906" y="310"/>
                      </a:lnTo>
                      <a:lnTo>
                        <a:pt x="902" y="310"/>
                      </a:lnTo>
                      <a:lnTo>
                        <a:pt x="898" y="310"/>
                      </a:lnTo>
                      <a:lnTo>
                        <a:pt x="894" y="310"/>
                      </a:lnTo>
                      <a:lnTo>
                        <a:pt x="894" y="306"/>
                      </a:lnTo>
                      <a:lnTo>
                        <a:pt x="890" y="306"/>
                      </a:lnTo>
                      <a:lnTo>
                        <a:pt x="888" y="306"/>
                      </a:lnTo>
                      <a:lnTo>
                        <a:pt x="884" y="302"/>
                      </a:lnTo>
                      <a:lnTo>
                        <a:pt x="884" y="298"/>
                      </a:lnTo>
                      <a:lnTo>
                        <a:pt x="888" y="298"/>
                      </a:lnTo>
                      <a:lnTo>
                        <a:pt x="890" y="294"/>
                      </a:lnTo>
                      <a:lnTo>
                        <a:pt x="894" y="294"/>
                      </a:lnTo>
                      <a:lnTo>
                        <a:pt x="898" y="294"/>
                      </a:lnTo>
                      <a:lnTo>
                        <a:pt x="902" y="294"/>
                      </a:lnTo>
                      <a:lnTo>
                        <a:pt x="906" y="294"/>
                      </a:lnTo>
                      <a:lnTo>
                        <a:pt x="910" y="294"/>
                      </a:lnTo>
                      <a:lnTo>
                        <a:pt x="910" y="298"/>
                      </a:lnTo>
                      <a:lnTo>
                        <a:pt x="914" y="298"/>
                      </a:lnTo>
                      <a:lnTo>
                        <a:pt x="918" y="298"/>
                      </a:lnTo>
                      <a:lnTo>
                        <a:pt x="918" y="302"/>
                      </a:lnTo>
                      <a:lnTo>
                        <a:pt x="918" y="298"/>
                      </a:lnTo>
                      <a:lnTo>
                        <a:pt x="920" y="298"/>
                      </a:lnTo>
                      <a:lnTo>
                        <a:pt x="924" y="298"/>
                      </a:lnTo>
                      <a:lnTo>
                        <a:pt x="928" y="298"/>
                      </a:lnTo>
                      <a:lnTo>
                        <a:pt x="928" y="302"/>
                      </a:lnTo>
                      <a:lnTo>
                        <a:pt x="932" y="302"/>
                      </a:lnTo>
                      <a:lnTo>
                        <a:pt x="932" y="306"/>
                      </a:lnTo>
                      <a:lnTo>
                        <a:pt x="936" y="306"/>
                      </a:lnTo>
                      <a:lnTo>
                        <a:pt x="932" y="310"/>
                      </a:lnTo>
                      <a:lnTo>
                        <a:pt x="928" y="310"/>
                      </a:lnTo>
                      <a:lnTo>
                        <a:pt x="924" y="310"/>
                      </a:lnTo>
                      <a:lnTo>
                        <a:pt x="920" y="310"/>
                      </a:lnTo>
                      <a:lnTo>
                        <a:pt x="920" y="314"/>
                      </a:lnTo>
                      <a:lnTo>
                        <a:pt x="918" y="314"/>
                      </a:lnTo>
                      <a:lnTo>
                        <a:pt x="914" y="318"/>
                      </a:lnTo>
                      <a:lnTo>
                        <a:pt x="918" y="314"/>
                      </a:lnTo>
                      <a:lnTo>
                        <a:pt x="920" y="314"/>
                      </a:lnTo>
                      <a:lnTo>
                        <a:pt x="920" y="310"/>
                      </a:lnTo>
                      <a:lnTo>
                        <a:pt x="924" y="310"/>
                      </a:lnTo>
                      <a:lnTo>
                        <a:pt x="928" y="310"/>
                      </a:lnTo>
                      <a:lnTo>
                        <a:pt x="932" y="314"/>
                      </a:lnTo>
                      <a:lnTo>
                        <a:pt x="928" y="314"/>
                      </a:lnTo>
                      <a:lnTo>
                        <a:pt x="924" y="314"/>
                      </a:lnTo>
                      <a:lnTo>
                        <a:pt x="924" y="318"/>
                      </a:lnTo>
                      <a:lnTo>
                        <a:pt x="920" y="322"/>
                      </a:lnTo>
                      <a:lnTo>
                        <a:pt x="918" y="322"/>
                      </a:lnTo>
                      <a:lnTo>
                        <a:pt x="920" y="322"/>
                      </a:lnTo>
                      <a:lnTo>
                        <a:pt x="924" y="318"/>
                      </a:lnTo>
                      <a:lnTo>
                        <a:pt x="924" y="314"/>
                      </a:lnTo>
                      <a:lnTo>
                        <a:pt x="928" y="314"/>
                      </a:lnTo>
                      <a:lnTo>
                        <a:pt x="932" y="314"/>
                      </a:lnTo>
                      <a:lnTo>
                        <a:pt x="932" y="310"/>
                      </a:lnTo>
                      <a:lnTo>
                        <a:pt x="936" y="310"/>
                      </a:lnTo>
                      <a:lnTo>
                        <a:pt x="940" y="310"/>
                      </a:lnTo>
                      <a:lnTo>
                        <a:pt x="944" y="314"/>
                      </a:lnTo>
                      <a:lnTo>
                        <a:pt x="948" y="314"/>
                      </a:lnTo>
                      <a:lnTo>
                        <a:pt x="948" y="318"/>
                      </a:lnTo>
                      <a:lnTo>
                        <a:pt x="944" y="318"/>
                      </a:lnTo>
                      <a:lnTo>
                        <a:pt x="944" y="322"/>
                      </a:lnTo>
                      <a:lnTo>
                        <a:pt x="940" y="318"/>
                      </a:lnTo>
                      <a:lnTo>
                        <a:pt x="940" y="322"/>
                      </a:lnTo>
                      <a:lnTo>
                        <a:pt x="936" y="322"/>
                      </a:lnTo>
                      <a:lnTo>
                        <a:pt x="932" y="322"/>
                      </a:lnTo>
                      <a:lnTo>
                        <a:pt x="928" y="322"/>
                      </a:lnTo>
                      <a:lnTo>
                        <a:pt x="932" y="322"/>
                      </a:lnTo>
                      <a:lnTo>
                        <a:pt x="936" y="322"/>
                      </a:lnTo>
                      <a:lnTo>
                        <a:pt x="932" y="324"/>
                      </a:lnTo>
                      <a:lnTo>
                        <a:pt x="928" y="324"/>
                      </a:lnTo>
                      <a:lnTo>
                        <a:pt x="932" y="324"/>
                      </a:lnTo>
                      <a:lnTo>
                        <a:pt x="936" y="324"/>
                      </a:lnTo>
                      <a:lnTo>
                        <a:pt x="936" y="322"/>
                      </a:lnTo>
                      <a:lnTo>
                        <a:pt x="940" y="322"/>
                      </a:lnTo>
                      <a:lnTo>
                        <a:pt x="940" y="324"/>
                      </a:lnTo>
                      <a:lnTo>
                        <a:pt x="936" y="324"/>
                      </a:lnTo>
                      <a:lnTo>
                        <a:pt x="932" y="324"/>
                      </a:lnTo>
                      <a:lnTo>
                        <a:pt x="932" y="328"/>
                      </a:lnTo>
                      <a:lnTo>
                        <a:pt x="932" y="324"/>
                      </a:lnTo>
                      <a:lnTo>
                        <a:pt x="936" y="324"/>
                      </a:lnTo>
                      <a:lnTo>
                        <a:pt x="936" y="328"/>
                      </a:lnTo>
                      <a:lnTo>
                        <a:pt x="940" y="328"/>
                      </a:lnTo>
                      <a:lnTo>
                        <a:pt x="936" y="332"/>
                      </a:lnTo>
                      <a:lnTo>
                        <a:pt x="932" y="336"/>
                      </a:lnTo>
                      <a:lnTo>
                        <a:pt x="936" y="332"/>
                      </a:lnTo>
                      <a:lnTo>
                        <a:pt x="940" y="332"/>
                      </a:lnTo>
                      <a:lnTo>
                        <a:pt x="940" y="328"/>
                      </a:lnTo>
                      <a:lnTo>
                        <a:pt x="936" y="328"/>
                      </a:lnTo>
                      <a:lnTo>
                        <a:pt x="936" y="324"/>
                      </a:lnTo>
                      <a:lnTo>
                        <a:pt x="940" y="324"/>
                      </a:lnTo>
                      <a:lnTo>
                        <a:pt x="944" y="322"/>
                      </a:lnTo>
                      <a:lnTo>
                        <a:pt x="948" y="322"/>
                      </a:lnTo>
                      <a:lnTo>
                        <a:pt x="948" y="324"/>
                      </a:lnTo>
                      <a:lnTo>
                        <a:pt x="944" y="324"/>
                      </a:lnTo>
                      <a:lnTo>
                        <a:pt x="948" y="324"/>
                      </a:lnTo>
                      <a:lnTo>
                        <a:pt x="948" y="322"/>
                      </a:lnTo>
                      <a:lnTo>
                        <a:pt x="950" y="322"/>
                      </a:lnTo>
                      <a:lnTo>
                        <a:pt x="954" y="322"/>
                      </a:lnTo>
                      <a:lnTo>
                        <a:pt x="950" y="322"/>
                      </a:lnTo>
                      <a:lnTo>
                        <a:pt x="950" y="324"/>
                      </a:lnTo>
                      <a:lnTo>
                        <a:pt x="948" y="324"/>
                      </a:lnTo>
                      <a:lnTo>
                        <a:pt x="948" y="328"/>
                      </a:lnTo>
                      <a:lnTo>
                        <a:pt x="944" y="328"/>
                      </a:lnTo>
                      <a:lnTo>
                        <a:pt x="948" y="328"/>
                      </a:lnTo>
                      <a:lnTo>
                        <a:pt x="948" y="332"/>
                      </a:lnTo>
                      <a:lnTo>
                        <a:pt x="944" y="332"/>
                      </a:lnTo>
                      <a:lnTo>
                        <a:pt x="944" y="336"/>
                      </a:lnTo>
                      <a:lnTo>
                        <a:pt x="948" y="336"/>
                      </a:lnTo>
                      <a:lnTo>
                        <a:pt x="948" y="332"/>
                      </a:lnTo>
                      <a:lnTo>
                        <a:pt x="948" y="328"/>
                      </a:lnTo>
                      <a:lnTo>
                        <a:pt x="950" y="324"/>
                      </a:lnTo>
                      <a:lnTo>
                        <a:pt x="954" y="324"/>
                      </a:lnTo>
                      <a:lnTo>
                        <a:pt x="954" y="328"/>
                      </a:lnTo>
                      <a:lnTo>
                        <a:pt x="954" y="332"/>
                      </a:lnTo>
                      <a:lnTo>
                        <a:pt x="954" y="328"/>
                      </a:lnTo>
                      <a:lnTo>
                        <a:pt x="958" y="328"/>
                      </a:lnTo>
                      <a:lnTo>
                        <a:pt x="954" y="332"/>
                      </a:lnTo>
                      <a:lnTo>
                        <a:pt x="950" y="332"/>
                      </a:lnTo>
                      <a:lnTo>
                        <a:pt x="950" y="336"/>
                      </a:lnTo>
                      <a:lnTo>
                        <a:pt x="950" y="340"/>
                      </a:lnTo>
                      <a:lnTo>
                        <a:pt x="950" y="336"/>
                      </a:lnTo>
                      <a:lnTo>
                        <a:pt x="954" y="332"/>
                      </a:lnTo>
                      <a:lnTo>
                        <a:pt x="958" y="332"/>
                      </a:lnTo>
                      <a:lnTo>
                        <a:pt x="962" y="332"/>
                      </a:lnTo>
                      <a:lnTo>
                        <a:pt x="958" y="332"/>
                      </a:lnTo>
                      <a:lnTo>
                        <a:pt x="958" y="336"/>
                      </a:lnTo>
                      <a:lnTo>
                        <a:pt x="958" y="340"/>
                      </a:lnTo>
                      <a:lnTo>
                        <a:pt x="954" y="340"/>
                      </a:lnTo>
                      <a:lnTo>
                        <a:pt x="958" y="340"/>
                      </a:lnTo>
                      <a:lnTo>
                        <a:pt x="958" y="336"/>
                      </a:lnTo>
                      <a:lnTo>
                        <a:pt x="962" y="332"/>
                      </a:lnTo>
                      <a:lnTo>
                        <a:pt x="962" y="336"/>
                      </a:lnTo>
                      <a:lnTo>
                        <a:pt x="962" y="332"/>
                      </a:lnTo>
                      <a:lnTo>
                        <a:pt x="962" y="328"/>
                      </a:lnTo>
                      <a:lnTo>
                        <a:pt x="966" y="328"/>
                      </a:lnTo>
                      <a:lnTo>
                        <a:pt x="966" y="324"/>
                      </a:lnTo>
                      <a:lnTo>
                        <a:pt x="970" y="324"/>
                      </a:lnTo>
                      <a:lnTo>
                        <a:pt x="970" y="322"/>
                      </a:lnTo>
                      <a:lnTo>
                        <a:pt x="970" y="324"/>
                      </a:lnTo>
                      <a:lnTo>
                        <a:pt x="974" y="324"/>
                      </a:lnTo>
                      <a:lnTo>
                        <a:pt x="976" y="324"/>
                      </a:lnTo>
                      <a:lnTo>
                        <a:pt x="980" y="324"/>
                      </a:lnTo>
                      <a:lnTo>
                        <a:pt x="980" y="328"/>
                      </a:lnTo>
                      <a:lnTo>
                        <a:pt x="984" y="328"/>
                      </a:lnTo>
                      <a:lnTo>
                        <a:pt x="988" y="332"/>
                      </a:lnTo>
                      <a:lnTo>
                        <a:pt x="988" y="336"/>
                      </a:lnTo>
                      <a:lnTo>
                        <a:pt x="984" y="336"/>
                      </a:lnTo>
                      <a:lnTo>
                        <a:pt x="984" y="340"/>
                      </a:lnTo>
                      <a:lnTo>
                        <a:pt x="980" y="340"/>
                      </a:lnTo>
                      <a:lnTo>
                        <a:pt x="980" y="336"/>
                      </a:lnTo>
                      <a:lnTo>
                        <a:pt x="976" y="336"/>
                      </a:lnTo>
                      <a:lnTo>
                        <a:pt x="974" y="340"/>
                      </a:lnTo>
                      <a:lnTo>
                        <a:pt x="974" y="344"/>
                      </a:lnTo>
                      <a:lnTo>
                        <a:pt x="970" y="344"/>
                      </a:lnTo>
                      <a:lnTo>
                        <a:pt x="966" y="344"/>
                      </a:lnTo>
                      <a:lnTo>
                        <a:pt x="970" y="344"/>
                      </a:lnTo>
                      <a:lnTo>
                        <a:pt x="974" y="344"/>
                      </a:lnTo>
                      <a:lnTo>
                        <a:pt x="970" y="348"/>
                      </a:lnTo>
                      <a:lnTo>
                        <a:pt x="970" y="350"/>
                      </a:lnTo>
                      <a:lnTo>
                        <a:pt x="966" y="350"/>
                      </a:lnTo>
                      <a:lnTo>
                        <a:pt x="970" y="350"/>
                      </a:lnTo>
                      <a:lnTo>
                        <a:pt x="970" y="348"/>
                      </a:lnTo>
                      <a:lnTo>
                        <a:pt x="974" y="348"/>
                      </a:lnTo>
                      <a:lnTo>
                        <a:pt x="976" y="348"/>
                      </a:lnTo>
                      <a:lnTo>
                        <a:pt x="976" y="344"/>
                      </a:lnTo>
                      <a:lnTo>
                        <a:pt x="980" y="344"/>
                      </a:lnTo>
                      <a:lnTo>
                        <a:pt x="984" y="344"/>
                      </a:lnTo>
                      <a:lnTo>
                        <a:pt x="988" y="340"/>
                      </a:lnTo>
                      <a:lnTo>
                        <a:pt x="992" y="336"/>
                      </a:lnTo>
                      <a:lnTo>
                        <a:pt x="996" y="336"/>
                      </a:lnTo>
                      <a:lnTo>
                        <a:pt x="996" y="340"/>
                      </a:lnTo>
                      <a:lnTo>
                        <a:pt x="996" y="344"/>
                      </a:lnTo>
                      <a:lnTo>
                        <a:pt x="996" y="348"/>
                      </a:lnTo>
                      <a:lnTo>
                        <a:pt x="992" y="348"/>
                      </a:lnTo>
                      <a:lnTo>
                        <a:pt x="988" y="348"/>
                      </a:lnTo>
                      <a:lnTo>
                        <a:pt x="988" y="350"/>
                      </a:lnTo>
                      <a:lnTo>
                        <a:pt x="984" y="350"/>
                      </a:lnTo>
                      <a:lnTo>
                        <a:pt x="980" y="350"/>
                      </a:lnTo>
                      <a:lnTo>
                        <a:pt x="980" y="354"/>
                      </a:lnTo>
                      <a:lnTo>
                        <a:pt x="980" y="358"/>
                      </a:lnTo>
                      <a:lnTo>
                        <a:pt x="976" y="358"/>
                      </a:lnTo>
                      <a:lnTo>
                        <a:pt x="980" y="358"/>
                      </a:lnTo>
                      <a:lnTo>
                        <a:pt x="980" y="354"/>
                      </a:lnTo>
                      <a:lnTo>
                        <a:pt x="984" y="350"/>
                      </a:lnTo>
                      <a:lnTo>
                        <a:pt x="988" y="350"/>
                      </a:lnTo>
                      <a:lnTo>
                        <a:pt x="988" y="354"/>
                      </a:lnTo>
                      <a:lnTo>
                        <a:pt x="984" y="358"/>
                      </a:lnTo>
                      <a:lnTo>
                        <a:pt x="984" y="362"/>
                      </a:lnTo>
                      <a:lnTo>
                        <a:pt x="984" y="366"/>
                      </a:lnTo>
                      <a:lnTo>
                        <a:pt x="984" y="362"/>
                      </a:lnTo>
                      <a:lnTo>
                        <a:pt x="988" y="358"/>
                      </a:lnTo>
                      <a:lnTo>
                        <a:pt x="988" y="354"/>
                      </a:lnTo>
                      <a:lnTo>
                        <a:pt x="988" y="350"/>
                      </a:lnTo>
                      <a:lnTo>
                        <a:pt x="992" y="350"/>
                      </a:lnTo>
                      <a:lnTo>
                        <a:pt x="992" y="348"/>
                      </a:lnTo>
                      <a:lnTo>
                        <a:pt x="996" y="348"/>
                      </a:lnTo>
                      <a:lnTo>
                        <a:pt x="1000" y="348"/>
                      </a:lnTo>
                      <a:lnTo>
                        <a:pt x="1000" y="344"/>
                      </a:lnTo>
                      <a:lnTo>
                        <a:pt x="1004" y="344"/>
                      </a:lnTo>
                      <a:lnTo>
                        <a:pt x="1006" y="344"/>
                      </a:lnTo>
                      <a:lnTo>
                        <a:pt x="1006" y="348"/>
                      </a:lnTo>
                      <a:lnTo>
                        <a:pt x="1004" y="348"/>
                      </a:lnTo>
                      <a:lnTo>
                        <a:pt x="1004" y="350"/>
                      </a:lnTo>
                      <a:lnTo>
                        <a:pt x="1000" y="350"/>
                      </a:lnTo>
                      <a:lnTo>
                        <a:pt x="1000" y="354"/>
                      </a:lnTo>
                      <a:lnTo>
                        <a:pt x="1000" y="350"/>
                      </a:lnTo>
                      <a:lnTo>
                        <a:pt x="1004" y="350"/>
                      </a:lnTo>
                      <a:lnTo>
                        <a:pt x="1004" y="348"/>
                      </a:lnTo>
                      <a:lnTo>
                        <a:pt x="1006" y="348"/>
                      </a:lnTo>
                      <a:lnTo>
                        <a:pt x="1010" y="348"/>
                      </a:lnTo>
                      <a:lnTo>
                        <a:pt x="1014" y="348"/>
                      </a:lnTo>
                      <a:lnTo>
                        <a:pt x="1018" y="348"/>
                      </a:lnTo>
                      <a:lnTo>
                        <a:pt x="1022" y="350"/>
                      </a:lnTo>
                      <a:lnTo>
                        <a:pt x="1026" y="350"/>
                      </a:lnTo>
                      <a:lnTo>
                        <a:pt x="1030" y="350"/>
                      </a:lnTo>
                      <a:lnTo>
                        <a:pt x="1030" y="354"/>
                      </a:lnTo>
                      <a:lnTo>
                        <a:pt x="1026" y="354"/>
                      </a:lnTo>
                      <a:lnTo>
                        <a:pt x="1022" y="354"/>
                      </a:lnTo>
                      <a:lnTo>
                        <a:pt x="1022" y="358"/>
                      </a:lnTo>
                      <a:lnTo>
                        <a:pt x="1018" y="358"/>
                      </a:lnTo>
                      <a:lnTo>
                        <a:pt x="1014" y="358"/>
                      </a:lnTo>
                      <a:lnTo>
                        <a:pt x="1010" y="358"/>
                      </a:lnTo>
                      <a:lnTo>
                        <a:pt x="1010" y="362"/>
                      </a:lnTo>
                      <a:lnTo>
                        <a:pt x="1006" y="362"/>
                      </a:lnTo>
                      <a:lnTo>
                        <a:pt x="1004" y="362"/>
                      </a:lnTo>
                      <a:lnTo>
                        <a:pt x="1004" y="366"/>
                      </a:lnTo>
                      <a:lnTo>
                        <a:pt x="1006" y="366"/>
                      </a:lnTo>
                      <a:lnTo>
                        <a:pt x="1004" y="366"/>
                      </a:lnTo>
                      <a:lnTo>
                        <a:pt x="1000" y="370"/>
                      </a:lnTo>
                      <a:lnTo>
                        <a:pt x="1004" y="370"/>
                      </a:lnTo>
                      <a:lnTo>
                        <a:pt x="1004" y="366"/>
                      </a:lnTo>
                      <a:lnTo>
                        <a:pt x="1006" y="366"/>
                      </a:lnTo>
                      <a:lnTo>
                        <a:pt x="1006" y="362"/>
                      </a:lnTo>
                      <a:lnTo>
                        <a:pt x="1010" y="362"/>
                      </a:lnTo>
                      <a:lnTo>
                        <a:pt x="1014" y="362"/>
                      </a:lnTo>
                      <a:lnTo>
                        <a:pt x="1018" y="362"/>
                      </a:lnTo>
                      <a:lnTo>
                        <a:pt x="1022" y="362"/>
                      </a:lnTo>
                      <a:lnTo>
                        <a:pt x="1026" y="362"/>
                      </a:lnTo>
                      <a:lnTo>
                        <a:pt x="1022" y="366"/>
                      </a:lnTo>
                      <a:lnTo>
                        <a:pt x="1018" y="366"/>
                      </a:lnTo>
                      <a:lnTo>
                        <a:pt x="1014" y="370"/>
                      </a:lnTo>
                      <a:lnTo>
                        <a:pt x="1010" y="370"/>
                      </a:lnTo>
                      <a:lnTo>
                        <a:pt x="1006" y="370"/>
                      </a:lnTo>
                      <a:lnTo>
                        <a:pt x="1004" y="374"/>
                      </a:lnTo>
                      <a:lnTo>
                        <a:pt x="1004" y="378"/>
                      </a:lnTo>
                      <a:lnTo>
                        <a:pt x="1006" y="374"/>
                      </a:lnTo>
                      <a:lnTo>
                        <a:pt x="1006" y="370"/>
                      </a:lnTo>
                      <a:lnTo>
                        <a:pt x="1010" y="370"/>
                      </a:lnTo>
                      <a:lnTo>
                        <a:pt x="1014" y="370"/>
                      </a:lnTo>
                      <a:lnTo>
                        <a:pt x="1018" y="370"/>
                      </a:lnTo>
                      <a:lnTo>
                        <a:pt x="1018" y="366"/>
                      </a:lnTo>
                      <a:lnTo>
                        <a:pt x="1022" y="366"/>
                      </a:lnTo>
                      <a:lnTo>
                        <a:pt x="1026" y="366"/>
                      </a:lnTo>
                      <a:lnTo>
                        <a:pt x="1030" y="366"/>
                      </a:lnTo>
                      <a:lnTo>
                        <a:pt x="1030" y="362"/>
                      </a:lnTo>
                      <a:lnTo>
                        <a:pt x="1030" y="358"/>
                      </a:lnTo>
                      <a:lnTo>
                        <a:pt x="1032" y="358"/>
                      </a:lnTo>
                      <a:lnTo>
                        <a:pt x="1036" y="358"/>
                      </a:lnTo>
                      <a:lnTo>
                        <a:pt x="1036" y="362"/>
                      </a:lnTo>
                      <a:lnTo>
                        <a:pt x="1040" y="362"/>
                      </a:lnTo>
                      <a:lnTo>
                        <a:pt x="1040" y="366"/>
                      </a:lnTo>
                      <a:lnTo>
                        <a:pt x="1044" y="366"/>
                      </a:lnTo>
                      <a:lnTo>
                        <a:pt x="1044" y="370"/>
                      </a:lnTo>
                      <a:lnTo>
                        <a:pt x="1044" y="374"/>
                      </a:lnTo>
                      <a:lnTo>
                        <a:pt x="1040" y="374"/>
                      </a:lnTo>
                      <a:lnTo>
                        <a:pt x="1036" y="374"/>
                      </a:lnTo>
                      <a:lnTo>
                        <a:pt x="1036" y="370"/>
                      </a:lnTo>
                      <a:lnTo>
                        <a:pt x="1032" y="370"/>
                      </a:lnTo>
                      <a:lnTo>
                        <a:pt x="1032" y="374"/>
                      </a:lnTo>
                      <a:lnTo>
                        <a:pt x="1030" y="374"/>
                      </a:lnTo>
                      <a:lnTo>
                        <a:pt x="1026" y="374"/>
                      </a:lnTo>
                      <a:lnTo>
                        <a:pt x="1022" y="378"/>
                      </a:lnTo>
                      <a:lnTo>
                        <a:pt x="1018" y="378"/>
                      </a:lnTo>
                      <a:lnTo>
                        <a:pt x="1014" y="378"/>
                      </a:lnTo>
                      <a:lnTo>
                        <a:pt x="1010" y="378"/>
                      </a:lnTo>
                      <a:lnTo>
                        <a:pt x="1006" y="378"/>
                      </a:lnTo>
                      <a:lnTo>
                        <a:pt x="1004" y="378"/>
                      </a:lnTo>
                      <a:lnTo>
                        <a:pt x="1006" y="378"/>
                      </a:lnTo>
                      <a:lnTo>
                        <a:pt x="1010" y="378"/>
                      </a:lnTo>
                      <a:lnTo>
                        <a:pt x="1014" y="378"/>
                      </a:lnTo>
                      <a:lnTo>
                        <a:pt x="1018" y="378"/>
                      </a:lnTo>
                      <a:lnTo>
                        <a:pt x="1022" y="378"/>
                      </a:lnTo>
                      <a:lnTo>
                        <a:pt x="1026" y="378"/>
                      </a:lnTo>
                      <a:lnTo>
                        <a:pt x="1030" y="378"/>
                      </a:lnTo>
                      <a:lnTo>
                        <a:pt x="1032" y="380"/>
                      </a:lnTo>
                      <a:lnTo>
                        <a:pt x="1036" y="380"/>
                      </a:lnTo>
                      <a:lnTo>
                        <a:pt x="1036" y="378"/>
                      </a:lnTo>
                      <a:lnTo>
                        <a:pt x="1040" y="380"/>
                      </a:lnTo>
                      <a:lnTo>
                        <a:pt x="1044" y="380"/>
                      </a:lnTo>
                      <a:lnTo>
                        <a:pt x="1048" y="380"/>
                      </a:lnTo>
                      <a:lnTo>
                        <a:pt x="1052" y="380"/>
                      </a:lnTo>
                      <a:lnTo>
                        <a:pt x="1052" y="384"/>
                      </a:lnTo>
                      <a:lnTo>
                        <a:pt x="1052" y="388"/>
                      </a:lnTo>
                      <a:lnTo>
                        <a:pt x="1048" y="388"/>
                      </a:lnTo>
                      <a:lnTo>
                        <a:pt x="1044" y="384"/>
                      </a:lnTo>
                      <a:lnTo>
                        <a:pt x="1040" y="384"/>
                      </a:lnTo>
                      <a:lnTo>
                        <a:pt x="1040" y="388"/>
                      </a:lnTo>
                      <a:lnTo>
                        <a:pt x="1036" y="388"/>
                      </a:lnTo>
                      <a:lnTo>
                        <a:pt x="1032" y="384"/>
                      </a:lnTo>
                      <a:lnTo>
                        <a:pt x="1030" y="384"/>
                      </a:lnTo>
                      <a:lnTo>
                        <a:pt x="1026" y="384"/>
                      </a:lnTo>
                      <a:lnTo>
                        <a:pt x="1022" y="384"/>
                      </a:lnTo>
                      <a:lnTo>
                        <a:pt x="1022" y="380"/>
                      </a:lnTo>
                      <a:lnTo>
                        <a:pt x="1018" y="380"/>
                      </a:lnTo>
                      <a:lnTo>
                        <a:pt x="1014" y="384"/>
                      </a:lnTo>
                      <a:lnTo>
                        <a:pt x="1018" y="384"/>
                      </a:lnTo>
                      <a:lnTo>
                        <a:pt x="1018" y="380"/>
                      </a:lnTo>
                      <a:lnTo>
                        <a:pt x="1022" y="384"/>
                      </a:lnTo>
                      <a:lnTo>
                        <a:pt x="1026" y="384"/>
                      </a:lnTo>
                      <a:lnTo>
                        <a:pt x="1030" y="384"/>
                      </a:lnTo>
                      <a:lnTo>
                        <a:pt x="1032" y="384"/>
                      </a:lnTo>
                      <a:lnTo>
                        <a:pt x="1030" y="384"/>
                      </a:lnTo>
                      <a:lnTo>
                        <a:pt x="1026" y="384"/>
                      </a:lnTo>
                      <a:lnTo>
                        <a:pt x="1022" y="384"/>
                      </a:lnTo>
                      <a:lnTo>
                        <a:pt x="1018" y="384"/>
                      </a:lnTo>
                      <a:lnTo>
                        <a:pt x="1022" y="384"/>
                      </a:lnTo>
                      <a:lnTo>
                        <a:pt x="1026" y="384"/>
                      </a:lnTo>
                      <a:lnTo>
                        <a:pt x="1022" y="388"/>
                      </a:lnTo>
                      <a:lnTo>
                        <a:pt x="1018" y="388"/>
                      </a:lnTo>
                      <a:lnTo>
                        <a:pt x="1018" y="392"/>
                      </a:lnTo>
                      <a:lnTo>
                        <a:pt x="1022" y="388"/>
                      </a:lnTo>
                      <a:lnTo>
                        <a:pt x="1026" y="388"/>
                      </a:lnTo>
                      <a:lnTo>
                        <a:pt x="1030" y="388"/>
                      </a:lnTo>
                      <a:lnTo>
                        <a:pt x="1032" y="388"/>
                      </a:lnTo>
                      <a:lnTo>
                        <a:pt x="1036" y="392"/>
                      </a:lnTo>
                      <a:lnTo>
                        <a:pt x="1032" y="392"/>
                      </a:lnTo>
                      <a:lnTo>
                        <a:pt x="1030" y="392"/>
                      </a:lnTo>
                      <a:lnTo>
                        <a:pt x="1026" y="392"/>
                      </a:lnTo>
                      <a:lnTo>
                        <a:pt x="1030" y="392"/>
                      </a:lnTo>
                      <a:lnTo>
                        <a:pt x="1032" y="392"/>
                      </a:lnTo>
                      <a:lnTo>
                        <a:pt x="1032" y="396"/>
                      </a:lnTo>
                      <a:lnTo>
                        <a:pt x="1030" y="396"/>
                      </a:lnTo>
                      <a:lnTo>
                        <a:pt x="1030" y="392"/>
                      </a:lnTo>
                      <a:lnTo>
                        <a:pt x="1026" y="392"/>
                      </a:lnTo>
                      <a:lnTo>
                        <a:pt x="1026" y="396"/>
                      </a:lnTo>
                      <a:lnTo>
                        <a:pt x="1030" y="396"/>
                      </a:lnTo>
                      <a:lnTo>
                        <a:pt x="1032" y="396"/>
                      </a:lnTo>
                      <a:lnTo>
                        <a:pt x="1036" y="396"/>
                      </a:lnTo>
                      <a:lnTo>
                        <a:pt x="1032" y="396"/>
                      </a:lnTo>
                      <a:lnTo>
                        <a:pt x="1030" y="396"/>
                      </a:lnTo>
                      <a:lnTo>
                        <a:pt x="1026" y="396"/>
                      </a:lnTo>
                      <a:lnTo>
                        <a:pt x="1022" y="396"/>
                      </a:lnTo>
                      <a:lnTo>
                        <a:pt x="1018" y="396"/>
                      </a:lnTo>
                      <a:lnTo>
                        <a:pt x="1014" y="396"/>
                      </a:lnTo>
                      <a:lnTo>
                        <a:pt x="1018" y="396"/>
                      </a:lnTo>
                      <a:lnTo>
                        <a:pt x="1014" y="396"/>
                      </a:lnTo>
                      <a:lnTo>
                        <a:pt x="1018" y="396"/>
                      </a:lnTo>
                      <a:lnTo>
                        <a:pt x="1030" y="400"/>
                      </a:lnTo>
                      <a:lnTo>
                        <a:pt x="1032" y="400"/>
                      </a:lnTo>
                      <a:lnTo>
                        <a:pt x="1030" y="400"/>
                      </a:lnTo>
                      <a:lnTo>
                        <a:pt x="1026" y="400"/>
                      </a:lnTo>
                      <a:lnTo>
                        <a:pt x="1022" y="400"/>
                      </a:lnTo>
                      <a:lnTo>
                        <a:pt x="1026" y="400"/>
                      </a:lnTo>
                      <a:lnTo>
                        <a:pt x="1026" y="404"/>
                      </a:lnTo>
                      <a:lnTo>
                        <a:pt x="1022" y="404"/>
                      </a:lnTo>
                      <a:lnTo>
                        <a:pt x="1026" y="404"/>
                      </a:lnTo>
                      <a:lnTo>
                        <a:pt x="1026" y="400"/>
                      </a:lnTo>
                      <a:lnTo>
                        <a:pt x="1030" y="400"/>
                      </a:lnTo>
                      <a:lnTo>
                        <a:pt x="1030" y="404"/>
                      </a:lnTo>
                      <a:lnTo>
                        <a:pt x="1032" y="404"/>
                      </a:lnTo>
                      <a:lnTo>
                        <a:pt x="1036" y="404"/>
                      </a:lnTo>
                      <a:lnTo>
                        <a:pt x="1040" y="404"/>
                      </a:lnTo>
                      <a:lnTo>
                        <a:pt x="1036" y="404"/>
                      </a:lnTo>
                      <a:lnTo>
                        <a:pt x="1036" y="408"/>
                      </a:lnTo>
                      <a:lnTo>
                        <a:pt x="1040" y="408"/>
                      </a:lnTo>
                      <a:lnTo>
                        <a:pt x="1040" y="404"/>
                      </a:lnTo>
                      <a:lnTo>
                        <a:pt x="1044" y="404"/>
                      </a:lnTo>
                      <a:lnTo>
                        <a:pt x="1044" y="408"/>
                      </a:lnTo>
                      <a:lnTo>
                        <a:pt x="1040" y="408"/>
                      </a:lnTo>
                      <a:lnTo>
                        <a:pt x="1044" y="408"/>
                      </a:lnTo>
                      <a:lnTo>
                        <a:pt x="1044" y="404"/>
                      </a:lnTo>
                      <a:lnTo>
                        <a:pt x="1048" y="404"/>
                      </a:lnTo>
                      <a:lnTo>
                        <a:pt x="1052" y="404"/>
                      </a:lnTo>
                      <a:lnTo>
                        <a:pt x="1052" y="408"/>
                      </a:lnTo>
                      <a:lnTo>
                        <a:pt x="1048" y="408"/>
                      </a:lnTo>
                      <a:lnTo>
                        <a:pt x="1044" y="408"/>
                      </a:lnTo>
                      <a:lnTo>
                        <a:pt x="1040" y="408"/>
                      </a:lnTo>
                      <a:lnTo>
                        <a:pt x="1036" y="408"/>
                      </a:lnTo>
                      <a:lnTo>
                        <a:pt x="1032" y="408"/>
                      </a:lnTo>
                      <a:lnTo>
                        <a:pt x="1032" y="410"/>
                      </a:lnTo>
                      <a:lnTo>
                        <a:pt x="1036" y="410"/>
                      </a:lnTo>
                      <a:lnTo>
                        <a:pt x="1036" y="408"/>
                      </a:lnTo>
                      <a:lnTo>
                        <a:pt x="1040" y="408"/>
                      </a:lnTo>
                      <a:lnTo>
                        <a:pt x="1040" y="410"/>
                      </a:lnTo>
                      <a:lnTo>
                        <a:pt x="1036" y="410"/>
                      </a:lnTo>
                      <a:lnTo>
                        <a:pt x="1040" y="410"/>
                      </a:lnTo>
                      <a:lnTo>
                        <a:pt x="1040" y="408"/>
                      </a:lnTo>
                      <a:lnTo>
                        <a:pt x="1044" y="408"/>
                      </a:lnTo>
                      <a:lnTo>
                        <a:pt x="1048" y="408"/>
                      </a:lnTo>
                      <a:lnTo>
                        <a:pt x="1044" y="408"/>
                      </a:lnTo>
                      <a:lnTo>
                        <a:pt x="1044" y="410"/>
                      </a:lnTo>
                      <a:lnTo>
                        <a:pt x="1040" y="410"/>
                      </a:lnTo>
                      <a:lnTo>
                        <a:pt x="1044" y="410"/>
                      </a:lnTo>
                      <a:lnTo>
                        <a:pt x="1040" y="410"/>
                      </a:lnTo>
                      <a:lnTo>
                        <a:pt x="1036" y="410"/>
                      </a:lnTo>
                      <a:lnTo>
                        <a:pt x="1040" y="410"/>
                      </a:lnTo>
                      <a:lnTo>
                        <a:pt x="1040" y="414"/>
                      </a:lnTo>
                      <a:lnTo>
                        <a:pt x="1044" y="410"/>
                      </a:lnTo>
                      <a:lnTo>
                        <a:pt x="1048" y="408"/>
                      </a:lnTo>
                      <a:lnTo>
                        <a:pt x="1048" y="410"/>
                      </a:lnTo>
                      <a:lnTo>
                        <a:pt x="1052" y="410"/>
                      </a:lnTo>
                      <a:lnTo>
                        <a:pt x="1048" y="414"/>
                      </a:lnTo>
                      <a:lnTo>
                        <a:pt x="1052" y="414"/>
                      </a:lnTo>
                      <a:lnTo>
                        <a:pt x="1052" y="410"/>
                      </a:lnTo>
                      <a:lnTo>
                        <a:pt x="1052" y="414"/>
                      </a:lnTo>
                      <a:lnTo>
                        <a:pt x="1052" y="418"/>
                      </a:lnTo>
                      <a:lnTo>
                        <a:pt x="1052" y="414"/>
                      </a:lnTo>
                      <a:lnTo>
                        <a:pt x="1052" y="410"/>
                      </a:lnTo>
                      <a:lnTo>
                        <a:pt x="1056" y="410"/>
                      </a:lnTo>
                      <a:lnTo>
                        <a:pt x="1056" y="414"/>
                      </a:lnTo>
                      <a:lnTo>
                        <a:pt x="1060" y="414"/>
                      </a:lnTo>
                      <a:lnTo>
                        <a:pt x="1056" y="414"/>
                      </a:lnTo>
                      <a:lnTo>
                        <a:pt x="1056" y="418"/>
                      </a:lnTo>
                      <a:lnTo>
                        <a:pt x="1052" y="418"/>
                      </a:lnTo>
                      <a:lnTo>
                        <a:pt x="1056" y="422"/>
                      </a:lnTo>
                      <a:lnTo>
                        <a:pt x="1056" y="418"/>
                      </a:lnTo>
                      <a:lnTo>
                        <a:pt x="1060" y="418"/>
                      </a:lnTo>
                      <a:lnTo>
                        <a:pt x="1062" y="414"/>
                      </a:lnTo>
                      <a:lnTo>
                        <a:pt x="1062" y="410"/>
                      </a:lnTo>
                      <a:lnTo>
                        <a:pt x="1062" y="414"/>
                      </a:lnTo>
                      <a:lnTo>
                        <a:pt x="1062" y="418"/>
                      </a:lnTo>
                      <a:lnTo>
                        <a:pt x="1060" y="418"/>
                      </a:lnTo>
                      <a:lnTo>
                        <a:pt x="1062" y="418"/>
                      </a:lnTo>
                      <a:lnTo>
                        <a:pt x="1062" y="422"/>
                      </a:lnTo>
                      <a:lnTo>
                        <a:pt x="1060" y="422"/>
                      </a:lnTo>
                      <a:lnTo>
                        <a:pt x="1060" y="426"/>
                      </a:lnTo>
                      <a:lnTo>
                        <a:pt x="1062" y="426"/>
                      </a:lnTo>
                      <a:lnTo>
                        <a:pt x="1062" y="422"/>
                      </a:lnTo>
                      <a:lnTo>
                        <a:pt x="1062" y="418"/>
                      </a:lnTo>
                      <a:lnTo>
                        <a:pt x="1066" y="414"/>
                      </a:lnTo>
                      <a:lnTo>
                        <a:pt x="1070" y="414"/>
                      </a:lnTo>
                      <a:lnTo>
                        <a:pt x="1070" y="418"/>
                      </a:lnTo>
                      <a:lnTo>
                        <a:pt x="1066" y="418"/>
                      </a:lnTo>
                      <a:lnTo>
                        <a:pt x="1066" y="422"/>
                      </a:lnTo>
                      <a:lnTo>
                        <a:pt x="1070" y="422"/>
                      </a:lnTo>
                      <a:lnTo>
                        <a:pt x="1070" y="426"/>
                      </a:lnTo>
                      <a:lnTo>
                        <a:pt x="1070" y="422"/>
                      </a:lnTo>
                      <a:lnTo>
                        <a:pt x="1066" y="422"/>
                      </a:lnTo>
                      <a:lnTo>
                        <a:pt x="1070" y="418"/>
                      </a:lnTo>
                      <a:lnTo>
                        <a:pt x="1074" y="418"/>
                      </a:lnTo>
                      <a:lnTo>
                        <a:pt x="1074" y="414"/>
                      </a:lnTo>
                      <a:lnTo>
                        <a:pt x="1076" y="418"/>
                      </a:lnTo>
                      <a:lnTo>
                        <a:pt x="1074" y="418"/>
                      </a:lnTo>
                      <a:lnTo>
                        <a:pt x="1074" y="422"/>
                      </a:lnTo>
                      <a:lnTo>
                        <a:pt x="1074" y="426"/>
                      </a:lnTo>
                      <a:lnTo>
                        <a:pt x="1074" y="422"/>
                      </a:lnTo>
                      <a:lnTo>
                        <a:pt x="1076" y="422"/>
                      </a:lnTo>
                      <a:lnTo>
                        <a:pt x="1076" y="426"/>
                      </a:lnTo>
                      <a:lnTo>
                        <a:pt x="1076" y="422"/>
                      </a:lnTo>
                      <a:lnTo>
                        <a:pt x="1080" y="422"/>
                      </a:lnTo>
                      <a:lnTo>
                        <a:pt x="1084" y="422"/>
                      </a:lnTo>
                      <a:lnTo>
                        <a:pt x="1080" y="422"/>
                      </a:lnTo>
                      <a:lnTo>
                        <a:pt x="1080" y="426"/>
                      </a:lnTo>
                      <a:lnTo>
                        <a:pt x="1080" y="422"/>
                      </a:lnTo>
                      <a:lnTo>
                        <a:pt x="1084" y="422"/>
                      </a:lnTo>
                      <a:lnTo>
                        <a:pt x="1088" y="426"/>
                      </a:lnTo>
                      <a:lnTo>
                        <a:pt x="1088" y="430"/>
                      </a:lnTo>
                      <a:lnTo>
                        <a:pt x="1084" y="430"/>
                      </a:lnTo>
                      <a:lnTo>
                        <a:pt x="1080" y="430"/>
                      </a:lnTo>
                      <a:lnTo>
                        <a:pt x="1084" y="430"/>
                      </a:lnTo>
                      <a:lnTo>
                        <a:pt x="1088" y="430"/>
                      </a:lnTo>
                      <a:lnTo>
                        <a:pt x="1088" y="434"/>
                      </a:lnTo>
                      <a:lnTo>
                        <a:pt x="1084" y="434"/>
                      </a:lnTo>
                      <a:lnTo>
                        <a:pt x="1080" y="434"/>
                      </a:lnTo>
                      <a:lnTo>
                        <a:pt x="1076" y="434"/>
                      </a:lnTo>
                      <a:lnTo>
                        <a:pt x="1080" y="434"/>
                      </a:lnTo>
                      <a:lnTo>
                        <a:pt x="1084" y="434"/>
                      </a:lnTo>
                      <a:lnTo>
                        <a:pt x="1080" y="434"/>
                      </a:lnTo>
                      <a:lnTo>
                        <a:pt x="1076" y="436"/>
                      </a:lnTo>
                      <a:lnTo>
                        <a:pt x="1080" y="436"/>
                      </a:lnTo>
                      <a:lnTo>
                        <a:pt x="1084" y="436"/>
                      </a:lnTo>
                      <a:lnTo>
                        <a:pt x="1084" y="434"/>
                      </a:lnTo>
                      <a:lnTo>
                        <a:pt x="1088" y="434"/>
                      </a:lnTo>
                      <a:lnTo>
                        <a:pt x="1088" y="436"/>
                      </a:lnTo>
                      <a:lnTo>
                        <a:pt x="1084" y="436"/>
                      </a:lnTo>
                      <a:lnTo>
                        <a:pt x="1080" y="436"/>
                      </a:lnTo>
                      <a:lnTo>
                        <a:pt x="1076" y="440"/>
                      </a:lnTo>
                      <a:lnTo>
                        <a:pt x="1080" y="440"/>
                      </a:lnTo>
                      <a:lnTo>
                        <a:pt x="1080" y="436"/>
                      </a:lnTo>
                      <a:lnTo>
                        <a:pt x="1084" y="436"/>
                      </a:lnTo>
                      <a:lnTo>
                        <a:pt x="1088" y="436"/>
                      </a:lnTo>
                      <a:lnTo>
                        <a:pt x="1092" y="436"/>
                      </a:lnTo>
                      <a:lnTo>
                        <a:pt x="1092" y="434"/>
                      </a:lnTo>
                      <a:lnTo>
                        <a:pt x="1096" y="436"/>
                      </a:lnTo>
                      <a:lnTo>
                        <a:pt x="1096" y="440"/>
                      </a:lnTo>
                      <a:lnTo>
                        <a:pt x="1092" y="440"/>
                      </a:lnTo>
                      <a:lnTo>
                        <a:pt x="1096" y="440"/>
                      </a:lnTo>
                      <a:lnTo>
                        <a:pt x="1096" y="436"/>
                      </a:lnTo>
                      <a:lnTo>
                        <a:pt x="1100" y="434"/>
                      </a:lnTo>
                      <a:lnTo>
                        <a:pt x="1104" y="434"/>
                      </a:lnTo>
                      <a:lnTo>
                        <a:pt x="1104" y="436"/>
                      </a:lnTo>
                      <a:lnTo>
                        <a:pt x="1100" y="436"/>
                      </a:lnTo>
                      <a:lnTo>
                        <a:pt x="1100" y="440"/>
                      </a:lnTo>
                      <a:lnTo>
                        <a:pt x="1096" y="444"/>
                      </a:lnTo>
                      <a:lnTo>
                        <a:pt x="1092" y="444"/>
                      </a:lnTo>
                      <a:lnTo>
                        <a:pt x="1096" y="444"/>
                      </a:lnTo>
                      <a:lnTo>
                        <a:pt x="1096" y="448"/>
                      </a:lnTo>
                      <a:lnTo>
                        <a:pt x="1100" y="444"/>
                      </a:lnTo>
                      <a:lnTo>
                        <a:pt x="1104" y="440"/>
                      </a:lnTo>
                      <a:lnTo>
                        <a:pt x="1106" y="440"/>
                      </a:lnTo>
                      <a:lnTo>
                        <a:pt x="1106" y="444"/>
                      </a:lnTo>
                      <a:lnTo>
                        <a:pt x="1106" y="448"/>
                      </a:lnTo>
                      <a:lnTo>
                        <a:pt x="1104" y="448"/>
                      </a:lnTo>
                      <a:lnTo>
                        <a:pt x="1106" y="448"/>
                      </a:lnTo>
                      <a:lnTo>
                        <a:pt x="1106" y="444"/>
                      </a:lnTo>
                      <a:lnTo>
                        <a:pt x="1106" y="440"/>
                      </a:lnTo>
                      <a:lnTo>
                        <a:pt x="1110" y="440"/>
                      </a:lnTo>
                      <a:lnTo>
                        <a:pt x="1110" y="444"/>
                      </a:lnTo>
                      <a:lnTo>
                        <a:pt x="1114" y="448"/>
                      </a:lnTo>
                      <a:lnTo>
                        <a:pt x="1110" y="444"/>
                      </a:lnTo>
                      <a:lnTo>
                        <a:pt x="1110" y="440"/>
                      </a:lnTo>
                      <a:lnTo>
                        <a:pt x="1114" y="440"/>
                      </a:lnTo>
                      <a:lnTo>
                        <a:pt x="1118" y="440"/>
                      </a:lnTo>
                      <a:lnTo>
                        <a:pt x="1114" y="444"/>
                      </a:lnTo>
                      <a:lnTo>
                        <a:pt x="1118" y="444"/>
                      </a:lnTo>
                      <a:lnTo>
                        <a:pt x="1118" y="440"/>
                      </a:lnTo>
                      <a:lnTo>
                        <a:pt x="1122" y="440"/>
                      </a:lnTo>
                      <a:lnTo>
                        <a:pt x="1122" y="444"/>
                      </a:lnTo>
                      <a:lnTo>
                        <a:pt x="1126" y="448"/>
                      </a:lnTo>
                      <a:lnTo>
                        <a:pt x="1130" y="452"/>
                      </a:lnTo>
                      <a:lnTo>
                        <a:pt x="1126" y="452"/>
                      </a:lnTo>
                      <a:lnTo>
                        <a:pt x="1122" y="452"/>
                      </a:lnTo>
                      <a:lnTo>
                        <a:pt x="1122" y="448"/>
                      </a:lnTo>
                      <a:lnTo>
                        <a:pt x="1118" y="448"/>
                      </a:lnTo>
                      <a:lnTo>
                        <a:pt x="1114" y="452"/>
                      </a:lnTo>
                      <a:lnTo>
                        <a:pt x="1118" y="452"/>
                      </a:lnTo>
                      <a:lnTo>
                        <a:pt x="1118" y="448"/>
                      </a:lnTo>
                      <a:lnTo>
                        <a:pt x="1118" y="452"/>
                      </a:lnTo>
                      <a:lnTo>
                        <a:pt x="1122" y="452"/>
                      </a:lnTo>
                      <a:lnTo>
                        <a:pt x="1122" y="456"/>
                      </a:lnTo>
                      <a:lnTo>
                        <a:pt x="1118" y="456"/>
                      </a:lnTo>
                      <a:lnTo>
                        <a:pt x="1122" y="456"/>
                      </a:lnTo>
                      <a:lnTo>
                        <a:pt x="1126" y="456"/>
                      </a:lnTo>
                      <a:lnTo>
                        <a:pt x="1122" y="456"/>
                      </a:lnTo>
                      <a:lnTo>
                        <a:pt x="1118" y="460"/>
                      </a:lnTo>
                      <a:lnTo>
                        <a:pt x="1114" y="460"/>
                      </a:lnTo>
                      <a:lnTo>
                        <a:pt x="1114" y="456"/>
                      </a:lnTo>
                      <a:lnTo>
                        <a:pt x="1110" y="456"/>
                      </a:lnTo>
                      <a:lnTo>
                        <a:pt x="1106" y="456"/>
                      </a:lnTo>
                      <a:lnTo>
                        <a:pt x="1110" y="456"/>
                      </a:lnTo>
                      <a:lnTo>
                        <a:pt x="1110" y="460"/>
                      </a:lnTo>
                      <a:lnTo>
                        <a:pt x="1114" y="460"/>
                      </a:lnTo>
                      <a:lnTo>
                        <a:pt x="1110" y="460"/>
                      </a:lnTo>
                      <a:lnTo>
                        <a:pt x="1106" y="460"/>
                      </a:lnTo>
                      <a:lnTo>
                        <a:pt x="1104" y="456"/>
                      </a:lnTo>
                      <a:lnTo>
                        <a:pt x="1106" y="460"/>
                      </a:lnTo>
                      <a:lnTo>
                        <a:pt x="1110" y="460"/>
                      </a:lnTo>
                      <a:lnTo>
                        <a:pt x="1114" y="464"/>
                      </a:lnTo>
                      <a:lnTo>
                        <a:pt x="1118" y="464"/>
                      </a:lnTo>
                      <a:lnTo>
                        <a:pt x="1114" y="466"/>
                      </a:lnTo>
                      <a:lnTo>
                        <a:pt x="1110" y="466"/>
                      </a:lnTo>
                      <a:lnTo>
                        <a:pt x="1110" y="464"/>
                      </a:lnTo>
                      <a:lnTo>
                        <a:pt x="1106" y="464"/>
                      </a:lnTo>
                      <a:lnTo>
                        <a:pt x="1104" y="464"/>
                      </a:lnTo>
                      <a:lnTo>
                        <a:pt x="1106" y="464"/>
                      </a:lnTo>
                      <a:lnTo>
                        <a:pt x="1106" y="466"/>
                      </a:lnTo>
                      <a:lnTo>
                        <a:pt x="1110" y="466"/>
                      </a:lnTo>
                      <a:lnTo>
                        <a:pt x="1114" y="470"/>
                      </a:lnTo>
                      <a:lnTo>
                        <a:pt x="1110" y="470"/>
                      </a:lnTo>
                      <a:lnTo>
                        <a:pt x="1106" y="470"/>
                      </a:lnTo>
                      <a:lnTo>
                        <a:pt x="1106" y="466"/>
                      </a:lnTo>
                      <a:lnTo>
                        <a:pt x="1104" y="466"/>
                      </a:lnTo>
                      <a:lnTo>
                        <a:pt x="1106" y="470"/>
                      </a:lnTo>
                      <a:lnTo>
                        <a:pt x="1110" y="470"/>
                      </a:lnTo>
                      <a:lnTo>
                        <a:pt x="1106" y="470"/>
                      </a:lnTo>
                      <a:lnTo>
                        <a:pt x="1106" y="474"/>
                      </a:lnTo>
                      <a:lnTo>
                        <a:pt x="1104" y="474"/>
                      </a:lnTo>
                      <a:lnTo>
                        <a:pt x="1104" y="470"/>
                      </a:lnTo>
                      <a:lnTo>
                        <a:pt x="1104" y="474"/>
                      </a:lnTo>
                      <a:lnTo>
                        <a:pt x="1100" y="474"/>
                      </a:lnTo>
                      <a:lnTo>
                        <a:pt x="1096" y="470"/>
                      </a:lnTo>
                      <a:lnTo>
                        <a:pt x="1100" y="474"/>
                      </a:lnTo>
                      <a:lnTo>
                        <a:pt x="1096" y="474"/>
                      </a:lnTo>
                      <a:lnTo>
                        <a:pt x="1092" y="474"/>
                      </a:lnTo>
                      <a:lnTo>
                        <a:pt x="1096" y="474"/>
                      </a:lnTo>
                      <a:lnTo>
                        <a:pt x="1100" y="474"/>
                      </a:lnTo>
                      <a:lnTo>
                        <a:pt x="1100" y="478"/>
                      </a:lnTo>
                      <a:lnTo>
                        <a:pt x="1096" y="478"/>
                      </a:lnTo>
                      <a:lnTo>
                        <a:pt x="1096" y="474"/>
                      </a:lnTo>
                      <a:lnTo>
                        <a:pt x="1096" y="478"/>
                      </a:lnTo>
                      <a:lnTo>
                        <a:pt x="1100" y="478"/>
                      </a:lnTo>
                      <a:lnTo>
                        <a:pt x="1096" y="478"/>
                      </a:lnTo>
                      <a:lnTo>
                        <a:pt x="1092" y="478"/>
                      </a:lnTo>
                      <a:lnTo>
                        <a:pt x="1096" y="478"/>
                      </a:lnTo>
                      <a:lnTo>
                        <a:pt x="1100" y="482"/>
                      </a:lnTo>
                      <a:lnTo>
                        <a:pt x="1096" y="486"/>
                      </a:lnTo>
                      <a:lnTo>
                        <a:pt x="1096" y="490"/>
                      </a:lnTo>
                      <a:lnTo>
                        <a:pt x="1096" y="494"/>
                      </a:lnTo>
                      <a:lnTo>
                        <a:pt x="1092" y="494"/>
                      </a:lnTo>
                      <a:lnTo>
                        <a:pt x="1092" y="490"/>
                      </a:lnTo>
                      <a:lnTo>
                        <a:pt x="1088" y="486"/>
                      </a:lnTo>
                      <a:lnTo>
                        <a:pt x="1088" y="490"/>
                      </a:lnTo>
                      <a:lnTo>
                        <a:pt x="1084" y="486"/>
                      </a:lnTo>
                      <a:lnTo>
                        <a:pt x="1088" y="486"/>
                      </a:lnTo>
                      <a:lnTo>
                        <a:pt x="1084" y="486"/>
                      </a:lnTo>
                      <a:lnTo>
                        <a:pt x="1084" y="482"/>
                      </a:lnTo>
                      <a:lnTo>
                        <a:pt x="1084" y="478"/>
                      </a:lnTo>
                      <a:lnTo>
                        <a:pt x="1080" y="482"/>
                      </a:lnTo>
                      <a:lnTo>
                        <a:pt x="1080" y="486"/>
                      </a:lnTo>
                      <a:lnTo>
                        <a:pt x="1076" y="486"/>
                      </a:lnTo>
                      <a:lnTo>
                        <a:pt x="1076" y="482"/>
                      </a:lnTo>
                      <a:lnTo>
                        <a:pt x="1076" y="486"/>
                      </a:lnTo>
                      <a:lnTo>
                        <a:pt x="1076" y="482"/>
                      </a:lnTo>
                      <a:lnTo>
                        <a:pt x="1080" y="482"/>
                      </a:lnTo>
                      <a:lnTo>
                        <a:pt x="1076" y="482"/>
                      </a:lnTo>
                      <a:lnTo>
                        <a:pt x="1080" y="478"/>
                      </a:lnTo>
                      <a:lnTo>
                        <a:pt x="1084" y="478"/>
                      </a:lnTo>
                      <a:lnTo>
                        <a:pt x="1080" y="478"/>
                      </a:lnTo>
                      <a:lnTo>
                        <a:pt x="1076" y="478"/>
                      </a:lnTo>
                      <a:lnTo>
                        <a:pt x="1074" y="478"/>
                      </a:lnTo>
                      <a:lnTo>
                        <a:pt x="1074" y="482"/>
                      </a:lnTo>
                      <a:lnTo>
                        <a:pt x="1074" y="478"/>
                      </a:lnTo>
                      <a:lnTo>
                        <a:pt x="1076" y="478"/>
                      </a:lnTo>
                      <a:lnTo>
                        <a:pt x="1076" y="474"/>
                      </a:lnTo>
                      <a:lnTo>
                        <a:pt x="1074" y="478"/>
                      </a:lnTo>
                      <a:lnTo>
                        <a:pt x="1070" y="478"/>
                      </a:lnTo>
                      <a:lnTo>
                        <a:pt x="1070" y="474"/>
                      </a:lnTo>
                      <a:lnTo>
                        <a:pt x="1074" y="474"/>
                      </a:lnTo>
                      <a:lnTo>
                        <a:pt x="1076" y="474"/>
                      </a:lnTo>
                      <a:lnTo>
                        <a:pt x="1076" y="470"/>
                      </a:lnTo>
                      <a:lnTo>
                        <a:pt x="1074" y="470"/>
                      </a:lnTo>
                      <a:lnTo>
                        <a:pt x="1074" y="474"/>
                      </a:lnTo>
                      <a:lnTo>
                        <a:pt x="1070" y="474"/>
                      </a:lnTo>
                      <a:lnTo>
                        <a:pt x="1070" y="470"/>
                      </a:lnTo>
                      <a:lnTo>
                        <a:pt x="1066" y="470"/>
                      </a:lnTo>
                      <a:lnTo>
                        <a:pt x="1070" y="470"/>
                      </a:lnTo>
                      <a:lnTo>
                        <a:pt x="1070" y="466"/>
                      </a:lnTo>
                      <a:lnTo>
                        <a:pt x="1074" y="466"/>
                      </a:lnTo>
                      <a:lnTo>
                        <a:pt x="1076" y="466"/>
                      </a:lnTo>
                      <a:lnTo>
                        <a:pt x="1076" y="464"/>
                      </a:lnTo>
                      <a:lnTo>
                        <a:pt x="1076" y="460"/>
                      </a:lnTo>
                      <a:lnTo>
                        <a:pt x="1080" y="460"/>
                      </a:lnTo>
                      <a:lnTo>
                        <a:pt x="1084" y="460"/>
                      </a:lnTo>
                      <a:lnTo>
                        <a:pt x="1084" y="456"/>
                      </a:lnTo>
                      <a:lnTo>
                        <a:pt x="1080" y="456"/>
                      </a:lnTo>
                      <a:lnTo>
                        <a:pt x="1076" y="460"/>
                      </a:lnTo>
                      <a:lnTo>
                        <a:pt x="1076" y="464"/>
                      </a:lnTo>
                      <a:lnTo>
                        <a:pt x="1074" y="464"/>
                      </a:lnTo>
                      <a:lnTo>
                        <a:pt x="1070" y="466"/>
                      </a:lnTo>
                      <a:lnTo>
                        <a:pt x="1062" y="466"/>
                      </a:lnTo>
                      <a:lnTo>
                        <a:pt x="1062" y="464"/>
                      </a:lnTo>
                      <a:lnTo>
                        <a:pt x="1066" y="464"/>
                      </a:lnTo>
                      <a:lnTo>
                        <a:pt x="1066" y="460"/>
                      </a:lnTo>
                      <a:lnTo>
                        <a:pt x="1070" y="456"/>
                      </a:lnTo>
                      <a:lnTo>
                        <a:pt x="1066" y="460"/>
                      </a:lnTo>
                      <a:lnTo>
                        <a:pt x="1062" y="464"/>
                      </a:lnTo>
                      <a:lnTo>
                        <a:pt x="1060" y="464"/>
                      </a:lnTo>
                      <a:lnTo>
                        <a:pt x="1060" y="460"/>
                      </a:lnTo>
                      <a:lnTo>
                        <a:pt x="1056" y="460"/>
                      </a:lnTo>
                      <a:lnTo>
                        <a:pt x="1052" y="456"/>
                      </a:lnTo>
                      <a:lnTo>
                        <a:pt x="1056" y="456"/>
                      </a:lnTo>
                      <a:lnTo>
                        <a:pt x="1052" y="456"/>
                      </a:lnTo>
                      <a:lnTo>
                        <a:pt x="1048" y="456"/>
                      </a:lnTo>
                      <a:lnTo>
                        <a:pt x="1048" y="452"/>
                      </a:lnTo>
                      <a:lnTo>
                        <a:pt x="1048" y="448"/>
                      </a:lnTo>
                      <a:lnTo>
                        <a:pt x="1048" y="452"/>
                      </a:lnTo>
                      <a:lnTo>
                        <a:pt x="1044" y="452"/>
                      </a:lnTo>
                      <a:lnTo>
                        <a:pt x="1040" y="452"/>
                      </a:lnTo>
                      <a:lnTo>
                        <a:pt x="1036" y="452"/>
                      </a:lnTo>
                      <a:lnTo>
                        <a:pt x="1040" y="452"/>
                      </a:lnTo>
                      <a:lnTo>
                        <a:pt x="1044" y="452"/>
                      </a:lnTo>
                      <a:lnTo>
                        <a:pt x="1044" y="456"/>
                      </a:lnTo>
                      <a:lnTo>
                        <a:pt x="1040" y="456"/>
                      </a:lnTo>
                      <a:lnTo>
                        <a:pt x="1044" y="456"/>
                      </a:lnTo>
                      <a:lnTo>
                        <a:pt x="1044" y="460"/>
                      </a:lnTo>
                      <a:lnTo>
                        <a:pt x="1040" y="460"/>
                      </a:lnTo>
                      <a:lnTo>
                        <a:pt x="1040" y="456"/>
                      </a:lnTo>
                      <a:lnTo>
                        <a:pt x="1036" y="456"/>
                      </a:lnTo>
                      <a:lnTo>
                        <a:pt x="1036" y="452"/>
                      </a:lnTo>
                      <a:lnTo>
                        <a:pt x="1032" y="452"/>
                      </a:lnTo>
                      <a:lnTo>
                        <a:pt x="1032" y="456"/>
                      </a:lnTo>
                      <a:lnTo>
                        <a:pt x="1036" y="456"/>
                      </a:lnTo>
                      <a:lnTo>
                        <a:pt x="1036" y="460"/>
                      </a:lnTo>
                      <a:lnTo>
                        <a:pt x="1040" y="460"/>
                      </a:lnTo>
                      <a:lnTo>
                        <a:pt x="1040" y="464"/>
                      </a:lnTo>
                      <a:lnTo>
                        <a:pt x="1044" y="464"/>
                      </a:lnTo>
                      <a:lnTo>
                        <a:pt x="1044" y="466"/>
                      </a:lnTo>
                      <a:lnTo>
                        <a:pt x="1040" y="466"/>
                      </a:lnTo>
                      <a:lnTo>
                        <a:pt x="1036" y="466"/>
                      </a:lnTo>
                      <a:lnTo>
                        <a:pt x="1032" y="466"/>
                      </a:lnTo>
                      <a:lnTo>
                        <a:pt x="1032" y="464"/>
                      </a:lnTo>
                      <a:lnTo>
                        <a:pt x="1030" y="464"/>
                      </a:lnTo>
                      <a:lnTo>
                        <a:pt x="1030" y="460"/>
                      </a:lnTo>
                      <a:lnTo>
                        <a:pt x="1026" y="460"/>
                      </a:lnTo>
                      <a:lnTo>
                        <a:pt x="1022" y="460"/>
                      </a:lnTo>
                      <a:lnTo>
                        <a:pt x="1026" y="460"/>
                      </a:lnTo>
                      <a:lnTo>
                        <a:pt x="1026" y="464"/>
                      </a:lnTo>
                      <a:lnTo>
                        <a:pt x="1030" y="464"/>
                      </a:lnTo>
                      <a:lnTo>
                        <a:pt x="1032" y="464"/>
                      </a:lnTo>
                      <a:lnTo>
                        <a:pt x="1032" y="466"/>
                      </a:lnTo>
                      <a:lnTo>
                        <a:pt x="1030" y="466"/>
                      </a:lnTo>
                      <a:lnTo>
                        <a:pt x="1030" y="464"/>
                      </a:lnTo>
                      <a:lnTo>
                        <a:pt x="1030" y="466"/>
                      </a:lnTo>
                      <a:lnTo>
                        <a:pt x="1030" y="470"/>
                      </a:lnTo>
                      <a:lnTo>
                        <a:pt x="1032" y="470"/>
                      </a:lnTo>
                      <a:lnTo>
                        <a:pt x="1036" y="470"/>
                      </a:lnTo>
                      <a:lnTo>
                        <a:pt x="1032" y="474"/>
                      </a:lnTo>
                      <a:lnTo>
                        <a:pt x="1032" y="478"/>
                      </a:lnTo>
                      <a:lnTo>
                        <a:pt x="1032" y="474"/>
                      </a:lnTo>
                      <a:lnTo>
                        <a:pt x="1036" y="474"/>
                      </a:lnTo>
                      <a:lnTo>
                        <a:pt x="1040" y="474"/>
                      </a:lnTo>
                      <a:lnTo>
                        <a:pt x="1044" y="474"/>
                      </a:lnTo>
                      <a:lnTo>
                        <a:pt x="1040" y="478"/>
                      </a:lnTo>
                      <a:lnTo>
                        <a:pt x="1044" y="478"/>
                      </a:lnTo>
                      <a:lnTo>
                        <a:pt x="1048" y="478"/>
                      </a:lnTo>
                      <a:lnTo>
                        <a:pt x="1044" y="482"/>
                      </a:lnTo>
                      <a:lnTo>
                        <a:pt x="1040" y="482"/>
                      </a:lnTo>
                      <a:lnTo>
                        <a:pt x="1044" y="482"/>
                      </a:lnTo>
                      <a:lnTo>
                        <a:pt x="1048" y="486"/>
                      </a:lnTo>
                      <a:lnTo>
                        <a:pt x="1044" y="486"/>
                      </a:lnTo>
                      <a:lnTo>
                        <a:pt x="1044" y="490"/>
                      </a:lnTo>
                      <a:lnTo>
                        <a:pt x="1048" y="486"/>
                      </a:lnTo>
                      <a:lnTo>
                        <a:pt x="1052" y="486"/>
                      </a:lnTo>
                      <a:lnTo>
                        <a:pt x="1048" y="490"/>
                      </a:lnTo>
                      <a:lnTo>
                        <a:pt x="1052" y="490"/>
                      </a:lnTo>
                      <a:lnTo>
                        <a:pt x="1052" y="494"/>
                      </a:lnTo>
                      <a:lnTo>
                        <a:pt x="1052" y="496"/>
                      </a:lnTo>
                      <a:lnTo>
                        <a:pt x="1052" y="494"/>
                      </a:lnTo>
                      <a:lnTo>
                        <a:pt x="1052" y="490"/>
                      </a:lnTo>
                      <a:lnTo>
                        <a:pt x="1056" y="490"/>
                      </a:lnTo>
                      <a:lnTo>
                        <a:pt x="1056" y="494"/>
                      </a:lnTo>
                      <a:lnTo>
                        <a:pt x="1060" y="494"/>
                      </a:lnTo>
                      <a:lnTo>
                        <a:pt x="1060" y="496"/>
                      </a:lnTo>
                      <a:lnTo>
                        <a:pt x="1060" y="494"/>
                      </a:lnTo>
                      <a:lnTo>
                        <a:pt x="1062" y="494"/>
                      </a:lnTo>
                      <a:lnTo>
                        <a:pt x="1060" y="496"/>
                      </a:lnTo>
                      <a:lnTo>
                        <a:pt x="1062" y="496"/>
                      </a:lnTo>
                      <a:lnTo>
                        <a:pt x="1062" y="494"/>
                      </a:lnTo>
                      <a:lnTo>
                        <a:pt x="1066" y="494"/>
                      </a:lnTo>
                      <a:lnTo>
                        <a:pt x="1066" y="496"/>
                      </a:lnTo>
                      <a:lnTo>
                        <a:pt x="1066" y="500"/>
                      </a:lnTo>
                      <a:lnTo>
                        <a:pt x="1070" y="500"/>
                      </a:lnTo>
                      <a:lnTo>
                        <a:pt x="1074" y="500"/>
                      </a:lnTo>
                      <a:lnTo>
                        <a:pt x="1074" y="504"/>
                      </a:lnTo>
                      <a:lnTo>
                        <a:pt x="1074" y="508"/>
                      </a:lnTo>
                      <a:lnTo>
                        <a:pt x="1070" y="508"/>
                      </a:lnTo>
                      <a:lnTo>
                        <a:pt x="1070" y="504"/>
                      </a:lnTo>
                      <a:lnTo>
                        <a:pt x="1066" y="504"/>
                      </a:lnTo>
                      <a:lnTo>
                        <a:pt x="1066" y="508"/>
                      </a:lnTo>
                      <a:lnTo>
                        <a:pt x="1070" y="508"/>
                      </a:lnTo>
                      <a:lnTo>
                        <a:pt x="1074" y="512"/>
                      </a:lnTo>
                      <a:lnTo>
                        <a:pt x="1076" y="512"/>
                      </a:lnTo>
                      <a:lnTo>
                        <a:pt x="1080" y="512"/>
                      </a:lnTo>
                      <a:lnTo>
                        <a:pt x="1080" y="516"/>
                      </a:lnTo>
                      <a:lnTo>
                        <a:pt x="1076" y="516"/>
                      </a:lnTo>
                      <a:lnTo>
                        <a:pt x="1074" y="516"/>
                      </a:lnTo>
                      <a:lnTo>
                        <a:pt x="1074" y="520"/>
                      </a:lnTo>
                      <a:lnTo>
                        <a:pt x="1076" y="520"/>
                      </a:lnTo>
                      <a:lnTo>
                        <a:pt x="1080" y="520"/>
                      </a:lnTo>
                      <a:lnTo>
                        <a:pt x="1080" y="522"/>
                      </a:lnTo>
                      <a:lnTo>
                        <a:pt x="1080" y="526"/>
                      </a:lnTo>
                      <a:lnTo>
                        <a:pt x="1080" y="530"/>
                      </a:lnTo>
                      <a:lnTo>
                        <a:pt x="1076" y="530"/>
                      </a:lnTo>
                      <a:lnTo>
                        <a:pt x="1076" y="526"/>
                      </a:lnTo>
                      <a:lnTo>
                        <a:pt x="1076" y="522"/>
                      </a:lnTo>
                      <a:lnTo>
                        <a:pt x="1074" y="522"/>
                      </a:lnTo>
                      <a:lnTo>
                        <a:pt x="1074" y="520"/>
                      </a:lnTo>
                      <a:lnTo>
                        <a:pt x="1070" y="520"/>
                      </a:lnTo>
                      <a:lnTo>
                        <a:pt x="1074" y="520"/>
                      </a:lnTo>
                      <a:lnTo>
                        <a:pt x="1074" y="522"/>
                      </a:lnTo>
                      <a:lnTo>
                        <a:pt x="1074" y="526"/>
                      </a:lnTo>
                      <a:lnTo>
                        <a:pt x="1076" y="530"/>
                      </a:lnTo>
                      <a:lnTo>
                        <a:pt x="1074" y="530"/>
                      </a:lnTo>
                      <a:lnTo>
                        <a:pt x="1074" y="534"/>
                      </a:lnTo>
                      <a:lnTo>
                        <a:pt x="1076" y="534"/>
                      </a:lnTo>
                      <a:lnTo>
                        <a:pt x="1076" y="538"/>
                      </a:lnTo>
                      <a:lnTo>
                        <a:pt x="1080" y="538"/>
                      </a:lnTo>
                      <a:lnTo>
                        <a:pt x="1076" y="542"/>
                      </a:lnTo>
                      <a:lnTo>
                        <a:pt x="1074" y="538"/>
                      </a:lnTo>
                      <a:lnTo>
                        <a:pt x="1070" y="538"/>
                      </a:lnTo>
                      <a:lnTo>
                        <a:pt x="1074" y="542"/>
                      </a:lnTo>
                      <a:lnTo>
                        <a:pt x="1074" y="546"/>
                      </a:lnTo>
                      <a:lnTo>
                        <a:pt x="1076" y="546"/>
                      </a:lnTo>
                      <a:lnTo>
                        <a:pt x="1074" y="546"/>
                      </a:lnTo>
                      <a:lnTo>
                        <a:pt x="1074" y="550"/>
                      </a:lnTo>
                      <a:lnTo>
                        <a:pt x="1070" y="546"/>
                      </a:lnTo>
                      <a:lnTo>
                        <a:pt x="1070" y="542"/>
                      </a:lnTo>
                      <a:lnTo>
                        <a:pt x="1066" y="542"/>
                      </a:lnTo>
                      <a:lnTo>
                        <a:pt x="1066" y="538"/>
                      </a:lnTo>
                      <a:lnTo>
                        <a:pt x="1062" y="538"/>
                      </a:lnTo>
                      <a:lnTo>
                        <a:pt x="1060" y="538"/>
                      </a:lnTo>
                      <a:lnTo>
                        <a:pt x="1060" y="534"/>
                      </a:lnTo>
                      <a:lnTo>
                        <a:pt x="1056" y="534"/>
                      </a:lnTo>
                      <a:lnTo>
                        <a:pt x="1060" y="538"/>
                      </a:lnTo>
                      <a:lnTo>
                        <a:pt x="1056" y="538"/>
                      </a:lnTo>
                      <a:lnTo>
                        <a:pt x="1056" y="534"/>
                      </a:lnTo>
                      <a:lnTo>
                        <a:pt x="1052" y="534"/>
                      </a:lnTo>
                      <a:lnTo>
                        <a:pt x="1052" y="530"/>
                      </a:lnTo>
                      <a:lnTo>
                        <a:pt x="1052" y="526"/>
                      </a:lnTo>
                      <a:lnTo>
                        <a:pt x="1052" y="530"/>
                      </a:lnTo>
                      <a:lnTo>
                        <a:pt x="1052" y="534"/>
                      </a:lnTo>
                      <a:lnTo>
                        <a:pt x="1052" y="538"/>
                      </a:lnTo>
                      <a:lnTo>
                        <a:pt x="1052" y="534"/>
                      </a:lnTo>
                      <a:lnTo>
                        <a:pt x="1052" y="530"/>
                      </a:lnTo>
                      <a:lnTo>
                        <a:pt x="1048" y="530"/>
                      </a:lnTo>
                      <a:lnTo>
                        <a:pt x="1048" y="534"/>
                      </a:lnTo>
                      <a:lnTo>
                        <a:pt x="1048" y="530"/>
                      </a:lnTo>
                      <a:lnTo>
                        <a:pt x="1048" y="526"/>
                      </a:lnTo>
                      <a:lnTo>
                        <a:pt x="1048" y="530"/>
                      </a:lnTo>
                      <a:lnTo>
                        <a:pt x="1044" y="530"/>
                      </a:lnTo>
                      <a:lnTo>
                        <a:pt x="1040" y="526"/>
                      </a:lnTo>
                      <a:lnTo>
                        <a:pt x="1036" y="522"/>
                      </a:lnTo>
                      <a:lnTo>
                        <a:pt x="1036" y="520"/>
                      </a:lnTo>
                      <a:lnTo>
                        <a:pt x="1032" y="520"/>
                      </a:lnTo>
                      <a:lnTo>
                        <a:pt x="1036" y="522"/>
                      </a:lnTo>
                      <a:lnTo>
                        <a:pt x="1036" y="526"/>
                      </a:lnTo>
                      <a:lnTo>
                        <a:pt x="1036" y="530"/>
                      </a:lnTo>
                      <a:lnTo>
                        <a:pt x="1036" y="526"/>
                      </a:lnTo>
                      <a:lnTo>
                        <a:pt x="1032" y="526"/>
                      </a:lnTo>
                      <a:lnTo>
                        <a:pt x="1032" y="522"/>
                      </a:lnTo>
                      <a:lnTo>
                        <a:pt x="1030" y="522"/>
                      </a:lnTo>
                      <a:lnTo>
                        <a:pt x="1026" y="522"/>
                      </a:lnTo>
                      <a:lnTo>
                        <a:pt x="1026" y="520"/>
                      </a:lnTo>
                      <a:lnTo>
                        <a:pt x="1022" y="520"/>
                      </a:lnTo>
                      <a:lnTo>
                        <a:pt x="1018" y="520"/>
                      </a:lnTo>
                      <a:lnTo>
                        <a:pt x="1022" y="522"/>
                      </a:lnTo>
                      <a:lnTo>
                        <a:pt x="1026" y="526"/>
                      </a:lnTo>
                      <a:lnTo>
                        <a:pt x="1030" y="530"/>
                      </a:lnTo>
                      <a:lnTo>
                        <a:pt x="1030" y="534"/>
                      </a:lnTo>
                      <a:lnTo>
                        <a:pt x="1032" y="534"/>
                      </a:lnTo>
                      <a:lnTo>
                        <a:pt x="1036" y="534"/>
                      </a:lnTo>
                      <a:lnTo>
                        <a:pt x="1036" y="538"/>
                      </a:lnTo>
                      <a:lnTo>
                        <a:pt x="1040" y="538"/>
                      </a:lnTo>
                      <a:lnTo>
                        <a:pt x="1036" y="538"/>
                      </a:lnTo>
                      <a:lnTo>
                        <a:pt x="1040" y="538"/>
                      </a:lnTo>
                      <a:lnTo>
                        <a:pt x="1044" y="542"/>
                      </a:lnTo>
                      <a:lnTo>
                        <a:pt x="1048" y="542"/>
                      </a:lnTo>
                      <a:lnTo>
                        <a:pt x="1048" y="546"/>
                      </a:lnTo>
                      <a:lnTo>
                        <a:pt x="1052" y="546"/>
                      </a:lnTo>
                      <a:lnTo>
                        <a:pt x="1056" y="550"/>
                      </a:lnTo>
                      <a:lnTo>
                        <a:pt x="1056" y="552"/>
                      </a:lnTo>
                      <a:lnTo>
                        <a:pt x="1060" y="552"/>
                      </a:lnTo>
                      <a:lnTo>
                        <a:pt x="1060" y="556"/>
                      </a:lnTo>
                      <a:lnTo>
                        <a:pt x="1062" y="556"/>
                      </a:lnTo>
                      <a:lnTo>
                        <a:pt x="1060" y="556"/>
                      </a:lnTo>
                      <a:lnTo>
                        <a:pt x="1060" y="560"/>
                      </a:lnTo>
                      <a:lnTo>
                        <a:pt x="1062" y="560"/>
                      </a:lnTo>
                      <a:lnTo>
                        <a:pt x="1062" y="564"/>
                      </a:lnTo>
                      <a:lnTo>
                        <a:pt x="1060" y="564"/>
                      </a:lnTo>
                      <a:lnTo>
                        <a:pt x="1056" y="564"/>
                      </a:lnTo>
                      <a:lnTo>
                        <a:pt x="1052" y="564"/>
                      </a:lnTo>
                      <a:lnTo>
                        <a:pt x="1052" y="560"/>
                      </a:lnTo>
                      <a:lnTo>
                        <a:pt x="1048" y="560"/>
                      </a:lnTo>
                      <a:lnTo>
                        <a:pt x="1044" y="560"/>
                      </a:lnTo>
                      <a:lnTo>
                        <a:pt x="1040" y="556"/>
                      </a:lnTo>
                      <a:lnTo>
                        <a:pt x="1036" y="556"/>
                      </a:lnTo>
                      <a:lnTo>
                        <a:pt x="1032" y="556"/>
                      </a:lnTo>
                      <a:lnTo>
                        <a:pt x="1030" y="556"/>
                      </a:lnTo>
                      <a:lnTo>
                        <a:pt x="1026" y="556"/>
                      </a:lnTo>
                      <a:lnTo>
                        <a:pt x="1026" y="552"/>
                      </a:lnTo>
                      <a:lnTo>
                        <a:pt x="1022" y="552"/>
                      </a:lnTo>
                      <a:lnTo>
                        <a:pt x="1018" y="552"/>
                      </a:lnTo>
                      <a:lnTo>
                        <a:pt x="1018" y="550"/>
                      </a:lnTo>
                      <a:lnTo>
                        <a:pt x="1014" y="550"/>
                      </a:lnTo>
                      <a:lnTo>
                        <a:pt x="1014" y="546"/>
                      </a:lnTo>
                      <a:lnTo>
                        <a:pt x="1014" y="550"/>
                      </a:lnTo>
                      <a:lnTo>
                        <a:pt x="1010" y="546"/>
                      </a:lnTo>
                      <a:lnTo>
                        <a:pt x="1010" y="542"/>
                      </a:lnTo>
                      <a:lnTo>
                        <a:pt x="1006" y="542"/>
                      </a:lnTo>
                      <a:lnTo>
                        <a:pt x="1004" y="542"/>
                      </a:lnTo>
                      <a:lnTo>
                        <a:pt x="1004" y="542"/>
                      </a:lnTo>
                      <a:lnTo>
                        <a:pt x="1004" y="542"/>
                      </a:lnTo>
                      <a:close/>
                      <a:moveTo>
                        <a:pt x="902" y="292"/>
                      </a:moveTo>
                      <a:lnTo>
                        <a:pt x="898" y="292"/>
                      </a:lnTo>
                      <a:lnTo>
                        <a:pt x="894" y="292"/>
                      </a:lnTo>
                      <a:lnTo>
                        <a:pt x="890" y="292"/>
                      </a:lnTo>
                      <a:lnTo>
                        <a:pt x="888" y="292"/>
                      </a:lnTo>
                      <a:lnTo>
                        <a:pt x="884" y="292"/>
                      </a:lnTo>
                      <a:lnTo>
                        <a:pt x="880" y="292"/>
                      </a:lnTo>
                      <a:lnTo>
                        <a:pt x="876" y="294"/>
                      </a:lnTo>
                      <a:lnTo>
                        <a:pt x="872" y="294"/>
                      </a:lnTo>
                      <a:lnTo>
                        <a:pt x="868" y="294"/>
                      </a:lnTo>
                      <a:lnTo>
                        <a:pt x="864" y="292"/>
                      </a:lnTo>
                      <a:lnTo>
                        <a:pt x="862" y="292"/>
                      </a:lnTo>
                      <a:lnTo>
                        <a:pt x="862" y="288"/>
                      </a:lnTo>
                      <a:lnTo>
                        <a:pt x="862" y="284"/>
                      </a:lnTo>
                      <a:lnTo>
                        <a:pt x="862" y="280"/>
                      </a:lnTo>
                      <a:lnTo>
                        <a:pt x="858" y="280"/>
                      </a:lnTo>
                      <a:lnTo>
                        <a:pt x="854" y="280"/>
                      </a:lnTo>
                      <a:lnTo>
                        <a:pt x="850" y="280"/>
                      </a:lnTo>
                      <a:lnTo>
                        <a:pt x="850" y="276"/>
                      </a:lnTo>
                      <a:lnTo>
                        <a:pt x="850" y="268"/>
                      </a:lnTo>
                      <a:lnTo>
                        <a:pt x="854" y="268"/>
                      </a:lnTo>
                      <a:lnTo>
                        <a:pt x="858" y="268"/>
                      </a:lnTo>
                      <a:lnTo>
                        <a:pt x="862" y="268"/>
                      </a:lnTo>
                      <a:lnTo>
                        <a:pt x="864" y="268"/>
                      </a:lnTo>
                      <a:lnTo>
                        <a:pt x="868" y="268"/>
                      </a:lnTo>
                      <a:lnTo>
                        <a:pt x="868" y="272"/>
                      </a:lnTo>
                      <a:lnTo>
                        <a:pt x="872" y="272"/>
                      </a:lnTo>
                      <a:lnTo>
                        <a:pt x="876" y="272"/>
                      </a:lnTo>
                      <a:lnTo>
                        <a:pt x="876" y="268"/>
                      </a:lnTo>
                      <a:lnTo>
                        <a:pt x="880" y="268"/>
                      </a:lnTo>
                      <a:lnTo>
                        <a:pt x="884" y="268"/>
                      </a:lnTo>
                      <a:lnTo>
                        <a:pt x="888" y="268"/>
                      </a:lnTo>
                      <a:lnTo>
                        <a:pt x="890" y="268"/>
                      </a:lnTo>
                      <a:lnTo>
                        <a:pt x="890" y="272"/>
                      </a:lnTo>
                      <a:lnTo>
                        <a:pt x="894" y="272"/>
                      </a:lnTo>
                      <a:lnTo>
                        <a:pt x="898" y="272"/>
                      </a:lnTo>
                      <a:lnTo>
                        <a:pt x="902" y="272"/>
                      </a:lnTo>
                      <a:lnTo>
                        <a:pt x="902" y="276"/>
                      </a:lnTo>
                      <a:lnTo>
                        <a:pt x="906" y="276"/>
                      </a:lnTo>
                      <a:lnTo>
                        <a:pt x="906" y="280"/>
                      </a:lnTo>
                      <a:lnTo>
                        <a:pt x="910" y="280"/>
                      </a:lnTo>
                      <a:lnTo>
                        <a:pt x="910" y="284"/>
                      </a:lnTo>
                      <a:lnTo>
                        <a:pt x="914" y="284"/>
                      </a:lnTo>
                      <a:lnTo>
                        <a:pt x="914" y="288"/>
                      </a:lnTo>
                      <a:lnTo>
                        <a:pt x="918" y="288"/>
                      </a:lnTo>
                      <a:lnTo>
                        <a:pt x="918" y="292"/>
                      </a:lnTo>
                      <a:lnTo>
                        <a:pt x="914" y="292"/>
                      </a:lnTo>
                      <a:lnTo>
                        <a:pt x="910" y="292"/>
                      </a:lnTo>
                      <a:lnTo>
                        <a:pt x="906" y="292"/>
                      </a:lnTo>
                      <a:lnTo>
                        <a:pt x="902" y="292"/>
                      </a:lnTo>
                      <a:lnTo>
                        <a:pt x="902" y="292"/>
                      </a:lnTo>
                      <a:lnTo>
                        <a:pt x="902" y="292"/>
                      </a:lnTo>
                      <a:close/>
                      <a:moveTo>
                        <a:pt x="508" y="292"/>
                      </a:moveTo>
                      <a:lnTo>
                        <a:pt x="504" y="288"/>
                      </a:lnTo>
                      <a:lnTo>
                        <a:pt x="504" y="292"/>
                      </a:lnTo>
                      <a:lnTo>
                        <a:pt x="508" y="292"/>
                      </a:lnTo>
                      <a:lnTo>
                        <a:pt x="504" y="292"/>
                      </a:lnTo>
                      <a:lnTo>
                        <a:pt x="500" y="288"/>
                      </a:lnTo>
                      <a:lnTo>
                        <a:pt x="496" y="284"/>
                      </a:lnTo>
                      <a:lnTo>
                        <a:pt x="492" y="284"/>
                      </a:lnTo>
                      <a:lnTo>
                        <a:pt x="492" y="280"/>
                      </a:lnTo>
                      <a:lnTo>
                        <a:pt x="488" y="276"/>
                      </a:lnTo>
                      <a:lnTo>
                        <a:pt x="484" y="276"/>
                      </a:lnTo>
                      <a:lnTo>
                        <a:pt x="480" y="276"/>
                      </a:lnTo>
                      <a:lnTo>
                        <a:pt x="480" y="272"/>
                      </a:lnTo>
                      <a:lnTo>
                        <a:pt x="484" y="268"/>
                      </a:lnTo>
                      <a:lnTo>
                        <a:pt x="488" y="268"/>
                      </a:lnTo>
                      <a:lnTo>
                        <a:pt x="492" y="268"/>
                      </a:lnTo>
                      <a:lnTo>
                        <a:pt x="496" y="268"/>
                      </a:lnTo>
                      <a:lnTo>
                        <a:pt x="500" y="268"/>
                      </a:lnTo>
                      <a:lnTo>
                        <a:pt x="504" y="268"/>
                      </a:lnTo>
                      <a:lnTo>
                        <a:pt x="508" y="268"/>
                      </a:lnTo>
                      <a:lnTo>
                        <a:pt x="510" y="268"/>
                      </a:lnTo>
                      <a:lnTo>
                        <a:pt x="514" y="272"/>
                      </a:lnTo>
                      <a:lnTo>
                        <a:pt x="514" y="276"/>
                      </a:lnTo>
                      <a:lnTo>
                        <a:pt x="514" y="280"/>
                      </a:lnTo>
                      <a:lnTo>
                        <a:pt x="510" y="284"/>
                      </a:lnTo>
                      <a:lnTo>
                        <a:pt x="510" y="288"/>
                      </a:lnTo>
                      <a:lnTo>
                        <a:pt x="508" y="288"/>
                      </a:lnTo>
                      <a:lnTo>
                        <a:pt x="508" y="292"/>
                      </a:lnTo>
                      <a:lnTo>
                        <a:pt x="508" y="292"/>
                      </a:lnTo>
                      <a:lnTo>
                        <a:pt x="508" y="292"/>
                      </a:lnTo>
                      <a:close/>
                      <a:moveTo>
                        <a:pt x="236" y="272"/>
                      </a:moveTo>
                      <a:lnTo>
                        <a:pt x="238" y="272"/>
                      </a:lnTo>
                      <a:lnTo>
                        <a:pt x="236" y="272"/>
                      </a:lnTo>
                      <a:lnTo>
                        <a:pt x="236" y="272"/>
                      </a:lnTo>
                      <a:lnTo>
                        <a:pt x="236" y="272"/>
                      </a:lnTo>
                      <a:close/>
                      <a:moveTo>
                        <a:pt x="474" y="272"/>
                      </a:moveTo>
                      <a:lnTo>
                        <a:pt x="470" y="272"/>
                      </a:lnTo>
                      <a:lnTo>
                        <a:pt x="466" y="272"/>
                      </a:lnTo>
                      <a:lnTo>
                        <a:pt x="470" y="272"/>
                      </a:lnTo>
                      <a:lnTo>
                        <a:pt x="474" y="272"/>
                      </a:lnTo>
                      <a:lnTo>
                        <a:pt x="474" y="272"/>
                      </a:lnTo>
                      <a:lnTo>
                        <a:pt x="474" y="272"/>
                      </a:lnTo>
                      <a:close/>
                      <a:moveTo>
                        <a:pt x="354" y="350"/>
                      </a:moveTo>
                      <a:lnTo>
                        <a:pt x="352" y="350"/>
                      </a:lnTo>
                      <a:lnTo>
                        <a:pt x="348" y="350"/>
                      </a:lnTo>
                      <a:lnTo>
                        <a:pt x="344" y="350"/>
                      </a:lnTo>
                      <a:lnTo>
                        <a:pt x="340" y="350"/>
                      </a:lnTo>
                      <a:lnTo>
                        <a:pt x="336" y="350"/>
                      </a:lnTo>
                      <a:lnTo>
                        <a:pt x="332" y="350"/>
                      </a:lnTo>
                      <a:lnTo>
                        <a:pt x="328" y="350"/>
                      </a:lnTo>
                      <a:lnTo>
                        <a:pt x="328" y="348"/>
                      </a:lnTo>
                      <a:lnTo>
                        <a:pt x="324" y="348"/>
                      </a:lnTo>
                      <a:lnTo>
                        <a:pt x="324" y="344"/>
                      </a:lnTo>
                      <a:lnTo>
                        <a:pt x="322" y="344"/>
                      </a:lnTo>
                      <a:lnTo>
                        <a:pt x="322" y="340"/>
                      </a:lnTo>
                      <a:lnTo>
                        <a:pt x="324" y="336"/>
                      </a:lnTo>
                      <a:lnTo>
                        <a:pt x="328" y="336"/>
                      </a:lnTo>
                      <a:lnTo>
                        <a:pt x="332" y="336"/>
                      </a:lnTo>
                      <a:lnTo>
                        <a:pt x="336" y="336"/>
                      </a:lnTo>
                      <a:lnTo>
                        <a:pt x="340" y="332"/>
                      </a:lnTo>
                      <a:lnTo>
                        <a:pt x="344" y="332"/>
                      </a:lnTo>
                      <a:lnTo>
                        <a:pt x="348" y="332"/>
                      </a:lnTo>
                      <a:lnTo>
                        <a:pt x="352" y="332"/>
                      </a:lnTo>
                      <a:lnTo>
                        <a:pt x="354" y="332"/>
                      </a:lnTo>
                      <a:lnTo>
                        <a:pt x="358" y="332"/>
                      </a:lnTo>
                      <a:lnTo>
                        <a:pt x="358" y="328"/>
                      </a:lnTo>
                      <a:lnTo>
                        <a:pt x="354" y="328"/>
                      </a:lnTo>
                      <a:lnTo>
                        <a:pt x="358" y="328"/>
                      </a:lnTo>
                      <a:lnTo>
                        <a:pt x="362" y="328"/>
                      </a:lnTo>
                      <a:lnTo>
                        <a:pt x="366" y="328"/>
                      </a:lnTo>
                      <a:lnTo>
                        <a:pt x="366" y="324"/>
                      </a:lnTo>
                      <a:lnTo>
                        <a:pt x="366" y="328"/>
                      </a:lnTo>
                      <a:lnTo>
                        <a:pt x="362" y="328"/>
                      </a:lnTo>
                      <a:lnTo>
                        <a:pt x="362" y="324"/>
                      </a:lnTo>
                      <a:lnTo>
                        <a:pt x="358" y="324"/>
                      </a:lnTo>
                      <a:lnTo>
                        <a:pt x="354" y="324"/>
                      </a:lnTo>
                      <a:lnTo>
                        <a:pt x="352" y="328"/>
                      </a:lnTo>
                      <a:lnTo>
                        <a:pt x="348" y="328"/>
                      </a:lnTo>
                      <a:lnTo>
                        <a:pt x="344" y="328"/>
                      </a:lnTo>
                      <a:lnTo>
                        <a:pt x="340" y="328"/>
                      </a:lnTo>
                      <a:lnTo>
                        <a:pt x="336" y="328"/>
                      </a:lnTo>
                      <a:lnTo>
                        <a:pt x="332" y="328"/>
                      </a:lnTo>
                      <a:lnTo>
                        <a:pt x="336" y="328"/>
                      </a:lnTo>
                      <a:lnTo>
                        <a:pt x="332" y="328"/>
                      </a:lnTo>
                      <a:lnTo>
                        <a:pt x="332" y="332"/>
                      </a:lnTo>
                      <a:lnTo>
                        <a:pt x="328" y="328"/>
                      </a:lnTo>
                      <a:lnTo>
                        <a:pt x="328" y="332"/>
                      </a:lnTo>
                      <a:lnTo>
                        <a:pt x="328" y="328"/>
                      </a:lnTo>
                      <a:lnTo>
                        <a:pt x="324" y="328"/>
                      </a:lnTo>
                      <a:lnTo>
                        <a:pt x="322" y="328"/>
                      </a:lnTo>
                      <a:lnTo>
                        <a:pt x="324" y="324"/>
                      </a:lnTo>
                      <a:lnTo>
                        <a:pt x="328" y="324"/>
                      </a:lnTo>
                      <a:lnTo>
                        <a:pt x="332" y="324"/>
                      </a:lnTo>
                      <a:lnTo>
                        <a:pt x="328" y="324"/>
                      </a:lnTo>
                      <a:lnTo>
                        <a:pt x="328" y="322"/>
                      </a:lnTo>
                      <a:lnTo>
                        <a:pt x="324" y="322"/>
                      </a:lnTo>
                      <a:lnTo>
                        <a:pt x="324" y="324"/>
                      </a:lnTo>
                      <a:lnTo>
                        <a:pt x="322" y="324"/>
                      </a:lnTo>
                      <a:lnTo>
                        <a:pt x="318" y="324"/>
                      </a:lnTo>
                      <a:lnTo>
                        <a:pt x="318" y="322"/>
                      </a:lnTo>
                      <a:lnTo>
                        <a:pt x="314" y="322"/>
                      </a:lnTo>
                      <a:lnTo>
                        <a:pt x="314" y="324"/>
                      </a:lnTo>
                      <a:lnTo>
                        <a:pt x="310" y="324"/>
                      </a:lnTo>
                      <a:lnTo>
                        <a:pt x="310" y="322"/>
                      </a:lnTo>
                      <a:lnTo>
                        <a:pt x="310" y="318"/>
                      </a:lnTo>
                      <a:lnTo>
                        <a:pt x="314" y="314"/>
                      </a:lnTo>
                      <a:lnTo>
                        <a:pt x="318" y="314"/>
                      </a:lnTo>
                      <a:lnTo>
                        <a:pt x="314" y="310"/>
                      </a:lnTo>
                      <a:lnTo>
                        <a:pt x="318" y="310"/>
                      </a:lnTo>
                      <a:lnTo>
                        <a:pt x="322" y="310"/>
                      </a:lnTo>
                      <a:lnTo>
                        <a:pt x="324" y="310"/>
                      </a:lnTo>
                      <a:lnTo>
                        <a:pt x="324" y="306"/>
                      </a:lnTo>
                      <a:lnTo>
                        <a:pt x="322" y="306"/>
                      </a:lnTo>
                      <a:lnTo>
                        <a:pt x="318" y="306"/>
                      </a:lnTo>
                      <a:lnTo>
                        <a:pt x="318" y="302"/>
                      </a:lnTo>
                      <a:lnTo>
                        <a:pt x="322" y="298"/>
                      </a:lnTo>
                      <a:lnTo>
                        <a:pt x="324" y="298"/>
                      </a:lnTo>
                      <a:lnTo>
                        <a:pt x="328" y="294"/>
                      </a:lnTo>
                      <a:lnTo>
                        <a:pt x="332" y="294"/>
                      </a:lnTo>
                      <a:lnTo>
                        <a:pt x="332" y="292"/>
                      </a:lnTo>
                      <a:lnTo>
                        <a:pt x="336" y="292"/>
                      </a:lnTo>
                      <a:lnTo>
                        <a:pt x="340" y="292"/>
                      </a:lnTo>
                      <a:lnTo>
                        <a:pt x="340" y="288"/>
                      </a:lnTo>
                      <a:lnTo>
                        <a:pt x="344" y="288"/>
                      </a:lnTo>
                      <a:lnTo>
                        <a:pt x="348" y="288"/>
                      </a:lnTo>
                      <a:lnTo>
                        <a:pt x="352" y="284"/>
                      </a:lnTo>
                      <a:lnTo>
                        <a:pt x="354" y="284"/>
                      </a:lnTo>
                      <a:lnTo>
                        <a:pt x="358" y="284"/>
                      </a:lnTo>
                      <a:lnTo>
                        <a:pt x="362" y="280"/>
                      </a:lnTo>
                      <a:lnTo>
                        <a:pt x="366" y="280"/>
                      </a:lnTo>
                      <a:lnTo>
                        <a:pt x="370" y="280"/>
                      </a:lnTo>
                      <a:lnTo>
                        <a:pt x="374" y="276"/>
                      </a:lnTo>
                      <a:lnTo>
                        <a:pt x="378" y="280"/>
                      </a:lnTo>
                      <a:lnTo>
                        <a:pt x="380" y="280"/>
                      </a:lnTo>
                      <a:lnTo>
                        <a:pt x="380" y="284"/>
                      </a:lnTo>
                      <a:lnTo>
                        <a:pt x="384" y="284"/>
                      </a:lnTo>
                      <a:lnTo>
                        <a:pt x="380" y="288"/>
                      </a:lnTo>
                      <a:lnTo>
                        <a:pt x="380" y="292"/>
                      </a:lnTo>
                      <a:lnTo>
                        <a:pt x="380" y="294"/>
                      </a:lnTo>
                      <a:lnTo>
                        <a:pt x="378" y="294"/>
                      </a:lnTo>
                      <a:lnTo>
                        <a:pt x="378" y="298"/>
                      </a:lnTo>
                      <a:lnTo>
                        <a:pt x="374" y="298"/>
                      </a:lnTo>
                      <a:lnTo>
                        <a:pt x="378" y="298"/>
                      </a:lnTo>
                      <a:lnTo>
                        <a:pt x="380" y="298"/>
                      </a:lnTo>
                      <a:lnTo>
                        <a:pt x="384" y="294"/>
                      </a:lnTo>
                      <a:lnTo>
                        <a:pt x="384" y="298"/>
                      </a:lnTo>
                      <a:lnTo>
                        <a:pt x="388" y="294"/>
                      </a:lnTo>
                      <a:lnTo>
                        <a:pt x="388" y="298"/>
                      </a:lnTo>
                      <a:lnTo>
                        <a:pt x="384" y="298"/>
                      </a:lnTo>
                      <a:lnTo>
                        <a:pt x="388" y="298"/>
                      </a:lnTo>
                      <a:lnTo>
                        <a:pt x="388" y="294"/>
                      </a:lnTo>
                      <a:lnTo>
                        <a:pt x="392" y="294"/>
                      </a:lnTo>
                      <a:lnTo>
                        <a:pt x="388" y="294"/>
                      </a:lnTo>
                      <a:lnTo>
                        <a:pt x="392" y="292"/>
                      </a:lnTo>
                      <a:lnTo>
                        <a:pt x="392" y="288"/>
                      </a:lnTo>
                      <a:lnTo>
                        <a:pt x="396" y="288"/>
                      </a:lnTo>
                      <a:lnTo>
                        <a:pt x="400" y="288"/>
                      </a:lnTo>
                      <a:lnTo>
                        <a:pt x="404" y="288"/>
                      </a:lnTo>
                      <a:lnTo>
                        <a:pt x="404" y="292"/>
                      </a:lnTo>
                      <a:lnTo>
                        <a:pt x="408" y="292"/>
                      </a:lnTo>
                      <a:lnTo>
                        <a:pt x="410" y="292"/>
                      </a:lnTo>
                      <a:lnTo>
                        <a:pt x="414" y="292"/>
                      </a:lnTo>
                      <a:lnTo>
                        <a:pt x="418" y="292"/>
                      </a:lnTo>
                      <a:lnTo>
                        <a:pt x="418" y="294"/>
                      </a:lnTo>
                      <a:lnTo>
                        <a:pt x="422" y="294"/>
                      </a:lnTo>
                      <a:lnTo>
                        <a:pt x="422" y="298"/>
                      </a:lnTo>
                      <a:lnTo>
                        <a:pt x="418" y="302"/>
                      </a:lnTo>
                      <a:lnTo>
                        <a:pt x="414" y="302"/>
                      </a:lnTo>
                      <a:lnTo>
                        <a:pt x="414" y="306"/>
                      </a:lnTo>
                      <a:lnTo>
                        <a:pt x="410" y="306"/>
                      </a:lnTo>
                      <a:lnTo>
                        <a:pt x="414" y="306"/>
                      </a:lnTo>
                      <a:lnTo>
                        <a:pt x="418" y="306"/>
                      </a:lnTo>
                      <a:lnTo>
                        <a:pt x="414" y="306"/>
                      </a:lnTo>
                      <a:lnTo>
                        <a:pt x="418" y="302"/>
                      </a:lnTo>
                      <a:lnTo>
                        <a:pt x="422" y="302"/>
                      </a:lnTo>
                      <a:lnTo>
                        <a:pt x="422" y="306"/>
                      </a:lnTo>
                      <a:lnTo>
                        <a:pt x="422" y="302"/>
                      </a:lnTo>
                      <a:lnTo>
                        <a:pt x="424" y="302"/>
                      </a:lnTo>
                      <a:lnTo>
                        <a:pt x="428" y="302"/>
                      </a:lnTo>
                      <a:lnTo>
                        <a:pt x="424" y="302"/>
                      </a:lnTo>
                      <a:lnTo>
                        <a:pt x="428" y="298"/>
                      </a:lnTo>
                      <a:lnTo>
                        <a:pt x="432" y="298"/>
                      </a:lnTo>
                      <a:lnTo>
                        <a:pt x="428" y="302"/>
                      </a:lnTo>
                      <a:lnTo>
                        <a:pt x="432" y="302"/>
                      </a:lnTo>
                      <a:lnTo>
                        <a:pt x="432" y="298"/>
                      </a:lnTo>
                      <a:lnTo>
                        <a:pt x="436" y="302"/>
                      </a:lnTo>
                      <a:lnTo>
                        <a:pt x="440" y="302"/>
                      </a:lnTo>
                      <a:lnTo>
                        <a:pt x="436" y="302"/>
                      </a:lnTo>
                      <a:lnTo>
                        <a:pt x="436" y="298"/>
                      </a:lnTo>
                      <a:lnTo>
                        <a:pt x="440" y="298"/>
                      </a:lnTo>
                      <a:lnTo>
                        <a:pt x="440" y="302"/>
                      </a:lnTo>
                      <a:lnTo>
                        <a:pt x="440" y="298"/>
                      </a:lnTo>
                      <a:lnTo>
                        <a:pt x="436" y="298"/>
                      </a:lnTo>
                      <a:lnTo>
                        <a:pt x="432" y="294"/>
                      </a:lnTo>
                      <a:lnTo>
                        <a:pt x="436" y="294"/>
                      </a:lnTo>
                      <a:lnTo>
                        <a:pt x="440" y="294"/>
                      </a:lnTo>
                      <a:lnTo>
                        <a:pt x="436" y="294"/>
                      </a:lnTo>
                      <a:lnTo>
                        <a:pt x="436" y="292"/>
                      </a:lnTo>
                      <a:lnTo>
                        <a:pt x="432" y="292"/>
                      </a:lnTo>
                      <a:lnTo>
                        <a:pt x="428" y="292"/>
                      </a:lnTo>
                      <a:lnTo>
                        <a:pt x="428" y="288"/>
                      </a:lnTo>
                      <a:lnTo>
                        <a:pt x="432" y="288"/>
                      </a:lnTo>
                      <a:lnTo>
                        <a:pt x="436" y="288"/>
                      </a:lnTo>
                      <a:lnTo>
                        <a:pt x="440" y="288"/>
                      </a:lnTo>
                      <a:lnTo>
                        <a:pt x="444" y="292"/>
                      </a:lnTo>
                      <a:lnTo>
                        <a:pt x="448" y="294"/>
                      </a:lnTo>
                      <a:lnTo>
                        <a:pt x="450" y="294"/>
                      </a:lnTo>
                      <a:lnTo>
                        <a:pt x="450" y="298"/>
                      </a:lnTo>
                      <a:lnTo>
                        <a:pt x="454" y="298"/>
                      </a:lnTo>
                      <a:lnTo>
                        <a:pt x="458" y="298"/>
                      </a:lnTo>
                      <a:lnTo>
                        <a:pt x="458" y="302"/>
                      </a:lnTo>
                      <a:lnTo>
                        <a:pt x="458" y="306"/>
                      </a:lnTo>
                      <a:lnTo>
                        <a:pt x="458" y="310"/>
                      </a:lnTo>
                      <a:lnTo>
                        <a:pt x="462" y="310"/>
                      </a:lnTo>
                      <a:lnTo>
                        <a:pt x="462" y="314"/>
                      </a:lnTo>
                      <a:lnTo>
                        <a:pt x="462" y="318"/>
                      </a:lnTo>
                      <a:lnTo>
                        <a:pt x="462" y="322"/>
                      </a:lnTo>
                      <a:lnTo>
                        <a:pt x="466" y="322"/>
                      </a:lnTo>
                      <a:lnTo>
                        <a:pt x="466" y="324"/>
                      </a:lnTo>
                      <a:lnTo>
                        <a:pt x="470" y="324"/>
                      </a:lnTo>
                      <a:lnTo>
                        <a:pt x="470" y="322"/>
                      </a:lnTo>
                      <a:lnTo>
                        <a:pt x="474" y="322"/>
                      </a:lnTo>
                      <a:lnTo>
                        <a:pt x="474" y="318"/>
                      </a:lnTo>
                      <a:lnTo>
                        <a:pt x="478" y="318"/>
                      </a:lnTo>
                      <a:lnTo>
                        <a:pt x="474" y="314"/>
                      </a:lnTo>
                      <a:lnTo>
                        <a:pt x="470" y="314"/>
                      </a:lnTo>
                      <a:lnTo>
                        <a:pt x="474" y="314"/>
                      </a:lnTo>
                      <a:lnTo>
                        <a:pt x="474" y="310"/>
                      </a:lnTo>
                      <a:lnTo>
                        <a:pt x="470" y="310"/>
                      </a:lnTo>
                      <a:lnTo>
                        <a:pt x="470" y="306"/>
                      </a:lnTo>
                      <a:lnTo>
                        <a:pt x="470" y="302"/>
                      </a:lnTo>
                      <a:lnTo>
                        <a:pt x="470" y="298"/>
                      </a:lnTo>
                      <a:lnTo>
                        <a:pt x="466" y="298"/>
                      </a:lnTo>
                      <a:lnTo>
                        <a:pt x="466" y="294"/>
                      </a:lnTo>
                      <a:lnTo>
                        <a:pt x="466" y="292"/>
                      </a:lnTo>
                      <a:lnTo>
                        <a:pt x="466" y="288"/>
                      </a:lnTo>
                      <a:lnTo>
                        <a:pt x="462" y="284"/>
                      </a:lnTo>
                      <a:lnTo>
                        <a:pt x="466" y="284"/>
                      </a:lnTo>
                      <a:lnTo>
                        <a:pt x="470" y="284"/>
                      </a:lnTo>
                      <a:lnTo>
                        <a:pt x="466" y="284"/>
                      </a:lnTo>
                      <a:lnTo>
                        <a:pt x="466" y="280"/>
                      </a:lnTo>
                      <a:lnTo>
                        <a:pt x="470" y="280"/>
                      </a:lnTo>
                      <a:lnTo>
                        <a:pt x="474" y="280"/>
                      </a:lnTo>
                      <a:lnTo>
                        <a:pt x="478" y="280"/>
                      </a:lnTo>
                      <a:lnTo>
                        <a:pt x="478" y="284"/>
                      </a:lnTo>
                      <a:lnTo>
                        <a:pt x="480" y="284"/>
                      </a:lnTo>
                      <a:lnTo>
                        <a:pt x="480" y="280"/>
                      </a:lnTo>
                      <a:lnTo>
                        <a:pt x="484" y="280"/>
                      </a:lnTo>
                      <a:lnTo>
                        <a:pt x="484" y="284"/>
                      </a:lnTo>
                      <a:lnTo>
                        <a:pt x="488" y="284"/>
                      </a:lnTo>
                      <a:lnTo>
                        <a:pt x="492" y="284"/>
                      </a:lnTo>
                      <a:lnTo>
                        <a:pt x="496" y="288"/>
                      </a:lnTo>
                      <a:lnTo>
                        <a:pt x="500" y="288"/>
                      </a:lnTo>
                      <a:lnTo>
                        <a:pt x="500" y="292"/>
                      </a:lnTo>
                      <a:lnTo>
                        <a:pt x="504" y="292"/>
                      </a:lnTo>
                      <a:lnTo>
                        <a:pt x="504" y="294"/>
                      </a:lnTo>
                      <a:lnTo>
                        <a:pt x="504" y="298"/>
                      </a:lnTo>
                      <a:lnTo>
                        <a:pt x="508" y="298"/>
                      </a:lnTo>
                      <a:lnTo>
                        <a:pt x="508" y="302"/>
                      </a:lnTo>
                      <a:lnTo>
                        <a:pt x="504" y="302"/>
                      </a:lnTo>
                      <a:lnTo>
                        <a:pt x="508" y="302"/>
                      </a:lnTo>
                      <a:lnTo>
                        <a:pt x="508" y="306"/>
                      </a:lnTo>
                      <a:lnTo>
                        <a:pt x="508" y="310"/>
                      </a:lnTo>
                      <a:lnTo>
                        <a:pt x="510" y="310"/>
                      </a:lnTo>
                      <a:lnTo>
                        <a:pt x="508" y="310"/>
                      </a:lnTo>
                      <a:lnTo>
                        <a:pt x="508" y="314"/>
                      </a:lnTo>
                      <a:lnTo>
                        <a:pt x="510" y="314"/>
                      </a:lnTo>
                      <a:lnTo>
                        <a:pt x="510" y="318"/>
                      </a:lnTo>
                      <a:lnTo>
                        <a:pt x="514" y="318"/>
                      </a:lnTo>
                      <a:lnTo>
                        <a:pt x="514" y="322"/>
                      </a:lnTo>
                      <a:lnTo>
                        <a:pt x="518" y="324"/>
                      </a:lnTo>
                      <a:lnTo>
                        <a:pt x="518" y="328"/>
                      </a:lnTo>
                      <a:lnTo>
                        <a:pt x="518" y="332"/>
                      </a:lnTo>
                      <a:lnTo>
                        <a:pt x="514" y="332"/>
                      </a:lnTo>
                      <a:lnTo>
                        <a:pt x="518" y="332"/>
                      </a:lnTo>
                      <a:lnTo>
                        <a:pt x="518" y="336"/>
                      </a:lnTo>
                      <a:lnTo>
                        <a:pt x="514" y="336"/>
                      </a:lnTo>
                      <a:lnTo>
                        <a:pt x="514" y="340"/>
                      </a:lnTo>
                      <a:lnTo>
                        <a:pt x="518" y="340"/>
                      </a:lnTo>
                      <a:lnTo>
                        <a:pt x="522" y="344"/>
                      </a:lnTo>
                      <a:lnTo>
                        <a:pt x="522" y="348"/>
                      </a:lnTo>
                      <a:lnTo>
                        <a:pt x="526" y="348"/>
                      </a:lnTo>
                      <a:lnTo>
                        <a:pt x="530" y="350"/>
                      </a:lnTo>
                      <a:lnTo>
                        <a:pt x="534" y="350"/>
                      </a:lnTo>
                      <a:lnTo>
                        <a:pt x="536" y="350"/>
                      </a:lnTo>
                      <a:lnTo>
                        <a:pt x="536" y="354"/>
                      </a:lnTo>
                      <a:lnTo>
                        <a:pt x="536" y="350"/>
                      </a:lnTo>
                      <a:lnTo>
                        <a:pt x="536" y="348"/>
                      </a:lnTo>
                      <a:lnTo>
                        <a:pt x="540" y="350"/>
                      </a:lnTo>
                      <a:lnTo>
                        <a:pt x="540" y="354"/>
                      </a:lnTo>
                      <a:lnTo>
                        <a:pt x="544" y="354"/>
                      </a:lnTo>
                      <a:lnTo>
                        <a:pt x="548" y="354"/>
                      </a:lnTo>
                      <a:lnTo>
                        <a:pt x="548" y="358"/>
                      </a:lnTo>
                      <a:lnTo>
                        <a:pt x="552" y="358"/>
                      </a:lnTo>
                      <a:lnTo>
                        <a:pt x="556" y="358"/>
                      </a:lnTo>
                      <a:lnTo>
                        <a:pt x="556" y="362"/>
                      </a:lnTo>
                      <a:lnTo>
                        <a:pt x="560" y="362"/>
                      </a:lnTo>
                      <a:lnTo>
                        <a:pt x="564" y="362"/>
                      </a:lnTo>
                      <a:lnTo>
                        <a:pt x="566" y="362"/>
                      </a:lnTo>
                      <a:lnTo>
                        <a:pt x="566" y="366"/>
                      </a:lnTo>
                      <a:lnTo>
                        <a:pt x="566" y="370"/>
                      </a:lnTo>
                      <a:lnTo>
                        <a:pt x="566" y="374"/>
                      </a:lnTo>
                      <a:lnTo>
                        <a:pt x="564" y="374"/>
                      </a:lnTo>
                      <a:lnTo>
                        <a:pt x="560" y="374"/>
                      </a:lnTo>
                      <a:lnTo>
                        <a:pt x="560" y="370"/>
                      </a:lnTo>
                      <a:lnTo>
                        <a:pt x="560" y="374"/>
                      </a:lnTo>
                      <a:lnTo>
                        <a:pt x="556" y="374"/>
                      </a:lnTo>
                      <a:lnTo>
                        <a:pt x="552" y="374"/>
                      </a:lnTo>
                      <a:lnTo>
                        <a:pt x="552" y="370"/>
                      </a:lnTo>
                      <a:lnTo>
                        <a:pt x="548" y="370"/>
                      </a:lnTo>
                      <a:lnTo>
                        <a:pt x="544" y="374"/>
                      </a:lnTo>
                      <a:lnTo>
                        <a:pt x="540" y="374"/>
                      </a:lnTo>
                      <a:lnTo>
                        <a:pt x="544" y="374"/>
                      </a:lnTo>
                      <a:lnTo>
                        <a:pt x="544" y="378"/>
                      </a:lnTo>
                      <a:lnTo>
                        <a:pt x="540" y="378"/>
                      </a:lnTo>
                      <a:lnTo>
                        <a:pt x="536" y="378"/>
                      </a:lnTo>
                      <a:lnTo>
                        <a:pt x="534" y="374"/>
                      </a:lnTo>
                      <a:lnTo>
                        <a:pt x="530" y="374"/>
                      </a:lnTo>
                      <a:lnTo>
                        <a:pt x="530" y="378"/>
                      </a:lnTo>
                      <a:lnTo>
                        <a:pt x="534" y="378"/>
                      </a:lnTo>
                      <a:lnTo>
                        <a:pt x="536" y="378"/>
                      </a:lnTo>
                      <a:lnTo>
                        <a:pt x="536" y="380"/>
                      </a:lnTo>
                      <a:lnTo>
                        <a:pt x="536" y="384"/>
                      </a:lnTo>
                      <a:lnTo>
                        <a:pt x="534" y="384"/>
                      </a:lnTo>
                      <a:lnTo>
                        <a:pt x="534" y="388"/>
                      </a:lnTo>
                      <a:lnTo>
                        <a:pt x="536" y="388"/>
                      </a:lnTo>
                      <a:lnTo>
                        <a:pt x="536" y="384"/>
                      </a:lnTo>
                      <a:lnTo>
                        <a:pt x="540" y="380"/>
                      </a:lnTo>
                      <a:lnTo>
                        <a:pt x="544" y="380"/>
                      </a:lnTo>
                      <a:lnTo>
                        <a:pt x="544" y="378"/>
                      </a:lnTo>
                      <a:lnTo>
                        <a:pt x="548" y="378"/>
                      </a:lnTo>
                      <a:lnTo>
                        <a:pt x="552" y="378"/>
                      </a:lnTo>
                      <a:lnTo>
                        <a:pt x="552" y="380"/>
                      </a:lnTo>
                      <a:lnTo>
                        <a:pt x="552" y="384"/>
                      </a:lnTo>
                      <a:lnTo>
                        <a:pt x="548" y="384"/>
                      </a:lnTo>
                      <a:lnTo>
                        <a:pt x="548" y="388"/>
                      </a:lnTo>
                      <a:lnTo>
                        <a:pt x="552" y="388"/>
                      </a:lnTo>
                      <a:lnTo>
                        <a:pt x="552" y="384"/>
                      </a:lnTo>
                      <a:lnTo>
                        <a:pt x="556" y="384"/>
                      </a:lnTo>
                      <a:lnTo>
                        <a:pt x="556" y="388"/>
                      </a:lnTo>
                      <a:lnTo>
                        <a:pt x="556" y="392"/>
                      </a:lnTo>
                      <a:lnTo>
                        <a:pt x="552" y="392"/>
                      </a:lnTo>
                      <a:lnTo>
                        <a:pt x="548" y="392"/>
                      </a:lnTo>
                      <a:lnTo>
                        <a:pt x="544" y="392"/>
                      </a:lnTo>
                      <a:lnTo>
                        <a:pt x="544" y="396"/>
                      </a:lnTo>
                      <a:lnTo>
                        <a:pt x="540" y="396"/>
                      </a:lnTo>
                      <a:lnTo>
                        <a:pt x="536" y="396"/>
                      </a:lnTo>
                      <a:lnTo>
                        <a:pt x="534" y="396"/>
                      </a:lnTo>
                      <a:lnTo>
                        <a:pt x="530" y="396"/>
                      </a:lnTo>
                      <a:lnTo>
                        <a:pt x="526" y="396"/>
                      </a:lnTo>
                      <a:lnTo>
                        <a:pt x="522" y="396"/>
                      </a:lnTo>
                      <a:lnTo>
                        <a:pt x="518" y="392"/>
                      </a:lnTo>
                      <a:lnTo>
                        <a:pt x="514" y="396"/>
                      </a:lnTo>
                      <a:lnTo>
                        <a:pt x="510" y="396"/>
                      </a:lnTo>
                      <a:lnTo>
                        <a:pt x="508" y="392"/>
                      </a:lnTo>
                      <a:lnTo>
                        <a:pt x="510" y="388"/>
                      </a:lnTo>
                      <a:lnTo>
                        <a:pt x="508" y="388"/>
                      </a:lnTo>
                      <a:lnTo>
                        <a:pt x="504" y="388"/>
                      </a:lnTo>
                      <a:lnTo>
                        <a:pt x="500" y="388"/>
                      </a:lnTo>
                      <a:lnTo>
                        <a:pt x="496" y="388"/>
                      </a:lnTo>
                      <a:lnTo>
                        <a:pt x="492" y="388"/>
                      </a:lnTo>
                      <a:lnTo>
                        <a:pt x="488" y="384"/>
                      </a:lnTo>
                      <a:lnTo>
                        <a:pt x="492" y="384"/>
                      </a:lnTo>
                      <a:lnTo>
                        <a:pt x="492" y="380"/>
                      </a:lnTo>
                      <a:lnTo>
                        <a:pt x="488" y="380"/>
                      </a:lnTo>
                      <a:lnTo>
                        <a:pt x="488" y="378"/>
                      </a:lnTo>
                      <a:lnTo>
                        <a:pt x="484" y="378"/>
                      </a:lnTo>
                      <a:lnTo>
                        <a:pt x="484" y="380"/>
                      </a:lnTo>
                      <a:lnTo>
                        <a:pt x="480" y="380"/>
                      </a:lnTo>
                      <a:lnTo>
                        <a:pt x="480" y="384"/>
                      </a:lnTo>
                      <a:lnTo>
                        <a:pt x="480" y="388"/>
                      </a:lnTo>
                      <a:lnTo>
                        <a:pt x="478" y="388"/>
                      </a:lnTo>
                      <a:lnTo>
                        <a:pt x="478" y="392"/>
                      </a:lnTo>
                      <a:lnTo>
                        <a:pt x="474" y="392"/>
                      </a:lnTo>
                      <a:lnTo>
                        <a:pt x="470" y="392"/>
                      </a:lnTo>
                      <a:lnTo>
                        <a:pt x="466" y="392"/>
                      </a:lnTo>
                      <a:lnTo>
                        <a:pt x="462" y="392"/>
                      </a:lnTo>
                      <a:lnTo>
                        <a:pt x="458" y="392"/>
                      </a:lnTo>
                      <a:lnTo>
                        <a:pt x="458" y="396"/>
                      </a:lnTo>
                      <a:lnTo>
                        <a:pt x="454" y="396"/>
                      </a:lnTo>
                      <a:lnTo>
                        <a:pt x="450" y="400"/>
                      </a:lnTo>
                      <a:lnTo>
                        <a:pt x="448" y="400"/>
                      </a:lnTo>
                      <a:lnTo>
                        <a:pt x="444" y="400"/>
                      </a:lnTo>
                      <a:lnTo>
                        <a:pt x="440" y="400"/>
                      </a:lnTo>
                      <a:lnTo>
                        <a:pt x="436" y="400"/>
                      </a:lnTo>
                      <a:lnTo>
                        <a:pt x="432" y="400"/>
                      </a:lnTo>
                      <a:lnTo>
                        <a:pt x="432" y="404"/>
                      </a:lnTo>
                      <a:lnTo>
                        <a:pt x="432" y="400"/>
                      </a:lnTo>
                      <a:lnTo>
                        <a:pt x="428" y="400"/>
                      </a:lnTo>
                      <a:lnTo>
                        <a:pt x="428" y="404"/>
                      </a:lnTo>
                      <a:lnTo>
                        <a:pt x="424" y="404"/>
                      </a:lnTo>
                      <a:lnTo>
                        <a:pt x="424" y="400"/>
                      </a:lnTo>
                      <a:lnTo>
                        <a:pt x="424" y="404"/>
                      </a:lnTo>
                      <a:lnTo>
                        <a:pt x="422" y="404"/>
                      </a:lnTo>
                      <a:lnTo>
                        <a:pt x="418" y="404"/>
                      </a:lnTo>
                      <a:lnTo>
                        <a:pt x="422" y="404"/>
                      </a:lnTo>
                      <a:lnTo>
                        <a:pt x="418" y="404"/>
                      </a:lnTo>
                      <a:lnTo>
                        <a:pt x="414" y="404"/>
                      </a:lnTo>
                      <a:lnTo>
                        <a:pt x="410" y="404"/>
                      </a:lnTo>
                      <a:lnTo>
                        <a:pt x="408" y="404"/>
                      </a:lnTo>
                      <a:lnTo>
                        <a:pt x="404" y="404"/>
                      </a:lnTo>
                      <a:lnTo>
                        <a:pt x="400" y="404"/>
                      </a:lnTo>
                      <a:lnTo>
                        <a:pt x="396" y="404"/>
                      </a:lnTo>
                      <a:lnTo>
                        <a:pt x="392" y="404"/>
                      </a:lnTo>
                      <a:lnTo>
                        <a:pt x="396" y="404"/>
                      </a:lnTo>
                      <a:lnTo>
                        <a:pt x="392" y="404"/>
                      </a:lnTo>
                      <a:lnTo>
                        <a:pt x="392" y="400"/>
                      </a:lnTo>
                      <a:lnTo>
                        <a:pt x="388" y="400"/>
                      </a:lnTo>
                      <a:lnTo>
                        <a:pt x="388" y="396"/>
                      </a:lnTo>
                      <a:lnTo>
                        <a:pt x="388" y="392"/>
                      </a:lnTo>
                      <a:lnTo>
                        <a:pt x="388" y="388"/>
                      </a:lnTo>
                      <a:lnTo>
                        <a:pt x="388" y="384"/>
                      </a:lnTo>
                      <a:lnTo>
                        <a:pt x="388" y="388"/>
                      </a:lnTo>
                      <a:lnTo>
                        <a:pt x="388" y="384"/>
                      </a:lnTo>
                      <a:lnTo>
                        <a:pt x="384" y="384"/>
                      </a:lnTo>
                      <a:lnTo>
                        <a:pt x="378" y="384"/>
                      </a:lnTo>
                      <a:lnTo>
                        <a:pt x="374" y="384"/>
                      </a:lnTo>
                      <a:lnTo>
                        <a:pt x="370" y="384"/>
                      </a:lnTo>
                      <a:lnTo>
                        <a:pt x="366" y="384"/>
                      </a:lnTo>
                      <a:lnTo>
                        <a:pt x="362" y="384"/>
                      </a:lnTo>
                      <a:lnTo>
                        <a:pt x="358" y="384"/>
                      </a:lnTo>
                      <a:lnTo>
                        <a:pt x="354" y="384"/>
                      </a:lnTo>
                      <a:lnTo>
                        <a:pt x="352" y="380"/>
                      </a:lnTo>
                      <a:lnTo>
                        <a:pt x="348" y="380"/>
                      </a:lnTo>
                      <a:lnTo>
                        <a:pt x="344" y="380"/>
                      </a:lnTo>
                      <a:lnTo>
                        <a:pt x="348" y="378"/>
                      </a:lnTo>
                      <a:lnTo>
                        <a:pt x="344" y="378"/>
                      </a:lnTo>
                      <a:lnTo>
                        <a:pt x="340" y="378"/>
                      </a:lnTo>
                      <a:lnTo>
                        <a:pt x="344" y="378"/>
                      </a:lnTo>
                      <a:lnTo>
                        <a:pt x="344" y="374"/>
                      </a:lnTo>
                      <a:lnTo>
                        <a:pt x="340" y="374"/>
                      </a:lnTo>
                      <a:lnTo>
                        <a:pt x="336" y="374"/>
                      </a:lnTo>
                      <a:lnTo>
                        <a:pt x="336" y="370"/>
                      </a:lnTo>
                      <a:lnTo>
                        <a:pt x="336" y="366"/>
                      </a:lnTo>
                      <a:lnTo>
                        <a:pt x="332" y="366"/>
                      </a:lnTo>
                      <a:lnTo>
                        <a:pt x="336" y="366"/>
                      </a:lnTo>
                      <a:lnTo>
                        <a:pt x="336" y="362"/>
                      </a:lnTo>
                      <a:lnTo>
                        <a:pt x="340" y="362"/>
                      </a:lnTo>
                      <a:lnTo>
                        <a:pt x="348" y="362"/>
                      </a:lnTo>
                      <a:lnTo>
                        <a:pt x="352" y="362"/>
                      </a:lnTo>
                      <a:lnTo>
                        <a:pt x="354" y="358"/>
                      </a:lnTo>
                      <a:lnTo>
                        <a:pt x="358" y="358"/>
                      </a:lnTo>
                      <a:lnTo>
                        <a:pt x="362" y="358"/>
                      </a:lnTo>
                      <a:lnTo>
                        <a:pt x="366" y="358"/>
                      </a:lnTo>
                      <a:lnTo>
                        <a:pt x="370" y="358"/>
                      </a:lnTo>
                      <a:lnTo>
                        <a:pt x="374" y="358"/>
                      </a:lnTo>
                      <a:lnTo>
                        <a:pt x="378" y="358"/>
                      </a:lnTo>
                      <a:lnTo>
                        <a:pt x="380" y="358"/>
                      </a:lnTo>
                      <a:lnTo>
                        <a:pt x="384" y="358"/>
                      </a:lnTo>
                      <a:lnTo>
                        <a:pt x="388" y="358"/>
                      </a:lnTo>
                      <a:lnTo>
                        <a:pt x="392" y="358"/>
                      </a:lnTo>
                      <a:lnTo>
                        <a:pt x="396" y="358"/>
                      </a:lnTo>
                      <a:lnTo>
                        <a:pt x="400" y="362"/>
                      </a:lnTo>
                      <a:lnTo>
                        <a:pt x="404" y="362"/>
                      </a:lnTo>
                      <a:lnTo>
                        <a:pt x="404" y="358"/>
                      </a:lnTo>
                      <a:lnTo>
                        <a:pt x="408" y="358"/>
                      </a:lnTo>
                      <a:lnTo>
                        <a:pt x="410" y="358"/>
                      </a:lnTo>
                      <a:lnTo>
                        <a:pt x="414" y="358"/>
                      </a:lnTo>
                      <a:lnTo>
                        <a:pt x="418" y="358"/>
                      </a:lnTo>
                      <a:lnTo>
                        <a:pt x="414" y="354"/>
                      </a:lnTo>
                      <a:lnTo>
                        <a:pt x="414" y="358"/>
                      </a:lnTo>
                      <a:lnTo>
                        <a:pt x="410" y="354"/>
                      </a:lnTo>
                      <a:lnTo>
                        <a:pt x="408" y="354"/>
                      </a:lnTo>
                      <a:lnTo>
                        <a:pt x="404" y="350"/>
                      </a:lnTo>
                      <a:lnTo>
                        <a:pt x="400" y="350"/>
                      </a:lnTo>
                      <a:lnTo>
                        <a:pt x="396" y="350"/>
                      </a:lnTo>
                      <a:lnTo>
                        <a:pt x="392" y="350"/>
                      </a:lnTo>
                      <a:lnTo>
                        <a:pt x="388" y="348"/>
                      </a:lnTo>
                      <a:lnTo>
                        <a:pt x="388" y="350"/>
                      </a:lnTo>
                      <a:lnTo>
                        <a:pt x="388" y="348"/>
                      </a:lnTo>
                      <a:lnTo>
                        <a:pt x="384" y="348"/>
                      </a:lnTo>
                      <a:lnTo>
                        <a:pt x="380" y="348"/>
                      </a:lnTo>
                      <a:lnTo>
                        <a:pt x="378" y="348"/>
                      </a:lnTo>
                      <a:lnTo>
                        <a:pt x="378" y="350"/>
                      </a:lnTo>
                      <a:lnTo>
                        <a:pt x="374" y="350"/>
                      </a:lnTo>
                      <a:lnTo>
                        <a:pt x="370" y="350"/>
                      </a:lnTo>
                      <a:lnTo>
                        <a:pt x="366" y="350"/>
                      </a:lnTo>
                      <a:lnTo>
                        <a:pt x="362" y="350"/>
                      </a:lnTo>
                      <a:lnTo>
                        <a:pt x="354" y="350"/>
                      </a:lnTo>
                      <a:lnTo>
                        <a:pt x="354" y="350"/>
                      </a:lnTo>
                      <a:lnTo>
                        <a:pt x="354" y="350"/>
                      </a:lnTo>
                      <a:close/>
                      <a:moveTo>
                        <a:pt x="626" y="284"/>
                      </a:moveTo>
                      <a:lnTo>
                        <a:pt x="630" y="288"/>
                      </a:lnTo>
                      <a:lnTo>
                        <a:pt x="626" y="288"/>
                      </a:lnTo>
                      <a:lnTo>
                        <a:pt x="626" y="292"/>
                      </a:lnTo>
                      <a:lnTo>
                        <a:pt x="622" y="292"/>
                      </a:lnTo>
                      <a:lnTo>
                        <a:pt x="622" y="288"/>
                      </a:lnTo>
                      <a:lnTo>
                        <a:pt x="620" y="288"/>
                      </a:lnTo>
                      <a:lnTo>
                        <a:pt x="620" y="284"/>
                      </a:lnTo>
                      <a:lnTo>
                        <a:pt x="622" y="284"/>
                      </a:lnTo>
                      <a:lnTo>
                        <a:pt x="626" y="284"/>
                      </a:lnTo>
                      <a:lnTo>
                        <a:pt x="626" y="284"/>
                      </a:lnTo>
                      <a:lnTo>
                        <a:pt x="626" y="284"/>
                      </a:lnTo>
                      <a:close/>
                      <a:moveTo>
                        <a:pt x="626" y="292"/>
                      </a:moveTo>
                      <a:lnTo>
                        <a:pt x="626" y="294"/>
                      </a:lnTo>
                      <a:lnTo>
                        <a:pt x="622" y="294"/>
                      </a:lnTo>
                      <a:lnTo>
                        <a:pt x="622" y="292"/>
                      </a:lnTo>
                      <a:lnTo>
                        <a:pt x="626" y="292"/>
                      </a:lnTo>
                      <a:lnTo>
                        <a:pt x="626" y="292"/>
                      </a:lnTo>
                      <a:lnTo>
                        <a:pt x="626" y="292"/>
                      </a:lnTo>
                      <a:close/>
                      <a:moveTo>
                        <a:pt x="936" y="310"/>
                      </a:moveTo>
                      <a:lnTo>
                        <a:pt x="940" y="310"/>
                      </a:lnTo>
                      <a:lnTo>
                        <a:pt x="936" y="310"/>
                      </a:lnTo>
                      <a:lnTo>
                        <a:pt x="936" y="310"/>
                      </a:lnTo>
                      <a:lnTo>
                        <a:pt x="936" y="310"/>
                      </a:lnTo>
                      <a:close/>
                      <a:moveTo>
                        <a:pt x="958" y="322"/>
                      </a:moveTo>
                      <a:lnTo>
                        <a:pt x="958" y="324"/>
                      </a:lnTo>
                      <a:lnTo>
                        <a:pt x="954" y="324"/>
                      </a:lnTo>
                      <a:lnTo>
                        <a:pt x="958" y="324"/>
                      </a:lnTo>
                      <a:lnTo>
                        <a:pt x="958" y="322"/>
                      </a:lnTo>
                      <a:lnTo>
                        <a:pt x="958" y="322"/>
                      </a:lnTo>
                      <a:lnTo>
                        <a:pt x="958" y="322"/>
                      </a:lnTo>
                      <a:close/>
                      <a:moveTo>
                        <a:pt x="962" y="324"/>
                      </a:moveTo>
                      <a:lnTo>
                        <a:pt x="966" y="324"/>
                      </a:lnTo>
                      <a:lnTo>
                        <a:pt x="966" y="322"/>
                      </a:lnTo>
                      <a:lnTo>
                        <a:pt x="966" y="324"/>
                      </a:lnTo>
                      <a:lnTo>
                        <a:pt x="962" y="324"/>
                      </a:lnTo>
                      <a:lnTo>
                        <a:pt x="962" y="324"/>
                      </a:lnTo>
                      <a:lnTo>
                        <a:pt x="962" y="324"/>
                      </a:lnTo>
                      <a:close/>
                      <a:moveTo>
                        <a:pt x="962" y="332"/>
                      </a:moveTo>
                      <a:lnTo>
                        <a:pt x="958" y="332"/>
                      </a:lnTo>
                      <a:lnTo>
                        <a:pt x="958" y="328"/>
                      </a:lnTo>
                      <a:lnTo>
                        <a:pt x="958" y="324"/>
                      </a:lnTo>
                      <a:lnTo>
                        <a:pt x="962" y="324"/>
                      </a:lnTo>
                      <a:lnTo>
                        <a:pt x="962" y="328"/>
                      </a:lnTo>
                      <a:lnTo>
                        <a:pt x="958" y="328"/>
                      </a:lnTo>
                      <a:lnTo>
                        <a:pt x="962" y="328"/>
                      </a:lnTo>
                      <a:lnTo>
                        <a:pt x="962" y="324"/>
                      </a:lnTo>
                      <a:lnTo>
                        <a:pt x="962" y="328"/>
                      </a:lnTo>
                      <a:lnTo>
                        <a:pt x="966" y="328"/>
                      </a:lnTo>
                      <a:lnTo>
                        <a:pt x="962" y="328"/>
                      </a:lnTo>
                      <a:lnTo>
                        <a:pt x="962" y="332"/>
                      </a:lnTo>
                      <a:lnTo>
                        <a:pt x="962" y="332"/>
                      </a:lnTo>
                      <a:lnTo>
                        <a:pt x="962" y="332"/>
                      </a:lnTo>
                      <a:close/>
                      <a:moveTo>
                        <a:pt x="988" y="336"/>
                      </a:moveTo>
                      <a:lnTo>
                        <a:pt x="988" y="340"/>
                      </a:lnTo>
                      <a:lnTo>
                        <a:pt x="988" y="336"/>
                      </a:lnTo>
                      <a:lnTo>
                        <a:pt x="988" y="336"/>
                      </a:lnTo>
                      <a:lnTo>
                        <a:pt x="988" y="336"/>
                      </a:lnTo>
                      <a:close/>
                      <a:moveTo>
                        <a:pt x="980" y="340"/>
                      </a:moveTo>
                      <a:lnTo>
                        <a:pt x="984" y="340"/>
                      </a:lnTo>
                      <a:lnTo>
                        <a:pt x="984" y="344"/>
                      </a:lnTo>
                      <a:lnTo>
                        <a:pt x="980" y="344"/>
                      </a:lnTo>
                      <a:lnTo>
                        <a:pt x="976" y="344"/>
                      </a:lnTo>
                      <a:lnTo>
                        <a:pt x="974" y="344"/>
                      </a:lnTo>
                      <a:lnTo>
                        <a:pt x="976" y="344"/>
                      </a:lnTo>
                      <a:lnTo>
                        <a:pt x="976" y="340"/>
                      </a:lnTo>
                      <a:lnTo>
                        <a:pt x="980" y="340"/>
                      </a:lnTo>
                      <a:lnTo>
                        <a:pt x="980" y="340"/>
                      </a:lnTo>
                      <a:lnTo>
                        <a:pt x="980" y="340"/>
                      </a:lnTo>
                      <a:close/>
                      <a:moveTo>
                        <a:pt x="574" y="348"/>
                      </a:moveTo>
                      <a:lnTo>
                        <a:pt x="574" y="350"/>
                      </a:lnTo>
                      <a:lnTo>
                        <a:pt x="578" y="350"/>
                      </a:lnTo>
                      <a:lnTo>
                        <a:pt x="578" y="354"/>
                      </a:lnTo>
                      <a:lnTo>
                        <a:pt x="574" y="354"/>
                      </a:lnTo>
                      <a:lnTo>
                        <a:pt x="574" y="350"/>
                      </a:lnTo>
                      <a:lnTo>
                        <a:pt x="570" y="350"/>
                      </a:lnTo>
                      <a:lnTo>
                        <a:pt x="570" y="348"/>
                      </a:lnTo>
                      <a:lnTo>
                        <a:pt x="574" y="348"/>
                      </a:lnTo>
                      <a:lnTo>
                        <a:pt x="574" y="348"/>
                      </a:lnTo>
                      <a:lnTo>
                        <a:pt x="574" y="348"/>
                      </a:lnTo>
                      <a:close/>
                      <a:moveTo>
                        <a:pt x="182" y="350"/>
                      </a:moveTo>
                      <a:lnTo>
                        <a:pt x="180" y="350"/>
                      </a:lnTo>
                      <a:lnTo>
                        <a:pt x="180" y="348"/>
                      </a:lnTo>
                      <a:lnTo>
                        <a:pt x="182" y="350"/>
                      </a:lnTo>
                      <a:lnTo>
                        <a:pt x="182" y="350"/>
                      </a:lnTo>
                      <a:lnTo>
                        <a:pt x="182" y="350"/>
                      </a:lnTo>
                      <a:close/>
                      <a:moveTo>
                        <a:pt x="760" y="362"/>
                      </a:moveTo>
                      <a:lnTo>
                        <a:pt x="764" y="362"/>
                      </a:lnTo>
                      <a:lnTo>
                        <a:pt x="768" y="362"/>
                      </a:lnTo>
                      <a:lnTo>
                        <a:pt x="772" y="362"/>
                      </a:lnTo>
                      <a:lnTo>
                        <a:pt x="772" y="366"/>
                      </a:lnTo>
                      <a:lnTo>
                        <a:pt x="768" y="366"/>
                      </a:lnTo>
                      <a:lnTo>
                        <a:pt x="764" y="366"/>
                      </a:lnTo>
                      <a:lnTo>
                        <a:pt x="760" y="366"/>
                      </a:lnTo>
                      <a:lnTo>
                        <a:pt x="760" y="362"/>
                      </a:lnTo>
                      <a:lnTo>
                        <a:pt x="756" y="362"/>
                      </a:lnTo>
                      <a:lnTo>
                        <a:pt x="760" y="362"/>
                      </a:lnTo>
                      <a:lnTo>
                        <a:pt x="760" y="362"/>
                      </a:lnTo>
                      <a:lnTo>
                        <a:pt x="760" y="362"/>
                      </a:lnTo>
                      <a:close/>
                      <a:moveTo>
                        <a:pt x="638" y="396"/>
                      </a:moveTo>
                      <a:lnTo>
                        <a:pt x="642" y="392"/>
                      </a:lnTo>
                      <a:lnTo>
                        <a:pt x="642" y="396"/>
                      </a:lnTo>
                      <a:lnTo>
                        <a:pt x="646" y="396"/>
                      </a:lnTo>
                      <a:lnTo>
                        <a:pt x="646" y="392"/>
                      </a:lnTo>
                      <a:lnTo>
                        <a:pt x="650" y="396"/>
                      </a:lnTo>
                      <a:lnTo>
                        <a:pt x="646" y="396"/>
                      </a:lnTo>
                      <a:lnTo>
                        <a:pt x="646" y="400"/>
                      </a:lnTo>
                      <a:lnTo>
                        <a:pt x="642" y="400"/>
                      </a:lnTo>
                      <a:lnTo>
                        <a:pt x="642" y="396"/>
                      </a:lnTo>
                      <a:lnTo>
                        <a:pt x="638" y="400"/>
                      </a:lnTo>
                      <a:lnTo>
                        <a:pt x="634" y="404"/>
                      </a:lnTo>
                      <a:lnTo>
                        <a:pt x="630" y="404"/>
                      </a:lnTo>
                      <a:lnTo>
                        <a:pt x="626" y="404"/>
                      </a:lnTo>
                      <a:lnTo>
                        <a:pt x="622" y="404"/>
                      </a:lnTo>
                      <a:lnTo>
                        <a:pt x="620" y="404"/>
                      </a:lnTo>
                      <a:lnTo>
                        <a:pt x="616" y="404"/>
                      </a:lnTo>
                      <a:lnTo>
                        <a:pt x="612" y="400"/>
                      </a:lnTo>
                      <a:lnTo>
                        <a:pt x="608" y="400"/>
                      </a:lnTo>
                      <a:lnTo>
                        <a:pt x="604" y="400"/>
                      </a:lnTo>
                      <a:lnTo>
                        <a:pt x="604" y="396"/>
                      </a:lnTo>
                      <a:lnTo>
                        <a:pt x="600" y="396"/>
                      </a:lnTo>
                      <a:lnTo>
                        <a:pt x="596" y="396"/>
                      </a:lnTo>
                      <a:lnTo>
                        <a:pt x="596" y="392"/>
                      </a:lnTo>
                      <a:lnTo>
                        <a:pt x="592" y="392"/>
                      </a:lnTo>
                      <a:lnTo>
                        <a:pt x="592" y="396"/>
                      </a:lnTo>
                      <a:lnTo>
                        <a:pt x="590" y="396"/>
                      </a:lnTo>
                      <a:lnTo>
                        <a:pt x="590" y="392"/>
                      </a:lnTo>
                      <a:lnTo>
                        <a:pt x="586" y="392"/>
                      </a:lnTo>
                      <a:lnTo>
                        <a:pt x="586" y="388"/>
                      </a:lnTo>
                      <a:lnTo>
                        <a:pt x="590" y="388"/>
                      </a:lnTo>
                      <a:lnTo>
                        <a:pt x="592" y="388"/>
                      </a:lnTo>
                      <a:lnTo>
                        <a:pt x="596" y="388"/>
                      </a:lnTo>
                      <a:lnTo>
                        <a:pt x="596" y="384"/>
                      </a:lnTo>
                      <a:lnTo>
                        <a:pt x="600" y="384"/>
                      </a:lnTo>
                      <a:lnTo>
                        <a:pt x="604" y="384"/>
                      </a:lnTo>
                      <a:lnTo>
                        <a:pt x="600" y="380"/>
                      </a:lnTo>
                      <a:lnTo>
                        <a:pt x="604" y="380"/>
                      </a:lnTo>
                      <a:lnTo>
                        <a:pt x="600" y="378"/>
                      </a:lnTo>
                      <a:lnTo>
                        <a:pt x="604" y="378"/>
                      </a:lnTo>
                      <a:lnTo>
                        <a:pt x="608" y="380"/>
                      </a:lnTo>
                      <a:lnTo>
                        <a:pt x="604" y="378"/>
                      </a:lnTo>
                      <a:lnTo>
                        <a:pt x="604" y="374"/>
                      </a:lnTo>
                      <a:lnTo>
                        <a:pt x="604" y="370"/>
                      </a:lnTo>
                      <a:lnTo>
                        <a:pt x="608" y="370"/>
                      </a:lnTo>
                      <a:lnTo>
                        <a:pt x="612" y="370"/>
                      </a:lnTo>
                      <a:lnTo>
                        <a:pt x="616" y="370"/>
                      </a:lnTo>
                      <a:lnTo>
                        <a:pt x="616" y="374"/>
                      </a:lnTo>
                      <a:lnTo>
                        <a:pt x="620" y="374"/>
                      </a:lnTo>
                      <a:lnTo>
                        <a:pt x="616" y="374"/>
                      </a:lnTo>
                      <a:lnTo>
                        <a:pt x="616" y="378"/>
                      </a:lnTo>
                      <a:lnTo>
                        <a:pt x="620" y="374"/>
                      </a:lnTo>
                      <a:lnTo>
                        <a:pt x="620" y="378"/>
                      </a:lnTo>
                      <a:lnTo>
                        <a:pt x="622" y="378"/>
                      </a:lnTo>
                      <a:lnTo>
                        <a:pt x="626" y="380"/>
                      </a:lnTo>
                      <a:lnTo>
                        <a:pt x="630" y="380"/>
                      </a:lnTo>
                      <a:lnTo>
                        <a:pt x="634" y="380"/>
                      </a:lnTo>
                      <a:lnTo>
                        <a:pt x="634" y="384"/>
                      </a:lnTo>
                      <a:lnTo>
                        <a:pt x="634" y="388"/>
                      </a:lnTo>
                      <a:lnTo>
                        <a:pt x="634" y="392"/>
                      </a:lnTo>
                      <a:lnTo>
                        <a:pt x="634" y="388"/>
                      </a:lnTo>
                      <a:lnTo>
                        <a:pt x="634" y="384"/>
                      </a:lnTo>
                      <a:lnTo>
                        <a:pt x="638" y="384"/>
                      </a:lnTo>
                      <a:lnTo>
                        <a:pt x="638" y="388"/>
                      </a:lnTo>
                      <a:lnTo>
                        <a:pt x="638" y="392"/>
                      </a:lnTo>
                      <a:lnTo>
                        <a:pt x="638" y="396"/>
                      </a:lnTo>
                      <a:lnTo>
                        <a:pt x="638" y="396"/>
                      </a:lnTo>
                      <a:lnTo>
                        <a:pt x="638" y="396"/>
                      </a:lnTo>
                      <a:close/>
                      <a:moveTo>
                        <a:pt x="824" y="370"/>
                      </a:moveTo>
                      <a:lnTo>
                        <a:pt x="828" y="370"/>
                      </a:lnTo>
                      <a:lnTo>
                        <a:pt x="824" y="370"/>
                      </a:lnTo>
                      <a:lnTo>
                        <a:pt x="824" y="370"/>
                      </a:lnTo>
                      <a:lnTo>
                        <a:pt x="824" y="370"/>
                      </a:lnTo>
                      <a:close/>
                      <a:moveTo>
                        <a:pt x="812" y="370"/>
                      </a:moveTo>
                      <a:lnTo>
                        <a:pt x="808" y="374"/>
                      </a:lnTo>
                      <a:lnTo>
                        <a:pt x="812" y="374"/>
                      </a:lnTo>
                      <a:lnTo>
                        <a:pt x="808" y="374"/>
                      </a:lnTo>
                      <a:lnTo>
                        <a:pt x="808" y="370"/>
                      </a:lnTo>
                      <a:lnTo>
                        <a:pt x="812" y="370"/>
                      </a:lnTo>
                      <a:lnTo>
                        <a:pt x="812" y="370"/>
                      </a:lnTo>
                      <a:lnTo>
                        <a:pt x="812" y="370"/>
                      </a:lnTo>
                      <a:close/>
                      <a:moveTo>
                        <a:pt x="864" y="374"/>
                      </a:moveTo>
                      <a:lnTo>
                        <a:pt x="864" y="370"/>
                      </a:lnTo>
                      <a:lnTo>
                        <a:pt x="868" y="370"/>
                      </a:lnTo>
                      <a:lnTo>
                        <a:pt x="872" y="370"/>
                      </a:lnTo>
                      <a:lnTo>
                        <a:pt x="872" y="374"/>
                      </a:lnTo>
                      <a:lnTo>
                        <a:pt x="868" y="374"/>
                      </a:lnTo>
                      <a:lnTo>
                        <a:pt x="868" y="378"/>
                      </a:lnTo>
                      <a:lnTo>
                        <a:pt x="864" y="378"/>
                      </a:lnTo>
                      <a:lnTo>
                        <a:pt x="864" y="374"/>
                      </a:lnTo>
                      <a:lnTo>
                        <a:pt x="862" y="374"/>
                      </a:lnTo>
                      <a:lnTo>
                        <a:pt x="862" y="378"/>
                      </a:lnTo>
                      <a:lnTo>
                        <a:pt x="864" y="378"/>
                      </a:lnTo>
                      <a:lnTo>
                        <a:pt x="862" y="378"/>
                      </a:lnTo>
                      <a:lnTo>
                        <a:pt x="858" y="378"/>
                      </a:lnTo>
                      <a:lnTo>
                        <a:pt x="858" y="374"/>
                      </a:lnTo>
                      <a:lnTo>
                        <a:pt x="854" y="374"/>
                      </a:lnTo>
                      <a:lnTo>
                        <a:pt x="850" y="374"/>
                      </a:lnTo>
                      <a:lnTo>
                        <a:pt x="854" y="374"/>
                      </a:lnTo>
                      <a:lnTo>
                        <a:pt x="858" y="374"/>
                      </a:lnTo>
                      <a:lnTo>
                        <a:pt x="858" y="370"/>
                      </a:lnTo>
                      <a:lnTo>
                        <a:pt x="862" y="370"/>
                      </a:lnTo>
                      <a:lnTo>
                        <a:pt x="862" y="374"/>
                      </a:lnTo>
                      <a:lnTo>
                        <a:pt x="864" y="374"/>
                      </a:lnTo>
                      <a:lnTo>
                        <a:pt x="864" y="374"/>
                      </a:lnTo>
                      <a:lnTo>
                        <a:pt x="864" y="374"/>
                      </a:lnTo>
                      <a:close/>
                      <a:moveTo>
                        <a:pt x="824" y="370"/>
                      </a:moveTo>
                      <a:lnTo>
                        <a:pt x="828" y="370"/>
                      </a:lnTo>
                      <a:lnTo>
                        <a:pt x="828" y="374"/>
                      </a:lnTo>
                      <a:lnTo>
                        <a:pt x="824" y="374"/>
                      </a:lnTo>
                      <a:lnTo>
                        <a:pt x="820" y="370"/>
                      </a:lnTo>
                      <a:lnTo>
                        <a:pt x="824" y="370"/>
                      </a:lnTo>
                      <a:lnTo>
                        <a:pt x="824" y="370"/>
                      </a:lnTo>
                      <a:lnTo>
                        <a:pt x="824" y="370"/>
                      </a:lnTo>
                      <a:close/>
                      <a:moveTo>
                        <a:pt x="888" y="374"/>
                      </a:moveTo>
                      <a:lnTo>
                        <a:pt x="890" y="374"/>
                      </a:lnTo>
                      <a:lnTo>
                        <a:pt x="890" y="378"/>
                      </a:lnTo>
                      <a:lnTo>
                        <a:pt x="888" y="378"/>
                      </a:lnTo>
                      <a:lnTo>
                        <a:pt x="884" y="378"/>
                      </a:lnTo>
                      <a:lnTo>
                        <a:pt x="880" y="378"/>
                      </a:lnTo>
                      <a:lnTo>
                        <a:pt x="880" y="380"/>
                      </a:lnTo>
                      <a:lnTo>
                        <a:pt x="880" y="378"/>
                      </a:lnTo>
                      <a:lnTo>
                        <a:pt x="884" y="378"/>
                      </a:lnTo>
                      <a:lnTo>
                        <a:pt x="884" y="374"/>
                      </a:lnTo>
                      <a:lnTo>
                        <a:pt x="888" y="374"/>
                      </a:lnTo>
                      <a:lnTo>
                        <a:pt x="888" y="374"/>
                      </a:lnTo>
                      <a:lnTo>
                        <a:pt x="888" y="374"/>
                      </a:lnTo>
                      <a:close/>
                      <a:moveTo>
                        <a:pt x="76" y="392"/>
                      </a:moveTo>
                      <a:lnTo>
                        <a:pt x="80" y="392"/>
                      </a:lnTo>
                      <a:lnTo>
                        <a:pt x="76" y="388"/>
                      </a:lnTo>
                      <a:lnTo>
                        <a:pt x="72" y="388"/>
                      </a:lnTo>
                      <a:lnTo>
                        <a:pt x="72" y="384"/>
                      </a:lnTo>
                      <a:lnTo>
                        <a:pt x="76" y="384"/>
                      </a:lnTo>
                      <a:lnTo>
                        <a:pt x="76" y="388"/>
                      </a:lnTo>
                      <a:lnTo>
                        <a:pt x="80" y="388"/>
                      </a:lnTo>
                      <a:lnTo>
                        <a:pt x="76" y="388"/>
                      </a:lnTo>
                      <a:lnTo>
                        <a:pt x="76" y="384"/>
                      </a:lnTo>
                      <a:lnTo>
                        <a:pt x="72" y="384"/>
                      </a:lnTo>
                      <a:lnTo>
                        <a:pt x="76" y="384"/>
                      </a:lnTo>
                      <a:lnTo>
                        <a:pt x="80" y="380"/>
                      </a:lnTo>
                      <a:lnTo>
                        <a:pt x="80" y="384"/>
                      </a:lnTo>
                      <a:lnTo>
                        <a:pt x="82" y="384"/>
                      </a:lnTo>
                      <a:lnTo>
                        <a:pt x="82" y="380"/>
                      </a:lnTo>
                      <a:lnTo>
                        <a:pt x="86" y="378"/>
                      </a:lnTo>
                      <a:lnTo>
                        <a:pt x="90" y="378"/>
                      </a:lnTo>
                      <a:lnTo>
                        <a:pt x="90" y="380"/>
                      </a:lnTo>
                      <a:lnTo>
                        <a:pt x="94" y="380"/>
                      </a:lnTo>
                      <a:lnTo>
                        <a:pt x="94" y="378"/>
                      </a:lnTo>
                      <a:lnTo>
                        <a:pt x="94" y="374"/>
                      </a:lnTo>
                      <a:lnTo>
                        <a:pt x="96" y="374"/>
                      </a:lnTo>
                      <a:lnTo>
                        <a:pt x="96" y="378"/>
                      </a:lnTo>
                      <a:lnTo>
                        <a:pt x="100" y="378"/>
                      </a:lnTo>
                      <a:lnTo>
                        <a:pt x="100" y="380"/>
                      </a:lnTo>
                      <a:lnTo>
                        <a:pt x="96" y="380"/>
                      </a:lnTo>
                      <a:lnTo>
                        <a:pt x="96" y="384"/>
                      </a:lnTo>
                      <a:lnTo>
                        <a:pt x="94" y="384"/>
                      </a:lnTo>
                      <a:lnTo>
                        <a:pt x="94" y="388"/>
                      </a:lnTo>
                      <a:lnTo>
                        <a:pt x="90" y="388"/>
                      </a:lnTo>
                      <a:lnTo>
                        <a:pt x="90" y="392"/>
                      </a:lnTo>
                      <a:lnTo>
                        <a:pt x="94" y="396"/>
                      </a:lnTo>
                      <a:lnTo>
                        <a:pt x="96" y="400"/>
                      </a:lnTo>
                      <a:lnTo>
                        <a:pt x="94" y="400"/>
                      </a:lnTo>
                      <a:lnTo>
                        <a:pt x="90" y="396"/>
                      </a:lnTo>
                      <a:lnTo>
                        <a:pt x="90" y="392"/>
                      </a:lnTo>
                      <a:lnTo>
                        <a:pt x="86" y="392"/>
                      </a:lnTo>
                      <a:lnTo>
                        <a:pt x="82" y="392"/>
                      </a:lnTo>
                      <a:lnTo>
                        <a:pt x="80" y="392"/>
                      </a:lnTo>
                      <a:lnTo>
                        <a:pt x="76" y="392"/>
                      </a:lnTo>
                      <a:lnTo>
                        <a:pt x="72" y="392"/>
                      </a:lnTo>
                      <a:lnTo>
                        <a:pt x="72" y="388"/>
                      </a:lnTo>
                      <a:lnTo>
                        <a:pt x="72" y="392"/>
                      </a:lnTo>
                      <a:lnTo>
                        <a:pt x="76" y="392"/>
                      </a:lnTo>
                      <a:lnTo>
                        <a:pt x="76" y="392"/>
                      </a:lnTo>
                      <a:lnTo>
                        <a:pt x="76" y="392"/>
                      </a:lnTo>
                      <a:close/>
                      <a:moveTo>
                        <a:pt x="1032" y="374"/>
                      </a:moveTo>
                      <a:lnTo>
                        <a:pt x="1036" y="374"/>
                      </a:lnTo>
                      <a:lnTo>
                        <a:pt x="1036" y="378"/>
                      </a:lnTo>
                      <a:lnTo>
                        <a:pt x="1032" y="378"/>
                      </a:lnTo>
                      <a:lnTo>
                        <a:pt x="1030" y="378"/>
                      </a:lnTo>
                      <a:lnTo>
                        <a:pt x="1032" y="374"/>
                      </a:lnTo>
                      <a:lnTo>
                        <a:pt x="1032" y="374"/>
                      </a:lnTo>
                      <a:lnTo>
                        <a:pt x="1032" y="374"/>
                      </a:lnTo>
                      <a:close/>
                      <a:moveTo>
                        <a:pt x="26" y="378"/>
                      </a:moveTo>
                      <a:lnTo>
                        <a:pt x="24" y="378"/>
                      </a:lnTo>
                      <a:lnTo>
                        <a:pt x="26" y="378"/>
                      </a:lnTo>
                      <a:lnTo>
                        <a:pt x="26" y="374"/>
                      </a:lnTo>
                      <a:lnTo>
                        <a:pt x="30" y="378"/>
                      </a:lnTo>
                      <a:lnTo>
                        <a:pt x="26" y="378"/>
                      </a:lnTo>
                      <a:lnTo>
                        <a:pt x="26" y="378"/>
                      </a:lnTo>
                      <a:lnTo>
                        <a:pt x="26" y="378"/>
                      </a:lnTo>
                      <a:close/>
                      <a:moveTo>
                        <a:pt x="646" y="378"/>
                      </a:moveTo>
                      <a:lnTo>
                        <a:pt x="646" y="380"/>
                      </a:lnTo>
                      <a:lnTo>
                        <a:pt x="642" y="384"/>
                      </a:lnTo>
                      <a:lnTo>
                        <a:pt x="642" y="380"/>
                      </a:lnTo>
                      <a:lnTo>
                        <a:pt x="642" y="378"/>
                      </a:lnTo>
                      <a:lnTo>
                        <a:pt x="638" y="378"/>
                      </a:lnTo>
                      <a:lnTo>
                        <a:pt x="638" y="380"/>
                      </a:lnTo>
                      <a:lnTo>
                        <a:pt x="638" y="378"/>
                      </a:lnTo>
                      <a:lnTo>
                        <a:pt x="638" y="374"/>
                      </a:lnTo>
                      <a:lnTo>
                        <a:pt x="642" y="374"/>
                      </a:lnTo>
                      <a:lnTo>
                        <a:pt x="642" y="378"/>
                      </a:lnTo>
                      <a:lnTo>
                        <a:pt x="646" y="378"/>
                      </a:lnTo>
                      <a:lnTo>
                        <a:pt x="646" y="378"/>
                      </a:lnTo>
                      <a:lnTo>
                        <a:pt x="646" y="378"/>
                      </a:lnTo>
                      <a:close/>
                      <a:moveTo>
                        <a:pt x="1040" y="378"/>
                      </a:moveTo>
                      <a:lnTo>
                        <a:pt x="1036" y="378"/>
                      </a:lnTo>
                      <a:lnTo>
                        <a:pt x="1040" y="378"/>
                      </a:lnTo>
                      <a:lnTo>
                        <a:pt x="1044" y="378"/>
                      </a:lnTo>
                      <a:lnTo>
                        <a:pt x="1040" y="378"/>
                      </a:lnTo>
                      <a:lnTo>
                        <a:pt x="1040" y="378"/>
                      </a:lnTo>
                      <a:lnTo>
                        <a:pt x="1040" y="378"/>
                      </a:lnTo>
                      <a:close/>
                      <a:moveTo>
                        <a:pt x="566" y="378"/>
                      </a:moveTo>
                      <a:lnTo>
                        <a:pt x="566" y="380"/>
                      </a:lnTo>
                      <a:lnTo>
                        <a:pt x="564" y="380"/>
                      </a:lnTo>
                      <a:lnTo>
                        <a:pt x="564" y="378"/>
                      </a:lnTo>
                      <a:lnTo>
                        <a:pt x="560" y="378"/>
                      </a:lnTo>
                      <a:lnTo>
                        <a:pt x="564" y="378"/>
                      </a:lnTo>
                      <a:lnTo>
                        <a:pt x="566" y="378"/>
                      </a:lnTo>
                      <a:lnTo>
                        <a:pt x="566" y="378"/>
                      </a:lnTo>
                      <a:lnTo>
                        <a:pt x="566" y="378"/>
                      </a:lnTo>
                      <a:close/>
                      <a:moveTo>
                        <a:pt x="902" y="380"/>
                      </a:moveTo>
                      <a:lnTo>
                        <a:pt x="906" y="380"/>
                      </a:lnTo>
                      <a:lnTo>
                        <a:pt x="910" y="380"/>
                      </a:lnTo>
                      <a:lnTo>
                        <a:pt x="910" y="384"/>
                      </a:lnTo>
                      <a:lnTo>
                        <a:pt x="906" y="384"/>
                      </a:lnTo>
                      <a:lnTo>
                        <a:pt x="906" y="388"/>
                      </a:lnTo>
                      <a:lnTo>
                        <a:pt x="902" y="388"/>
                      </a:lnTo>
                      <a:lnTo>
                        <a:pt x="898" y="384"/>
                      </a:lnTo>
                      <a:lnTo>
                        <a:pt x="898" y="380"/>
                      </a:lnTo>
                      <a:lnTo>
                        <a:pt x="902" y="380"/>
                      </a:lnTo>
                      <a:lnTo>
                        <a:pt x="902" y="380"/>
                      </a:lnTo>
                      <a:lnTo>
                        <a:pt x="902" y="380"/>
                      </a:lnTo>
                      <a:close/>
                      <a:moveTo>
                        <a:pt x="884" y="380"/>
                      </a:moveTo>
                      <a:lnTo>
                        <a:pt x="888" y="380"/>
                      </a:lnTo>
                      <a:lnTo>
                        <a:pt x="888" y="384"/>
                      </a:lnTo>
                      <a:lnTo>
                        <a:pt x="884" y="384"/>
                      </a:lnTo>
                      <a:lnTo>
                        <a:pt x="884" y="388"/>
                      </a:lnTo>
                      <a:lnTo>
                        <a:pt x="880" y="392"/>
                      </a:lnTo>
                      <a:lnTo>
                        <a:pt x="876" y="392"/>
                      </a:lnTo>
                      <a:lnTo>
                        <a:pt x="876" y="396"/>
                      </a:lnTo>
                      <a:lnTo>
                        <a:pt x="872" y="396"/>
                      </a:lnTo>
                      <a:lnTo>
                        <a:pt x="872" y="392"/>
                      </a:lnTo>
                      <a:lnTo>
                        <a:pt x="872" y="388"/>
                      </a:lnTo>
                      <a:lnTo>
                        <a:pt x="876" y="388"/>
                      </a:lnTo>
                      <a:lnTo>
                        <a:pt x="880" y="388"/>
                      </a:lnTo>
                      <a:lnTo>
                        <a:pt x="880" y="384"/>
                      </a:lnTo>
                      <a:lnTo>
                        <a:pt x="880" y="380"/>
                      </a:lnTo>
                      <a:lnTo>
                        <a:pt x="884" y="380"/>
                      </a:lnTo>
                      <a:lnTo>
                        <a:pt x="884" y="380"/>
                      </a:lnTo>
                      <a:lnTo>
                        <a:pt x="884" y="380"/>
                      </a:lnTo>
                      <a:close/>
                      <a:moveTo>
                        <a:pt x="556" y="396"/>
                      </a:moveTo>
                      <a:lnTo>
                        <a:pt x="556" y="400"/>
                      </a:lnTo>
                      <a:lnTo>
                        <a:pt x="556" y="404"/>
                      </a:lnTo>
                      <a:lnTo>
                        <a:pt x="552" y="404"/>
                      </a:lnTo>
                      <a:lnTo>
                        <a:pt x="552" y="400"/>
                      </a:lnTo>
                      <a:lnTo>
                        <a:pt x="548" y="400"/>
                      </a:lnTo>
                      <a:lnTo>
                        <a:pt x="548" y="396"/>
                      </a:lnTo>
                      <a:lnTo>
                        <a:pt x="552" y="396"/>
                      </a:lnTo>
                      <a:lnTo>
                        <a:pt x="556" y="396"/>
                      </a:lnTo>
                      <a:lnTo>
                        <a:pt x="556" y="396"/>
                      </a:lnTo>
                      <a:lnTo>
                        <a:pt x="556" y="396"/>
                      </a:lnTo>
                      <a:close/>
                      <a:moveTo>
                        <a:pt x="932" y="400"/>
                      </a:moveTo>
                      <a:lnTo>
                        <a:pt x="936" y="404"/>
                      </a:lnTo>
                      <a:lnTo>
                        <a:pt x="936" y="408"/>
                      </a:lnTo>
                      <a:lnTo>
                        <a:pt x="932" y="408"/>
                      </a:lnTo>
                      <a:lnTo>
                        <a:pt x="928" y="408"/>
                      </a:lnTo>
                      <a:lnTo>
                        <a:pt x="928" y="404"/>
                      </a:lnTo>
                      <a:lnTo>
                        <a:pt x="928" y="400"/>
                      </a:lnTo>
                      <a:lnTo>
                        <a:pt x="932" y="400"/>
                      </a:lnTo>
                      <a:lnTo>
                        <a:pt x="932" y="400"/>
                      </a:lnTo>
                      <a:lnTo>
                        <a:pt x="932" y="400"/>
                      </a:lnTo>
                      <a:close/>
                      <a:moveTo>
                        <a:pt x="936" y="400"/>
                      </a:moveTo>
                      <a:lnTo>
                        <a:pt x="940" y="400"/>
                      </a:lnTo>
                      <a:lnTo>
                        <a:pt x="940" y="404"/>
                      </a:lnTo>
                      <a:lnTo>
                        <a:pt x="936" y="404"/>
                      </a:lnTo>
                      <a:lnTo>
                        <a:pt x="936" y="400"/>
                      </a:lnTo>
                      <a:lnTo>
                        <a:pt x="936" y="400"/>
                      </a:lnTo>
                      <a:lnTo>
                        <a:pt x="936" y="400"/>
                      </a:lnTo>
                      <a:close/>
                      <a:moveTo>
                        <a:pt x="880" y="408"/>
                      </a:moveTo>
                      <a:lnTo>
                        <a:pt x="880" y="404"/>
                      </a:lnTo>
                      <a:lnTo>
                        <a:pt x="876" y="404"/>
                      </a:lnTo>
                      <a:lnTo>
                        <a:pt x="880" y="404"/>
                      </a:lnTo>
                      <a:lnTo>
                        <a:pt x="880" y="400"/>
                      </a:lnTo>
                      <a:lnTo>
                        <a:pt x="884" y="400"/>
                      </a:lnTo>
                      <a:lnTo>
                        <a:pt x="884" y="404"/>
                      </a:lnTo>
                      <a:lnTo>
                        <a:pt x="880" y="404"/>
                      </a:lnTo>
                      <a:lnTo>
                        <a:pt x="884" y="404"/>
                      </a:lnTo>
                      <a:lnTo>
                        <a:pt x="880" y="404"/>
                      </a:lnTo>
                      <a:lnTo>
                        <a:pt x="880" y="408"/>
                      </a:lnTo>
                      <a:lnTo>
                        <a:pt x="880" y="408"/>
                      </a:lnTo>
                      <a:lnTo>
                        <a:pt x="880" y="408"/>
                      </a:lnTo>
                      <a:close/>
                      <a:moveTo>
                        <a:pt x="514" y="404"/>
                      </a:moveTo>
                      <a:lnTo>
                        <a:pt x="518" y="404"/>
                      </a:lnTo>
                      <a:lnTo>
                        <a:pt x="518" y="408"/>
                      </a:lnTo>
                      <a:lnTo>
                        <a:pt x="514" y="408"/>
                      </a:lnTo>
                      <a:lnTo>
                        <a:pt x="510" y="408"/>
                      </a:lnTo>
                      <a:lnTo>
                        <a:pt x="510" y="404"/>
                      </a:lnTo>
                      <a:lnTo>
                        <a:pt x="508" y="404"/>
                      </a:lnTo>
                      <a:lnTo>
                        <a:pt x="510" y="404"/>
                      </a:lnTo>
                      <a:lnTo>
                        <a:pt x="514" y="404"/>
                      </a:lnTo>
                      <a:lnTo>
                        <a:pt x="514" y="404"/>
                      </a:lnTo>
                      <a:lnTo>
                        <a:pt x="514" y="404"/>
                      </a:lnTo>
                      <a:close/>
                      <a:moveTo>
                        <a:pt x="944" y="404"/>
                      </a:moveTo>
                      <a:lnTo>
                        <a:pt x="944" y="408"/>
                      </a:lnTo>
                      <a:lnTo>
                        <a:pt x="948" y="408"/>
                      </a:lnTo>
                      <a:lnTo>
                        <a:pt x="948" y="410"/>
                      </a:lnTo>
                      <a:lnTo>
                        <a:pt x="944" y="410"/>
                      </a:lnTo>
                      <a:lnTo>
                        <a:pt x="944" y="408"/>
                      </a:lnTo>
                      <a:lnTo>
                        <a:pt x="944" y="404"/>
                      </a:lnTo>
                      <a:lnTo>
                        <a:pt x="944" y="404"/>
                      </a:lnTo>
                      <a:lnTo>
                        <a:pt x="944" y="404"/>
                      </a:lnTo>
                      <a:close/>
                      <a:moveTo>
                        <a:pt x="876" y="408"/>
                      </a:moveTo>
                      <a:lnTo>
                        <a:pt x="880" y="408"/>
                      </a:lnTo>
                      <a:lnTo>
                        <a:pt x="880" y="410"/>
                      </a:lnTo>
                      <a:lnTo>
                        <a:pt x="876" y="410"/>
                      </a:lnTo>
                      <a:lnTo>
                        <a:pt x="872" y="410"/>
                      </a:lnTo>
                      <a:lnTo>
                        <a:pt x="872" y="408"/>
                      </a:lnTo>
                      <a:lnTo>
                        <a:pt x="876" y="408"/>
                      </a:lnTo>
                      <a:lnTo>
                        <a:pt x="876" y="408"/>
                      </a:lnTo>
                      <a:lnTo>
                        <a:pt x="876" y="408"/>
                      </a:lnTo>
                      <a:close/>
                      <a:moveTo>
                        <a:pt x="910" y="436"/>
                      </a:moveTo>
                      <a:lnTo>
                        <a:pt x="906" y="434"/>
                      </a:lnTo>
                      <a:lnTo>
                        <a:pt x="902" y="434"/>
                      </a:lnTo>
                      <a:lnTo>
                        <a:pt x="902" y="430"/>
                      </a:lnTo>
                      <a:lnTo>
                        <a:pt x="902" y="426"/>
                      </a:lnTo>
                      <a:lnTo>
                        <a:pt x="902" y="422"/>
                      </a:lnTo>
                      <a:lnTo>
                        <a:pt x="902" y="418"/>
                      </a:lnTo>
                      <a:lnTo>
                        <a:pt x="906" y="410"/>
                      </a:lnTo>
                      <a:lnTo>
                        <a:pt x="910" y="410"/>
                      </a:lnTo>
                      <a:lnTo>
                        <a:pt x="918" y="408"/>
                      </a:lnTo>
                      <a:lnTo>
                        <a:pt x="920" y="408"/>
                      </a:lnTo>
                      <a:lnTo>
                        <a:pt x="924" y="408"/>
                      </a:lnTo>
                      <a:lnTo>
                        <a:pt x="928" y="410"/>
                      </a:lnTo>
                      <a:lnTo>
                        <a:pt x="932" y="410"/>
                      </a:lnTo>
                      <a:lnTo>
                        <a:pt x="932" y="414"/>
                      </a:lnTo>
                      <a:lnTo>
                        <a:pt x="932" y="418"/>
                      </a:lnTo>
                      <a:lnTo>
                        <a:pt x="932" y="422"/>
                      </a:lnTo>
                      <a:lnTo>
                        <a:pt x="932" y="426"/>
                      </a:lnTo>
                      <a:lnTo>
                        <a:pt x="932" y="430"/>
                      </a:lnTo>
                      <a:lnTo>
                        <a:pt x="928" y="434"/>
                      </a:lnTo>
                      <a:lnTo>
                        <a:pt x="924" y="434"/>
                      </a:lnTo>
                      <a:lnTo>
                        <a:pt x="920" y="434"/>
                      </a:lnTo>
                      <a:lnTo>
                        <a:pt x="918" y="434"/>
                      </a:lnTo>
                      <a:lnTo>
                        <a:pt x="914" y="434"/>
                      </a:lnTo>
                      <a:lnTo>
                        <a:pt x="914" y="436"/>
                      </a:lnTo>
                      <a:lnTo>
                        <a:pt x="910" y="436"/>
                      </a:lnTo>
                      <a:lnTo>
                        <a:pt x="910" y="436"/>
                      </a:lnTo>
                      <a:lnTo>
                        <a:pt x="910" y="436"/>
                      </a:lnTo>
                      <a:close/>
                      <a:moveTo>
                        <a:pt x="772" y="410"/>
                      </a:moveTo>
                      <a:lnTo>
                        <a:pt x="772" y="414"/>
                      </a:lnTo>
                      <a:lnTo>
                        <a:pt x="772" y="418"/>
                      </a:lnTo>
                      <a:lnTo>
                        <a:pt x="772" y="422"/>
                      </a:lnTo>
                      <a:lnTo>
                        <a:pt x="768" y="422"/>
                      </a:lnTo>
                      <a:lnTo>
                        <a:pt x="764" y="422"/>
                      </a:lnTo>
                      <a:lnTo>
                        <a:pt x="764" y="418"/>
                      </a:lnTo>
                      <a:lnTo>
                        <a:pt x="764" y="414"/>
                      </a:lnTo>
                      <a:lnTo>
                        <a:pt x="764" y="410"/>
                      </a:lnTo>
                      <a:lnTo>
                        <a:pt x="768" y="410"/>
                      </a:lnTo>
                      <a:lnTo>
                        <a:pt x="768" y="408"/>
                      </a:lnTo>
                      <a:lnTo>
                        <a:pt x="772" y="410"/>
                      </a:lnTo>
                      <a:lnTo>
                        <a:pt x="772" y="410"/>
                      </a:lnTo>
                      <a:lnTo>
                        <a:pt x="772" y="410"/>
                      </a:lnTo>
                      <a:close/>
                      <a:moveTo>
                        <a:pt x="1066" y="410"/>
                      </a:moveTo>
                      <a:lnTo>
                        <a:pt x="1066" y="414"/>
                      </a:lnTo>
                      <a:lnTo>
                        <a:pt x="1066" y="410"/>
                      </a:lnTo>
                      <a:lnTo>
                        <a:pt x="1066" y="410"/>
                      </a:lnTo>
                      <a:lnTo>
                        <a:pt x="1066" y="410"/>
                      </a:lnTo>
                      <a:close/>
                      <a:moveTo>
                        <a:pt x="950" y="414"/>
                      </a:moveTo>
                      <a:lnTo>
                        <a:pt x="954" y="414"/>
                      </a:lnTo>
                      <a:lnTo>
                        <a:pt x="954" y="418"/>
                      </a:lnTo>
                      <a:lnTo>
                        <a:pt x="958" y="422"/>
                      </a:lnTo>
                      <a:lnTo>
                        <a:pt x="954" y="422"/>
                      </a:lnTo>
                      <a:lnTo>
                        <a:pt x="950" y="422"/>
                      </a:lnTo>
                      <a:lnTo>
                        <a:pt x="948" y="422"/>
                      </a:lnTo>
                      <a:lnTo>
                        <a:pt x="944" y="422"/>
                      </a:lnTo>
                      <a:lnTo>
                        <a:pt x="940" y="422"/>
                      </a:lnTo>
                      <a:lnTo>
                        <a:pt x="940" y="418"/>
                      </a:lnTo>
                      <a:lnTo>
                        <a:pt x="936" y="418"/>
                      </a:lnTo>
                      <a:lnTo>
                        <a:pt x="936" y="414"/>
                      </a:lnTo>
                      <a:lnTo>
                        <a:pt x="940" y="414"/>
                      </a:lnTo>
                      <a:lnTo>
                        <a:pt x="944" y="414"/>
                      </a:lnTo>
                      <a:lnTo>
                        <a:pt x="944" y="410"/>
                      </a:lnTo>
                      <a:lnTo>
                        <a:pt x="944" y="414"/>
                      </a:lnTo>
                      <a:lnTo>
                        <a:pt x="948" y="414"/>
                      </a:lnTo>
                      <a:lnTo>
                        <a:pt x="950" y="414"/>
                      </a:lnTo>
                      <a:lnTo>
                        <a:pt x="950" y="414"/>
                      </a:lnTo>
                      <a:lnTo>
                        <a:pt x="950" y="414"/>
                      </a:lnTo>
                      <a:close/>
                      <a:moveTo>
                        <a:pt x="454" y="418"/>
                      </a:moveTo>
                      <a:lnTo>
                        <a:pt x="450" y="418"/>
                      </a:lnTo>
                      <a:lnTo>
                        <a:pt x="454" y="418"/>
                      </a:lnTo>
                      <a:lnTo>
                        <a:pt x="454" y="418"/>
                      </a:lnTo>
                      <a:lnTo>
                        <a:pt x="454" y="418"/>
                      </a:lnTo>
                      <a:close/>
                      <a:moveTo>
                        <a:pt x="424" y="418"/>
                      </a:moveTo>
                      <a:lnTo>
                        <a:pt x="422" y="418"/>
                      </a:lnTo>
                      <a:lnTo>
                        <a:pt x="424" y="418"/>
                      </a:lnTo>
                      <a:lnTo>
                        <a:pt x="424" y="418"/>
                      </a:lnTo>
                      <a:lnTo>
                        <a:pt x="424" y="418"/>
                      </a:lnTo>
                      <a:close/>
                      <a:moveTo>
                        <a:pt x="462" y="430"/>
                      </a:moveTo>
                      <a:lnTo>
                        <a:pt x="458" y="430"/>
                      </a:lnTo>
                      <a:lnTo>
                        <a:pt x="458" y="426"/>
                      </a:lnTo>
                      <a:lnTo>
                        <a:pt x="462" y="426"/>
                      </a:lnTo>
                      <a:lnTo>
                        <a:pt x="462" y="430"/>
                      </a:lnTo>
                      <a:lnTo>
                        <a:pt x="462" y="430"/>
                      </a:lnTo>
                      <a:lnTo>
                        <a:pt x="462" y="430"/>
                      </a:lnTo>
                      <a:close/>
                      <a:moveTo>
                        <a:pt x="470" y="430"/>
                      </a:moveTo>
                      <a:lnTo>
                        <a:pt x="470" y="434"/>
                      </a:lnTo>
                      <a:lnTo>
                        <a:pt x="466" y="434"/>
                      </a:lnTo>
                      <a:lnTo>
                        <a:pt x="466" y="430"/>
                      </a:lnTo>
                      <a:lnTo>
                        <a:pt x="470" y="430"/>
                      </a:lnTo>
                      <a:lnTo>
                        <a:pt x="470" y="430"/>
                      </a:lnTo>
                      <a:lnTo>
                        <a:pt x="470" y="430"/>
                      </a:lnTo>
                      <a:close/>
                      <a:moveTo>
                        <a:pt x="1104" y="440"/>
                      </a:moveTo>
                      <a:lnTo>
                        <a:pt x="1106" y="440"/>
                      </a:lnTo>
                      <a:lnTo>
                        <a:pt x="1106" y="436"/>
                      </a:lnTo>
                      <a:lnTo>
                        <a:pt x="1110" y="436"/>
                      </a:lnTo>
                      <a:lnTo>
                        <a:pt x="1106" y="436"/>
                      </a:lnTo>
                      <a:lnTo>
                        <a:pt x="1106" y="440"/>
                      </a:lnTo>
                      <a:lnTo>
                        <a:pt x="1104" y="440"/>
                      </a:lnTo>
                      <a:lnTo>
                        <a:pt x="1104" y="440"/>
                      </a:lnTo>
                      <a:lnTo>
                        <a:pt x="1104" y="440"/>
                      </a:lnTo>
                      <a:close/>
                      <a:moveTo>
                        <a:pt x="1048" y="456"/>
                      </a:moveTo>
                      <a:lnTo>
                        <a:pt x="1052" y="456"/>
                      </a:lnTo>
                      <a:lnTo>
                        <a:pt x="1052" y="460"/>
                      </a:lnTo>
                      <a:lnTo>
                        <a:pt x="1048" y="456"/>
                      </a:lnTo>
                      <a:lnTo>
                        <a:pt x="1048" y="456"/>
                      </a:lnTo>
                      <a:lnTo>
                        <a:pt x="1048" y="456"/>
                      </a:lnTo>
                      <a:close/>
                      <a:moveTo>
                        <a:pt x="820" y="460"/>
                      </a:moveTo>
                      <a:lnTo>
                        <a:pt x="816" y="460"/>
                      </a:lnTo>
                      <a:lnTo>
                        <a:pt x="816" y="456"/>
                      </a:lnTo>
                      <a:lnTo>
                        <a:pt x="816" y="460"/>
                      </a:lnTo>
                      <a:lnTo>
                        <a:pt x="820" y="460"/>
                      </a:lnTo>
                      <a:lnTo>
                        <a:pt x="820" y="460"/>
                      </a:lnTo>
                      <a:lnTo>
                        <a:pt x="820" y="460"/>
                      </a:lnTo>
                      <a:close/>
                      <a:moveTo>
                        <a:pt x="808" y="466"/>
                      </a:moveTo>
                      <a:lnTo>
                        <a:pt x="808" y="470"/>
                      </a:lnTo>
                      <a:lnTo>
                        <a:pt x="812" y="470"/>
                      </a:lnTo>
                      <a:lnTo>
                        <a:pt x="816" y="470"/>
                      </a:lnTo>
                      <a:lnTo>
                        <a:pt x="816" y="474"/>
                      </a:lnTo>
                      <a:lnTo>
                        <a:pt x="812" y="474"/>
                      </a:lnTo>
                      <a:lnTo>
                        <a:pt x="808" y="474"/>
                      </a:lnTo>
                      <a:lnTo>
                        <a:pt x="808" y="470"/>
                      </a:lnTo>
                      <a:lnTo>
                        <a:pt x="806" y="470"/>
                      </a:lnTo>
                      <a:lnTo>
                        <a:pt x="806" y="466"/>
                      </a:lnTo>
                      <a:lnTo>
                        <a:pt x="802" y="466"/>
                      </a:lnTo>
                      <a:lnTo>
                        <a:pt x="802" y="464"/>
                      </a:lnTo>
                      <a:lnTo>
                        <a:pt x="798" y="464"/>
                      </a:lnTo>
                      <a:lnTo>
                        <a:pt x="802" y="464"/>
                      </a:lnTo>
                      <a:lnTo>
                        <a:pt x="806" y="464"/>
                      </a:lnTo>
                      <a:lnTo>
                        <a:pt x="808" y="466"/>
                      </a:lnTo>
                      <a:lnTo>
                        <a:pt x="808" y="466"/>
                      </a:lnTo>
                      <a:lnTo>
                        <a:pt x="808" y="466"/>
                      </a:lnTo>
                      <a:close/>
                      <a:moveTo>
                        <a:pt x="794" y="466"/>
                      </a:moveTo>
                      <a:lnTo>
                        <a:pt x="794" y="470"/>
                      </a:lnTo>
                      <a:lnTo>
                        <a:pt x="798" y="470"/>
                      </a:lnTo>
                      <a:lnTo>
                        <a:pt x="798" y="474"/>
                      </a:lnTo>
                      <a:lnTo>
                        <a:pt x="794" y="478"/>
                      </a:lnTo>
                      <a:lnTo>
                        <a:pt x="794" y="474"/>
                      </a:lnTo>
                      <a:lnTo>
                        <a:pt x="790" y="470"/>
                      </a:lnTo>
                      <a:lnTo>
                        <a:pt x="790" y="466"/>
                      </a:lnTo>
                      <a:lnTo>
                        <a:pt x="790" y="464"/>
                      </a:lnTo>
                      <a:lnTo>
                        <a:pt x="794" y="466"/>
                      </a:lnTo>
                      <a:lnTo>
                        <a:pt x="794" y="466"/>
                      </a:lnTo>
                      <a:lnTo>
                        <a:pt x="794" y="466"/>
                      </a:lnTo>
                      <a:close/>
                      <a:moveTo>
                        <a:pt x="772" y="496"/>
                      </a:moveTo>
                      <a:lnTo>
                        <a:pt x="776" y="496"/>
                      </a:lnTo>
                      <a:lnTo>
                        <a:pt x="776" y="494"/>
                      </a:lnTo>
                      <a:lnTo>
                        <a:pt x="776" y="490"/>
                      </a:lnTo>
                      <a:lnTo>
                        <a:pt x="776" y="486"/>
                      </a:lnTo>
                      <a:lnTo>
                        <a:pt x="776" y="482"/>
                      </a:lnTo>
                      <a:lnTo>
                        <a:pt x="776" y="478"/>
                      </a:lnTo>
                      <a:lnTo>
                        <a:pt x="778" y="470"/>
                      </a:lnTo>
                      <a:lnTo>
                        <a:pt x="782" y="470"/>
                      </a:lnTo>
                      <a:lnTo>
                        <a:pt x="782" y="466"/>
                      </a:lnTo>
                      <a:lnTo>
                        <a:pt x="786" y="466"/>
                      </a:lnTo>
                      <a:lnTo>
                        <a:pt x="786" y="470"/>
                      </a:lnTo>
                      <a:lnTo>
                        <a:pt x="782" y="470"/>
                      </a:lnTo>
                      <a:lnTo>
                        <a:pt x="786" y="470"/>
                      </a:lnTo>
                      <a:lnTo>
                        <a:pt x="790" y="470"/>
                      </a:lnTo>
                      <a:lnTo>
                        <a:pt x="790" y="474"/>
                      </a:lnTo>
                      <a:lnTo>
                        <a:pt x="790" y="478"/>
                      </a:lnTo>
                      <a:lnTo>
                        <a:pt x="786" y="474"/>
                      </a:lnTo>
                      <a:lnTo>
                        <a:pt x="786" y="478"/>
                      </a:lnTo>
                      <a:lnTo>
                        <a:pt x="790" y="478"/>
                      </a:lnTo>
                      <a:lnTo>
                        <a:pt x="790" y="482"/>
                      </a:lnTo>
                      <a:lnTo>
                        <a:pt x="794" y="486"/>
                      </a:lnTo>
                      <a:lnTo>
                        <a:pt x="794" y="482"/>
                      </a:lnTo>
                      <a:lnTo>
                        <a:pt x="798" y="478"/>
                      </a:lnTo>
                      <a:lnTo>
                        <a:pt x="802" y="478"/>
                      </a:lnTo>
                      <a:lnTo>
                        <a:pt x="802" y="482"/>
                      </a:lnTo>
                      <a:lnTo>
                        <a:pt x="806" y="482"/>
                      </a:lnTo>
                      <a:lnTo>
                        <a:pt x="802" y="482"/>
                      </a:lnTo>
                      <a:lnTo>
                        <a:pt x="806" y="486"/>
                      </a:lnTo>
                      <a:lnTo>
                        <a:pt x="808" y="486"/>
                      </a:lnTo>
                      <a:lnTo>
                        <a:pt x="812" y="486"/>
                      </a:lnTo>
                      <a:lnTo>
                        <a:pt x="816" y="486"/>
                      </a:lnTo>
                      <a:lnTo>
                        <a:pt x="816" y="490"/>
                      </a:lnTo>
                      <a:lnTo>
                        <a:pt x="820" y="494"/>
                      </a:lnTo>
                      <a:lnTo>
                        <a:pt x="824" y="494"/>
                      </a:lnTo>
                      <a:lnTo>
                        <a:pt x="824" y="496"/>
                      </a:lnTo>
                      <a:lnTo>
                        <a:pt x="828" y="496"/>
                      </a:lnTo>
                      <a:lnTo>
                        <a:pt x="832" y="496"/>
                      </a:lnTo>
                      <a:lnTo>
                        <a:pt x="834" y="496"/>
                      </a:lnTo>
                      <a:lnTo>
                        <a:pt x="834" y="500"/>
                      </a:lnTo>
                      <a:lnTo>
                        <a:pt x="838" y="500"/>
                      </a:lnTo>
                      <a:lnTo>
                        <a:pt x="838" y="504"/>
                      </a:lnTo>
                      <a:lnTo>
                        <a:pt x="838" y="508"/>
                      </a:lnTo>
                      <a:lnTo>
                        <a:pt x="838" y="512"/>
                      </a:lnTo>
                      <a:lnTo>
                        <a:pt x="834" y="512"/>
                      </a:lnTo>
                      <a:lnTo>
                        <a:pt x="834" y="516"/>
                      </a:lnTo>
                      <a:lnTo>
                        <a:pt x="838" y="512"/>
                      </a:lnTo>
                      <a:lnTo>
                        <a:pt x="842" y="512"/>
                      </a:lnTo>
                      <a:lnTo>
                        <a:pt x="846" y="512"/>
                      </a:lnTo>
                      <a:lnTo>
                        <a:pt x="850" y="516"/>
                      </a:lnTo>
                      <a:lnTo>
                        <a:pt x="850" y="512"/>
                      </a:lnTo>
                      <a:lnTo>
                        <a:pt x="854" y="512"/>
                      </a:lnTo>
                      <a:lnTo>
                        <a:pt x="854" y="516"/>
                      </a:lnTo>
                      <a:lnTo>
                        <a:pt x="858" y="516"/>
                      </a:lnTo>
                      <a:lnTo>
                        <a:pt x="854" y="516"/>
                      </a:lnTo>
                      <a:lnTo>
                        <a:pt x="858" y="516"/>
                      </a:lnTo>
                      <a:lnTo>
                        <a:pt x="858" y="520"/>
                      </a:lnTo>
                      <a:lnTo>
                        <a:pt x="862" y="520"/>
                      </a:lnTo>
                      <a:lnTo>
                        <a:pt x="858" y="520"/>
                      </a:lnTo>
                      <a:lnTo>
                        <a:pt x="854" y="522"/>
                      </a:lnTo>
                      <a:lnTo>
                        <a:pt x="850" y="522"/>
                      </a:lnTo>
                      <a:lnTo>
                        <a:pt x="850" y="526"/>
                      </a:lnTo>
                      <a:lnTo>
                        <a:pt x="846" y="526"/>
                      </a:lnTo>
                      <a:lnTo>
                        <a:pt x="842" y="526"/>
                      </a:lnTo>
                      <a:lnTo>
                        <a:pt x="838" y="522"/>
                      </a:lnTo>
                      <a:lnTo>
                        <a:pt x="834" y="522"/>
                      </a:lnTo>
                      <a:lnTo>
                        <a:pt x="834" y="520"/>
                      </a:lnTo>
                      <a:lnTo>
                        <a:pt x="832" y="520"/>
                      </a:lnTo>
                      <a:lnTo>
                        <a:pt x="832" y="522"/>
                      </a:lnTo>
                      <a:lnTo>
                        <a:pt x="828" y="522"/>
                      </a:lnTo>
                      <a:lnTo>
                        <a:pt x="828" y="520"/>
                      </a:lnTo>
                      <a:lnTo>
                        <a:pt x="828" y="516"/>
                      </a:lnTo>
                      <a:lnTo>
                        <a:pt x="824" y="516"/>
                      </a:lnTo>
                      <a:lnTo>
                        <a:pt x="820" y="516"/>
                      </a:lnTo>
                      <a:lnTo>
                        <a:pt x="816" y="512"/>
                      </a:lnTo>
                      <a:lnTo>
                        <a:pt x="820" y="512"/>
                      </a:lnTo>
                      <a:lnTo>
                        <a:pt x="820" y="508"/>
                      </a:lnTo>
                      <a:lnTo>
                        <a:pt x="816" y="508"/>
                      </a:lnTo>
                      <a:lnTo>
                        <a:pt x="816" y="512"/>
                      </a:lnTo>
                      <a:lnTo>
                        <a:pt x="812" y="512"/>
                      </a:lnTo>
                      <a:lnTo>
                        <a:pt x="808" y="512"/>
                      </a:lnTo>
                      <a:lnTo>
                        <a:pt x="808" y="516"/>
                      </a:lnTo>
                      <a:lnTo>
                        <a:pt x="812" y="516"/>
                      </a:lnTo>
                      <a:lnTo>
                        <a:pt x="812" y="520"/>
                      </a:lnTo>
                      <a:lnTo>
                        <a:pt x="808" y="520"/>
                      </a:lnTo>
                      <a:lnTo>
                        <a:pt x="806" y="522"/>
                      </a:lnTo>
                      <a:lnTo>
                        <a:pt x="802" y="522"/>
                      </a:lnTo>
                      <a:lnTo>
                        <a:pt x="802" y="526"/>
                      </a:lnTo>
                      <a:lnTo>
                        <a:pt x="798" y="526"/>
                      </a:lnTo>
                      <a:lnTo>
                        <a:pt x="798" y="530"/>
                      </a:lnTo>
                      <a:lnTo>
                        <a:pt x="794" y="530"/>
                      </a:lnTo>
                      <a:lnTo>
                        <a:pt x="794" y="534"/>
                      </a:lnTo>
                      <a:lnTo>
                        <a:pt x="790" y="534"/>
                      </a:lnTo>
                      <a:lnTo>
                        <a:pt x="786" y="534"/>
                      </a:lnTo>
                      <a:lnTo>
                        <a:pt x="782" y="534"/>
                      </a:lnTo>
                      <a:lnTo>
                        <a:pt x="782" y="530"/>
                      </a:lnTo>
                      <a:lnTo>
                        <a:pt x="782" y="526"/>
                      </a:lnTo>
                      <a:lnTo>
                        <a:pt x="782" y="522"/>
                      </a:lnTo>
                      <a:lnTo>
                        <a:pt x="782" y="520"/>
                      </a:lnTo>
                      <a:lnTo>
                        <a:pt x="778" y="520"/>
                      </a:lnTo>
                      <a:lnTo>
                        <a:pt x="776" y="522"/>
                      </a:lnTo>
                      <a:lnTo>
                        <a:pt x="772" y="522"/>
                      </a:lnTo>
                      <a:lnTo>
                        <a:pt x="768" y="522"/>
                      </a:lnTo>
                      <a:lnTo>
                        <a:pt x="764" y="522"/>
                      </a:lnTo>
                      <a:lnTo>
                        <a:pt x="760" y="522"/>
                      </a:lnTo>
                      <a:lnTo>
                        <a:pt x="760" y="520"/>
                      </a:lnTo>
                      <a:lnTo>
                        <a:pt x="764" y="516"/>
                      </a:lnTo>
                      <a:lnTo>
                        <a:pt x="768" y="516"/>
                      </a:lnTo>
                      <a:lnTo>
                        <a:pt x="772" y="512"/>
                      </a:lnTo>
                      <a:lnTo>
                        <a:pt x="776" y="512"/>
                      </a:lnTo>
                      <a:lnTo>
                        <a:pt x="776" y="508"/>
                      </a:lnTo>
                      <a:lnTo>
                        <a:pt x="772" y="508"/>
                      </a:lnTo>
                      <a:lnTo>
                        <a:pt x="772" y="504"/>
                      </a:lnTo>
                      <a:lnTo>
                        <a:pt x="772" y="500"/>
                      </a:lnTo>
                      <a:lnTo>
                        <a:pt x="772" y="496"/>
                      </a:lnTo>
                      <a:lnTo>
                        <a:pt x="772" y="496"/>
                      </a:lnTo>
                      <a:lnTo>
                        <a:pt x="772" y="496"/>
                      </a:lnTo>
                      <a:close/>
                      <a:moveTo>
                        <a:pt x="816" y="470"/>
                      </a:moveTo>
                      <a:lnTo>
                        <a:pt x="812" y="470"/>
                      </a:lnTo>
                      <a:lnTo>
                        <a:pt x="812" y="466"/>
                      </a:lnTo>
                      <a:lnTo>
                        <a:pt x="816" y="466"/>
                      </a:lnTo>
                      <a:lnTo>
                        <a:pt x="816" y="470"/>
                      </a:lnTo>
                      <a:lnTo>
                        <a:pt x="816" y="470"/>
                      </a:lnTo>
                      <a:lnTo>
                        <a:pt x="816" y="470"/>
                      </a:lnTo>
                      <a:close/>
                      <a:moveTo>
                        <a:pt x="1114" y="470"/>
                      </a:moveTo>
                      <a:lnTo>
                        <a:pt x="1114" y="474"/>
                      </a:lnTo>
                      <a:lnTo>
                        <a:pt x="1114" y="470"/>
                      </a:lnTo>
                      <a:lnTo>
                        <a:pt x="1114" y="474"/>
                      </a:lnTo>
                      <a:lnTo>
                        <a:pt x="1110" y="474"/>
                      </a:lnTo>
                      <a:lnTo>
                        <a:pt x="1110" y="470"/>
                      </a:lnTo>
                      <a:lnTo>
                        <a:pt x="1114" y="470"/>
                      </a:lnTo>
                      <a:lnTo>
                        <a:pt x="1114" y="470"/>
                      </a:lnTo>
                      <a:lnTo>
                        <a:pt x="1114" y="470"/>
                      </a:lnTo>
                      <a:close/>
                      <a:moveTo>
                        <a:pt x="1070" y="496"/>
                      </a:moveTo>
                      <a:lnTo>
                        <a:pt x="1074" y="496"/>
                      </a:lnTo>
                      <a:lnTo>
                        <a:pt x="1070" y="500"/>
                      </a:lnTo>
                      <a:lnTo>
                        <a:pt x="1066" y="500"/>
                      </a:lnTo>
                      <a:lnTo>
                        <a:pt x="1070" y="496"/>
                      </a:lnTo>
                      <a:lnTo>
                        <a:pt x="1070" y="496"/>
                      </a:lnTo>
                      <a:lnTo>
                        <a:pt x="1070" y="496"/>
                      </a:lnTo>
                      <a:close/>
                      <a:moveTo>
                        <a:pt x="894" y="516"/>
                      </a:moveTo>
                      <a:lnTo>
                        <a:pt x="890" y="516"/>
                      </a:lnTo>
                      <a:lnTo>
                        <a:pt x="890" y="512"/>
                      </a:lnTo>
                      <a:lnTo>
                        <a:pt x="894" y="512"/>
                      </a:lnTo>
                      <a:lnTo>
                        <a:pt x="898" y="512"/>
                      </a:lnTo>
                      <a:lnTo>
                        <a:pt x="894" y="516"/>
                      </a:lnTo>
                      <a:lnTo>
                        <a:pt x="894" y="516"/>
                      </a:lnTo>
                      <a:lnTo>
                        <a:pt x="894" y="516"/>
                      </a:lnTo>
                      <a:close/>
                      <a:moveTo>
                        <a:pt x="970" y="520"/>
                      </a:moveTo>
                      <a:lnTo>
                        <a:pt x="970" y="522"/>
                      </a:lnTo>
                      <a:lnTo>
                        <a:pt x="966" y="522"/>
                      </a:lnTo>
                      <a:lnTo>
                        <a:pt x="970" y="520"/>
                      </a:lnTo>
                      <a:lnTo>
                        <a:pt x="970" y="520"/>
                      </a:lnTo>
                      <a:lnTo>
                        <a:pt x="970" y="520"/>
                      </a:lnTo>
                      <a:close/>
                      <a:moveTo>
                        <a:pt x="910" y="526"/>
                      </a:moveTo>
                      <a:lnTo>
                        <a:pt x="914" y="526"/>
                      </a:lnTo>
                      <a:lnTo>
                        <a:pt x="910" y="526"/>
                      </a:lnTo>
                      <a:lnTo>
                        <a:pt x="910" y="530"/>
                      </a:lnTo>
                      <a:lnTo>
                        <a:pt x="906" y="526"/>
                      </a:lnTo>
                      <a:lnTo>
                        <a:pt x="902" y="526"/>
                      </a:lnTo>
                      <a:lnTo>
                        <a:pt x="902" y="522"/>
                      </a:lnTo>
                      <a:lnTo>
                        <a:pt x="898" y="522"/>
                      </a:lnTo>
                      <a:lnTo>
                        <a:pt x="898" y="520"/>
                      </a:lnTo>
                      <a:lnTo>
                        <a:pt x="902" y="522"/>
                      </a:lnTo>
                      <a:lnTo>
                        <a:pt x="906" y="522"/>
                      </a:lnTo>
                      <a:lnTo>
                        <a:pt x="910" y="522"/>
                      </a:lnTo>
                      <a:lnTo>
                        <a:pt x="910" y="526"/>
                      </a:lnTo>
                      <a:lnTo>
                        <a:pt x="910" y="526"/>
                      </a:lnTo>
                      <a:lnTo>
                        <a:pt x="910" y="526"/>
                      </a:lnTo>
                      <a:close/>
                      <a:moveTo>
                        <a:pt x="1084" y="522"/>
                      </a:moveTo>
                      <a:lnTo>
                        <a:pt x="1084" y="526"/>
                      </a:lnTo>
                      <a:lnTo>
                        <a:pt x="1088" y="530"/>
                      </a:lnTo>
                      <a:lnTo>
                        <a:pt x="1084" y="530"/>
                      </a:lnTo>
                      <a:lnTo>
                        <a:pt x="1084" y="526"/>
                      </a:lnTo>
                      <a:lnTo>
                        <a:pt x="1080" y="522"/>
                      </a:lnTo>
                      <a:lnTo>
                        <a:pt x="1084" y="522"/>
                      </a:lnTo>
                      <a:lnTo>
                        <a:pt x="1084" y="522"/>
                      </a:lnTo>
                      <a:lnTo>
                        <a:pt x="1084" y="522"/>
                      </a:lnTo>
                      <a:close/>
                      <a:moveTo>
                        <a:pt x="1076" y="522"/>
                      </a:moveTo>
                      <a:lnTo>
                        <a:pt x="1076" y="526"/>
                      </a:lnTo>
                      <a:lnTo>
                        <a:pt x="1074" y="526"/>
                      </a:lnTo>
                      <a:lnTo>
                        <a:pt x="1074" y="522"/>
                      </a:lnTo>
                      <a:lnTo>
                        <a:pt x="1076" y="522"/>
                      </a:lnTo>
                      <a:lnTo>
                        <a:pt x="1076" y="522"/>
                      </a:lnTo>
                      <a:lnTo>
                        <a:pt x="1076" y="522"/>
                      </a:lnTo>
                      <a:close/>
                      <a:moveTo>
                        <a:pt x="888" y="526"/>
                      </a:moveTo>
                      <a:lnTo>
                        <a:pt x="890" y="526"/>
                      </a:lnTo>
                      <a:lnTo>
                        <a:pt x="894" y="526"/>
                      </a:lnTo>
                      <a:lnTo>
                        <a:pt x="898" y="530"/>
                      </a:lnTo>
                      <a:lnTo>
                        <a:pt x="898" y="534"/>
                      </a:lnTo>
                      <a:lnTo>
                        <a:pt x="894" y="534"/>
                      </a:lnTo>
                      <a:lnTo>
                        <a:pt x="890" y="534"/>
                      </a:lnTo>
                      <a:lnTo>
                        <a:pt x="888" y="530"/>
                      </a:lnTo>
                      <a:lnTo>
                        <a:pt x="884" y="530"/>
                      </a:lnTo>
                      <a:lnTo>
                        <a:pt x="884" y="526"/>
                      </a:lnTo>
                      <a:lnTo>
                        <a:pt x="888" y="526"/>
                      </a:lnTo>
                      <a:lnTo>
                        <a:pt x="888" y="526"/>
                      </a:lnTo>
                      <a:lnTo>
                        <a:pt x="888" y="526"/>
                      </a:lnTo>
                      <a:close/>
                      <a:moveTo>
                        <a:pt x="832" y="538"/>
                      </a:moveTo>
                      <a:lnTo>
                        <a:pt x="834" y="538"/>
                      </a:lnTo>
                      <a:lnTo>
                        <a:pt x="834" y="542"/>
                      </a:lnTo>
                      <a:lnTo>
                        <a:pt x="834" y="546"/>
                      </a:lnTo>
                      <a:lnTo>
                        <a:pt x="832" y="546"/>
                      </a:lnTo>
                      <a:lnTo>
                        <a:pt x="832" y="550"/>
                      </a:lnTo>
                      <a:lnTo>
                        <a:pt x="828" y="550"/>
                      </a:lnTo>
                      <a:lnTo>
                        <a:pt x="828" y="552"/>
                      </a:lnTo>
                      <a:lnTo>
                        <a:pt x="824" y="552"/>
                      </a:lnTo>
                      <a:lnTo>
                        <a:pt x="820" y="556"/>
                      </a:lnTo>
                      <a:lnTo>
                        <a:pt x="816" y="556"/>
                      </a:lnTo>
                      <a:lnTo>
                        <a:pt x="812" y="556"/>
                      </a:lnTo>
                      <a:lnTo>
                        <a:pt x="808" y="556"/>
                      </a:lnTo>
                      <a:lnTo>
                        <a:pt x="808" y="552"/>
                      </a:lnTo>
                      <a:lnTo>
                        <a:pt x="806" y="550"/>
                      </a:lnTo>
                      <a:lnTo>
                        <a:pt x="808" y="550"/>
                      </a:lnTo>
                      <a:lnTo>
                        <a:pt x="812" y="546"/>
                      </a:lnTo>
                      <a:lnTo>
                        <a:pt x="812" y="542"/>
                      </a:lnTo>
                      <a:lnTo>
                        <a:pt x="816" y="538"/>
                      </a:lnTo>
                      <a:lnTo>
                        <a:pt x="816" y="542"/>
                      </a:lnTo>
                      <a:lnTo>
                        <a:pt x="820" y="542"/>
                      </a:lnTo>
                      <a:lnTo>
                        <a:pt x="824" y="542"/>
                      </a:lnTo>
                      <a:lnTo>
                        <a:pt x="824" y="538"/>
                      </a:lnTo>
                      <a:lnTo>
                        <a:pt x="828" y="538"/>
                      </a:lnTo>
                      <a:lnTo>
                        <a:pt x="832" y="538"/>
                      </a:lnTo>
                      <a:lnTo>
                        <a:pt x="832" y="538"/>
                      </a:lnTo>
                      <a:lnTo>
                        <a:pt x="832" y="538"/>
                      </a:lnTo>
                      <a:close/>
                      <a:moveTo>
                        <a:pt x="940" y="542"/>
                      </a:moveTo>
                      <a:lnTo>
                        <a:pt x="944" y="546"/>
                      </a:lnTo>
                      <a:lnTo>
                        <a:pt x="948" y="546"/>
                      </a:lnTo>
                      <a:lnTo>
                        <a:pt x="944" y="546"/>
                      </a:lnTo>
                      <a:lnTo>
                        <a:pt x="940" y="546"/>
                      </a:lnTo>
                      <a:lnTo>
                        <a:pt x="940" y="542"/>
                      </a:lnTo>
                      <a:lnTo>
                        <a:pt x="940" y="542"/>
                      </a:lnTo>
                      <a:lnTo>
                        <a:pt x="940" y="542"/>
                      </a:lnTo>
                      <a:close/>
                      <a:moveTo>
                        <a:pt x="1076" y="546"/>
                      </a:moveTo>
                      <a:lnTo>
                        <a:pt x="1076" y="550"/>
                      </a:lnTo>
                      <a:lnTo>
                        <a:pt x="1074" y="550"/>
                      </a:lnTo>
                      <a:lnTo>
                        <a:pt x="1074" y="546"/>
                      </a:lnTo>
                      <a:lnTo>
                        <a:pt x="1076" y="546"/>
                      </a:lnTo>
                      <a:lnTo>
                        <a:pt x="1076" y="546"/>
                      </a:lnTo>
                      <a:lnTo>
                        <a:pt x="1076" y="546"/>
                      </a:lnTo>
                      <a:close/>
                      <a:moveTo>
                        <a:pt x="1084" y="550"/>
                      </a:moveTo>
                      <a:lnTo>
                        <a:pt x="1080" y="552"/>
                      </a:lnTo>
                      <a:lnTo>
                        <a:pt x="1076" y="552"/>
                      </a:lnTo>
                      <a:lnTo>
                        <a:pt x="1076" y="550"/>
                      </a:lnTo>
                      <a:lnTo>
                        <a:pt x="1074" y="550"/>
                      </a:lnTo>
                      <a:lnTo>
                        <a:pt x="1076" y="550"/>
                      </a:lnTo>
                      <a:lnTo>
                        <a:pt x="1080" y="550"/>
                      </a:lnTo>
                      <a:lnTo>
                        <a:pt x="1084" y="550"/>
                      </a:lnTo>
                      <a:lnTo>
                        <a:pt x="1084" y="550"/>
                      </a:lnTo>
                      <a:lnTo>
                        <a:pt x="1084" y="550"/>
                      </a:lnTo>
                      <a:close/>
                      <a:moveTo>
                        <a:pt x="868" y="564"/>
                      </a:moveTo>
                      <a:lnTo>
                        <a:pt x="868" y="566"/>
                      </a:lnTo>
                      <a:lnTo>
                        <a:pt x="864" y="570"/>
                      </a:lnTo>
                      <a:lnTo>
                        <a:pt x="864" y="566"/>
                      </a:lnTo>
                      <a:lnTo>
                        <a:pt x="862" y="566"/>
                      </a:lnTo>
                      <a:lnTo>
                        <a:pt x="858" y="564"/>
                      </a:lnTo>
                      <a:lnTo>
                        <a:pt x="858" y="560"/>
                      </a:lnTo>
                      <a:lnTo>
                        <a:pt x="858" y="556"/>
                      </a:lnTo>
                      <a:lnTo>
                        <a:pt x="862" y="556"/>
                      </a:lnTo>
                      <a:lnTo>
                        <a:pt x="862" y="552"/>
                      </a:lnTo>
                      <a:lnTo>
                        <a:pt x="864" y="552"/>
                      </a:lnTo>
                      <a:lnTo>
                        <a:pt x="868" y="552"/>
                      </a:lnTo>
                      <a:lnTo>
                        <a:pt x="868" y="550"/>
                      </a:lnTo>
                      <a:lnTo>
                        <a:pt x="868" y="552"/>
                      </a:lnTo>
                      <a:lnTo>
                        <a:pt x="872" y="552"/>
                      </a:lnTo>
                      <a:lnTo>
                        <a:pt x="872" y="556"/>
                      </a:lnTo>
                      <a:lnTo>
                        <a:pt x="872" y="560"/>
                      </a:lnTo>
                      <a:lnTo>
                        <a:pt x="868" y="564"/>
                      </a:lnTo>
                      <a:lnTo>
                        <a:pt x="868" y="564"/>
                      </a:lnTo>
                      <a:lnTo>
                        <a:pt x="868" y="564"/>
                      </a:lnTo>
                      <a:close/>
                      <a:moveTo>
                        <a:pt x="1074" y="564"/>
                      </a:moveTo>
                      <a:lnTo>
                        <a:pt x="1076" y="564"/>
                      </a:lnTo>
                      <a:lnTo>
                        <a:pt x="1076" y="566"/>
                      </a:lnTo>
                      <a:lnTo>
                        <a:pt x="1074" y="564"/>
                      </a:lnTo>
                      <a:lnTo>
                        <a:pt x="1070" y="564"/>
                      </a:lnTo>
                      <a:lnTo>
                        <a:pt x="1074" y="560"/>
                      </a:lnTo>
                      <a:lnTo>
                        <a:pt x="1074" y="564"/>
                      </a:lnTo>
                      <a:lnTo>
                        <a:pt x="1074" y="564"/>
                      </a:lnTo>
                      <a:lnTo>
                        <a:pt x="1074" y="564"/>
                      </a:lnTo>
                      <a:close/>
                      <a:moveTo>
                        <a:pt x="678" y="564"/>
                      </a:moveTo>
                      <a:lnTo>
                        <a:pt x="676" y="564"/>
                      </a:lnTo>
                      <a:lnTo>
                        <a:pt x="678" y="564"/>
                      </a:lnTo>
                      <a:lnTo>
                        <a:pt x="678" y="564"/>
                      </a:lnTo>
                      <a:lnTo>
                        <a:pt x="678" y="564"/>
                      </a:lnTo>
                      <a:close/>
                      <a:moveTo>
                        <a:pt x="1080" y="570"/>
                      </a:moveTo>
                      <a:lnTo>
                        <a:pt x="1076" y="570"/>
                      </a:lnTo>
                      <a:lnTo>
                        <a:pt x="1080" y="570"/>
                      </a:lnTo>
                      <a:lnTo>
                        <a:pt x="1076" y="574"/>
                      </a:lnTo>
                      <a:lnTo>
                        <a:pt x="1074" y="574"/>
                      </a:lnTo>
                      <a:lnTo>
                        <a:pt x="1074" y="570"/>
                      </a:lnTo>
                      <a:lnTo>
                        <a:pt x="1070" y="570"/>
                      </a:lnTo>
                      <a:lnTo>
                        <a:pt x="1066" y="570"/>
                      </a:lnTo>
                      <a:lnTo>
                        <a:pt x="1070" y="566"/>
                      </a:lnTo>
                      <a:lnTo>
                        <a:pt x="1074" y="566"/>
                      </a:lnTo>
                      <a:lnTo>
                        <a:pt x="1076" y="566"/>
                      </a:lnTo>
                      <a:lnTo>
                        <a:pt x="1080" y="570"/>
                      </a:lnTo>
                      <a:lnTo>
                        <a:pt x="1080" y="570"/>
                      </a:lnTo>
                      <a:lnTo>
                        <a:pt x="1080" y="570"/>
                      </a:lnTo>
                      <a:close/>
                      <a:moveTo>
                        <a:pt x="888" y="586"/>
                      </a:moveTo>
                      <a:lnTo>
                        <a:pt x="888" y="590"/>
                      </a:lnTo>
                      <a:lnTo>
                        <a:pt x="884" y="590"/>
                      </a:lnTo>
                      <a:lnTo>
                        <a:pt x="880" y="590"/>
                      </a:lnTo>
                      <a:lnTo>
                        <a:pt x="884" y="590"/>
                      </a:lnTo>
                      <a:lnTo>
                        <a:pt x="884" y="586"/>
                      </a:lnTo>
                      <a:lnTo>
                        <a:pt x="888" y="586"/>
                      </a:lnTo>
                      <a:lnTo>
                        <a:pt x="888" y="586"/>
                      </a:lnTo>
                      <a:lnTo>
                        <a:pt x="888" y="586"/>
                      </a:lnTo>
                      <a:close/>
                      <a:moveTo>
                        <a:pt x="1032" y="594"/>
                      </a:moveTo>
                      <a:lnTo>
                        <a:pt x="1036" y="596"/>
                      </a:lnTo>
                      <a:lnTo>
                        <a:pt x="1032" y="596"/>
                      </a:lnTo>
                      <a:lnTo>
                        <a:pt x="1032" y="600"/>
                      </a:lnTo>
                      <a:lnTo>
                        <a:pt x="1030" y="600"/>
                      </a:lnTo>
                      <a:lnTo>
                        <a:pt x="1026" y="600"/>
                      </a:lnTo>
                      <a:lnTo>
                        <a:pt x="1030" y="600"/>
                      </a:lnTo>
                      <a:lnTo>
                        <a:pt x="1030" y="596"/>
                      </a:lnTo>
                      <a:lnTo>
                        <a:pt x="1030" y="594"/>
                      </a:lnTo>
                      <a:lnTo>
                        <a:pt x="1032" y="594"/>
                      </a:lnTo>
                      <a:lnTo>
                        <a:pt x="1032" y="594"/>
                      </a:lnTo>
                      <a:lnTo>
                        <a:pt x="1032" y="594"/>
                      </a:lnTo>
                      <a:close/>
                      <a:moveTo>
                        <a:pt x="864" y="608"/>
                      </a:moveTo>
                      <a:lnTo>
                        <a:pt x="864" y="612"/>
                      </a:lnTo>
                      <a:lnTo>
                        <a:pt x="862" y="612"/>
                      </a:lnTo>
                      <a:lnTo>
                        <a:pt x="862" y="608"/>
                      </a:lnTo>
                      <a:lnTo>
                        <a:pt x="864" y="608"/>
                      </a:lnTo>
                      <a:lnTo>
                        <a:pt x="864" y="608"/>
                      </a:lnTo>
                      <a:lnTo>
                        <a:pt x="864" y="608"/>
                      </a:lnTo>
                      <a:close/>
                      <a:moveTo>
                        <a:pt x="1014" y="626"/>
                      </a:moveTo>
                      <a:lnTo>
                        <a:pt x="1014" y="630"/>
                      </a:lnTo>
                      <a:lnTo>
                        <a:pt x="1014" y="626"/>
                      </a:lnTo>
                      <a:lnTo>
                        <a:pt x="1014" y="626"/>
                      </a:lnTo>
                      <a:lnTo>
                        <a:pt x="1014" y="626"/>
                      </a:lnTo>
                      <a:close/>
                      <a:moveTo>
                        <a:pt x="1118" y="652"/>
                      </a:moveTo>
                      <a:lnTo>
                        <a:pt x="1118" y="656"/>
                      </a:lnTo>
                      <a:lnTo>
                        <a:pt x="1114" y="656"/>
                      </a:lnTo>
                      <a:lnTo>
                        <a:pt x="1114" y="652"/>
                      </a:lnTo>
                      <a:lnTo>
                        <a:pt x="1118" y="652"/>
                      </a:lnTo>
                      <a:lnTo>
                        <a:pt x="1118" y="652"/>
                      </a:lnTo>
                      <a:lnTo>
                        <a:pt x="1118" y="652"/>
                      </a:lnTo>
                      <a:close/>
                      <a:moveTo>
                        <a:pt x="1122" y="656"/>
                      </a:moveTo>
                      <a:lnTo>
                        <a:pt x="1118" y="656"/>
                      </a:lnTo>
                      <a:lnTo>
                        <a:pt x="1118" y="652"/>
                      </a:lnTo>
                      <a:lnTo>
                        <a:pt x="1122" y="652"/>
                      </a:lnTo>
                      <a:lnTo>
                        <a:pt x="1122" y="656"/>
                      </a:lnTo>
                      <a:lnTo>
                        <a:pt x="1122" y="656"/>
                      </a:lnTo>
                      <a:lnTo>
                        <a:pt x="1122" y="656"/>
                      </a:lnTo>
                      <a:close/>
                      <a:moveTo>
                        <a:pt x="868" y="660"/>
                      </a:moveTo>
                      <a:lnTo>
                        <a:pt x="868" y="664"/>
                      </a:lnTo>
                      <a:lnTo>
                        <a:pt x="864" y="664"/>
                      </a:lnTo>
                      <a:lnTo>
                        <a:pt x="864" y="660"/>
                      </a:lnTo>
                      <a:lnTo>
                        <a:pt x="868" y="660"/>
                      </a:lnTo>
                      <a:lnTo>
                        <a:pt x="868" y="660"/>
                      </a:lnTo>
                      <a:lnTo>
                        <a:pt x="868" y="660"/>
                      </a:lnTo>
                      <a:close/>
                      <a:moveTo>
                        <a:pt x="1122" y="664"/>
                      </a:moveTo>
                      <a:lnTo>
                        <a:pt x="1122" y="668"/>
                      </a:lnTo>
                      <a:lnTo>
                        <a:pt x="1122" y="664"/>
                      </a:lnTo>
                      <a:lnTo>
                        <a:pt x="1122" y="664"/>
                      </a:lnTo>
                      <a:lnTo>
                        <a:pt x="1122" y="664"/>
                      </a:lnTo>
                      <a:close/>
                      <a:moveTo>
                        <a:pt x="1126" y="676"/>
                      </a:moveTo>
                      <a:lnTo>
                        <a:pt x="1126" y="680"/>
                      </a:lnTo>
                      <a:lnTo>
                        <a:pt x="1122" y="680"/>
                      </a:lnTo>
                      <a:lnTo>
                        <a:pt x="1126" y="680"/>
                      </a:lnTo>
                      <a:lnTo>
                        <a:pt x="1126" y="682"/>
                      </a:lnTo>
                      <a:lnTo>
                        <a:pt x="1126" y="680"/>
                      </a:lnTo>
                      <a:lnTo>
                        <a:pt x="1122" y="680"/>
                      </a:lnTo>
                      <a:lnTo>
                        <a:pt x="1122" y="676"/>
                      </a:lnTo>
                      <a:lnTo>
                        <a:pt x="1126" y="676"/>
                      </a:lnTo>
                      <a:lnTo>
                        <a:pt x="1126" y="676"/>
                      </a:lnTo>
                      <a:lnTo>
                        <a:pt x="1126" y="676"/>
                      </a:lnTo>
                      <a:close/>
                      <a:moveTo>
                        <a:pt x="864" y="676"/>
                      </a:moveTo>
                      <a:lnTo>
                        <a:pt x="864" y="680"/>
                      </a:lnTo>
                      <a:lnTo>
                        <a:pt x="864" y="676"/>
                      </a:lnTo>
                      <a:lnTo>
                        <a:pt x="864" y="676"/>
                      </a:lnTo>
                      <a:lnTo>
                        <a:pt x="864" y="676"/>
                      </a:lnTo>
                      <a:close/>
                      <a:moveTo>
                        <a:pt x="868" y="680"/>
                      </a:moveTo>
                      <a:lnTo>
                        <a:pt x="868" y="682"/>
                      </a:lnTo>
                      <a:lnTo>
                        <a:pt x="868" y="680"/>
                      </a:lnTo>
                      <a:lnTo>
                        <a:pt x="868" y="680"/>
                      </a:lnTo>
                      <a:lnTo>
                        <a:pt x="868" y="680"/>
                      </a:lnTo>
                      <a:close/>
                      <a:moveTo>
                        <a:pt x="864" y="702"/>
                      </a:moveTo>
                      <a:lnTo>
                        <a:pt x="864" y="698"/>
                      </a:lnTo>
                      <a:lnTo>
                        <a:pt x="868" y="698"/>
                      </a:lnTo>
                      <a:lnTo>
                        <a:pt x="868" y="694"/>
                      </a:lnTo>
                      <a:lnTo>
                        <a:pt x="864" y="698"/>
                      </a:lnTo>
                      <a:lnTo>
                        <a:pt x="862" y="698"/>
                      </a:lnTo>
                      <a:lnTo>
                        <a:pt x="864" y="698"/>
                      </a:lnTo>
                      <a:lnTo>
                        <a:pt x="864" y="694"/>
                      </a:lnTo>
                      <a:lnTo>
                        <a:pt x="868" y="690"/>
                      </a:lnTo>
                      <a:lnTo>
                        <a:pt x="868" y="686"/>
                      </a:lnTo>
                      <a:lnTo>
                        <a:pt x="868" y="682"/>
                      </a:lnTo>
                      <a:lnTo>
                        <a:pt x="872" y="682"/>
                      </a:lnTo>
                      <a:lnTo>
                        <a:pt x="872" y="686"/>
                      </a:lnTo>
                      <a:lnTo>
                        <a:pt x="868" y="690"/>
                      </a:lnTo>
                      <a:lnTo>
                        <a:pt x="872" y="690"/>
                      </a:lnTo>
                      <a:lnTo>
                        <a:pt x="872" y="686"/>
                      </a:lnTo>
                      <a:lnTo>
                        <a:pt x="872" y="682"/>
                      </a:lnTo>
                      <a:lnTo>
                        <a:pt x="876" y="682"/>
                      </a:lnTo>
                      <a:lnTo>
                        <a:pt x="876" y="686"/>
                      </a:lnTo>
                      <a:lnTo>
                        <a:pt x="880" y="686"/>
                      </a:lnTo>
                      <a:lnTo>
                        <a:pt x="876" y="690"/>
                      </a:lnTo>
                      <a:lnTo>
                        <a:pt x="876" y="694"/>
                      </a:lnTo>
                      <a:lnTo>
                        <a:pt x="876" y="698"/>
                      </a:lnTo>
                      <a:lnTo>
                        <a:pt x="872" y="698"/>
                      </a:lnTo>
                      <a:lnTo>
                        <a:pt x="876" y="698"/>
                      </a:lnTo>
                      <a:lnTo>
                        <a:pt x="876" y="694"/>
                      </a:lnTo>
                      <a:lnTo>
                        <a:pt x="876" y="690"/>
                      </a:lnTo>
                      <a:lnTo>
                        <a:pt x="876" y="686"/>
                      </a:lnTo>
                      <a:lnTo>
                        <a:pt x="876" y="690"/>
                      </a:lnTo>
                      <a:lnTo>
                        <a:pt x="872" y="698"/>
                      </a:lnTo>
                      <a:lnTo>
                        <a:pt x="876" y="694"/>
                      </a:lnTo>
                      <a:lnTo>
                        <a:pt x="876" y="690"/>
                      </a:lnTo>
                      <a:lnTo>
                        <a:pt x="872" y="690"/>
                      </a:lnTo>
                      <a:lnTo>
                        <a:pt x="872" y="694"/>
                      </a:lnTo>
                      <a:lnTo>
                        <a:pt x="872" y="698"/>
                      </a:lnTo>
                      <a:lnTo>
                        <a:pt x="868" y="698"/>
                      </a:lnTo>
                      <a:lnTo>
                        <a:pt x="864" y="702"/>
                      </a:lnTo>
                      <a:lnTo>
                        <a:pt x="864" y="702"/>
                      </a:lnTo>
                      <a:lnTo>
                        <a:pt x="864" y="702"/>
                      </a:lnTo>
                      <a:close/>
                      <a:moveTo>
                        <a:pt x="862" y="690"/>
                      </a:moveTo>
                      <a:lnTo>
                        <a:pt x="864" y="686"/>
                      </a:lnTo>
                      <a:lnTo>
                        <a:pt x="868" y="686"/>
                      </a:lnTo>
                      <a:lnTo>
                        <a:pt x="868" y="682"/>
                      </a:lnTo>
                      <a:lnTo>
                        <a:pt x="868" y="686"/>
                      </a:lnTo>
                      <a:lnTo>
                        <a:pt x="868" y="690"/>
                      </a:lnTo>
                      <a:lnTo>
                        <a:pt x="864" y="690"/>
                      </a:lnTo>
                      <a:lnTo>
                        <a:pt x="862" y="690"/>
                      </a:lnTo>
                      <a:lnTo>
                        <a:pt x="862" y="690"/>
                      </a:lnTo>
                      <a:lnTo>
                        <a:pt x="862" y="690"/>
                      </a:lnTo>
                      <a:close/>
                      <a:moveTo>
                        <a:pt x="876" y="694"/>
                      </a:moveTo>
                      <a:lnTo>
                        <a:pt x="880" y="690"/>
                      </a:lnTo>
                      <a:lnTo>
                        <a:pt x="880" y="686"/>
                      </a:lnTo>
                      <a:lnTo>
                        <a:pt x="884" y="690"/>
                      </a:lnTo>
                      <a:lnTo>
                        <a:pt x="880" y="690"/>
                      </a:lnTo>
                      <a:lnTo>
                        <a:pt x="880" y="694"/>
                      </a:lnTo>
                      <a:lnTo>
                        <a:pt x="876" y="694"/>
                      </a:lnTo>
                      <a:lnTo>
                        <a:pt x="876" y="694"/>
                      </a:lnTo>
                      <a:lnTo>
                        <a:pt x="876" y="694"/>
                      </a:lnTo>
                      <a:close/>
                      <a:moveTo>
                        <a:pt x="1122" y="686"/>
                      </a:moveTo>
                      <a:lnTo>
                        <a:pt x="1126" y="686"/>
                      </a:lnTo>
                      <a:lnTo>
                        <a:pt x="1126" y="690"/>
                      </a:lnTo>
                      <a:lnTo>
                        <a:pt x="1122" y="690"/>
                      </a:lnTo>
                      <a:lnTo>
                        <a:pt x="1122" y="686"/>
                      </a:lnTo>
                      <a:lnTo>
                        <a:pt x="1122" y="686"/>
                      </a:lnTo>
                      <a:lnTo>
                        <a:pt x="1122" y="686"/>
                      </a:lnTo>
                      <a:close/>
                      <a:moveTo>
                        <a:pt x="1130" y="690"/>
                      </a:moveTo>
                      <a:lnTo>
                        <a:pt x="1132" y="694"/>
                      </a:lnTo>
                      <a:lnTo>
                        <a:pt x="1130" y="694"/>
                      </a:lnTo>
                      <a:lnTo>
                        <a:pt x="1130" y="690"/>
                      </a:lnTo>
                      <a:lnTo>
                        <a:pt x="1130" y="690"/>
                      </a:lnTo>
                      <a:lnTo>
                        <a:pt x="1130" y="690"/>
                      </a:lnTo>
                      <a:close/>
                      <a:moveTo>
                        <a:pt x="876" y="694"/>
                      </a:moveTo>
                      <a:lnTo>
                        <a:pt x="876" y="698"/>
                      </a:lnTo>
                      <a:lnTo>
                        <a:pt x="876" y="702"/>
                      </a:lnTo>
                      <a:lnTo>
                        <a:pt x="876" y="698"/>
                      </a:lnTo>
                      <a:lnTo>
                        <a:pt x="876" y="694"/>
                      </a:lnTo>
                      <a:lnTo>
                        <a:pt x="876" y="694"/>
                      </a:lnTo>
                      <a:lnTo>
                        <a:pt x="876" y="694"/>
                      </a:lnTo>
                      <a:close/>
                      <a:moveTo>
                        <a:pt x="152" y="716"/>
                      </a:moveTo>
                      <a:lnTo>
                        <a:pt x="152" y="720"/>
                      </a:lnTo>
                      <a:lnTo>
                        <a:pt x="150" y="724"/>
                      </a:lnTo>
                      <a:lnTo>
                        <a:pt x="150" y="720"/>
                      </a:lnTo>
                      <a:lnTo>
                        <a:pt x="152" y="720"/>
                      </a:lnTo>
                      <a:lnTo>
                        <a:pt x="152" y="716"/>
                      </a:lnTo>
                      <a:lnTo>
                        <a:pt x="152" y="716"/>
                      </a:lnTo>
                      <a:lnTo>
                        <a:pt x="152" y="716"/>
                      </a:lnTo>
                      <a:close/>
                      <a:moveTo>
                        <a:pt x="876" y="720"/>
                      </a:moveTo>
                      <a:lnTo>
                        <a:pt x="872" y="720"/>
                      </a:lnTo>
                      <a:lnTo>
                        <a:pt x="868" y="720"/>
                      </a:lnTo>
                      <a:lnTo>
                        <a:pt x="864" y="724"/>
                      </a:lnTo>
                      <a:lnTo>
                        <a:pt x="864" y="720"/>
                      </a:lnTo>
                      <a:lnTo>
                        <a:pt x="868" y="720"/>
                      </a:lnTo>
                      <a:lnTo>
                        <a:pt x="872" y="720"/>
                      </a:lnTo>
                      <a:lnTo>
                        <a:pt x="876" y="720"/>
                      </a:lnTo>
                      <a:lnTo>
                        <a:pt x="876" y="720"/>
                      </a:lnTo>
                      <a:lnTo>
                        <a:pt x="876" y="720"/>
                      </a:lnTo>
                      <a:close/>
                      <a:moveTo>
                        <a:pt x="146" y="724"/>
                      </a:moveTo>
                      <a:lnTo>
                        <a:pt x="146" y="728"/>
                      </a:lnTo>
                      <a:lnTo>
                        <a:pt x="142" y="728"/>
                      </a:lnTo>
                      <a:lnTo>
                        <a:pt x="142" y="724"/>
                      </a:lnTo>
                      <a:lnTo>
                        <a:pt x="146" y="724"/>
                      </a:lnTo>
                      <a:lnTo>
                        <a:pt x="146" y="724"/>
                      </a:lnTo>
                      <a:lnTo>
                        <a:pt x="146" y="724"/>
                      </a:lnTo>
                      <a:close/>
                      <a:moveTo>
                        <a:pt x="112" y="746"/>
                      </a:moveTo>
                      <a:lnTo>
                        <a:pt x="112" y="742"/>
                      </a:lnTo>
                      <a:lnTo>
                        <a:pt x="112" y="738"/>
                      </a:lnTo>
                      <a:lnTo>
                        <a:pt x="112" y="736"/>
                      </a:lnTo>
                      <a:lnTo>
                        <a:pt x="116" y="736"/>
                      </a:lnTo>
                      <a:lnTo>
                        <a:pt x="120" y="736"/>
                      </a:lnTo>
                      <a:lnTo>
                        <a:pt x="120" y="738"/>
                      </a:lnTo>
                      <a:lnTo>
                        <a:pt x="116" y="738"/>
                      </a:lnTo>
                      <a:lnTo>
                        <a:pt x="120" y="738"/>
                      </a:lnTo>
                      <a:lnTo>
                        <a:pt x="124" y="736"/>
                      </a:lnTo>
                      <a:lnTo>
                        <a:pt x="124" y="738"/>
                      </a:lnTo>
                      <a:lnTo>
                        <a:pt x="126" y="738"/>
                      </a:lnTo>
                      <a:lnTo>
                        <a:pt x="126" y="742"/>
                      </a:lnTo>
                      <a:lnTo>
                        <a:pt x="124" y="742"/>
                      </a:lnTo>
                      <a:lnTo>
                        <a:pt x="120" y="746"/>
                      </a:lnTo>
                      <a:lnTo>
                        <a:pt x="124" y="746"/>
                      </a:lnTo>
                      <a:lnTo>
                        <a:pt x="126" y="742"/>
                      </a:lnTo>
                      <a:lnTo>
                        <a:pt x="126" y="738"/>
                      </a:lnTo>
                      <a:lnTo>
                        <a:pt x="130" y="738"/>
                      </a:lnTo>
                      <a:lnTo>
                        <a:pt x="130" y="736"/>
                      </a:lnTo>
                      <a:lnTo>
                        <a:pt x="130" y="738"/>
                      </a:lnTo>
                      <a:lnTo>
                        <a:pt x="130" y="742"/>
                      </a:lnTo>
                      <a:lnTo>
                        <a:pt x="126" y="746"/>
                      </a:lnTo>
                      <a:lnTo>
                        <a:pt x="126" y="750"/>
                      </a:lnTo>
                      <a:lnTo>
                        <a:pt x="126" y="754"/>
                      </a:lnTo>
                      <a:lnTo>
                        <a:pt x="124" y="754"/>
                      </a:lnTo>
                      <a:lnTo>
                        <a:pt x="124" y="758"/>
                      </a:lnTo>
                      <a:lnTo>
                        <a:pt x="126" y="758"/>
                      </a:lnTo>
                      <a:lnTo>
                        <a:pt x="124" y="758"/>
                      </a:lnTo>
                      <a:lnTo>
                        <a:pt x="120" y="758"/>
                      </a:lnTo>
                      <a:lnTo>
                        <a:pt x="120" y="754"/>
                      </a:lnTo>
                      <a:lnTo>
                        <a:pt x="116" y="754"/>
                      </a:lnTo>
                      <a:lnTo>
                        <a:pt x="120" y="754"/>
                      </a:lnTo>
                      <a:lnTo>
                        <a:pt x="124" y="754"/>
                      </a:lnTo>
                      <a:lnTo>
                        <a:pt x="120" y="750"/>
                      </a:lnTo>
                      <a:lnTo>
                        <a:pt x="116" y="750"/>
                      </a:lnTo>
                      <a:lnTo>
                        <a:pt x="112" y="750"/>
                      </a:lnTo>
                      <a:lnTo>
                        <a:pt x="112" y="746"/>
                      </a:lnTo>
                      <a:lnTo>
                        <a:pt x="116" y="746"/>
                      </a:lnTo>
                      <a:lnTo>
                        <a:pt x="112" y="746"/>
                      </a:lnTo>
                      <a:lnTo>
                        <a:pt x="112" y="746"/>
                      </a:lnTo>
                      <a:lnTo>
                        <a:pt x="112" y="746"/>
                      </a:lnTo>
                      <a:close/>
                      <a:moveTo>
                        <a:pt x="150" y="738"/>
                      </a:moveTo>
                      <a:lnTo>
                        <a:pt x="152" y="738"/>
                      </a:lnTo>
                      <a:lnTo>
                        <a:pt x="150" y="742"/>
                      </a:lnTo>
                      <a:lnTo>
                        <a:pt x="150" y="738"/>
                      </a:lnTo>
                      <a:lnTo>
                        <a:pt x="150" y="742"/>
                      </a:lnTo>
                      <a:lnTo>
                        <a:pt x="150" y="738"/>
                      </a:lnTo>
                      <a:lnTo>
                        <a:pt x="146" y="738"/>
                      </a:lnTo>
                      <a:lnTo>
                        <a:pt x="146" y="742"/>
                      </a:lnTo>
                      <a:lnTo>
                        <a:pt x="146" y="738"/>
                      </a:lnTo>
                      <a:lnTo>
                        <a:pt x="150" y="738"/>
                      </a:lnTo>
                      <a:lnTo>
                        <a:pt x="150" y="736"/>
                      </a:lnTo>
                      <a:lnTo>
                        <a:pt x="150" y="738"/>
                      </a:lnTo>
                      <a:lnTo>
                        <a:pt x="150" y="738"/>
                      </a:lnTo>
                      <a:lnTo>
                        <a:pt x="150" y="738"/>
                      </a:lnTo>
                      <a:close/>
                      <a:moveTo>
                        <a:pt x="152" y="742"/>
                      </a:moveTo>
                      <a:lnTo>
                        <a:pt x="152" y="746"/>
                      </a:lnTo>
                      <a:lnTo>
                        <a:pt x="152" y="750"/>
                      </a:lnTo>
                      <a:lnTo>
                        <a:pt x="152" y="746"/>
                      </a:lnTo>
                      <a:lnTo>
                        <a:pt x="150" y="746"/>
                      </a:lnTo>
                      <a:lnTo>
                        <a:pt x="152" y="742"/>
                      </a:lnTo>
                      <a:lnTo>
                        <a:pt x="152" y="742"/>
                      </a:lnTo>
                      <a:lnTo>
                        <a:pt x="152" y="742"/>
                      </a:lnTo>
                      <a:close/>
                      <a:moveTo>
                        <a:pt x="172" y="746"/>
                      </a:moveTo>
                      <a:lnTo>
                        <a:pt x="168" y="746"/>
                      </a:lnTo>
                      <a:lnTo>
                        <a:pt x="168" y="750"/>
                      </a:lnTo>
                      <a:lnTo>
                        <a:pt x="168" y="754"/>
                      </a:lnTo>
                      <a:lnTo>
                        <a:pt x="168" y="746"/>
                      </a:lnTo>
                      <a:lnTo>
                        <a:pt x="172" y="746"/>
                      </a:lnTo>
                      <a:lnTo>
                        <a:pt x="172" y="746"/>
                      </a:lnTo>
                      <a:lnTo>
                        <a:pt x="172" y="746"/>
                      </a:lnTo>
                      <a:close/>
                      <a:moveTo>
                        <a:pt x="150" y="746"/>
                      </a:moveTo>
                      <a:lnTo>
                        <a:pt x="152" y="746"/>
                      </a:lnTo>
                      <a:lnTo>
                        <a:pt x="152" y="750"/>
                      </a:lnTo>
                      <a:lnTo>
                        <a:pt x="156" y="750"/>
                      </a:lnTo>
                      <a:lnTo>
                        <a:pt x="156" y="754"/>
                      </a:lnTo>
                      <a:lnTo>
                        <a:pt x="160" y="758"/>
                      </a:lnTo>
                      <a:lnTo>
                        <a:pt x="156" y="758"/>
                      </a:lnTo>
                      <a:lnTo>
                        <a:pt x="152" y="754"/>
                      </a:lnTo>
                      <a:lnTo>
                        <a:pt x="150" y="754"/>
                      </a:lnTo>
                      <a:lnTo>
                        <a:pt x="150" y="750"/>
                      </a:lnTo>
                      <a:lnTo>
                        <a:pt x="150" y="746"/>
                      </a:lnTo>
                      <a:lnTo>
                        <a:pt x="150" y="746"/>
                      </a:lnTo>
                      <a:lnTo>
                        <a:pt x="150" y="746"/>
                      </a:lnTo>
                      <a:close/>
                      <a:moveTo>
                        <a:pt x="172" y="750"/>
                      </a:moveTo>
                      <a:lnTo>
                        <a:pt x="172" y="754"/>
                      </a:lnTo>
                      <a:lnTo>
                        <a:pt x="168" y="754"/>
                      </a:lnTo>
                      <a:lnTo>
                        <a:pt x="168" y="750"/>
                      </a:lnTo>
                      <a:lnTo>
                        <a:pt x="172" y="750"/>
                      </a:lnTo>
                      <a:lnTo>
                        <a:pt x="172" y="750"/>
                      </a:lnTo>
                      <a:lnTo>
                        <a:pt x="172" y="750"/>
                      </a:lnTo>
                      <a:close/>
                      <a:moveTo>
                        <a:pt x="864" y="754"/>
                      </a:moveTo>
                      <a:lnTo>
                        <a:pt x="862" y="754"/>
                      </a:lnTo>
                      <a:lnTo>
                        <a:pt x="864" y="754"/>
                      </a:lnTo>
                      <a:lnTo>
                        <a:pt x="864" y="754"/>
                      </a:lnTo>
                      <a:lnTo>
                        <a:pt x="864" y="754"/>
                      </a:lnTo>
                      <a:close/>
                      <a:moveTo>
                        <a:pt x="168" y="754"/>
                      </a:moveTo>
                      <a:lnTo>
                        <a:pt x="168" y="758"/>
                      </a:lnTo>
                      <a:lnTo>
                        <a:pt x="164" y="758"/>
                      </a:lnTo>
                      <a:lnTo>
                        <a:pt x="164" y="754"/>
                      </a:lnTo>
                      <a:lnTo>
                        <a:pt x="168" y="754"/>
                      </a:lnTo>
                      <a:lnTo>
                        <a:pt x="168" y="754"/>
                      </a:lnTo>
                      <a:lnTo>
                        <a:pt x="168" y="754"/>
                      </a:lnTo>
                      <a:close/>
                      <a:moveTo>
                        <a:pt x="846" y="758"/>
                      </a:moveTo>
                      <a:lnTo>
                        <a:pt x="850" y="758"/>
                      </a:lnTo>
                      <a:lnTo>
                        <a:pt x="850" y="762"/>
                      </a:lnTo>
                      <a:lnTo>
                        <a:pt x="854" y="766"/>
                      </a:lnTo>
                      <a:lnTo>
                        <a:pt x="854" y="768"/>
                      </a:lnTo>
                      <a:lnTo>
                        <a:pt x="854" y="766"/>
                      </a:lnTo>
                      <a:lnTo>
                        <a:pt x="850" y="766"/>
                      </a:lnTo>
                      <a:lnTo>
                        <a:pt x="846" y="766"/>
                      </a:lnTo>
                      <a:lnTo>
                        <a:pt x="842" y="766"/>
                      </a:lnTo>
                      <a:lnTo>
                        <a:pt x="838" y="762"/>
                      </a:lnTo>
                      <a:lnTo>
                        <a:pt x="834" y="762"/>
                      </a:lnTo>
                      <a:lnTo>
                        <a:pt x="834" y="758"/>
                      </a:lnTo>
                      <a:lnTo>
                        <a:pt x="838" y="758"/>
                      </a:lnTo>
                      <a:lnTo>
                        <a:pt x="842" y="758"/>
                      </a:lnTo>
                      <a:lnTo>
                        <a:pt x="842" y="754"/>
                      </a:lnTo>
                      <a:lnTo>
                        <a:pt x="842" y="758"/>
                      </a:lnTo>
                      <a:lnTo>
                        <a:pt x="846" y="758"/>
                      </a:lnTo>
                      <a:lnTo>
                        <a:pt x="846" y="758"/>
                      </a:lnTo>
                      <a:lnTo>
                        <a:pt x="846" y="758"/>
                      </a:lnTo>
                      <a:close/>
                      <a:moveTo>
                        <a:pt x="164" y="758"/>
                      </a:moveTo>
                      <a:lnTo>
                        <a:pt x="164" y="762"/>
                      </a:lnTo>
                      <a:lnTo>
                        <a:pt x="164" y="758"/>
                      </a:lnTo>
                      <a:lnTo>
                        <a:pt x="160" y="758"/>
                      </a:lnTo>
                      <a:lnTo>
                        <a:pt x="164" y="758"/>
                      </a:lnTo>
                      <a:lnTo>
                        <a:pt x="164" y="758"/>
                      </a:lnTo>
                      <a:lnTo>
                        <a:pt x="164" y="758"/>
                      </a:lnTo>
                      <a:close/>
                      <a:moveTo>
                        <a:pt x="168" y="766"/>
                      </a:moveTo>
                      <a:lnTo>
                        <a:pt x="172" y="768"/>
                      </a:lnTo>
                      <a:lnTo>
                        <a:pt x="172" y="772"/>
                      </a:lnTo>
                      <a:lnTo>
                        <a:pt x="168" y="768"/>
                      </a:lnTo>
                      <a:lnTo>
                        <a:pt x="164" y="766"/>
                      </a:lnTo>
                      <a:lnTo>
                        <a:pt x="168" y="766"/>
                      </a:lnTo>
                      <a:lnTo>
                        <a:pt x="168" y="766"/>
                      </a:lnTo>
                      <a:lnTo>
                        <a:pt x="168" y="766"/>
                      </a:lnTo>
                      <a:close/>
                      <a:moveTo>
                        <a:pt x="182" y="766"/>
                      </a:moveTo>
                      <a:lnTo>
                        <a:pt x="180" y="766"/>
                      </a:lnTo>
                      <a:lnTo>
                        <a:pt x="180" y="768"/>
                      </a:lnTo>
                      <a:lnTo>
                        <a:pt x="180" y="766"/>
                      </a:lnTo>
                      <a:lnTo>
                        <a:pt x="182" y="766"/>
                      </a:lnTo>
                      <a:lnTo>
                        <a:pt x="182" y="766"/>
                      </a:lnTo>
                      <a:lnTo>
                        <a:pt x="182" y="766"/>
                      </a:lnTo>
                      <a:close/>
                      <a:moveTo>
                        <a:pt x="180" y="766"/>
                      </a:moveTo>
                      <a:lnTo>
                        <a:pt x="180" y="768"/>
                      </a:lnTo>
                      <a:lnTo>
                        <a:pt x="180" y="772"/>
                      </a:lnTo>
                      <a:lnTo>
                        <a:pt x="176" y="772"/>
                      </a:lnTo>
                      <a:lnTo>
                        <a:pt x="180" y="768"/>
                      </a:lnTo>
                      <a:lnTo>
                        <a:pt x="180" y="766"/>
                      </a:lnTo>
                      <a:lnTo>
                        <a:pt x="180" y="766"/>
                      </a:lnTo>
                      <a:lnTo>
                        <a:pt x="180" y="766"/>
                      </a:lnTo>
                      <a:close/>
                      <a:moveTo>
                        <a:pt x="134" y="766"/>
                      </a:moveTo>
                      <a:lnTo>
                        <a:pt x="134" y="768"/>
                      </a:lnTo>
                      <a:lnTo>
                        <a:pt x="130" y="766"/>
                      </a:lnTo>
                      <a:lnTo>
                        <a:pt x="134" y="766"/>
                      </a:lnTo>
                      <a:lnTo>
                        <a:pt x="134" y="766"/>
                      </a:lnTo>
                      <a:lnTo>
                        <a:pt x="134" y="766"/>
                      </a:lnTo>
                      <a:close/>
                      <a:moveTo>
                        <a:pt x="176" y="768"/>
                      </a:moveTo>
                      <a:lnTo>
                        <a:pt x="176" y="772"/>
                      </a:lnTo>
                      <a:lnTo>
                        <a:pt x="172" y="772"/>
                      </a:lnTo>
                      <a:lnTo>
                        <a:pt x="172" y="768"/>
                      </a:lnTo>
                      <a:lnTo>
                        <a:pt x="176" y="768"/>
                      </a:lnTo>
                      <a:lnTo>
                        <a:pt x="176" y="768"/>
                      </a:lnTo>
                      <a:lnTo>
                        <a:pt x="176" y="768"/>
                      </a:lnTo>
                      <a:close/>
                      <a:moveTo>
                        <a:pt x="176" y="772"/>
                      </a:moveTo>
                      <a:lnTo>
                        <a:pt x="176" y="776"/>
                      </a:lnTo>
                      <a:lnTo>
                        <a:pt x="172" y="772"/>
                      </a:lnTo>
                      <a:lnTo>
                        <a:pt x="176" y="772"/>
                      </a:lnTo>
                      <a:lnTo>
                        <a:pt x="176" y="772"/>
                      </a:lnTo>
                      <a:lnTo>
                        <a:pt x="176" y="772"/>
                      </a:lnTo>
                      <a:close/>
                      <a:moveTo>
                        <a:pt x="190" y="780"/>
                      </a:moveTo>
                      <a:lnTo>
                        <a:pt x="186" y="780"/>
                      </a:lnTo>
                      <a:lnTo>
                        <a:pt x="186" y="784"/>
                      </a:lnTo>
                      <a:lnTo>
                        <a:pt x="186" y="780"/>
                      </a:lnTo>
                      <a:lnTo>
                        <a:pt x="186" y="776"/>
                      </a:lnTo>
                      <a:lnTo>
                        <a:pt x="190" y="776"/>
                      </a:lnTo>
                      <a:lnTo>
                        <a:pt x="190" y="772"/>
                      </a:lnTo>
                      <a:lnTo>
                        <a:pt x="194" y="772"/>
                      </a:lnTo>
                      <a:lnTo>
                        <a:pt x="194" y="776"/>
                      </a:lnTo>
                      <a:lnTo>
                        <a:pt x="190" y="776"/>
                      </a:lnTo>
                      <a:lnTo>
                        <a:pt x="190" y="780"/>
                      </a:lnTo>
                      <a:lnTo>
                        <a:pt x="190" y="780"/>
                      </a:lnTo>
                      <a:lnTo>
                        <a:pt x="190" y="780"/>
                      </a:lnTo>
                      <a:close/>
                      <a:moveTo>
                        <a:pt x="182" y="772"/>
                      </a:moveTo>
                      <a:lnTo>
                        <a:pt x="182" y="776"/>
                      </a:lnTo>
                      <a:lnTo>
                        <a:pt x="180" y="776"/>
                      </a:lnTo>
                      <a:lnTo>
                        <a:pt x="182" y="776"/>
                      </a:lnTo>
                      <a:lnTo>
                        <a:pt x="182" y="772"/>
                      </a:lnTo>
                      <a:lnTo>
                        <a:pt x="182" y="772"/>
                      </a:lnTo>
                      <a:lnTo>
                        <a:pt x="182" y="772"/>
                      </a:lnTo>
                      <a:close/>
                      <a:moveTo>
                        <a:pt x="142" y="780"/>
                      </a:moveTo>
                      <a:lnTo>
                        <a:pt x="142" y="784"/>
                      </a:lnTo>
                      <a:lnTo>
                        <a:pt x="138" y="780"/>
                      </a:lnTo>
                      <a:lnTo>
                        <a:pt x="142" y="780"/>
                      </a:lnTo>
                      <a:lnTo>
                        <a:pt x="142" y="780"/>
                      </a:lnTo>
                      <a:lnTo>
                        <a:pt x="142" y="780"/>
                      </a:lnTo>
                      <a:close/>
                      <a:moveTo>
                        <a:pt x="872" y="780"/>
                      </a:moveTo>
                      <a:lnTo>
                        <a:pt x="872" y="784"/>
                      </a:lnTo>
                      <a:lnTo>
                        <a:pt x="868" y="784"/>
                      </a:lnTo>
                      <a:lnTo>
                        <a:pt x="868" y="780"/>
                      </a:lnTo>
                      <a:lnTo>
                        <a:pt x="872" y="780"/>
                      </a:lnTo>
                      <a:lnTo>
                        <a:pt x="872" y="780"/>
                      </a:lnTo>
                      <a:lnTo>
                        <a:pt x="872" y="780"/>
                      </a:lnTo>
                      <a:close/>
                      <a:moveTo>
                        <a:pt x="182" y="788"/>
                      </a:moveTo>
                      <a:lnTo>
                        <a:pt x="182" y="792"/>
                      </a:lnTo>
                      <a:lnTo>
                        <a:pt x="186" y="792"/>
                      </a:lnTo>
                      <a:lnTo>
                        <a:pt x="186" y="794"/>
                      </a:lnTo>
                      <a:lnTo>
                        <a:pt x="182" y="794"/>
                      </a:lnTo>
                      <a:lnTo>
                        <a:pt x="182" y="792"/>
                      </a:lnTo>
                      <a:lnTo>
                        <a:pt x="182" y="788"/>
                      </a:lnTo>
                      <a:lnTo>
                        <a:pt x="182" y="788"/>
                      </a:lnTo>
                      <a:lnTo>
                        <a:pt x="182" y="788"/>
                      </a:lnTo>
                      <a:close/>
                      <a:moveTo>
                        <a:pt x="1188" y="874"/>
                      </a:moveTo>
                      <a:lnTo>
                        <a:pt x="1186" y="874"/>
                      </a:lnTo>
                      <a:lnTo>
                        <a:pt x="1182" y="874"/>
                      </a:lnTo>
                      <a:lnTo>
                        <a:pt x="1178" y="874"/>
                      </a:lnTo>
                      <a:lnTo>
                        <a:pt x="1174" y="874"/>
                      </a:lnTo>
                      <a:lnTo>
                        <a:pt x="1174" y="870"/>
                      </a:lnTo>
                      <a:lnTo>
                        <a:pt x="1170" y="874"/>
                      </a:lnTo>
                      <a:lnTo>
                        <a:pt x="1162" y="874"/>
                      </a:lnTo>
                      <a:lnTo>
                        <a:pt x="1160" y="874"/>
                      </a:lnTo>
                      <a:lnTo>
                        <a:pt x="1156" y="874"/>
                      </a:lnTo>
                      <a:lnTo>
                        <a:pt x="1156" y="870"/>
                      </a:lnTo>
                      <a:lnTo>
                        <a:pt x="1156" y="866"/>
                      </a:lnTo>
                      <a:lnTo>
                        <a:pt x="1160" y="862"/>
                      </a:lnTo>
                      <a:lnTo>
                        <a:pt x="1162" y="858"/>
                      </a:lnTo>
                      <a:lnTo>
                        <a:pt x="1166" y="854"/>
                      </a:lnTo>
                      <a:lnTo>
                        <a:pt x="1166" y="858"/>
                      </a:lnTo>
                      <a:lnTo>
                        <a:pt x="1166" y="854"/>
                      </a:lnTo>
                      <a:lnTo>
                        <a:pt x="1162" y="854"/>
                      </a:lnTo>
                      <a:lnTo>
                        <a:pt x="1160" y="854"/>
                      </a:lnTo>
                      <a:lnTo>
                        <a:pt x="1156" y="854"/>
                      </a:lnTo>
                      <a:lnTo>
                        <a:pt x="1160" y="852"/>
                      </a:lnTo>
                      <a:lnTo>
                        <a:pt x="1162" y="852"/>
                      </a:lnTo>
                      <a:lnTo>
                        <a:pt x="1160" y="852"/>
                      </a:lnTo>
                      <a:lnTo>
                        <a:pt x="1162" y="854"/>
                      </a:lnTo>
                      <a:lnTo>
                        <a:pt x="1162" y="852"/>
                      </a:lnTo>
                      <a:lnTo>
                        <a:pt x="1166" y="848"/>
                      </a:lnTo>
                      <a:lnTo>
                        <a:pt x="1166" y="844"/>
                      </a:lnTo>
                      <a:lnTo>
                        <a:pt x="1170" y="840"/>
                      </a:lnTo>
                      <a:lnTo>
                        <a:pt x="1170" y="844"/>
                      </a:lnTo>
                      <a:lnTo>
                        <a:pt x="1174" y="844"/>
                      </a:lnTo>
                      <a:lnTo>
                        <a:pt x="1174" y="848"/>
                      </a:lnTo>
                      <a:lnTo>
                        <a:pt x="1174" y="844"/>
                      </a:lnTo>
                      <a:lnTo>
                        <a:pt x="1170" y="844"/>
                      </a:lnTo>
                      <a:lnTo>
                        <a:pt x="1174" y="844"/>
                      </a:lnTo>
                      <a:lnTo>
                        <a:pt x="1174" y="840"/>
                      </a:lnTo>
                      <a:lnTo>
                        <a:pt x="1170" y="840"/>
                      </a:lnTo>
                      <a:lnTo>
                        <a:pt x="1170" y="836"/>
                      </a:lnTo>
                      <a:lnTo>
                        <a:pt x="1174" y="832"/>
                      </a:lnTo>
                      <a:lnTo>
                        <a:pt x="1178" y="836"/>
                      </a:lnTo>
                      <a:lnTo>
                        <a:pt x="1174" y="832"/>
                      </a:lnTo>
                      <a:lnTo>
                        <a:pt x="1174" y="828"/>
                      </a:lnTo>
                      <a:lnTo>
                        <a:pt x="1178" y="828"/>
                      </a:lnTo>
                      <a:lnTo>
                        <a:pt x="1178" y="822"/>
                      </a:lnTo>
                      <a:lnTo>
                        <a:pt x="1182" y="818"/>
                      </a:lnTo>
                      <a:lnTo>
                        <a:pt x="1182" y="814"/>
                      </a:lnTo>
                      <a:lnTo>
                        <a:pt x="1182" y="810"/>
                      </a:lnTo>
                      <a:lnTo>
                        <a:pt x="1186" y="810"/>
                      </a:lnTo>
                      <a:lnTo>
                        <a:pt x="1182" y="810"/>
                      </a:lnTo>
                      <a:lnTo>
                        <a:pt x="1186" y="810"/>
                      </a:lnTo>
                      <a:lnTo>
                        <a:pt x="1186" y="806"/>
                      </a:lnTo>
                      <a:lnTo>
                        <a:pt x="1188" y="806"/>
                      </a:lnTo>
                      <a:lnTo>
                        <a:pt x="1188" y="802"/>
                      </a:lnTo>
                      <a:lnTo>
                        <a:pt x="1188" y="798"/>
                      </a:lnTo>
                      <a:lnTo>
                        <a:pt x="1192" y="794"/>
                      </a:lnTo>
                      <a:lnTo>
                        <a:pt x="1196" y="794"/>
                      </a:lnTo>
                      <a:lnTo>
                        <a:pt x="1196" y="792"/>
                      </a:lnTo>
                      <a:lnTo>
                        <a:pt x="1200" y="792"/>
                      </a:lnTo>
                      <a:lnTo>
                        <a:pt x="1204" y="792"/>
                      </a:lnTo>
                      <a:lnTo>
                        <a:pt x="1208" y="792"/>
                      </a:lnTo>
                      <a:lnTo>
                        <a:pt x="1204" y="792"/>
                      </a:lnTo>
                      <a:lnTo>
                        <a:pt x="1208" y="792"/>
                      </a:lnTo>
                      <a:lnTo>
                        <a:pt x="1212" y="792"/>
                      </a:lnTo>
                      <a:lnTo>
                        <a:pt x="1212" y="794"/>
                      </a:lnTo>
                      <a:lnTo>
                        <a:pt x="1208" y="794"/>
                      </a:lnTo>
                      <a:lnTo>
                        <a:pt x="1204" y="794"/>
                      </a:lnTo>
                      <a:lnTo>
                        <a:pt x="1200" y="794"/>
                      </a:lnTo>
                      <a:lnTo>
                        <a:pt x="1200" y="798"/>
                      </a:lnTo>
                      <a:lnTo>
                        <a:pt x="1204" y="798"/>
                      </a:lnTo>
                      <a:lnTo>
                        <a:pt x="1208" y="798"/>
                      </a:lnTo>
                      <a:lnTo>
                        <a:pt x="1208" y="802"/>
                      </a:lnTo>
                      <a:lnTo>
                        <a:pt x="1204" y="802"/>
                      </a:lnTo>
                      <a:lnTo>
                        <a:pt x="1200" y="806"/>
                      </a:lnTo>
                      <a:lnTo>
                        <a:pt x="1200" y="810"/>
                      </a:lnTo>
                      <a:lnTo>
                        <a:pt x="1200" y="806"/>
                      </a:lnTo>
                      <a:lnTo>
                        <a:pt x="1200" y="810"/>
                      </a:lnTo>
                      <a:lnTo>
                        <a:pt x="1200" y="814"/>
                      </a:lnTo>
                      <a:lnTo>
                        <a:pt x="1196" y="814"/>
                      </a:lnTo>
                      <a:lnTo>
                        <a:pt x="1196" y="818"/>
                      </a:lnTo>
                      <a:lnTo>
                        <a:pt x="1196" y="822"/>
                      </a:lnTo>
                      <a:lnTo>
                        <a:pt x="1192" y="822"/>
                      </a:lnTo>
                      <a:lnTo>
                        <a:pt x="1192" y="824"/>
                      </a:lnTo>
                      <a:lnTo>
                        <a:pt x="1192" y="828"/>
                      </a:lnTo>
                      <a:lnTo>
                        <a:pt x="1188" y="828"/>
                      </a:lnTo>
                      <a:lnTo>
                        <a:pt x="1192" y="828"/>
                      </a:lnTo>
                      <a:lnTo>
                        <a:pt x="1188" y="832"/>
                      </a:lnTo>
                      <a:lnTo>
                        <a:pt x="1192" y="832"/>
                      </a:lnTo>
                      <a:lnTo>
                        <a:pt x="1192" y="828"/>
                      </a:lnTo>
                      <a:lnTo>
                        <a:pt x="1196" y="824"/>
                      </a:lnTo>
                      <a:lnTo>
                        <a:pt x="1200" y="822"/>
                      </a:lnTo>
                      <a:lnTo>
                        <a:pt x="1200" y="824"/>
                      </a:lnTo>
                      <a:lnTo>
                        <a:pt x="1204" y="824"/>
                      </a:lnTo>
                      <a:lnTo>
                        <a:pt x="1208" y="824"/>
                      </a:lnTo>
                      <a:lnTo>
                        <a:pt x="1212" y="824"/>
                      </a:lnTo>
                      <a:lnTo>
                        <a:pt x="1208" y="824"/>
                      </a:lnTo>
                      <a:lnTo>
                        <a:pt x="1208" y="828"/>
                      </a:lnTo>
                      <a:lnTo>
                        <a:pt x="1204" y="828"/>
                      </a:lnTo>
                      <a:lnTo>
                        <a:pt x="1200" y="832"/>
                      </a:lnTo>
                      <a:lnTo>
                        <a:pt x="1204" y="828"/>
                      </a:lnTo>
                      <a:lnTo>
                        <a:pt x="1204" y="832"/>
                      </a:lnTo>
                      <a:lnTo>
                        <a:pt x="1200" y="832"/>
                      </a:lnTo>
                      <a:lnTo>
                        <a:pt x="1200" y="836"/>
                      </a:lnTo>
                      <a:lnTo>
                        <a:pt x="1204" y="836"/>
                      </a:lnTo>
                      <a:lnTo>
                        <a:pt x="1204" y="832"/>
                      </a:lnTo>
                      <a:lnTo>
                        <a:pt x="1208" y="836"/>
                      </a:lnTo>
                      <a:lnTo>
                        <a:pt x="1212" y="836"/>
                      </a:lnTo>
                      <a:lnTo>
                        <a:pt x="1212" y="832"/>
                      </a:lnTo>
                      <a:lnTo>
                        <a:pt x="1212" y="836"/>
                      </a:lnTo>
                      <a:lnTo>
                        <a:pt x="1212" y="840"/>
                      </a:lnTo>
                      <a:lnTo>
                        <a:pt x="1212" y="836"/>
                      </a:lnTo>
                      <a:lnTo>
                        <a:pt x="1212" y="832"/>
                      </a:lnTo>
                      <a:lnTo>
                        <a:pt x="1216" y="832"/>
                      </a:lnTo>
                      <a:lnTo>
                        <a:pt x="1216" y="836"/>
                      </a:lnTo>
                      <a:lnTo>
                        <a:pt x="1212" y="840"/>
                      </a:lnTo>
                      <a:lnTo>
                        <a:pt x="1212" y="844"/>
                      </a:lnTo>
                      <a:lnTo>
                        <a:pt x="1212" y="840"/>
                      </a:lnTo>
                      <a:lnTo>
                        <a:pt x="1216" y="840"/>
                      </a:lnTo>
                      <a:lnTo>
                        <a:pt x="1216" y="836"/>
                      </a:lnTo>
                      <a:lnTo>
                        <a:pt x="1216" y="840"/>
                      </a:lnTo>
                      <a:lnTo>
                        <a:pt x="1218" y="840"/>
                      </a:lnTo>
                      <a:lnTo>
                        <a:pt x="1222" y="836"/>
                      </a:lnTo>
                      <a:lnTo>
                        <a:pt x="1222" y="832"/>
                      </a:lnTo>
                      <a:lnTo>
                        <a:pt x="1222" y="836"/>
                      </a:lnTo>
                      <a:lnTo>
                        <a:pt x="1222" y="840"/>
                      </a:lnTo>
                      <a:lnTo>
                        <a:pt x="1226" y="836"/>
                      </a:lnTo>
                      <a:lnTo>
                        <a:pt x="1230" y="836"/>
                      </a:lnTo>
                      <a:lnTo>
                        <a:pt x="1234" y="836"/>
                      </a:lnTo>
                      <a:lnTo>
                        <a:pt x="1238" y="840"/>
                      </a:lnTo>
                      <a:lnTo>
                        <a:pt x="1238" y="844"/>
                      </a:lnTo>
                      <a:lnTo>
                        <a:pt x="1234" y="844"/>
                      </a:lnTo>
                      <a:lnTo>
                        <a:pt x="1234" y="848"/>
                      </a:lnTo>
                      <a:lnTo>
                        <a:pt x="1230" y="848"/>
                      </a:lnTo>
                      <a:lnTo>
                        <a:pt x="1234" y="848"/>
                      </a:lnTo>
                      <a:lnTo>
                        <a:pt x="1234" y="852"/>
                      </a:lnTo>
                      <a:lnTo>
                        <a:pt x="1230" y="852"/>
                      </a:lnTo>
                      <a:lnTo>
                        <a:pt x="1234" y="852"/>
                      </a:lnTo>
                      <a:lnTo>
                        <a:pt x="1230" y="852"/>
                      </a:lnTo>
                      <a:lnTo>
                        <a:pt x="1234" y="852"/>
                      </a:lnTo>
                      <a:lnTo>
                        <a:pt x="1238" y="852"/>
                      </a:lnTo>
                      <a:lnTo>
                        <a:pt x="1234" y="852"/>
                      </a:lnTo>
                      <a:lnTo>
                        <a:pt x="1230" y="854"/>
                      </a:lnTo>
                      <a:lnTo>
                        <a:pt x="1234" y="854"/>
                      </a:lnTo>
                      <a:lnTo>
                        <a:pt x="1238" y="854"/>
                      </a:lnTo>
                      <a:lnTo>
                        <a:pt x="1238" y="852"/>
                      </a:lnTo>
                      <a:lnTo>
                        <a:pt x="1242" y="852"/>
                      </a:lnTo>
                      <a:lnTo>
                        <a:pt x="1242" y="854"/>
                      </a:lnTo>
                      <a:lnTo>
                        <a:pt x="1242" y="852"/>
                      </a:lnTo>
                      <a:lnTo>
                        <a:pt x="1244" y="852"/>
                      </a:lnTo>
                      <a:lnTo>
                        <a:pt x="1244" y="854"/>
                      </a:lnTo>
                      <a:lnTo>
                        <a:pt x="1244" y="858"/>
                      </a:lnTo>
                      <a:lnTo>
                        <a:pt x="1242" y="858"/>
                      </a:lnTo>
                      <a:lnTo>
                        <a:pt x="1238" y="858"/>
                      </a:lnTo>
                      <a:lnTo>
                        <a:pt x="1234" y="862"/>
                      </a:lnTo>
                      <a:lnTo>
                        <a:pt x="1230" y="862"/>
                      </a:lnTo>
                      <a:lnTo>
                        <a:pt x="1234" y="862"/>
                      </a:lnTo>
                      <a:lnTo>
                        <a:pt x="1234" y="866"/>
                      </a:lnTo>
                      <a:lnTo>
                        <a:pt x="1230" y="866"/>
                      </a:lnTo>
                      <a:lnTo>
                        <a:pt x="1234" y="866"/>
                      </a:lnTo>
                      <a:lnTo>
                        <a:pt x="1238" y="866"/>
                      </a:lnTo>
                      <a:lnTo>
                        <a:pt x="1234" y="870"/>
                      </a:lnTo>
                      <a:lnTo>
                        <a:pt x="1234" y="874"/>
                      </a:lnTo>
                      <a:lnTo>
                        <a:pt x="1238" y="874"/>
                      </a:lnTo>
                      <a:lnTo>
                        <a:pt x="1238" y="870"/>
                      </a:lnTo>
                      <a:lnTo>
                        <a:pt x="1242" y="866"/>
                      </a:lnTo>
                      <a:lnTo>
                        <a:pt x="1242" y="862"/>
                      </a:lnTo>
                      <a:lnTo>
                        <a:pt x="1242" y="866"/>
                      </a:lnTo>
                      <a:lnTo>
                        <a:pt x="1244" y="862"/>
                      </a:lnTo>
                      <a:lnTo>
                        <a:pt x="1248" y="862"/>
                      </a:lnTo>
                      <a:lnTo>
                        <a:pt x="1244" y="862"/>
                      </a:lnTo>
                      <a:lnTo>
                        <a:pt x="1244" y="866"/>
                      </a:lnTo>
                      <a:lnTo>
                        <a:pt x="1244" y="870"/>
                      </a:lnTo>
                      <a:lnTo>
                        <a:pt x="1242" y="874"/>
                      </a:lnTo>
                      <a:lnTo>
                        <a:pt x="1242" y="878"/>
                      </a:lnTo>
                      <a:lnTo>
                        <a:pt x="1244" y="878"/>
                      </a:lnTo>
                      <a:lnTo>
                        <a:pt x="1244" y="874"/>
                      </a:lnTo>
                      <a:lnTo>
                        <a:pt x="1248" y="870"/>
                      </a:lnTo>
                      <a:lnTo>
                        <a:pt x="1248" y="874"/>
                      </a:lnTo>
                      <a:lnTo>
                        <a:pt x="1248" y="878"/>
                      </a:lnTo>
                      <a:lnTo>
                        <a:pt x="1248" y="880"/>
                      </a:lnTo>
                      <a:lnTo>
                        <a:pt x="1244" y="880"/>
                      </a:lnTo>
                      <a:lnTo>
                        <a:pt x="1244" y="884"/>
                      </a:lnTo>
                      <a:lnTo>
                        <a:pt x="1244" y="888"/>
                      </a:lnTo>
                      <a:lnTo>
                        <a:pt x="1244" y="892"/>
                      </a:lnTo>
                      <a:lnTo>
                        <a:pt x="1242" y="892"/>
                      </a:lnTo>
                      <a:lnTo>
                        <a:pt x="1238" y="892"/>
                      </a:lnTo>
                      <a:lnTo>
                        <a:pt x="1234" y="892"/>
                      </a:lnTo>
                      <a:lnTo>
                        <a:pt x="1234" y="888"/>
                      </a:lnTo>
                      <a:lnTo>
                        <a:pt x="1238" y="888"/>
                      </a:lnTo>
                      <a:lnTo>
                        <a:pt x="1234" y="884"/>
                      </a:lnTo>
                      <a:lnTo>
                        <a:pt x="1238" y="884"/>
                      </a:lnTo>
                      <a:lnTo>
                        <a:pt x="1238" y="880"/>
                      </a:lnTo>
                      <a:lnTo>
                        <a:pt x="1234" y="884"/>
                      </a:lnTo>
                      <a:lnTo>
                        <a:pt x="1230" y="888"/>
                      </a:lnTo>
                      <a:lnTo>
                        <a:pt x="1226" y="888"/>
                      </a:lnTo>
                      <a:lnTo>
                        <a:pt x="1226" y="884"/>
                      </a:lnTo>
                      <a:lnTo>
                        <a:pt x="1230" y="884"/>
                      </a:lnTo>
                      <a:lnTo>
                        <a:pt x="1230" y="880"/>
                      </a:lnTo>
                      <a:lnTo>
                        <a:pt x="1234" y="878"/>
                      </a:lnTo>
                      <a:lnTo>
                        <a:pt x="1230" y="878"/>
                      </a:lnTo>
                      <a:lnTo>
                        <a:pt x="1230" y="874"/>
                      </a:lnTo>
                      <a:lnTo>
                        <a:pt x="1234" y="874"/>
                      </a:lnTo>
                      <a:lnTo>
                        <a:pt x="1230" y="874"/>
                      </a:lnTo>
                      <a:lnTo>
                        <a:pt x="1230" y="870"/>
                      </a:lnTo>
                      <a:lnTo>
                        <a:pt x="1226" y="870"/>
                      </a:lnTo>
                      <a:lnTo>
                        <a:pt x="1226" y="874"/>
                      </a:lnTo>
                      <a:lnTo>
                        <a:pt x="1222" y="874"/>
                      </a:lnTo>
                      <a:lnTo>
                        <a:pt x="1222" y="878"/>
                      </a:lnTo>
                      <a:lnTo>
                        <a:pt x="1226" y="874"/>
                      </a:lnTo>
                      <a:lnTo>
                        <a:pt x="1222" y="874"/>
                      </a:lnTo>
                      <a:lnTo>
                        <a:pt x="1222" y="878"/>
                      </a:lnTo>
                      <a:lnTo>
                        <a:pt x="1218" y="878"/>
                      </a:lnTo>
                      <a:lnTo>
                        <a:pt x="1216" y="880"/>
                      </a:lnTo>
                      <a:lnTo>
                        <a:pt x="1216" y="884"/>
                      </a:lnTo>
                      <a:lnTo>
                        <a:pt x="1212" y="888"/>
                      </a:lnTo>
                      <a:lnTo>
                        <a:pt x="1208" y="888"/>
                      </a:lnTo>
                      <a:lnTo>
                        <a:pt x="1204" y="888"/>
                      </a:lnTo>
                      <a:lnTo>
                        <a:pt x="1204" y="884"/>
                      </a:lnTo>
                      <a:lnTo>
                        <a:pt x="1208" y="884"/>
                      </a:lnTo>
                      <a:lnTo>
                        <a:pt x="1212" y="880"/>
                      </a:lnTo>
                      <a:lnTo>
                        <a:pt x="1212" y="878"/>
                      </a:lnTo>
                      <a:lnTo>
                        <a:pt x="1216" y="878"/>
                      </a:lnTo>
                      <a:lnTo>
                        <a:pt x="1218" y="874"/>
                      </a:lnTo>
                      <a:lnTo>
                        <a:pt x="1216" y="874"/>
                      </a:lnTo>
                      <a:lnTo>
                        <a:pt x="1216" y="870"/>
                      </a:lnTo>
                      <a:lnTo>
                        <a:pt x="1218" y="870"/>
                      </a:lnTo>
                      <a:lnTo>
                        <a:pt x="1216" y="870"/>
                      </a:lnTo>
                      <a:lnTo>
                        <a:pt x="1216" y="874"/>
                      </a:lnTo>
                      <a:lnTo>
                        <a:pt x="1212" y="874"/>
                      </a:lnTo>
                      <a:lnTo>
                        <a:pt x="1212" y="870"/>
                      </a:lnTo>
                      <a:lnTo>
                        <a:pt x="1212" y="874"/>
                      </a:lnTo>
                      <a:lnTo>
                        <a:pt x="1212" y="878"/>
                      </a:lnTo>
                      <a:lnTo>
                        <a:pt x="1208" y="878"/>
                      </a:lnTo>
                      <a:lnTo>
                        <a:pt x="1204" y="878"/>
                      </a:lnTo>
                      <a:lnTo>
                        <a:pt x="1204" y="874"/>
                      </a:lnTo>
                      <a:lnTo>
                        <a:pt x="1204" y="878"/>
                      </a:lnTo>
                      <a:lnTo>
                        <a:pt x="1200" y="878"/>
                      </a:lnTo>
                      <a:lnTo>
                        <a:pt x="1200" y="874"/>
                      </a:lnTo>
                      <a:lnTo>
                        <a:pt x="1204" y="874"/>
                      </a:lnTo>
                      <a:lnTo>
                        <a:pt x="1208" y="874"/>
                      </a:lnTo>
                      <a:lnTo>
                        <a:pt x="1204" y="874"/>
                      </a:lnTo>
                      <a:lnTo>
                        <a:pt x="1204" y="870"/>
                      </a:lnTo>
                      <a:lnTo>
                        <a:pt x="1204" y="866"/>
                      </a:lnTo>
                      <a:lnTo>
                        <a:pt x="1204" y="870"/>
                      </a:lnTo>
                      <a:lnTo>
                        <a:pt x="1200" y="870"/>
                      </a:lnTo>
                      <a:lnTo>
                        <a:pt x="1200" y="874"/>
                      </a:lnTo>
                      <a:lnTo>
                        <a:pt x="1196" y="874"/>
                      </a:lnTo>
                      <a:lnTo>
                        <a:pt x="1192" y="874"/>
                      </a:lnTo>
                      <a:lnTo>
                        <a:pt x="1188" y="874"/>
                      </a:lnTo>
                      <a:lnTo>
                        <a:pt x="1188" y="874"/>
                      </a:lnTo>
                      <a:lnTo>
                        <a:pt x="1188" y="874"/>
                      </a:lnTo>
                      <a:close/>
                      <a:moveTo>
                        <a:pt x="190" y="818"/>
                      </a:moveTo>
                      <a:lnTo>
                        <a:pt x="190" y="814"/>
                      </a:lnTo>
                      <a:lnTo>
                        <a:pt x="190" y="810"/>
                      </a:lnTo>
                      <a:lnTo>
                        <a:pt x="186" y="810"/>
                      </a:lnTo>
                      <a:lnTo>
                        <a:pt x="190" y="810"/>
                      </a:lnTo>
                      <a:lnTo>
                        <a:pt x="190" y="814"/>
                      </a:lnTo>
                      <a:lnTo>
                        <a:pt x="182" y="814"/>
                      </a:lnTo>
                      <a:lnTo>
                        <a:pt x="180" y="814"/>
                      </a:lnTo>
                      <a:lnTo>
                        <a:pt x="180" y="810"/>
                      </a:lnTo>
                      <a:lnTo>
                        <a:pt x="180" y="806"/>
                      </a:lnTo>
                      <a:lnTo>
                        <a:pt x="182" y="806"/>
                      </a:lnTo>
                      <a:lnTo>
                        <a:pt x="186" y="806"/>
                      </a:lnTo>
                      <a:lnTo>
                        <a:pt x="190" y="806"/>
                      </a:lnTo>
                      <a:lnTo>
                        <a:pt x="190" y="810"/>
                      </a:lnTo>
                      <a:lnTo>
                        <a:pt x="194" y="810"/>
                      </a:lnTo>
                      <a:lnTo>
                        <a:pt x="198" y="810"/>
                      </a:lnTo>
                      <a:lnTo>
                        <a:pt x="202" y="814"/>
                      </a:lnTo>
                      <a:lnTo>
                        <a:pt x="206" y="814"/>
                      </a:lnTo>
                      <a:lnTo>
                        <a:pt x="210" y="814"/>
                      </a:lnTo>
                      <a:lnTo>
                        <a:pt x="212" y="814"/>
                      </a:lnTo>
                      <a:lnTo>
                        <a:pt x="212" y="818"/>
                      </a:lnTo>
                      <a:lnTo>
                        <a:pt x="216" y="818"/>
                      </a:lnTo>
                      <a:lnTo>
                        <a:pt x="220" y="818"/>
                      </a:lnTo>
                      <a:lnTo>
                        <a:pt x="220" y="822"/>
                      </a:lnTo>
                      <a:lnTo>
                        <a:pt x="224" y="822"/>
                      </a:lnTo>
                      <a:lnTo>
                        <a:pt x="224" y="824"/>
                      </a:lnTo>
                      <a:lnTo>
                        <a:pt x="228" y="828"/>
                      </a:lnTo>
                      <a:lnTo>
                        <a:pt x="228" y="832"/>
                      </a:lnTo>
                      <a:lnTo>
                        <a:pt x="228" y="836"/>
                      </a:lnTo>
                      <a:lnTo>
                        <a:pt x="232" y="836"/>
                      </a:lnTo>
                      <a:lnTo>
                        <a:pt x="236" y="840"/>
                      </a:lnTo>
                      <a:lnTo>
                        <a:pt x="238" y="840"/>
                      </a:lnTo>
                      <a:lnTo>
                        <a:pt x="242" y="840"/>
                      </a:lnTo>
                      <a:lnTo>
                        <a:pt x="242" y="844"/>
                      </a:lnTo>
                      <a:lnTo>
                        <a:pt x="246" y="848"/>
                      </a:lnTo>
                      <a:lnTo>
                        <a:pt x="246" y="852"/>
                      </a:lnTo>
                      <a:lnTo>
                        <a:pt x="246" y="854"/>
                      </a:lnTo>
                      <a:lnTo>
                        <a:pt x="246" y="852"/>
                      </a:lnTo>
                      <a:lnTo>
                        <a:pt x="250" y="852"/>
                      </a:lnTo>
                      <a:lnTo>
                        <a:pt x="250" y="854"/>
                      </a:lnTo>
                      <a:lnTo>
                        <a:pt x="250" y="858"/>
                      </a:lnTo>
                      <a:lnTo>
                        <a:pt x="250" y="854"/>
                      </a:lnTo>
                      <a:lnTo>
                        <a:pt x="246" y="858"/>
                      </a:lnTo>
                      <a:lnTo>
                        <a:pt x="242" y="858"/>
                      </a:lnTo>
                      <a:lnTo>
                        <a:pt x="236" y="854"/>
                      </a:lnTo>
                      <a:lnTo>
                        <a:pt x="232" y="854"/>
                      </a:lnTo>
                      <a:lnTo>
                        <a:pt x="232" y="852"/>
                      </a:lnTo>
                      <a:lnTo>
                        <a:pt x="228" y="852"/>
                      </a:lnTo>
                      <a:lnTo>
                        <a:pt x="224" y="852"/>
                      </a:lnTo>
                      <a:lnTo>
                        <a:pt x="224" y="848"/>
                      </a:lnTo>
                      <a:lnTo>
                        <a:pt x="228" y="848"/>
                      </a:lnTo>
                      <a:lnTo>
                        <a:pt x="228" y="844"/>
                      </a:lnTo>
                      <a:lnTo>
                        <a:pt x="228" y="840"/>
                      </a:lnTo>
                      <a:lnTo>
                        <a:pt x="228" y="844"/>
                      </a:lnTo>
                      <a:lnTo>
                        <a:pt x="224" y="844"/>
                      </a:lnTo>
                      <a:lnTo>
                        <a:pt x="224" y="848"/>
                      </a:lnTo>
                      <a:lnTo>
                        <a:pt x="220" y="844"/>
                      </a:lnTo>
                      <a:lnTo>
                        <a:pt x="220" y="848"/>
                      </a:lnTo>
                      <a:lnTo>
                        <a:pt x="216" y="844"/>
                      </a:lnTo>
                      <a:lnTo>
                        <a:pt x="216" y="840"/>
                      </a:lnTo>
                      <a:lnTo>
                        <a:pt x="212" y="840"/>
                      </a:lnTo>
                      <a:lnTo>
                        <a:pt x="212" y="836"/>
                      </a:lnTo>
                      <a:lnTo>
                        <a:pt x="210" y="836"/>
                      </a:lnTo>
                      <a:lnTo>
                        <a:pt x="206" y="836"/>
                      </a:lnTo>
                      <a:lnTo>
                        <a:pt x="206" y="832"/>
                      </a:lnTo>
                      <a:lnTo>
                        <a:pt x="210" y="832"/>
                      </a:lnTo>
                      <a:lnTo>
                        <a:pt x="212" y="832"/>
                      </a:lnTo>
                      <a:lnTo>
                        <a:pt x="210" y="832"/>
                      </a:lnTo>
                      <a:lnTo>
                        <a:pt x="206" y="832"/>
                      </a:lnTo>
                      <a:lnTo>
                        <a:pt x="206" y="828"/>
                      </a:lnTo>
                      <a:lnTo>
                        <a:pt x="202" y="828"/>
                      </a:lnTo>
                      <a:lnTo>
                        <a:pt x="202" y="824"/>
                      </a:lnTo>
                      <a:lnTo>
                        <a:pt x="198" y="824"/>
                      </a:lnTo>
                      <a:lnTo>
                        <a:pt x="198" y="828"/>
                      </a:lnTo>
                      <a:lnTo>
                        <a:pt x="194" y="824"/>
                      </a:lnTo>
                      <a:lnTo>
                        <a:pt x="194" y="822"/>
                      </a:lnTo>
                      <a:lnTo>
                        <a:pt x="198" y="822"/>
                      </a:lnTo>
                      <a:lnTo>
                        <a:pt x="194" y="822"/>
                      </a:lnTo>
                      <a:lnTo>
                        <a:pt x="194" y="824"/>
                      </a:lnTo>
                      <a:lnTo>
                        <a:pt x="190" y="822"/>
                      </a:lnTo>
                      <a:lnTo>
                        <a:pt x="186" y="822"/>
                      </a:lnTo>
                      <a:lnTo>
                        <a:pt x="186" y="818"/>
                      </a:lnTo>
                      <a:lnTo>
                        <a:pt x="182" y="818"/>
                      </a:lnTo>
                      <a:lnTo>
                        <a:pt x="186" y="814"/>
                      </a:lnTo>
                      <a:lnTo>
                        <a:pt x="190" y="814"/>
                      </a:lnTo>
                      <a:lnTo>
                        <a:pt x="190" y="818"/>
                      </a:lnTo>
                      <a:lnTo>
                        <a:pt x="190" y="818"/>
                      </a:lnTo>
                      <a:lnTo>
                        <a:pt x="190" y="818"/>
                      </a:lnTo>
                      <a:close/>
                      <a:moveTo>
                        <a:pt x="210" y="806"/>
                      </a:moveTo>
                      <a:lnTo>
                        <a:pt x="210" y="810"/>
                      </a:lnTo>
                      <a:lnTo>
                        <a:pt x="206" y="810"/>
                      </a:lnTo>
                      <a:lnTo>
                        <a:pt x="206" y="806"/>
                      </a:lnTo>
                      <a:lnTo>
                        <a:pt x="210" y="806"/>
                      </a:lnTo>
                      <a:lnTo>
                        <a:pt x="210" y="806"/>
                      </a:lnTo>
                      <a:lnTo>
                        <a:pt x="210" y="806"/>
                      </a:lnTo>
                      <a:close/>
                      <a:moveTo>
                        <a:pt x="220" y="818"/>
                      </a:moveTo>
                      <a:lnTo>
                        <a:pt x="224" y="818"/>
                      </a:lnTo>
                      <a:lnTo>
                        <a:pt x="224" y="822"/>
                      </a:lnTo>
                      <a:lnTo>
                        <a:pt x="224" y="824"/>
                      </a:lnTo>
                      <a:lnTo>
                        <a:pt x="224" y="822"/>
                      </a:lnTo>
                      <a:lnTo>
                        <a:pt x="220" y="822"/>
                      </a:lnTo>
                      <a:lnTo>
                        <a:pt x="220" y="818"/>
                      </a:lnTo>
                      <a:lnTo>
                        <a:pt x="220" y="818"/>
                      </a:lnTo>
                      <a:lnTo>
                        <a:pt x="220" y="818"/>
                      </a:lnTo>
                      <a:close/>
                      <a:moveTo>
                        <a:pt x="1096" y="828"/>
                      </a:moveTo>
                      <a:lnTo>
                        <a:pt x="1100" y="828"/>
                      </a:lnTo>
                      <a:lnTo>
                        <a:pt x="1104" y="828"/>
                      </a:lnTo>
                      <a:lnTo>
                        <a:pt x="1106" y="832"/>
                      </a:lnTo>
                      <a:lnTo>
                        <a:pt x="1110" y="832"/>
                      </a:lnTo>
                      <a:lnTo>
                        <a:pt x="1110" y="836"/>
                      </a:lnTo>
                      <a:lnTo>
                        <a:pt x="1114" y="836"/>
                      </a:lnTo>
                      <a:lnTo>
                        <a:pt x="1118" y="836"/>
                      </a:lnTo>
                      <a:lnTo>
                        <a:pt x="1118" y="840"/>
                      </a:lnTo>
                      <a:lnTo>
                        <a:pt x="1122" y="840"/>
                      </a:lnTo>
                      <a:lnTo>
                        <a:pt x="1122" y="844"/>
                      </a:lnTo>
                      <a:lnTo>
                        <a:pt x="1118" y="844"/>
                      </a:lnTo>
                      <a:lnTo>
                        <a:pt x="1114" y="844"/>
                      </a:lnTo>
                      <a:lnTo>
                        <a:pt x="1110" y="844"/>
                      </a:lnTo>
                      <a:lnTo>
                        <a:pt x="1106" y="840"/>
                      </a:lnTo>
                      <a:lnTo>
                        <a:pt x="1104" y="840"/>
                      </a:lnTo>
                      <a:lnTo>
                        <a:pt x="1100" y="840"/>
                      </a:lnTo>
                      <a:lnTo>
                        <a:pt x="1096" y="836"/>
                      </a:lnTo>
                      <a:lnTo>
                        <a:pt x="1092" y="832"/>
                      </a:lnTo>
                      <a:lnTo>
                        <a:pt x="1088" y="832"/>
                      </a:lnTo>
                      <a:lnTo>
                        <a:pt x="1088" y="828"/>
                      </a:lnTo>
                      <a:lnTo>
                        <a:pt x="1084" y="828"/>
                      </a:lnTo>
                      <a:lnTo>
                        <a:pt x="1080" y="824"/>
                      </a:lnTo>
                      <a:lnTo>
                        <a:pt x="1084" y="824"/>
                      </a:lnTo>
                      <a:lnTo>
                        <a:pt x="1088" y="824"/>
                      </a:lnTo>
                      <a:lnTo>
                        <a:pt x="1096" y="828"/>
                      </a:lnTo>
                      <a:lnTo>
                        <a:pt x="1096" y="828"/>
                      </a:lnTo>
                      <a:lnTo>
                        <a:pt x="1096" y="828"/>
                      </a:lnTo>
                      <a:close/>
                      <a:moveTo>
                        <a:pt x="202" y="824"/>
                      </a:moveTo>
                      <a:lnTo>
                        <a:pt x="202" y="828"/>
                      </a:lnTo>
                      <a:lnTo>
                        <a:pt x="206" y="832"/>
                      </a:lnTo>
                      <a:lnTo>
                        <a:pt x="202" y="832"/>
                      </a:lnTo>
                      <a:lnTo>
                        <a:pt x="198" y="828"/>
                      </a:lnTo>
                      <a:lnTo>
                        <a:pt x="202" y="824"/>
                      </a:lnTo>
                      <a:lnTo>
                        <a:pt x="202" y="824"/>
                      </a:lnTo>
                      <a:lnTo>
                        <a:pt x="202" y="824"/>
                      </a:lnTo>
                      <a:close/>
                      <a:moveTo>
                        <a:pt x="238" y="836"/>
                      </a:moveTo>
                      <a:lnTo>
                        <a:pt x="236" y="832"/>
                      </a:lnTo>
                      <a:lnTo>
                        <a:pt x="232" y="828"/>
                      </a:lnTo>
                      <a:lnTo>
                        <a:pt x="236" y="828"/>
                      </a:lnTo>
                      <a:lnTo>
                        <a:pt x="238" y="832"/>
                      </a:lnTo>
                      <a:lnTo>
                        <a:pt x="238" y="836"/>
                      </a:lnTo>
                      <a:lnTo>
                        <a:pt x="238" y="836"/>
                      </a:lnTo>
                      <a:lnTo>
                        <a:pt x="238" y="836"/>
                      </a:lnTo>
                      <a:close/>
                      <a:moveTo>
                        <a:pt x="210" y="836"/>
                      </a:moveTo>
                      <a:lnTo>
                        <a:pt x="212" y="836"/>
                      </a:lnTo>
                      <a:lnTo>
                        <a:pt x="212" y="840"/>
                      </a:lnTo>
                      <a:lnTo>
                        <a:pt x="210" y="840"/>
                      </a:lnTo>
                      <a:lnTo>
                        <a:pt x="210" y="836"/>
                      </a:lnTo>
                      <a:lnTo>
                        <a:pt x="210" y="836"/>
                      </a:lnTo>
                      <a:lnTo>
                        <a:pt x="210" y="836"/>
                      </a:lnTo>
                      <a:close/>
                      <a:moveTo>
                        <a:pt x="246" y="844"/>
                      </a:moveTo>
                      <a:lnTo>
                        <a:pt x="246" y="848"/>
                      </a:lnTo>
                      <a:lnTo>
                        <a:pt x="250" y="848"/>
                      </a:lnTo>
                      <a:lnTo>
                        <a:pt x="246" y="848"/>
                      </a:lnTo>
                      <a:lnTo>
                        <a:pt x="246" y="844"/>
                      </a:lnTo>
                      <a:lnTo>
                        <a:pt x="246" y="844"/>
                      </a:lnTo>
                      <a:lnTo>
                        <a:pt x="246" y="844"/>
                      </a:lnTo>
                      <a:close/>
                      <a:moveTo>
                        <a:pt x="246" y="848"/>
                      </a:moveTo>
                      <a:lnTo>
                        <a:pt x="250" y="848"/>
                      </a:lnTo>
                      <a:lnTo>
                        <a:pt x="250" y="852"/>
                      </a:lnTo>
                      <a:lnTo>
                        <a:pt x="246" y="852"/>
                      </a:lnTo>
                      <a:lnTo>
                        <a:pt x="246" y="848"/>
                      </a:lnTo>
                      <a:lnTo>
                        <a:pt x="246" y="848"/>
                      </a:lnTo>
                      <a:lnTo>
                        <a:pt x="246" y="848"/>
                      </a:lnTo>
                      <a:close/>
                      <a:moveTo>
                        <a:pt x="1080" y="866"/>
                      </a:moveTo>
                      <a:lnTo>
                        <a:pt x="1080" y="870"/>
                      </a:lnTo>
                      <a:lnTo>
                        <a:pt x="1076" y="870"/>
                      </a:lnTo>
                      <a:lnTo>
                        <a:pt x="1080" y="870"/>
                      </a:lnTo>
                      <a:lnTo>
                        <a:pt x="1080" y="866"/>
                      </a:lnTo>
                      <a:lnTo>
                        <a:pt x="1080" y="866"/>
                      </a:lnTo>
                      <a:lnTo>
                        <a:pt x="1080" y="866"/>
                      </a:lnTo>
                      <a:close/>
                      <a:moveTo>
                        <a:pt x="1126" y="874"/>
                      </a:moveTo>
                      <a:lnTo>
                        <a:pt x="1122" y="874"/>
                      </a:lnTo>
                      <a:lnTo>
                        <a:pt x="1126" y="874"/>
                      </a:lnTo>
                      <a:lnTo>
                        <a:pt x="1122" y="874"/>
                      </a:lnTo>
                      <a:lnTo>
                        <a:pt x="1118" y="878"/>
                      </a:lnTo>
                      <a:lnTo>
                        <a:pt x="1122" y="878"/>
                      </a:lnTo>
                      <a:lnTo>
                        <a:pt x="1122" y="874"/>
                      </a:lnTo>
                      <a:lnTo>
                        <a:pt x="1122" y="878"/>
                      </a:lnTo>
                      <a:lnTo>
                        <a:pt x="1118" y="878"/>
                      </a:lnTo>
                      <a:lnTo>
                        <a:pt x="1118" y="880"/>
                      </a:lnTo>
                      <a:lnTo>
                        <a:pt x="1122" y="880"/>
                      </a:lnTo>
                      <a:lnTo>
                        <a:pt x="1118" y="880"/>
                      </a:lnTo>
                      <a:lnTo>
                        <a:pt x="1118" y="878"/>
                      </a:lnTo>
                      <a:lnTo>
                        <a:pt x="1122" y="874"/>
                      </a:lnTo>
                      <a:lnTo>
                        <a:pt x="1126" y="874"/>
                      </a:lnTo>
                      <a:lnTo>
                        <a:pt x="1126" y="874"/>
                      </a:lnTo>
                      <a:lnTo>
                        <a:pt x="1126" y="874"/>
                      </a:lnTo>
                      <a:close/>
                      <a:moveTo>
                        <a:pt x="1114" y="900"/>
                      </a:moveTo>
                      <a:lnTo>
                        <a:pt x="1110" y="900"/>
                      </a:lnTo>
                      <a:lnTo>
                        <a:pt x="1110" y="904"/>
                      </a:lnTo>
                      <a:lnTo>
                        <a:pt x="1106" y="904"/>
                      </a:lnTo>
                      <a:lnTo>
                        <a:pt x="1110" y="904"/>
                      </a:lnTo>
                      <a:lnTo>
                        <a:pt x="1110" y="908"/>
                      </a:lnTo>
                      <a:lnTo>
                        <a:pt x="1106" y="908"/>
                      </a:lnTo>
                      <a:lnTo>
                        <a:pt x="1104" y="908"/>
                      </a:lnTo>
                      <a:lnTo>
                        <a:pt x="1104" y="904"/>
                      </a:lnTo>
                      <a:lnTo>
                        <a:pt x="1100" y="904"/>
                      </a:lnTo>
                      <a:lnTo>
                        <a:pt x="1104" y="900"/>
                      </a:lnTo>
                      <a:lnTo>
                        <a:pt x="1100" y="904"/>
                      </a:lnTo>
                      <a:lnTo>
                        <a:pt x="1096" y="904"/>
                      </a:lnTo>
                      <a:lnTo>
                        <a:pt x="1092" y="900"/>
                      </a:lnTo>
                      <a:lnTo>
                        <a:pt x="1088" y="900"/>
                      </a:lnTo>
                      <a:lnTo>
                        <a:pt x="1088" y="896"/>
                      </a:lnTo>
                      <a:lnTo>
                        <a:pt x="1088" y="892"/>
                      </a:lnTo>
                      <a:lnTo>
                        <a:pt x="1084" y="892"/>
                      </a:lnTo>
                      <a:lnTo>
                        <a:pt x="1084" y="888"/>
                      </a:lnTo>
                      <a:lnTo>
                        <a:pt x="1088" y="884"/>
                      </a:lnTo>
                      <a:lnTo>
                        <a:pt x="1088" y="888"/>
                      </a:lnTo>
                      <a:lnTo>
                        <a:pt x="1088" y="892"/>
                      </a:lnTo>
                      <a:lnTo>
                        <a:pt x="1092" y="892"/>
                      </a:lnTo>
                      <a:lnTo>
                        <a:pt x="1092" y="896"/>
                      </a:lnTo>
                      <a:lnTo>
                        <a:pt x="1096" y="896"/>
                      </a:lnTo>
                      <a:lnTo>
                        <a:pt x="1100" y="896"/>
                      </a:lnTo>
                      <a:lnTo>
                        <a:pt x="1104" y="896"/>
                      </a:lnTo>
                      <a:lnTo>
                        <a:pt x="1106" y="896"/>
                      </a:lnTo>
                      <a:lnTo>
                        <a:pt x="1110" y="896"/>
                      </a:lnTo>
                      <a:lnTo>
                        <a:pt x="1114" y="896"/>
                      </a:lnTo>
                      <a:lnTo>
                        <a:pt x="1118" y="896"/>
                      </a:lnTo>
                      <a:lnTo>
                        <a:pt x="1114" y="900"/>
                      </a:lnTo>
                      <a:lnTo>
                        <a:pt x="1114" y="900"/>
                      </a:lnTo>
                      <a:lnTo>
                        <a:pt x="1114" y="900"/>
                      </a:lnTo>
                      <a:close/>
                      <a:moveTo>
                        <a:pt x="1136" y="914"/>
                      </a:moveTo>
                      <a:lnTo>
                        <a:pt x="1132" y="914"/>
                      </a:lnTo>
                      <a:lnTo>
                        <a:pt x="1130" y="914"/>
                      </a:lnTo>
                      <a:lnTo>
                        <a:pt x="1126" y="914"/>
                      </a:lnTo>
                      <a:lnTo>
                        <a:pt x="1126" y="910"/>
                      </a:lnTo>
                      <a:lnTo>
                        <a:pt x="1126" y="908"/>
                      </a:lnTo>
                      <a:lnTo>
                        <a:pt x="1126" y="904"/>
                      </a:lnTo>
                      <a:lnTo>
                        <a:pt x="1126" y="900"/>
                      </a:lnTo>
                      <a:lnTo>
                        <a:pt x="1130" y="896"/>
                      </a:lnTo>
                      <a:lnTo>
                        <a:pt x="1132" y="892"/>
                      </a:lnTo>
                      <a:lnTo>
                        <a:pt x="1132" y="888"/>
                      </a:lnTo>
                      <a:lnTo>
                        <a:pt x="1136" y="888"/>
                      </a:lnTo>
                      <a:lnTo>
                        <a:pt x="1136" y="884"/>
                      </a:lnTo>
                      <a:lnTo>
                        <a:pt x="1140" y="884"/>
                      </a:lnTo>
                      <a:lnTo>
                        <a:pt x="1136" y="888"/>
                      </a:lnTo>
                      <a:lnTo>
                        <a:pt x="1140" y="888"/>
                      </a:lnTo>
                      <a:lnTo>
                        <a:pt x="1140" y="892"/>
                      </a:lnTo>
                      <a:lnTo>
                        <a:pt x="1136" y="900"/>
                      </a:lnTo>
                      <a:lnTo>
                        <a:pt x="1136" y="904"/>
                      </a:lnTo>
                      <a:lnTo>
                        <a:pt x="1136" y="900"/>
                      </a:lnTo>
                      <a:lnTo>
                        <a:pt x="1140" y="900"/>
                      </a:lnTo>
                      <a:lnTo>
                        <a:pt x="1136" y="904"/>
                      </a:lnTo>
                      <a:lnTo>
                        <a:pt x="1132" y="904"/>
                      </a:lnTo>
                      <a:lnTo>
                        <a:pt x="1132" y="908"/>
                      </a:lnTo>
                      <a:lnTo>
                        <a:pt x="1130" y="908"/>
                      </a:lnTo>
                      <a:lnTo>
                        <a:pt x="1132" y="908"/>
                      </a:lnTo>
                      <a:lnTo>
                        <a:pt x="1132" y="904"/>
                      </a:lnTo>
                      <a:lnTo>
                        <a:pt x="1136" y="904"/>
                      </a:lnTo>
                      <a:lnTo>
                        <a:pt x="1132" y="908"/>
                      </a:lnTo>
                      <a:lnTo>
                        <a:pt x="1130" y="908"/>
                      </a:lnTo>
                      <a:lnTo>
                        <a:pt x="1132" y="908"/>
                      </a:lnTo>
                      <a:lnTo>
                        <a:pt x="1132" y="910"/>
                      </a:lnTo>
                      <a:lnTo>
                        <a:pt x="1130" y="910"/>
                      </a:lnTo>
                      <a:lnTo>
                        <a:pt x="1132" y="910"/>
                      </a:lnTo>
                      <a:lnTo>
                        <a:pt x="1136" y="910"/>
                      </a:lnTo>
                      <a:lnTo>
                        <a:pt x="1136" y="908"/>
                      </a:lnTo>
                      <a:lnTo>
                        <a:pt x="1140" y="908"/>
                      </a:lnTo>
                      <a:lnTo>
                        <a:pt x="1136" y="908"/>
                      </a:lnTo>
                      <a:lnTo>
                        <a:pt x="1132" y="908"/>
                      </a:lnTo>
                      <a:lnTo>
                        <a:pt x="1136" y="908"/>
                      </a:lnTo>
                      <a:lnTo>
                        <a:pt x="1136" y="904"/>
                      </a:lnTo>
                      <a:lnTo>
                        <a:pt x="1140" y="904"/>
                      </a:lnTo>
                      <a:lnTo>
                        <a:pt x="1140" y="900"/>
                      </a:lnTo>
                      <a:lnTo>
                        <a:pt x="1140" y="904"/>
                      </a:lnTo>
                      <a:lnTo>
                        <a:pt x="1136" y="904"/>
                      </a:lnTo>
                      <a:lnTo>
                        <a:pt x="1140" y="900"/>
                      </a:lnTo>
                      <a:lnTo>
                        <a:pt x="1144" y="900"/>
                      </a:lnTo>
                      <a:lnTo>
                        <a:pt x="1144" y="904"/>
                      </a:lnTo>
                      <a:lnTo>
                        <a:pt x="1148" y="904"/>
                      </a:lnTo>
                      <a:lnTo>
                        <a:pt x="1148" y="908"/>
                      </a:lnTo>
                      <a:lnTo>
                        <a:pt x="1144" y="908"/>
                      </a:lnTo>
                      <a:lnTo>
                        <a:pt x="1144" y="910"/>
                      </a:lnTo>
                      <a:lnTo>
                        <a:pt x="1140" y="910"/>
                      </a:lnTo>
                      <a:lnTo>
                        <a:pt x="1140" y="914"/>
                      </a:lnTo>
                      <a:lnTo>
                        <a:pt x="1136" y="914"/>
                      </a:lnTo>
                      <a:lnTo>
                        <a:pt x="1136" y="914"/>
                      </a:lnTo>
                      <a:lnTo>
                        <a:pt x="1136" y="914"/>
                      </a:lnTo>
                      <a:close/>
                      <a:moveTo>
                        <a:pt x="992" y="884"/>
                      </a:moveTo>
                      <a:lnTo>
                        <a:pt x="992" y="888"/>
                      </a:lnTo>
                      <a:lnTo>
                        <a:pt x="988" y="888"/>
                      </a:lnTo>
                      <a:lnTo>
                        <a:pt x="992" y="884"/>
                      </a:lnTo>
                      <a:lnTo>
                        <a:pt x="992" y="884"/>
                      </a:lnTo>
                      <a:lnTo>
                        <a:pt x="992" y="884"/>
                      </a:lnTo>
                      <a:close/>
                      <a:moveTo>
                        <a:pt x="1132" y="914"/>
                      </a:moveTo>
                      <a:lnTo>
                        <a:pt x="1132" y="918"/>
                      </a:lnTo>
                      <a:lnTo>
                        <a:pt x="1130" y="918"/>
                      </a:lnTo>
                      <a:lnTo>
                        <a:pt x="1130" y="914"/>
                      </a:lnTo>
                      <a:lnTo>
                        <a:pt x="1132" y="914"/>
                      </a:lnTo>
                      <a:lnTo>
                        <a:pt x="1132" y="914"/>
                      </a:lnTo>
                      <a:lnTo>
                        <a:pt x="1132" y="914"/>
                      </a:lnTo>
                      <a:close/>
                      <a:moveTo>
                        <a:pt x="1052" y="930"/>
                      </a:moveTo>
                      <a:lnTo>
                        <a:pt x="1052" y="934"/>
                      </a:lnTo>
                      <a:lnTo>
                        <a:pt x="1048" y="934"/>
                      </a:lnTo>
                      <a:lnTo>
                        <a:pt x="1048" y="930"/>
                      </a:lnTo>
                      <a:lnTo>
                        <a:pt x="1052" y="930"/>
                      </a:lnTo>
                      <a:lnTo>
                        <a:pt x="1052" y="930"/>
                      </a:lnTo>
                      <a:lnTo>
                        <a:pt x="1052" y="930"/>
                      </a:lnTo>
                      <a:close/>
                      <a:moveTo>
                        <a:pt x="820" y="78"/>
                      </a:moveTo>
                      <a:lnTo>
                        <a:pt x="816" y="78"/>
                      </a:lnTo>
                      <a:lnTo>
                        <a:pt x="816" y="76"/>
                      </a:lnTo>
                      <a:lnTo>
                        <a:pt x="820" y="76"/>
                      </a:lnTo>
                      <a:lnTo>
                        <a:pt x="824" y="76"/>
                      </a:lnTo>
                      <a:lnTo>
                        <a:pt x="828" y="76"/>
                      </a:lnTo>
                      <a:lnTo>
                        <a:pt x="828" y="72"/>
                      </a:lnTo>
                      <a:lnTo>
                        <a:pt x="832" y="72"/>
                      </a:lnTo>
                      <a:lnTo>
                        <a:pt x="834" y="72"/>
                      </a:lnTo>
                      <a:lnTo>
                        <a:pt x="838" y="72"/>
                      </a:lnTo>
                      <a:lnTo>
                        <a:pt x="834" y="68"/>
                      </a:lnTo>
                      <a:lnTo>
                        <a:pt x="834" y="72"/>
                      </a:lnTo>
                      <a:lnTo>
                        <a:pt x="832" y="72"/>
                      </a:lnTo>
                      <a:lnTo>
                        <a:pt x="828" y="72"/>
                      </a:lnTo>
                      <a:lnTo>
                        <a:pt x="820" y="72"/>
                      </a:lnTo>
                      <a:lnTo>
                        <a:pt x="816" y="76"/>
                      </a:lnTo>
                      <a:lnTo>
                        <a:pt x="812" y="76"/>
                      </a:lnTo>
                      <a:lnTo>
                        <a:pt x="812" y="72"/>
                      </a:lnTo>
                      <a:lnTo>
                        <a:pt x="816" y="72"/>
                      </a:lnTo>
                      <a:lnTo>
                        <a:pt x="820" y="72"/>
                      </a:lnTo>
                      <a:lnTo>
                        <a:pt x="816" y="68"/>
                      </a:lnTo>
                      <a:lnTo>
                        <a:pt x="816" y="72"/>
                      </a:lnTo>
                      <a:lnTo>
                        <a:pt x="812" y="72"/>
                      </a:lnTo>
                      <a:lnTo>
                        <a:pt x="808" y="72"/>
                      </a:lnTo>
                      <a:lnTo>
                        <a:pt x="808" y="76"/>
                      </a:lnTo>
                      <a:lnTo>
                        <a:pt x="808" y="78"/>
                      </a:lnTo>
                      <a:lnTo>
                        <a:pt x="806" y="78"/>
                      </a:lnTo>
                      <a:lnTo>
                        <a:pt x="802" y="78"/>
                      </a:lnTo>
                      <a:lnTo>
                        <a:pt x="798" y="78"/>
                      </a:lnTo>
                      <a:lnTo>
                        <a:pt x="794" y="78"/>
                      </a:lnTo>
                      <a:lnTo>
                        <a:pt x="790" y="78"/>
                      </a:lnTo>
                      <a:lnTo>
                        <a:pt x="786" y="78"/>
                      </a:lnTo>
                      <a:lnTo>
                        <a:pt x="782" y="78"/>
                      </a:lnTo>
                      <a:lnTo>
                        <a:pt x="778" y="78"/>
                      </a:lnTo>
                      <a:lnTo>
                        <a:pt x="782" y="76"/>
                      </a:lnTo>
                      <a:lnTo>
                        <a:pt x="778" y="76"/>
                      </a:lnTo>
                      <a:lnTo>
                        <a:pt x="778" y="78"/>
                      </a:lnTo>
                      <a:lnTo>
                        <a:pt x="776" y="78"/>
                      </a:lnTo>
                      <a:lnTo>
                        <a:pt x="772" y="78"/>
                      </a:lnTo>
                      <a:lnTo>
                        <a:pt x="768" y="76"/>
                      </a:lnTo>
                      <a:lnTo>
                        <a:pt x="772" y="72"/>
                      </a:lnTo>
                      <a:lnTo>
                        <a:pt x="776" y="72"/>
                      </a:lnTo>
                      <a:lnTo>
                        <a:pt x="776" y="68"/>
                      </a:lnTo>
                      <a:lnTo>
                        <a:pt x="778" y="68"/>
                      </a:lnTo>
                      <a:lnTo>
                        <a:pt x="782" y="68"/>
                      </a:lnTo>
                      <a:lnTo>
                        <a:pt x="782" y="64"/>
                      </a:lnTo>
                      <a:lnTo>
                        <a:pt x="790" y="64"/>
                      </a:lnTo>
                      <a:lnTo>
                        <a:pt x="794" y="64"/>
                      </a:lnTo>
                      <a:lnTo>
                        <a:pt x="802" y="64"/>
                      </a:lnTo>
                      <a:lnTo>
                        <a:pt x="806" y="64"/>
                      </a:lnTo>
                      <a:lnTo>
                        <a:pt x="808" y="64"/>
                      </a:lnTo>
                      <a:lnTo>
                        <a:pt x="812" y="60"/>
                      </a:lnTo>
                      <a:lnTo>
                        <a:pt x="816" y="60"/>
                      </a:lnTo>
                      <a:lnTo>
                        <a:pt x="820" y="60"/>
                      </a:lnTo>
                      <a:lnTo>
                        <a:pt x="824" y="60"/>
                      </a:lnTo>
                      <a:lnTo>
                        <a:pt x="828" y="60"/>
                      </a:lnTo>
                      <a:lnTo>
                        <a:pt x="824" y="60"/>
                      </a:lnTo>
                      <a:lnTo>
                        <a:pt x="820" y="60"/>
                      </a:lnTo>
                      <a:lnTo>
                        <a:pt x="816" y="60"/>
                      </a:lnTo>
                      <a:lnTo>
                        <a:pt x="812" y="60"/>
                      </a:lnTo>
                      <a:lnTo>
                        <a:pt x="808" y="60"/>
                      </a:lnTo>
                      <a:lnTo>
                        <a:pt x="806" y="60"/>
                      </a:lnTo>
                      <a:lnTo>
                        <a:pt x="802" y="60"/>
                      </a:lnTo>
                      <a:lnTo>
                        <a:pt x="798" y="60"/>
                      </a:lnTo>
                      <a:lnTo>
                        <a:pt x="794" y="64"/>
                      </a:lnTo>
                      <a:lnTo>
                        <a:pt x="790" y="64"/>
                      </a:lnTo>
                      <a:lnTo>
                        <a:pt x="786" y="64"/>
                      </a:lnTo>
                      <a:lnTo>
                        <a:pt x="782" y="64"/>
                      </a:lnTo>
                      <a:lnTo>
                        <a:pt x="778" y="64"/>
                      </a:lnTo>
                      <a:lnTo>
                        <a:pt x="776" y="64"/>
                      </a:lnTo>
                      <a:lnTo>
                        <a:pt x="772" y="68"/>
                      </a:lnTo>
                      <a:lnTo>
                        <a:pt x="764" y="72"/>
                      </a:lnTo>
                      <a:lnTo>
                        <a:pt x="760" y="76"/>
                      </a:lnTo>
                      <a:lnTo>
                        <a:pt x="756" y="76"/>
                      </a:lnTo>
                      <a:lnTo>
                        <a:pt x="752" y="76"/>
                      </a:lnTo>
                      <a:lnTo>
                        <a:pt x="748" y="76"/>
                      </a:lnTo>
                      <a:lnTo>
                        <a:pt x="746" y="76"/>
                      </a:lnTo>
                      <a:lnTo>
                        <a:pt x="746" y="72"/>
                      </a:lnTo>
                      <a:lnTo>
                        <a:pt x="742" y="72"/>
                      </a:lnTo>
                      <a:lnTo>
                        <a:pt x="738" y="72"/>
                      </a:lnTo>
                      <a:lnTo>
                        <a:pt x="734" y="72"/>
                      </a:lnTo>
                      <a:lnTo>
                        <a:pt x="732" y="68"/>
                      </a:lnTo>
                      <a:lnTo>
                        <a:pt x="734" y="68"/>
                      </a:lnTo>
                      <a:lnTo>
                        <a:pt x="738" y="64"/>
                      </a:lnTo>
                      <a:lnTo>
                        <a:pt x="742" y="64"/>
                      </a:lnTo>
                      <a:lnTo>
                        <a:pt x="746" y="64"/>
                      </a:lnTo>
                      <a:lnTo>
                        <a:pt x="748" y="64"/>
                      </a:lnTo>
                      <a:lnTo>
                        <a:pt x="752" y="64"/>
                      </a:lnTo>
                      <a:lnTo>
                        <a:pt x="756" y="64"/>
                      </a:lnTo>
                      <a:lnTo>
                        <a:pt x="760" y="64"/>
                      </a:lnTo>
                      <a:lnTo>
                        <a:pt x="764" y="64"/>
                      </a:lnTo>
                      <a:lnTo>
                        <a:pt x="768" y="64"/>
                      </a:lnTo>
                      <a:lnTo>
                        <a:pt x="772" y="64"/>
                      </a:lnTo>
                      <a:lnTo>
                        <a:pt x="776" y="64"/>
                      </a:lnTo>
                      <a:lnTo>
                        <a:pt x="778" y="60"/>
                      </a:lnTo>
                      <a:lnTo>
                        <a:pt x="782" y="60"/>
                      </a:lnTo>
                      <a:lnTo>
                        <a:pt x="786" y="60"/>
                      </a:lnTo>
                      <a:lnTo>
                        <a:pt x="786" y="56"/>
                      </a:lnTo>
                      <a:lnTo>
                        <a:pt x="790" y="56"/>
                      </a:lnTo>
                      <a:lnTo>
                        <a:pt x="794" y="56"/>
                      </a:lnTo>
                      <a:lnTo>
                        <a:pt x="790" y="56"/>
                      </a:lnTo>
                      <a:lnTo>
                        <a:pt x="786" y="56"/>
                      </a:lnTo>
                      <a:lnTo>
                        <a:pt x="782" y="56"/>
                      </a:lnTo>
                      <a:lnTo>
                        <a:pt x="778" y="56"/>
                      </a:lnTo>
                      <a:lnTo>
                        <a:pt x="776" y="60"/>
                      </a:lnTo>
                      <a:lnTo>
                        <a:pt x="772" y="60"/>
                      </a:lnTo>
                      <a:lnTo>
                        <a:pt x="768" y="60"/>
                      </a:lnTo>
                      <a:lnTo>
                        <a:pt x="764" y="60"/>
                      </a:lnTo>
                      <a:lnTo>
                        <a:pt x="760" y="60"/>
                      </a:lnTo>
                      <a:lnTo>
                        <a:pt x="760" y="64"/>
                      </a:lnTo>
                      <a:lnTo>
                        <a:pt x="752" y="64"/>
                      </a:lnTo>
                      <a:lnTo>
                        <a:pt x="748" y="64"/>
                      </a:lnTo>
                      <a:lnTo>
                        <a:pt x="746" y="64"/>
                      </a:lnTo>
                      <a:lnTo>
                        <a:pt x="742" y="64"/>
                      </a:lnTo>
                      <a:lnTo>
                        <a:pt x="738" y="64"/>
                      </a:lnTo>
                      <a:lnTo>
                        <a:pt x="734" y="64"/>
                      </a:lnTo>
                      <a:lnTo>
                        <a:pt x="732" y="64"/>
                      </a:lnTo>
                      <a:lnTo>
                        <a:pt x="728" y="64"/>
                      </a:lnTo>
                      <a:lnTo>
                        <a:pt x="724" y="64"/>
                      </a:lnTo>
                      <a:lnTo>
                        <a:pt x="720" y="64"/>
                      </a:lnTo>
                      <a:lnTo>
                        <a:pt x="716" y="60"/>
                      </a:lnTo>
                      <a:lnTo>
                        <a:pt x="720" y="56"/>
                      </a:lnTo>
                      <a:lnTo>
                        <a:pt x="724" y="56"/>
                      </a:lnTo>
                      <a:lnTo>
                        <a:pt x="728" y="56"/>
                      </a:lnTo>
                      <a:lnTo>
                        <a:pt x="728" y="60"/>
                      </a:lnTo>
                      <a:lnTo>
                        <a:pt x="732" y="60"/>
                      </a:lnTo>
                      <a:lnTo>
                        <a:pt x="732" y="56"/>
                      </a:lnTo>
                      <a:lnTo>
                        <a:pt x="734" y="56"/>
                      </a:lnTo>
                      <a:lnTo>
                        <a:pt x="732" y="56"/>
                      </a:lnTo>
                      <a:lnTo>
                        <a:pt x="728" y="56"/>
                      </a:lnTo>
                      <a:lnTo>
                        <a:pt x="724" y="56"/>
                      </a:lnTo>
                      <a:lnTo>
                        <a:pt x="724" y="52"/>
                      </a:lnTo>
                      <a:lnTo>
                        <a:pt x="728" y="52"/>
                      </a:lnTo>
                      <a:lnTo>
                        <a:pt x="732" y="52"/>
                      </a:lnTo>
                      <a:lnTo>
                        <a:pt x="734" y="52"/>
                      </a:lnTo>
                      <a:lnTo>
                        <a:pt x="738" y="50"/>
                      </a:lnTo>
                      <a:lnTo>
                        <a:pt x="742" y="50"/>
                      </a:lnTo>
                      <a:lnTo>
                        <a:pt x="746" y="50"/>
                      </a:lnTo>
                      <a:lnTo>
                        <a:pt x="748" y="50"/>
                      </a:lnTo>
                      <a:lnTo>
                        <a:pt x="752" y="50"/>
                      </a:lnTo>
                      <a:lnTo>
                        <a:pt x="756" y="50"/>
                      </a:lnTo>
                      <a:lnTo>
                        <a:pt x="760" y="50"/>
                      </a:lnTo>
                      <a:lnTo>
                        <a:pt x="756" y="50"/>
                      </a:lnTo>
                      <a:lnTo>
                        <a:pt x="752" y="50"/>
                      </a:lnTo>
                      <a:lnTo>
                        <a:pt x="748" y="50"/>
                      </a:lnTo>
                      <a:lnTo>
                        <a:pt x="746" y="50"/>
                      </a:lnTo>
                      <a:lnTo>
                        <a:pt x="742" y="50"/>
                      </a:lnTo>
                      <a:lnTo>
                        <a:pt x="738" y="50"/>
                      </a:lnTo>
                      <a:lnTo>
                        <a:pt x="734" y="50"/>
                      </a:lnTo>
                      <a:lnTo>
                        <a:pt x="732" y="50"/>
                      </a:lnTo>
                      <a:lnTo>
                        <a:pt x="728" y="50"/>
                      </a:lnTo>
                      <a:lnTo>
                        <a:pt x="728" y="52"/>
                      </a:lnTo>
                      <a:lnTo>
                        <a:pt x="720" y="52"/>
                      </a:lnTo>
                      <a:lnTo>
                        <a:pt x="716" y="52"/>
                      </a:lnTo>
                      <a:lnTo>
                        <a:pt x="712" y="52"/>
                      </a:lnTo>
                      <a:lnTo>
                        <a:pt x="716" y="52"/>
                      </a:lnTo>
                      <a:lnTo>
                        <a:pt x="712" y="52"/>
                      </a:lnTo>
                      <a:lnTo>
                        <a:pt x="708" y="52"/>
                      </a:lnTo>
                      <a:lnTo>
                        <a:pt x="708" y="50"/>
                      </a:lnTo>
                      <a:lnTo>
                        <a:pt x="712" y="50"/>
                      </a:lnTo>
                      <a:lnTo>
                        <a:pt x="716" y="50"/>
                      </a:lnTo>
                      <a:lnTo>
                        <a:pt x="720" y="50"/>
                      </a:lnTo>
                      <a:lnTo>
                        <a:pt x="724" y="46"/>
                      </a:lnTo>
                      <a:lnTo>
                        <a:pt x="728" y="46"/>
                      </a:lnTo>
                      <a:lnTo>
                        <a:pt x="724" y="46"/>
                      </a:lnTo>
                      <a:lnTo>
                        <a:pt x="720" y="46"/>
                      </a:lnTo>
                      <a:lnTo>
                        <a:pt x="716" y="46"/>
                      </a:lnTo>
                      <a:lnTo>
                        <a:pt x="712" y="46"/>
                      </a:lnTo>
                      <a:lnTo>
                        <a:pt x="708" y="46"/>
                      </a:lnTo>
                      <a:lnTo>
                        <a:pt x="708" y="50"/>
                      </a:lnTo>
                      <a:lnTo>
                        <a:pt x="706" y="50"/>
                      </a:lnTo>
                      <a:lnTo>
                        <a:pt x="702" y="50"/>
                      </a:lnTo>
                      <a:lnTo>
                        <a:pt x="702" y="46"/>
                      </a:lnTo>
                      <a:lnTo>
                        <a:pt x="698" y="46"/>
                      </a:lnTo>
                      <a:lnTo>
                        <a:pt x="694" y="46"/>
                      </a:lnTo>
                      <a:lnTo>
                        <a:pt x="698" y="46"/>
                      </a:lnTo>
                      <a:lnTo>
                        <a:pt x="698" y="42"/>
                      </a:lnTo>
                      <a:lnTo>
                        <a:pt x="702" y="42"/>
                      </a:lnTo>
                      <a:lnTo>
                        <a:pt x="706" y="42"/>
                      </a:lnTo>
                      <a:lnTo>
                        <a:pt x="708" y="42"/>
                      </a:lnTo>
                      <a:lnTo>
                        <a:pt x="708" y="38"/>
                      </a:lnTo>
                      <a:lnTo>
                        <a:pt x="712" y="38"/>
                      </a:lnTo>
                      <a:lnTo>
                        <a:pt x="716" y="38"/>
                      </a:lnTo>
                      <a:lnTo>
                        <a:pt x="720" y="38"/>
                      </a:lnTo>
                      <a:lnTo>
                        <a:pt x="724" y="38"/>
                      </a:lnTo>
                      <a:lnTo>
                        <a:pt x="728" y="38"/>
                      </a:lnTo>
                      <a:lnTo>
                        <a:pt x="732" y="42"/>
                      </a:lnTo>
                      <a:lnTo>
                        <a:pt x="732" y="38"/>
                      </a:lnTo>
                      <a:lnTo>
                        <a:pt x="734" y="38"/>
                      </a:lnTo>
                      <a:lnTo>
                        <a:pt x="734" y="34"/>
                      </a:lnTo>
                      <a:lnTo>
                        <a:pt x="738" y="34"/>
                      </a:lnTo>
                      <a:lnTo>
                        <a:pt x="742" y="34"/>
                      </a:lnTo>
                      <a:lnTo>
                        <a:pt x="746" y="34"/>
                      </a:lnTo>
                      <a:lnTo>
                        <a:pt x="748" y="30"/>
                      </a:lnTo>
                      <a:lnTo>
                        <a:pt x="752" y="34"/>
                      </a:lnTo>
                      <a:lnTo>
                        <a:pt x="752" y="30"/>
                      </a:lnTo>
                      <a:lnTo>
                        <a:pt x="756" y="30"/>
                      </a:lnTo>
                      <a:lnTo>
                        <a:pt x="756" y="34"/>
                      </a:lnTo>
                      <a:lnTo>
                        <a:pt x="760" y="34"/>
                      </a:lnTo>
                      <a:lnTo>
                        <a:pt x="760" y="38"/>
                      </a:lnTo>
                      <a:lnTo>
                        <a:pt x="764" y="38"/>
                      </a:lnTo>
                      <a:lnTo>
                        <a:pt x="768" y="38"/>
                      </a:lnTo>
                      <a:lnTo>
                        <a:pt x="764" y="38"/>
                      </a:lnTo>
                      <a:lnTo>
                        <a:pt x="760" y="38"/>
                      </a:lnTo>
                      <a:lnTo>
                        <a:pt x="760" y="34"/>
                      </a:lnTo>
                      <a:lnTo>
                        <a:pt x="764" y="34"/>
                      </a:lnTo>
                      <a:lnTo>
                        <a:pt x="768" y="34"/>
                      </a:lnTo>
                      <a:lnTo>
                        <a:pt x="772" y="34"/>
                      </a:lnTo>
                      <a:lnTo>
                        <a:pt x="776" y="34"/>
                      </a:lnTo>
                      <a:lnTo>
                        <a:pt x="778" y="34"/>
                      </a:lnTo>
                      <a:lnTo>
                        <a:pt x="782" y="34"/>
                      </a:lnTo>
                      <a:lnTo>
                        <a:pt x="782" y="38"/>
                      </a:lnTo>
                      <a:lnTo>
                        <a:pt x="786" y="38"/>
                      </a:lnTo>
                      <a:lnTo>
                        <a:pt x="782" y="38"/>
                      </a:lnTo>
                      <a:lnTo>
                        <a:pt x="782" y="34"/>
                      </a:lnTo>
                      <a:lnTo>
                        <a:pt x="786" y="34"/>
                      </a:lnTo>
                      <a:lnTo>
                        <a:pt x="790" y="34"/>
                      </a:lnTo>
                      <a:lnTo>
                        <a:pt x="790" y="38"/>
                      </a:lnTo>
                      <a:lnTo>
                        <a:pt x="794" y="38"/>
                      </a:lnTo>
                      <a:lnTo>
                        <a:pt x="790" y="38"/>
                      </a:lnTo>
                      <a:lnTo>
                        <a:pt x="790" y="34"/>
                      </a:lnTo>
                      <a:lnTo>
                        <a:pt x="794" y="34"/>
                      </a:lnTo>
                      <a:lnTo>
                        <a:pt x="794" y="38"/>
                      </a:lnTo>
                      <a:lnTo>
                        <a:pt x="798" y="38"/>
                      </a:lnTo>
                      <a:lnTo>
                        <a:pt x="794" y="34"/>
                      </a:lnTo>
                      <a:lnTo>
                        <a:pt x="790" y="34"/>
                      </a:lnTo>
                      <a:lnTo>
                        <a:pt x="786" y="34"/>
                      </a:lnTo>
                      <a:lnTo>
                        <a:pt x="782" y="34"/>
                      </a:lnTo>
                      <a:lnTo>
                        <a:pt x="778" y="34"/>
                      </a:lnTo>
                      <a:lnTo>
                        <a:pt x="778" y="30"/>
                      </a:lnTo>
                      <a:lnTo>
                        <a:pt x="776" y="30"/>
                      </a:lnTo>
                      <a:lnTo>
                        <a:pt x="772" y="30"/>
                      </a:lnTo>
                      <a:lnTo>
                        <a:pt x="768" y="30"/>
                      </a:lnTo>
                      <a:lnTo>
                        <a:pt x="764" y="30"/>
                      </a:lnTo>
                      <a:lnTo>
                        <a:pt x="764" y="26"/>
                      </a:lnTo>
                      <a:lnTo>
                        <a:pt x="768" y="26"/>
                      </a:lnTo>
                      <a:lnTo>
                        <a:pt x="772" y="26"/>
                      </a:lnTo>
                      <a:lnTo>
                        <a:pt x="776" y="26"/>
                      </a:lnTo>
                      <a:lnTo>
                        <a:pt x="778" y="26"/>
                      </a:lnTo>
                      <a:lnTo>
                        <a:pt x="782" y="26"/>
                      </a:lnTo>
                      <a:lnTo>
                        <a:pt x="786" y="26"/>
                      </a:lnTo>
                      <a:lnTo>
                        <a:pt x="782" y="22"/>
                      </a:lnTo>
                      <a:lnTo>
                        <a:pt x="786" y="22"/>
                      </a:lnTo>
                      <a:lnTo>
                        <a:pt x="782" y="22"/>
                      </a:lnTo>
                      <a:lnTo>
                        <a:pt x="778" y="22"/>
                      </a:lnTo>
                      <a:lnTo>
                        <a:pt x="778" y="20"/>
                      </a:lnTo>
                      <a:lnTo>
                        <a:pt x="782" y="20"/>
                      </a:lnTo>
                      <a:lnTo>
                        <a:pt x="786" y="20"/>
                      </a:lnTo>
                      <a:lnTo>
                        <a:pt x="790" y="20"/>
                      </a:lnTo>
                      <a:lnTo>
                        <a:pt x="798" y="20"/>
                      </a:lnTo>
                      <a:lnTo>
                        <a:pt x="798" y="22"/>
                      </a:lnTo>
                      <a:lnTo>
                        <a:pt x="794" y="22"/>
                      </a:lnTo>
                      <a:lnTo>
                        <a:pt x="798" y="22"/>
                      </a:lnTo>
                      <a:lnTo>
                        <a:pt x="802" y="22"/>
                      </a:lnTo>
                      <a:lnTo>
                        <a:pt x="806" y="22"/>
                      </a:lnTo>
                      <a:lnTo>
                        <a:pt x="808" y="22"/>
                      </a:lnTo>
                      <a:lnTo>
                        <a:pt x="812" y="26"/>
                      </a:lnTo>
                      <a:lnTo>
                        <a:pt x="816" y="26"/>
                      </a:lnTo>
                      <a:lnTo>
                        <a:pt x="816" y="30"/>
                      </a:lnTo>
                      <a:lnTo>
                        <a:pt x="820" y="30"/>
                      </a:lnTo>
                      <a:lnTo>
                        <a:pt x="820" y="34"/>
                      </a:lnTo>
                      <a:lnTo>
                        <a:pt x="824" y="34"/>
                      </a:lnTo>
                      <a:lnTo>
                        <a:pt x="828" y="34"/>
                      </a:lnTo>
                      <a:lnTo>
                        <a:pt x="832" y="34"/>
                      </a:lnTo>
                      <a:lnTo>
                        <a:pt x="834" y="34"/>
                      </a:lnTo>
                      <a:lnTo>
                        <a:pt x="832" y="34"/>
                      </a:lnTo>
                      <a:lnTo>
                        <a:pt x="828" y="30"/>
                      </a:lnTo>
                      <a:lnTo>
                        <a:pt x="824" y="30"/>
                      </a:lnTo>
                      <a:lnTo>
                        <a:pt x="820" y="30"/>
                      </a:lnTo>
                      <a:lnTo>
                        <a:pt x="820" y="26"/>
                      </a:lnTo>
                      <a:lnTo>
                        <a:pt x="824" y="26"/>
                      </a:lnTo>
                      <a:lnTo>
                        <a:pt x="828" y="26"/>
                      </a:lnTo>
                      <a:lnTo>
                        <a:pt x="832" y="26"/>
                      </a:lnTo>
                      <a:lnTo>
                        <a:pt x="832" y="30"/>
                      </a:lnTo>
                      <a:lnTo>
                        <a:pt x="834" y="30"/>
                      </a:lnTo>
                      <a:lnTo>
                        <a:pt x="838" y="30"/>
                      </a:lnTo>
                      <a:lnTo>
                        <a:pt x="842" y="30"/>
                      </a:lnTo>
                      <a:lnTo>
                        <a:pt x="846" y="34"/>
                      </a:lnTo>
                      <a:lnTo>
                        <a:pt x="850" y="34"/>
                      </a:lnTo>
                      <a:lnTo>
                        <a:pt x="854" y="34"/>
                      </a:lnTo>
                      <a:lnTo>
                        <a:pt x="858" y="34"/>
                      </a:lnTo>
                      <a:lnTo>
                        <a:pt x="862" y="34"/>
                      </a:lnTo>
                      <a:lnTo>
                        <a:pt x="864" y="38"/>
                      </a:lnTo>
                      <a:lnTo>
                        <a:pt x="868" y="38"/>
                      </a:lnTo>
                      <a:lnTo>
                        <a:pt x="868" y="42"/>
                      </a:lnTo>
                      <a:lnTo>
                        <a:pt x="872" y="42"/>
                      </a:lnTo>
                      <a:lnTo>
                        <a:pt x="868" y="38"/>
                      </a:lnTo>
                      <a:lnTo>
                        <a:pt x="864" y="34"/>
                      </a:lnTo>
                      <a:lnTo>
                        <a:pt x="862" y="34"/>
                      </a:lnTo>
                      <a:lnTo>
                        <a:pt x="858" y="34"/>
                      </a:lnTo>
                      <a:lnTo>
                        <a:pt x="854" y="34"/>
                      </a:lnTo>
                      <a:lnTo>
                        <a:pt x="850" y="34"/>
                      </a:lnTo>
                      <a:lnTo>
                        <a:pt x="850" y="30"/>
                      </a:lnTo>
                      <a:lnTo>
                        <a:pt x="846" y="30"/>
                      </a:lnTo>
                      <a:lnTo>
                        <a:pt x="842" y="30"/>
                      </a:lnTo>
                      <a:lnTo>
                        <a:pt x="838" y="26"/>
                      </a:lnTo>
                      <a:lnTo>
                        <a:pt x="834" y="26"/>
                      </a:lnTo>
                      <a:lnTo>
                        <a:pt x="832" y="26"/>
                      </a:lnTo>
                      <a:lnTo>
                        <a:pt x="828" y="26"/>
                      </a:lnTo>
                      <a:lnTo>
                        <a:pt x="828" y="22"/>
                      </a:lnTo>
                      <a:lnTo>
                        <a:pt x="824" y="22"/>
                      </a:lnTo>
                      <a:lnTo>
                        <a:pt x="828" y="20"/>
                      </a:lnTo>
                      <a:lnTo>
                        <a:pt x="832" y="20"/>
                      </a:lnTo>
                      <a:lnTo>
                        <a:pt x="838" y="20"/>
                      </a:lnTo>
                      <a:lnTo>
                        <a:pt x="842" y="20"/>
                      </a:lnTo>
                      <a:lnTo>
                        <a:pt x="838" y="20"/>
                      </a:lnTo>
                      <a:lnTo>
                        <a:pt x="834" y="20"/>
                      </a:lnTo>
                      <a:lnTo>
                        <a:pt x="832" y="20"/>
                      </a:lnTo>
                      <a:lnTo>
                        <a:pt x="832" y="16"/>
                      </a:lnTo>
                      <a:lnTo>
                        <a:pt x="828" y="16"/>
                      </a:lnTo>
                      <a:lnTo>
                        <a:pt x="832" y="16"/>
                      </a:lnTo>
                      <a:lnTo>
                        <a:pt x="834" y="16"/>
                      </a:lnTo>
                      <a:lnTo>
                        <a:pt x="842" y="16"/>
                      </a:lnTo>
                      <a:lnTo>
                        <a:pt x="846" y="20"/>
                      </a:lnTo>
                      <a:lnTo>
                        <a:pt x="850" y="20"/>
                      </a:lnTo>
                      <a:lnTo>
                        <a:pt x="854" y="20"/>
                      </a:lnTo>
                      <a:lnTo>
                        <a:pt x="850" y="16"/>
                      </a:lnTo>
                      <a:lnTo>
                        <a:pt x="846" y="16"/>
                      </a:lnTo>
                      <a:lnTo>
                        <a:pt x="846" y="12"/>
                      </a:lnTo>
                      <a:lnTo>
                        <a:pt x="842" y="12"/>
                      </a:lnTo>
                      <a:lnTo>
                        <a:pt x="838" y="12"/>
                      </a:lnTo>
                      <a:lnTo>
                        <a:pt x="842" y="12"/>
                      </a:lnTo>
                      <a:lnTo>
                        <a:pt x="842" y="8"/>
                      </a:lnTo>
                      <a:lnTo>
                        <a:pt x="850" y="12"/>
                      </a:lnTo>
                      <a:lnTo>
                        <a:pt x="858" y="12"/>
                      </a:lnTo>
                      <a:lnTo>
                        <a:pt x="862" y="12"/>
                      </a:lnTo>
                      <a:lnTo>
                        <a:pt x="862" y="16"/>
                      </a:lnTo>
                      <a:lnTo>
                        <a:pt x="864" y="16"/>
                      </a:lnTo>
                      <a:lnTo>
                        <a:pt x="864" y="12"/>
                      </a:lnTo>
                      <a:lnTo>
                        <a:pt x="868" y="16"/>
                      </a:lnTo>
                      <a:lnTo>
                        <a:pt x="872" y="16"/>
                      </a:lnTo>
                      <a:lnTo>
                        <a:pt x="876" y="16"/>
                      </a:lnTo>
                      <a:lnTo>
                        <a:pt x="880" y="16"/>
                      </a:lnTo>
                      <a:lnTo>
                        <a:pt x="884" y="16"/>
                      </a:lnTo>
                      <a:lnTo>
                        <a:pt x="880" y="16"/>
                      </a:lnTo>
                      <a:lnTo>
                        <a:pt x="876" y="16"/>
                      </a:lnTo>
                      <a:lnTo>
                        <a:pt x="872" y="16"/>
                      </a:lnTo>
                      <a:lnTo>
                        <a:pt x="872" y="12"/>
                      </a:lnTo>
                      <a:lnTo>
                        <a:pt x="868" y="12"/>
                      </a:lnTo>
                      <a:lnTo>
                        <a:pt x="864" y="12"/>
                      </a:lnTo>
                      <a:lnTo>
                        <a:pt x="862" y="12"/>
                      </a:lnTo>
                      <a:lnTo>
                        <a:pt x="864" y="12"/>
                      </a:lnTo>
                      <a:lnTo>
                        <a:pt x="868" y="12"/>
                      </a:lnTo>
                      <a:lnTo>
                        <a:pt x="864" y="8"/>
                      </a:lnTo>
                      <a:lnTo>
                        <a:pt x="862" y="8"/>
                      </a:lnTo>
                      <a:lnTo>
                        <a:pt x="858" y="8"/>
                      </a:lnTo>
                      <a:lnTo>
                        <a:pt x="862" y="8"/>
                      </a:lnTo>
                      <a:lnTo>
                        <a:pt x="864" y="4"/>
                      </a:lnTo>
                      <a:lnTo>
                        <a:pt x="868" y="4"/>
                      </a:lnTo>
                      <a:lnTo>
                        <a:pt x="872" y="4"/>
                      </a:lnTo>
                      <a:lnTo>
                        <a:pt x="876" y="4"/>
                      </a:lnTo>
                      <a:lnTo>
                        <a:pt x="876" y="8"/>
                      </a:lnTo>
                      <a:lnTo>
                        <a:pt x="880" y="8"/>
                      </a:lnTo>
                      <a:lnTo>
                        <a:pt x="884" y="8"/>
                      </a:lnTo>
                      <a:lnTo>
                        <a:pt x="888" y="8"/>
                      </a:lnTo>
                      <a:lnTo>
                        <a:pt x="888" y="12"/>
                      </a:lnTo>
                      <a:lnTo>
                        <a:pt x="890" y="8"/>
                      </a:lnTo>
                      <a:lnTo>
                        <a:pt x="888" y="8"/>
                      </a:lnTo>
                      <a:lnTo>
                        <a:pt x="890" y="8"/>
                      </a:lnTo>
                      <a:lnTo>
                        <a:pt x="894" y="8"/>
                      </a:lnTo>
                      <a:lnTo>
                        <a:pt x="898" y="8"/>
                      </a:lnTo>
                      <a:lnTo>
                        <a:pt x="902" y="8"/>
                      </a:lnTo>
                      <a:lnTo>
                        <a:pt x="906" y="12"/>
                      </a:lnTo>
                      <a:lnTo>
                        <a:pt x="910" y="12"/>
                      </a:lnTo>
                      <a:lnTo>
                        <a:pt x="910" y="16"/>
                      </a:lnTo>
                      <a:lnTo>
                        <a:pt x="914" y="16"/>
                      </a:lnTo>
                      <a:lnTo>
                        <a:pt x="918" y="16"/>
                      </a:lnTo>
                      <a:lnTo>
                        <a:pt x="920" y="16"/>
                      </a:lnTo>
                      <a:lnTo>
                        <a:pt x="920" y="20"/>
                      </a:lnTo>
                      <a:lnTo>
                        <a:pt x="918" y="20"/>
                      </a:lnTo>
                      <a:lnTo>
                        <a:pt x="918" y="22"/>
                      </a:lnTo>
                      <a:lnTo>
                        <a:pt x="918" y="20"/>
                      </a:lnTo>
                      <a:lnTo>
                        <a:pt x="920" y="20"/>
                      </a:lnTo>
                      <a:lnTo>
                        <a:pt x="924" y="16"/>
                      </a:lnTo>
                      <a:lnTo>
                        <a:pt x="928" y="16"/>
                      </a:lnTo>
                      <a:lnTo>
                        <a:pt x="924" y="16"/>
                      </a:lnTo>
                      <a:lnTo>
                        <a:pt x="920" y="16"/>
                      </a:lnTo>
                      <a:lnTo>
                        <a:pt x="918" y="16"/>
                      </a:lnTo>
                      <a:lnTo>
                        <a:pt x="918" y="12"/>
                      </a:lnTo>
                      <a:lnTo>
                        <a:pt x="914" y="12"/>
                      </a:lnTo>
                      <a:lnTo>
                        <a:pt x="918" y="12"/>
                      </a:lnTo>
                      <a:lnTo>
                        <a:pt x="920" y="12"/>
                      </a:lnTo>
                      <a:lnTo>
                        <a:pt x="918" y="12"/>
                      </a:lnTo>
                      <a:lnTo>
                        <a:pt x="914" y="12"/>
                      </a:lnTo>
                      <a:lnTo>
                        <a:pt x="910" y="8"/>
                      </a:lnTo>
                      <a:lnTo>
                        <a:pt x="906" y="8"/>
                      </a:lnTo>
                      <a:lnTo>
                        <a:pt x="902" y="8"/>
                      </a:lnTo>
                      <a:lnTo>
                        <a:pt x="898" y="4"/>
                      </a:lnTo>
                      <a:lnTo>
                        <a:pt x="902" y="4"/>
                      </a:lnTo>
                      <a:lnTo>
                        <a:pt x="906" y="4"/>
                      </a:lnTo>
                      <a:lnTo>
                        <a:pt x="910" y="4"/>
                      </a:lnTo>
                      <a:lnTo>
                        <a:pt x="914" y="4"/>
                      </a:lnTo>
                      <a:lnTo>
                        <a:pt x="918" y="4"/>
                      </a:lnTo>
                      <a:lnTo>
                        <a:pt x="920" y="4"/>
                      </a:lnTo>
                      <a:lnTo>
                        <a:pt x="924" y="4"/>
                      </a:lnTo>
                      <a:lnTo>
                        <a:pt x="928" y="4"/>
                      </a:lnTo>
                      <a:lnTo>
                        <a:pt x="932" y="4"/>
                      </a:lnTo>
                      <a:lnTo>
                        <a:pt x="936" y="4"/>
                      </a:lnTo>
                      <a:lnTo>
                        <a:pt x="940" y="4"/>
                      </a:lnTo>
                      <a:lnTo>
                        <a:pt x="944" y="4"/>
                      </a:lnTo>
                      <a:lnTo>
                        <a:pt x="948" y="4"/>
                      </a:lnTo>
                      <a:lnTo>
                        <a:pt x="950" y="8"/>
                      </a:lnTo>
                      <a:lnTo>
                        <a:pt x="954" y="12"/>
                      </a:lnTo>
                      <a:lnTo>
                        <a:pt x="958" y="12"/>
                      </a:lnTo>
                      <a:lnTo>
                        <a:pt x="962" y="12"/>
                      </a:lnTo>
                      <a:lnTo>
                        <a:pt x="966" y="12"/>
                      </a:lnTo>
                      <a:lnTo>
                        <a:pt x="966" y="16"/>
                      </a:lnTo>
                      <a:lnTo>
                        <a:pt x="970" y="12"/>
                      </a:lnTo>
                      <a:lnTo>
                        <a:pt x="966" y="12"/>
                      </a:lnTo>
                      <a:lnTo>
                        <a:pt x="962" y="12"/>
                      </a:lnTo>
                      <a:lnTo>
                        <a:pt x="958" y="12"/>
                      </a:lnTo>
                      <a:lnTo>
                        <a:pt x="954" y="8"/>
                      </a:lnTo>
                      <a:lnTo>
                        <a:pt x="958" y="4"/>
                      </a:lnTo>
                      <a:lnTo>
                        <a:pt x="962" y="4"/>
                      </a:lnTo>
                      <a:lnTo>
                        <a:pt x="966" y="0"/>
                      </a:lnTo>
                      <a:lnTo>
                        <a:pt x="970" y="0"/>
                      </a:lnTo>
                      <a:lnTo>
                        <a:pt x="974" y="0"/>
                      </a:lnTo>
                      <a:lnTo>
                        <a:pt x="976" y="0"/>
                      </a:lnTo>
                      <a:lnTo>
                        <a:pt x="980" y="0"/>
                      </a:lnTo>
                      <a:lnTo>
                        <a:pt x="980" y="4"/>
                      </a:lnTo>
                      <a:lnTo>
                        <a:pt x="980" y="8"/>
                      </a:lnTo>
                      <a:lnTo>
                        <a:pt x="984" y="8"/>
                      </a:lnTo>
                      <a:lnTo>
                        <a:pt x="988" y="8"/>
                      </a:lnTo>
                      <a:lnTo>
                        <a:pt x="992" y="8"/>
                      </a:lnTo>
                      <a:lnTo>
                        <a:pt x="988" y="8"/>
                      </a:lnTo>
                      <a:lnTo>
                        <a:pt x="984" y="4"/>
                      </a:lnTo>
                      <a:lnTo>
                        <a:pt x="988" y="0"/>
                      </a:lnTo>
                      <a:lnTo>
                        <a:pt x="992" y="0"/>
                      </a:lnTo>
                      <a:lnTo>
                        <a:pt x="996" y="0"/>
                      </a:lnTo>
                      <a:lnTo>
                        <a:pt x="1000" y="0"/>
                      </a:lnTo>
                      <a:lnTo>
                        <a:pt x="1004" y="0"/>
                      </a:lnTo>
                      <a:lnTo>
                        <a:pt x="1006" y="0"/>
                      </a:lnTo>
                      <a:lnTo>
                        <a:pt x="1010" y="0"/>
                      </a:lnTo>
                      <a:lnTo>
                        <a:pt x="1010" y="4"/>
                      </a:lnTo>
                      <a:lnTo>
                        <a:pt x="1006" y="4"/>
                      </a:lnTo>
                      <a:lnTo>
                        <a:pt x="1010" y="4"/>
                      </a:lnTo>
                      <a:lnTo>
                        <a:pt x="1014" y="4"/>
                      </a:lnTo>
                      <a:lnTo>
                        <a:pt x="1018" y="4"/>
                      </a:lnTo>
                      <a:lnTo>
                        <a:pt x="1022" y="4"/>
                      </a:lnTo>
                      <a:lnTo>
                        <a:pt x="1026" y="4"/>
                      </a:lnTo>
                      <a:lnTo>
                        <a:pt x="1030" y="4"/>
                      </a:lnTo>
                      <a:lnTo>
                        <a:pt x="1030" y="8"/>
                      </a:lnTo>
                      <a:lnTo>
                        <a:pt x="1032" y="8"/>
                      </a:lnTo>
                      <a:lnTo>
                        <a:pt x="1032" y="4"/>
                      </a:lnTo>
                      <a:lnTo>
                        <a:pt x="1036" y="4"/>
                      </a:lnTo>
                      <a:lnTo>
                        <a:pt x="1040" y="4"/>
                      </a:lnTo>
                      <a:lnTo>
                        <a:pt x="1040" y="8"/>
                      </a:lnTo>
                      <a:lnTo>
                        <a:pt x="1044" y="8"/>
                      </a:lnTo>
                      <a:lnTo>
                        <a:pt x="1044" y="4"/>
                      </a:lnTo>
                      <a:lnTo>
                        <a:pt x="1048" y="4"/>
                      </a:lnTo>
                      <a:lnTo>
                        <a:pt x="1048" y="8"/>
                      </a:lnTo>
                      <a:lnTo>
                        <a:pt x="1052" y="8"/>
                      </a:lnTo>
                      <a:lnTo>
                        <a:pt x="1056" y="8"/>
                      </a:lnTo>
                      <a:lnTo>
                        <a:pt x="1048" y="12"/>
                      </a:lnTo>
                      <a:lnTo>
                        <a:pt x="1044" y="12"/>
                      </a:lnTo>
                      <a:lnTo>
                        <a:pt x="1040" y="12"/>
                      </a:lnTo>
                      <a:lnTo>
                        <a:pt x="1036" y="12"/>
                      </a:lnTo>
                      <a:lnTo>
                        <a:pt x="1032" y="12"/>
                      </a:lnTo>
                      <a:lnTo>
                        <a:pt x="1032" y="16"/>
                      </a:lnTo>
                      <a:lnTo>
                        <a:pt x="1030" y="16"/>
                      </a:lnTo>
                      <a:lnTo>
                        <a:pt x="1026" y="16"/>
                      </a:lnTo>
                      <a:lnTo>
                        <a:pt x="1022" y="16"/>
                      </a:lnTo>
                      <a:lnTo>
                        <a:pt x="1026" y="16"/>
                      </a:lnTo>
                      <a:lnTo>
                        <a:pt x="1030" y="16"/>
                      </a:lnTo>
                      <a:lnTo>
                        <a:pt x="1032" y="16"/>
                      </a:lnTo>
                      <a:lnTo>
                        <a:pt x="1036" y="16"/>
                      </a:lnTo>
                      <a:lnTo>
                        <a:pt x="1040" y="16"/>
                      </a:lnTo>
                      <a:lnTo>
                        <a:pt x="1044" y="16"/>
                      </a:lnTo>
                      <a:lnTo>
                        <a:pt x="1048" y="12"/>
                      </a:lnTo>
                      <a:lnTo>
                        <a:pt x="1052" y="12"/>
                      </a:lnTo>
                      <a:lnTo>
                        <a:pt x="1060" y="12"/>
                      </a:lnTo>
                      <a:lnTo>
                        <a:pt x="1062" y="8"/>
                      </a:lnTo>
                      <a:lnTo>
                        <a:pt x="1066" y="8"/>
                      </a:lnTo>
                      <a:lnTo>
                        <a:pt x="1070" y="8"/>
                      </a:lnTo>
                      <a:lnTo>
                        <a:pt x="1066" y="12"/>
                      </a:lnTo>
                      <a:lnTo>
                        <a:pt x="1070" y="12"/>
                      </a:lnTo>
                      <a:lnTo>
                        <a:pt x="1074" y="12"/>
                      </a:lnTo>
                      <a:lnTo>
                        <a:pt x="1070" y="12"/>
                      </a:lnTo>
                      <a:lnTo>
                        <a:pt x="1070" y="8"/>
                      </a:lnTo>
                      <a:lnTo>
                        <a:pt x="1074" y="8"/>
                      </a:lnTo>
                      <a:lnTo>
                        <a:pt x="1070" y="8"/>
                      </a:lnTo>
                      <a:lnTo>
                        <a:pt x="1074" y="8"/>
                      </a:lnTo>
                      <a:lnTo>
                        <a:pt x="1076" y="8"/>
                      </a:lnTo>
                      <a:lnTo>
                        <a:pt x="1080" y="8"/>
                      </a:lnTo>
                      <a:lnTo>
                        <a:pt x="1076" y="8"/>
                      </a:lnTo>
                      <a:lnTo>
                        <a:pt x="1076" y="12"/>
                      </a:lnTo>
                      <a:lnTo>
                        <a:pt x="1080" y="12"/>
                      </a:lnTo>
                      <a:lnTo>
                        <a:pt x="1084" y="12"/>
                      </a:lnTo>
                      <a:lnTo>
                        <a:pt x="1088" y="8"/>
                      </a:lnTo>
                      <a:lnTo>
                        <a:pt x="1092" y="8"/>
                      </a:lnTo>
                      <a:lnTo>
                        <a:pt x="1096" y="8"/>
                      </a:lnTo>
                      <a:lnTo>
                        <a:pt x="1096" y="12"/>
                      </a:lnTo>
                      <a:lnTo>
                        <a:pt x="1092" y="12"/>
                      </a:lnTo>
                      <a:lnTo>
                        <a:pt x="1096" y="16"/>
                      </a:lnTo>
                      <a:lnTo>
                        <a:pt x="1100" y="16"/>
                      </a:lnTo>
                      <a:lnTo>
                        <a:pt x="1104" y="16"/>
                      </a:lnTo>
                      <a:lnTo>
                        <a:pt x="1104" y="20"/>
                      </a:lnTo>
                      <a:lnTo>
                        <a:pt x="1100" y="20"/>
                      </a:lnTo>
                      <a:lnTo>
                        <a:pt x="1100" y="22"/>
                      </a:lnTo>
                      <a:lnTo>
                        <a:pt x="1104" y="22"/>
                      </a:lnTo>
                      <a:lnTo>
                        <a:pt x="1104" y="20"/>
                      </a:lnTo>
                      <a:lnTo>
                        <a:pt x="1106" y="20"/>
                      </a:lnTo>
                      <a:lnTo>
                        <a:pt x="1110" y="20"/>
                      </a:lnTo>
                      <a:lnTo>
                        <a:pt x="1114" y="20"/>
                      </a:lnTo>
                      <a:lnTo>
                        <a:pt x="1110" y="20"/>
                      </a:lnTo>
                      <a:lnTo>
                        <a:pt x="1114" y="20"/>
                      </a:lnTo>
                      <a:lnTo>
                        <a:pt x="1118" y="20"/>
                      </a:lnTo>
                      <a:lnTo>
                        <a:pt x="1122" y="20"/>
                      </a:lnTo>
                      <a:lnTo>
                        <a:pt x="1126" y="20"/>
                      </a:lnTo>
                      <a:lnTo>
                        <a:pt x="1126" y="22"/>
                      </a:lnTo>
                      <a:lnTo>
                        <a:pt x="1130" y="22"/>
                      </a:lnTo>
                      <a:lnTo>
                        <a:pt x="1130" y="26"/>
                      </a:lnTo>
                      <a:lnTo>
                        <a:pt x="1126" y="30"/>
                      </a:lnTo>
                      <a:lnTo>
                        <a:pt x="1122" y="30"/>
                      </a:lnTo>
                      <a:lnTo>
                        <a:pt x="1118" y="30"/>
                      </a:lnTo>
                      <a:lnTo>
                        <a:pt x="1114" y="34"/>
                      </a:lnTo>
                      <a:lnTo>
                        <a:pt x="1110" y="34"/>
                      </a:lnTo>
                      <a:lnTo>
                        <a:pt x="1104" y="38"/>
                      </a:lnTo>
                      <a:lnTo>
                        <a:pt x="1100" y="38"/>
                      </a:lnTo>
                      <a:lnTo>
                        <a:pt x="1096" y="38"/>
                      </a:lnTo>
                      <a:lnTo>
                        <a:pt x="1092" y="38"/>
                      </a:lnTo>
                      <a:lnTo>
                        <a:pt x="1092" y="42"/>
                      </a:lnTo>
                      <a:lnTo>
                        <a:pt x="1088" y="42"/>
                      </a:lnTo>
                      <a:lnTo>
                        <a:pt x="1084" y="42"/>
                      </a:lnTo>
                      <a:lnTo>
                        <a:pt x="1088" y="42"/>
                      </a:lnTo>
                      <a:lnTo>
                        <a:pt x="1084" y="42"/>
                      </a:lnTo>
                      <a:lnTo>
                        <a:pt x="1080" y="42"/>
                      </a:lnTo>
                      <a:lnTo>
                        <a:pt x="1076" y="42"/>
                      </a:lnTo>
                      <a:lnTo>
                        <a:pt x="1074" y="42"/>
                      </a:lnTo>
                      <a:lnTo>
                        <a:pt x="1070" y="42"/>
                      </a:lnTo>
                      <a:lnTo>
                        <a:pt x="1066" y="46"/>
                      </a:lnTo>
                      <a:lnTo>
                        <a:pt x="1062" y="46"/>
                      </a:lnTo>
                      <a:lnTo>
                        <a:pt x="1060" y="46"/>
                      </a:lnTo>
                      <a:lnTo>
                        <a:pt x="1062" y="46"/>
                      </a:lnTo>
                      <a:lnTo>
                        <a:pt x="1066" y="46"/>
                      </a:lnTo>
                      <a:lnTo>
                        <a:pt x="1070" y="46"/>
                      </a:lnTo>
                      <a:lnTo>
                        <a:pt x="1066" y="46"/>
                      </a:lnTo>
                      <a:lnTo>
                        <a:pt x="1062" y="46"/>
                      </a:lnTo>
                      <a:lnTo>
                        <a:pt x="1060" y="46"/>
                      </a:lnTo>
                      <a:lnTo>
                        <a:pt x="1056" y="46"/>
                      </a:lnTo>
                      <a:lnTo>
                        <a:pt x="1052" y="46"/>
                      </a:lnTo>
                      <a:lnTo>
                        <a:pt x="1048" y="46"/>
                      </a:lnTo>
                      <a:lnTo>
                        <a:pt x="1044" y="46"/>
                      </a:lnTo>
                      <a:lnTo>
                        <a:pt x="1040" y="46"/>
                      </a:lnTo>
                      <a:lnTo>
                        <a:pt x="1036" y="46"/>
                      </a:lnTo>
                      <a:lnTo>
                        <a:pt x="1032" y="50"/>
                      </a:lnTo>
                      <a:lnTo>
                        <a:pt x="1030" y="50"/>
                      </a:lnTo>
                      <a:lnTo>
                        <a:pt x="1026" y="46"/>
                      </a:lnTo>
                      <a:lnTo>
                        <a:pt x="1022" y="46"/>
                      </a:lnTo>
                      <a:lnTo>
                        <a:pt x="1018" y="46"/>
                      </a:lnTo>
                      <a:lnTo>
                        <a:pt x="1014" y="42"/>
                      </a:lnTo>
                      <a:lnTo>
                        <a:pt x="1014" y="46"/>
                      </a:lnTo>
                      <a:lnTo>
                        <a:pt x="1018" y="46"/>
                      </a:lnTo>
                      <a:lnTo>
                        <a:pt x="1022" y="46"/>
                      </a:lnTo>
                      <a:lnTo>
                        <a:pt x="1026" y="46"/>
                      </a:lnTo>
                      <a:lnTo>
                        <a:pt x="1026" y="50"/>
                      </a:lnTo>
                      <a:lnTo>
                        <a:pt x="1030" y="50"/>
                      </a:lnTo>
                      <a:lnTo>
                        <a:pt x="1026" y="50"/>
                      </a:lnTo>
                      <a:lnTo>
                        <a:pt x="1022" y="50"/>
                      </a:lnTo>
                      <a:lnTo>
                        <a:pt x="1026" y="50"/>
                      </a:lnTo>
                      <a:lnTo>
                        <a:pt x="1030" y="50"/>
                      </a:lnTo>
                      <a:lnTo>
                        <a:pt x="1032" y="50"/>
                      </a:lnTo>
                      <a:lnTo>
                        <a:pt x="1036" y="50"/>
                      </a:lnTo>
                      <a:lnTo>
                        <a:pt x="1040" y="50"/>
                      </a:lnTo>
                      <a:lnTo>
                        <a:pt x="1044" y="50"/>
                      </a:lnTo>
                      <a:lnTo>
                        <a:pt x="1048" y="50"/>
                      </a:lnTo>
                      <a:lnTo>
                        <a:pt x="1052" y="50"/>
                      </a:lnTo>
                      <a:lnTo>
                        <a:pt x="1048" y="50"/>
                      </a:lnTo>
                      <a:lnTo>
                        <a:pt x="1044" y="52"/>
                      </a:lnTo>
                      <a:lnTo>
                        <a:pt x="1040" y="52"/>
                      </a:lnTo>
                      <a:lnTo>
                        <a:pt x="1036" y="52"/>
                      </a:lnTo>
                      <a:lnTo>
                        <a:pt x="1032" y="52"/>
                      </a:lnTo>
                      <a:lnTo>
                        <a:pt x="1030" y="52"/>
                      </a:lnTo>
                      <a:lnTo>
                        <a:pt x="1030" y="56"/>
                      </a:lnTo>
                      <a:lnTo>
                        <a:pt x="1026" y="56"/>
                      </a:lnTo>
                      <a:lnTo>
                        <a:pt x="1022" y="56"/>
                      </a:lnTo>
                      <a:lnTo>
                        <a:pt x="1018" y="56"/>
                      </a:lnTo>
                      <a:lnTo>
                        <a:pt x="1014" y="56"/>
                      </a:lnTo>
                      <a:lnTo>
                        <a:pt x="1010" y="56"/>
                      </a:lnTo>
                      <a:lnTo>
                        <a:pt x="1014" y="56"/>
                      </a:lnTo>
                      <a:lnTo>
                        <a:pt x="1010" y="56"/>
                      </a:lnTo>
                      <a:lnTo>
                        <a:pt x="1006" y="60"/>
                      </a:lnTo>
                      <a:lnTo>
                        <a:pt x="1004" y="60"/>
                      </a:lnTo>
                      <a:lnTo>
                        <a:pt x="1006" y="60"/>
                      </a:lnTo>
                      <a:lnTo>
                        <a:pt x="1010" y="60"/>
                      </a:lnTo>
                      <a:lnTo>
                        <a:pt x="1006" y="60"/>
                      </a:lnTo>
                      <a:lnTo>
                        <a:pt x="1004" y="60"/>
                      </a:lnTo>
                      <a:lnTo>
                        <a:pt x="1006" y="60"/>
                      </a:lnTo>
                      <a:lnTo>
                        <a:pt x="1010" y="60"/>
                      </a:lnTo>
                      <a:lnTo>
                        <a:pt x="1014" y="60"/>
                      </a:lnTo>
                      <a:lnTo>
                        <a:pt x="1022" y="56"/>
                      </a:lnTo>
                      <a:lnTo>
                        <a:pt x="1030" y="56"/>
                      </a:lnTo>
                      <a:lnTo>
                        <a:pt x="1032" y="56"/>
                      </a:lnTo>
                      <a:lnTo>
                        <a:pt x="1036" y="56"/>
                      </a:lnTo>
                      <a:lnTo>
                        <a:pt x="1036" y="52"/>
                      </a:lnTo>
                      <a:lnTo>
                        <a:pt x="1040" y="52"/>
                      </a:lnTo>
                      <a:lnTo>
                        <a:pt x="1044" y="52"/>
                      </a:lnTo>
                      <a:lnTo>
                        <a:pt x="1048" y="52"/>
                      </a:lnTo>
                      <a:lnTo>
                        <a:pt x="1052" y="52"/>
                      </a:lnTo>
                      <a:lnTo>
                        <a:pt x="1056" y="52"/>
                      </a:lnTo>
                      <a:lnTo>
                        <a:pt x="1060" y="52"/>
                      </a:lnTo>
                      <a:lnTo>
                        <a:pt x="1062" y="50"/>
                      </a:lnTo>
                      <a:lnTo>
                        <a:pt x="1066" y="50"/>
                      </a:lnTo>
                      <a:lnTo>
                        <a:pt x="1070" y="50"/>
                      </a:lnTo>
                      <a:lnTo>
                        <a:pt x="1074" y="50"/>
                      </a:lnTo>
                      <a:lnTo>
                        <a:pt x="1080" y="50"/>
                      </a:lnTo>
                      <a:lnTo>
                        <a:pt x="1080" y="52"/>
                      </a:lnTo>
                      <a:lnTo>
                        <a:pt x="1076" y="52"/>
                      </a:lnTo>
                      <a:lnTo>
                        <a:pt x="1074" y="56"/>
                      </a:lnTo>
                      <a:lnTo>
                        <a:pt x="1070" y="56"/>
                      </a:lnTo>
                      <a:lnTo>
                        <a:pt x="1066" y="56"/>
                      </a:lnTo>
                      <a:lnTo>
                        <a:pt x="1062" y="56"/>
                      </a:lnTo>
                      <a:lnTo>
                        <a:pt x="1060" y="60"/>
                      </a:lnTo>
                      <a:lnTo>
                        <a:pt x="1056" y="60"/>
                      </a:lnTo>
                      <a:lnTo>
                        <a:pt x="1056" y="64"/>
                      </a:lnTo>
                      <a:lnTo>
                        <a:pt x="1052" y="64"/>
                      </a:lnTo>
                      <a:lnTo>
                        <a:pt x="1048" y="64"/>
                      </a:lnTo>
                      <a:lnTo>
                        <a:pt x="1044" y="68"/>
                      </a:lnTo>
                      <a:lnTo>
                        <a:pt x="1040" y="68"/>
                      </a:lnTo>
                      <a:lnTo>
                        <a:pt x="1036" y="68"/>
                      </a:lnTo>
                      <a:lnTo>
                        <a:pt x="1040" y="68"/>
                      </a:lnTo>
                      <a:lnTo>
                        <a:pt x="1036" y="68"/>
                      </a:lnTo>
                      <a:lnTo>
                        <a:pt x="1032" y="68"/>
                      </a:lnTo>
                      <a:lnTo>
                        <a:pt x="1032" y="72"/>
                      </a:lnTo>
                      <a:lnTo>
                        <a:pt x="1030" y="72"/>
                      </a:lnTo>
                      <a:lnTo>
                        <a:pt x="1022" y="76"/>
                      </a:lnTo>
                      <a:lnTo>
                        <a:pt x="1018" y="76"/>
                      </a:lnTo>
                      <a:lnTo>
                        <a:pt x="1018" y="78"/>
                      </a:lnTo>
                      <a:lnTo>
                        <a:pt x="1014" y="78"/>
                      </a:lnTo>
                      <a:lnTo>
                        <a:pt x="1014" y="82"/>
                      </a:lnTo>
                      <a:lnTo>
                        <a:pt x="1010" y="82"/>
                      </a:lnTo>
                      <a:lnTo>
                        <a:pt x="1006" y="82"/>
                      </a:lnTo>
                      <a:lnTo>
                        <a:pt x="1004" y="82"/>
                      </a:lnTo>
                      <a:lnTo>
                        <a:pt x="1000" y="82"/>
                      </a:lnTo>
                      <a:lnTo>
                        <a:pt x="1000" y="78"/>
                      </a:lnTo>
                      <a:lnTo>
                        <a:pt x="996" y="78"/>
                      </a:lnTo>
                      <a:lnTo>
                        <a:pt x="992" y="78"/>
                      </a:lnTo>
                      <a:lnTo>
                        <a:pt x="996" y="78"/>
                      </a:lnTo>
                      <a:lnTo>
                        <a:pt x="1000" y="78"/>
                      </a:lnTo>
                      <a:lnTo>
                        <a:pt x="1000" y="82"/>
                      </a:lnTo>
                      <a:lnTo>
                        <a:pt x="1000" y="86"/>
                      </a:lnTo>
                      <a:lnTo>
                        <a:pt x="1004" y="86"/>
                      </a:lnTo>
                      <a:lnTo>
                        <a:pt x="1006" y="86"/>
                      </a:lnTo>
                      <a:lnTo>
                        <a:pt x="1004" y="86"/>
                      </a:lnTo>
                      <a:lnTo>
                        <a:pt x="1004" y="90"/>
                      </a:lnTo>
                      <a:lnTo>
                        <a:pt x="1000" y="90"/>
                      </a:lnTo>
                      <a:lnTo>
                        <a:pt x="996" y="86"/>
                      </a:lnTo>
                      <a:lnTo>
                        <a:pt x="992" y="90"/>
                      </a:lnTo>
                      <a:lnTo>
                        <a:pt x="988" y="90"/>
                      </a:lnTo>
                      <a:lnTo>
                        <a:pt x="984" y="90"/>
                      </a:lnTo>
                      <a:lnTo>
                        <a:pt x="980" y="90"/>
                      </a:lnTo>
                      <a:lnTo>
                        <a:pt x="976" y="90"/>
                      </a:lnTo>
                      <a:lnTo>
                        <a:pt x="974" y="90"/>
                      </a:lnTo>
                      <a:lnTo>
                        <a:pt x="974" y="86"/>
                      </a:lnTo>
                      <a:lnTo>
                        <a:pt x="970" y="86"/>
                      </a:lnTo>
                      <a:lnTo>
                        <a:pt x="974" y="90"/>
                      </a:lnTo>
                      <a:lnTo>
                        <a:pt x="976" y="90"/>
                      </a:lnTo>
                      <a:lnTo>
                        <a:pt x="974" y="90"/>
                      </a:lnTo>
                      <a:lnTo>
                        <a:pt x="970" y="90"/>
                      </a:lnTo>
                      <a:lnTo>
                        <a:pt x="970" y="94"/>
                      </a:lnTo>
                      <a:lnTo>
                        <a:pt x="974" y="94"/>
                      </a:lnTo>
                      <a:lnTo>
                        <a:pt x="976" y="94"/>
                      </a:lnTo>
                      <a:lnTo>
                        <a:pt x="980" y="94"/>
                      </a:lnTo>
                      <a:lnTo>
                        <a:pt x="984" y="94"/>
                      </a:lnTo>
                      <a:lnTo>
                        <a:pt x="984" y="90"/>
                      </a:lnTo>
                      <a:lnTo>
                        <a:pt x="988" y="90"/>
                      </a:lnTo>
                      <a:lnTo>
                        <a:pt x="992" y="90"/>
                      </a:lnTo>
                      <a:lnTo>
                        <a:pt x="996" y="90"/>
                      </a:lnTo>
                      <a:lnTo>
                        <a:pt x="996" y="94"/>
                      </a:lnTo>
                      <a:lnTo>
                        <a:pt x="992" y="94"/>
                      </a:lnTo>
                      <a:lnTo>
                        <a:pt x="988" y="94"/>
                      </a:lnTo>
                      <a:lnTo>
                        <a:pt x="984" y="98"/>
                      </a:lnTo>
                      <a:lnTo>
                        <a:pt x="988" y="98"/>
                      </a:lnTo>
                      <a:lnTo>
                        <a:pt x="992" y="98"/>
                      </a:lnTo>
                      <a:lnTo>
                        <a:pt x="988" y="102"/>
                      </a:lnTo>
                      <a:lnTo>
                        <a:pt x="984" y="102"/>
                      </a:lnTo>
                      <a:lnTo>
                        <a:pt x="980" y="102"/>
                      </a:lnTo>
                      <a:lnTo>
                        <a:pt x="976" y="102"/>
                      </a:lnTo>
                      <a:lnTo>
                        <a:pt x="974" y="106"/>
                      </a:lnTo>
                      <a:lnTo>
                        <a:pt x="970" y="106"/>
                      </a:lnTo>
                      <a:lnTo>
                        <a:pt x="970" y="102"/>
                      </a:lnTo>
                      <a:lnTo>
                        <a:pt x="970" y="106"/>
                      </a:lnTo>
                      <a:lnTo>
                        <a:pt x="966" y="106"/>
                      </a:lnTo>
                      <a:lnTo>
                        <a:pt x="962" y="102"/>
                      </a:lnTo>
                      <a:lnTo>
                        <a:pt x="962" y="98"/>
                      </a:lnTo>
                      <a:lnTo>
                        <a:pt x="958" y="98"/>
                      </a:lnTo>
                      <a:lnTo>
                        <a:pt x="954" y="98"/>
                      </a:lnTo>
                      <a:lnTo>
                        <a:pt x="950" y="98"/>
                      </a:lnTo>
                      <a:lnTo>
                        <a:pt x="948" y="98"/>
                      </a:lnTo>
                      <a:lnTo>
                        <a:pt x="944" y="98"/>
                      </a:lnTo>
                      <a:lnTo>
                        <a:pt x="940" y="98"/>
                      </a:lnTo>
                      <a:lnTo>
                        <a:pt x="936" y="98"/>
                      </a:lnTo>
                      <a:lnTo>
                        <a:pt x="936" y="102"/>
                      </a:lnTo>
                      <a:lnTo>
                        <a:pt x="940" y="102"/>
                      </a:lnTo>
                      <a:lnTo>
                        <a:pt x="944" y="102"/>
                      </a:lnTo>
                      <a:lnTo>
                        <a:pt x="948" y="102"/>
                      </a:lnTo>
                      <a:lnTo>
                        <a:pt x="950" y="102"/>
                      </a:lnTo>
                      <a:lnTo>
                        <a:pt x="954" y="102"/>
                      </a:lnTo>
                      <a:lnTo>
                        <a:pt x="958" y="102"/>
                      </a:lnTo>
                      <a:lnTo>
                        <a:pt x="958" y="106"/>
                      </a:lnTo>
                      <a:lnTo>
                        <a:pt x="958" y="108"/>
                      </a:lnTo>
                      <a:lnTo>
                        <a:pt x="954" y="108"/>
                      </a:lnTo>
                      <a:lnTo>
                        <a:pt x="950" y="108"/>
                      </a:lnTo>
                      <a:lnTo>
                        <a:pt x="948" y="108"/>
                      </a:lnTo>
                      <a:lnTo>
                        <a:pt x="944" y="108"/>
                      </a:lnTo>
                      <a:lnTo>
                        <a:pt x="940" y="108"/>
                      </a:lnTo>
                      <a:lnTo>
                        <a:pt x="936" y="108"/>
                      </a:lnTo>
                      <a:lnTo>
                        <a:pt x="932" y="108"/>
                      </a:lnTo>
                      <a:lnTo>
                        <a:pt x="936" y="108"/>
                      </a:lnTo>
                      <a:lnTo>
                        <a:pt x="936" y="112"/>
                      </a:lnTo>
                      <a:lnTo>
                        <a:pt x="932" y="112"/>
                      </a:lnTo>
                      <a:lnTo>
                        <a:pt x="928" y="112"/>
                      </a:lnTo>
                      <a:lnTo>
                        <a:pt x="924" y="112"/>
                      </a:lnTo>
                      <a:lnTo>
                        <a:pt x="920" y="108"/>
                      </a:lnTo>
                      <a:lnTo>
                        <a:pt x="920" y="112"/>
                      </a:lnTo>
                      <a:lnTo>
                        <a:pt x="920" y="108"/>
                      </a:lnTo>
                      <a:lnTo>
                        <a:pt x="918" y="108"/>
                      </a:lnTo>
                      <a:lnTo>
                        <a:pt x="914" y="108"/>
                      </a:lnTo>
                      <a:lnTo>
                        <a:pt x="910" y="108"/>
                      </a:lnTo>
                      <a:lnTo>
                        <a:pt x="906" y="108"/>
                      </a:lnTo>
                      <a:lnTo>
                        <a:pt x="902" y="108"/>
                      </a:lnTo>
                      <a:lnTo>
                        <a:pt x="906" y="108"/>
                      </a:lnTo>
                      <a:lnTo>
                        <a:pt x="910" y="108"/>
                      </a:lnTo>
                      <a:lnTo>
                        <a:pt x="914" y="108"/>
                      </a:lnTo>
                      <a:lnTo>
                        <a:pt x="918" y="108"/>
                      </a:lnTo>
                      <a:lnTo>
                        <a:pt x="918" y="112"/>
                      </a:lnTo>
                      <a:lnTo>
                        <a:pt x="920" y="112"/>
                      </a:lnTo>
                      <a:lnTo>
                        <a:pt x="918" y="112"/>
                      </a:lnTo>
                      <a:lnTo>
                        <a:pt x="914" y="112"/>
                      </a:lnTo>
                      <a:lnTo>
                        <a:pt x="910" y="112"/>
                      </a:lnTo>
                      <a:lnTo>
                        <a:pt x="906" y="112"/>
                      </a:lnTo>
                      <a:lnTo>
                        <a:pt x="902" y="112"/>
                      </a:lnTo>
                      <a:lnTo>
                        <a:pt x="902" y="108"/>
                      </a:lnTo>
                      <a:lnTo>
                        <a:pt x="898" y="108"/>
                      </a:lnTo>
                      <a:lnTo>
                        <a:pt x="902" y="112"/>
                      </a:lnTo>
                      <a:lnTo>
                        <a:pt x="898" y="112"/>
                      </a:lnTo>
                      <a:lnTo>
                        <a:pt x="894" y="112"/>
                      </a:lnTo>
                      <a:lnTo>
                        <a:pt x="890" y="112"/>
                      </a:lnTo>
                      <a:lnTo>
                        <a:pt x="894" y="112"/>
                      </a:lnTo>
                      <a:lnTo>
                        <a:pt x="898" y="112"/>
                      </a:lnTo>
                      <a:lnTo>
                        <a:pt x="898" y="116"/>
                      </a:lnTo>
                      <a:lnTo>
                        <a:pt x="902" y="116"/>
                      </a:lnTo>
                      <a:lnTo>
                        <a:pt x="898" y="116"/>
                      </a:lnTo>
                      <a:lnTo>
                        <a:pt x="902" y="116"/>
                      </a:lnTo>
                      <a:lnTo>
                        <a:pt x="906" y="116"/>
                      </a:lnTo>
                      <a:lnTo>
                        <a:pt x="910" y="116"/>
                      </a:lnTo>
                      <a:lnTo>
                        <a:pt x="918" y="116"/>
                      </a:lnTo>
                      <a:lnTo>
                        <a:pt x="920" y="116"/>
                      </a:lnTo>
                      <a:lnTo>
                        <a:pt x="924" y="116"/>
                      </a:lnTo>
                      <a:lnTo>
                        <a:pt x="928" y="116"/>
                      </a:lnTo>
                      <a:lnTo>
                        <a:pt x="932" y="116"/>
                      </a:lnTo>
                      <a:lnTo>
                        <a:pt x="936" y="116"/>
                      </a:lnTo>
                      <a:lnTo>
                        <a:pt x="940" y="116"/>
                      </a:lnTo>
                      <a:lnTo>
                        <a:pt x="936" y="116"/>
                      </a:lnTo>
                      <a:lnTo>
                        <a:pt x="936" y="120"/>
                      </a:lnTo>
                      <a:lnTo>
                        <a:pt x="940" y="120"/>
                      </a:lnTo>
                      <a:lnTo>
                        <a:pt x="944" y="120"/>
                      </a:lnTo>
                      <a:lnTo>
                        <a:pt x="940" y="120"/>
                      </a:lnTo>
                      <a:lnTo>
                        <a:pt x="940" y="124"/>
                      </a:lnTo>
                      <a:lnTo>
                        <a:pt x="936" y="124"/>
                      </a:lnTo>
                      <a:lnTo>
                        <a:pt x="932" y="124"/>
                      </a:lnTo>
                      <a:lnTo>
                        <a:pt x="928" y="120"/>
                      </a:lnTo>
                      <a:lnTo>
                        <a:pt x="924" y="120"/>
                      </a:lnTo>
                      <a:lnTo>
                        <a:pt x="920" y="120"/>
                      </a:lnTo>
                      <a:lnTo>
                        <a:pt x="920" y="116"/>
                      </a:lnTo>
                      <a:lnTo>
                        <a:pt x="918" y="116"/>
                      </a:lnTo>
                      <a:lnTo>
                        <a:pt x="914" y="116"/>
                      </a:lnTo>
                      <a:lnTo>
                        <a:pt x="906" y="116"/>
                      </a:lnTo>
                      <a:lnTo>
                        <a:pt x="902" y="116"/>
                      </a:lnTo>
                      <a:lnTo>
                        <a:pt x="898" y="116"/>
                      </a:lnTo>
                      <a:lnTo>
                        <a:pt x="894" y="116"/>
                      </a:lnTo>
                      <a:lnTo>
                        <a:pt x="888" y="116"/>
                      </a:lnTo>
                      <a:lnTo>
                        <a:pt x="888" y="120"/>
                      </a:lnTo>
                      <a:lnTo>
                        <a:pt x="890" y="116"/>
                      </a:lnTo>
                      <a:lnTo>
                        <a:pt x="894" y="116"/>
                      </a:lnTo>
                      <a:lnTo>
                        <a:pt x="898" y="116"/>
                      </a:lnTo>
                      <a:lnTo>
                        <a:pt x="902" y="120"/>
                      </a:lnTo>
                      <a:lnTo>
                        <a:pt x="906" y="120"/>
                      </a:lnTo>
                      <a:lnTo>
                        <a:pt x="910" y="120"/>
                      </a:lnTo>
                      <a:lnTo>
                        <a:pt x="914" y="120"/>
                      </a:lnTo>
                      <a:lnTo>
                        <a:pt x="918" y="120"/>
                      </a:lnTo>
                      <a:lnTo>
                        <a:pt x="914" y="120"/>
                      </a:lnTo>
                      <a:lnTo>
                        <a:pt x="910" y="120"/>
                      </a:lnTo>
                      <a:lnTo>
                        <a:pt x="906" y="120"/>
                      </a:lnTo>
                      <a:lnTo>
                        <a:pt x="902" y="120"/>
                      </a:lnTo>
                      <a:lnTo>
                        <a:pt x="898" y="120"/>
                      </a:lnTo>
                      <a:lnTo>
                        <a:pt x="898" y="124"/>
                      </a:lnTo>
                      <a:lnTo>
                        <a:pt x="894" y="124"/>
                      </a:lnTo>
                      <a:lnTo>
                        <a:pt x="894" y="120"/>
                      </a:lnTo>
                      <a:lnTo>
                        <a:pt x="890" y="120"/>
                      </a:lnTo>
                      <a:lnTo>
                        <a:pt x="888" y="120"/>
                      </a:lnTo>
                      <a:lnTo>
                        <a:pt x="884" y="120"/>
                      </a:lnTo>
                      <a:lnTo>
                        <a:pt x="880" y="120"/>
                      </a:lnTo>
                      <a:lnTo>
                        <a:pt x="884" y="120"/>
                      </a:lnTo>
                      <a:lnTo>
                        <a:pt x="888" y="120"/>
                      </a:lnTo>
                      <a:lnTo>
                        <a:pt x="890" y="120"/>
                      </a:lnTo>
                      <a:lnTo>
                        <a:pt x="894" y="120"/>
                      </a:lnTo>
                      <a:lnTo>
                        <a:pt x="894" y="124"/>
                      </a:lnTo>
                      <a:lnTo>
                        <a:pt x="890" y="124"/>
                      </a:lnTo>
                      <a:lnTo>
                        <a:pt x="890" y="128"/>
                      </a:lnTo>
                      <a:lnTo>
                        <a:pt x="888" y="128"/>
                      </a:lnTo>
                      <a:lnTo>
                        <a:pt x="888" y="132"/>
                      </a:lnTo>
                      <a:lnTo>
                        <a:pt x="888" y="128"/>
                      </a:lnTo>
                      <a:lnTo>
                        <a:pt x="890" y="128"/>
                      </a:lnTo>
                      <a:lnTo>
                        <a:pt x="890" y="124"/>
                      </a:lnTo>
                      <a:lnTo>
                        <a:pt x="894" y="124"/>
                      </a:lnTo>
                      <a:lnTo>
                        <a:pt x="898" y="124"/>
                      </a:lnTo>
                      <a:lnTo>
                        <a:pt x="902" y="124"/>
                      </a:lnTo>
                      <a:lnTo>
                        <a:pt x="906" y="124"/>
                      </a:lnTo>
                      <a:lnTo>
                        <a:pt x="910" y="124"/>
                      </a:lnTo>
                      <a:lnTo>
                        <a:pt x="914" y="124"/>
                      </a:lnTo>
                      <a:lnTo>
                        <a:pt x="920" y="124"/>
                      </a:lnTo>
                      <a:lnTo>
                        <a:pt x="924" y="124"/>
                      </a:lnTo>
                      <a:lnTo>
                        <a:pt x="920" y="124"/>
                      </a:lnTo>
                      <a:lnTo>
                        <a:pt x="918" y="124"/>
                      </a:lnTo>
                      <a:lnTo>
                        <a:pt x="918" y="128"/>
                      </a:lnTo>
                      <a:lnTo>
                        <a:pt x="914" y="128"/>
                      </a:lnTo>
                      <a:lnTo>
                        <a:pt x="918" y="128"/>
                      </a:lnTo>
                      <a:lnTo>
                        <a:pt x="920" y="128"/>
                      </a:lnTo>
                      <a:lnTo>
                        <a:pt x="928" y="128"/>
                      </a:lnTo>
                      <a:lnTo>
                        <a:pt x="932" y="128"/>
                      </a:lnTo>
                      <a:lnTo>
                        <a:pt x="936" y="128"/>
                      </a:lnTo>
                      <a:lnTo>
                        <a:pt x="936" y="132"/>
                      </a:lnTo>
                      <a:lnTo>
                        <a:pt x="936" y="136"/>
                      </a:lnTo>
                      <a:lnTo>
                        <a:pt x="932" y="136"/>
                      </a:lnTo>
                      <a:lnTo>
                        <a:pt x="928" y="136"/>
                      </a:lnTo>
                      <a:lnTo>
                        <a:pt x="928" y="138"/>
                      </a:lnTo>
                      <a:lnTo>
                        <a:pt x="920" y="138"/>
                      </a:lnTo>
                      <a:lnTo>
                        <a:pt x="918" y="136"/>
                      </a:lnTo>
                      <a:lnTo>
                        <a:pt x="914" y="136"/>
                      </a:lnTo>
                      <a:lnTo>
                        <a:pt x="910" y="136"/>
                      </a:lnTo>
                      <a:lnTo>
                        <a:pt x="910" y="138"/>
                      </a:lnTo>
                      <a:lnTo>
                        <a:pt x="914" y="138"/>
                      </a:lnTo>
                      <a:lnTo>
                        <a:pt x="918" y="138"/>
                      </a:lnTo>
                      <a:lnTo>
                        <a:pt x="920" y="138"/>
                      </a:lnTo>
                      <a:lnTo>
                        <a:pt x="924" y="138"/>
                      </a:lnTo>
                      <a:lnTo>
                        <a:pt x="928" y="138"/>
                      </a:lnTo>
                      <a:lnTo>
                        <a:pt x="932" y="142"/>
                      </a:lnTo>
                      <a:lnTo>
                        <a:pt x="928" y="142"/>
                      </a:lnTo>
                      <a:lnTo>
                        <a:pt x="928" y="146"/>
                      </a:lnTo>
                      <a:lnTo>
                        <a:pt x="924" y="146"/>
                      </a:lnTo>
                      <a:lnTo>
                        <a:pt x="920" y="146"/>
                      </a:lnTo>
                      <a:lnTo>
                        <a:pt x="918" y="146"/>
                      </a:lnTo>
                      <a:lnTo>
                        <a:pt x="914" y="146"/>
                      </a:lnTo>
                      <a:lnTo>
                        <a:pt x="910" y="146"/>
                      </a:lnTo>
                      <a:lnTo>
                        <a:pt x="906" y="146"/>
                      </a:lnTo>
                      <a:lnTo>
                        <a:pt x="910" y="146"/>
                      </a:lnTo>
                      <a:lnTo>
                        <a:pt x="914" y="146"/>
                      </a:lnTo>
                      <a:lnTo>
                        <a:pt x="920" y="146"/>
                      </a:lnTo>
                      <a:lnTo>
                        <a:pt x="924" y="146"/>
                      </a:lnTo>
                      <a:lnTo>
                        <a:pt x="924" y="150"/>
                      </a:lnTo>
                      <a:lnTo>
                        <a:pt x="920" y="150"/>
                      </a:lnTo>
                      <a:lnTo>
                        <a:pt x="920" y="154"/>
                      </a:lnTo>
                      <a:lnTo>
                        <a:pt x="918" y="150"/>
                      </a:lnTo>
                      <a:lnTo>
                        <a:pt x="914" y="150"/>
                      </a:lnTo>
                      <a:lnTo>
                        <a:pt x="914" y="154"/>
                      </a:lnTo>
                      <a:lnTo>
                        <a:pt x="910" y="154"/>
                      </a:lnTo>
                      <a:lnTo>
                        <a:pt x="906" y="154"/>
                      </a:lnTo>
                      <a:lnTo>
                        <a:pt x="902" y="154"/>
                      </a:lnTo>
                      <a:lnTo>
                        <a:pt x="894" y="154"/>
                      </a:lnTo>
                      <a:lnTo>
                        <a:pt x="890" y="154"/>
                      </a:lnTo>
                      <a:lnTo>
                        <a:pt x="888" y="154"/>
                      </a:lnTo>
                      <a:lnTo>
                        <a:pt x="888" y="150"/>
                      </a:lnTo>
                      <a:lnTo>
                        <a:pt x="884" y="154"/>
                      </a:lnTo>
                      <a:lnTo>
                        <a:pt x="888" y="154"/>
                      </a:lnTo>
                      <a:lnTo>
                        <a:pt x="888" y="158"/>
                      </a:lnTo>
                      <a:lnTo>
                        <a:pt x="890" y="158"/>
                      </a:lnTo>
                      <a:lnTo>
                        <a:pt x="890" y="160"/>
                      </a:lnTo>
                      <a:lnTo>
                        <a:pt x="894" y="160"/>
                      </a:lnTo>
                      <a:lnTo>
                        <a:pt x="890" y="164"/>
                      </a:lnTo>
                      <a:lnTo>
                        <a:pt x="888" y="168"/>
                      </a:lnTo>
                      <a:lnTo>
                        <a:pt x="880" y="172"/>
                      </a:lnTo>
                      <a:lnTo>
                        <a:pt x="880" y="168"/>
                      </a:lnTo>
                      <a:lnTo>
                        <a:pt x="876" y="168"/>
                      </a:lnTo>
                      <a:lnTo>
                        <a:pt x="876" y="172"/>
                      </a:lnTo>
                      <a:lnTo>
                        <a:pt x="872" y="172"/>
                      </a:lnTo>
                      <a:lnTo>
                        <a:pt x="868" y="172"/>
                      </a:lnTo>
                      <a:lnTo>
                        <a:pt x="864" y="172"/>
                      </a:lnTo>
                      <a:lnTo>
                        <a:pt x="862" y="172"/>
                      </a:lnTo>
                      <a:lnTo>
                        <a:pt x="858" y="172"/>
                      </a:lnTo>
                      <a:lnTo>
                        <a:pt x="854" y="168"/>
                      </a:lnTo>
                      <a:lnTo>
                        <a:pt x="850" y="168"/>
                      </a:lnTo>
                      <a:lnTo>
                        <a:pt x="846" y="168"/>
                      </a:lnTo>
                      <a:lnTo>
                        <a:pt x="842" y="168"/>
                      </a:lnTo>
                      <a:lnTo>
                        <a:pt x="842" y="164"/>
                      </a:lnTo>
                      <a:lnTo>
                        <a:pt x="838" y="164"/>
                      </a:lnTo>
                      <a:lnTo>
                        <a:pt x="834" y="160"/>
                      </a:lnTo>
                      <a:lnTo>
                        <a:pt x="838" y="164"/>
                      </a:lnTo>
                      <a:lnTo>
                        <a:pt x="838" y="168"/>
                      </a:lnTo>
                      <a:lnTo>
                        <a:pt x="842" y="168"/>
                      </a:lnTo>
                      <a:lnTo>
                        <a:pt x="846" y="168"/>
                      </a:lnTo>
                      <a:lnTo>
                        <a:pt x="846" y="172"/>
                      </a:lnTo>
                      <a:lnTo>
                        <a:pt x="842" y="172"/>
                      </a:lnTo>
                      <a:lnTo>
                        <a:pt x="834" y="172"/>
                      </a:lnTo>
                      <a:lnTo>
                        <a:pt x="832" y="172"/>
                      </a:lnTo>
                      <a:lnTo>
                        <a:pt x="834" y="172"/>
                      </a:lnTo>
                      <a:lnTo>
                        <a:pt x="834" y="176"/>
                      </a:lnTo>
                      <a:lnTo>
                        <a:pt x="838" y="176"/>
                      </a:lnTo>
                      <a:lnTo>
                        <a:pt x="838" y="172"/>
                      </a:lnTo>
                      <a:lnTo>
                        <a:pt x="842" y="172"/>
                      </a:lnTo>
                      <a:lnTo>
                        <a:pt x="846" y="172"/>
                      </a:lnTo>
                      <a:lnTo>
                        <a:pt x="850" y="172"/>
                      </a:lnTo>
                      <a:lnTo>
                        <a:pt x="854" y="172"/>
                      </a:lnTo>
                      <a:lnTo>
                        <a:pt x="858" y="172"/>
                      </a:lnTo>
                      <a:lnTo>
                        <a:pt x="862" y="172"/>
                      </a:lnTo>
                      <a:lnTo>
                        <a:pt x="862" y="176"/>
                      </a:lnTo>
                      <a:lnTo>
                        <a:pt x="858" y="176"/>
                      </a:lnTo>
                      <a:lnTo>
                        <a:pt x="862" y="176"/>
                      </a:lnTo>
                      <a:lnTo>
                        <a:pt x="864" y="172"/>
                      </a:lnTo>
                      <a:lnTo>
                        <a:pt x="868" y="172"/>
                      </a:lnTo>
                      <a:lnTo>
                        <a:pt x="872" y="172"/>
                      </a:lnTo>
                      <a:lnTo>
                        <a:pt x="876" y="176"/>
                      </a:lnTo>
                      <a:lnTo>
                        <a:pt x="876" y="180"/>
                      </a:lnTo>
                      <a:lnTo>
                        <a:pt x="872" y="180"/>
                      </a:lnTo>
                      <a:lnTo>
                        <a:pt x="872" y="182"/>
                      </a:lnTo>
                      <a:lnTo>
                        <a:pt x="872" y="180"/>
                      </a:lnTo>
                      <a:lnTo>
                        <a:pt x="876" y="180"/>
                      </a:lnTo>
                      <a:lnTo>
                        <a:pt x="880" y="182"/>
                      </a:lnTo>
                      <a:lnTo>
                        <a:pt x="884" y="182"/>
                      </a:lnTo>
                      <a:lnTo>
                        <a:pt x="884" y="180"/>
                      </a:lnTo>
                      <a:lnTo>
                        <a:pt x="888" y="180"/>
                      </a:lnTo>
                      <a:lnTo>
                        <a:pt x="890" y="180"/>
                      </a:lnTo>
                      <a:lnTo>
                        <a:pt x="894" y="186"/>
                      </a:lnTo>
                      <a:lnTo>
                        <a:pt x="894" y="190"/>
                      </a:lnTo>
                      <a:lnTo>
                        <a:pt x="890" y="190"/>
                      </a:lnTo>
                      <a:lnTo>
                        <a:pt x="888" y="190"/>
                      </a:lnTo>
                      <a:lnTo>
                        <a:pt x="888" y="194"/>
                      </a:lnTo>
                      <a:lnTo>
                        <a:pt x="884" y="194"/>
                      </a:lnTo>
                      <a:lnTo>
                        <a:pt x="884" y="190"/>
                      </a:lnTo>
                      <a:lnTo>
                        <a:pt x="880" y="190"/>
                      </a:lnTo>
                      <a:lnTo>
                        <a:pt x="880" y="194"/>
                      </a:lnTo>
                      <a:lnTo>
                        <a:pt x="876" y="194"/>
                      </a:lnTo>
                      <a:lnTo>
                        <a:pt x="872" y="194"/>
                      </a:lnTo>
                      <a:lnTo>
                        <a:pt x="872" y="198"/>
                      </a:lnTo>
                      <a:lnTo>
                        <a:pt x="868" y="198"/>
                      </a:lnTo>
                      <a:lnTo>
                        <a:pt x="864" y="198"/>
                      </a:lnTo>
                      <a:lnTo>
                        <a:pt x="864" y="202"/>
                      </a:lnTo>
                      <a:lnTo>
                        <a:pt x="862" y="202"/>
                      </a:lnTo>
                      <a:lnTo>
                        <a:pt x="858" y="202"/>
                      </a:lnTo>
                      <a:lnTo>
                        <a:pt x="854" y="202"/>
                      </a:lnTo>
                      <a:lnTo>
                        <a:pt x="850" y="202"/>
                      </a:lnTo>
                      <a:lnTo>
                        <a:pt x="846" y="202"/>
                      </a:lnTo>
                      <a:lnTo>
                        <a:pt x="850" y="198"/>
                      </a:lnTo>
                      <a:lnTo>
                        <a:pt x="854" y="194"/>
                      </a:lnTo>
                      <a:lnTo>
                        <a:pt x="850" y="194"/>
                      </a:lnTo>
                      <a:lnTo>
                        <a:pt x="846" y="194"/>
                      </a:lnTo>
                      <a:lnTo>
                        <a:pt x="846" y="190"/>
                      </a:lnTo>
                      <a:lnTo>
                        <a:pt x="842" y="194"/>
                      </a:lnTo>
                      <a:lnTo>
                        <a:pt x="838" y="194"/>
                      </a:lnTo>
                      <a:lnTo>
                        <a:pt x="834" y="194"/>
                      </a:lnTo>
                      <a:lnTo>
                        <a:pt x="834" y="190"/>
                      </a:lnTo>
                      <a:lnTo>
                        <a:pt x="838" y="190"/>
                      </a:lnTo>
                      <a:lnTo>
                        <a:pt x="838" y="186"/>
                      </a:lnTo>
                      <a:lnTo>
                        <a:pt x="834" y="186"/>
                      </a:lnTo>
                      <a:lnTo>
                        <a:pt x="834" y="190"/>
                      </a:lnTo>
                      <a:lnTo>
                        <a:pt x="832" y="190"/>
                      </a:lnTo>
                      <a:lnTo>
                        <a:pt x="828" y="190"/>
                      </a:lnTo>
                      <a:lnTo>
                        <a:pt x="828" y="186"/>
                      </a:lnTo>
                      <a:lnTo>
                        <a:pt x="824" y="182"/>
                      </a:lnTo>
                      <a:lnTo>
                        <a:pt x="824" y="186"/>
                      </a:lnTo>
                      <a:lnTo>
                        <a:pt x="828" y="186"/>
                      </a:lnTo>
                      <a:lnTo>
                        <a:pt x="828" y="190"/>
                      </a:lnTo>
                      <a:lnTo>
                        <a:pt x="832" y="190"/>
                      </a:lnTo>
                      <a:lnTo>
                        <a:pt x="832" y="194"/>
                      </a:lnTo>
                      <a:lnTo>
                        <a:pt x="828" y="194"/>
                      </a:lnTo>
                      <a:lnTo>
                        <a:pt x="824" y="198"/>
                      </a:lnTo>
                      <a:lnTo>
                        <a:pt x="824" y="194"/>
                      </a:lnTo>
                      <a:lnTo>
                        <a:pt x="820" y="194"/>
                      </a:lnTo>
                      <a:lnTo>
                        <a:pt x="820" y="190"/>
                      </a:lnTo>
                      <a:lnTo>
                        <a:pt x="816" y="190"/>
                      </a:lnTo>
                      <a:lnTo>
                        <a:pt x="816" y="186"/>
                      </a:lnTo>
                      <a:lnTo>
                        <a:pt x="812" y="186"/>
                      </a:lnTo>
                      <a:lnTo>
                        <a:pt x="816" y="190"/>
                      </a:lnTo>
                      <a:lnTo>
                        <a:pt x="816" y="194"/>
                      </a:lnTo>
                      <a:lnTo>
                        <a:pt x="812" y="194"/>
                      </a:lnTo>
                      <a:lnTo>
                        <a:pt x="808" y="194"/>
                      </a:lnTo>
                      <a:lnTo>
                        <a:pt x="806" y="194"/>
                      </a:lnTo>
                      <a:lnTo>
                        <a:pt x="806" y="190"/>
                      </a:lnTo>
                      <a:lnTo>
                        <a:pt x="802" y="190"/>
                      </a:lnTo>
                      <a:lnTo>
                        <a:pt x="802" y="194"/>
                      </a:lnTo>
                      <a:lnTo>
                        <a:pt x="806" y="194"/>
                      </a:lnTo>
                      <a:lnTo>
                        <a:pt x="802" y="194"/>
                      </a:lnTo>
                      <a:lnTo>
                        <a:pt x="798" y="194"/>
                      </a:lnTo>
                      <a:lnTo>
                        <a:pt x="794" y="194"/>
                      </a:lnTo>
                      <a:lnTo>
                        <a:pt x="794" y="190"/>
                      </a:lnTo>
                      <a:lnTo>
                        <a:pt x="790" y="190"/>
                      </a:lnTo>
                      <a:lnTo>
                        <a:pt x="790" y="194"/>
                      </a:lnTo>
                      <a:lnTo>
                        <a:pt x="794" y="194"/>
                      </a:lnTo>
                      <a:lnTo>
                        <a:pt x="802" y="198"/>
                      </a:lnTo>
                      <a:lnTo>
                        <a:pt x="798" y="198"/>
                      </a:lnTo>
                      <a:lnTo>
                        <a:pt x="794" y="198"/>
                      </a:lnTo>
                      <a:lnTo>
                        <a:pt x="790" y="198"/>
                      </a:lnTo>
                      <a:lnTo>
                        <a:pt x="786" y="198"/>
                      </a:lnTo>
                      <a:lnTo>
                        <a:pt x="782" y="198"/>
                      </a:lnTo>
                      <a:lnTo>
                        <a:pt x="778" y="198"/>
                      </a:lnTo>
                      <a:lnTo>
                        <a:pt x="776" y="198"/>
                      </a:lnTo>
                      <a:lnTo>
                        <a:pt x="772" y="198"/>
                      </a:lnTo>
                      <a:lnTo>
                        <a:pt x="772" y="194"/>
                      </a:lnTo>
                      <a:lnTo>
                        <a:pt x="776" y="194"/>
                      </a:lnTo>
                      <a:lnTo>
                        <a:pt x="772" y="190"/>
                      </a:lnTo>
                      <a:lnTo>
                        <a:pt x="768" y="190"/>
                      </a:lnTo>
                      <a:lnTo>
                        <a:pt x="772" y="190"/>
                      </a:lnTo>
                      <a:lnTo>
                        <a:pt x="772" y="194"/>
                      </a:lnTo>
                      <a:lnTo>
                        <a:pt x="768" y="194"/>
                      </a:lnTo>
                      <a:lnTo>
                        <a:pt x="768" y="198"/>
                      </a:lnTo>
                      <a:lnTo>
                        <a:pt x="764" y="198"/>
                      </a:lnTo>
                      <a:lnTo>
                        <a:pt x="760" y="194"/>
                      </a:lnTo>
                      <a:lnTo>
                        <a:pt x="756" y="194"/>
                      </a:lnTo>
                      <a:lnTo>
                        <a:pt x="756" y="190"/>
                      </a:lnTo>
                      <a:lnTo>
                        <a:pt x="756" y="194"/>
                      </a:lnTo>
                      <a:lnTo>
                        <a:pt x="756" y="198"/>
                      </a:lnTo>
                      <a:lnTo>
                        <a:pt x="752" y="198"/>
                      </a:lnTo>
                      <a:lnTo>
                        <a:pt x="752" y="194"/>
                      </a:lnTo>
                      <a:lnTo>
                        <a:pt x="752" y="198"/>
                      </a:lnTo>
                      <a:lnTo>
                        <a:pt x="748" y="198"/>
                      </a:lnTo>
                      <a:lnTo>
                        <a:pt x="746" y="198"/>
                      </a:lnTo>
                      <a:lnTo>
                        <a:pt x="742" y="194"/>
                      </a:lnTo>
                      <a:lnTo>
                        <a:pt x="746" y="194"/>
                      </a:lnTo>
                      <a:lnTo>
                        <a:pt x="742" y="190"/>
                      </a:lnTo>
                      <a:lnTo>
                        <a:pt x="742" y="186"/>
                      </a:lnTo>
                      <a:lnTo>
                        <a:pt x="742" y="182"/>
                      </a:lnTo>
                      <a:lnTo>
                        <a:pt x="738" y="186"/>
                      </a:lnTo>
                      <a:lnTo>
                        <a:pt x="742" y="186"/>
                      </a:lnTo>
                      <a:lnTo>
                        <a:pt x="742" y="190"/>
                      </a:lnTo>
                      <a:lnTo>
                        <a:pt x="742" y="194"/>
                      </a:lnTo>
                      <a:lnTo>
                        <a:pt x="738" y="194"/>
                      </a:lnTo>
                      <a:lnTo>
                        <a:pt x="742" y="194"/>
                      </a:lnTo>
                      <a:lnTo>
                        <a:pt x="742" y="190"/>
                      </a:lnTo>
                      <a:lnTo>
                        <a:pt x="738" y="190"/>
                      </a:lnTo>
                      <a:lnTo>
                        <a:pt x="738" y="194"/>
                      </a:lnTo>
                      <a:lnTo>
                        <a:pt x="734" y="194"/>
                      </a:lnTo>
                      <a:lnTo>
                        <a:pt x="732" y="194"/>
                      </a:lnTo>
                      <a:lnTo>
                        <a:pt x="728" y="190"/>
                      </a:lnTo>
                      <a:lnTo>
                        <a:pt x="732" y="186"/>
                      </a:lnTo>
                      <a:lnTo>
                        <a:pt x="728" y="186"/>
                      </a:lnTo>
                      <a:lnTo>
                        <a:pt x="728" y="182"/>
                      </a:lnTo>
                      <a:lnTo>
                        <a:pt x="732" y="182"/>
                      </a:lnTo>
                      <a:lnTo>
                        <a:pt x="734" y="182"/>
                      </a:lnTo>
                      <a:lnTo>
                        <a:pt x="734" y="180"/>
                      </a:lnTo>
                      <a:lnTo>
                        <a:pt x="738" y="180"/>
                      </a:lnTo>
                      <a:lnTo>
                        <a:pt x="742" y="176"/>
                      </a:lnTo>
                      <a:lnTo>
                        <a:pt x="746" y="176"/>
                      </a:lnTo>
                      <a:lnTo>
                        <a:pt x="748" y="176"/>
                      </a:lnTo>
                      <a:lnTo>
                        <a:pt x="752" y="176"/>
                      </a:lnTo>
                      <a:lnTo>
                        <a:pt x="756" y="176"/>
                      </a:lnTo>
                      <a:lnTo>
                        <a:pt x="760" y="176"/>
                      </a:lnTo>
                      <a:lnTo>
                        <a:pt x="756" y="176"/>
                      </a:lnTo>
                      <a:lnTo>
                        <a:pt x="760" y="176"/>
                      </a:lnTo>
                      <a:lnTo>
                        <a:pt x="764" y="176"/>
                      </a:lnTo>
                      <a:lnTo>
                        <a:pt x="768" y="176"/>
                      </a:lnTo>
                      <a:lnTo>
                        <a:pt x="764" y="172"/>
                      </a:lnTo>
                      <a:lnTo>
                        <a:pt x="760" y="172"/>
                      </a:lnTo>
                      <a:lnTo>
                        <a:pt x="764" y="172"/>
                      </a:lnTo>
                      <a:lnTo>
                        <a:pt x="760" y="172"/>
                      </a:lnTo>
                      <a:lnTo>
                        <a:pt x="760" y="168"/>
                      </a:lnTo>
                      <a:lnTo>
                        <a:pt x="764" y="168"/>
                      </a:lnTo>
                      <a:lnTo>
                        <a:pt x="760" y="168"/>
                      </a:lnTo>
                      <a:lnTo>
                        <a:pt x="756" y="168"/>
                      </a:lnTo>
                      <a:lnTo>
                        <a:pt x="752" y="168"/>
                      </a:lnTo>
                      <a:lnTo>
                        <a:pt x="752" y="164"/>
                      </a:lnTo>
                      <a:lnTo>
                        <a:pt x="748" y="160"/>
                      </a:lnTo>
                      <a:lnTo>
                        <a:pt x="746" y="160"/>
                      </a:lnTo>
                      <a:lnTo>
                        <a:pt x="746" y="158"/>
                      </a:lnTo>
                      <a:lnTo>
                        <a:pt x="748" y="158"/>
                      </a:lnTo>
                      <a:lnTo>
                        <a:pt x="752" y="158"/>
                      </a:lnTo>
                      <a:lnTo>
                        <a:pt x="752" y="154"/>
                      </a:lnTo>
                      <a:lnTo>
                        <a:pt x="760" y="154"/>
                      </a:lnTo>
                      <a:lnTo>
                        <a:pt x="764" y="154"/>
                      </a:lnTo>
                      <a:lnTo>
                        <a:pt x="768" y="154"/>
                      </a:lnTo>
                      <a:lnTo>
                        <a:pt x="772" y="158"/>
                      </a:lnTo>
                      <a:lnTo>
                        <a:pt x="776" y="158"/>
                      </a:lnTo>
                      <a:lnTo>
                        <a:pt x="778" y="160"/>
                      </a:lnTo>
                      <a:lnTo>
                        <a:pt x="782" y="164"/>
                      </a:lnTo>
                      <a:lnTo>
                        <a:pt x="782" y="168"/>
                      </a:lnTo>
                      <a:lnTo>
                        <a:pt x="778" y="168"/>
                      </a:lnTo>
                      <a:lnTo>
                        <a:pt x="782" y="168"/>
                      </a:lnTo>
                      <a:lnTo>
                        <a:pt x="782" y="164"/>
                      </a:lnTo>
                      <a:lnTo>
                        <a:pt x="786" y="168"/>
                      </a:lnTo>
                      <a:lnTo>
                        <a:pt x="790" y="168"/>
                      </a:lnTo>
                      <a:lnTo>
                        <a:pt x="794" y="168"/>
                      </a:lnTo>
                      <a:lnTo>
                        <a:pt x="794" y="172"/>
                      </a:lnTo>
                      <a:lnTo>
                        <a:pt x="798" y="172"/>
                      </a:lnTo>
                      <a:lnTo>
                        <a:pt x="798" y="168"/>
                      </a:lnTo>
                      <a:lnTo>
                        <a:pt x="802" y="168"/>
                      </a:lnTo>
                      <a:lnTo>
                        <a:pt x="806" y="168"/>
                      </a:lnTo>
                      <a:lnTo>
                        <a:pt x="808" y="168"/>
                      </a:lnTo>
                      <a:lnTo>
                        <a:pt x="812" y="168"/>
                      </a:lnTo>
                      <a:lnTo>
                        <a:pt x="808" y="168"/>
                      </a:lnTo>
                      <a:lnTo>
                        <a:pt x="808" y="164"/>
                      </a:lnTo>
                      <a:lnTo>
                        <a:pt x="812" y="164"/>
                      </a:lnTo>
                      <a:lnTo>
                        <a:pt x="816" y="164"/>
                      </a:lnTo>
                      <a:lnTo>
                        <a:pt x="820" y="160"/>
                      </a:lnTo>
                      <a:lnTo>
                        <a:pt x="824" y="158"/>
                      </a:lnTo>
                      <a:lnTo>
                        <a:pt x="828" y="154"/>
                      </a:lnTo>
                      <a:lnTo>
                        <a:pt x="828" y="150"/>
                      </a:lnTo>
                      <a:lnTo>
                        <a:pt x="832" y="150"/>
                      </a:lnTo>
                      <a:lnTo>
                        <a:pt x="828" y="150"/>
                      </a:lnTo>
                      <a:lnTo>
                        <a:pt x="824" y="150"/>
                      </a:lnTo>
                      <a:lnTo>
                        <a:pt x="824" y="154"/>
                      </a:lnTo>
                      <a:lnTo>
                        <a:pt x="820" y="154"/>
                      </a:lnTo>
                      <a:lnTo>
                        <a:pt x="820" y="158"/>
                      </a:lnTo>
                      <a:lnTo>
                        <a:pt x="816" y="158"/>
                      </a:lnTo>
                      <a:lnTo>
                        <a:pt x="816" y="160"/>
                      </a:lnTo>
                      <a:lnTo>
                        <a:pt x="812" y="160"/>
                      </a:lnTo>
                      <a:lnTo>
                        <a:pt x="812" y="164"/>
                      </a:lnTo>
                      <a:lnTo>
                        <a:pt x="808" y="164"/>
                      </a:lnTo>
                      <a:lnTo>
                        <a:pt x="806" y="164"/>
                      </a:lnTo>
                      <a:lnTo>
                        <a:pt x="802" y="164"/>
                      </a:lnTo>
                      <a:lnTo>
                        <a:pt x="798" y="164"/>
                      </a:lnTo>
                      <a:lnTo>
                        <a:pt x="794" y="164"/>
                      </a:lnTo>
                      <a:lnTo>
                        <a:pt x="794" y="160"/>
                      </a:lnTo>
                      <a:lnTo>
                        <a:pt x="798" y="160"/>
                      </a:lnTo>
                      <a:lnTo>
                        <a:pt x="802" y="160"/>
                      </a:lnTo>
                      <a:lnTo>
                        <a:pt x="798" y="158"/>
                      </a:lnTo>
                      <a:lnTo>
                        <a:pt x="798" y="160"/>
                      </a:lnTo>
                      <a:lnTo>
                        <a:pt x="794" y="160"/>
                      </a:lnTo>
                      <a:lnTo>
                        <a:pt x="790" y="160"/>
                      </a:lnTo>
                      <a:lnTo>
                        <a:pt x="786" y="160"/>
                      </a:lnTo>
                      <a:lnTo>
                        <a:pt x="786" y="158"/>
                      </a:lnTo>
                      <a:lnTo>
                        <a:pt x="790" y="158"/>
                      </a:lnTo>
                      <a:lnTo>
                        <a:pt x="786" y="158"/>
                      </a:lnTo>
                      <a:lnTo>
                        <a:pt x="786" y="154"/>
                      </a:lnTo>
                      <a:lnTo>
                        <a:pt x="790" y="154"/>
                      </a:lnTo>
                      <a:lnTo>
                        <a:pt x="794" y="154"/>
                      </a:lnTo>
                      <a:lnTo>
                        <a:pt x="798" y="154"/>
                      </a:lnTo>
                      <a:lnTo>
                        <a:pt x="802" y="154"/>
                      </a:lnTo>
                      <a:lnTo>
                        <a:pt x="798" y="154"/>
                      </a:lnTo>
                      <a:lnTo>
                        <a:pt x="794" y="154"/>
                      </a:lnTo>
                      <a:lnTo>
                        <a:pt x="790" y="154"/>
                      </a:lnTo>
                      <a:lnTo>
                        <a:pt x="786" y="154"/>
                      </a:lnTo>
                      <a:lnTo>
                        <a:pt x="782" y="154"/>
                      </a:lnTo>
                      <a:lnTo>
                        <a:pt x="786" y="150"/>
                      </a:lnTo>
                      <a:lnTo>
                        <a:pt x="790" y="150"/>
                      </a:lnTo>
                      <a:lnTo>
                        <a:pt x="794" y="150"/>
                      </a:lnTo>
                      <a:lnTo>
                        <a:pt x="798" y="150"/>
                      </a:lnTo>
                      <a:lnTo>
                        <a:pt x="802" y="150"/>
                      </a:lnTo>
                      <a:lnTo>
                        <a:pt x="798" y="150"/>
                      </a:lnTo>
                      <a:lnTo>
                        <a:pt x="794" y="150"/>
                      </a:lnTo>
                      <a:lnTo>
                        <a:pt x="790" y="150"/>
                      </a:lnTo>
                      <a:lnTo>
                        <a:pt x="790" y="146"/>
                      </a:lnTo>
                      <a:lnTo>
                        <a:pt x="794" y="146"/>
                      </a:lnTo>
                      <a:lnTo>
                        <a:pt x="798" y="146"/>
                      </a:lnTo>
                      <a:lnTo>
                        <a:pt x="802" y="146"/>
                      </a:lnTo>
                      <a:lnTo>
                        <a:pt x="806" y="146"/>
                      </a:lnTo>
                      <a:lnTo>
                        <a:pt x="802" y="146"/>
                      </a:lnTo>
                      <a:lnTo>
                        <a:pt x="798" y="146"/>
                      </a:lnTo>
                      <a:lnTo>
                        <a:pt x="794" y="146"/>
                      </a:lnTo>
                      <a:lnTo>
                        <a:pt x="794" y="142"/>
                      </a:lnTo>
                      <a:lnTo>
                        <a:pt x="798" y="142"/>
                      </a:lnTo>
                      <a:lnTo>
                        <a:pt x="794" y="142"/>
                      </a:lnTo>
                      <a:lnTo>
                        <a:pt x="794" y="138"/>
                      </a:lnTo>
                      <a:lnTo>
                        <a:pt x="794" y="136"/>
                      </a:lnTo>
                      <a:lnTo>
                        <a:pt x="798" y="136"/>
                      </a:lnTo>
                      <a:lnTo>
                        <a:pt x="794" y="138"/>
                      </a:lnTo>
                      <a:lnTo>
                        <a:pt x="794" y="142"/>
                      </a:lnTo>
                      <a:lnTo>
                        <a:pt x="790" y="142"/>
                      </a:lnTo>
                      <a:lnTo>
                        <a:pt x="790" y="146"/>
                      </a:lnTo>
                      <a:lnTo>
                        <a:pt x="786" y="150"/>
                      </a:lnTo>
                      <a:lnTo>
                        <a:pt x="782" y="150"/>
                      </a:lnTo>
                      <a:lnTo>
                        <a:pt x="778" y="150"/>
                      </a:lnTo>
                      <a:lnTo>
                        <a:pt x="776" y="150"/>
                      </a:lnTo>
                      <a:lnTo>
                        <a:pt x="776" y="146"/>
                      </a:lnTo>
                      <a:lnTo>
                        <a:pt x="778" y="146"/>
                      </a:lnTo>
                      <a:lnTo>
                        <a:pt x="778" y="142"/>
                      </a:lnTo>
                      <a:lnTo>
                        <a:pt x="776" y="142"/>
                      </a:lnTo>
                      <a:lnTo>
                        <a:pt x="776" y="146"/>
                      </a:lnTo>
                      <a:lnTo>
                        <a:pt x="772" y="146"/>
                      </a:lnTo>
                      <a:lnTo>
                        <a:pt x="768" y="146"/>
                      </a:lnTo>
                      <a:lnTo>
                        <a:pt x="768" y="150"/>
                      </a:lnTo>
                      <a:lnTo>
                        <a:pt x="764" y="150"/>
                      </a:lnTo>
                      <a:lnTo>
                        <a:pt x="760" y="150"/>
                      </a:lnTo>
                      <a:lnTo>
                        <a:pt x="756" y="150"/>
                      </a:lnTo>
                      <a:lnTo>
                        <a:pt x="756" y="146"/>
                      </a:lnTo>
                      <a:lnTo>
                        <a:pt x="760" y="146"/>
                      </a:lnTo>
                      <a:lnTo>
                        <a:pt x="756" y="146"/>
                      </a:lnTo>
                      <a:lnTo>
                        <a:pt x="756" y="142"/>
                      </a:lnTo>
                      <a:lnTo>
                        <a:pt x="756" y="138"/>
                      </a:lnTo>
                      <a:lnTo>
                        <a:pt x="760" y="138"/>
                      </a:lnTo>
                      <a:lnTo>
                        <a:pt x="760" y="136"/>
                      </a:lnTo>
                      <a:lnTo>
                        <a:pt x="764" y="136"/>
                      </a:lnTo>
                      <a:lnTo>
                        <a:pt x="760" y="136"/>
                      </a:lnTo>
                      <a:lnTo>
                        <a:pt x="764" y="132"/>
                      </a:lnTo>
                      <a:lnTo>
                        <a:pt x="768" y="128"/>
                      </a:lnTo>
                      <a:lnTo>
                        <a:pt x="772" y="128"/>
                      </a:lnTo>
                      <a:lnTo>
                        <a:pt x="776" y="128"/>
                      </a:lnTo>
                      <a:lnTo>
                        <a:pt x="778" y="128"/>
                      </a:lnTo>
                      <a:lnTo>
                        <a:pt x="782" y="128"/>
                      </a:lnTo>
                      <a:lnTo>
                        <a:pt x="786" y="128"/>
                      </a:lnTo>
                      <a:lnTo>
                        <a:pt x="786" y="124"/>
                      </a:lnTo>
                      <a:lnTo>
                        <a:pt x="790" y="124"/>
                      </a:lnTo>
                      <a:lnTo>
                        <a:pt x="794" y="128"/>
                      </a:lnTo>
                      <a:lnTo>
                        <a:pt x="798" y="128"/>
                      </a:lnTo>
                      <a:lnTo>
                        <a:pt x="802" y="128"/>
                      </a:lnTo>
                      <a:lnTo>
                        <a:pt x="806" y="128"/>
                      </a:lnTo>
                      <a:lnTo>
                        <a:pt x="808" y="128"/>
                      </a:lnTo>
                      <a:lnTo>
                        <a:pt x="812" y="128"/>
                      </a:lnTo>
                      <a:lnTo>
                        <a:pt x="816" y="128"/>
                      </a:lnTo>
                      <a:lnTo>
                        <a:pt x="816" y="132"/>
                      </a:lnTo>
                      <a:lnTo>
                        <a:pt x="820" y="132"/>
                      </a:lnTo>
                      <a:lnTo>
                        <a:pt x="824" y="132"/>
                      </a:lnTo>
                      <a:lnTo>
                        <a:pt x="828" y="136"/>
                      </a:lnTo>
                      <a:lnTo>
                        <a:pt x="832" y="136"/>
                      </a:lnTo>
                      <a:lnTo>
                        <a:pt x="828" y="136"/>
                      </a:lnTo>
                      <a:lnTo>
                        <a:pt x="828" y="132"/>
                      </a:lnTo>
                      <a:lnTo>
                        <a:pt x="832" y="132"/>
                      </a:lnTo>
                      <a:lnTo>
                        <a:pt x="828" y="132"/>
                      </a:lnTo>
                      <a:lnTo>
                        <a:pt x="824" y="132"/>
                      </a:lnTo>
                      <a:lnTo>
                        <a:pt x="820" y="132"/>
                      </a:lnTo>
                      <a:lnTo>
                        <a:pt x="820" y="128"/>
                      </a:lnTo>
                      <a:lnTo>
                        <a:pt x="816" y="128"/>
                      </a:lnTo>
                      <a:lnTo>
                        <a:pt x="820" y="128"/>
                      </a:lnTo>
                      <a:lnTo>
                        <a:pt x="824" y="128"/>
                      </a:lnTo>
                      <a:lnTo>
                        <a:pt x="828" y="128"/>
                      </a:lnTo>
                      <a:lnTo>
                        <a:pt x="832" y="128"/>
                      </a:lnTo>
                      <a:lnTo>
                        <a:pt x="834" y="128"/>
                      </a:lnTo>
                      <a:lnTo>
                        <a:pt x="838" y="128"/>
                      </a:lnTo>
                      <a:lnTo>
                        <a:pt x="834" y="128"/>
                      </a:lnTo>
                      <a:lnTo>
                        <a:pt x="838" y="128"/>
                      </a:lnTo>
                      <a:lnTo>
                        <a:pt x="838" y="124"/>
                      </a:lnTo>
                      <a:lnTo>
                        <a:pt x="842" y="124"/>
                      </a:lnTo>
                      <a:lnTo>
                        <a:pt x="842" y="120"/>
                      </a:lnTo>
                      <a:lnTo>
                        <a:pt x="838" y="120"/>
                      </a:lnTo>
                      <a:lnTo>
                        <a:pt x="834" y="124"/>
                      </a:lnTo>
                      <a:lnTo>
                        <a:pt x="832" y="124"/>
                      </a:lnTo>
                      <a:lnTo>
                        <a:pt x="832" y="128"/>
                      </a:lnTo>
                      <a:lnTo>
                        <a:pt x="828" y="128"/>
                      </a:lnTo>
                      <a:lnTo>
                        <a:pt x="824" y="128"/>
                      </a:lnTo>
                      <a:lnTo>
                        <a:pt x="824" y="124"/>
                      </a:lnTo>
                      <a:lnTo>
                        <a:pt x="820" y="124"/>
                      </a:lnTo>
                      <a:lnTo>
                        <a:pt x="816" y="124"/>
                      </a:lnTo>
                      <a:lnTo>
                        <a:pt x="812" y="124"/>
                      </a:lnTo>
                      <a:lnTo>
                        <a:pt x="808" y="124"/>
                      </a:lnTo>
                      <a:lnTo>
                        <a:pt x="806" y="124"/>
                      </a:lnTo>
                      <a:lnTo>
                        <a:pt x="802" y="124"/>
                      </a:lnTo>
                      <a:lnTo>
                        <a:pt x="798" y="124"/>
                      </a:lnTo>
                      <a:lnTo>
                        <a:pt x="794" y="124"/>
                      </a:lnTo>
                      <a:lnTo>
                        <a:pt x="794" y="120"/>
                      </a:lnTo>
                      <a:lnTo>
                        <a:pt x="798" y="120"/>
                      </a:lnTo>
                      <a:lnTo>
                        <a:pt x="806" y="120"/>
                      </a:lnTo>
                      <a:lnTo>
                        <a:pt x="808" y="120"/>
                      </a:lnTo>
                      <a:lnTo>
                        <a:pt x="808" y="124"/>
                      </a:lnTo>
                      <a:lnTo>
                        <a:pt x="812" y="124"/>
                      </a:lnTo>
                      <a:lnTo>
                        <a:pt x="816" y="120"/>
                      </a:lnTo>
                      <a:lnTo>
                        <a:pt x="812" y="120"/>
                      </a:lnTo>
                      <a:lnTo>
                        <a:pt x="808" y="120"/>
                      </a:lnTo>
                      <a:lnTo>
                        <a:pt x="806" y="120"/>
                      </a:lnTo>
                      <a:lnTo>
                        <a:pt x="806" y="116"/>
                      </a:lnTo>
                      <a:lnTo>
                        <a:pt x="802" y="116"/>
                      </a:lnTo>
                      <a:lnTo>
                        <a:pt x="802" y="112"/>
                      </a:lnTo>
                      <a:lnTo>
                        <a:pt x="798" y="112"/>
                      </a:lnTo>
                      <a:lnTo>
                        <a:pt x="798" y="108"/>
                      </a:lnTo>
                      <a:lnTo>
                        <a:pt x="794" y="108"/>
                      </a:lnTo>
                      <a:lnTo>
                        <a:pt x="790" y="106"/>
                      </a:lnTo>
                      <a:lnTo>
                        <a:pt x="786" y="106"/>
                      </a:lnTo>
                      <a:lnTo>
                        <a:pt x="786" y="102"/>
                      </a:lnTo>
                      <a:lnTo>
                        <a:pt x="782" y="102"/>
                      </a:lnTo>
                      <a:lnTo>
                        <a:pt x="778" y="102"/>
                      </a:lnTo>
                      <a:lnTo>
                        <a:pt x="776" y="102"/>
                      </a:lnTo>
                      <a:lnTo>
                        <a:pt x="772" y="102"/>
                      </a:lnTo>
                      <a:lnTo>
                        <a:pt x="772" y="98"/>
                      </a:lnTo>
                      <a:lnTo>
                        <a:pt x="772" y="94"/>
                      </a:lnTo>
                      <a:lnTo>
                        <a:pt x="776" y="94"/>
                      </a:lnTo>
                      <a:lnTo>
                        <a:pt x="778" y="94"/>
                      </a:lnTo>
                      <a:lnTo>
                        <a:pt x="778" y="98"/>
                      </a:lnTo>
                      <a:lnTo>
                        <a:pt x="782" y="98"/>
                      </a:lnTo>
                      <a:lnTo>
                        <a:pt x="786" y="98"/>
                      </a:lnTo>
                      <a:lnTo>
                        <a:pt x="782" y="94"/>
                      </a:lnTo>
                      <a:lnTo>
                        <a:pt x="776" y="94"/>
                      </a:lnTo>
                      <a:lnTo>
                        <a:pt x="772" y="94"/>
                      </a:lnTo>
                      <a:lnTo>
                        <a:pt x="768" y="94"/>
                      </a:lnTo>
                      <a:lnTo>
                        <a:pt x="768" y="90"/>
                      </a:lnTo>
                      <a:lnTo>
                        <a:pt x="772" y="86"/>
                      </a:lnTo>
                      <a:lnTo>
                        <a:pt x="776" y="82"/>
                      </a:lnTo>
                      <a:lnTo>
                        <a:pt x="778" y="82"/>
                      </a:lnTo>
                      <a:lnTo>
                        <a:pt x="782" y="86"/>
                      </a:lnTo>
                      <a:lnTo>
                        <a:pt x="786" y="86"/>
                      </a:lnTo>
                      <a:lnTo>
                        <a:pt x="790" y="86"/>
                      </a:lnTo>
                      <a:lnTo>
                        <a:pt x="794" y="86"/>
                      </a:lnTo>
                      <a:lnTo>
                        <a:pt x="798" y="86"/>
                      </a:lnTo>
                      <a:lnTo>
                        <a:pt x="802" y="86"/>
                      </a:lnTo>
                      <a:lnTo>
                        <a:pt x="806" y="86"/>
                      </a:lnTo>
                      <a:lnTo>
                        <a:pt x="808" y="86"/>
                      </a:lnTo>
                      <a:lnTo>
                        <a:pt x="812" y="86"/>
                      </a:lnTo>
                      <a:lnTo>
                        <a:pt x="812" y="90"/>
                      </a:lnTo>
                      <a:lnTo>
                        <a:pt x="816" y="90"/>
                      </a:lnTo>
                      <a:lnTo>
                        <a:pt x="820" y="90"/>
                      </a:lnTo>
                      <a:lnTo>
                        <a:pt x="820" y="94"/>
                      </a:lnTo>
                      <a:lnTo>
                        <a:pt x="824" y="94"/>
                      </a:lnTo>
                      <a:lnTo>
                        <a:pt x="828" y="94"/>
                      </a:lnTo>
                      <a:lnTo>
                        <a:pt x="832" y="98"/>
                      </a:lnTo>
                      <a:lnTo>
                        <a:pt x="834" y="98"/>
                      </a:lnTo>
                      <a:lnTo>
                        <a:pt x="834" y="102"/>
                      </a:lnTo>
                      <a:lnTo>
                        <a:pt x="838" y="102"/>
                      </a:lnTo>
                      <a:lnTo>
                        <a:pt x="838" y="106"/>
                      </a:lnTo>
                      <a:lnTo>
                        <a:pt x="842" y="106"/>
                      </a:lnTo>
                      <a:lnTo>
                        <a:pt x="846" y="106"/>
                      </a:lnTo>
                      <a:lnTo>
                        <a:pt x="850" y="106"/>
                      </a:lnTo>
                      <a:lnTo>
                        <a:pt x="854" y="106"/>
                      </a:lnTo>
                      <a:lnTo>
                        <a:pt x="858" y="106"/>
                      </a:lnTo>
                      <a:lnTo>
                        <a:pt x="862" y="106"/>
                      </a:lnTo>
                      <a:lnTo>
                        <a:pt x="864" y="106"/>
                      </a:lnTo>
                      <a:lnTo>
                        <a:pt x="864" y="102"/>
                      </a:lnTo>
                      <a:lnTo>
                        <a:pt x="862" y="102"/>
                      </a:lnTo>
                      <a:lnTo>
                        <a:pt x="858" y="102"/>
                      </a:lnTo>
                      <a:lnTo>
                        <a:pt x="858" y="106"/>
                      </a:lnTo>
                      <a:lnTo>
                        <a:pt x="854" y="106"/>
                      </a:lnTo>
                      <a:lnTo>
                        <a:pt x="850" y="106"/>
                      </a:lnTo>
                      <a:lnTo>
                        <a:pt x="846" y="102"/>
                      </a:lnTo>
                      <a:lnTo>
                        <a:pt x="842" y="102"/>
                      </a:lnTo>
                      <a:lnTo>
                        <a:pt x="838" y="98"/>
                      </a:lnTo>
                      <a:lnTo>
                        <a:pt x="842" y="98"/>
                      </a:lnTo>
                      <a:lnTo>
                        <a:pt x="842" y="94"/>
                      </a:lnTo>
                      <a:lnTo>
                        <a:pt x="838" y="94"/>
                      </a:lnTo>
                      <a:lnTo>
                        <a:pt x="834" y="94"/>
                      </a:lnTo>
                      <a:lnTo>
                        <a:pt x="832" y="94"/>
                      </a:lnTo>
                      <a:lnTo>
                        <a:pt x="828" y="94"/>
                      </a:lnTo>
                      <a:lnTo>
                        <a:pt x="824" y="90"/>
                      </a:lnTo>
                      <a:lnTo>
                        <a:pt x="820" y="86"/>
                      </a:lnTo>
                      <a:lnTo>
                        <a:pt x="816" y="86"/>
                      </a:lnTo>
                      <a:lnTo>
                        <a:pt x="816" y="82"/>
                      </a:lnTo>
                      <a:lnTo>
                        <a:pt x="820" y="82"/>
                      </a:lnTo>
                      <a:lnTo>
                        <a:pt x="824" y="82"/>
                      </a:lnTo>
                      <a:lnTo>
                        <a:pt x="828" y="82"/>
                      </a:lnTo>
                      <a:lnTo>
                        <a:pt x="832" y="82"/>
                      </a:lnTo>
                      <a:lnTo>
                        <a:pt x="834" y="82"/>
                      </a:lnTo>
                      <a:lnTo>
                        <a:pt x="838" y="82"/>
                      </a:lnTo>
                      <a:lnTo>
                        <a:pt x="842" y="82"/>
                      </a:lnTo>
                      <a:lnTo>
                        <a:pt x="846" y="82"/>
                      </a:lnTo>
                      <a:lnTo>
                        <a:pt x="850" y="82"/>
                      </a:lnTo>
                      <a:lnTo>
                        <a:pt x="850" y="78"/>
                      </a:lnTo>
                      <a:lnTo>
                        <a:pt x="854" y="78"/>
                      </a:lnTo>
                      <a:lnTo>
                        <a:pt x="858" y="78"/>
                      </a:lnTo>
                      <a:lnTo>
                        <a:pt x="862" y="78"/>
                      </a:lnTo>
                      <a:lnTo>
                        <a:pt x="864" y="78"/>
                      </a:lnTo>
                      <a:lnTo>
                        <a:pt x="868" y="78"/>
                      </a:lnTo>
                      <a:lnTo>
                        <a:pt x="872" y="78"/>
                      </a:lnTo>
                      <a:lnTo>
                        <a:pt x="876" y="78"/>
                      </a:lnTo>
                      <a:lnTo>
                        <a:pt x="880" y="78"/>
                      </a:lnTo>
                      <a:lnTo>
                        <a:pt x="884" y="78"/>
                      </a:lnTo>
                      <a:lnTo>
                        <a:pt x="888" y="78"/>
                      </a:lnTo>
                      <a:lnTo>
                        <a:pt x="890" y="78"/>
                      </a:lnTo>
                      <a:lnTo>
                        <a:pt x="890" y="76"/>
                      </a:lnTo>
                      <a:lnTo>
                        <a:pt x="888" y="76"/>
                      </a:lnTo>
                      <a:lnTo>
                        <a:pt x="880" y="76"/>
                      </a:lnTo>
                      <a:lnTo>
                        <a:pt x="876" y="76"/>
                      </a:lnTo>
                      <a:lnTo>
                        <a:pt x="872" y="76"/>
                      </a:lnTo>
                      <a:lnTo>
                        <a:pt x="868" y="76"/>
                      </a:lnTo>
                      <a:lnTo>
                        <a:pt x="864" y="76"/>
                      </a:lnTo>
                      <a:lnTo>
                        <a:pt x="868" y="76"/>
                      </a:lnTo>
                      <a:lnTo>
                        <a:pt x="872" y="76"/>
                      </a:lnTo>
                      <a:lnTo>
                        <a:pt x="876" y="72"/>
                      </a:lnTo>
                      <a:lnTo>
                        <a:pt x="880" y="72"/>
                      </a:lnTo>
                      <a:lnTo>
                        <a:pt x="884" y="72"/>
                      </a:lnTo>
                      <a:lnTo>
                        <a:pt x="888" y="72"/>
                      </a:lnTo>
                      <a:lnTo>
                        <a:pt x="890" y="72"/>
                      </a:lnTo>
                      <a:lnTo>
                        <a:pt x="894" y="72"/>
                      </a:lnTo>
                      <a:lnTo>
                        <a:pt x="902" y="68"/>
                      </a:lnTo>
                      <a:lnTo>
                        <a:pt x="906" y="68"/>
                      </a:lnTo>
                      <a:lnTo>
                        <a:pt x="910" y="68"/>
                      </a:lnTo>
                      <a:lnTo>
                        <a:pt x="914" y="68"/>
                      </a:lnTo>
                      <a:lnTo>
                        <a:pt x="910" y="68"/>
                      </a:lnTo>
                      <a:lnTo>
                        <a:pt x="906" y="68"/>
                      </a:lnTo>
                      <a:lnTo>
                        <a:pt x="902" y="68"/>
                      </a:lnTo>
                      <a:lnTo>
                        <a:pt x="898" y="68"/>
                      </a:lnTo>
                      <a:lnTo>
                        <a:pt x="894" y="68"/>
                      </a:lnTo>
                      <a:lnTo>
                        <a:pt x="890" y="68"/>
                      </a:lnTo>
                      <a:lnTo>
                        <a:pt x="884" y="68"/>
                      </a:lnTo>
                      <a:lnTo>
                        <a:pt x="880" y="68"/>
                      </a:lnTo>
                      <a:lnTo>
                        <a:pt x="876" y="68"/>
                      </a:lnTo>
                      <a:lnTo>
                        <a:pt x="876" y="64"/>
                      </a:lnTo>
                      <a:lnTo>
                        <a:pt x="880" y="64"/>
                      </a:lnTo>
                      <a:lnTo>
                        <a:pt x="884" y="64"/>
                      </a:lnTo>
                      <a:lnTo>
                        <a:pt x="884" y="60"/>
                      </a:lnTo>
                      <a:lnTo>
                        <a:pt x="888" y="60"/>
                      </a:lnTo>
                      <a:lnTo>
                        <a:pt x="890" y="56"/>
                      </a:lnTo>
                      <a:lnTo>
                        <a:pt x="894" y="56"/>
                      </a:lnTo>
                      <a:lnTo>
                        <a:pt x="898" y="56"/>
                      </a:lnTo>
                      <a:lnTo>
                        <a:pt x="902" y="52"/>
                      </a:lnTo>
                      <a:lnTo>
                        <a:pt x="906" y="52"/>
                      </a:lnTo>
                      <a:lnTo>
                        <a:pt x="910" y="52"/>
                      </a:lnTo>
                      <a:lnTo>
                        <a:pt x="906" y="52"/>
                      </a:lnTo>
                      <a:lnTo>
                        <a:pt x="902" y="52"/>
                      </a:lnTo>
                      <a:lnTo>
                        <a:pt x="898" y="52"/>
                      </a:lnTo>
                      <a:lnTo>
                        <a:pt x="894" y="52"/>
                      </a:lnTo>
                      <a:lnTo>
                        <a:pt x="890" y="56"/>
                      </a:lnTo>
                      <a:lnTo>
                        <a:pt x="888" y="56"/>
                      </a:lnTo>
                      <a:lnTo>
                        <a:pt x="884" y="56"/>
                      </a:lnTo>
                      <a:lnTo>
                        <a:pt x="884" y="60"/>
                      </a:lnTo>
                      <a:lnTo>
                        <a:pt x="880" y="60"/>
                      </a:lnTo>
                      <a:lnTo>
                        <a:pt x="876" y="60"/>
                      </a:lnTo>
                      <a:lnTo>
                        <a:pt x="872" y="60"/>
                      </a:lnTo>
                      <a:lnTo>
                        <a:pt x="868" y="60"/>
                      </a:lnTo>
                      <a:lnTo>
                        <a:pt x="872" y="60"/>
                      </a:lnTo>
                      <a:lnTo>
                        <a:pt x="876" y="60"/>
                      </a:lnTo>
                      <a:lnTo>
                        <a:pt x="876" y="64"/>
                      </a:lnTo>
                      <a:lnTo>
                        <a:pt x="872" y="64"/>
                      </a:lnTo>
                      <a:lnTo>
                        <a:pt x="876" y="64"/>
                      </a:lnTo>
                      <a:lnTo>
                        <a:pt x="872" y="68"/>
                      </a:lnTo>
                      <a:lnTo>
                        <a:pt x="868" y="72"/>
                      </a:lnTo>
                      <a:lnTo>
                        <a:pt x="864" y="72"/>
                      </a:lnTo>
                      <a:lnTo>
                        <a:pt x="862" y="72"/>
                      </a:lnTo>
                      <a:lnTo>
                        <a:pt x="858" y="72"/>
                      </a:lnTo>
                      <a:lnTo>
                        <a:pt x="854" y="72"/>
                      </a:lnTo>
                      <a:lnTo>
                        <a:pt x="854" y="76"/>
                      </a:lnTo>
                      <a:lnTo>
                        <a:pt x="850" y="76"/>
                      </a:lnTo>
                      <a:lnTo>
                        <a:pt x="842" y="76"/>
                      </a:lnTo>
                      <a:lnTo>
                        <a:pt x="838" y="76"/>
                      </a:lnTo>
                      <a:lnTo>
                        <a:pt x="834" y="76"/>
                      </a:lnTo>
                      <a:lnTo>
                        <a:pt x="828" y="78"/>
                      </a:lnTo>
                      <a:lnTo>
                        <a:pt x="824" y="78"/>
                      </a:lnTo>
                      <a:lnTo>
                        <a:pt x="820" y="78"/>
                      </a:lnTo>
                      <a:lnTo>
                        <a:pt x="820" y="78"/>
                      </a:lnTo>
                      <a:lnTo>
                        <a:pt x="820" y="7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30" name="Freeform 69"/>
                <p:cNvSpPr>
                  <a:spLocks/>
                </p:cNvSpPr>
                <p:nvPr/>
              </p:nvSpPr>
              <p:spPr bwMode="auto">
                <a:xfrm>
                  <a:off x="2466975" y="4254568"/>
                  <a:ext cx="76200" cy="88900"/>
                </a:xfrm>
                <a:custGeom>
                  <a:avLst/>
                  <a:gdLst>
                    <a:gd name="T0" fmla="*/ 6 w 48"/>
                    <a:gd name="T1" fmla="*/ 22 h 56"/>
                    <a:gd name="T2" fmla="*/ 2 w 48"/>
                    <a:gd name="T3" fmla="*/ 22 h 56"/>
                    <a:gd name="T4" fmla="*/ 2 w 48"/>
                    <a:gd name="T5" fmla="*/ 18 h 56"/>
                    <a:gd name="T6" fmla="*/ 0 w 48"/>
                    <a:gd name="T7" fmla="*/ 16 h 56"/>
                    <a:gd name="T8" fmla="*/ 2 w 48"/>
                    <a:gd name="T9" fmla="*/ 12 h 56"/>
                    <a:gd name="T10" fmla="*/ 0 w 48"/>
                    <a:gd name="T11" fmla="*/ 8 h 56"/>
                    <a:gd name="T12" fmla="*/ 0 w 48"/>
                    <a:gd name="T13" fmla="*/ 4 h 56"/>
                    <a:gd name="T14" fmla="*/ 2 w 48"/>
                    <a:gd name="T15" fmla="*/ 4 h 56"/>
                    <a:gd name="T16" fmla="*/ 2 w 48"/>
                    <a:gd name="T17" fmla="*/ 0 h 56"/>
                    <a:gd name="T18" fmla="*/ 6 w 48"/>
                    <a:gd name="T19" fmla="*/ 4 h 56"/>
                    <a:gd name="T20" fmla="*/ 10 w 48"/>
                    <a:gd name="T21" fmla="*/ 4 h 56"/>
                    <a:gd name="T22" fmla="*/ 18 w 48"/>
                    <a:gd name="T23" fmla="*/ 4 h 56"/>
                    <a:gd name="T24" fmla="*/ 26 w 48"/>
                    <a:gd name="T25" fmla="*/ 8 h 56"/>
                    <a:gd name="T26" fmla="*/ 26 w 48"/>
                    <a:gd name="T27" fmla="*/ 8 h 56"/>
                    <a:gd name="T28" fmla="*/ 28 w 48"/>
                    <a:gd name="T29" fmla="*/ 8 h 56"/>
                    <a:gd name="T30" fmla="*/ 28 w 48"/>
                    <a:gd name="T31" fmla="*/ 8 h 56"/>
                    <a:gd name="T32" fmla="*/ 32 w 48"/>
                    <a:gd name="T33" fmla="*/ 4 h 56"/>
                    <a:gd name="T34" fmla="*/ 32 w 48"/>
                    <a:gd name="T35" fmla="*/ 8 h 56"/>
                    <a:gd name="T36" fmla="*/ 32 w 48"/>
                    <a:gd name="T37" fmla="*/ 8 h 56"/>
                    <a:gd name="T38" fmla="*/ 36 w 48"/>
                    <a:gd name="T39" fmla="*/ 16 h 56"/>
                    <a:gd name="T40" fmla="*/ 40 w 48"/>
                    <a:gd name="T41" fmla="*/ 22 h 56"/>
                    <a:gd name="T42" fmla="*/ 44 w 48"/>
                    <a:gd name="T43" fmla="*/ 26 h 56"/>
                    <a:gd name="T44" fmla="*/ 48 w 48"/>
                    <a:gd name="T45" fmla="*/ 30 h 56"/>
                    <a:gd name="T46" fmla="*/ 44 w 48"/>
                    <a:gd name="T47" fmla="*/ 30 h 56"/>
                    <a:gd name="T48" fmla="*/ 44 w 48"/>
                    <a:gd name="T49" fmla="*/ 26 h 56"/>
                    <a:gd name="T50" fmla="*/ 40 w 48"/>
                    <a:gd name="T51" fmla="*/ 38 h 56"/>
                    <a:gd name="T52" fmla="*/ 44 w 48"/>
                    <a:gd name="T53" fmla="*/ 40 h 56"/>
                    <a:gd name="T54" fmla="*/ 40 w 48"/>
                    <a:gd name="T55" fmla="*/ 40 h 56"/>
                    <a:gd name="T56" fmla="*/ 40 w 48"/>
                    <a:gd name="T57" fmla="*/ 44 h 56"/>
                    <a:gd name="T58" fmla="*/ 40 w 48"/>
                    <a:gd name="T59" fmla="*/ 48 h 56"/>
                    <a:gd name="T60" fmla="*/ 40 w 48"/>
                    <a:gd name="T61" fmla="*/ 48 h 56"/>
                    <a:gd name="T62" fmla="*/ 40 w 48"/>
                    <a:gd name="T63" fmla="*/ 52 h 56"/>
                    <a:gd name="T64" fmla="*/ 40 w 48"/>
                    <a:gd name="T65" fmla="*/ 56 h 56"/>
                    <a:gd name="T66" fmla="*/ 40 w 48"/>
                    <a:gd name="T67" fmla="*/ 52 h 56"/>
                    <a:gd name="T68" fmla="*/ 36 w 48"/>
                    <a:gd name="T69" fmla="*/ 48 h 56"/>
                    <a:gd name="T70" fmla="*/ 36 w 48"/>
                    <a:gd name="T71" fmla="*/ 44 h 56"/>
                    <a:gd name="T72" fmla="*/ 36 w 48"/>
                    <a:gd name="T73" fmla="*/ 40 h 56"/>
                    <a:gd name="T74" fmla="*/ 32 w 48"/>
                    <a:gd name="T75" fmla="*/ 44 h 56"/>
                    <a:gd name="T76" fmla="*/ 36 w 48"/>
                    <a:gd name="T77" fmla="*/ 44 h 56"/>
                    <a:gd name="T78" fmla="*/ 36 w 48"/>
                    <a:gd name="T79" fmla="*/ 48 h 56"/>
                    <a:gd name="T80" fmla="*/ 36 w 48"/>
                    <a:gd name="T81" fmla="*/ 48 h 56"/>
                    <a:gd name="T82" fmla="*/ 32 w 48"/>
                    <a:gd name="T83" fmla="*/ 48 h 56"/>
                    <a:gd name="T84" fmla="*/ 28 w 48"/>
                    <a:gd name="T85" fmla="*/ 44 h 56"/>
                    <a:gd name="T86" fmla="*/ 32 w 48"/>
                    <a:gd name="T87" fmla="*/ 38 h 56"/>
                    <a:gd name="T88" fmla="*/ 28 w 48"/>
                    <a:gd name="T89" fmla="*/ 34 h 56"/>
                    <a:gd name="T90" fmla="*/ 26 w 48"/>
                    <a:gd name="T91" fmla="*/ 30 h 56"/>
                    <a:gd name="T92" fmla="*/ 22 w 48"/>
                    <a:gd name="T93" fmla="*/ 30 h 56"/>
                    <a:gd name="T94" fmla="*/ 18 w 48"/>
                    <a:gd name="T95" fmla="*/ 26 h 56"/>
                    <a:gd name="T96" fmla="*/ 18 w 48"/>
                    <a:gd name="T97" fmla="*/ 26 h 56"/>
                    <a:gd name="T98" fmla="*/ 14 w 48"/>
                    <a:gd name="T99" fmla="*/ 22 h 56"/>
                    <a:gd name="T100" fmla="*/ 10 w 48"/>
                    <a:gd name="T101" fmla="*/ 18 h 56"/>
                    <a:gd name="T102" fmla="*/ 10 w 48"/>
                    <a:gd name="T103" fmla="*/ 18 h 56"/>
                    <a:gd name="T104" fmla="*/ 10 w 48"/>
                    <a:gd name="T105" fmla="*/ 18 h 56"/>
                    <a:gd name="T106" fmla="*/ 14 w 48"/>
                    <a:gd name="T107" fmla="*/ 22 h 56"/>
                    <a:gd name="T108" fmla="*/ 10 w 48"/>
                    <a:gd name="T109" fmla="*/ 2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48" h="56">
                      <a:moveTo>
                        <a:pt x="10" y="26"/>
                      </a:moveTo>
                      <a:lnTo>
                        <a:pt x="6" y="26"/>
                      </a:lnTo>
                      <a:lnTo>
                        <a:pt x="6" y="22"/>
                      </a:lnTo>
                      <a:lnTo>
                        <a:pt x="6" y="22"/>
                      </a:lnTo>
                      <a:lnTo>
                        <a:pt x="6" y="22"/>
                      </a:lnTo>
                      <a:lnTo>
                        <a:pt x="2" y="22"/>
                      </a:lnTo>
                      <a:lnTo>
                        <a:pt x="2" y="22"/>
                      </a:lnTo>
                      <a:lnTo>
                        <a:pt x="2" y="22"/>
                      </a:lnTo>
                      <a:lnTo>
                        <a:pt x="2" y="22"/>
                      </a:lnTo>
                      <a:lnTo>
                        <a:pt x="2" y="22"/>
                      </a:lnTo>
                      <a:lnTo>
                        <a:pt x="2" y="22"/>
                      </a:lnTo>
                      <a:lnTo>
                        <a:pt x="2" y="18"/>
                      </a:lnTo>
                      <a:lnTo>
                        <a:pt x="2" y="18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2" y="12"/>
                      </a:lnTo>
                      <a:lnTo>
                        <a:pt x="2" y="12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0" y="8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4" y="4"/>
                      </a:lnTo>
                      <a:lnTo>
                        <a:pt x="18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8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28" y="8"/>
                      </a:lnTo>
                      <a:lnTo>
                        <a:pt x="28" y="8"/>
                      </a:lnTo>
                      <a:lnTo>
                        <a:pt x="28" y="8"/>
                      </a:lnTo>
                      <a:lnTo>
                        <a:pt x="28" y="8"/>
                      </a:lnTo>
                      <a:lnTo>
                        <a:pt x="28" y="8"/>
                      </a:lnTo>
                      <a:lnTo>
                        <a:pt x="28" y="8"/>
                      </a:lnTo>
                      <a:lnTo>
                        <a:pt x="28" y="8"/>
                      </a:lnTo>
                      <a:lnTo>
                        <a:pt x="32" y="8"/>
                      </a:lnTo>
                      <a:lnTo>
                        <a:pt x="32" y="8"/>
                      </a:lnTo>
                      <a:lnTo>
                        <a:pt x="32" y="4"/>
                      </a:lnTo>
                      <a:lnTo>
                        <a:pt x="32" y="4"/>
                      </a:lnTo>
                      <a:lnTo>
                        <a:pt x="32" y="4"/>
                      </a:lnTo>
                      <a:lnTo>
                        <a:pt x="32" y="4"/>
                      </a:lnTo>
                      <a:lnTo>
                        <a:pt x="32" y="8"/>
                      </a:lnTo>
                      <a:lnTo>
                        <a:pt x="32" y="8"/>
                      </a:lnTo>
                      <a:lnTo>
                        <a:pt x="32" y="8"/>
                      </a:lnTo>
                      <a:lnTo>
                        <a:pt x="32" y="8"/>
                      </a:lnTo>
                      <a:lnTo>
                        <a:pt x="32" y="8"/>
                      </a:lnTo>
                      <a:lnTo>
                        <a:pt x="32" y="12"/>
                      </a:lnTo>
                      <a:lnTo>
                        <a:pt x="32" y="12"/>
                      </a:lnTo>
                      <a:lnTo>
                        <a:pt x="32" y="16"/>
                      </a:lnTo>
                      <a:lnTo>
                        <a:pt x="36" y="16"/>
                      </a:lnTo>
                      <a:lnTo>
                        <a:pt x="40" y="22"/>
                      </a:lnTo>
                      <a:lnTo>
                        <a:pt x="40" y="22"/>
                      </a:lnTo>
                      <a:lnTo>
                        <a:pt x="40" y="22"/>
                      </a:lnTo>
                      <a:lnTo>
                        <a:pt x="40" y="22"/>
                      </a:lnTo>
                      <a:lnTo>
                        <a:pt x="40" y="22"/>
                      </a:lnTo>
                      <a:lnTo>
                        <a:pt x="40" y="22"/>
                      </a:lnTo>
                      <a:lnTo>
                        <a:pt x="44" y="26"/>
                      </a:lnTo>
                      <a:lnTo>
                        <a:pt x="44" y="26"/>
                      </a:lnTo>
                      <a:lnTo>
                        <a:pt x="44" y="26"/>
                      </a:lnTo>
                      <a:lnTo>
                        <a:pt x="44" y="26"/>
                      </a:lnTo>
                      <a:lnTo>
                        <a:pt x="48" y="26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4" y="30"/>
                      </a:lnTo>
                      <a:lnTo>
                        <a:pt x="44" y="30"/>
                      </a:lnTo>
                      <a:lnTo>
                        <a:pt x="44" y="30"/>
                      </a:lnTo>
                      <a:lnTo>
                        <a:pt x="44" y="26"/>
                      </a:lnTo>
                      <a:lnTo>
                        <a:pt x="44" y="26"/>
                      </a:lnTo>
                      <a:lnTo>
                        <a:pt x="44" y="26"/>
                      </a:lnTo>
                      <a:lnTo>
                        <a:pt x="44" y="26"/>
                      </a:lnTo>
                      <a:lnTo>
                        <a:pt x="40" y="30"/>
                      </a:lnTo>
                      <a:lnTo>
                        <a:pt x="40" y="34"/>
                      </a:lnTo>
                      <a:lnTo>
                        <a:pt x="40" y="38"/>
                      </a:lnTo>
                      <a:lnTo>
                        <a:pt x="40" y="38"/>
                      </a:lnTo>
                      <a:lnTo>
                        <a:pt x="44" y="38"/>
                      </a:lnTo>
                      <a:lnTo>
                        <a:pt x="44" y="40"/>
                      </a:lnTo>
                      <a:lnTo>
                        <a:pt x="44" y="40"/>
                      </a:lnTo>
                      <a:lnTo>
                        <a:pt x="44" y="40"/>
                      </a:lnTo>
                      <a:lnTo>
                        <a:pt x="44" y="40"/>
                      </a:lnTo>
                      <a:lnTo>
                        <a:pt x="44" y="40"/>
                      </a:lnTo>
                      <a:lnTo>
                        <a:pt x="40" y="40"/>
                      </a:lnTo>
                      <a:lnTo>
                        <a:pt x="40" y="40"/>
                      </a:lnTo>
                      <a:lnTo>
                        <a:pt x="40" y="40"/>
                      </a:lnTo>
                      <a:lnTo>
                        <a:pt x="40" y="44"/>
                      </a:lnTo>
                      <a:lnTo>
                        <a:pt x="40" y="44"/>
                      </a:lnTo>
                      <a:lnTo>
                        <a:pt x="44" y="44"/>
                      </a:lnTo>
                      <a:lnTo>
                        <a:pt x="44" y="44"/>
                      </a:lnTo>
                      <a:lnTo>
                        <a:pt x="44" y="48"/>
                      </a:lnTo>
                      <a:lnTo>
                        <a:pt x="40" y="48"/>
                      </a:lnTo>
                      <a:lnTo>
                        <a:pt x="40" y="48"/>
                      </a:lnTo>
                      <a:lnTo>
                        <a:pt x="40" y="48"/>
                      </a:lnTo>
                      <a:lnTo>
                        <a:pt x="40" y="48"/>
                      </a:lnTo>
                      <a:lnTo>
                        <a:pt x="40" y="48"/>
                      </a:lnTo>
                      <a:lnTo>
                        <a:pt x="40" y="48"/>
                      </a:lnTo>
                      <a:lnTo>
                        <a:pt x="40" y="52"/>
                      </a:lnTo>
                      <a:lnTo>
                        <a:pt x="40" y="52"/>
                      </a:lnTo>
                      <a:lnTo>
                        <a:pt x="40" y="52"/>
                      </a:lnTo>
                      <a:lnTo>
                        <a:pt x="40" y="52"/>
                      </a:lnTo>
                      <a:lnTo>
                        <a:pt x="40" y="52"/>
                      </a:lnTo>
                      <a:lnTo>
                        <a:pt x="40" y="56"/>
                      </a:lnTo>
                      <a:lnTo>
                        <a:pt x="40" y="56"/>
                      </a:lnTo>
                      <a:lnTo>
                        <a:pt x="40" y="52"/>
                      </a:lnTo>
                      <a:lnTo>
                        <a:pt x="40" y="52"/>
                      </a:lnTo>
                      <a:lnTo>
                        <a:pt x="40" y="52"/>
                      </a:lnTo>
                      <a:lnTo>
                        <a:pt x="40" y="52"/>
                      </a:lnTo>
                      <a:lnTo>
                        <a:pt x="40" y="48"/>
                      </a:lnTo>
                      <a:lnTo>
                        <a:pt x="40" y="48"/>
                      </a:lnTo>
                      <a:lnTo>
                        <a:pt x="40" y="48"/>
                      </a:lnTo>
                      <a:lnTo>
                        <a:pt x="36" y="48"/>
                      </a:lnTo>
                      <a:lnTo>
                        <a:pt x="40" y="48"/>
                      </a:lnTo>
                      <a:lnTo>
                        <a:pt x="40" y="48"/>
                      </a:lnTo>
                      <a:lnTo>
                        <a:pt x="40" y="48"/>
                      </a:lnTo>
                      <a:lnTo>
                        <a:pt x="36" y="44"/>
                      </a:lnTo>
                      <a:lnTo>
                        <a:pt x="36" y="44"/>
                      </a:lnTo>
                      <a:lnTo>
                        <a:pt x="36" y="44"/>
                      </a:lnTo>
                      <a:lnTo>
                        <a:pt x="36" y="44"/>
                      </a:lnTo>
                      <a:lnTo>
                        <a:pt x="36" y="40"/>
                      </a:lnTo>
                      <a:lnTo>
                        <a:pt x="36" y="40"/>
                      </a:lnTo>
                      <a:lnTo>
                        <a:pt x="32" y="40"/>
                      </a:lnTo>
                      <a:lnTo>
                        <a:pt x="32" y="44"/>
                      </a:lnTo>
                      <a:lnTo>
                        <a:pt x="32" y="44"/>
                      </a:lnTo>
                      <a:lnTo>
                        <a:pt x="36" y="44"/>
                      </a:lnTo>
                      <a:lnTo>
                        <a:pt x="36" y="44"/>
                      </a:lnTo>
                      <a:lnTo>
                        <a:pt x="36" y="44"/>
                      </a:lnTo>
                      <a:lnTo>
                        <a:pt x="36" y="44"/>
                      </a:lnTo>
                      <a:lnTo>
                        <a:pt x="36" y="44"/>
                      </a:lnTo>
                      <a:lnTo>
                        <a:pt x="36" y="48"/>
                      </a:lnTo>
                      <a:lnTo>
                        <a:pt x="36" y="48"/>
                      </a:lnTo>
                      <a:lnTo>
                        <a:pt x="36" y="48"/>
                      </a:lnTo>
                      <a:lnTo>
                        <a:pt x="36" y="48"/>
                      </a:lnTo>
                      <a:lnTo>
                        <a:pt x="36" y="48"/>
                      </a:lnTo>
                      <a:lnTo>
                        <a:pt x="36" y="48"/>
                      </a:lnTo>
                      <a:lnTo>
                        <a:pt x="36" y="48"/>
                      </a:lnTo>
                      <a:lnTo>
                        <a:pt x="32" y="48"/>
                      </a:lnTo>
                      <a:lnTo>
                        <a:pt x="32" y="48"/>
                      </a:lnTo>
                      <a:lnTo>
                        <a:pt x="32" y="48"/>
                      </a:lnTo>
                      <a:lnTo>
                        <a:pt x="32" y="48"/>
                      </a:lnTo>
                      <a:lnTo>
                        <a:pt x="28" y="44"/>
                      </a:lnTo>
                      <a:lnTo>
                        <a:pt x="28" y="44"/>
                      </a:lnTo>
                      <a:lnTo>
                        <a:pt x="28" y="44"/>
                      </a:lnTo>
                      <a:lnTo>
                        <a:pt x="28" y="44"/>
                      </a:lnTo>
                      <a:lnTo>
                        <a:pt x="28" y="44"/>
                      </a:lnTo>
                      <a:lnTo>
                        <a:pt x="32" y="40"/>
                      </a:lnTo>
                      <a:lnTo>
                        <a:pt x="32" y="40"/>
                      </a:lnTo>
                      <a:lnTo>
                        <a:pt x="32" y="38"/>
                      </a:lnTo>
                      <a:lnTo>
                        <a:pt x="32" y="38"/>
                      </a:lnTo>
                      <a:lnTo>
                        <a:pt x="28" y="38"/>
                      </a:lnTo>
                      <a:lnTo>
                        <a:pt x="28" y="38"/>
                      </a:lnTo>
                      <a:lnTo>
                        <a:pt x="28" y="34"/>
                      </a:lnTo>
                      <a:lnTo>
                        <a:pt x="26" y="34"/>
                      </a:lnTo>
                      <a:lnTo>
                        <a:pt x="26" y="34"/>
                      </a:lnTo>
                      <a:lnTo>
                        <a:pt x="26" y="34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2" y="30"/>
                      </a:lnTo>
                      <a:lnTo>
                        <a:pt x="22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18" y="22"/>
                      </a:lnTo>
                      <a:lnTo>
                        <a:pt x="14" y="22"/>
                      </a:lnTo>
                      <a:lnTo>
                        <a:pt x="14" y="22"/>
                      </a:lnTo>
                      <a:lnTo>
                        <a:pt x="14" y="22"/>
                      </a:lnTo>
                      <a:lnTo>
                        <a:pt x="14" y="22"/>
                      </a:lnTo>
                      <a:lnTo>
                        <a:pt x="14" y="18"/>
                      </a:lnTo>
                      <a:lnTo>
                        <a:pt x="10" y="18"/>
                      </a:lnTo>
                      <a:lnTo>
                        <a:pt x="10" y="18"/>
                      </a:lnTo>
                      <a:lnTo>
                        <a:pt x="10" y="18"/>
                      </a:lnTo>
                      <a:lnTo>
                        <a:pt x="10" y="18"/>
                      </a:lnTo>
                      <a:lnTo>
                        <a:pt x="10" y="18"/>
                      </a:lnTo>
                      <a:lnTo>
                        <a:pt x="10" y="18"/>
                      </a:lnTo>
                      <a:lnTo>
                        <a:pt x="10" y="18"/>
                      </a:lnTo>
                      <a:lnTo>
                        <a:pt x="10" y="18"/>
                      </a:lnTo>
                      <a:lnTo>
                        <a:pt x="10" y="18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14" y="22"/>
                      </a:lnTo>
                      <a:lnTo>
                        <a:pt x="14" y="22"/>
                      </a:lnTo>
                      <a:lnTo>
                        <a:pt x="14" y="26"/>
                      </a:lnTo>
                      <a:lnTo>
                        <a:pt x="10" y="26"/>
                      </a:lnTo>
                      <a:lnTo>
                        <a:pt x="10" y="26"/>
                      </a:lnTo>
                      <a:lnTo>
                        <a:pt x="10" y="26"/>
                      </a:lnTo>
                      <a:lnTo>
                        <a:pt x="10" y="2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31" name="Freeform 70"/>
                <p:cNvSpPr>
                  <a:spLocks noEditPoints="1"/>
                </p:cNvSpPr>
                <p:nvPr/>
              </p:nvSpPr>
              <p:spPr bwMode="auto">
                <a:xfrm>
                  <a:off x="2489200" y="3924368"/>
                  <a:ext cx="244475" cy="92075"/>
                </a:xfrm>
                <a:custGeom>
                  <a:avLst/>
                  <a:gdLst>
                    <a:gd name="T0" fmla="*/ 82 w 154"/>
                    <a:gd name="T1" fmla="*/ 30 h 58"/>
                    <a:gd name="T2" fmla="*/ 68 w 154"/>
                    <a:gd name="T3" fmla="*/ 26 h 58"/>
                    <a:gd name="T4" fmla="*/ 60 w 154"/>
                    <a:gd name="T5" fmla="*/ 18 h 58"/>
                    <a:gd name="T6" fmla="*/ 44 w 154"/>
                    <a:gd name="T7" fmla="*/ 14 h 58"/>
                    <a:gd name="T8" fmla="*/ 38 w 154"/>
                    <a:gd name="T9" fmla="*/ 14 h 58"/>
                    <a:gd name="T10" fmla="*/ 44 w 154"/>
                    <a:gd name="T11" fmla="*/ 8 h 58"/>
                    <a:gd name="T12" fmla="*/ 30 w 154"/>
                    <a:gd name="T13" fmla="*/ 8 h 58"/>
                    <a:gd name="T14" fmla="*/ 22 w 154"/>
                    <a:gd name="T15" fmla="*/ 14 h 58"/>
                    <a:gd name="T16" fmla="*/ 14 w 154"/>
                    <a:gd name="T17" fmla="*/ 18 h 58"/>
                    <a:gd name="T18" fmla="*/ 8 w 154"/>
                    <a:gd name="T19" fmla="*/ 26 h 58"/>
                    <a:gd name="T20" fmla="*/ 4 w 154"/>
                    <a:gd name="T21" fmla="*/ 18 h 58"/>
                    <a:gd name="T22" fmla="*/ 10 w 154"/>
                    <a:gd name="T23" fmla="*/ 8 h 58"/>
                    <a:gd name="T24" fmla="*/ 26 w 154"/>
                    <a:gd name="T25" fmla="*/ 4 h 58"/>
                    <a:gd name="T26" fmla="*/ 40 w 154"/>
                    <a:gd name="T27" fmla="*/ 0 h 58"/>
                    <a:gd name="T28" fmla="*/ 52 w 154"/>
                    <a:gd name="T29" fmla="*/ 4 h 58"/>
                    <a:gd name="T30" fmla="*/ 60 w 154"/>
                    <a:gd name="T31" fmla="*/ 4 h 58"/>
                    <a:gd name="T32" fmla="*/ 70 w 154"/>
                    <a:gd name="T33" fmla="*/ 8 h 58"/>
                    <a:gd name="T34" fmla="*/ 78 w 154"/>
                    <a:gd name="T35" fmla="*/ 14 h 58"/>
                    <a:gd name="T36" fmla="*/ 94 w 154"/>
                    <a:gd name="T37" fmla="*/ 18 h 58"/>
                    <a:gd name="T38" fmla="*/ 100 w 154"/>
                    <a:gd name="T39" fmla="*/ 26 h 58"/>
                    <a:gd name="T40" fmla="*/ 104 w 154"/>
                    <a:gd name="T41" fmla="*/ 22 h 58"/>
                    <a:gd name="T42" fmla="*/ 104 w 154"/>
                    <a:gd name="T43" fmla="*/ 26 h 58"/>
                    <a:gd name="T44" fmla="*/ 112 w 154"/>
                    <a:gd name="T45" fmla="*/ 30 h 58"/>
                    <a:gd name="T46" fmla="*/ 120 w 154"/>
                    <a:gd name="T47" fmla="*/ 34 h 58"/>
                    <a:gd name="T48" fmla="*/ 130 w 154"/>
                    <a:gd name="T49" fmla="*/ 38 h 58"/>
                    <a:gd name="T50" fmla="*/ 130 w 154"/>
                    <a:gd name="T51" fmla="*/ 44 h 58"/>
                    <a:gd name="T52" fmla="*/ 138 w 154"/>
                    <a:gd name="T53" fmla="*/ 44 h 58"/>
                    <a:gd name="T54" fmla="*/ 150 w 154"/>
                    <a:gd name="T55" fmla="*/ 50 h 58"/>
                    <a:gd name="T56" fmla="*/ 146 w 154"/>
                    <a:gd name="T57" fmla="*/ 54 h 58"/>
                    <a:gd name="T58" fmla="*/ 130 w 154"/>
                    <a:gd name="T59" fmla="*/ 58 h 58"/>
                    <a:gd name="T60" fmla="*/ 120 w 154"/>
                    <a:gd name="T61" fmla="*/ 54 h 58"/>
                    <a:gd name="T62" fmla="*/ 112 w 154"/>
                    <a:gd name="T63" fmla="*/ 54 h 58"/>
                    <a:gd name="T64" fmla="*/ 104 w 154"/>
                    <a:gd name="T65" fmla="*/ 58 h 58"/>
                    <a:gd name="T66" fmla="*/ 104 w 154"/>
                    <a:gd name="T67" fmla="*/ 50 h 58"/>
                    <a:gd name="T68" fmla="*/ 108 w 154"/>
                    <a:gd name="T69" fmla="*/ 44 h 58"/>
                    <a:gd name="T70" fmla="*/ 98 w 154"/>
                    <a:gd name="T71" fmla="*/ 40 h 58"/>
                    <a:gd name="T72" fmla="*/ 90 w 154"/>
                    <a:gd name="T73" fmla="*/ 38 h 58"/>
                    <a:gd name="T74" fmla="*/ 90 w 154"/>
                    <a:gd name="T75" fmla="*/ 30 h 58"/>
                    <a:gd name="T76" fmla="*/ 78 w 154"/>
                    <a:gd name="T77" fmla="*/ 8 h 58"/>
                    <a:gd name="T78" fmla="*/ 90 w 154"/>
                    <a:gd name="T79" fmla="*/ 14 h 58"/>
                    <a:gd name="T80" fmla="*/ 90 w 154"/>
                    <a:gd name="T81" fmla="*/ 10 h 58"/>
                    <a:gd name="T82" fmla="*/ 90 w 154"/>
                    <a:gd name="T83" fmla="*/ 14 h 58"/>
                    <a:gd name="T84" fmla="*/ 94 w 154"/>
                    <a:gd name="T85" fmla="*/ 10 h 58"/>
                    <a:gd name="T86" fmla="*/ 98 w 154"/>
                    <a:gd name="T87" fmla="*/ 14 h 58"/>
                    <a:gd name="T88" fmla="*/ 100 w 154"/>
                    <a:gd name="T89" fmla="*/ 14 h 58"/>
                    <a:gd name="T90" fmla="*/ 100 w 154"/>
                    <a:gd name="T91" fmla="*/ 22 h 58"/>
                    <a:gd name="T92" fmla="*/ 100 w 154"/>
                    <a:gd name="T93" fmla="*/ 22 h 58"/>
                    <a:gd name="T94" fmla="*/ 22 w 154"/>
                    <a:gd name="T95" fmla="*/ 26 h 58"/>
                    <a:gd name="T96" fmla="*/ 26 w 154"/>
                    <a:gd name="T97" fmla="*/ 22 h 58"/>
                    <a:gd name="T98" fmla="*/ 34 w 154"/>
                    <a:gd name="T99" fmla="*/ 30 h 58"/>
                    <a:gd name="T100" fmla="*/ 26 w 154"/>
                    <a:gd name="T101" fmla="*/ 3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54" h="58">
                      <a:moveTo>
                        <a:pt x="90" y="30"/>
                      </a:moveTo>
                      <a:lnTo>
                        <a:pt x="86" y="26"/>
                      </a:lnTo>
                      <a:lnTo>
                        <a:pt x="82" y="26"/>
                      </a:lnTo>
                      <a:lnTo>
                        <a:pt x="82" y="30"/>
                      </a:lnTo>
                      <a:lnTo>
                        <a:pt x="78" y="30"/>
                      </a:lnTo>
                      <a:lnTo>
                        <a:pt x="74" y="26"/>
                      </a:lnTo>
                      <a:lnTo>
                        <a:pt x="70" y="26"/>
                      </a:lnTo>
                      <a:lnTo>
                        <a:pt x="68" y="26"/>
                      </a:lnTo>
                      <a:lnTo>
                        <a:pt x="68" y="22"/>
                      </a:lnTo>
                      <a:lnTo>
                        <a:pt x="64" y="22"/>
                      </a:lnTo>
                      <a:lnTo>
                        <a:pt x="64" y="18"/>
                      </a:lnTo>
                      <a:lnTo>
                        <a:pt x="60" y="18"/>
                      </a:lnTo>
                      <a:lnTo>
                        <a:pt x="56" y="18"/>
                      </a:lnTo>
                      <a:lnTo>
                        <a:pt x="52" y="18"/>
                      </a:lnTo>
                      <a:lnTo>
                        <a:pt x="48" y="18"/>
                      </a:lnTo>
                      <a:lnTo>
                        <a:pt x="44" y="14"/>
                      </a:lnTo>
                      <a:lnTo>
                        <a:pt x="44" y="18"/>
                      </a:lnTo>
                      <a:lnTo>
                        <a:pt x="40" y="18"/>
                      </a:lnTo>
                      <a:lnTo>
                        <a:pt x="40" y="14"/>
                      </a:lnTo>
                      <a:lnTo>
                        <a:pt x="38" y="14"/>
                      </a:lnTo>
                      <a:lnTo>
                        <a:pt x="38" y="10"/>
                      </a:lnTo>
                      <a:lnTo>
                        <a:pt x="40" y="10"/>
                      </a:lnTo>
                      <a:lnTo>
                        <a:pt x="44" y="10"/>
                      </a:lnTo>
                      <a:lnTo>
                        <a:pt x="44" y="8"/>
                      </a:lnTo>
                      <a:lnTo>
                        <a:pt x="40" y="8"/>
                      </a:lnTo>
                      <a:lnTo>
                        <a:pt x="38" y="8"/>
                      </a:lnTo>
                      <a:lnTo>
                        <a:pt x="34" y="8"/>
                      </a:lnTo>
                      <a:lnTo>
                        <a:pt x="30" y="8"/>
                      </a:lnTo>
                      <a:lnTo>
                        <a:pt x="30" y="10"/>
                      </a:lnTo>
                      <a:lnTo>
                        <a:pt x="26" y="10"/>
                      </a:lnTo>
                      <a:lnTo>
                        <a:pt x="26" y="14"/>
                      </a:lnTo>
                      <a:lnTo>
                        <a:pt x="22" y="14"/>
                      </a:lnTo>
                      <a:lnTo>
                        <a:pt x="22" y="18"/>
                      </a:lnTo>
                      <a:lnTo>
                        <a:pt x="18" y="18"/>
                      </a:lnTo>
                      <a:lnTo>
                        <a:pt x="18" y="14"/>
                      </a:lnTo>
                      <a:lnTo>
                        <a:pt x="14" y="18"/>
                      </a:lnTo>
                      <a:lnTo>
                        <a:pt x="10" y="18"/>
                      </a:lnTo>
                      <a:lnTo>
                        <a:pt x="10" y="22"/>
                      </a:lnTo>
                      <a:lnTo>
                        <a:pt x="8" y="22"/>
                      </a:lnTo>
                      <a:lnTo>
                        <a:pt x="8" y="26"/>
                      </a:lnTo>
                      <a:lnTo>
                        <a:pt x="4" y="26"/>
                      </a:lnTo>
                      <a:lnTo>
                        <a:pt x="4" y="22"/>
                      </a:lnTo>
                      <a:lnTo>
                        <a:pt x="0" y="22"/>
                      </a:lnTo>
                      <a:lnTo>
                        <a:pt x="4" y="18"/>
                      </a:lnTo>
                      <a:lnTo>
                        <a:pt x="8" y="18"/>
                      </a:lnTo>
                      <a:lnTo>
                        <a:pt x="8" y="14"/>
                      </a:lnTo>
                      <a:lnTo>
                        <a:pt x="8" y="10"/>
                      </a:lnTo>
                      <a:lnTo>
                        <a:pt x="10" y="8"/>
                      </a:lnTo>
                      <a:lnTo>
                        <a:pt x="14" y="8"/>
                      </a:lnTo>
                      <a:lnTo>
                        <a:pt x="18" y="4"/>
                      </a:lnTo>
                      <a:lnTo>
                        <a:pt x="22" y="4"/>
                      </a:lnTo>
                      <a:lnTo>
                        <a:pt x="26" y="4"/>
                      </a:lnTo>
                      <a:lnTo>
                        <a:pt x="30" y="4"/>
                      </a:lnTo>
                      <a:lnTo>
                        <a:pt x="34" y="0"/>
                      </a:lnTo>
                      <a:lnTo>
                        <a:pt x="38" y="0"/>
                      </a:lnTo>
                      <a:lnTo>
                        <a:pt x="40" y="0"/>
                      </a:lnTo>
                      <a:lnTo>
                        <a:pt x="44" y="0"/>
                      </a:lnTo>
                      <a:lnTo>
                        <a:pt x="48" y="0"/>
                      </a:lnTo>
                      <a:lnTo>
                        <a:pt x="52" y="0"/>
                      </a:lnTo>
                      <a:lnTo>
                        <a:pt x="52" y="4"/>
                      </a:lnTo>
                      <a:lnTo>
                        <a:pt x="52" y="0"/>
                      </a:lnTo>
                      <a:lnTo>
                        <a:pt x="56" y="0"/>
                      </a:lnTo>
                      <a:lnTo>
                        <a:pt x="60" y="0"/>
                      </a:lnTo>
                      <a:lnTo>
                        <a:pt x="60" y="4"/>
                      </a:lnTo>
                      <a:lnTo>
                        <a:pt x="64" y="4"/>
                      </a:lnTo>
                      <a:lnTo>
                        <a:pt x="68" y="4"/>
                      </a:lnTo>
                      <a:lnTo>
                        <a:pt x="70" y="4"/>
                      </a:lnTo>
                      <a:lnTo>
                        <a:pt x="70" y="8"/>
                      </a:lnTo>
                      <a:lnTo>
                        <a:pt x="74" y="8"/>
                      </a:lnTo>
                      <a:lnTo>
                        <a:pt x="74" y="10"/>
                      </a:lnTo>
                      <a:lnTo>
                        <a:pt x="78" y="10"/>
                      </a:lnTo>
                      <a:lnTo>
                        <a:pt x="78" y="14"/>
                      </a:lnTo>
                      <a:lnTo>
                        <a:pt x="82" y="14"/>
                      </a:lnTo>
                      <a:lnTo>
                        <a:pt x="86" y="14"/>
                      </a:lnTo>
                      <a:lnTo>
                        <a:pt x="90" y="14"/>
                      </a:lnTo>
                      <a:lnTo>
                        <a:pt x="94" y="18"/>
                      </a:lnTo>
                      <a:lnTo>
                        <a:pt x="98" y="18"/>
                      </a:lnTo>
                      <a:lnTo>
                        <a:pt x="98" y="22"/>
                      </a:lnTo>
                      <a:lnTo>
                        <a:pt x="100" y="22"/>
                      </a:lnTo>
                      <a:lnTo>
                        <a:pt x="100" y="26"/>
                      </a:lnTo>
                      <a:lnTo>
                        <a:pt x="104" y="26"/>
                      </a:lnTo>
                      <a:lnTo>
                        <a:pt x="108" y="26"/>
                      </a:lnTo>
                      <a:lnTo>
                        <a:pt x="104" y="26"/>
                      </a:lnTo>
                      <a:lnTo>
                        <a:pt x="104" y="22"/>
                      </a:lnTo>
                      <a:lnTo>
                        <a:pt x="100" y="22"/>
                      </a:lnTo>
                      <a:lnTo>
                        <a:pt x="104" y="22"/>
                      </a:lnTo>
                      <a:lnTo>
                        <a:pt x="108" y="26"/>
                      </a:lnTo>
                      <a:lnTo>
                        <a:pt x="104" y="26"/>
                      </a:lnTo>
                      <a:lnTo>
                        <a:pt x="108" y="30"/>
                      </a:lnTo>
                      <a:lnTo>
                        <a:pt x="108" y="26"/>
                      </a:lnTo>
                      <a:lnTo>
                        <a:pt x="112" y="26"/>
                      </a:lnTo>
                      <a:lnTo>
                        <a:pt x="112" y="30"/>
                      </a:lnTo>
                      <a:lnTo>
                        <a:pt x="112" y="34"/>
                      </a:lnTo>
                      <a:lnTo>
                        <a:pt x="116" y="30"/>
                      </a:lnTo>
                      <a:lnTo>
                        <a:pt x="116" y="34"/>
                      </a:lnTo>
                      <a:lnTo>
                        <a:pt x="120" y="34"/>
                      </a:lnTo>
                      <a:lnTo>
                        <a:pt x="124" y="34"/>
                      </a:lnTo>
                      <a:lnTo>
                        <a:pt x="124" y="38"/>
                      </a:lnTo>
                      <a:lnTo>
                        <a:pt x="128" y="38"/>
                      </a:lnTo>
                      <a:lnTo>
                        <a:pt x="130" y="38"/>
                      </a:lnTo>
                      <a:lnTo>
                        <a:pt x="130" y="40"/>
                      </a:lnTo>
                      <a:lnTo>
                        <a:pt x="128" y="40"/>
                      </a:lnTo>
                      <a:lnTo>
                        <a:pt x="128" y="44"/>
                      </a:lnTo>
                      <a:lnTo>
                        <a:pt x="130" y="44"/>
                      </a:lnTo>
                      <a:lnTo>
                        <a:pt x="134" y="44"/>
                      </a:lnTo>
                      <a:lnTo>
                        <a:pt x="134" y="40"/>
                      </a:lnTo>
                      <a:lnTo>
                        <a:pt x="134" y="44"/>
                      </a:lnTo>
                      <a:lnTo>
                        <a:pt x="138" y="44"/>
                      </a:lnTo>
                      <a:lnTo>
                        <a:pt x="142" y="44"/>
                      </a:lnTo>
                      <a:lnTo>
                        <a:pt x="146" y="44"/>
                      </a:lnTo>
                      <a:lnTo>
                        <a:pt x="146" y="48"/>
                      </a:lnTo>
                      <a:lnTo>
                        <a:pt x="150" y="50"/>
                      </a:lnTo>
                      <a:lnTo>
                        <a:pt x="150" y="48"/>
                      </a:lnTo>
                      <a:lnTo>
                        <a:pt x="154" y="50"/>
                      </a:lnTo>
                      <a:lnTo>
                        <a:pt x="150" y="54"/>
                      </a:lnTo>
                      <a:lnTo>
                        <a:pt x="146" y="54"/>
                      </a:lnTo>
                      <a:lnTo>
                        <a:pt x="142" y="54"/>
                      </a:lnTo>
                      <a:lnTo>
                        <a:pt x="138" y="54"/>
                      </a:lnTo>
                      <a:lnTo>
                        <a:pt x="134" y="58"/>
                      </a:lnTo>
                      <a:lnTo>
                        <a:pt x="130" y="58"/>
                      </a:lnTo>
                      <a:lnTo>
                        <a:pt x="130" y="54"/>
                      </a:lnTo>
                      <a:lnTo>
                        <a:pt x="128" y="54"/>
                      </a:lnTo>
                      <a:lnTo>
                        <a:pt x="124" y="54"/>
                      </a:lnTo>
                      <a:lnTo>
                        <a:pt x="120" y="54"/>
                      </a:lnTo>
                      <a:lnTo>
                        <a:pt x="116" y="54"/>
                      </a:lnTo>
                      <a:lnTo>
                        <a:pt x="112" y="54"/>
                      </a:lnTo>
                      <a:lnTo>
                        <a:pt x="112" y="58"/>
                      </a:lnTo>
                      <a:lnTo>
                        <a:pt x="112" y="54"/>
                      </a:lnTo>
                      <a:lnTo>
                        <a:pt x="112" y="58"/>
                      </a:lnTo>
                      <a:lnTo>
                        <a:pt x="108" y="54"/>
                      </a:lnTo>
                      <a:lnTo>
                        <a:pt x="108" y="58"/>
                      </a:lnTo>
                      <a:lnTo>
                        <a:pt x="104" y="58"/>
                      </a:lnTo>
                      <a:lnTo>
                        <a:pt x="100" y="58"/>
                      </a:lnTo>
                      <a:lnTo>
                        <a:pt x="100" y="54"/>
                      </a:lnTo>
                      <a:lnTo>
                        <a:pt x="104" y="54"/>
                      </a:lnTo>
                      <a:lnTo>
                        <a:pt x="104" y="50"/>
                      </a:lnTo>
                      <a:lnTo>
                        <a:pt x="108" y="50"/>
                      </a:lnTo>
                      <a:lnTo>
                        <a:pt x="108" y="48"/>
                      </a:lnTo>
                      <a:lnTo>
                        <a:pt x="112" y="48"/>
                      </a:lnTo>
                      <a:lnTo>
                        <a:pt x="108" y="44"/>
                      </a:lnTo>
                      <a:lnTo>
                        <a:pt x="104" y="44"/>
                      </a:lnTo>
                      <a:lnTo>
                        <a:pt x="100" y="44"/>
                      </a:lnTo>
                      <a:lnTo>
                        <a:pt x="100" y="40"/>
                      </a:lnTo>
                      <a:lnTo>
                        <a:pt x="98" y="40"/>
                      </a:lnTo>
                      <a:lnTo>
                        <a:pt x="98" y="44"/>
                      </a:lnTo>
                      <a:lnTo>
                        <a:pt x="94" y="40"/>
                      </a:lnTo>
                      <a:lnTo>
                        <a:pt x="94" y="38"/>
                      </a:lnTo>
                      <a:lnTo>
                        <a:pt x="90" y="38"/>
                      </a:lnTo>
                      <a:lnTo>
                        <a:pt x="90" y="34"/>
                      </a:lnTo>
                      <a:lnTo>
                        <a:pt x="90" y="30"/>
                      </a:lnTo>
                      <a:lnTo>
                        <a:pt x="90" y="30"/>
                      </a:lnTo>
                      <a:lnTo>
                        <a:pt x="90" y="30"/>
                      </a:lnTo>
                      <a:close/>
                      <a:moveTo>
                        <a:pt x="78" y="10"/>
                      </a:moveTo>
                      <a:lnTo>
                        <a:pt x="78" y="8"/>
                      </a:lnTo>
                      <a:lnTo>
                        <a:pt x="74" y="8"/>
                      </a:lnTo>
                      <a:lnTo>
                        <a:pt x="78" y="8"/>
                      </a:lnTo>
                      <a:lnTo>
                        <a:pt x="78" y="10"/>
                      </a:lnTo>
                      <a:lnTo>
                        <a:pt x="78" y="10"/>
                      </a:lnTo>
                      <a:lnTo>
                        <a:pt x="78" y="10"/>
                      </a:lnTo>
                      <a:close/>
                      <a:moveTo>
                        <a:pt x="90" y="14"/>
                      </a:moveTo>
                      <a:lnTo>
                        <a:pt x="94" y="10"/>
                      </a:lnTo>
                      <a:lnTo>
                        <a:pt x="90" y="10"/>
                      </a:lnTo>
                      <a:lnTo>
                        <a:pt x="86" y="10"/>
                      </a:lnTo>
                      <a:lnTo>
                        <a:pt x="90" y="10"/>
                      </a:lnTo>
                      <a:lnTo>
                        <a:pt x="94" y="10"/>
                      </a:lnTo>
                      <a:lnTo>
                        <a:pt x="90" y="10"/>
                      </a:lnTo>
                      <a:lnTo>
                        <a:pt x="90" y="14"/>
                      </a:lnTo>
                      <a:lnTo>
                        <a:pt x="90" y="14"/>
                      </a:lnTo>
                      <a:lnTo>
                        <a:pt x="90" y="14"/>
                      </a:lnTo>
                      <a:close/>
                      <a:moveTo>
                        <a:pt x="98" y="14"/>
                      </a:moveTo>
                      <a:lnTo>
                        <a:pt x="94" y="14"/>
                      </a:lnTo>
                      <a:lnTo>
                        <a:pt x="94" y="10"/>
                      </a:lnTo>
                      <a:lnTo>
                        <a:pt x="98" y="10"/>
                      </a:lnTo>
                      <a:lnTo>
                        <a:pt x="98" y="14"/>
                      </a:lnTo>
                      <a:lnTo>
                        <a:pt x="98" y="14"/>
                      </a:lnTo>
                      <a:lnTo>
                        <a:pt x="98" y="14"/>
                      </a:lnTo>
                      <a:close/>
                      <a:moveTo>
                        <a:pt x="100" y="18"/>
                      </a:moveTo>
                      <a:lnTo>
                        <a:pt x="98" y="18"/>
                      </a:lnTo>
                      <a:lnTo>
                        <a:pt x="98" y="14"/>
                      </a:lnTo>
                      <a:lnTo>
                        <a:pt x="100" y="14"/>
                      </a:lnTo>
                      <a:lnTo>
                        <a:pt x="100" y="18"/>
                      </a:lnTo>
                      <a:lnTo>
                        <a:pt x="100" y="18"/>
                      </a:lnTo>
                      <a:lnTo>
                        <a:pt x="100" y="18"/>
                      </a:lnTo>
                      <a:close/>
                      <a:moveTo>
                        <a:pt x="100" y="22"/>
                      </a:moveTo>
                      <a:lnTo>
                        <a:pt x="98" y="18"/>
                      </a:lnTo>
                      <a:lnTo>
                        <a:pt x="100" y="18"/>
                      </a:lnTo>
                      <a:lnTo>
                        <a:pt x="100" y="22"/>
                      </a:lnTo>
                      <a:lnTo>
                        <a:pt x="100" y="22"/>
                      </a:lnTo>
                      <a:lnTo>
                        <a:pt x="100" y="22"/>
                      </a:lnTo>
                      <a:close/>
                      <a:moveTo>
                        <a:pt x="26" y="30"/>
                      </a:moveTo>
                      <a:lnTo>
                        <a:pt x="22" y="30"/>
                      </a:lnTo>
                      <a:lnTo>
                        <a:pt x="22" y="26"/>
                      </a:lnTo>
                      <a:lnTo>
                        <a:pt x="26" y="26"/>
                      </a:lnTo>
                      <a:lnTo>
                        <a:pt x="26" y="30"/>
                      </a:lnTo>
                      <a:lnTo>
                        <a:pt x="26" y="26"/>
                      </a:lnTo>
                      <a:lnTo>
                        <a:pt x="26" y="22"/>
                      </a:lnTo>
                      <a:lnTo>
                        <a:pt x="30" y="22"/>
                      </a:lnTo>
                      <a:lnTo>
                        <a:pt x="30" y="26"/>
                      </a:lnTo>
                      <a:lnTo>
                        <a:pt x="34" y="26"/>
                      </a:lnTo>
                      <a:lnTo>
                        <a:pt x="34" y="30"/>
                      </a:lnTo>
                      <a:lnTo>
                        <a:pt x="30" y="30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6" y="3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32" name="Freeform 71"/>
                <p:cNvSpPr>
                  <a:spLocks noEditPoints="1"/>
                </p:cNvSpPr>
                <p:nvPr/>
              </p:nvSpPr>
              <p:spPr bwMode="auto">
                <a:xfrm>
                  <a:off x="2781300" y="4010093"/>
                  <a:ext cx="79375" cy="66675"/>
                </a:xfrm>
                <a:custGeom>
                  <a:avLst/>
                  <a:gdLst>
                    <a:gd name="T0" fmla="*/ 24 w 50"/>
                    <a:gd name="T1" fmla="*/ 30 h 42"/>
                    <a:gd name="T2" fmla="*/ 22 w 50"/>
                    <a:gd name="T3" fmla="*/ 30 h 42"/>
                    <a:gd name="T4" fmla="*/ 18 w 50"/>
                    <a:gd name="T5" fmla="*/ 30 h 42"/>
                    <a:gd name="T6" fmla="*/ 18 w 50"/>
                    <a:gd name="T7" fmla="*/ 30 h 42"/>
                    <a:gd name="T8" fmla="*/ 18 w 50"/>
                    <a:gd name="T9" fmla="*/ 26 h 42"/>
                    <a:gd name="T10" fmla="*/ 18 w 50"/>
                    <a:gd name="T11" fmla="*/ 30 h 42"/>
                    <a:gd name="T12" fmla="*/ 14 w 50"/>
                    <a:gd name="T13" fmla="*/ 30 h 42"/>
                    <a:gd name="T14" fmla="*/ 10 w 50"/>
                    <a:gd name="T15" fmla="*/ 30 h 42"/>
                    <a:gd name="T16" fmla="*/ 10 w 50"/>
                    <a:gd name="T17" fmla="*/ 34 h 42"/>
                    <a:gd name="T18" fmla="*/ 10 w 50"/>
                    <a:gd name="T19" fmla="*/ 38 h 42"/>
                    <a:gd name="T20" fmla="*/ 2 w 50"/>
                    <a:gd name="T21" fmla="*/ 38 h 42"/>
                    <a:gd name="T22" fmla="*/ 2 w 50"/>
                    <a:gd name="T23" fmla="*/ 34 h 42"/>
                    <a:gd name="T24" fmla="*/ 2 w 50"/>
                    <a:gd name="T25" fmla="*/ 30 h 42"/>
                    <a:gd name="T26" fmla="*/ 0 w 50"/>
                    <a:gd name="T27" fmla="*/ 26 h 42"/>
                    <a:gd name="T28" fmla="*/ 0 w 50"/>
                    <a:gd name="T29" fmla="*/ 26 h 42"/>
                    <a:gd name="T30" fmla="*/ 0 w 50"/>
                    <a:gd name="T31" fmla="*/ 26 h 42"/>
                    <a:gd name="T32" fmla="*/ 2 w 50"/>
                    <a:gd name="T33" fmla="*/ 24 h 42"/>
                    <a:gd name="T34" fmla="*/ 2 w 50"/>
                    <a:gd name="T35" fmla="*/ 24 h 42"/>
                    <a:gd name="T36" fmla="*/ 2 w 50"/>
                    <a:gd name="T37" fmla="*/ 16 h 42"/>
                    <a:gd name="T38" fmla="*/ 2 w 50"/>
                    <a:gd name="T39" fmla="*/ 16 h 42"/>
                    <a:gd name="T40" fmla="*/ 2 w 50"/>
                    <a:gd name="T41" fmla="*/ 8 h 42"/>
                    <a:gd name="T42" fmla="*/ 2 w 50"/>
                    <a:gd name="T43" fmla="*/ 8 h 42"/>
                    <a:gd name="T44" fmla="*/ 2 w 50"/>
                    <a:gd name="T45" fmla="*/ 4 h 42"/>
                    <a:gd name="T46" fmla="*/ 2 w 50"/>
                    <a:gd name="T47" fmla="*/ 4 h 42"/>
                    <a:gd name="T48" fmla="*/ 6 w 50"/>
                    <a:gd name="T49" fmla="*/ 0 h 42"/>
                    <a:gd name="T50" fmla="*/ 10 w 50"/>
                    <a:gd name="T51" fmla="*/ 4 h 42"/>
                    <a:gd name="T52" fmla="*/ 10 w 50"/>
                    <a:gd name="T53" fmla="*/ 0 h 42"/>
                    <a:gd name="T54" fmla="*/ 14 w 50"/>
                    <a:gd name="T55" fmla="*/ 0 h 42"/>
                    <a:gd name="T56" fmla="*/ 18 w 50"/>
                    <a:gd name="T57" fmla="*/ 4 h 42"/>
                    <a:gd name="T58" fmla="*/ 22 w 50"/>
                    <a:gd name="T59" fmla="*/ 4 h 42"/>
                    <a:gd name="T60" fmla="*/ 24 w 50"/>
                    <a:gd name="T61" fmla="*/ 8 h 42"/>
                    <a:gd name="T62" fmla="*/ 24 w 50"/>
                    <a:gd name="T63" fmla="*/ 4 h 42"/>
                    <a:gd name="T64" fmla="*/ 28 w 50"/>
                    <a:gd name="T65" fmla="*/ 8 h 42"/>
                    <a:gd name="T66" fmla="*/ 28 w 50"/>
                    <a:gd name="T67" fmla="*/ 12 h 42"/>
                    <a:gd name="T68" fmla="*/ 28 w 50"/>
                    <a:gd name="T69" fmla="*/ 12 h 42"/>
                    <a:gd name="T70" fmla="*/ 36 w 50"/>
                    <a:gd name="T71" fmla="*/ 12 h 42"/>
                    <a:gd name="T72" fmla="*/ 40 w 50"/>
                    <a:gd name="T73" fmla="*/ 12 h 42"/>
                    <a:gd name="T74" fmla="*/ 32 w 50"/>
                    <a:gd name="T75" fmla="*/ 16 h 42"/>
                    <a:gd name="T76" fmla="*/ 32 w 50"/>
                    <a:gd name="T77" fmla="*/ 16 h 42"/>
                    <a:gd name="T78" fmla="*/ 36 w 50"/>
                    <a:gd name="T79" fmla="*/ 16 h 42"/>
                    <a:gd name="T80" fmla="*/ 36 w 50"/>
                    <a:gd name="T81" fmla="*/ 16 h 42"/>
                    <a:gd name="T82" fmla="*/ 40 w 50"/>
                    <a:gd name="T83" fmla="*/ 20 h 42"/>
                    <a:gd name="T84" fmla="*/ 44 w 50"/>
                    <a:gd name="T85" fmla="*/ 20 h 42"/>
                    <a:gd name="T86" fmla="*/ 48 w 50"/>
                    <a:gd name="T87" fmla="*/ 24 h 42"/>
                    <a:gd name="T88" fmla="*/ 50 w 50"/>
                    <a:gd name="T89" fmla="*/ 26 h 42"/>
                    <a:gd name="T90" fmla="*/ 48 w 50"/>
                    <a:gd name="T91" fmla="*/ 30 h 42"/>
                    <a:gd name="T92" fmla="*/ 48 w 50"/>
                    <a:gd name="T93" fmla="*/ 30 h 42"/>
                    <a:gd name="T94" fmla="*/ 44 w 50"/>
                    <a:gd name="T95" fmla="*/ 30 h 42"/>
                    <a:gd name="T96" fmla="*/ 44 w 50"/>
                    <a:gd name="T97" fmla="*/ 30 h 42"/>
                    <a:gd name="T98" fmla="*/ 40 w 50"/>
                    <a:gd name="T99" fmla="*/ 30 h 42"/>
                    <a:gd name="T100" fmla="*/ 32 w 50"/>
                    <a:gd name="T101" fmla="*/ 26 h 42"/>
                    <a:gd name="T102" fmla="*/ 28 w 50"/>
                    <a:gd name="T103" fmla="*/ 26 h 42"/>
                    <a:gd name="T104" fmla="*/ 24 w 50"/>
                    <a:gd name="T105" fmla="*/ 26 h 42"/>
                    <a:gd name="T106" fmla="*/ 44 w 50"/>
                    <a:gd name="T107" fmla="*/ 34 h 42"/>
                    <a:gd name="T108" fmla="*/ 44 w 50"/>
                    <a:gd name="T109" fmla="*/ 34 h 42"/>
                    <a:gd name="T110" fmla="*/ 48 w 50"/>
                    <a:gd name="T111" fmla="*/ 34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50" h="42">
                      <a:moveTo>
                        <a:pt x="24" y="26"/>
                      </a:moveTo>
                      <a:lnTo>
                        <a:pt x="24" y="26"/>
                      </a:lnTo>
                      <a:lnTo>
                        <a:pt x="24" y="26"/>
                      </a:lnTo>
                      <a:lnTo>
                        <a:pt x="24" y="30"/>
                      </a:lnTo>
                      <a:lnTo>
                        <a:pt x="24" y="30"/>
                      </a:lnTo>
                      <a:lnTo>
                        <a:pt x="24" y="30"/>
                      </a:lnTo>
                      <a:lnTo>
                        <a:pt x="24" y="30"/>
                      </a:lnTo>
                      <a:lnTo>
                        <a:pt x="24" y="30"/>
                      </a:lnTo>
                      <a:lnTo>
                        <a:pt x="24" y="30"/>
                      </a:lnTo>
                      <a:lnTo>
                        <a:pt x="22" y="30"/>
                      </a:lnTo>
                      <a:lnTo>
                        <a:pt x="22" y="30"/>
                      </a:lnTo>
                      <a:lnTo>
                        <a:pt x="22" y="30"/>
                      </a:lnTo>
                      <a:lnTo>
                        <a:pt x="22" y="30"/>
                      </a:lnTo>
                      <a:lnTo>
                        <a:pt x="22" y="30"/>
                      </a:lnTo>
                      <a:lnTo>
                        <a:pt x="22" y="30"/>
                      </a:lnTo>
                      <a:lnTo>
                        <a:pt x="22" y="30"/>
                      </a:lnTo>
                      <a:lnTo>
                        <a:pt x="22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4" y="30"/>
                      </a:lnTo>
                      <a:lnTo>
                        <a:pt x="14" y="30"/>
                      </a:lnTo>
                      <a:lnTo>
                        <a:pt x="14" y="30"/>
                      </a:lnTo>
                      <a:lnTo>
                        <a:pt x="10" y="30"/>
                      </a:lnTo>
                      <a:lnTo>
                        <a:pt x="10" y="30"/>
                      </a:lnTo>
                      <a:lnTo>
                        <a:pt x="10" y="30"/>
                      </a:lnTo>
                      <a:lnTo>
                        <a:pt x="10" y="30"/>
                      </a:lnTo>
                      <a:lnTo>
                        <a:pt x="10" y="30"/>
                      </a:lnTo>
                      <a:lnTo>
                        <a:pt x="10" y="30"/>
                      </a:lnTo>
                      <a:lnTo>
                        <a:pt x="10" y="30"/>
                      </a:lnTo>
                      <a:lnTo>
                        <a:pt x="10" y="30"/>
                      </a:lnTo>
                      <a:lnTo>
                        <a:pt x="10" y="30"/>
                      </a:lnTo>
                      <a:lnTo>
                        <a:pt x="10" y="34"/>
                      </a:lnTo>
                      <a:lnTo>
                        <a:pt x="10" y="34"/>
                      </a:lnTo>
                      <a:lnTo>
                        <a:pt x="10" y="34"/>
                      </a:lnTo>
                      <a:lnTo>
                        <a:pt x="10" y="34"/>
                      </a:lnTo>
                      <a:lnTo>
                        <a:pt x="10" y="38"/>
                      </a:lnTo>
                      <a:lnTo>
                        <a:pt x="10" y="38"/>
                      </a:lnTo>
                      <a:lnTo>
                        <a:pt x="10" y="38"/>
                      </a:lnTo>
                      <a:lnTo>
                        <a:pt x="10" y="38"/>
                      </a:lnTo>
                      <a:lnTo>
                        <a:pt x="10" y="38"/>
                      </a:lnTo>
                      <a:lnTo>
                        <a:pt x="10" y="38"/>
                      </a:lnTo>
                      <a:lnTo>
                        <a:pt x="6" y="42"/>
                      </a:lnTo>
                      <a:lnTo>
                        <a:pt x="6" y="42"/>
                      </a:lnTo>
                      <a:lnTo>
                        <a:pt x="6" y="42"/>
                      </a:lnTo>
                      <a:lnTo>
                        <a:pt x="2" y="38"/>
                      </a:lnTo>
                      <a:lnTo>
                        <a:pt x="2" y="38"/>
                      </a:lnTo>
                      <a:lnTo>
                        <a:pt x="2" y="38"/>
                      </a:lnTo>
                      <a:lnTo>
                        <a:pt x="2" y="34"/>
                      </a:lnTo>
                      <a:lnTo>
                        <a:pt x="2" y="34"/>
                      </a:lnTo>
                      <a:lnTo>
                        <a:pt x="2" y="34"/>
                      </a:lnTo>
                      <a:lnTo>
                        <a:pt x="2" y="34"/>
                      </a:lnTo>
                      <a:lnTo>
                        <a:pt x="2" y="34"/>
                      </a:lnTo>
                      <a:lnTo>
                        <a:pt x="2" y="34"/>
                      </a:lnTo>
                      <a:lnTo>
                        <a:pt x="2" y="34"/>
                      </a:lnTo>
                      <a:lnTo>
                        <a:pt x="2" y="34"/>
                      </a:lnTo>
                      <a:lnTo>
                        <a:pt x="2" y="30"/>
                      </a:lnTo>
                      <a:lnTo>
                        <a:pt x="2" y="30"/>
                      </a:lnTo>
                      <a:lnTo>
                        <a:pt x="2" y="30"/>
                      </a:lnTo>
                      <a:lnTo>
                        <a:pt x="2" y="30"/>
                      </a:lnTo>
                      <a:lnTo>
                        <a:pt x="2" y="30"/>
                      </a:lnTo>
                      <a:lnTo>
                        <a:pt x="2" y="30"/>
                      </a:lnTo>
                      <a:lnTo>
                        <a:pt x="2" y="30"/>
                      </a:lnTo>
                      <a:lnTo>
                        <a:pt x="0" y="30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0" y="26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2" y="24"/>
                      </a:lnTo>
                      <a:lnTo>
                        <a:pt x="2" y="24"/>
                      </a:lnTo>
                      <a:lnTo>
                        <a:pt x="2" y="24"/>
                      </a:lnTo>
                      <a:lnTo>
                        <a:pt x="2" y="24"/>
                      </a:lnTo>
                      <a:lnTo>
                        <a:pt x="2" y="24"/>
                      </a:lnTo>
                      <a:lnTo>
                        <a:pt x="2" y="24"/>
                      </a:lnTo>
                      <a:lnTo>
                        <a:pt x="2" y="24"/>
                      </a:lnTo>
                      <a:lnTo>
                        <a:pt x="2" y="24"/>
                      </a:lnTo>
                      <a:lnTo>
                        <a:pt x="2" y="24"/>
                      </a:lnTo>
                      <a:lnTo>
                        <a:pt x="2" y="24"/>
                      </a:lnTo>
                      <a:lnTo>
                        <a:pt x="2" y="20"/>
                      </a:lnTo>
                      <a:lnTo>
                        <a:pt x="2" y="20"/>
                      </a:lnTo>
                      <a:lnTo>
                        <a:pt x="2" y="20"/>
                      </a:lnTo>
                      <a:lnTo>
                        <a:pt x="2" y="16"/>
                      </a:lnTo>
                      <a:lnTo>
                        <a:pt x="2" y="16"/>
                      </a:lnTo>
                      <a:lnTo>
                        <a:pt x="2" y="16"/>
                      </a:lnTo>
                      <a:lnTo>
                        <a:pt x="2" y="16"/>
                      </a:lnTo>
                      <a:lnTo>
                        <a:pt x="2" y="16"/>
                      </a:lnTo>
                      <a:lnTo>
                        <a:pt x="2" y="16"/>
                      </a:lnTo>
                      <a:lnTo>
                        <a:pt x="2" y="16"/>
                      </a:lnTo>
                      <a:lnTo>
                        <a:pt x="2" y="16"/>
                      </a:lnTo>
                      <a:lnTo>
                        <a:pt x="2" y="16"/>
                      </a:lnTo>
                      <a:lnTo>
                        <a:pt x="2" y="12"/>
                      </a:lnTo>
                      <a:lnTo>
                        <a:pt x="2" y="12"/>
                      </a:lnTo>
                      <a:lnTo>
                        <a:pt x="2" y="12"/>
                      </a:lnTo>
                      <a:lnTo>
                        <a:pt x="2" y="12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8"/>
                      </a:lnTo>
                      <a:lnTo>
                        <a:pt x="22" y="8"/>
                      </a:lnTo>
                      <a:lnTo>
                        <a:pt x="22" y="8"/>
                      </a:lnTo>
                      <a:lnTo>
                        <a:pt x="22" y="8"/>
                      </a:lnTo>
                      <a:lnTo>
                        <a:pt x="24" y="8"/>
                      </a:lnTo>
                      <a:lnTo>
                        <a:pt x="24" y="8"/>
                      </a:lnTo>
                      <a:lnTo>
                        <a:pt x="24" y="8"/>
                      </a:lnTo>
                      <a:lnTo>
                        <a:pt x="24" y="8"/>
                      </a:lnTo>
                      <a:lnTo>
                        <a:pt x="24" y="8"/>
                      </a:lnTo>
                      <a:lnTo>
                        <a:pt x="24" y="8"/>
                      </a:lnTo>
                      <a:lnTo>
                        <a:pt x="24" y="8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8" y="4"/>
                      </a:lnTo>
                      <a:lnTo>
                        <a:pt x="28" y="4"/>
                      </a:lnTo>
                      <a:lnTo>
                        <a:pt x="28" y="8"/>
                      </a:lnTo>
                      <a:lnTo>
                        <a:pt x="28" y="8"/>
                      </a:lnTo>
                      <a:lnTo>
                        <a:pt x="28" y="8"/>
                      </a:lnTo>
                      <a:lnTo>
                        <a:pt x="28" y="8"/>
                      </a:lnTo>
                      <a:lnTo>
                        <a:pt x="28" y="8"/>
                      </a:lnTo>
                      <a:lnTo>
                        <a:pt x="28" y="12"/>
                      </a:lnTo>
                      <a:lnTo>
                        <a:pt x="28" y="12"/>
                      </a:lnTo>
                      <a:lnTo>
                        <a:pt x="28" y="12"/>
                      </a:lnTo>
                      <a:lnTo>
                        <a:pt x="28" y="12"/>
                      </a:lnTo>
                      <a:lnTo>
                        <a:pt x="28" y="12"/>
                      </a:lnTo>
                      <a:lnTo>
                        <a:pt x="28" y="12"/>
                      </a:lnTo>
                      <a:lnTo>
                        <a:pt x="28" y="12"/>
                      </a:lnTo>
                      <a:lnTo>
                        <a:pt x="28" y="12"/>
                      </a:lnTo>
                      <a:lnTo>
                        <a:pt x="28" y="12"/>
                      </a:lnTo>
                      <a:lnTo>
                        <a:pt x="28" y="12"/>
                      </a:lnTo>
                      <a:lnTo>
                        <a:pt x="32" y="12"/>
                      </a:lnTo>
                      <a:lnTo>
                        <a:pt x="32" y="12"/>
                      </a:lnTo>
                      <a:lnTo>
                        <a:pt x="32" y="12"/>
                      </a:lnTo>
                      <a:lnTo>
                        <a:pt x="32" y="12"/>
                      </a:lnTo>
                      <a:lnTo>
                        <a:pt x="36" y="12"/>
                      </a:lnTo>
                      <a:lnTo>
                        <a:pt x="36" y="12"/>
                      </a:lnTo>
                      <a:lnTo>
                        <a:pt x="36" y="12"/>
                      </a:lnTo>
                      <a:lnTo>
                        <a:pt x="36" y="12"/>
                      </a:lnTo>
                      <a:lnTo>
                        <a:pt x="36" y="12"/>
                      </a:lnTo>
                      <a:lnTo>
                        <a:pt x="40" y="12"/>
                      </a:lnTo>
                      <a:lnTo>
                        <a:pt x="40" y="12"/>
                      </a:lnTo>
                      <a:lnTo>
                        <a:pt x="40" y="12"/>
                      </a:lnTo>
                      <a:lnTo>
                        <a:pt x="36" y="16"/>
                      </a:lnTo>
                      <a:lnTo>
                        <a:pt x="36" y="16"/>
                      </a:lnTo>
                      <a:lnTo>
                        <a:pt x="36" y="16"/>
                      </a:lnTo>
                      <a:lnTo>
                        <a:pt x="36" y="16"/>
                      </a:lnTo>
                      <a:lnTo>
                        <a:pt x="32" y="16"/>
                      </a:lnTo>
                      <a:lnTo>
                        <a:pt x="32" y="16"/>
                      </a:lnTo>
                      <a:lnTo>
                        <a:pt x="32" y="16"/>
                      </a:lnTo>
                      <a:lnTo>
                        <a:pt x="32" y="16"/>
                      </a:lnTo>
                      <a:lnTo>
                        <a:pt x="32" y="16"/>
                      </a:lnTo>
                      <a:lnTo>
                        <a:pt x="32" y="16"/>
                      </a:lnTo>
                      <a:lnTo>
                        <a:pt x="32" y="16"/>
                      </a:lnTo>
                      <a:lnTo>
                        <a:pt x="32" y="16"/>
                      </a:lnTo>
                      <a:lnTo>
                        <a:pt x="32" y="16"/>
                      </a:lnTo>
                      <a:lnTo>
                        <a:pt x="32" y="16"/>
                      </a:lnTo>
                      <a:lnTo>
                        <a:pt x="32" y="16"/>
                      </a:lnTo>
                      <a:lnTo>
                        <a:pt x="32" y="16"/>
                      </a:lnTo>
                      <a:lnTo>
                        <a:pt x="36" y="16"/>
                      </a:lnTo>
                      <a:lnTo>
                        <a:pt x="36" y="16"/>
                      </a:lnTo>
                      <a:lnTo>
                        <a:pt x="36" y="16"/>
                      </a:lnTo>
                      <a:lnTo>
                        <a:pt x="36" y="16"/>
                      </a:lnTo>
                      <a:lnTo>
                        <a:pt x="36" y="16"/>
                      </a:lnTo>
                      <a:lnTo>
                        <a:pt x="36" y="16"/>
                      </a:lnTo>
                      <a:lnTo>
                        <a:pt x="36" y="16"/>
                      </a:lnTo>
                      <a:lnTo>
                        <a:pt x="36" y="16"/>
                      </a:lnTo>
                      <a:lnTo>
                        <a:pt x="36" y="16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40" y="20"/>
                      </a:lnTo>
                      <a:lnTo>
                        <a:pt x="40" y="20"/>
                      </a:lnTo>
                      <a:lnTo>
                        <a:pt x="40" y="20"/>
                      </a:lnTo>
                      <a:lnTo>
                        <a:pt x="44" y="20"/>
                      </a:lnTo>
                      <a:lnTo>
                        <a:pt x="44" y="20"/>
                      </a:lnTo>
                      <a:lnTo>
                        <a:pt x="44" y="20"/>
                      </a:lnTo>
                      <a:lnTo>
                        <a:pt x="44" y="20"/>
                      </a:lnTo>
                      <a:lnTo>
                        <a:pt x="44" y="20"/>
                      </a:lnTo>
                      <a:lnTo>
                        <a:pt x="44" y="20"/>
                      </a:lnTo>
                      <a:lnTo>
                        <a:pt x="44" y="20"/>
                      </a:lnTo>
                      <a:lnTo>
                        <a:pt x="48" y="24"/>
                      </a:lnTo>
                      <a:lnTo>
                        <a:pt x="48" y="24"/>
                      </a:lnTo>
                      <a:lnTo>
                        <a:pt x="48" y="24"/>
                      </a:lnTo>
                      <a:lnTo>
                        <a:pt x="48" y="24"/>
                      </a:lnTo>
                      <a:lnTo>
                        <a:pt x="50" y="24"/>
                      </a:lnTo>
                      <a:lnTo>
                        <a:pt x="50" y="24"/>
                      </a:lnTo>
                      <a:lnTo>
                        <a:pt x="50" y="24"/>
                      </a:lnTo>
                      <a:lnTo>
                        <a:pt x="50" y="26"/>
                      </a:lnTo>
                      <a:lnTo>
                        <a:pt x="50" y="26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4" y="30"/>
                      </a:lnTo>
                      <a:lnTo>
                        <a:pt x="44" y="30"/>
                      </a:lnTo>
                      <a:lnTo>
                        <a:pt x="44" y="30"/>
                      </a:lnTo>
                      <a:lnTo>
                        <a:pt x="44" y="30"/>
                      </a:lnTo>
                      <a:lnTo>
                        <a:pt x="44" y="30"/>
                      </a:lnTo>
                      <a:lnTo>
                        <a:pt x="44" y="30"/>
                      </a:lnTo>
                      <a:lnTo>
                        <a:pt x="44" y="30"/>
                      </a:lnTo>
                      <a:lnTo>
                        <a:pt x="44" y="30"/>
                      </a:lnTo>
                      <a:lnTo>
                        <a:pt x="44" y="30"/>
                      </a:lnTo>
                      <a:lnTo>
                        <a:pt x="44" y="30"/>
                      </a:lnTo>
                      <a:lnTo>
                        <a:pt x="44" y="30"/>
                      </a:lnTo>
                      <a:lnTo>
                        <a:pt x="44" y="30"/>
                      </a:lnTo>
                      <a:lnTo>
                        <a:pt x="44" y="26"/>
                      </a:lnTo>
                      <a:lnTo>
                        <a:pt x="44" y="26"/>
                      </a:lnTo>
                      <a:lnTo>
                        <a:pt x="40" y="26"/>
                      </a:lnTo>
                      <a:lnTo>
                        <a:pt x="40" y="26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0" y="26"/>
                      </a:lnTo>
                      <a:lnTo>
                        <a:pt x="36" y="26"/>
                      </a:lnTo>
                      <a:lnTo>
                        <a:pt x="36" y="26"/>
                      </a:lnTo>
                      <a:lnTo>
                        <a:pt x="32" y="26"/>
                      </a:lnTo>
                      <a:lnTo>
                        <a:pt x="32" y="26"/>
                      </a:lnTo>
                      <a:lnTo>
                        <a:pt x="32" y="26"/>
                      </a:lnTo>
                      <a:lnTo>
                        <a:pt x="32" y="26"/>
                      </a:lnTo>
                      <a:lnTo>
                        <a:pt x="28" y="26"/>
                      </a:lnTo>
                      <a:lnTo>
                        <a:pt x="28" y="26"/>
                      </a:lnTo>
                      <a:lnTo>
                        <a:pt x="28" y="26"/>
                      </a:lnTo>
                      <a:lnTo>
                        <a:pt x="28" y="26"/>
                      </a:lnTo>
                      <a:lnTo>
                        <a:pt x="28" y="26"/>
                      </a:lnTo>
                      <a:lnTo>
                        <a:pt x="28" y="26"/>
                      </a:lnTo>
                      <a:lnTo>
                        <a:pt x="28" y="26"/>
                      </a:lnTo>
                      <a:lnTo>
                        <a:pt x="24" y="26"/>
                      </a:lnTo>
                      <a:lnTo>
                        <a:pt x="24" y="26"/>
                      </a:lnTo>
                      <a:lnTo>
                        <a:pt x="24" y="26"/>
                      </a:lnTo>
                      <a:close/>
                      <a:moveTo>
                        <a:pt x="48" y="34"/>
                      </a:moveTo>
                      <a:lnTo>
                        <a:pt x="48" y="34"/>
                      </a:lnTo>
                      <a:lnTo>
                        <a:pt x="48" y="34"/>
                      </a:lnTo>
                      <a:lnTo>
                        <a:pt x="48" y="34"/>
                      </a:lnTo>
                      <a:lnTo>
                        <a:pt x="44" y="34"/>
                      </a:lnTo>
                      <a:lnTo>
                        <a:pt x="44" y="34"/>
                      </a:lnTo>
                      <a:lnTo>
                        <a:pt x="44" y="34"/>
                      </a:lnTo>
                      <a:lnTo>
                        <a:pt x="44" y="34"/>
                      </a:lnTo>
                      <a:lnTo>
                        <a:pt x="44" y="34"/>
                      </a:lnTo>
                      <a:lnTo>
                        <a:pt x="44" y="34"/>
                      </a:lnTo>
                      <a:lnTo>
                        <a:pt x="44" y="34"/>
                      </a:lnTo>
                      <a:lnTo>
                        <a:pt x="44" y="34"/>
                      </a:lnTo>
                      <a:lnTo>
                        <a:pt x="44" y="30"/>
                      </a:lnTo>
                      <a:lnTo>
                        <a:pt x="48" y="34"/>
                      </a:lnTo>
                      <a:lnTo>
                        <a:pt x="48" y="34"/>
                      </a:lnTo>
                      <a:lnTo>
                        <a:pt x="48" y="34"/>
                      </a:lnTo>
                      <a:lnTo>
                        <a:pt x="48" y="34"/>
                      </a:lnTo>
                      <a:lnTo>
                        <a:pt x="48" y="34"/>
                      </a:lnTo>
                      <a:lnTo>
                        <a:pt x="48" y="34"/>
                      </a:lnTo>
                      <a:lnTo>
                        <a:pt x="48" y="34"/>
                      </a:lnTo>
                      <a:lnTo>
                        <a:pt x="48" y="3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33" name="Freeform 72"/>
                <p:cNvSpPr>
                  <a:spLocks/>
                </p:cNvSpPr>
                <p:nvPr/>
              </p:nvSpPr>
              <p:spPr bwMode="auto">
                <a:xfrm>
                  <a:off x="2371725" y="4165668"/>
                  <a:ext cx="50800" cy="34925"/>
                </a:xfrm>
                <a:custGeom>
                  <a:avLst/>
                  <a:gdLst>
                    <a:gd name="T0" fmla="*/ 32 w 32"/>
                    <a:gd name="T1" fmla="*/ 16 h 22"/>
                    <a:gd name="T2" fmla="*/ 32 w 32"/>
                    <a:gd name="T3" fmla="*/ 16 h 22"/>
                    <a:gd name="T4" fmla="*/ 32 w 32"/>
                    <a:gd name="T5" fmla="*/ 18 h 22"/>
                    <a:gd name="T6" fmla="*/ 32 w 32"/>
                    <a:gd name="T7" fmla="*/ 18 h 22"/>
                    <a:gd name="T8" fmla="*/ 32 w 32"/>
                    <a:gd name="T9" fmla="*/ 18 h 22"/>
                    <a:gd name="T10" fmla="*/ 32 w 32"/>
                    <a:gd name="T11" fmla="*/ 22 h 22"/>
                    <a:gd name="T12" fmla="*/ 28 w 32"/>
                    <a:gd name="T13" fmla="*/ 22 h 22"/>
                    <a:gd name="T14" fmla="*/ 28 w 32"/>
                    <a:gd name="T15" fmla="*/ 22 h 22"/>
                    <a:gd name="T16" fmla="*/ 22 w 32"/>
                    <a:gd name="T17" fmla="*/ 22 h 22"/>
                    <a:gd name="T18" fmla="*/ 22 w 32"/>
                    <a:gd name="T19" fmla="*/ 18 h 22"/>
                    <a:gd name="T20" fmla="*/ 22 w 32"/>
                    <a:gd name="T21" fmla="*/ 18 h 22"/>
                    <a:gd name="T22" fmla="*/ 22 w 32"/>
                    <a:gd name="T23" fmla="*/ 22 h 22"/>
                    <a:gd name="T24" fmla="*/ 18 w 32"/>
                    <a:gd name="T25" fmla="*/ 22 h 22"/>
                    <a:gd name="T26" fmla="*/ 18 w 32"/>
                    <a:gd name="T27" fmla="*/ 18 h 22"/>
                    <a:gd name="T28" fmla="*/ 14 w 32"/>
                    <a:gd name="T29" fmla="*/ 18 h 22"/>
                    <a:gd name="T30" fmla="*/ 14 w 32"/>
                    <a:gd name="T31" fmla="*/ 18 h 22"/>
                    <a:gd name="T32" fmla="*/ 10 w 32"/>
                    <a:gd name="T33" fmla="*/ 16 h 22"/>
                    <a:gd name="T34" fmla="*/ 8 w 32"/>
                    <a:gd name="T35" fmla="*/ 16 h 22"/>
                    <a:gd name="T36" fmla="*/ 4 w 32"/>
                    <a:gd name="T37" fmla="*/ 16 h 22"/>
                    <a:gd name="T38" fmla="*/ 4 w 32"/>
                    <a:gd name="T39" fmla="*/ 16 h 22"/>
                    <a:gd name="T40" fmla="*/ 4 w 32"/>
                    <a:gd name="T41" fmla="*/ 16 h 22"/>
                    <a:gd name="T42" fmla="*/ 0 w 32"/>
                    <a:gd name="T43" fmla="*/ 12 h 22"/>
                    <a:gd name="T44" fmla="*/ 0 w 32"/>
                    <a:gd name="T45" fmla="*/ 8 h 22"/>
                    <a:gd name="T46" fmla="*/ 4 w 32"/>
                    <a:gd name="T47" fmla="*/ 8 h 22"/>
                    <a:gd name="T48" fmla="*/ 8 w 32"/>
                    <a:gd name="T49" fmla="*/ 4 h 22"/>
                    <a:gd name="T50" fmla="*/ 8 w 32"/>
                    <a:gd name="T51" fmla="*/ 4 h 22"/>
                    <a:gd name="T52" fmla="*/ 8 w 32"/>
                    <a:gd name="T53" fmla="*/ 4 h 22"/>
                    <a:gd name="T54" fmla="*/ 8 w 32"/>
                    <a:gd name="T55" fmla="*/ 4 h 22"/>
                    <a:gd name="T56" fmla="*/ 8 w 32"/>
                    <a:gd name="T57" fmla="*/ 0 h 22"/>
                    <a:gd name="T58" fmla="*/ 10 w 32"/>
                    <a:gd name="T59" fmla="*/ 0 h 22"/>
                    <a:gd name="T60" fmla="*/ 10 w 32"/>
                    <a:gd name="T61" fmla="*/ 0 h 22"/>
                    <a:gd name="T62" fmla="*/ 14 w 32"/>
                    <a:gd name="T63" fmla="*/ 0 h 22"/>
                    <a:gd name="T64" fmla="*/ 14 w 32"/>
                    <a:gd name="T65" fmla="*/ 4 h 22"/>
                    <a:gd name="T66" fmla="*/ 14 w 32"/>
                    <a:gd name="T67" fmla="*/ 4 h 22"/>
                    <a:gd name="T68" fmla="*/ 18 w 32"/>
                    <a:gd name="T69" fmla="*/ 4 h 22"/>
                    <a:gd name="T70" fmla="*/ 18 w 32"/>
                    <a:gd name="T71" fmla="*/ 4 h 22"/>
                    <a:gd name="T72" fmla="*/ 18 w 32"/>
                    <a:gd name="T73" fmla="*/ 8 h 22"/>
                    <a:gd name="T74" fmla="*/ 18 w 32"/>
                    <a:gd name="T75" fmla="*/ 8 h 22"/>
                    <a:gd name="T76" fmla="*/ 22 w 32"/>
                    <a:gd name="T77" fmla="*/ 8 h 22"/>
                    <a:gd name="T78" fmla="*/ 22 w 32"/>
                    <a:gd name="T79" fmla="*/ 8 h 22"/>
                    <a:gd name="T80" fmla="*/ 22 w 32"/>
                    <a:gd name="T81" fmla="*/ 12 h 22"/>
                    <a:gd name="T82" fmla="*/ 24 w 32"/>
                    <a:gd name="T83" fmla="*/ 12 h 22"/>
                    <a:gd name="T84" fmla="*/ 24 w 32"/>
                    <a:gd name="T85" fmla="*/ 12 h 22"/>
                    <a:gd name="T86" fmla="*/ 24 w 32"/>
                    <a:gd name="T87" fmla="*/ 8 h 22"/>
                    <a:gd name="T88" fmla="*/ 28 w 32"/>
                    <a:gd name="T89" fmla="*/ 8 h 22"/>
                    <a:gd name="T90" fmla="*/ 28 w 32"/>
                    <a:gd name="T91" fmla="*/ 12 h 22"/>
                    <a:gd name="T92" fmla="*/ 28 w 32"/>
                    <a:gd name="T93" fmla="*/ 12 h 22"/>
                    <a:gd name="T94" fmla="*/ 32 w 32"/>
                    <a:gd name="T95" fmla="*/ 12 h 22"/>
                    <a:gd name="T96" fmla="*/ 32 w 32"/>
                    <a:gd name="T97" fmla="*/ 12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32" h="22">
                      <a:moveTo>
                        <a:pt x="32" y="12"/>
                      </a:moveTo>
                      <a:lnTo>
                        <a:pt x="32" y="12"/>
                      </a:lnTo>
                      <a:lnTo>
                        <a:pt x="32" y="16"/>
                      </a:lnTo>
                      <a:lnTo>
                        <a:pt x="32" y="16"/>
                      </a:lnTo>
                      <a:lnTo>
                        <a:pt x="32" y="16"/>
                      </a:lnTo>
                      <a:lnTo>
                        <a:pt x="32" y="16"/>
                      </a:lnTo>
                      <a:lnTo>
                        <a:pt x="32" y="16"/>
                      </a:lnTo>
                      <a:lnTo>
                        <a:pt x="32" y="18"/>
                      </a:lnTo>
                      <a:lnTo>
                        <a:pt x="32" y="18"/>
                      </a:lnTo>
                      <a:lnTo>
                        <a:pt x="32" y="18"/>
                      </a:lnTo>
                      <a:lnTo>
                        <a:pt x="32" y="18"/>
                      </a:lnTo>
                      <a:lnTo>
                        <a:pt x="32" y="18"/>
                      </a:lnTo>
                      <a:lnTo>
                        <a:pt x="32" y="18"/>
                      </a:lnTo>
                      <a:lnTo>
                        <a:pt x="32" y="18"/>
                      </a:lnTo>
                      <a:lnTo>
                        <a:pt x="32" y="18"/>
                      </a:lnTo>
                      <a:lnTo>
                        <a:pt x="32" y="18"/>
                      </a:lnTo>
                      <a:lnTo>
                        <a:pt x="32" y="18"/>
                      </a:lnTo>
                      <a:lnTo>
                        <a:pt x="32" y="22"/>
                      </a:lnTo>
                      <a:lnTo>
                        <a:pt x="28" y="22"/>
                      </a:lnTo>
                      <a:lnTo>
                        <a:pt x="28" y="22"/>
                      </a:lnTo>
                      <a:lnTo>
                        <a:pt x="28" y="22"/>
                      </a:lnTo>
                      <a:lnTo>
                        <a:pt x="28" y="22"/>
                      </a:lnTo>
                      <a:lnTo>
                        <a:pt x="28" y="22"/>
                      </a:lnTo>
                      <a:lnTo>
                        <a:pt x="28" y="22"/>
                      </a:lnTo>
                      <a:lnTo>
                        <a:pt x="24" y="22"/>
                      </a:lnTo>
                      <a:lnTo>
                        <a:pt x="24" y="22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2" y="18"/>
                      </a:lnTo>
                      <a:lnTo>
                        <a:pt x="22" y="18"/>
                      </a:lnTo>
                      <a:lnTo>
                        <a:pt x="18" y="18"/>
                      </a:lnTo>
                      <a:lnTo>
                        <a:pt x="22" y="22"/>
                      </a:lnTo>
                      <a:lnTo>
                        <a:pt x="22" y="18"/>
                      </a:lnTo>
                      <a:lnTo>
                        <a:pt x="22" y="18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18" y="22"/>
                      </a:lnTo>
                      <a:lnTo>
                        <a:pt x="18" y="22"/>
                      </a:lnTo>
                      <a:lnTo>
                        <a:pt x="18" y="22"/>
                      </a:lnTo>
                      <a:lnTo>
                        <a:pt x="18" y="18"/>
                      </a:lnTo>
                      <a:lnTo>
                        <a:pt x="18" y="18"/>
                      </a:lnTo>
                      <a:lnTo>
                        <a:pt x="18" y="18"/>
                      </a:lnTo>
                      <a:lnTo>
                        <a:pt x="14" y="18"/>
                      </a:lnTo>
                      <a:lnTo>
                        <a:pt x="14" y="18"/>
                      </a:lnTo>
                      <a:lnTo>
                        <a:pt x="14" y="18"/>
                      </a:lnTo>
                      <a:lnTo>
                        <a:pt x="14" y="18"/>
                      </a:lnTo>
                      <a:lnTo>
                        <a:pt x="14" y="18"/>
                      </a:lnTo>
                      <a:lnTo>
                        <a:pt x="10" y="18"/>
                      </a:lnTo>
                      <a:lnTo>
                        <a:pt x="10" y="16"/>
                      </a:lnTo>
                      <a:lnTo>
                        <a:pt x="10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4" y="0"/>
                      </a:lnTo>
                      <a:lnTo>
                        <a:pt x="14" y="4"/>
                      </a:lnTo>
                      <a:lnTo>
                        <a:pt x="14" y="0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22" y="8"/>
                      </a:lnTo>
                      <a:lnTo>
                        <a:pt x="22" y="8"/>
                      </a:lnTo>
                      <a:lnTo>
                        <a:pt x="22" y="8"/>
                      </a:lnTo>
                      <a:lnTo>
                        <a:pt x="22" y="8"/>
                      </a:lnTo>
                      <a:lnTo>
                        <a:pt x="22" y="8"/>
                      </a:lnTo>
                      <a:lnTo>
                        <a:pt x="22" y="12"/>
                      </a:lnTo>
                      <a:lnTo>
                        <a:pt x="22" y="12"/>
                      </a:lnTo>
                      <a:lnTo>
                        <a:pt x="22" y="12"/>
                      </a:lnTo>
                      <a:lnTo>
                        <a:pt x="24" y="12"/>
                      </a:lnTo>
                      <a:lnTo>
                        <a:pt x="24" y="12"/>
                      </a:lnTo>
                      <a:lnTo>
                        <a:pt x="24" y="12"/>
                      </a:lnTo>
                      <a:lnTo>
                        <a:pt x="24" y="12"/>
                      </a:lnTo>
                      <a:lnTo>
                        <a:pt x="24" y="12"/>
                      </a:lnTo>
                      <a:lnTo>
                        <a:pt x="24" y="8"/>
                      </a:lnTo>
                      <a:lnTo>
                        <a:pt x="24" y="8"/>
                      </a:lnTo>
                      <a:lnTo>
                        <a:pt x="24" y="8"/>
                      </a:lnTo>
                      <a:lnTo>
                        <a:pt x="24" y="8"/>
                      </a:lnTo>
                      <a:lnTo>
                        <a:pt x="28" y="8"/>
                      </a:lnTo>
                      <a:lnTo>
                        <a:pt x="28" y="8"/>
                      </a:lnTo>
                      <a:lnTo>
                        <a:pt x="28" y="8"/>
                      </a:lnTo>
                      <a:lnTo>
                        <a:pt x="28" y="12"/>
                      </a:lnTo>
                      <a:lnTo>
                        <a:pt x="28" y="12"/>
                      </a:lnTo>
                      <a:lnTo>
                        <a:pt x="28" y="12"/>
                      </a:lnTo>
                      <a:lnTo>
                        <a:pt x="28" y="12"/>
                      </a:lnTo>
                      <a:lnTo>
                        <a:pt x="28" y="12"/>
                      </a:lnTo>
                      <a:lnTo>
                        <a:pt x="32" y="12"/>
                      </a:lnTo>
                      <a:lnTo>
                        <a:pt x="32" y="12"/>
                      </a:lnTo>
                      <a:lnTo>
                        <a:pt x="32" y="12"/>
                      </a:lnTo>
                      <a:lnTo>
                        <a:pt x="32" y="12"/>
                      </a:lnTo>
                      <a:lnTo>
                        <a:pt x="32" y="12"/>
                      </a:lnTo>
                      <a:lnTo>
                        <a:pt x="32" y="12"/>
                      </a:lnTo>
                      <a:lnTo>
                        <a:pt x="32" y="1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34" name="Freeform 73"/>
                <p:cNvSpPr>
                  <a:spLocks noEditPoints="1"/>
                </p:cNvSpPr>
                <p:nvPr/>
              </p:nvSpPr>
              <p:spPr bwMode="auto">
                <a:xfrm>
                  <a:off x="2755900" y="1781243"/>
                  <a:ext cx="1365250" cy="993775"/>
                </a:xfrm>
                <a:custGeom>
                  <a:avLst/>
                  <a:gdLst>
                    <a:gd name="T0" fmla="*/ 472 w 860"/>
                    <a:gd name="T1" fmla="*/ 18 h 626"/>
                    <a:gd name="T2" fmla="*/ 342 w 860"/>
                    <a:gd name="T3" fmla="*/ 34 h 626"/>
                    <a:gd name="T4" fmla="*/ 738 w 860"/>
                    <a:gd name="T5" fmla="*/ 60 h 626"/>
                    <a:gd name="T6" fmla="*/ 764 w 860"/>
                    <a:gd name="T7" fmla="*/ 160 h 626"/>
                    <a:gd name="T8" fmla="*/ 734 w 860"/>
                    <a:gd name="T9" fmla="*/ 204 h 626"/>
                    <a:gd name="T10" fmla="*/ 742 w 860"/>
                    <a:gd name="T11" fmla="*/ 256 h 626"/>
                    <a:gd name="T12" fmla="*/ 234 w 860"/>
                    <a:gd name="T13" fmla="*/ 284 h 626"/>
                    <a:gd name="T14" fmla="*/ 246 w 860"/>
                    <a:gd name="T15" fmla="*/ 294 h 626"/>
                    <a:gd name="T16" fmla="*/ 252 w 860"/>
                    <a:gd name="T17" fmla="*/ 314 h 626"/>
                    <a:gd name="T18" fmla="*/ 506 w 860"/>
                    <a:gd name="T19" fmla="*/ 484 h 626"/>
                    <a:gd name="T20" fmla="*/ 332 w 860"/>
                    <a:gd name="T21" fmla="*/ 578 h 626"/>
                    <a:gd name="T22" fmla="*/ 418 w 860"/>
                    <a:gd name="T23" fmla="*/ 622 h 626"/>
                    <a:gd name="T24" fmla="*/ 308 w 860"/>
                    <a:gd name="T25" fmla="*/ 398 h 626"/>
                    <a:gd name="T26" fmla="*/ 312 w 860"/>
                    <a:gd name="T27" fmla="*/ 366 h 626"/>
                    <a:gd name="T28" fmla="*/ 268 w 860"/>
                    <a:gd name="T29" fmla="*/ 320 h 626"/>
                    <a:gd name="T30" fmla="*/ 256 w 860"/>
                    <a:gd name="T31" fmla="*/ 306 h 626"/>
                    <a:gd name="T32" fmla="*/ 200 w 860"/>
                    <a:gd name="T33" fmla="*/ 238 h 626"/>
                    <a:gd name="T34" fmla="*/ 86 w 860"/>
                    <a:gd name="T35" fmla="*/ 216 h 626"/>
                    <a:gd name="T36" fmla="*/ 86 w 860"/>
                    <a:gd name="T37" fmla="*/ 190 h 626"/>
                    <a:gd name="T38" fmla="*/ 30 w 860"/>
                    <a:gd name="T39" fmla="*/ 172 h 626"/>
                    <a:gd name="T40" fmla="*/ 122 w 860"/>
                    <a:gd name="T41" fmla="*/ 104 h 626"/>
                    <a:gd name="T42" fmla="*/ 178 w 860"/>
                    <a:gd name="T43" fmla="*/ 52 h 626"/>
                    <a:gd name="T44" fmla="*/ 276 w 860"/>
                    <a:gd name="T45" fmla="*/ 60 h 626"/>
                    <a:gd name="T46" fmla="*/ 406 w 860"/>
                    <a:gd name="T47" fmla="*/ 56 h 626"/>
                    <a:gd name="T48" fmla="*/ 464 w 860"/>
                    <a:gd name="T49" fmla="*/ 26 h 626"/>
                    <a:gd name="T50" fmla="*/ 418 w 860"/>
                    <a:gd name="T51" fmla="*/ 12 h 626"/>
                    <a:gd name="T52" fmla="*/ 524 w 860"/>
                    <a:gd name="T53" fmla="*/ 4 h 626"/>
                    <a:gd name="T54" fmla="*/ 584 w 860"/>
                    <a:gd name="T55" fmla="*/ 18 h 626"/>
                    <a:gd name="T56" fmla="*/ 678 w 860"/>
                    <a:gd name="T57" fmla="*/ 16 h 626"/>
                    <a:gd name="T58" fmla="*/ 606 w 860"/>
                    <a:gd name="T59" fmla="*/ 44 h 626"/>
                    <a:gd name="T60" fmla="*/ 692 w 860"/>
                    <a:gd name="T61" fmla="*/ 48 h 626"/>
                    <a:gd name="T62" fmla="*/ 786 w 860"/>
                    <a:gd name="T63" fmla="*/ 52 h 626"/>
                    <a:gd name="T64" fmla="*/ 748 w 860"/>
                    <a:gd name="T65" fmla="*/ 90 h 626"/>
                    <a:gd name="T66" fmla="*/ 756 w 860"/>
                    <a:gd name="T67" fmla="*/ 124 h 626"/>
                    <a:gd name="T68" fmla="*/ 744 w 860"/>
                    <a:gd name="T69" fmla="*/ 178 h 626"/>
                    <a:gd name="T70" fmla="*/ 726 w 860"/>
                    <a:gd name="T71" fmla="*/ 208 h 626"/>
                    <a:gd name="T72" fmla="*/ 734 w 860"/>
                    <a:gd name="T73" fmla="*/ 238 h 626"/>
                    <a:gd name="T74" fmla="*/ 738 w 860"/>
                    <a:gd name="T75" fmla="*/ 280 h 626"/>
                    <a:gd name="T76" fmla="*/ 660 w 860"/>
                    <a:gd name="T77" fmla="*/ 294 h 626"/>
                    <a:gd name="T78" fmla="*/ 704 w 860"/>
                    <a:gd name="T79" fmla="*/ 328 h 626"/>
                    <a:gd name="T80" fmla="*/ 688 w 860"/>
                    <a:gd name="T81" fmla="*/ 358 h 626"/>
                    <a:gd name="T82" fmla="*/ 632 w 860"/>
                    <a:gd name="T83" fmla="*/ 358 h 626"/>
                    <a:gd name="T84" fmla="*/ 704 w 860"/>
                    <a:gd name="T85" fmla="*/ 388 h 626"/>
                    <a:gd name="T86" fmla="*/ 580 w 860"/>
                    <a:gd name="T87" fmla="*/ 426 h 626"/>
                    <a:gd name="T88" fmla="*/ 502 w 860"/>
                    <a:gd name="T89" fmla="*/ 484 h 626"/>
                    <a:gd name="T90" fmla="*/ 458 w 860"/>
                    <a:gd name="T91" fmla="*/ 530 h 626"/>
                    <a:gd name="T92" fmla="*/ 436 w 860"/>
                    <a:gd name="T93" fmla="*/ 578 h 626"/>
                    <a:gd name="T94" fmla="*/ 420 w 860"/>
                    <a:gd name="T95" fmla="*/ 618 h 626"/>
                    <a:gd name="T96" fmla="*/ 388 w 860"/>
                    <a:gd name="T97" fmla="*/ 596 h 626"/>
                    <a:gd name="T98" fmla="*/ 332 w 860"/>
                    <a:gd name="T99" fmla="*/ 578 h 626"/>
                    <a:gd name="T100" fmla="*/ 306 w 860"/>
                    <a:gd name="T101" fmla="*/ 534 h 626"/>
                    <a:gd name="T102" fmla="*/ 302 w 860"/>
                    <a:gd name="T103" fmla="*/ 518 h 626"/>
                    <a:gd name="T104" fmla="*/ 286 w 860"/>
                    <a:gd name="T105" fmla="*/ 482 h 626"/>
                    <a:gd name="T106" fmla="*/ 278 w 860"/>
                    <a:gd name="T107" fmla="*/ 462 h 626"/>
                    <a:gd name="T108" fmla="*/ 290 w 860"/>
                    <a:gd name="T109" fmla="*/ 436 h 626"/>
                    <a:gd name="T110" fmla="*/ 278 w 860"/>
                    <a:gd name="T111" fmla="*/ 432 h 626"/>
                    <a:gd name="T112" fmla="*/ 306 w 860"/>
                    <a:gd name="T113" fmla="*/ 418 h 626"/>
                    <a:gd name="T114" fmla="*/ 768 w 860"/>
                    <a:gd name="T115" fmla="*/ 216 h 626"/>
                    <a:gd name="T116" fmla="*/ 712 w 860"/>
                    <a:gd name="T117" fmla="*/ 310 h 626"/>
                    <a:gd name="T118" fmla="*/ 648 w 860"/>
                    <a:gd name="T119" fmla="*/ 358 h 626"/>
                    <a:gd name="T120" fmla="*/ 264 w 860"/>
                    <a:gd name="T121" fmla="*/ 380 h 626"/>
                    <a:gd name="T122" fmla="*/ 610 w 860"/>
                    <a:gd name="T123" fmla="*/ 426 h 626"/>
                    <a:gd name="T124" fmla="*/ 462 w 860"/>
                    <a:gd name="T125" fmla="*/ 518 h 6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860" h="626">
                      <a:moveTo>
                        <a:pt x="472" y="8"/>
                      </a:moveTo>
                      <a:lnTo>
                        <a:pt x="476" y="8"/>
                      </a:lnTo>
                      <a:lnTo>
                        <a:pt x="480" y="8"/>
                      </a:lnTo>
                      <a:lnTo>
                        <a:pt x="480" y="12"/>
                      </a:lnTo>
                      <a:lnTo>
                        <a:pt x="476" y="12"/>
                      </a:lnTo>
                      <a:lnTo>
                        <a:pt x="472" y="8"/>
                      </a:lnTo>
                      <a:lnTo>
                        <a:pt x="472" y="8"/>
                      </a:lnTo>
                      <a:lnTo>
                        <a:pt x="472" y="8"/>
                      </a:lnTo>
                      <a:close/>
                      <a:moveTo>
                        <a:pt x="480" y="16"/>
                      </a:moveTo>
                      <a:lnTo>
                        <a:pt x="476" y="16"/>
                      </a:lnTo>
                      <a:lnTo>
                        <a:pt x="472" y="16"/>
                      </a:lnTo>
                      <a:lnTo>
                        <a:pt x="468" y="16"/>
                      </a:lnTo>
                      <a:lnTo>
                        <a:pt x="468" y="12"/>
                      </a:lnTo>
                      <a:lnTo>
                        <a:pt x="464" y="12"/>
                      </a:lnTo>
                      <a:lnTo>
                        <a:pt x="462" y="12"/>
                      </a:lnTo>
                      <a:lnTo>
                        <a:pt x="458" y="12"/>
                      </a:lnTo>
                      <a:lnTo>
                        <a:pt x="458" y="8"/>
                      </a:lnTo>
                      <a:lnTo>
                        <a:pt x="462" y="8"/>
                      </a:lnTo>
                      <a:lnTo>
                        <a:pt x="464" y="12"/>
                      </a:lnTo>
                      <a:lnTo>
                        <a:pt x="468" y="12"/>
                      </a:lnTo>
                      <a:lnTo>
                        <a:pt x="472" y="12"/>
                      </a:lnTo>
                      <a:lnTo>
                        <a:pt x="476" y="12"/>
                      </a:lnTo>
                      <a:lnTo>
                        <a:pt x="476" y="16"/>
                      </a:lnTo>
                      <a:lnTo>
                        <a:pt x="480" y="16"/>
                      </a:lnTo>
                      <a:lnTo>
                        <a:pt x="484" y="16"/>
                      </a:lnTo>
                      <a:lnTo>
                        <a:pt x="480" y="16"/>
                      </a:lnTo>
                      <a:lnTo>
                        <a:pt x="480" y="16"/>
                      </a:lnTo>
                      <a:lnTo>
                        <a:pt x="480" y="16"/>
                      </a:lnTo>
                      <a:close/>
                      <a:moveTo>
                        <a:pt x="446" y="12"/>
                      </a:moveTo>
                      <a:lnTo>
                        <a:pt x="442" y="12"/>
                      </a:lnTo>
                      <a:lnTo>
                        <a:pt x="446" y="8"/>
                      </a:lnTo>
                      <a:lnTo>
                        <a:pt x="450" y="12"/>
                      </a:lnTo>
                      <a:lnTo>
                        <a:pt x="446" y="12"/>
                      </a:lnTo>
                      <a:lnTo>
                        <a:pt x="446" y="12"/>
                      </a:lnTo>
                      <a:lnTo>
                        <a:pt x="446" y="12"/>
                      </a:lnTo>
                      <a:close/>
                      <a:moveTo>
                        <a:pt x="432" y="12"/>
                      </a:moveTo>
                      <a:lnTo>
                        <a:pt x="436" y="12"/>
                      </a:lnTo>
                      <a:lnTo>
                        <a:pt x="440" y="12"/>
                      </a:lnTo>
                      <a:lnTo>
                        <a:pt x="436" y="12"/>
                      </a:lnTo>
                      <a:lnTo>
                        <a:pt x="432" y="12"/>
                      </a:lnTo>
                      <a:lnTo>
                        <a:pt x="432" y="12"/>
                      </a:lnTo>
                      <a:lnTo>
                        <a:pt x="432" y="12"/>
                      </a:lnTo>
                      <a:close/>
                      <a:moveTo>
                        <a:pt x="442" y="12"/>
                      </a:moveTo>
                      <a:lnTo>
                        <a:pt x="446" y="12"/>
                      </a:lnTo>
                      <a:lnTo>
                        <a:pt x="450" y="12"/>
                      </a:lnTo>
                      <a:lnTo>
                        <a:pt x="446" y="12"/>
                      </a:lnTo>
                      <a:lnTo>
                        <a:pt x="442" y="12"/>
                      </a:lnTo>
                      <a:lnTo>
                        <a:pt x="442" y="12"/>
                      </a:lnTo>
                      <a:lnTo>
                        <a:pt x="442" y="12"/>
                      </a:lnTo>
                      <a:close/>
                      <a:moveTo>
                        <a:pt x="488" y="16"/>
                      </a:moveTo>
                      <a:lnTo>
                        <a:pt x="484" y="16"/>
                      </a:lnTo>
                      <a:lnTo>
                        <a:pt x="488" y="16"/>
                      </a:lnTo>
                      <a:lnTo>
                        <a:pt x="490" y="16"/>
                      </a:lnTo>
                      <a:lnTo>
                        <a:pt x="494" y="16"/>
                      </a:lnTo>
                      <a:lnTo>
                        <a:pt x="490" y="16"/>
                      </a:lnTo>
                      <a:lnTo>
                        <a:pt x="488" y="16"/>
                      </a:lnTo>
                      <a:lnTo>
                        <a:pt x="488" y="16"/>
                      </a:lnTo>
                      <a:lnTo>
                        <a:pt x="488" y="16"/>
                      </a:lnTo>
                      <a:close/>
                      <a:moveTo>
                        <a:pt x="468" y="18"/>
                      </a:moveTo>
                      <a:lnTo>
                        <a:pt x="464" y="18"/>
                      </a:lnTo>
                      <a:lnTo>
                        <a:pt x="462" y="18"/>
                      </a:lnTo>
                      <a:lnTo>
                        <a:pt x="458" y="18"/>
                      </a:lnTo>
                      <a:lnTo>
                        <a:pt x="454" y="18"/>
                      </a:lnTo>
                      <a:lnTo>
                        <a:pt x="450" y="16"/>
                      </a:lnTo>
                      <a:lnTo>
                        <a:pt x="446" y="16"/>
                      </a:lnTo>
                      <a:lnTo>
                        <a:pt x="450" y="16"/>
                      </a:lnTo>
                      <a:lnTo>
                        <a:pt x="454" y="16"/>
                      </a:lnTo>
                      <a:lnTo>
                        <a:pt x="458" y="16"/>
                      </a:lnTo>
                      <a:lnTo>
                        <a:pt x="462" y="18"/>
                      </a:lnTo>
                      <a:lnTo>
                        <a:pt x="464" y="18"/>
                      </a:lnTo>
                      <a:lnTo>
                        <a:pt x="468" y="18"/>
                      </a:lnTo>
                      <a:lnTo>
                        <a:pt x="468" y="18"/>
                      </a:lnTo>
                      <a:lnTo>
                        <a:pt x="468" y="18"/>
                      </a:lnTo>
                      <a:close/>
                      <a:moveTo>
                        <a:pt x="472" y="18"/>
                      </a:moveTo>
                      <a:lnTo>
                        <a:pt x="468" y="18"/>
                      </a:lnTo>
                      <a:lnTo>
                        <a:pt x="464" y="18"/>
                      </a:lnTo>
                      <a:lnTo>
                        <a:pt x="464" y="16"/>
                      </a:lnTo>
                      <a:lnTo>
                        <a:pt x="462" y="16"/>
                      </a:lnTo>
                      <a:lnTo>
                        <a:pt x="458" y="16"/>
                      </a:lnTo>
                      <a:lnTo>
                        <a:pt x="462" y="16"/>
                      </a:lnTo>
                      <a:lnTo>
                        <a:pt x="464" y="16"/>
                      </a:lnTo>
                      <a:lnTo>
                        <a:pt x="468" y="16"/>
                      </a:lnTo>
                      <a:lnTo>
                        <a:pt x="472" y="16"/>
                      </a:lnTo>
                      <a:lnTo>
                        <a:pt x="476" y="16"/>
                      </a:lnTo>
                      <a:lnTo>
                        <a:pt x="476" y="18"/>
                      </a:lnTo>
                      <a:lnTo>
                        <a:pt x="472" y="18"/>
                      </a:lnTo>
                      <a:lnTo>
                        <a:pt x="472" y="18"/>
                      </a:lnTo>
                      <a:lnTo>
                        <a:pt x="472" y="18"/>
                      </a:lnTo>
                      <a:close/>
                      <a:moveTo>
                        <a:pt x="368" y="22"/>
                      </a:moveTo>
                      <a:lnTo>
                        <a:pt x="364" y="22"/>
                      </a:lnTo>
                      <a:lnTo>
                        <a:pt x="368" y="22"/>
                      </a:lnTo>
                      <a:lnTo>
                        <a:pt x="372" y="22"/>
                      </a:lnTo>
                      <a:lnTo>
                        <a:pt x="376" y="22"/>
                      </a:lnTo>
                      <a:lnTo>
                        <a:pt x="372" y="22"/>
                      </a:lnTo>
                      <a:lnTo>
                        <a:pt x="368" y="22"/>
                      </a:lnTo>
                      <a:lnTo>
                        <a:pt x="368" y="22"/>
                      </a:lnTo>
                      <a:lnTo>
                        <a:pt x="368" y="22"/>
                      </a:lnTo>
                      <a:close/>
                      <a:moveTo>
                        <a:pt x="350" y="26"/>
                      </a:moveTo>
                      <a:lnTo>
                        <a:pt x="346" y="26"/>
                      </a:lnTo>
                      <a:lnTo>
                        <a:pt x="346" y="22"/>
                      </a:lnTo>
                      <a:lnTo>
                        <a:pt x="350" y="22"/>
                      </a:lnTo>
                      <a:lnTo>
                        <a:pt x="354" y="22"/>
                      </a:lnTo>
                      <a:lnTo>
                        <a:pt x="358" y="22"/>
                      </a:lnTo>
                      <a:lnTo>
                        <a:pt x="362" y="22"/>
                      </a:lnTo>
                      <a:lnTo>
                        <a:pt x="362" y="26"/>
                      </a:lnTo>
                      <a:lnTo>
                        <a:pt x="358" y="26"/>
                      </a:lnTo>
                      <a:lnTo>
                        <a:pt x="354" y="26"/>
                      </a:lnTo>
                      <a:lnTo>
                        <a:pt x="350" y="26"/>
                      </a:lnTo>
                      <a:lnTo>
                        <a:pt x="350" y="26"/>
                      </a:lnTo>
                      <a:lnTo>
                        <a:pt x="350" y="26"/>
                      </a:lnTo>
                      <a:close/>
                      <a:moveTo>
                        <a:pt x="394" y="48"/>
                      </a:moveTo>
                      <a:lnTo>
                        <a:pt x="392" y="44"/>
                      </a:lnTo>
                      <a:lnTo>
                        <a:pt x="388" y="44"/>
                      </a:lnTo>
                      <a:lnTo>
                        <a:pt x="388" y="42"/>
                      </a:lnTo>
                      <a:lnTo>
                        <a:pt x="384" y="42"/>
                      </a:lnTo>
                      <a:lnTo>
                        <a:pt x="380" y="42"/>
                      </a:lnTo>
                      <a:lnTo>
                        <a:pt x="376" y="42"/>
                      </a:lnTo>
                      <a:lnTo>
                        <a:pt x="372" y="42"/>
                      </a:lnTo>
                      <a:lnTo>
                        <a:pt x="368" y="38"/>
                      </a:lnTo>
                      <a:lnTo>
                        <a:pt x="364" y="38"/>
                      </a:lnTo>
                      <a:lnTo>
                        <a:pt x="364" y="34"/>
                      </a:lnTo>
                      <a:lnTo>
                        <a:pt x="362" y="34"/>
                      </a:lnTo>
                      <a:lnTo>
                        <a:pt x="362" y="30"/>
                      </a:lnTo>
                      <a:lnTo>
                        <a:pt x="358" y="30"/>
                      </a:lnTo>
                      <a:lnTo>
                        <a:pt x="362" y="30"/>
                      </a:lnTo>
                      <a:lnTo>
                        <a:pt x="364" y="30"/>
                      </a:lnTo>
                      <a:lnTo>
                        <a:pt x="368" y="30"/>
                      </a:lnTo>
                      <a:lnTo>
                        <a:pt x="372" y="30"/>
                      </a:lnTo>
                      <a:lnTo>
                        <a:pt x="376" y="30"/>
                      </a:lnTo>
                      <a:lnTo>
                        <a:pt x="380" y="30"/>
                      </a:lnTo>
                      <a:lnTo>
                        <a:pt x="384" y="30"/>
                      </a:lnTo>
                      <a:lnTo>
                        <a:pt x="392" y="34"/>
                      </a:lnTo>
                      <a:lnTo>
                        <a:pt x="394" y="34"/>
                      </a:lnTo>
                      <a:lnTo>
                        <a:pt x="398" y="34"/>
                      </a:lnTo>
                      <a:lnTo>
                        <a:pt x="398" y="38"/>
                      </a:lnTo>
                      <a:lnTo>
                        <a:pt x="402" y="38"/>
                      </a:lnTo>
                      <a:lnTo>
                        <a:pt x="402" y="42"/>
                      </a:lnTo>
                      <a:lnTo>
                        <a:pt x="398" y="42"/>
                      </a:lnTo>
                      <a:lnTo>
                        <a:pt x="394" y="42"/>
                      </a:lnTo>
                      <a:lnTo>
                        <a:pt x="394" y="44"/>
                      </a:lnTo>
                      <a:lnTo>
                        <a:pt x="398" y="44"/>
                      </a:lnTo>
                      <a:lnTo>
                        <a:pt x="398" y="48"/>
                      </a:lnTo>
                      <a:lnTo>
                        <a:pt x="394" y="48"/>
                      </a:lnTo>
                      <a:lnTo>
                        <a:pt x="394" y="48"/>
                      </a:lnTo>
                      <a:lnTo>
                        <a:pt x="394" y="48"/>
                      </a:lnTo>
                      <a:close/>
                      <a:moveTo>
                        <a:pt x="350" y="38"/>
                      </a:moveTo>
                      <a:lnTo>
                        <a:pt x="346" y="34"/>
                      </a:lnTo>
                      <a:lnTo>
                        <a:pt x="342" y="34"/>
                      </a:lnTo>
                      <a:lnTo>
                        <a:pt x="346" y="34"/>
                      </a:lnTo>
                      <a:lnTo>
                        <a:pt x="350" y="34"/>
                      </a:lnTo>
                      <a:lnTo>
                        <a:pt x="354" y="34"/>
                      </a:lnTo>
                      <a:lnTo>
                        <a:pt x="350" y="38"/>
                      </a:lnTo>
                      <a:lnTo>
                        <a:pt x="350" y="38"/>
                      </a:lnTo>
                      <a:lnTo>
                        <a:pt x="350" y="38"/>
                      </a:lnTo>
                      <a:close/>
                      <a:moveTo>
                        <a:pt x="308" y="48"/>
                      </a:moveTo>
                      <a:lnTo>
                        <a:pt x="306" y="48"/>
                      </a:lnTo>
                      <a:lnTo>
                        <a:pt x="302" y="48"/>
                      </a:lnTo>
                      <a:lnTo>
                        <a:pt x="298" y="48"/>
                      </a:lnTo>
                      <a:lnTo>
                        <a:pt x="294" y="48"/>
                      </a:lnTo>
                      <a:lnTo>
                        <a:pt x="290" y="48"/>
                      </a:lnTo>
                      <a:lnTo>
                        <a:pt x="286" y="48"/>
                      </a:lnTo>
                      <a:lnTo>
                        <a:pt x="282" y="48"/>
                      </a:lnTo>
                      <a:lnTo>
                        <a:pt x="282" y="44"/>
                      </a:lnTo>
                      <a:lnTo>
                        <a:pt x="278" y="44"/>
                      </a:lnTo>
                      <a:lnTo>
                        <a:pt x="278" y="42"/>
                      </a:lnTo>
                      <a:lnTo>
                        <a:pt x="282" y="42"/>
                      </a:lnTo>
                      <a:lnTo>
                        <a:pt x="286" y="42"/>
                      </a:lnTo>
                      <a:lnTo>
                        <a:pt x="290" y="42"/>
                      </a:lnTo>
                      <a:lnTo>
                        <a:pt x="286" y="42"/>
                      </a:lnTo>
                      <a:lnTo>
                        <a:pt x="290" y="42"/>
                      </a:lnTo>
                      <a:lnTo>
                        <a:pt x="290" y="44"/>
                      </a:lnTo>
                      <a:lnTo>
                        <a:pt x="294" y="44"/>
                      </a:lnTo>
                      <a:lnTo>
                        <a:pt x="298" y="44"/>
                      </a:lnTo>
                      <a:lnTo>
                        <a:pt x="306" y="48"/>
                      </a:lnTo>
                      <a:lnTo>
                        <a:pt x="308" y="48"/>
                      </a:lnTo>
                      <a:lnTo>
                        <a:pt x="308" y="48"/>
                      </a:lnTo>
                      <a:lnTo>
                        <a:pt x="308" y="48"/>
                      </a:lnTo>
                      <a:close/>
                      <a:moveTo>
                        <a:pt x="294" y="42"/>
                      </a:moveTo>
                      <a:lnTo>
                        <a:pt x="298" y="42"/>
                      </a:lnTo>
                      <a:lnTo>
                        <a:pt x="298" y="44"/>
                      </a:lnTo>
                      <a:lnTo>
                        <a:pt x="294" y="44"/>
                      </a:lnTo>
                      <a:lnTo>
                        <a:pt x="294" y="42"/>
                      </a:lnTo>
                      <a:lnTo>
                        <a:pt x="294" y="42"/>
                      </a:lnTo>
                      <a:lnTo>
                        <a:pt x="294" y="42"/>
                      </a:lnTo>
                      <a:close/>
                      <a:moveTo>
                        <a:pt x="764" y="48"/>
                      </a:moveTo>
                      <a:lnTo>
                        <a:pt x="760" y="44"/>
                      </a:lnTo>
                      <a:lnTo>
                        <a:pt x="756" y="44"/>
                      </a:lnTo>
                      <a:lnTo>
                        <a:pt x="756" y="42"/>
                      </a:lnTo>
                      <a:lnTo>
                        <a:pt x="760" y="42"/>
                      </a:lnTo>
                      <a:lnTo>
                        <a:pt x="760" y="44"/>
                      </a:lnTo>
                      <a:lnTo>
                        <a:pt x="764" y="48"/>
                      </a:lnTo>
                      <a:lnTo>
                        <a:pt x="768" y="48"/>
                      </a:lnTo>
                      <a:lnTo>
                        <a:pt x="764" y="48"/>
                      </a:lnTo>
                      <a:lnTo>
                        <a:pt x="764" y="48"/>
                      </a:lnTo>
                      <a:lnTo>
                        <a:pt x="764" y="48"/>
                      </a:lnTo>
                      <a:close/>
                      <a:moveTo>
                        <a:pt x="744" y="52"/>
                      </a:moveTo>
                      <a:lnTo>
                        <a:pt x="742" y="48"/>
                      </a:lnTo>
                      <a:lnTo>
                        <a:pt x="738" y="48"/>
                      </a:lnTo>
                      <a:lnTo>
                        <a:pt x="738" y="44"/>
                      </a:lnTo>
                      <a:lnTo>
                        <a:pt x="742" y="44"/>
                      </a:lnTo>
                      <a:lnTo>
                        <a:pt x="744" y="44"/>
                      </a:lnTo>
                      <a:lnTo>
                        <a:pt x="744" y="48"/>
                      </a:lnTo>
                      <a:lnTo>
                        <a:pt x="748" y="48"/>
                      </a:lnTo>
                      <a:lnTo>
                        <a:pt x="752" y="48"/>
                      </a:lnTo>
                      <a:lnTo>
                        <a:pt x="752" y="52"/>
                      </a:lnTo>
                      <a:lnTo>
                        <a:pt x="748" y="52"/>
                      </a:lnTo>
                      <a:lnTo>
                        <a:pt x="744" y="52"/>
                      </a:lnTo>
                      <a:lnTo>
                        <a:pt x="744" y="52"/>
                      </a:lnTo>
                      <a:lnTo>
                        <a:pt x="744" y="52"/>
                      </a:lnTo>
                      <a:close/>
                      <a:moveTo>
                        <a:pt x="768" y="60"/>
                      </a:moveTo>
                      <a:lnTo>
                        <a:pt x="764" y="60"/>
                      </a:lnTo>
                      <a:lnTo>
                        <a:pt x="760" y="56"/>
                      </a:lnTo>
                      <a:lnTo>
                        <a:pt x="764" y="56"/>
                      </a:lnTo>
                      <a:lnTo>
                        <a:pt x="768" y="56"/>
                      </a:lnTo>
                      <a:lnTo>
                        <a:pt x="770" y="56"/>
                      </a:lnTo>
                      <a:lnTo>
                        <a:pt x="770" y="60"/>
                      </a:lnTo>
                      <a:lnTo>
                        <a:pt x="774" y="60"/>
                      </a:lnTo>
                      <a:lnTo>
                        <a:pt x="770" y="60"/>
                      </a:lnTo>
                      <a:lnTo>
                        <a:pt x="768" y="60"/>
                      </a:lnTo>
                      <a:lnTo>
                        <a:pt x="768" y="60"/>
                      </a:lnTo>
                      <a:lnTo>
                        <a:pt x="768" y="60"/>
                      </a:lnTo>
                      <a:close/>
                      <a:moveTo>
                        <a:pt x="738" y="60"/>
                      </a:moveTo>
                      <a:lnTo>
                        <a:pt x="734" y="56"/>
                      </a:lnTo>
                      <a:lnTo>
                        <a:pt x="738" y="56"/>
                      </a:lnTo>
                      <a:lnTo>
                        <a:pt x="742" y="60"/>
                      </a:lnTo>
                      <a:lnTo>
                        <a:pt x="744" y="60"/>
                      </a:lnTo>
                      <a:lnTo>
                        <a:pt x="742" y="60"/>
                      </a:lnTo>
                      <a:lnTo>
                        <a:pt x="738" y="60"/>
                      </a:lnTo>
                      <a:lnTo>
                        <a:pt x="738" y="60"/>
                      </a:lnTo>
                      <a:lnTo>
                        <a:pt x="738" y="60"/>
                      </a:lnTo>
                      <a:close/>
                      <a:moveTo>
                        <a:pt x="86" y="90"/>
                      </a:moveTo>
                      <a:lnTo>
                        <a:pt x="90" y="90"/>
                      </a:lnTo>
                      <a:lnTo>
                        <a:pt x="94" y="90"/>
                      </a:lnTo>
                      <a:lnTo>
                        <a:pt x="90" y="90"/>
                      </a:lnTo>
                      <a:lnTo>
                        <a:pt x="86" y="90"/>
                      </a:lnTo>
                      <a:lnTo>
                        <a:pt x="86" y="90"/>
                      </a:lnTo>
                      <a:lnTo>
                        <a:pt x="86" y="90"/>
                      </a:lnTo>
                      <a:close/>
                      <a:moveTo>
                        <a:pt x="760" y="130"/>
                      </a:moveTo>
                      <a:lnTo>
                        <a:pt x="760" y="134"/>
                      </a:lnTo>
                      <a:lnTo>
                        <a:pt x="756" y="134"/>
                      </a:lnTo>
                      <a:lnTo>
                        <a:pt x="756" y="130"/>
                      </a:lnTo>
                      <a:lnTo>
                        <a:pt x="760" y="130"/>
                      </a:lnTo>
                      <a:lnTo>
                        <a:pt x="760" y="130"/>
                      </a:lnTo>
                      <a:lnTo>
                        <a:pt x="760" y="130"/>
                      </a:lnTo>
                      <a:close/>
                      <a:moveTo>
                        <a:pt x="782" y="130"/>
                      </a:moveTo>
                      <a:lnTo>
                        <a:pt x="782" y="134"/>
                      </a:lnTo>
                      <a:lnTo>
                        <a:pt x="778" y="134"/>
                      </a:lnTo>
                      <a:lnTo>
                        <a:pt x="778" y="138"/>
                      </a:lnTo>
                      <a:lnTo>
                        <a:pt x="774" y="138"/>
                      </a:lnTo>
                      <a:lnTo>
                        <a:pt x="774" y="134"/>
                      </a:lnTo>
                      <a:lnTo>
                        <a:pt x="778" y="130"/>
                      </a:lnTo>
                      <a:lnTo>
                        <a:pt x="782" y="130"/>
                      </a:lnTo>
                      <a:lnTo>
                        <a:pt x="782" y="130"/>
                      </a:lnTo>
                      <a:lnTo>
                        <a:pt x="782" y="130"/>
                      </a:lnTo>
                      <a:close/>
                      <a:moveTo>
                        <a:pt x="774" y="146"/>
                      </a:moveTo>
                      <a:lnTo>
                        <a:pt x="770" y="142"/>
                      </a:lnTo>
                      <a:lnTo>
                        <a:pt x="774" y="142"/>
                      </a:lnTo>
                      <a:lnTo>
                        <a:pt x="774" y="146"/>
                      </a:lnTo>
                      <a:lnTo>
                        <a:pt x="774" y="146"/>
                      </a:lnTo>
                      <a:lnTo>
                        <a:pt x="774" y="146"/>
                      </a:lnTo>
                      <a:close/>
                      <a:moveTo>
                        <a:pt x="770" y="146"/>
                      </a:moveTo>
                      <a:lnTo>
                        <a:pt x="770" y="150"/>
                      </a:lnTo>
                      <a:lnTo>
                        <a:pt x="768" y="150"/>
                      </a:lnTo>
                      <a:lnTo>
                        <a:pt x="768" y="146"/>
                      </a:lnTo>
                      <a:lnTo>
                        <a:pt x="770" y="146"/>
                      </a:lnTo>
                      <a:lnTo>
                        <a:pt x="770" y="146"/>
                      </a:lnTo>
                      <a:lnTo>
                        <a:pt x="770" y="146"/>
                      </a:lnTo>
                      <a:close/>
                      <a:moveTo>
                        <a:pt x="760" y="154"/>
                      </a:moveTo>
                      <a:lnTo>
                        <a:pt x="764" y="158"/>
                      </a:lnTo>
                      <a:lnTo>
                        <a:pt x="760" y="158"/>
                      </a:lnTo>
                      <a:lnTo>
                        <a:pt x="756" y="158"/>
                      </a:lnTo>
                      <a:lnTo>
                        <a:pt x="756" y="154"/>
                      </a:lnTo>
                      <a:lnTo>
                        <a:pt x="760" y="154"/>
                      </a:lnTo>
                      <a:lnTo>
                        <a:pt x="760" y="154"/>
                      </a:lnTo>
                      <a:lnTo>
                        <a:pt x="760" y="154"/>
                      </a:lnTo>
                      <a:close/>
                      <a:moveTo>
                        <a:pt x="756" y="158"/>
                      </a:moveTo>
                      <a:lnTo>
                        <a:pt x="752" y="158"/>
                      </a:lnTo>
                      <a:lnTo>
                        <a:pt x="752" y="154"/>
                      </a:lnTo>
                      <a:lnTo>
                        <a:pt x="756" y="154"/>
                      </a:lnTo>
                      <a:lnTo>
                        <a:pt x="756" y="158"/>
                      </a:lnTo>
                      <a:lnTo>
                        <a:pt x="756" y="158"/>
                      </a:lnTo>
                      <a:lnTo>
                        <a:pt x="756" y="158"/>
                      </a:lnTo>
                      <a:close/>
                      <a:moveTo>
                        <a:pt x="760" y="160"/>
                      </a:moveTo>
                      <a:lnTo>
                        <a:pt x="760" y="158"/>
                      </a:lnTo>
                      <a:lnTo>
                        <a:pt x="764" y="158"/>
                      </a:lnTo>
                      <a:lnTo>
                        <a:pt x="760" y="160"/>
                      </a:lnTo>
                      <a:lnTo>
                        <a:pt x="760" y="160"/>
                      </a:lnTo>
                      <a:lnTo>
                        <a:pt x="760" y="160"/>
                      </a:lnTo>
                      <a:close/>
                      <a:moveTo>
                        <a:pt x="744" y="160"/>
                      </a:moveTo>
                      <a:lnTo>
                        <a:pt x="742" y="160"/>
                      </a:lnTo>
                      <a:lnTo>
                        <a:pt x="738" y="160"/>
                      </a:lnTo>
                      <a:lnTo>
                        <a:pt x="742" y="160"/>
                      </a:lnTo>
                      <a:lnTo>
                        <a:pt x="744" y="160"/>
                      </a:lnTo>
                      <a:lnTo>
                        <a:pt x="744" y="160"/>
                      </a:lnTo>
                      <a:lnTo>
                        <a:pt x="744" y="160"/>
                      </a:lnTo>
                      <a:close/>
                      <a:moveTo>
                        <a:pt x="764" y="160"/>
                      </a:moveTo>
                      <a:lnTo>
                        <a:pt x="764" y="164"/>
                      </a:lnTo>
                      <a:lnTo>
                        <a:pt x="760" y="164"/>
                      </a:lnTo>
                      <a:lnTo>
                        <a:pt x="760" y="160"/>
                      </a:lnTo>
                      <a:lnTo>
                        <a:pt x="764" y="160"/>
                      </a:lnTo>
                      <a:lnTo>
                        <a:pt x="768" y="160"/>
                      </a:lnTo>
                      <a:lnTo>
                        <a:pt x="764" y="160"/>
                      </a:lnTo>
                      <a:lnTo>
                        <a:pt x="764" y="160"/>
                      </a:lnTo>
                      <a:lnTo>
                        <a:pt x="764" y="160"/>
                      </a:lnTo>
                      <a:close/>
                      <a:moveTo>
                        <a:pt x="734" y="164"/>
                      </a:moveTo>
                      <a:lnTo>
                        <a:pt x="734" y="168"/>
                      </a:lnTo>
                      <a:lnTo>
                        <a:pt x="730" y="168"/>
                      </a:lnTo>
                      <a:lnTo>
                        <a:pt x="730" y="164"/>
                      </a:lnTo>
                      <a:lnTo>
                        <a:pt x="734" y="164"/>
                      </a:lnTo>
                      <a:lnTo>
                        <a:pt x="734" y="164"/>
                      </a:lnTo>
                      <a:lnTo>
                        <a:pt x="734" y="164"/>
                      </a:lnTo>
                      <a:close/>
                      <a:moveTo>
                        <a:pt x="748" y="174"/>
                      </a:moveTo>
                      <a:lnTo>
                        <a:pt x="748" y="178"/>
                      </a:lnTo>
                      <a:lnTo>
                        <a:pt x="744" y="174"/>
                      </a:lnTo>
                      <a:lnTo>
                        <a:pt x="742" y="174"/>
                      </a:lnTo>
                      <a:lnTo>
                        <a:pt x="744" y="174"/>
                      </a:lnTo>
                      <a:lnTo>
                        <a:pt x="748" y="174"/>
                      </a:lnTo>
                      <a:lnTo>
                        <a:pt x="748" y="174"/>
                      </a:lnTo>
                      <a:lnTo>
                        <a:pt x="748" y="174"/>
                      </a:lnTo>
                      <a:close/>
                      <a:moveTo>
                        <a:pt x="752" y="178"/>
                      </a:moveTo>
                      <a:lnTo>
                        <a:pt x="748" y="178"/>
                      </a:lnTo>
                      <a:lnTo>
                        <a:pt x="752" y="178"/>
                      </a:lnTo>
                      <a:lnTo>
                        <a:pt x="752" y="178"/>
                      </a:lnTo>
                      <a:lnTo>
                        <a:pt x="752" y="178"/>
                      </a:lnTo>
                      <a:close/>
                      <a:moveTo>
                        <a:pt x="96" y="178"/>
                      </a:moveTo>
                      <a:lnTo>
                        <a:pt x="94" y="178"/>
                      </a:lnTo>
                      <a:lnTo>
                        <a:pt x="90" y="178"/>
                      </a:lnTo>
                      <a:lnTo>
                        <a:pt x="94" y="178"/>
                      </a:lnTo>
                      <a:lnTo>
                        <a:pt x="96" y="178"/>
                      </a:lnTo>
                      <a:lnTo>
                        <a:pt x="96" y="178"/>
                      </a:lnTo>
                      <a:lnTo>
                        <a:pt x="96" y="178"/>
                      </a:lnTo>
                      <a:close/>
                      <a:moveTo>
                        <a:pt x="26" y="182"/>
                      </a:moveTo>
                      <a:lnTo>
                        <a:pt x="26" y="178"/>
                      </a:lnTo>
                      <a:lnTo>
                        <a:pt x="30" y="178"/>
                      </a:lnTo>
                      <a:lnTo>
                        <a:pt x="34" y="178"/>
                      </a:lnTo>
                      <a:lnTo>
                        <a:pt x="34" y="182"/>
                      </a:lnTo>
                      <a:lnTo>
                        <a:pt x="38" y="182"/>
                      </a:lnTo>
                      <a:lnTo>
                        <a:pt x="40" y="182"/>
                      </a:lnTo>
                      <a:lnTo>
                        <a:pt x="38" y="182"/>
                      </a:lnTo>
                      <a:lnTo>
                        <a:pt x="34" y="182"/>
                      </a:lnTo>
                      <a:lnTo>
                        <a:pt x="30" y="182"/>
                      </a:lnTo>
                      <a:lnTo>
                        <a:pt x="26" y="182"/>
                      </a:lnTo>
                      <a:lnTo>
                        <a:pt x="22" y="182"/>
                      </a:lnTo>
                      <a:lnTo>
                        <a:pt x="26" y="182"/>
                      </a:lnTo>
                      <a:lnTo>
                        <a:pt x="26" y="182"/>
                      </a:lnTo>
                      <a:lnTo>
                        <a:pt x="26" y="182"/>
                      </a:lnTo>
                      <a:close/>
                      <a:moveTo>
                        <a:pt x="10" y="182"/>
                      </a:moveTo>
                      <a:lnTo>
                        <a:pt x="14" y="182"/>
                      </a:lnTo>
                      <a:lnTo>
                        <a:pt x="18" y="182"/>
                      </a:lnTo>
                      <a:lnTo>
                        <a:pt x="22" y="182"/>
                      </a:lnTo>
                      <a:lnTo>
                        <a:pt x="18" y="186"/>
                      </a:lnTo>
                      <a:lnTo>
                        <a:pt x="14" y="186"/>
                      </a:lnTo>
                      <a:lnTo>
                        <a:pt x="10" y="186"/>
                      </a:lnTo>
                      <a:lnTo>
                        <a:pt x="10" y="182"/>
                      </a:lnTo>
                      <a:lnTo>
                        <a:pt x="8" y="182"/>
                      </a:lnTo>
                      <a:lnTo>
                        <a:pt x="10" y="182"/>
                      </a:lnTo>
                      <a:lnTo>
                        <a:pt x="10" y="182"/>
                      </a:lnTo>
                      <a:lnTo>
                        <a:pt x="10" y="182"/>
                      </a:lnTo>
                      <a:close/>
                      <a:moveTo>
                        <a:pt x="752" y="198"/>
                      </a:moveTo>
                      <a:lnTo>
                        <a:pt x="756" y="198"/>
                      </a:lnTo>
                      <a:lnTo>
                        <a:pt x="752" y="200"/>
                      </a:lnTo>
                      <a:lnTo>
                        <a:pt x="752" y="198"/>
                      </a:lnTo>
                      <a:lnTo>
                        <a:pt x="752" y="198"/>
                      </a:lnTo>
                      <a:lnTo>
                        <a:pt x="752" y="198"/>
                      </a:lnTo>
                      <a:close/>
                      <a:moveTo>
                        <a:pt x="752" y="200"/>
                      </a:moveTo>
                      <a:lnTo>
                        <a:pt x="756" y="200"/>
                      </a:lnTo>
                      <a:lnTo>
                        <a:pt x="752" y="200"/>
                      </a:lnTo>
                      <a:lnTo>
                        <a:pt x="752" y="200"/>
                      </a:lnTo>
                      <a:lnTo>
                        <a:pt x="752" y="200"/>
                      </a:lnTo>
                      <a:close/>
                      <a:moveTo>
                        <a:pt x="734" y="204"/>
                      </a:moveTo>
                      <a:lnTo>
                        <a:pt x="730" y="204"/>
                      </a:lnTo>
                      <a:lnTo>
                        <a:pt x="726" y="204"/>
                      </a:lnTo>
                      <a:lnTo>
                        <a:pt x="730" y="204"/>
                      </a:lnTo>
                      <a:lnTo>
                        <a:pt x="734" y="204"/>
                      </a:lnTo>
                      <a:lnTo>
                        <a:pt x="734" y="204"/>
                      </a:lnTo>
                      <a:lnTo>
                        <a:pt x="734" y="204"/>
                      </a:lnTo>
                      <a:close/>
                      <a:moveTo>
                        <a:pt x="48" y="204"/>
                      </a:moveTo>
                      <a:lnTo>
                        <a:pt x="44" y="204"/>
                      </a:lnTo>
                      <a:lnTo>
                        <a:pt x="40" y="204"/>
                      </a:lnTo>
                      <a:lnTo>
                        <a:pt x="44" y="204"/>
                      </a:lnTo>
                      <a:lnTo>
                        <a:pt x="48" y="204"/>
                      </a:lnTo>
                      <a:lnTo>
                        <a:pt x="48" y="204"/>
                      </a:lnTo>
                      <a:lnTo>
                        <a:pt x="48" y="204"/>
                      </a:lnTo>
                      <a:close/>
                      <a:moveTo>
                        <a:pt x="738" y="208"/>
                      </a:moveTo>
                      <a:lnTo>
                        <a:pt x="738" y="212"/>
                      </a:lnTo>
                      <a:lnTo>
                        <a:pt x="738" y="208"/>
                      </a:lnTo>
                      <a:lnTo>
                        <a:pt x="734" y="208"/>
                      </a:lnTo>
                      <a:lnTo>
                        <a:pt x="738" y="208"/>
                      </a:lnTo>
                      <a:lnTo>
                        <a:pt x="738" y="204"/>
                      </a:lnTo>
                      <a:lnTo>
                        <a:pt x="738" y="208"/>
                      </a:lnTo>
                      <a:lnTo>
                        <a:pt x="738" y="208"/>
                      </a:lnTo>
                      <a:lnTo>
                        <a:pt x="738" y="208"/>
                      </a:lnTo>
                      <a:close/>
                      <a:moveTo>
                        <a:pt x="40" y="208"/>
                      </a:moveTo>
                      <a:lnTo>
                        <a:pt x="44" y="208"/>
                      </a:lnTo>
                      <a:lnTo>
                        <a:pt x="40" y="208"/>
                      </a:lnTo>
                      <a:lnTo>
                        <a:pt x="40" y="208"/>
                      </a:lnTo>
                      <a:lnTo>
                        <a:pt x="40" y="208"/>
                      </a:lnTo>
                      <a:close/>
                      <a:moveTo>
                        <a:pt x="744" y="208"/>
                      </a:moveTo>
                      <a:lnTo>
                        <a:pt x="748" y="208"/>
                      </a:lnTo>
                      <a:lnTo>
                        <a:pt x="748" y="212"/>
                      </a:lnTo>
                      <a:lnTo>
                        <a:pt x="744" y="212"/>
                      </a:lnTo>
                      <a:lnTo>
                        <a:pt x="744" y="208"/>
                      </a:lnTo>
                      <a:lnTo>
                        <a:pt x="742" y="212"/>
                      </a:lnTo>
                      <a:lnTo>
                        <a:pt x="742" y="208"/>
                      </a:lnTo>
                      <a:lnTo>
                        <a:pt x="744" y="208"/>
                      </a:lnTo>
                      <a:lnTo>
                        <a:pt x="744" y="208"/>
                      </a:lnTo>
                      <a:lnTo>
                        <a:pt x="744" y="208"/>
                      </a:lnTo>
                      <a:close/>
                      <a:moveTo>
                        <a:pt x="734" y="212"/>
                      </a:moveTo>
                      <a:lnTo>
                        <a:pt x="738" y="212"/>
                      </a:lnTo>
                      <a:lnTo>
                        <a:pt x="742" y="212"/>
                      </a:lnTo>
                      <a:lnTo>
                        <a:pt x="742" y="216"/>
                      </a:lnTo>
                      <a:lnTo>
                        <a:pt x="742" y="212"/>
                      </a:lnTo>
                      <a:lnTo>
                        <a:pt x="738" y="212"/>
                      </a:lnTo>
                      <a:lnTo>
                        <a:pt x="734" y="212"/>
                      </a:lnTo>
                      <a:lnTo>
                        <a:pt x="734" y="212"/>
                      </a:lnTo>
                      <a:lnTo>
                        <a:pt x="734" y="212"/>
                      </a:lnTo>
                      <a:close/>
                      <a:moveTo>
                        <a:pt x="744" y="212"/>
                      </a:moveTo>
                      <a:lnTo>
                        <a:pt x="742" y="212"/>
                      </a:lnTo>
                      <a:lnTo>
                        <a:pt x="744" y="212"/>
                      </a:lnTo>
                      <a:lnTo>
                        <a:pt x="748" y="212"/>
                      </a:lnTo>
                      <a:lnTo>
                        <a:pt x="744" y="212"/>
                      </a:lnTo>
                      <a:lnTo>
                        <a:pt x="744" y="212"/>
                      </a:lnTo>
                      <a:lnTo>
                        <a:pt x="744" y="212"/>
                      </a:lnTo>
                      <a:close/>
                      <a:moveTo>
                        <a:pt x="110" y="220"/>
                      </a:moveTo>
                      <a:lnTo>
                        <a:pt x="114" y="220"/>
                      </a:lnTo>
                      <a:lnTo>
                        <a:pt x="110" y="220"/>
                      </a:lnTo>
                      <a:lnTo>
                        <a:pt x="108" y="220"/>
                      </a:lnTo>
                      <a:lnTo>
                        <a:pt x="110" y="220"/>
                      </a:lnTo>
                      <a:lnTo>
                        <a:pt x="110" y="220"/>
                      </a:lnTo>
                      <a:lnTo>
                        <a:pt x="110" y="220"/>
                      </a:lnTo>
                      <a:close/>
                      <a:moveTo>
                        <a:pt x="748" y="224"/>
                      </a:moveTo>
                      <a:lnTo>
                        <a:pt x="744" y="224"/>
                      </a:lnTo>
                      <a:lnTo>
                        <a:pt x="748" y="220"/>
                      </a:lnTo>
                      <a:lnTo>
                        <a:pt x="748" y="224"/>
                      </a:lnTo>
                      <a:lnTo>
                        <a:pt x="748" y="224"/>
                      </a:lnTo>
                      <a:lnTo>
                        <a:pt x="748" y="224"/>
                      </a:lnTo>
                      <a:close/>
                      <a:moveTo>
                        <a:pt x="744" y="246"/>
                      </a:moveTo>
                      <a:lnTo>
                        <a:pt x="748" y="250"/>
                      </a:lnTo>
                      <a:lnTo>
                        <a:pt x="744" y="250"/>
                      </a:lnTo>
                      <a:lnTo>
                        <a:pt x="748" y="250"/>
                      </a:lnTo>
                      <a:lnTo>
                        <a:pt x="752" y="254"/>
                      </a:lnTo>
                      <a:lnTo>
                        <a:pt x="748" y="256"/>
                      </a:lnTo>
                      <a:lnTo>
                        <a:pt x="744" y="256"/>
                      </a:lnTo>
                      <a:lnTo>
                        <a:pt x="742" y="256"/>
                      </a:lnTo>
                      <a:lnTo>
                        <a:pt x="742" y="254"/>
                      </a:lnTo>
                      <a:lnTo>
                        <a:pt x="742" y="250"/>
                      </a:lnTo>
                      <a:lnTo>
                        <a:pt x="742" y="246"/>
                      </a:lnTo>
                      <a:lnTo>
                        <a:pt x="744" y="246"/>
                      </a:lnTo>
                      <a:lnTo>
                        <a:pt x="744" y="246"/>
                      </a:lnTo>
                      <a:lnTo>
                        <a:pt x="744" y="246"/>
                      </a:lnTo>
                      <a:close/>
                      <a:moveTo>
                        <a:pt x="770" y="256"/>
                      </a:moveTo>
                      <a:lnTo>
                        <a:pt x="768" y="256"/>
                      </a:lnTo>
                      <a:lnTo>
                        <a:pt x="770" y="256"/>
                      </a:lnTo>
                      <a:lnTo>
                        <a:pt x="774" y="256"/>
                      </a:lnTo>
                      <a:lnTo>
                        <a:pt x="770" y="256"/>
                      </a:lnTo>
                      <a:lnTo>
                        <a:pt x="770" y="256"/>
                      </a:lnTo>
                      <a:lnTo>
                        <a:pt x="770" y="256"/>
                      </a:lnTo>
                      <a:close/>
                      <a:moveTo>
                        <a:pt x="768" y="260"/>
                      </a:moveTo>
                      <a:lnTo>
                        <a:pt x="764" y="260"/>
                      </a:lnTo>
                      <a:lnTo>
                        <a:pt x="760" y="260"/>
                      </a:lnTo>
                      <a:lnTo>
                        <a:pt x="764" y="256"/>
                      </a:lnTo>
                      <a:lnTo>
                        <a:pt x="768" y="256"/>
                      </a:lnTo>
                      <a:lnTo>
                        <a:pt x="768" y="260"/>
                      </a:lnTo>
                      <a:lnTo>
                        <a:pt x="768" y="260"/>
                      </a:lnTo>
                      <a:lnTo>
                        <a:pt x="768" y="260"/>
                      </a:lnTo>
                      <a:close/>
                      <a:moveTo>
                        <a:pt x="226" y="260"/>
                      </a:moveTo>
                      <a:lnTo>
                        <a:pt x="222" y="260"/>
                      </a:lnTo>
                      <a:lnTo>
                        <a:pt x="226" y="260"/>
                      </a:lnTo>
                      <a:lnTo>
                        <a:pt x="226" y="260"/>
                      </a:lnTo>
                      <a:lnTo>
                        <a:pt x="226" y="260"/>
                      </a:lnTo>
                      <a:close/>
                      <a:moveTo>
                        <a:pt x="220" y="260"/>
                      </a:moveTo>
                      <a:lnTo>
                        <a:pt x="222" y="260"/>
                      </a:lnTo>
                      <a:lnTo>
                        <a:pt x="226" y="260"/>
                      </a:lnTo>
                      <a:lnTo>
                        <a:pt x="230" y="260"/>
                      </a:lnTo>
                      <a:lnTo>
                        <a:pt x="234" y="260"/>
                      </a:lnTo>
                      <a:lnTo>
                        <a:pt x="230" y="260"/>
                      </a:lnTo>
                      <a:lnTo>
                        <a:pt x="226" y="260"/>
                      </a:lnTo>
                      <a:lnTo>
                        <a:pt x="222" y="264"/>
                      </a:lnTo>
                      <a:lnTo>
                        <a:pt x="220" y="260"/>
                      </a:lnTo>
                      <a:lnTo>
                        <a:pt x="220" y="260"/>
                      </a:lnTo>
                      <a:lnTo>
                        <a:pt x="220" y="260"/>
                      </a:lnTo>
                      <a:close/>
                      <a:moveTo>
                        <a:pt x="734" y="264"/>
                      </a:moveTo>
                      <a:lnTo>
                        <a:pt x="738" y="264"/>
                      </a:lnTo>
                      <a:lnTo>
                        <a:pt x="742" y="264"/>
                      </a:lnTo>
                      <a:lnTo>
                        <a:pt x="742" y="268"/>
                      </a:lnTo>
                      <a:lnTo>
                        <a:pt x="744" y="268"/>
                      </a:lnTo>
                      <a:lnTo>
                        <a:pt x="748" y="268"/>
                      </a:lnTo>
                      <a:lnTo>
                        <a:pt x="748" y="272"/>
                      </a:lnTo>
                      <a:lnTo>
                        <a:pt x="744" y="272"/>
                      </a:lnTo>
                      <a:lnTo>
                        <a:pt x="742" y="272"/>
                      </a:lnTo>
                      <a:lnTo>
                        <a:pt x="738" y="272"/>
                      </a:lnTo>
                      <a:lnTo>
                        <a:pt x="734" y="272"/>
                      </a:lnTo>
                      <a:lnTo>
                        <a:pt x="730" y="272"/>
                      </a:lnTo>
                      <a:lnTo>
                        <a:pt x="726" y="272"/>
                      </a:lnTo>
                      <a:lnTo>
                        <a:pt x="722" y="272"/>
                      </a:lnTo>
                      <a:lnTo>
                        <a:pt x="722" y="268"/>
                      </a:lnTo>
                      <a:lnTo>
                        <a:pt x="722" y="264"/>
                      </a:lnTo>
                      <a:lnTo>
                        <a:pt x="726" y="264"/>
                      </a:lnTo>
                      <a:lnTo>
                        <a:pt x="730" y="264"/>
                      </a:lnTo>
                      <a:lnTo>
                        <a:pt x="734" y="264"/>
                      </a:lnTo>
                      <a:lnTo>
                        <a:pt x="734" y="264"/>
                      </a:lnTo>
                      <a:lnTo>
                        <a:pt x="734" y="264"/>
                      </a:lnTo>
                      <a:close/>
                      <a:moveTo>
                        <a:pt x="234" y="280"/>
                      </a:moveTo>
                      <a:lnTo>
                        <a:pt x="230" y="280"/>
                      </a:lnTo>
                      <a:lnTo>
                        <a:pt x="234" y="280"/>
                      </a:lnTo>
                      <a:lnTo>
                        <a:pt x="238" y="280"/>
                      </a:lnTo>
                      <a:lnTo>
                        <a:pt x="242" y="280"/>
                      </a:lnTo>
                      <a:lnTo>
                        <a:pt x="238" y="280"/>
                      </a:lnTo>
                      <a:lnTo>
                        <a:pt x="234" y="280"/>
                      </a:lnTo>
                      <a:lnTo>
                        <a:pt x="234" y="280"/>
                      </a:lnTo>
                      <a:lnTo>
                        <a:pt x="234" y="280"/>
                      </a:lnTo>
                      <a:close/>
                      <a:moveTo>
                        <a:pt x="234" y="284"/>
                      </a:moveTo>
                      <a:lnTo>
                        <a:pt x="230" y="286"/>
                      </a:lnTo>
                      <a:lnTo>
                        <a:pt x="226" y="286"/>
                      </a:lnTo>
                      <a:lnTo>
                        <a:pt x="226" y="284"/>
                      </a:lnTo>
                      <a:lnTo>
                        <a:pt x="230" y="284"/>
                      </a:lnTo>
                      <a:lnTo>
                        <a:pt x="234" y="284"/>
                      </a:lnTo>
                      <a:lnTo>
                        <a:pt x="234" y="284"/>
                      </a:lnTo>
                      <a:lnTo>
                        <a:pt x="234" y="284"/>
                      </a:lnTo>
                      <a:close/>
                      <a:moveTo>
                        <a:pt x="234" y="286"/>
                      </a:moveTo>
                      <a:lnTo>
                        <a:pt x="230" y="286"/>
                      </a:lnTo>
                      <a:lnTo>
                        <a:pt x="234" y="286"/>
                      </a:lnTo>
                      <a:lnTo>
                        <a:pt x="234" y="284"/>
                      </a:lnTo>
                      <a:lnTo>
                        <a:pt x="238" y="284"/>
                      </a:lnTo>
                      <a:lnTo>
                        <a:pt x="238" y="286"/>
                      </a:lnTo>
                      <a:lnTo>
                        <a:pt x="234" y="286"/>
                      </a:lnTo>
                      <a:lnTo>
                        <a:pt x="234" y="286"/>
                      </a:lnTo>
                      <a:lnTo>
                        <a:pt x="234" y="286"/>
                      </a:lnTo>
                      <a:close/>
                      <a:moveTo>
                        <a:pt x="242" y="286"/>
                      </a:moveTo>
                      <a:lnTo>
                        <a:pt x="246" y="286"/>
                      </a:lnTo>
                      <a:lnTo>
                        <a:pt x="246" y="290"/>
                      </a:lnTo>
                      <a:lnTo>
                        <a:pt x="242" y="290"/>
                      </a:lnTo>
                      <a:lnTo>
                        <a:pt x="246" y="290"/>
                      </a:lnTo>
                      <a:lnTo>
                        <a:pt x="242" y="290"/>
                      </a:lnTo>
                      <a:lnTo>
                        <a:pt x="238" y="286"/>
                      </a:lnTo>
                      <a:lnTo>
                        <a:pt x="242" y="286"/>
                      </a:lnTo>
                      <a:lnTo>
                        <a:pt x="242" y="286"/>
                      </a:lnTo>
                      <a:lnTo>
                        <a:pt x="242" y="286"/>
                      </a:lnTo>
                      <a:close/>
                      <a:moveTo>
                        <a:pt x="242" y="290"/>
                      </a:moveTo>
                      <a:lnTo>
                        <a:pt x="238" y="290"/>
                      </a:lnTo>
                      <a:lnTo>
                        <a:pt x="242" y="290"/>
                      </a:lnTo>
                      <a:lnTo>
                        <a:pt x="242" y="290"/>
                      </a:lnTo>
                      <a:lnTo>
                        <a:pt x="242" y="290"/>
                      </a:lnTo>
                      <a:close/>
                      <a:moveTo>
                        <a:pt x="686" y="290"/>
                      </a:moveTo>
                      <a:lnTo>
                        <a:pt x="688" y="290"/>
                      </a:lnTo>
                      <a:lnTo>
                        <a:pt x="692" y="294"/>
                      </a:lnTo>
                      <a:lnTo>
                        <a:pt x="696" y="294"/>
                      </a:lnTo>
                      <a:lnTo>
                        <a:pt x="700" y="294"/>
                      </a:lnTo>
                      <a:lnTo>
                        <a:pt x="704" y="294"/>
                      </a:lnTo>
                      <a:lnTo>
                        <a:pt x="704" y="298"/>
                      </a:lnTo>
                      <a:lnTo>
                        <a:pt x="696" y="298"/>
                      </a:lnTo>
                      <a:lnTo>
                        <a:pt x="696" y="294"/>
                      </a:lnTo>
                      <a:lnTo>
                        <a:pt x="692" y="294"/>
                      </a:lnTo>
                      <a:lnTo>
                        <a:pt x="688" y="294"/>
                      </a:lnTo>
                      <a:lnTo>
                        <a:pt x="686" y="294"/>
                      </a:lnTo>
                      <a:lnTo>
                        <a:pt x="682" y="294"/>
                      </a:lnTo>
                      <a:lnTo>
                        <a:pt x="678" y="294"/>
                      </a:lnTo>
                      <a:lnTo>
                        <a:pt x="682" y="294"/>
                      </a:lnTo>
                      <a:lnTo>
                        <a:pt x="686" y="294"/>
                      </a:lnTo>
                      <a:lnTo>
                        <a:pt x="688" y="294"/>
                      </a:lnTo>
                      <a:lnTo>
                        <a:pt x="692" y="294"/>
                      </a:lnTo>
                      <a:lnTo>
                        <a:pt x="692" y="298"/>
                      </a:lnTo>
                      <a:lnTo>
                        <a:pt x="696" y="298"/>
                      </a:lnTo>
                      <a:lnTo>
                        <a:pt x="700" y="298"/>
                      </a:lnTo>
                      <a:lnTo>
                        <a:pt x="704" y="298"/>
                      </a:lnTo>
                      <a:lnTo>
                        <a:pt x="708" y="298"/>
                      </a:lnTo>
                      <a:lnTo>
                        <a:pt x="704" y="298"/>
                      </a:lnTo>
                      <a:lnTo>
                        <a:pt x="700" y="298"/>
                      </a:lnTo>
                      <a:lnTo>
                        <a:pt x="700" y="302"/>
                      </a:lnTo>
                      <a:lnTo>
                        <a:pt x="696" y="302"/>
                      </a:lnTo>
                      <a:lnTo>
                        <a:pt x="692" y="302"/>
                      </a:lnTo>
                      <a:lnTo>
                        <a:pt x="688" y="302"/>
                      </a:lnTo>
                      <a:lnTo>
                        <a:pt x="686" y="302"/>
                      </a:lnTo>
                      <a:lnTo>
                        <a:pt x="682" y="302"/>
                      </a:lnTo>
                      <a:lnTo>
                        <a:pt x="678" y="298"/>
                      </a:lnTo>
                      <a:lnTo>
                        <a:pt x="674" y="298"/>
                      </a:lnTo>
                      <a:lnTo>
                        <a:pt x="670" y="298"/>
                      </a:lnTo>
                      <a:lnTo>
                        <a:pt x="666" y="298"/>
                      </a:lnTo>
                      <a:lnTo>
                        <a:pt x="670" y="294"/>
                      </a:lnTo>
                      <a:lnTo>
                        <a:pt x="674" y="294"/>
                      </a:lnTo>
                      <a:lnTo>
                        <a:pt x="674" y="290"/>
                      </a:lnTo>
                      <a:lnTo>
                        <a:pt x="678" y="290"/>
                      </a:lnTo>
                      <a:lnTo>
                        <a:pt x="682" y="290"/>
                      </a:lnTo>
                      <a:lnTo>
                        <a:pt x="686" y="290"/>
                      </a:lnTo>
                      <a:lnTo>
                        <a:pt x="686" y="290"/>
                      </a:lnTo>
                      <a:lnTo>
                        <a:pt x="686" y="290"/>
                      </a:lnTo>
                      <a:close/>
                      <a:moveTo>
                        <a:pt x="246" y="294"/>
                      </a:moveTo>
                      <a:lnTo>
                        <a:pt x="250" y="290"/>
                      </a:lnTo>
                      <a:lnTo>
                        <a:pt x="250" y="294"/>
                      </a:lnTo>
                      <a:lnTo>
                        <a:pt x="246" y="294"/>
                      </a:lnTo>
                      <a:lnTo>
                        <a:pt x="246" y="294"/>
                      </a:lnTo>
                      <a:lnTo>
                        <a:pt x="246" y="294"/>
                      </a:lnTo>
                      <a:close/>
                      <a:moveTo>
                        <a:pt x="242" y="290"/>
                      </a:moveTo>
                      <a:lnTo>
                        <a:pt x="242" y="294"/>
                      </a:lnTo>
                      <a:lnTo>
                        <a:pt x="238" y="294"/>
                      </a:lnTo>
                      <a:lnTo>
                        <a:pt x="238" y="290"/>
                      </a:lnTo>
                      <a:lnTo>
                        <a:pt x="242" y="290"/>
                      </a:lnTo>
                      <a:lnTo>
                        <a:pt x="242" y="290"/>
                      </a:lnTo>
                      <a:lnTo>
                        <a:pt x="242" y="290"/>
                      </a:lnTo>
                      <a:close/>
                      <a:moveTo>
                        <a:pt x="246" y="294"/>
                      </a:moveTo>
                      <a:lnTo>
                        <a:pt x="242" y="294"/>
                      </a:lnTo>
                      <a:lnTo>
                        <a:pt x="246" y="294"/>
                      </a:lnTo>
                      <a:lnTo>
                        <a:pt x="246" y="294"/>
                      </a:lnTo>
                      <a:lnTo>
                        <a:pt x="246" y="294"/>
                      </a:lnTo>
                      <a:close/>
                      <a:moveTo>
                        <a:pt x="242" y="294"/>
                      </a:moveTo>
                      <a:lnTo>
                        <a:pt x="242" y="298"/>
                      </a:lnTo>
                      <a:lnTo>
                        <a:pt x="238" y="298"/>
                      </a:lnTo>
                      <a:lnTo>
                        <a:pt x="238" y="294"/>
                      </a:lnTo>
                      <a:lnTo>
                        <a:pt x="242" y="294"/>
                      </a:lnTo>
                      <a:lnTo>
                        <a:pt x="242" y="294"/>
                      </a:lnTo>
                      <a:lnTo>
                        <a:pt x="242" y="294"/>
                      </a:lnTo>
                      <a:close/>
                      <a:moveTo>
                        <a:pt x="250" y="306"/>
                      </a:moveTo>
                      <a:lnTo>
                        <a:pt x="250" y="302"/>
                      </a:lnTo>
                      <a:lnTo>
                        <a:pt x="246" y="302"/>
                      </a:lnTo>
                      <a:lnTo>
                        <a:pt x="250" y="302"/>
                      </a:lnTo>
                      <a:lnTo>
                        <a:pt x="252" y="302"/>
                      </a:lnTo>
                      <a:lnTo>
                        <a:pt x="252" y="306"/>
                      </a:lnTo>
                      <a:lnTo>
                        <a:pt x="250" y="306"/>
                      </a:lnTo>
                      <a:lnTo>
                        <a:pt x="250" y="306"/>
                      </a:lnTo>
                      <a:lnTo>
                        <a:pt x="250" y="306"/>
                      </a:lnTo>
                      <a:close/>
                      <a:moveTo>
                        <a:pt x="682" y="306"/>
                      </a:moveTo>
                      <a:lnTo>
                        <a:pt x="682" y="310"/>
                      </a:lnTo>
                      <a:lnTo>
                        <a:pt x="678" y="310"/>
                      </a:lnTo>
                      <a:lnTo>
                        <a:pt x="674" y="306"/>
                      </a:lnTo>
                      <a:lnTo>
                        <a:pt x="678" y="306"/>
                      </a:lnTo>
                      <a:lnTo>
                        <a:pt x="682" y="306"/>
                      </a:lnTo>
                      <a:lnTo>
                        <a:pt x="682" y="306"/>
                      </a:lnTo>
                      <a:lnTo>
                        <a:pt x="682" y="306"/>
                      </a:lnTo>
                      <a:close/>
                      <a:moveTo>
                        <a:pt x="246" y="306"/>
                      </a:moveTo>
                      <a:lnTo>
                        <a:pt x="250" y="306"/>
                      </a:lnTo>
                      <a:lnTo>
                        <a:pt x="246" y="306"/>
                      </a:lnTo>
                      <a:lnTo>
                        <a:pt x="246" y="306"/>
                      </a:lnTo>
                      <a:lnTo>
                        <a:pt x="246" y="306"/>
                      </a:lnTo>
                      <a:close/>
                      <a:moveTo>
                        <a:pt x="252" y="306"/>
                      </a:moveTo>
                      <a:lnTo>
                        <a:pt x="252" y="310"/>
                      </a:lnTo>
                      <a:lnTo>
                        <a:pt x="250" y="310"/>
                      </a:lnTo>
                      <a:lnTo>
                        <a:pt x="250" y="314"/>
                      </a:lnTo>
                      <a:lnTo>
                        <a:pt x="246" y="314"/>
                      </a:lnTo>
                      <a:lnTo>
                        <a:pt x="242" y="314"/>
                      </a:lnTo>
                      <a:lnTo>
                        <a:pt x="246" y="310"/>
                      </a:lnTo>
                      <a:lnTo>
                        <a:pt x="250" y="310"/>
                      </a:lnTo>
                      <a:lnTo>
                        <a:pt x="250" y="306"/>
                      </a:lnTo>
                      <a:lnTo>
                        <a:pt x="252" y="306"/>
                      </a:lnTo>
                      <a:lnTo>
                        <a:pt x="252" y="306"/>
                      </a:lnTo>
                      <a:lnTo>
                        <a:pt x="252" y="306"/>
                      </a:lnTo>
                      <a:close/>
                      <a:moveTo>
                        <a:pt x="246" y="310"/>
                      </a:moveTo>
                      <a:lnTo>
                        <a:pt x="242" y="310"/>
                      </a:lnTo>
                      <a:lnTo>
                        <a:pt x="238" y="314"/>
                      </a:lnTo>
                      <a:lnTo>
                        <a:pt x="238" y="310"/>
                      </a:lnTo>
                      <a:lnTo>
                        <a:pt x="242" y="310"/>
                      </a:lnTo>
                      <a:lnTo>
                        <a:pt x="246" y="310"/>
                      </a:lnTo>
                      <a:lnTo>
                        <a:pt x="246" y="310"/>
                      </a:lnTo>
                      <a:lnTo>
                        <a:pt x="246" y="310"/>
                      </a:lnTo>
                      <a:close/>
                      <a:moveTo>
                        <a:pt x="252" y="310"/>
                      </a:moveTo>
                      <a:lnTo>
                        <a:pt x="256" y="310"/>
                      </a:lnTo>
                      <a:lnTo>
                        <a:pt x="252" y="310"/>
                      </a:lnTo>
                      <a:lnTo>
                        <a:pt x="252" y="310"/>
                      </a:lnTo>
                      <a:lnTo>
                        <a:pt x="252" y="310"/>
                      </a:lnTo>
                      <a:close/>
                      <a:moveTo>
                        <a:pt x="252" y="310"/>
                      </a:moveTo>
                      <a:lnTo>
                        <a:pt x="252" y="314"/>
                      </a:lnTo>
                      <a:lnTo>
                        <a:pt x="250" y="314"/>
                      </a:lnTo>
                      <a:lnTo>
                        <a:pt x="250" y="310"/>
                      </a:lnTo>
                      <a:lnTo>
                        <a:pt x="252" y="310"/>
                      </a:lnTo>
                      <a:lnTo>
                        <a:pt x="252" y="310"/>
                      </a:lnTo>
                      <a:lnTo>
                        <a:pt x="252" y="310"/>
                      </a:lnTo>
                      <a:close/>
                      <a:moveTo>
                        <a:pt x="252" y="314"/>
                      </a:moveTo>
                      <a:lnTo>
                        <a:pt x="250" y="314"/>
                      </a:lnTo>
                      <a:lnTo>
                        <a:pt x="252" y="314"/>
                      </a:lnTo>
                      <a:lnTo>
                        <a:pt x="252" y="314"/>
                      </a:lnTo>
                      <a:lnTo>
                        <a:pt x="252" y="314"/>
                      </a:lnTo>
                      <a:close/>
                      <a:moveTo>
                        <a:pt x="252" y="316"/>
                      </a:moveTo>
                      <a:lnTo>
                        <a:pt x="252" y="320"/>
                      </a:lnTo>
                      <a:lnTo>
                        <a:pt x="250" y="320"/>
                      </a:lnTo>
                      <a:lnTo>
                        <a:pt x="250" y="324"/>
                      </a:lnTo>
                      <a:lnTo>
                        <a:pt x="246" y="324"/>
                      </a:lnTo>
                      <a:lnTo>
                        <a:pt x="246" y="320"/>
                      </a:lnTo>
                      <a:lnTo>
                        <a:pt x="250" y="320"/>
                      </a:lnTo>
                      <a:lnTo>
                        <a:pt x="252" y="320"/>
                      </a:lnTo>
                      <a:lnTo>
                        <a:pt x="252" y="316"/>
                      </a:lnTo>
                      <a:lnTo>
                        <a:pt x="252" y="316"/>
                      </a:lnTo>
                      <a:lnTo>
                        <a:pt x="252" y="316"/>
                      </a:lnTo>
                      <a:close/>
                      <a:moveTo>
                        <a:pt x="670" y="350"/>
                      </a:moveTo>
                      <a:lnTo>
                        <a:pt x="674" y="354"/>
                      </a:lnTo>
                      <a:lnTo>
                        <a:pt x="670" y="350"/>
                      </a:lnTo>
                      <a:lnTo>
                        <a:pt x="670" y="350"/>
                      </a:lnTo>
                      <a:lnTo>
                        <a:pt x="670" y="350"/>
                      </a:lnTo>
                      <a:close/>
                      <a:moveTo>
                        <a:pt x="308" y="370"/>
                      </a:moveTo>
                      <a:lnTo>
                        <a:pt x="306" y="370"/>
                      </a:lnTo>
                      <a:lnTo>
                        <a:pt x="306" y="366"/>
                      </a:lnTo>
                      <a:lnTo>
                        <a:pt x="302" y="366"/>
                      </a:lnTo>
                      <a:lnTo>
                        <a:pt x="306" y="366"/>
                      </a:lnTo>
                      <a:lnTo>
                        <a:pt x="308" y="370"/>
                      </a:lnTo>
                      <a:lnTo>
                        <a:pt x="308" y="370"/>
                      </a:lnTo>
                      <a:lnTo>
                        <a:pt x="308" y="370"/>
                      </a:lnTo>
                      <a:close/>
                      <a:moveTo>
                        <a:pt x="704" y="388"/>
                      </a:moveTo>
                      <a:lnTo>
                        <a:pt x="700" y="388"/>
                      </a:lnTo>
                      <a:lnTo>
                        <a:pt x="696" y="388"/>
                      </a:lnTo>
                      <a:lnTo>
                        <a:pt x="700" y="388"/>
                      </a:lnTo>
                      <a:lnTo>
                        <a:pt x="704" y="388"/>
                      </a:lnTo>
                      <a:lnTo>
                        <a:pt x="704" y="388"/>
                      </a:lnTo>
                      <a:lnTo>
                        <a:pt x="704" y="388"/>
                      </a:lnTo>
                      <a:close/>
                      <a:moveTo>
                        <a:pt x="298" y="414"/>
                      </a:moveTo>
                      <a:lnTo>
                        <a:pt x="294" y="418"/>
                      </a:lnTo>
                      <a:lnTo>
                        <a:pt x="290" y="418"/>
                      </a:lnTo>
                      <a:lnTo>
                        <a:pt x="290" y="414"/>
                      </a:lnTo>
                      <a:lnTo>
                        <a:pt x="294" y="414"/>
                      </a:lnTo>
                      <a:lnTo>
                        <a:pt x="298" y="414"/>
                      </a:lnTo>
                      <a:lnTo>
                        <a:pt x="294" y="414"/>
                      </a:lnTo>
                      <a:lnTo>
                        <a:pt x="294" y="418"/>
                      </a:lnTo>
                      <a:lnTo>
                        <a:pt x="298" y="414"/>
                      </a:lnTo>
                      <a:lnTo>
                        <a:pt x="298" y="414"/>
                      </a:lnTo>
                      <a:lnTo>
                        <a:pt x="298" y="414"/>
                      </a:lnTo>
                      <a:close/>
                      <a:moveTo>
                        <a:pt x="282" y="418"/>
                      </a:moveTo>
                      <a:lnTo>
                        <a:pt x="282" y="422"/>
                      </a:lnTo>
                      <a:lnTo>
                        <a:pt x="278" y="422"/>
                      </a:lnTo>
                      <a:lnTo>
                        <a:pt x="282" y="418"/>
                      </a:lnTo>
                      <a:lnTo>
                        <a:pt x="282" y="418"/>
                      </a:lnTo>
                      <a:lnTo>
                        <a:pt x="282" y="418"/>
                      </a:lnTo>
                      <a:close/>
                      <a:moveTo>
                        <a:pt x="584" y="426"/>
                      </a:moveTo>
                      <a:lnTo>
                        <a:pt x="580" y="426"/>
                      </a:lnTo>
                      <a:lnTo>
                        <a:pt x="584" y="426"/>
                      </a:lnTo>
                      <a:lnTo>
                        <a:pt x="580" y="426"/>
                      </a:lnTo>
                      <a:lnTo>
                        <a:pt x="584" y="426"/>
                      </a:lnTo>
                      <a:lnTo>
                        <a:pt x="584" y="426"/>
                      </a:lnTo>
                      <a:lnTo>
                        <a:pt x="584" y="426"/>
                      </a:lnTo>
                      <a:close/>
                      <a:moveTo>
                        <a:pt x="282" y="458"/>
                      </a:moveTo>
                      <a:lnTo>
                        <a:pt x="278" y="458"/>
                      </a:lnTo>
                      <a:lnTo>
                        <a:pt x="276" y="458"/>
                      </a:lnTo>
                      <a:lnTo>
                        <a:pt x="278" y="458"/>
                      </a:lnTo>
                      <a:lnTo>
                        <a:pt x="282" y="458"/>
                      </a:lnTo>
                      <a:lnTo>
                        <a:pt x="282" y="458"/>
                      </a:lnTo>
                      <a:lnTo>
                        <a:pt x="282" y="458"/>
                      </a:lnTo>
                      <a:close/>
                      <a:moveTo>
                        <a:pt x="510" y="484"/>
                      </a:moveTo>
                      <a:lnTo>
                        <a:pt x="510" y="482"/>
                      </a:lnTo>
                      <a:lnTo>
                        <a:pt x="510" y="484"/>
                      </a:lnTo>
                      <a:lnTo>
                        <a:pt x="510" y="484"/>
                      </a:lnTo>
                      <a:lnTo>
                        <a:pt x="510" y="484"/>
                      </a:lnTo>
                      <a:close/>
                      <a:moveTo>
                        <a:pt x="510" y="488"/>
                      </a:moveTo>
                      <a:lnTo>
                        <a:pt x="506" y="488"/>
                      </a:lnTo>
                      <a:lnTo>
                        <a:pt x="506" y="484"/>
                      </a:lnTo>
                      <a:lnTo>
                        <a:pt x="510" y="488"/>
                      </a:lnTo>
                      <a:lnTo>
                        <a:pt x="510" y="488"/>
                      </a:lnTo>
                      <a:lnTo>
                        <a:pt x="510" y="488"/>
                      </a:lnTo>
                      <a:close/>
                      <a:moveTo>
                        <a:pt x="278" y="488"/>
                      </a:moveTo>
                      <a:lnTo>
                        <a:pt x="282" y="488"/>
                      </a:lnTo>
                      <a:lnTo>
                        <a:pt x="282" y="492"/>
                      </a:lnTo>
                      <a:lnTo>
                        <a:pt x="278" y="488"/>
                      </a:lnTo>
                      <a:lnTo>
                        <a:pt x="278" y="488"/>
                      </a:lnTo>
                      <a:lnTo>
                        <a:pt x="278" y="488"/>
                      </a:lnTo>
                      <a:close/>
                      <a:moveTo>
                        <a:pt x="450" y="522"/>
                      </a:moveTo>
                      <a:lnTo>
                        <a:pt x="454" y="522"/>
                      </a:lnTo>
                      <a:lnTo>
                        <a:pt x="458" y="522"/>
                      </a:lnTo>
                      <a:lnTo>
                        <a:pt x="454" y="522"/>
                      </a:lnTo>
                      <a:lnTo>
                        <a:pt x="450" y="522"/>
                      </a:lnTo>
                      <a:lnTo>
                        <a:pt x="450" y="522"/>
                      </a:lnTo>
                      <a:lnTo>
                        <a:pt x="450" y="522"/>
                      </a:lnTo>
                      <a:close/>
                      <a:moveTo>
                        <a:pt x="450" y="548"/>
                      </a:moveTo>
                      <a:lnTo>
                        <a:pt x="450" y="544"/>
                      </a:lnTo>
                      <a:lnTo>
                        <a:pt x="446" y="544"/>
                      </a:lnTo>
                      <a:lnTo>
                        <a:pt x="442" y="544"/>
                      </a:lnTo>
                      <a:lnTo>
                        <a:pt x="442" y="540"/>
                      </a:lnTo>
                      <a:lnTo>
                        <a:pt x="440" y="540"/>
                      </a:lnTo>
                      <a:lnTo>
                        <a:pt x="442" y="540"/>
                      </a:lnTo>
                      <a:lnTo>
                        <a:pt x="446" y="540"/>
                      </a:lnTo>
                      <a:lnTo>
                        <a:pt x="446" y="544"/>
                      </a:lnTo>
                      <a:lnTo>
                        <a:pt x="450" y="544"/>
                      </a:lnTo>
                      <a:lnTo>
                        <a:pt x="450" y="548"/>
                      </a:lnTo>
                      <a:lnTo>
                        <a:pt x="450" y="548"/>
                      </a:lnTo>
                      <a:lnTo>
                        <a:pt x="450" y="548"/>
                      </a:lnTo>
                      <a:close/>
                      <a:moveTo>
                        <a:pt x="450" y="548"/>
                      </a:moveTo>
                      <a:lnTo>
                        <a:pt x="446" y="548"/>
                      </a:lnTo>
                      <a:lnTo>
                        <a:pt x="450" y="548"/>
                      </a:lnTo>
                      <a:lnTo>
                        <a:pt x="450" y="548"/>
                      </a:lnTo>
                      <a:lnTo>
                        <a:pt x="450" y="548"/>
                      </a:lnTo>
                      <a:close/>
                      <a:moveTo>
                        <a:pt x="312" y="548"/>
                      </a:moveTo>
                      <a:lnTo>
                        <a:pt x="316" y="548"/>
                      </a:lnTo>
                      <a:lnTo>
                        <a:pt x="312" y="548"/>
                      </a:lnTo>
                      <a:lnTo>
                        <a:pt x="312" y="548"/>
                      </a:lnTo>
                      <a:lnTo>
                        <a:pt x="312" y="548"/>
                      </a:lnTo>
                      <a:close/>
                      <a:moveTo>
                        <a:pt x="446" y="548"/>
                      </a:moveTo>
                      <a:lnTo>
                        <a:pt x="442" y="548"/>
                      </a:lnTo>
                      <a:lnTo>
                        <a:pt x="446" y="548"/>
                      </a:lnTo>
                      <a:lnTo>
                        <a:pt x="446" y="552"/>
                      </a:lnTo>
                      <a:lnTo>
                        <a:pt x="446" y="548"/>
                      </a:lnTo>
                      <a:lnTo>
                        <a:pt x="446" y="548"/>
                      </a:lnTo>
                      <a:lnTo>
                        <a:pt x="446" y="548"/>
                      </a:lnTo>
                      <a:close/>
                      <a:moveTo>
                        <a:pt x="442" y="556"/>
                      </a:moveTo>
                      <a:lnTo>
                        <a:pt x="442" y="552"/>
                      </a:lnTo>
                      <a:lnTo>
                        <a:pt x="446" y="552"/>
                      </a:lnTo>
                      <a:lnTo>
                        <a:pt x="442" y="556"/>
                      </a:lnTo>
                      <a:lnTo>
                        <a:pt x="442" y="556"/>
                      </a:lnTo>
                      <a:lnTo>
                        <a:pt x="442" y="556"/>
                      </a:lnTo>
                      <a:close/>
                      <a:moveTo>
                        <a:pt x="432" y="560"/>
                      </a:moveTo>
                      <a:lnTo>
                        <a:pt x="432" y="556"/>
                      </a:lnTo>
                      <a:lnTo>
                        <a:pt x="436" y="556"/>
                      </a:lnTo>
                      <a:lnTo>
                        <a:pt x="440" y="556"/>
                      </a:lnTo>
                      <a:lnTo>
                        <a:pt x="440" y="560"/>
                      </a:lnTo>
                      <a:lnTo>
                        <a:pt x="440" y="556"/>
                      </a:lnTo>
                      <a:lnTo>
                        <a:pt x="436" y="556"/>
                      </a:lnTo>
                      <a:lnTo>
                        <a:pt x="436" y="560"/>
                      </a:lnTo>
                      <a:lnTo>
                        <a:pt x="440" y="560"/>
                      </a:lnTo>
                      <a:lnTo>
                        <a:pt x="436" y="560"/>
                      </a:lnTo>
                      <a:lnTo>
                        <a:pt x="432" y="560"/>
                      </a:lnTo>
                      <a:lnTo>
                        <a:pt x="432" y="560"/>
                      </a:lnTo>
                      <a:lnTo>
                        <a:pt x="432" y="560"/>
                      </a:lnTo>
                      <a:close/>
                      <a:moveTo>
                        <a:pt x="436" y="564"/>
                      </a:moveTo>
                      <a:lnTo>
                        <a:pt x="432" y="564"/>
                      </a:lnTo>
                      <a:lnTo>
                        <a:pt x="436" y="560"/>
                      </a:lnTo>
                      <a:lnTo>
                        <a:pt x="436" y="564"/>
                      </a:lnTo>
                      <a:lnTo>
                        <a:pt x="436" y="564"/>
                      </a:lnTo>
                      <a:lnTo>
                        <a:pt x="436" y="564"/>
                      </a:lnTo>
                      <a:close/>
                      <a:moveTo>
                        <a:pt x="332" y="578"/>
                      </a:moveTo>
                      <a:lnTo>
                        <a:pt x="332" y="574"/>
                      </a:lnTo>
                      <a:lnTo>
                        <a:pt x="332" y="578"/>
                      </a:lnTo>
                      <a:lnTo>
                        <a:pt x="332" y="578"/>
                      </a:lnTo>
                      <a:lnTo>
                        <a:pt x="332" y="578"/>
                      </a:lnTo>
                      <a:close/>
                      <a:moveTo>
                        <a:pt x="436" y="582"/>
                      </a:moveTo>
                      <a:lnTo>
                        <a:pt x="436" y="578"/>
                      </a:lnTo>
                      <a:lnTo>
                        <a:pt x="436" y="582"/>
                      </a:lnTo>
                      <a:lnTo>
                        <a:pt x="436" y="582"/>
                      </a:lnTo>
                      <a:lnTo>
                        <a:pt x="436" y="582"/>
                      </a:lnTo>
                      <a:close/>
                      <a:moveTo>
                        <a:pt x="346" y="588"/>
                      </a:moveTo>
                      <a:lnTo>
                        <a:pt x="342" y="588"/>
                      </a:lnTo>
                      <a:lnTo>
                        <a:pt x="346" y="588"/>
                      </a:lnTo>
                      <a:lnTo>
                        <a:pt x="346" y="588"/>
                      </a:lnTo>
                      <a:lnTo>
                        <a:pt x="346" y="588"/>
                      </a:lnTo>
                      <a:close/>
                      <a:moveTo>
                        <a:pt x="350" y="596"/>
                      </a:moveTo>
                      <a:lnTo>
                        <a:pt x="354" y="596"/>
                      </a:lnTo>
                      <a:lnTo>
                        <a:pt x="350" y="596"/>
                      </a:lnTo>
                      <a:lnTo>
                        <a:pt x="346" y="596"/>
                      </a:lnTo>
                      <a:lnTo>
                        <a:pt x="350" y="596"/>
                      </a:lnTo>
                      <a:lnTo>
                        <a:pt x="350" y="596"/>
                      </a:lnTo>
                      <a:lnTo>
                        <a:pt x="350" y="596"/>
                      </a:lnTo>
                      <a:close/>
                      <a:moveTo>
                        <a:pt x="380" y="600"/>
                      </a:moveTo>
                      <a:lnTo>
                        <a:pt x="376" y="600"/>
                      </a:lnTo>
                      <a:lnTo>
                        <a:pt x="376" y="604"/>
                      </a:lnTo>
                      <a:lnTo>
                        <a:pt x="372" y="604"/>
                      </a:lnTo>
                      <a:lnTo>
                        <a:pt x="368" y="604"/>
                      </a:lnTo>
                      <a:lnTo>
                        <a:pt x="372" y="604"/>
                      </a:lnTo>
                      <a:lnTo>
                        <a:pt x="372" y="600"/>
                      </a:lnTo>
                      <a:lnTo>
                        <a:pt x="376" y="600"/>
                      </a:lnTo>
                      <a:lnTo>
                        <a:pt x="380" y="600"/>
                      </a:lnTo>
                      <a:lnTo>
                        <a:pt x="380" y="600"/>
                      </a:lnTo>
                      <a:lnTo>
                        <a:pt x="380" y="600"/>
                      </a:lnTo>
                      <a:close/>
                      <a:moveTo>
                        <a:pt x="424" y="600"/>
                      </a:moveTo>
                      <a:lnTo>
                        <a:pt x="428" y="600"/>
                      </a:lnTo>
                      <a:lnTo>
                        <a:pt x="424" y="600"/>
                      </a:lnTo>
                      <a:lnTo>
                        <a:pt x="424" y="600"/>
                      </a:lnTo>
                      <a:lnTo>
                        <a:pt x="424" y="600"/>
                      </a:lnTo>
                      <a:close/>
                      <a:moveTo>
                        <a:pt x="358" y="604"/>
                      </a:moveTo>
                      <a:lnTo>
                        <a:pt x="354" y="604"/>
                      </a:lnTo>
                      <a:lnTo>
                        <a:pt x="350" y="604"/>
                      </a:lnTo>
                      <a:lnTo>
                        <a:pt x="354" y="600"/>
                      </a:lnTo>
                      <a:lnTo>
                        <a:pt x="358" y="600"/>
                      </a:lnTo>
                      <a:lnTo>
                        <a:pt x="358" y="604"/>
                      </a:lnTo>
                      <a:lnTo>
                        <a:pt x="358" y="604"/>
                      </a:lnTo>
                      <a:lnTo>
                        <a:pt x="358" y="604"/>
                      </a:lnTo>
                      <a:close/>
                      <a:moveTo>
                        <a:pt x="384" y="604"/>
                      </a:moveTo>
                      <a:lnTo>
                        <a:pt x="380" y="604"/>
                      </a:lnTo>
                      <a:lnTo>
                        <a:pt x="380" y="608"/>
                      </a:lnTo>
                      <a:lnTo>
                        <a:pt x="380" y="604"/>
                      </a:lnTo>
                      <a:lnTo>
                        <a:pt x="384" y="604"/>
                      </a:lnTo>
                      <a:lnTo>
                        <a:pt x="384" y="604"/>
                      </a:lnTo>
                      <a:lnTo>
                        <a:pt x="384" y="604"/>
                      </a:lnTo>
                      <a:close/>
                      <a:moveTo>
                        <a:pt x="384" y="604"/>
                      </a:moveTo>
                      <a:lnTo>
                        <a:pt x="384" y="608"/>
                      </a:lnTo>
                      <a:lnTo>
                        <a:pt x="380" y="608"/>
                      </a:lnTo>
                      <a:lnTo>
                        <a:pt x="384" y="604"/>
                      </a:lnTo>
                      <a:lnTo>
                        <a:pt x="384" y="604"/>
                      </a:lnTo>
                      <a:lnTo>
                        <a:pt x="384" y="604"/>
                      </a:lnTo>
                      <a:close/>
                      <a:moveTo>
                        <a:pt x="394" y="612"/>
                      </a:moveTo>
                      <a:lnTo>
                        <a:pt x="394" y="614"/>
                      </a:lnTo>
                      <a:lnTo>
                        <a:pt x="392" y="614"/>
                      </a:lnTo>
                      <a:lnTo>
                        <a:pt x="392" y="612"/>
                      </a:lnTo>
                      <a:lnTo>
                        <a:pt x="394" y="612"/>
                      </a:lnTo>
                      <a:lnTo>
                        <a:pt x="394" y="612"/>
                      </a:lnTo>
                      <a:lnTo>
                        <a:pt x="394" y="612"/>
                      </a:lnTo>
                      <a:close/>
                      <a:moveTo>
                        <a:pt x="418" y="622"/>
                      </a:moveTo>
                      <a:lnTo>
                        <a:pt x="414" y="622"/>
                      </a:lnTo>
                      <a:lnTo>
                        <a:pt x="410" y="618"/>
                      </a:lnTo>
                      <a:lnTo>
                        <a:pt x="410" y="614"/>
                      </a:lnTo>
                      <a:lnTo>
                        <a:pt x="414" y="618"/>
                      </a:lnTo>
                      <a:lnTo>
                        <a:pt x="418" y="618"/>
                      </a:lnTo>
                      <a:lnTo>
                        <a:pt x="420" y="618"/>
                      </a:lnTo>
                      <a:lnTo>
                        <a:pt x="420" y="622"/>
                      </a:lnTo>
                      <a:lnTo>
                        <a:pt x="420" y="618"/>
                      </a:lnTo>
                      <a:lnTo>
                        <a:pt x="418" y="618"/>
                      </a:lnTo>
                      <a:lnTo>
                        <a:pt x="418" y="622"/>
                      </a:lnTo>
                      <a:lnTo>
                        <a:pt x="418" y="622"/>
                      </a:lnTo>
                      <a:lnTo>
                        <a:pt x="418" y="622"/>
                      </a:lnTo>
                      <a:close/>
                      <a:moveTo>
                        <a:pt x="406" y="614"/>
                      </a:moveTo>
                      <a:lnTo>
                        <a:pt x="406" y="618"/>
                      </a:lnTo>
                      <a:lnTo>
                        <a:pt x="410" y="618"/>
                      </a:lnTo>
                      <a:lnTo>
                        <a:pt x="406" y="618"/>
                      </a:lnTo>
                      <a:lnTo>
                        <a:pt x="406" y="614"/>
                      </a:lnTo>
                      <a:lnTo>
                        <a:pt x="406" y="614"/>
                      </a:lnTo>
                      <a:lnTo>
                        <a:pt x="406" y="614"/>
                      </a:lnTo>
                      <a:close/>
                      <a:moveTo>
                        <a:pt x="406" y="618"/>
                      </a:moveTo>
                      <a:lnTo>
                        <a:pt x="406" y="622"/>
                      </a:lnTo>
                      <a:lnTo>
                        <a:pt x="402" y="622"/>
                      </a:lnTo>
                      <a:lnTo>
                        <a:pt x="402" y="618"/>
                      </a:lnTo>
                      <a:lnTo>
                        <a:pt x="406" y="618"/>
                      </a:lnTo>
                      <a:lnTo>
                        <a:pt x="406" y="618"/>
                      </a:lnTo>
                      <a:lnTo>
                        <a:pt x="406" y="618"/>
                      </a:lnTo>
                      <a:close/>
                      <a:moveTo>
                        <a:pt x="418" y="622"/>
                      </a:moveTo>
                      <a:lnTo>
                        <a:pt x="418" y="618"/>
                      </a:lnTo>
                      <a:lnTo>
                        <a:pt x="420" y="618"/>
                      </a:lnTo>
                      <a:lnTo>
                        <a:pt x="418" y="622"/>
                      </a:lnTo>
                      <a:lnTo>
                        <a:pt x="418" y="622"/>
                      </a:lnTo>
                      <a:lnTo>
                        <a:pt x="418" y="622"/>
                      </a:lnTo>
                      <a:close/>
                      <a:moveTo>
                        <a:pt x="406" y="622"/>
                      </a:moveTo>
                      <a:lnTo>
                        <a:pt x="406" y="618"/>
                      </a:lnTo>
                      <a:lnTo>
                        <a:pt x="410" y="618"/>
                      </a:lnTo>
                      <a:lnTo>
                        <a:pt x="410" y="622"/>
                      </a:lnTo>
                      <a:lnTo>
                        <a:pt x="406" y="622"/>
                      </a:lnTo>
                      <a:lnTo>
                        <a:pt x="406" y="622"/>
                      </a:lnTo>
                      <a:lnTo>
                        <a:pt x="406" y="622"/>
                      </a:lnTo>
                      <a:close/>
                      <a:moveTo>
                        <a:pt x="410" y="626"/>
                      </a:moveTo>
                      <a:lnTo>
                        <a:pt x="410" y="622"/>
                      </a:lnTo>
                      <a:lnTo>
                        <a:pt x="414" y="622"/>
                      </a:lnTo>
                      <a:lnTo>
                        <a:pt x="414" y="626"/>
                      </a:lnTo>
                      <a:lnTo>
                        <a:pt x="410" y="626"/>
                      </a:lnTo>
                      <a:lnTo>
                        <a:pt x="410" y="626"/>
                      </a:lnTo>
                      <a:lnTo>
                        <a:pt x="410" y="626"/>
                      </a:lnTo>
                      <a:close/>
                      <a:moveTo>
                        <a:pt x="312" y="414"/>
                      </a:moveTo>
                      <a:lnTo>
                        <a:pt x="312" y="410"/>
                      </a:lnTo>
                      <a:lnTo>
                        <a:pt x="316" y="410"/>
                      </a:lnTo>
                      <a:lnTo>
                        <a:pt x="312" y="410"/>
                      </a:lnTo>
                      <a:lnTo>
                        <a:pt x="308" y="410"/>
                      </a:lnTo>
                      <a:lnTo>
                        <a:pt x="308" y="414"/>
                      </a:lnTo>
                      <a:lnTo>
                        <a:pt x="308" y="410"/>
                      </a:lnTo>
                      <a:lnTo>
                        <a:pt x="306" y="410"/>
                      </a:lnTo>
                      <a:lnTo>
                        <a:pt x="308" y="410"/>
                      </a:lnTo>
                      <a:lnTo>
                        <a:pt x="312" y="406"/>
                      </a:lnTo>
                      <a:lnTo>
                        <a:pt x="308" y="406"/>
                      </a:lnTo>
                      <a:lnTo>
                        <a:pt x="308" y="402"/>
                      </a:lnTo>
                      <a:lnTo>
                        <a:pt x="312" y="402"/>
                      </a:lnTo>
                      <a:lnTo>
                        <a:pt x="312" y="406"/>
                      </a:lnTo>
                      <a:lnTo>
                        <a:pt x="312" y="402"/>
                      </a:lnTo>
                      <a:lnTo>
                        <a:pt x="316" y="402"/>
                      </a:lnTo>
                      <a:lnTo>
                        <a:pt x="316" y="406"/>
                      </a:lnTo>
                      <a:lnTo>
                        <a:pt x="320" y="406"/>
                      </a:lnTo>
                      <a:lnTo>
                        <a:pt x="316" y="406"/>
                      </a:lnTo>
                      <a:lnTo>
                        <a:pt x="320" y="406"/>
                      </a:lnTo>
                      <a:lnTo>
                        <a:pt x="320" y="402"/>
                      </a:lnTo>
                      <a:lnTo>
                        <a:pt x="320" y="406"/>
                      </a:lnTo>
                      <a:lnTo>
                        <a:pt x="324" y="406"/>
                      </a:lnTo>
                      <a:lnTo>
                        <a:pt x="324" y="402"/>
                      </a:lnTo>
                      <a:lnTo>
                        <a:pt x="320" y="402"/>
                      </a:lnTo>
                      <a:lnTo>
                        <a:pt x="316" y="402"/>
                      </a:lnTo>
                      <a:lnTo>
                        <a:pt x="320" y="402"/>
                      </a:lnTo>
                      <a:lnTo>
                        <a:pt x="324" y="402"/>
                      </a:lnTo>
                      <a:lnTo>
                        <a:pt x="324" y="398"/>
                      </a:lnTo>
                      <a:lnTo>
                        <a:pt x="320" y="398"/>
                      </a:lnTo>
                      <a:lnTo>
                        <a:pt x="316" y="398"/>
                      </a:lnTo>
                      <a:lnTo>
                        <a:pt x="320" y="398"/>
                      </a:lnTo>
                      <a:lnTo>
                        <a:pt x="320" y="396"/>
                      </a:lnTo>
                      <a:lnTo>
                        <a:pt x="316" y="396"/>
                      </a:lnTo>
                      <a:lnTo>
                        <a:pt x="316" y="398"/>
                      </a:lnTo>
                      <a:lnTo>
                        <a:pt x="312" y="402"/>
                      </a:lnTo>
                      <a:lnTo>
                        <a:pt x="308" y="402"/>
                      </a:lnTo>
                      <a:lnTo>
                        <a:pt x="308" y="398"/>
                      </a:lnTo>
                      <a:lnTo>
                        <a:pt x="312" y="398"/>
                      </a:lnTo>
                      <a:lnTo>
                        <a:pt x="312" y="396"/>
                      </a:lnTo>
                      <a:lnTo>
                        <a:pt x="316" y="392"/>
                      </a:lnTo>
                      <a:lnTo>
                        <a:pt x="320" y="392"/>
                      </a:lnTo>
                      <a:lnTo>
                        <a:pt x="316" y="392"/>
                      </a:lnTo>
                      <a:lnTo>
                        <a:pt x="312" y="392"/>
                      </a:lnTo>
                      <a:lnTo>
                        <a:pt x="312" y="388"/>
                      </a:lnTo>
                      <a:lnTo>
                        <a:pt x="316" y="388"/>
                      </a:lnTo>
                      <a:lnTo>
                        <a:pt x="316" y="392"/>
                      </a:lnTo>
                      <a:lnTo>
                        <a:pt x="320" y="392"/>
                      </a:lnTo>
                      <a:lnTo>
                        <a:pt x="320" y="388"/>
                      </a:lnTo>
                      <a:lnTo>
                        <a:pt x="316" y="388"/>
                      </a:lnTo>
                      <a:lnTo>
                        <a:pt x="312" y="388"/>
                      </a:lnTo>
                      <a:lnTo>
                        <a:pt x="316" y="388"/>
                      </a:lnTo>
                      <a:lnTo>
                        <a:pt x="316" y="384"/>
                      </a:lnTo>
                      <a:lnTo>
                        <a:pt x="320" y="388"/>
                      </a:lnTo>
                      <a:lnTo>
                        <a:pt x="324" y="388"/>
                      </a:lnTo>
                      <a:lnTo>
                        <a:pt x="320" y="384"/>
                      </a:lnTo>
                      <a:lnTo>
                        <a:pt x="316" y="384"/>
                      </a:lnTo>
                      <a:lnTo>
                        <a:pt x="316" y="380"/>
                      </a:lnTo>
                      <a:lnTo>
                        <a:pt x="320" y="380"/>
                      </a:lnTo>
                      <a:lnTo>
                        <a:pt x="316" y="380"/>
                      </a:lnTo>
                      <a:lnTo>
                        <a:pt x="312" y="380"/>
                      </a:lnTo>
                      <a:lnTo>
                        <a:pt x="308" y="380"/>
                      </a:lnTo>
                      <a:lnTo>
                        <a:pt x="306" y="380"/>
                      </a:lnTo>
                      <a:lnTo>
                        <a:pt x="308" y="380"/>
                      </a:lnTo>
                      <a:lnTo>
                        <a:pt x="312" y="380"/>
                      </a:lnTo>
                      <a:lnTo>
                        <a:pt x="308" y="376"/>
                      </a:lnTo>
                      <a:lnTo>
                        <a:pt x="306" y="376"/>
                      </a:lnTo>
                      <a:lnTo>
                        <a:pt x="306" y="380"/>
                      </a:lnTo>
                      <a:lnTo>
                        <a:pt x="302" y="380"/>
                      </a:lnTo>
                      <a:lnTo>
                        <a:pt x="298" y="380"/>
                      </a:lnTo>
                      <a:lnTo>
                        <a:pt x="294" y="380"/>
                      </a:lnTo>
                      <a:lnTo>
                        <a:pt x="290" y="380"/>
                      </a:lnTo>
                      <a:lnTo>
                        <a:pt x="290" y="376"/>
                      </a:lnTo>
                      <a:lnTo>
                        <a:pt x="286" y="376"/>
                      </a:lnTo>
                      <a:lnTo>
                        <a:pt x="286" y="372"/>
                      </a:lnTo>
                      <a:lnTo>
                        <a:pt x="282" y="372"/>
                      </a:lnTo>
                      <a:lnTo>
                        <a:pt x="278" y="372"/>
                      </a:lnTo>
                      <a:lnTo>
                        <a:pt x="276" y="370"/>
                      </a:lnTo>
                      <a:lnTo>
                        <a:pt x="272" y="370"/>
                      </a:lnTo>
                      <a:lnTo>
                        <a:pt x="268" y="370"/>
                      </a:lnTo>
                      <a:lnTo>
                        <a:pt x="264" y="370"/>
                      </a:lnTo>
                      <a:lnTo>
                        <a:pt x="264" y="366"/>
                      </a:lnTo>
                      <a:lnTo>
                        <a:pt x="260" y="362"/>
                      </a:lnTo>
                      <a:lnTo>
                        <a:pt x="264" y="362"/>
                      </a:lnTo>
                      <a:lnTo>
                        <a:pt x="264" y="358"/>
                      </a:lnTo>
                      <a:lnTo>
                        <a:pt x="268" y="358"/>
                      </a:lnTo>
                      <a:lnTo>
                        <a:pt x="272" y="358"/>
                      </a:lnTo>
                      <a:lnTo>
                        <a:pt x="276" y="362"/>
                      </a:lnTo>
                      <a:lnTo>
                        <a:pt x="278" y="362"/>
                      </a:lnTo>
                      <a:lnTo>
                        <a:pt x="282" y="362"/>
                      </a:lnTo>
                      <a:lnTo>
                        <a:pt x="286" y="362"/>
                      </a:lnTo>
                      <a:lnTo>
                        <a:pt x="290" y="362"/>
                      </a:lnTo>
                      <a:lnTo>
                        <a:pt x="294" y="366"/>
                      </a:lnTo>
                      <a:lnTo>
                        <a:pt x="298" y="366"/>
                      </a:lnTo>
                      <a:lnTo>
                        <a:pt x="302" y="370"/>
                      </a:lnTo>
                      <a:lnTo>
                        <a:pt x="306" y="370"/>
                      </a:lnTo>
                      <a:lnTo>
                        <a:pt x="308" y="370"/>
                      </a:lnTo>
                      <a:lnTo>
                        <a:pt x="312" y="370"/>
                      </a:lnTo>
                      <a:lnTo>
                        <a:pt x="312" y="372"/>
                      </a:lnTo>
                      <a:lnTo>
                        <a:pt x="316" y="372"/>
                      </a:lnTo>
                      <a:lnTo>
                        <a:pt x="316" y="370"/>
                      </a:lnTo>
                      <a:lnTo>
                        <a:pt x="316" y="366"/>
                      </a:lnTo>
                      <a:lnTo>
                        <a:pt x="316" y="370"/>
                      </a:lnTo>
                      <a:lnTo>
                        <a:pt x="312" y="370"/>
                      </a:lnTo>
                      <a:lnTo>
                        <a:pt x="308" y="370"/>
                      </a:lnTo>
                      <a:lnTo>
                        <a:pt x="312" y="370"/>
                      </a:lnTo>
                      <a:lnTo>
                        <a:pt x="308" y="366"/>
                      </a:lnTo>
                      <a:lnTo>
                        <a:pt x="306" y="366"/>
                      </a:lnTo>
                      <a:lnTo>
                        <a:pt x="308" y="366"/>
                      </a:lnTo>
                      <a:lnTo>
                        <a:pt x="312" y="366"/>
                      </a:lnTo>
                      <a:lnTo>
                        <a:pt x="312" y="362"/>
                      </a:lnTo>
                      <a:lnTo>
                        <a:pt x="312" y="366"/>
                      </a:lnTo>
                      <a:lnTo>
                        <a:pt x="316" y="366"/>
                      </a:lnTo>
                      <a:lnTo>
                        <a:pt x="312" y="362"/>
                      </a:lnTo>
                      <a:lnTo>
                        <a:pt x="308" y="362"/>
                      </a:lnTo>
                      <a:lnTo>
                        <a:pt x="306" y="362"/>
                      </a:lnTo>
                      <a:lnTo>
                        <a:pt x="306" y="358"/>
                      </a:lnTo>
                      <a:lnTo>
                        <a:pt x="308" y="358"/>
                      </a:lnTo>
                      <a:lnTo>
                        <a:pt x="312" y="362"/>
                      </a:lnTo>
                      <a:lnTo>
                        <a:pt x="316" y="362"/>
                      </a:lnTo>
                      <a:lnTo>
                        <a:pt x="312" y="362"/>
                      </a:lnTo>
                      <a:lnTo>
                        <a:pt x="312" y="358"/>
                      </a:lnTo>
                      <a:lnTo>
                        <a:pt x="308" y="358"/>
                      </a:lnTo>
                      <a:lnTo>
                        <a:pt x="306" y="358"/>
                      </a:lnTo>
                      <a:lnTo>
                        <a:pt x="302" y="358"/>
                      </a:lnTo>
                      <a:lnTo>
                        <a:pt x="302" y="354"/>
                      </a:lnTo>
                      <a:lnTo>
                        <a:pt x="298" y="354"/>
                      </a:lnTo>
                      <a:lnTo>
                        <a:pt x="302" y="354"/>
                      </a:lnTo>
                      <a:lnTo>
                        <a:pt x="306" y="354"/>
                      </a:lnTo>
                      <a:lnTo>
                        <a:pt x="308" y="354"/>
                      </a:lnTo>
                      <a:lnTo>
                        <a:pt x="312" y="354"/>
                      </a:lnTo>
                      <a:lnTo>
                        <a:pt x="308" y="354"/>
                      </a:lnTo>
                      <a:lnTo>
                        <a:pt x="306" y="354"/>
                      </a:lnTo>
                      <a:lnTo>
                        <a:pt x="306" y="350"/>
                      </a:lnTo>
                      <a:lnTo>
                        <a:pt x="308" y="350"/>
                      </a:lnTo>
                      <a:lnTo>
                        <a:pt x="306" y="350"/>
                      </a:lnTo>
                      <a:lnTo>
                        <a:pt x="302" y="350"/>
                      </a:lnTo>
                      <a:lnTo>
                        <a:pt x="298" y="350"/>
                      </a:lnTo>
                      <a:lnTo>
                        <a:pt x="294" y="350"/>
                      </a:lnTo>
                      <a:lnTo>
                        <a:pt x="298" y="350"/>
                      </a:lnTo>
                      <a:lnTo>
                        <a:pt x="298" y="346"/>
                      </a:lnTo>
                      <a:lnTo>
                        <a:pt x="302" y="346"/>
                      </a:lnTo>
                      <a:lnTo>
                        <a:pt x="298" y="346"/>
                      </a:lnTo>
                      <a:lnTo>
                        <a:pt x="294" y="346"/>
                      </a:lnTo>
                      <a:lnTo>
                        <a:pt x="294" y="350"/>
                      </a:lnTo>
                      <a:lnTo>
                        <a:pt x="290" y="350"/>
                      </a:lnTo>
                      <a:lnTo>
                        <a:pt x="290" y="346"/>
                      </a:lnTo>
                      <a:lnTo>
                        <a:pt x="294" y="346"/>
                      </a:lnTo>
                      <a:lnTo>
                        <a:pt x="294" y="342"/>
                      </a:lnTo>
                      <a:lnTo>
                        <a:pt x="298" y="342"/>
                      </a:lnTo>
                      <a:lnTo>
                        <a:pt x="302" y="342"/>
                      </a:lnTo>
                      <a:lnTo>
                        <a:pt x="306" y="342"/>
                      </a:lnTo>
                      <a:lnTo>
                        <a:pt x="302" y="342"/>
                      </a:lnTo>
                      <a:lnTo>
                        <a:pt x="298" y="342"/>
                      </a:lnTo>
                      <a:lnTo>
                        <a:pt x="294" y="342"/>
                      </a:lnTo>
                      <a:lnTo>
                        <a:pt x="290" y="342"/>
                      </a:lnTo>
                      <a:lnTo>
                        <a:pt x="286" y="342"/>
                      </a:lnTo>
                      <a:lnTo>
                        <a:pt x="282" y="342"/>
                      </a:lnTo>
                      <a:lnTo>
                        <a:pt x="286" y="342"/>
                      </a:lnTo>
                      <a:lnTo>
                        <a:pt x="286" y="340"/>
                      </a:lnTo>
                      <a:lnTo>
                        <a:pt x="290" y="340"/>
                      </a:lnTo>
                      <a:lnTo>
                        <a:pt x="294" y="340"/>
                      </a:lnTo>
                      <a:lnTo>
                        <a:pt x="298" y="340"/>
                      </a:lnTo>
                      <a:lnTo>
                        <a:pt x="302" y="340"/>
                      </a:lnTo>
                      <a:lnTo>
                        <a:pt x="302" y="336"/>
                      </a:lnTo>
                      <a:lnTo>
                        <a:pt x="298" y="336"/>
                      </a:lnTo>
                      <a:lnTo>
                        <a:pt x="298" y="340"/>
                      </a:lnTo>
                      <a:lnTo>
                        <a:pt x="294" y="340"/>
                      </a:lnTo>
                      <a:lnTo>
                        <a:pt x="290" y="340"/>
                      </a:lnTo>
                      <a:lnTo>
                        <a:pt x="286" y="340"/>
                      </a:lnTo>
                      <a:lnTo>
                        <a:pt x="286" y="336"/>
                      </a:lnTo>
                      <a:lnTo>
                        <a:pt x="282" y="336"/>
                      </a:lnTo>
                      <a:lnTo>
                        <a:pt x="278" y="336"/>
                      </a:lnTo>
                      <a:lnTo>
                        <a:pt x="282" y="336"/>
                      </a:lnTo>
                      <a:lnTo>
                        <a:pt x="282" y="332"/>
                      </a:lnTo>
                      <a:lnTo>
                        <a:pt x="286" y="328"/>
                      </a:lnTo>
                      <a:lnTo>
                        <a:pt x="282" y="332"/>
                      </a:lnTo>
                      <a:lnTo>
                        <a:pt x="278" y="332"/>
                      </a:lnTo>
                      <a:lnTo>
                        <a:pt x="276" y="332"/>
                      </a:lnTo>
                      <a:lnTo>
                        <a:pt x="276" y="328"/>
                      </a:lnTo>
                      <a:lnTo>
                        <a:pt x="276" y="324"/>
                      </a:lnTo>
                      <a:lnTo>
                        <a:pt x="272" y="324"/>
                      </a:lnTo>
                      <a:lnTo>
                        <a:pt x="272" y="320"/>
                      </a:lnTo>
                      <a:lnTo>
                        <a:pt x="276" y="320"/>
                      </a:lnTo>
                      <a:lnTo>
                        <a:pt x="272" y="320"/>
                      </a:lnTo>
                      <a:lnTo>
                        <a:pt x="268" y="320"/>
                      </a:lnTo>
                      <a:lnTo>
                        <a:pt x="272" y="324"/>
                      </a:lnTo>
                      <a:lnTo>
                        <a:pt x="272" y="328"/>
                      </a:lnTo>
                      <a:lnTo>
                        <a:pt x="276" y="328"/>
                      </a:lnTo>
                      <a:lnTo>
                        <a:pt x="276" y="332"/>
                      </a:lnTo>
                      <a:lnTo>
                        <a:pt x="276" y="336"/>
                      </a:lnTo>
                      <a:lnTo>
                        <a:pt x="272" y="336"/>
                      </a:lnTo>
                      <a:lnTo>
                        <a:pt x="268" y="336"/>
                      </a:lnTo>
                      <a:lnTo>
                        <a:pt x="272" y="336"/>
                      </a:lnTo>
                      <a:lnTo>
                        <a:pt x="272" y="340"/>
                      </a:lnTo>
                      <a:lnTo>
                        <a:pt x="268" y="340"/>
                      </a:lnTo>
                      <a:lnTo>
                        <a:pt x="268" y="336"/>
                      </a:lnTo>
                      <a:lnTo>
                        <a:pt x="268" y="340"/>
                      </a:lnTo>
                      <a:lnTo>
                        <a:pt x="272" y="340"/>
                      </a:lnTo>
                      <a:lnTo>
                        <a:pt x="272" y="342"/>
                      </a:lnTo>
                      <a:lnTo>
                        <a:pt x="268" y="342"/>
                      </a:lnTo>
                      <a:lnTo>
                        <a:pt x="264" y="342"/>
                      </a:lnTo>
                      <a:lnTo>
                        <a:pt x="264" y="346"/>
                      </a:lnTo>
                      <a:lnTo>
                        <a:pt x="260" y="346"/>
                      </a:lnTo>
                      <a:lnTo>
                        <a:pt x="256" y="346"/>
                      </a:lnTo>
                      <a:lnTo>
                        <a:pt x="252" y="342"/>
                      </a:lnTo>
                      <a:lnTo>
                        <a:pt x="250" y="342"/>
                      </a:lnTo>
                      <a:lnTo>
                        <a:pt x="252" y="342"/>
                      </a:lnTo>
                      <a:lnTo>
                        <a:pt x="250" y="342"/>
                      </a:lnTo>
                      <a:lnTo>
                        <a:pt x="246" y="342"/>
                      </a:lnTo>
                      <a:lnTo>
                        <a:pt x="246" y="340"/>
                      </a:lnTo>
                      <a:lnTo>
                        <a:pt x="242" y="336"/>
                      </a:lnTo>
                      <a:lnTo>
                        <a:pt x="246" y="336"/>
                      </a:lnTo>
                      <a:lnTo>
                        <a:pt x="250" y="336"/>
                      </a:lnTo>
                      <a:lnTo>
                        <a:pt x="250" y="332"/>
                      </a:lnTo>
                      <a:lnTo>
                        <a:pt x="252" y="332"/>
                      </a:lnTo>
                      <a:lnTo>
                        <a:pt x="256" y="332"/>
                      </a:lnTo>
                      <a:lnTo>
                        <a:pt x="260" y="328"/>
                      </a:lnTo>
                      <a:lnTo>
                        <a:pt x="260" y="324"/>
                      </a:lnTo>
                      <a:lnTo>
                        <a:pt x="264" y="324"/>
                      </a:lnTo>
                      <a:lnTo>
                        <a:pt x="260" y="324"/>
                      </a:lnTo>
                      <a:lnTo>
                        <a:pt x="260" y="328"/>
                      </a:lnTo>
                      <a:lnTo>
                        <a:pt x="256" y="328"/>
                      </a:lnTo>
                      <a:lnTo>
                        <a:pt x="256" y="332"/>
                      </a:lnTo>
                      <a:lnTo>
                        <a:pt x="252" y="332"/>
                      </a:lnTo>
                      <a:lnTo>
                        <a:pt x="250" y="332"/>
                      </a:lnTo>
                      <a:lnTo>
                        <a:pt x="250" y="328"/>
                      </a:lnTo>
                      <a:lnTo>
                        <a:pt x="246" y="328"/>
                      </a:lnTo>
                      <a:lnTo>
                        <a:pt x="250" y="328"/>
                      </a:lnTo>
                      <a:lnTo>
                        <a:pt x="250" y="324"/>
                      </a:lnTo>
                      <a:lnTo>
                        <a:pt x="256" y="320"/>
                      </a:lnTo>
                      <a:lnTo>
                        <a:pt x="252" y="320"/>
                      </a:lnTo>
                      <a:lnTo>
                        <a:pt x="256" y="320"/>
                      </a:lnTo>
                      <a:lnTo>
                        <a:pt x="256" y="316"/>
                      </a:lnTo>
                      <a:lnTo>
                        <a:pt x="252" y="316"/>
                      </a:lnTo>
                      <a:lnTo>
                        <a:pt x="256" y="316"/>
                      </a:lnTo>
                      <a:lnTo>
                        <a:pt x="252" y="316"/>
                      </a:lnTo>
                      <a:lnTo>
                        <a:pt x="250" y="320"/>
                      </a:lnTo>
                      <a:lnTo>
                        <a:pt x="250" y="316"/>
                      </a:lnTo>
                      <a:lnTo>
                        <a:pt x="246" y="316"/>
                      </a:lnTo>
                      <a:lnTo>
                        <a:pt x="246" y="314"/>
                      </a:lnTo>
                      <a:lnTo>
                        <a:pt x="250" y="314"/>
                      </a:lnTo>
                      <a:lnTo>
                        <a:pt x="250" y="316"/>
                      </a:lnTo>
                      <a:lnTo>
                        <a:pt x="252" y="316"/>
                      </a:lnTo>
                      <a:lnTo>
                        <a:pt x="260" y="316"/>
                      </a:lnTo>
                      <a:lnTo>
                        <a:pt x="264" y="316"/>
                      </a:lnTo>
                      <a:lnTo>
                        <a:pt x="260" y="316"/>
                      </a:lnTo>
                      <a:lnTo>
                        <a:pt x="256" y="316"/>
                      </a:lnTo>
                      <a:lnTo>
                        <a:pt x="256" y="314"/>
                      </a:lnTo>
                      <a:lnTo>
                        <a:pt x="252" y="316"/>
                      </a:lnTo>
                      <a:lnTo>
                        <a:pt x="252" y="314"/>
                      </a:lnTo>
                      <a:lnTo>
                        <a:pt x="256" y="314"/>
                      </a:lnTo>
                      <a:lnTo>
                        <a:pt x="260" y="314"/>
                      </a:lnTo>
                      <a:lnTo>
                        <a:pt x="256" y="314"/>
                      </a:lnTo>
                      <a:lnTo>
                        <a:pt x="256" y="310"/>
                      </a:lnTo>
                      <a:lnTo>
                        <a:pt x="260" y="310"/>
                      </a:lnTo>
                      <a:lnTo>
                        <a:pt x="256" y="310"/>
                      </a:lnTo>
                      <a:lnTo>
                        <a:pt x="256" y="306"/>
                      </a:lnTo>
                      <a:lnTo>
                        <a:pt x="260" y="306"/>
                      </a:lnTo>
                      <a:lnTo>
                        <a:pt x="256" y="306"/>
                      </a:lnTo>
                      <a:lnTo>
                        <a:pt x="256" y="302"/>
                      </a:lnTo>
                      <a:lnTo>
                        <a:pt x="252" y="302"/>
                      </a:lnTo>
                      <a:lnTo>
                        <a:pt x="250" y="302"/>
                      </a:lnTo>
                      <a:lnTo>
                        <a:pt x="246" y="302"/>
                      </a:lnTo>
                      <a:lnTo>
                        <a:pt x="246" y="298"/>
                      </a:lnTo>
                      <a:lnTo>
                        <a:pt x="250" y="298"/>
                      </a:lnTo>
                      <a:lnTo>
                        <a:pt x="252" y="298"/>
                      </a:lnTo>
                      <a:lnTo>
                        <a:pt x="250" y="294"/>
                      </a:lnTo>
                      <a:lnTo>
                        <a:pt x="250" y="290"/>
                      </a:lnTo>
                      <a:lnTo>
                        <a:pt x="252" y="290"/>
                      </a:lnTo>
                      <a:lnTo>
                        <a:pt x="252" y="294"/>
                      </a:lnTo>
                      <a:lnTo>
                        <a:pt x="252" y="290"/>
                      </a:lnTo>
                      <a:lnTo>
                        <a:pt x="250" y="290"/>
                      </a:lnTo>
                      <a:lnTo>
                        <a:pt x="246" y="290"/>
                      </a:lnTo>
                      <a:lnTo>
                        <a:pt x="246" y="286"/>
                      </a:lnTo>
                      <a:lnTo>
                        <a:pt x="242" y="286"/>
                      </a:lnTo>
                      <a:lnTo>
                        <a:pt x="238" y="286"/>
                      </a:lnTo>
                      <a:lnTo>
                        <a:pt x="238" y="284"/>
                      </a:lnTo>
                      <a:lnTo>
                        <a:pt x="242" y="284"/>
                      </a:lnTo>
                      <a:lnTo>
                        <a:pt x="238" y="284"/>
                      </a:lnTo>
                      <a:lnTo>
                        <a:pt x="242" y="284"/>
                      </a:lnTo>
                      <a:lnTo>
                        <a:pt x="246" y="284"/>
                      </a:lnTo>
                      <a:lnTo>
                        <a:pt x="242" y="284"/>
                      </a:lnTo>
                      <a:lnTo>
                        <a:pt x="242" y="280"/>
                      </a:lnTo>
                      <a:lnTo>
                        <a:pt x="246" y="280"/>
                      </a:lnTo>
                      <a:lnTo>
                        <a:pt x="242" y="280"/>
                      </a:lnTo>
                      <a:lnTo>
                        <a:pt x="242" y="276"/>
                      </a:lnTo>
                      <a:lnTo>
                        <a:pt x="238" y="276"/>
                      </a:lnTo>
                      <a:lnTo>
                        <a:pt x="242" y="276"/>
                      </a:lnTo>
                      <a:lnTo>
                        <a:pt x="238" y="276"/>
                      </a:lnTo>
                      <a:lnTo>
                        <a:pt x="234" y="276"/>
                      </a:lnTo>
                      <a:lnTo>
                        <a:pt x="234" y="272"/>
                      </a:lnTo>
                      <a:lnTo>
                        <a:pt x="238" y="272"/>
                      </a:lnTo>
                      <a:lnTo>
                        <a:pt x="238" y="268"/>
                      </a:lnTo>
                      <a:lnTo>
                        <a:pt x="234" y="268"/>
                      </a:lnTo>
                      <a:lnTo>
                        <a:pt x="230" y="272"/>
                      </a:lnTo>
                      <a:lnTo>
                        <a:pt x="226" y="272"/>
                      </a:lnTo>
                      <a:lnTo>
                        <a:pt x="222" y="272"/>
                      </a:lnTo>
                      <a:lnTo>
                        <a:pt x="220" y="272"/>
                      </a:lnTo>
                      <a:lnTo>
                        <a:pt x="222" y="272"/>
                      </a:lnTo>
                      <a:lnTo>
                        <a:pt x="226" y="272"/>
                      </a:lnTo>
                      <a:lnTo>
                        <a:pt x="230" y="272"/>
                      </a:lnTo>
                      <a:lnTo>
                        <a:pt x="230" y="268"/>
                      </a:lnTo>
                      <a:lnTo>
                        <a:pt x="234" y="268"/>
                      </a:lnTo>
                      <a:lnTo>
                        <a:pt x="230" y="268"/>
                      </a:lnTo>
                      <a:lnTo>
                        <a:pt x="230" y="264"/>
                      </a:lnTo>
                      <a:lnTo>
                        <a:pt x="234" y="264"/>
                      </a:lnTo>
                      <a:lnTo>
                        <a:pt x="238" y="264"/>
                      </a:lnTo>
                      <a:lnTo>
                        <a:pt x="234" y="264"/>
                      </a:lnTo>
                      <a:lnTo>
                        <a:pt x="230" y="264"/>
                      </a:lnTo>
                      <a:lnTo>
                        <a:pt x="226" y="264"/>
                      </a:lnTo>
                      <a:lnTo>
                        <a:pt x="230" y="264"/>
                      </a:lnTo>
                      <a:lnTo>
                        <a:pt x="234" y="264"/>
                      </a:lnTo>
                      <a:lnTo>
                        <a:pt x="238" y="260"/>
                      </a:lnTo>
                      <a:lnTo>
                        <a:pt x="234" y="260"/>
                      </a:lnTo>
                      <a:lnTo>
                        <a:pt x="230" y="260"/>
                      </a:lnTo>
                      <a:lnTo>
                        <a:pt x="230" y="256"/>
                      </a:lnTo>
                      <a:lnTo>
                        <a:pt x="226" y="256"/>
                      </a:lnTo>
                      <a:lnTo>
                        <a:pt x="222" y="256"/>
                      </a:lnTo>
                      <a:lnTo>
                        <a:pt x="222" y="254"/>
                      </a:lnTo>
                      <a:lnTo>
                        <a:pt x="226" y="254"/>
                      </a:lnTo>
                      <a:lnTo>
                        <a:pt x="226" y="250"/>
                      </a:lnTo>
                      <a:lnTo>
                        <a:pt x="222" y="250"/>
                      </a:lnTo>
                      <a:lnTo>
                        <a:pt x="220" y="250"/>
                      </a:lnTo>
                      <a:lnTo>
                        <a:pt x="216" y="250"/>
                      </a:lnTo>
                      <a:lnTo>
                        <a:pt x="212" y="250"/>
                      </a:lnTo>
                      <a:lnTo>
                        <a:pt x="212" y="246"/>
                      </a:lnTo>
                      <a:lnTo>
                        <a:pt x="208" y="246"/>
                      </a:lnTo>
                      <a:lnTo>
                        <a:pt x="212" y="246"/>
                      </a:lnTo>
                      <a:lnTo>
                        <a:pt x="212" y="242"/>
                      </a:lnTo>
                      <a:lnTo>
                        <a:pt x="208" y="242"/>
                      </a:lnTo>
                      <a:lnTo>
                        <a:pt x="208" y="238"/>
                      </a:lnTo>
                      <a:lnTo>
                        <a:pt x="204" y="238"/>
                      </a:lnTo>
                      <a:lnTo>
                        <a:pt x="200" y="238"/>
                      </a:lnTo>
                      <a:lnTo>
                        <a:pt x="204" y="238"/>
                      </a:lnTo>
                      <a:lnTo>
                        <a:pt x="208" y="238"/>
                      </a:lnTo>
                      <a:lnTo>
                        <a:pt x="208" y="234"/>
                      </a:lnTo>
                      <a:lnTo>
                        <a:pt x="204" y="234"/>
                      </a:lnTo>
                      <a:lnTo>
                        <a:pt x="204" y="230"/>
                      </a:lnTo>
                      <a:lnTo>
                        <a:pt x="208" y="230"/>
                      </a:lnTo>
                      <a:lnTo>
                        <a:pt x="204" y="230"/>
                      </a:lnTo>
                      <a:lnTo>
                        <a:pt x="204" y="228"/>
                      </a:lnTo>
                      <a:lnTo>
                        <a:pt x="200" y="228"/>
                      </a:lnTo>
                      <a:lnTo>
                        <a:pt x="200" y="230"/>
                      </a:lnTo>
                      <a:lnTo>
                        <a:pt x="196" y="230"/>
                      </a:lnTo>
                      <a:lnTo>
                        <a:pt x="194" y="228"/>
                      </a:lnTo>
                      <a:lnTo>
                        <a:pt x="196" y="228"/>
                      </a:lnTo>
                      <a:lnTo>
                        <a:pt x="196" y="224"/>
                      </a:lnTo>
                      <a:lnTo>
                        <a:pt x="194" y="224"/>
                      </a:lnTo>
                      <a:lnTo>
                        <a:pt x="190" y="224"/>
                      </a:lnTo>
                      <a:lnTo>
                        <a:pt x="190" y="228"/>
                      </a:lnTo>
                      <a:lnTo>
                        <a:pt x="186" y="228"/>
                      </a:lnTo>
                      <a:lnTo>
                        <a:pt x="186" y="224"/>
                      </a:lnTo>
                      <a:lnTo>
                        <a:pt x="190" y="224"/>
                      </a:lnTo>
                      <a:lnTo>
                        <a:pt x="186" y="224"/>
                      </a:lnTo>
                      <a:lnTo>
                        <a:pt x="182" y="224"/>
                      </a:lnTo>
                      <a:lnTo>
                        <a:pt x="182" y="220"/>
                      </a:lnTo>
                      <a:lnTo>
                        <a:pt x="178" y="220"/>
                      </a:lnTo>
                      <a:lnTo>
                        <a:pt x="174" y="220"/>
                      </a:lnTo>
                      <a:lnTo>
                        <a:pt x="170" y="220"/>
                      </a:lnTo>
                      <a:lnTo>
                        <a:pt x="170" y="216"/>
                      </a:lnTo>
                      <a:lnTo>
                        <a:pt x="164" y="216"/>
                      </a:lnTo>
                      <a:lnTo>
                        <a:pt x="160" y="216"/>
                      </a:lnTo>
                      <a:lnTo>
                        <a:pt x="156" y="216"/>
                      </a:lnTo>
                      <a:lnTo>
                        <a:pt x="152" y="216"/>
                      </a:lnTo>
                      <a:lnTo>
                        <a:pt x="152" y="212"/>
                      </a:lnTo>
                      <a:lnTo>
                        <a:pt x="148" y="212"/>
                      </a:lnTo>
                      <a:lnTo>
                        <a:pt x="148" y="216"/>
                      </a:lnTo>
                      <a:lnTo>
                        <a:pt x="148" y="212"/>
                      </a:lnTo>
                      <a:lnTo>
                        <a:pt x="144" y="212"/>
                      </a:lnTo>
                      <a:lnTo>
                        <a:pt x="144" y="216"/>
                      </a:lnTo>
                      <a:lnTo>
                        <a:pt x="140" y="216"/>
                      </a:lnTo>
                      <a:lnTo>
                        <a:pt x="144" y="212"/>
                      </a:lnTo>
                      <a:lnTo>
                        <a:pt x="140" y="212"/>
                      </a:lnTo>
                      <a:lnTo>
                        <a:pt x="136" y="212"/>
                      </a:lnTo>
                      <a:lnTo>
                        <a:pt x="134" y="212"/>
                      </a:lnTo>
                      <a:lnTo>
                        <a:pt x="130" y="216"/>
                      </a:lnTo>
                      <a:lnTo>
                        <a:pt x="126" y="216"/>
                      </a:lnTo>
                      <a:lnTo>
                        <a:pt x="122" y="216"/>
                      </a:lnTo>
                      <a:lnTo>
                        <a:pt x="122" y="212"/>
                      </a:lnTo>
                      <a:lnTo>
                        <a:pt x="118" y="216"/>
                      </a:lnTo>
                      <a:lnTo>
                        <a:pt x="118" y="212"/>
                      </a:lnTo>
                      <a:lnTo>
                        <a:pt x="118" y="216"/>
                      </a:lnTo>
                      <a:lnTo>
                        <a:pt x="114" y="216"/>
                      </a:lnTo>
                      <a:lnTo>
                        <a:pt x="118" y="216"/>
                      </a:lnTo>
                      <a:lnTo>
                        <a:pt x="118" y="220"/>
                      </a:lnTo>
                      <a:lnTo>
                        <a:pt x="114" y="220"/>
                      </a:lnTo>
                      <a:lnTo>
                        <a:pt x="114" y="216"/>
                      </a:lnTo>
                      <a:lnTo>
                        <a:pt x="110" y="216"/>
                      </a:lnTo>
                      <a:lnTo>
                        <a:pt x="110" y="220"/>
                      </a:lnTo>
                      <a:lnTo>
                        <a:pt x="110" y="216"/>
                      </a:lnTo>
                      <a:lnTo>
                        <a:pt x="108" y="216"/>
                      </a:lnTo>
                      <a:lnTo>
                        <a:pt x="110" y="216"/>
                      </a:lnTo>
                      <a:lnTo>
                        <a:pt x="108" y="216"/>
                      </a:lnTo>
                      <a:lnTo>
                        <a:pt x="108" y="220"/>
                      </a:lnTo>
                      <a:lnTo>
                        <a:pt x="104" y="220"/>
                      </a:lnTo>
                      <a:lnTo>
                        <a:pt x="100" y="220"/>
                      </a:lnTo>
                      <a:lnTo>
                        <a:pt x="100" y="216"/>
                      </a:lnTo>
                      <a:lnTo>
                        <a:pt x="104" y="216"/>
                      </a:lnTo>
                      <a:lnTo>
                        <a:pt x="100" y="216"/>
                      </a:lnTo>
                      <a:lnTo>
                        <a:pt x="104" y="216"/>
                      </a:lnTo>
                      <a:lnTo>
                        <a:pt x="104" y="212"/>
                      </a:lnTo>
                      <a:lnTo>
                        <a:pt x="100" y="212"/>
                      </a:lnTo>
                      <a:lnTo>
                        <a:pt x="96" y="212"/>
                      </a:lnTo>
                      <a:lnTo>
                        <a:pt x="94" y="216"/>
                      </a:lnTo>
                      <a:lnTo>
                        <a:pt x="94" y="220"/>
                      </a:lnTo>
                      <a:lnTo>
                        <a:pt x="90" y="216"/>
                      </a:lnTo>
                      <a:lnTo>
                        <a:pt x="86" y="216"/>
                      </a:lnTo>
                      <a:lnTo>
                        <a:pt x="86" y="212"/>
                      </a:lnTo>
                      <a:lnTo>
                        <a:pt x="82" y="216"/>
                      </a:lnTo>
                      <a:lnTo>
                        <a:pt x="86" y="216"/>
                      </a:lnTo>
                      <a:lnTo>
                        <a:pt x="86" y="220"/>
                      </a:lnTo>
                      <a:lnTo>
                        <a:pt x="90" y="220"/>
                      </a:lnTo>
                      <a:lnTo>
                        <a:pt x="94" y="224"/>
                      </a:lnTo>
                      <a:lnTo>
                        <a:pt x="90" y="224"/>
                      </a:lnTo>
                      <a:lnTo>
                        <a:pt x="86" y="224"/>
                      </a:lnTo>
                      <a:lnTo>
                        <a:pt x="82" y="220"/>
                      </a:lnTo>
                      <a:lnTo>
                        <a:pt x="78" y="220"/>
                      </a:lnTo>
                      <a:lnTo>
                        <a:pt x="74" y="220"/>
                      </a:lnTo>
                      <a:lnTo>
                        <a:pt x="70" y="220"/>
                      </a:lnTo>
                      <a:lnTo>
                        <a:pt x="66" y="220"/>
                      </a:lnTo>
                      <a:lnTo>
                        <a:pt x="64" y="220"/>
                      </a:lnTo>
                      <a:lnTo>
                        <a:pt x="64" y="216"/>
                      </a:lnTo>
                      <a:lnTo>
                        <a:pt x="60" y="216"/>
                      </a:lnTo>
                      <a:lnTo>
                        <a:pt x="56" y="216"/>
                      </a:lnTo>
                      <a:lnTo>
                        <a:pt x="56" y="212"/>
                      </a:lnTo>
                      <a:lnTo>
                        <a:pt x="52" y="212"/>
                      </a:lnTo>
                      <a:lnTo>
                        <a:pt x="48" y="212"/>
                      </a:lnTo>
                      <a:lnTo>
                        <a:pt x="48" y="208"/>
                      </a:lnTo>
                      <a:lnTo>
                        <a:pt x="52" y="208"/>
                      </a:lnTo>
                      <a:lnTo>
                        <a:pt x="56" y="208"/>
                      </a:lnTo>
                      <a:lnTo>
                        <a:pt x="60" y="204"/>
                      </a:lnTo>
                      <a:lnTo>
                        <a:pt x="64" y="204"/>
                      </a:lnTo>
                      <a:lnTo>
                        <a:pt x="70" y="204"/>
                      </a:lnTo>
                      <a:lnTo>
                        <a:pt x="70" y="200"/>
                      </a:lnTo>
                      <a:lnTo>
                        <a:pt x="66" y="200"/>
                      </a:lnTo>
                      <a:lnTo>
                        <a:pt x="64" y="200"/>
                      </a:lnTo>
                      <a:lnTo>
                        <a:pt x="64" y="204"/>
                      </a:lnTo>
                      <a:lnTo>
                        <a:pt x="60" y="204"/>
                      </a:lnTo>
                      <a:lnTo>
                        <a:pt x="60" y="200"/>
                      </a:lnTo>
                      <a:lnTo>
                        <a:pt x="56" y="200"/>
                      </a:lnTo>
                      <a:lnTo>
                        <a:pt x="52" y="200"/>
                      </a:lnTo>
                      <a:lnTo>
                        <a:pt x="48" y="200"/>
                      </a:lnTo>
                      <a:lnTo>
                        <a:pt x="44" y="200"/>
                      </a:lnTo>
                      <a:lnTo>
                        <a:pt x="40" y="200"/>
                      </a:lnTo>
                      <a:lnTo>
                        <a:pt x="40" y="198"/>
                      </a:lnTo>
                      <a:lnTo>
                        <a:pt x="44" y="198"/>
                      </a:lnTo>
                      <a:lnTo>
                        <a:pt x="44" y="194"/>
                      </a:lnTo>
                      <a:lnTo>
                        <a:pt x="48" y="194"/>
                      </a:lnTo>
                      <a:lnTo>
                        <a:pt x="44" y="194"/>
                      </a:lnTo>
                      <a:lnTo>
                        <a:pt x="40" y="198"/>
                      </a:lnTo>
                      <a:lnTo>
                        <a:pt x="38" y="198"/>
                      </a:lnTo>
                      <a:lnTo>
                        <a:pt x="38" y="200"/>
                      </a:lnTo>
                      <a:lnTo>
                        <a:pt x="34" y="200"/>
                      </a:lnTo>
                      <a:lnTo>
                        <a:pt x="34" y="198"/>
                      </a:lnTo>
                      <a:lnTo>
                        <a:pt x="30" y="198"/>
                      </a:lnTo>
                      <a:lnTo>
                        <a:pt x="34" y="194"/>
                      </a:lnTo>
                      <a:lnTo>
                        <a:pt x="30" y="198"/>
                      </a:lnTo>
                      <a:lnTo>
                        <a:pt x="30" y="194"/>
                      </a:lnTo>
                      <a:lnTo>
                        <a:pt x="26" y="194"/>
                      </a:lnTo>
                      <a:lnTo>
                        <a:pt x="22" y="194"/>
                      </a:lnTo>
                      <a:lnTo>
                        <a:pt x="22" y="190"/>
                      </a:lnTo>
                      <a:lnTo>
                        <a:pt x="26" y="190"/>
                      </a:lnTo>
                      <a:lnTo>
                        <a:pt x="30" y="190"/>
                      </a:lnTo>
                      <a:lnTo>
                        <a:pt x="34" y="186"/>
                      </a:lnTo>
                      <a:lnTo>
                        <a:pt x="38" y="186"/>
                      </a:lnTo>
                      <a:lnTo>
                        <a:pt x="40" y="186"/>
                      </a:lnTo>
                      <a:lnTo>
                        <a:pt x="44" y="186"/>
                      </a:lnTo>
                      <a:lnTo>
                        <a:pt x="48" y="186"/>
                      </a:lnTo>
                      <a:lnTo>
                        <a:pt x="52" y="186"/>
                      </a:lnTo>
                      <a:lnTo>
                        <a:pt x="56" y="186"/>
                      </a:lnTo>
                      <a:lnTo>
                        <a:pt x="56" y="190"/>
                      </a:lnTo>
                      <a:lnTo>
                        <a:pt x="60" y="190"/>
                      </a:lnTo>
                      <a:lnTo>
                        <a:pt x="64" y="190"/>
                      </a:lnTo>
                      <a:lnTo>
                        <a:pt x="66" y="190"/>
                      </a:lnTo>
                      <a:lnTo>
                        <a:pt x="70" y="190"/>
                      </a:lnTo>
                      <a:lnTo>
                        <a:pt x="70" y="186"/>
                      </a:lnTo>
                      <a:lnTo>
                        <a:pt x="74" y="186"/>
                      </a:lnTo>
                      <a:lnTo>
                        <a:pt x="74" y="190"/>
                      </a:lnTo>
                      <a:lnTo>
                        <a:pt x="78" y="190"/>
                      </a:lnTo>
                      <a:lnTo>
                        <a:pt x="82" y="190"/>
                      </a:lnTo>
                      <a:lnTo>
                        <a:pt x="86" y="190"/>
                      </a:lnTo>
                      <a:lnTo>
                        <a:pt x="90" y="190"/>
                      </a:lnTo>
                      <a:lnTo>
                        <a:pt x="94" y="190"/>
                      </a:lnTo>
                      <a:lnTo>
                        <a:pt x="96" y="190"/>
                      </a:lnTo>
                      <a:lnTo>
                        <a:pt x="96" y="186"/>
                      </a:lnTo>
                      <a:lnTo>
                        <a:pt x="94" y="190"/>
                      </a:lnTo>
                      <a:lnTo>
                        <a:pt x="90" y="190"/>
                      </a:lnTo>
                      <a:lnTo>
                        <a:pt x="86" y="190"/>
                      </a:lnTo>
                      <a:lnTo>
                        <a:pt x="82" y="190"/>
                      </a:lnTo>
                      <a:lnTo>
                        <a:pt x="78" y="190"/>
                      </a:lnTo>
                      <a:lnTo>
                        <a:pt x="78" y="186"/>
                      </a:lnTo>
                      <a:lnTo>
                        <a:pt x="74" y="186"/>
                      </a:lnTo>
                      <a:lnTo>
                        <a:pt x="70" y="186"/>
                      </a:lnTo>
                      <a:lnTo>
                        <a:pt x="66" y="186"/>
                      </a:lnTo>
                      <a:lnTo>
                        <a:pt x="64" y="186"/>
                      </a:lnTo>
                      <a:lnTo>
                        <a:pt x="60" y="186"/>
                      </a:lnTo>
                      <a:lnTo>
                        <a:pt x="56" y="186"/>
                      </a:lnTo>
                      <a:lnTo>
                        <a:pt x="60" y="186"/>
                      </a:lnTo>
                      <a:lnTo>
                        <a:pt x="64" y="182"/>
                      </a:lnTo>
                      <a:lnTo>
                        <a:pt x="66" y="182"/>
                      </a:lnTo>
                      <a:lnTo>
                        <a:pt x="70" y="182"/>
                      </a:lnTo>
                      <a:lnTo>
                        <a:pt x="74" y="182"/>
                      </a:lnTo>
                      <a:lnTo>
                        <a:pt x="78" y="182"/>
                      </a:lnTo>
                      <a:lnTo>
                        <a:pt x="82" y="182"/>
                      </a:lnTo>
                      <a:lnTo>
                        <a:pt x="86" y="182"/>
                      </a:lnTo>
                      <a:lnTo>
                        <a:pt x="90" y="182"/>
                      </a:lnTo>
                      <a:lnTo>
                        <a:pt x="90" y="186"/>
                      </a:lnTo>
                      <a:lnTo>
                        <a:pt x="94" y="186"/>
                      </a:lnTo>
                      <a:lnTo>
                        <a:pt x="96" y="186"/>
                      </a:lnTo>
                      <a:lnTo>
                        <a:pt x="94" y="186"/>
                      </a:lnTo>
                      <a:lnTo>
                        <a:pt x="90" y="182"/>
                      </a:lnTo>
                      <a:lnTo>
                        <a:pt x="94" y="182"/>
                      </a:lnTo>
                      <a:lnTo>
                        <a:pt x="96" y="182"/>
                      </a:lnTo>
                      <a:lnTo>
                        <a:pt x="96" y="178"/>
                      </a:lnTo>
                      <a:lnTo>
                        <a:pt x="96" y="174"/>
                      </a:lnTo>
                      <a:lnTo>
                        <a:pt x="94" y="174"/>
                      </a:lnTo>
                      <a:lnTo>
                        <a:pt x="90" y="174"/>
                      </a:lnTo>
                      <a:lnTo>
                        <a:pt x="86" y="174"/>
                      </a:lnTo>
                      <a:lnTo>
                        <a:pt x="82" y="174"/>
                      </a:lnTo>
                      <a:lnTo>
                        <a:pt x="82" y="178"/>
                      </a:lnTo>
                      <a:lnTo>
                        <a:pt x="78" y="178"/>
                      </a:lnTo>
                      <a:lnTo>
                        <a:pt x="74" y="178"/>
                      </a:lnTo>
                      <a:lnTo>
                        <a:pt x="70" y="178"/>
                      </a:lnTo>
                      <a:lnTo>
                        <a:pt x="66" y="178"/>
                      </a:lnTo>
                      <a:lnTo>
                        <a:pt x="64" y="178"/>
                      </a:lnTo>
                      <a:lnTo>
                        <a:pt x="66" y="178"/>
                      </a:lnTo>
                      <a:lnTo>
                        <a:pt x="64" y="178"/>
                      </a:lnTo>
                      <a:lnTo>
                        <a:pt x="64" y="174"/>
                      </a:lnTo>
                      <a:lnTo>
                        <a:pt x="60" y="174"/>
                      </a:lnTo>
                      <a:lnTo>
                        <a:pt x="60" y="178"/>
                      </a:lnTo>
                      <a:lnTo>
                        <a:pt x="64" y="178"/>
                      </a:lnTo>
                      <a:lnTo>
                        <a:pt x="60" y="178"/>
                      </a:lnTo>
                      <a:lnTo>
                        <a:pt x="56" y="178"/>
                      </a:lnTo>
                      <a:lnTo>
                        <a:pt x="56" y="182"/>
                      </a:lnTo>
                      <a:lnTo>
                        <a:pt x="52" y="182"/>
                      </a:lnTo>
                      <a:lnTo>
                        <a:pt x="52" y="178"/>
                      </a:lnTo>
                      <a:lnTo>
                        <a:pt x="48" y="178"/>
                      </a:lnTo>
                      <a:lnTo>
                        <a:pt x="44" y="178"/>
                      </a:lnTo>
                      <a:lnTo>
                        <a:pt x="40" y="178"/>
                      </a:lnTo>
                      <a:lnTo>
                        <a:pt x="38" y="178"/>
                      </a:lnTo>
                      <a:lnTo>
                        <a:pt x="40" y="174"/>
                      </a:lnTo>
                      <a:lnTo>
                        <a:pt x="44" y="174"/>
                      </a:lnTo>
                      <a:lnTo>
                        <a:pt x="48" y="174"/>
                      </a:lnTo>
                      <a:lnTo>
                        <a:pt x="48" y="172"/>
                      </a:lnTo>
                      <a:lnTo>
                        <a:pt x="48" y="174"/>
                      </a:lnTo>
                      <a:lnTo>
                        <a:pt x="44" y="174"/>
                      </a:lnTo>
                      <a:lnTo>
                        <a:pt x="40" y="174"/>
                      </a:lnTo>
                      <a:lnTo>
                        <a:pt x="38" y="174"/>
                      </a:lnTo>
                      <a:lnTo>
                        <a:pt x="34" y="174"/>
                      </a:lnTo>
                      <a:lnTo>
                        <a:pt x="34" y="172"/>
                      </a:lnTo>
                      <a:lnTo>
                        <a:pt x="38" y="172"/>
                      </a:lnTo>
                      <a:lnTo>
                        <a:pt x="40" y="172"/>
                      </a:lnTo>
                      <a:lnTo>
                        <a:pt x="38" y="172"/>
                      </a:lnTo>
                      <a:lnTo>
                        <a:pt x="34" y="172"/>
                      </a:lnTo>
                      <a:lnTo>
                        <a:pt x="30" y="172"/>
                      </a:lnTo>
                      <a:lnTo>
                        <a:pt x="26" y="172"/>
                      </a:lnTo>
                      <a:lnTo>
                        <a:pt x="22" y="172"/>
                      </a:lnTo>
                      <a:lnTo>
                        <a:pt x="26" y="172"/>
                      </a:lnTo>
                      <a:lnTo>
                        <a:pt x="26" y="168"/>
                      </a:lnTo>
                      <a:lnTo>
                        <a:pt x="22" y="168"/>
                      </a:lnTo>
                      <a:lnTo>
                        <a:pt x="22" y="172"/>
                      </a:lnTo>
                      <a:lnTo>
                        <a:pt x="18" y="172"/>
                      </a:lnTo>
                      <a:lnTo>
                        <a:pt x="18" y="168"/>
                      </a:lnTo>
                      <a:lnTo>
                        <a:pt x="14" y="168"/>
                      </a:lnTo>
                      <a:lnTo>
                        <a:pt x="10" y="168"/>
                      </a:lnTo>
                      <a:lnTo>
                        <a:pt x="8" y="164"/>
                      </a:lnTo>
                      <a:lnTo>
                        <a:pt x="10" y="164"/>
                      </a:lnTo>
                      <a:lnTo>
                        <a:pt x="8" y="164"/>
                      </a:lnTo>
                      <a:lnTo>
                        <a:pt x="4" y="164"/>
                      </a:lnTo>
                      <a:lnTo>
                        <a:pt x="0" y="160"/>
                      </a:lnTo>
                      <a:lnTo>
                        <a:pt x="4" y="160"/>
                      </a:lnTo>
                      <a:lnTo>
                        <a:pt x="4" y="158"/>
                      </a:lnTo>
                      <a:lnTo>
                        <a:pt x="8" y="158"/>
                      </a:lnTo>
                      <a:lnTo>
                        <a:pt x="4" y="158"/>
                      </a:lnTo>
                      <a:lnTo>
                        <a:pt x="4" y="154"/>
                      </a:lnTo>
                      <a:lnTo>
                        <a:pt x="8" y="154"/>
                      </a:lnTo>
                      <a:lnTo>
                        <a:pt x="4" y="154"/>
                      </a:lnTo>
                      <a:lnTo>
                        <a:pt x="8" y="150"/>
                      </a:lnTo>
                      <a:lnTo>
                        <a:pt x="10" y="150"/>
                      </a:lnTo>
                      <a:lnTo>
                        <a:pt x="14" y="150"/>
                      </a:lnTo>
                      <a:lnTo>
                        <a:pt x="18" y="150"/>
                      </a:lnTo>
                      <a:lnTo>
                        <a:pt x="22" y="150"/>
                      </a:lnTo>
                      <a:lnTo>
                        <a:pt x="26" y="150"/>
                      </a:lnTo>
                      <a:lnTo>
                        <a:pt x="30" y="150"/>
                      </a:lnTo>
                      <a:lnTo>
                        <a:pt x="30" y="146"/>
                      </a:lnTo>
                      <a:lnTo>
                        <a:pt x="34" y="146"/>
                      </a:lnTo>
                      <a:lnTo>
                        <a:pt x="38" y="146"/>
                      </a:lnTo>
                      <a:lnTo>
                        <a:pt x="40" y="146"/>
                      </a:lnTo>
                      <a:lnTo>
                        <a:pt x="44" y="146"/>
                      </a:lnTo>
                      <a:lnTo>
                        <a:pt x="40" y="146"/>
                      </a:lnTo>
                      <a:lnTo>
                        <a:pt x="40" y="142"/>
                      </a:lnTo>
                      <a:lnTo>
                        <a:pt x="44" y="142"/>
                      </a:lnTo>
                      <a:lnTo>
                        <a:pt x="48" y="142"/>
                      </a:lnTo>
                      <a:lnTo>
                        <a:pt x="52" y="142"/>
                      </a:lnTo>
                      <a:lnTo>
                        <a:pt x="56" y="142"/>
                      </a:lnTo>
                      <a:lnTo>
                        <a:pt x="60" y="142"/>
                      </a:lnTo>
                      <a:lnTo>
                        <a:pt x="56" y="142"/>
                      </a:lnTo>
                      <a:lnTo>
                        <a:pt x="56" y="138"/>
                      </a:lnTo>
                      <a:lnTo>
                        <a:pt x="60" y="138"/>
                      </a:lnTo>
                      <a:lnTo>
                        <a:pt x="66" y="134"/>
                      </a:lnTo>
                      <a:lnTo>
                        <a:pt x="70" y="134"/>
                      </a:lnTo>
                      <a:lnTo>
                        <a:pt x="74" y="138"/>
                      </a:lnTo>
                      <a:lnTo>
                        <a:pt x="74" y="134"/>
                      </a:lnTo>
                      <a:lnTo>
                        <a:pt x="78" y="134"/>
                      </a:lnTo>
                      <a:lnTo>
                        <a:pt x="82" y="134"/>
                      </a:lnTo>
                      <a:lnTo>
                        <a:pt x="86" y="134"/>
                      </a:lnTo>
                      <a:lnTo>
                        <a:pt x="90" y="134"/>
                      </a:lnTo>
                      <a:lnTo>
                        <a:pt x="94" y="134"/>
                      </a:lnTo>
                      <a:lnTo>
                        <a:pt x="96" y="134"/>
                      </a:lnTo>
                      <a:lnTo>
                        <a:pt x="100" y="134"/>
                      </a:lnTo>
                      <a:lnTo>
                        <a:pt x="104" y="130"/>
                      </a:lnTo>
                      <a:lnTo>
                        <a:pt x="108" y="128"/>
                      </a:lnTo>
                      <a:lnTo>
                        <a:pt x="110" y="128"/>
                      </a:lnTo>
                      <a:lnTo>
                        <a:pt x="110" y="124"/>
                      </a:lnTo>
                      <a:lnTo>
                        <a:pt x="114" y="124"/>
                      </a:lnTo>
                      <a:lnTo>
                        <a:pt x="114" y="120"/>
                      </a:lnTo>
                      <a:lnTo>
                        <a:pt x="110" y="120"/>
                      </a:lnTo>
                      <a:lnTo>
                        <a:pt x="110" y="116"/>
                      </a:lnTo>
                      <a:lnTo>
                        <a:pt x="110" y="112"/>
                      </a:lnTo>
                      <a:lnTo>
                        <a:pt x="110" y="108"/>
                      </a:lnTo>
                      <a:lnTo>
                        <a:pt x="114" y="108"/>
                      </a:lnTo>
                      <a:lnTo>
                        <a:pt x="122" y="108"/>
                      </a:lnTo>
                      <a:lnTo>
                        <a:pt x="122" y="104"/>
                      </a:lnTo>
                      <a:lnTo>
                        <a:pt x="126" y="104"/>
                      </a:lnTo>
                      <a:lnTo>
                        <a:pt x="130" y="104"/>
                      </a:lnTo>
                      <a:lnTo>
                        <a:pt x="126" y="104"/>
                      </a:lnTo>
                      <a:lnTo>
                        <a:pt x="122" y="104"/>
                      </a:lnTo>
                      <a:lnTo>
                        <a:pt x="122" y="100"/>
                      </a:lnTo>
                      <a:lnTo>
                        <a:pt x="122" y="104"/>
                      </a:lnTo>
                      <a:lnTo>
                        <a:pt x="118" y="104"/>
                      </a:lnTo>
                      <a:lnTo>
                        <a:pt x="114" y="104"/>
                      </a:lnTo>
                      <a:lnTo>
                        <a:pt x="114" y="108"/>
                      </a:lnTo>
                      <a:lnTo>
                        <a:pt x="110" y="108"/>
                      </a:lnTo>
                      <a:lnTo>
                        <a:pt x="110" y="104"/>
                      </a:lnTo>
                      <a:lnTo>
                        <a:pt x="108" y="104"/>
                      </a:lnTo>
                      <a:lnTo>
                        <a:pt x="108" y="108"/>
                      </a:lnTo>
                      <a:lnTo>
                        <a:pt x="104" y="108"/>
                      </a:lnTo>
                      <a:lnTo>
                        <a:pt x="100" y="108"/>
                      </a:lnTo>
                      <a:lnTo>
                        <a:pt x="96" y="108"/>
                      </a:lnTo>
                      <a:lnTo>
                        <a:pt x="96" y="104"/>
                      </a:lnTo>
                      <a:lnTo>
                        <a:pt x="94" y="104"/>
                      </a:lnTo>
                      <a:lnTo>
                        <a:pt x="90" y="104"/>
                      </a:lnTo>
                      <a:lnTo>
                        <a:pt x="90" y="108"/>
                      </a:lnTo>
                      <a:lnTo>
                        <a:pt x="86" y="108"/>
                      </a:lnTo>
                      <a:lnTo>
                        <a:pt x="82" y="108"/>
                      </a:lnTo>
                      <a:lnTo>
                        <a:pt x="82" y="104"/>
                      </a:lnTo>
                      <a:lnTo>
                        <a:pt x="78" y="104"/>
                      </a:lnTo>
                      <a:lnTo>
                        <a:pt x="78" y="100"/>
                      </a:lnTo>
                      <a:lnTo>
                        <a:pt x="78" y="98"/>
                      </a:lnTo>
                      <a:lnTo>
                        <a:pt x="82" y="98"/>
                      </a:lnTo>
                      <a:lnTo>
                        <a:pt x="86" y="98"/>
                      </a:lnTo>
                      <a:lnTo>
                        <a:pt x="90" y="94"/>
                      </a:lnTo>
                      <a:lnTo>
                        <a:pt x="94" y="94"/>
                      </a:lnTo>
                      <a:lnTo>
                        <a:pt x="94" y="90"/>
                      </a:lnTo>
                      <a:lnTo>
                        <a:pt x="96" y="90"/>
                      </a:lnTo>
                      <a:lnTo>
                        <a:pt x="100" y="90"/>
                      </a:lnTo>
                      <a:lnTo>
                        <a:pt x="104" y="90"/>
                      </a:lnTo>
                      <a:lnTo>
                        <a:pt x="104" y="86"/>
                      </a:lnTo>
                      <a:lnTo>
                        <a:pt x="108" y="86"/>
                      </a:lnTo>
                      <a:lnTo>
                        <a:pt x="110" y="86"/>
                      </a:lnTo>
                      <a:lnTo>
                        <a:pt x="110" y="82"/>
                      </a:lnTo>
                      <a:lnTo>
                        <a:pt x="114" y="82"/>
                      </a:lnTo>
                      <a:lnTo>
                        <a:pt x="114" y="78"/>
                      </a:lnTo>
                      <a:lnTo>
                        <a:pt x="118" y="78"/>
                      </a:lnTo>
                      <a:lnTo>
                        <a:pt x="122" y="78"/>
                      </a:lnTo>
                      <a:lnTo>
                        <a:pt x="126" y="78"/>
                      </a:lnTo>
                      <a:lnTo>
                        <a:pt x="130" y="78"/>
                      </a:lnTo>
                      <a:lnTo>
                        <a:pt x="130" y="74"/>
                      </a:lnTo>
                      <a:lnTo>
                        <a:pt x="134" y="74"/>
                      </a:lnTo>
                      <a:lnTo>
                        <a:pt x="134" y="78"/>
                      </a:lnTo>
                      <a:lnTo>
                        <a:pt x="136" y="82"/>
                      </a:lnTo>
                      <a:lnTo>
                        <a:pt x="140" y="86"/>
                      </a:lnTo>
                      <a:lnTo>
                        <a:pt x="144" y="86"/>
                      </a:lnTo>
                      <a:lnTo>
                        <a:pt x="140" y="86"/>
                      </a:lnTo>
                      <a:lnTo>
                        <a:pt x="140" y="82"/>
                      </a:lnTo>
                      <a:lnTo>
                        <a:pt x="136" y="82"/>
                      </a:lnTo>
                      <a:lnTo>
                        <a:pt x="136" y="78"/>
                      </a:lnTo>
                      <a:lnTo>
                        <a:pt x="136" y="74"/>
                      </a:lnTo>
                      <a:lnTo>
                        <a:pt x="140" y="72"/>
                      </a:lnTo>
                      <a:lnTo>
                        <a:pt x="144" y="72"/>
                      </a:lnTo>
                      <a:lnTo>
                        <a:pt x="144" y="74"/>
                      </a:lnTo>
                      <a:lnTo>
                        <a:pt x="148" y="74"/>
                      </a:lnTo>
                      <a:lnTo>
                        <a:pt x="152" y="74"/>
                      </a:lnTo>
                      <a:lnTo>
                        <a:pt x="156" y="74"/>
                      </a:lnTo>
                      <a:lnTo>
                        <a:pt x="160" y="78"/>
                      </a:lnTo>
                      <a:lnTo>
                        <a:pt x="164" y="78"/>
                      </a:lnTo>
                      <a:lnTo>
                        <a:pt x="164" y="74"/>
                      </a:lnTo>
                      <a:lnTo>
                        <a:pt x="166" y="74"/>
                      </a:lnTo>
                      <a:lnTo>
                        <a:pt x="170" y="74"/>
                      </a:lnTo>
                      <a:lnTo>
                        <a:pt x="166" y="74"/>
                      </a:lnTo>
                      <a:lnTo>
                        <a:pt x="166" y="72"/>
                      </a:lnTo>
                      <a:lnTo>
                        <a:pt x="164" y="68"/>
                      </a:lnTo>
                      <a:lnTo>
                        <a:pt x="166" y="68"/>
                      </a:lnTo>
                      <a:lnTo>
                        <a:pt x="170" y="68"/>
                      </a:lnTo>
                      <a:lnTo>
                        <a:pt x="170" y="64"/>
                      </a:lnTo>
                      <a:lnTo>
                        <a:pt x="166" y="64"/>
                      </a:lnTo>
                      <a:lnTo>
                        <a:pt x="166" y="60"/>
                      </a:lnTo>
                      <a:lnTo>
                        <a:pt x="164" y="60"/>
                      </a:lnTo>
                      <a:lnTo>
                        <a:pt x="164" y="56"/>
                      </a:lnTo>
                      <a:lnTo>
                        <a:pt x="166" y="56"/>
                      </a:lnTo>
                      <a:lnTo>
                        <a:pt x="170" y="52"/>
                      </a:lnTo>
                      <a:lnTo>
                        <a:pt x="174" y="52"/>
                      </a:lnTo>
                      <a:lnTo>
                        <a:pt x="178" y="52"/>
                      </a:lnTo>
                      <a:lnTo>
                        <a:pt x="182" y="52"/>
                      </a:lnTo>
                      <a:lnTo>
                        <a:pt x="186" y="52"/>
                      </a:lnTo>
                      <a:lnTo>
                        <a:pt x="190" y="52"/>
                      </a:lnTo>
                      <a:lnTo>
                        <a:pt x="194" y="52"/>
                      </a:lnTo>
                      <a:lnTo>
                        <a:pt x="196" y="52"/>
                      </a:lnTo>
                      <a:lnTo>
                        <a:pt x="200" y="52"/>
                      </a:lnTo>
                      <a:lnTo>
                        <a:pt x="200" y="56"/>
                      </a:lnTo>
                      <a:lnTo>
                        <a:pt x="200" y="60"/>
                      </a:lnTo>
                      <a:lnTo>
                        <a:pt x="204" y="60"/>
                      </a:lnTo>
                      <a:lnTo>
                        <a:pt x="212" y="60"/>
                      </a:lnTo>
                      <a:lnTo>
                        <a:pt x="212" y="64"/>
                      </a:lnTo>
                      <a:lnTo>
                        <a:pt x="216" y="64"/>
                      </a:lnTo>
                      <a:lnTo>
                        <a:pt x="216" y="60"/>
                      </a:lnTo>
                      <a:lnTo>
                        <a:pt x="216" y="64"/>
                      </a:lnTo>
                      <a:lnTo>
                        <a:pt x="220" y="64"/>
                      </a:lnTo>
                      <a:lnTo>
                        <a:pt x="222" y="64"/>
                      </a:lnTo>
                      <a:lnTo>
                        <a:pt x="222" y="68"/>
                      </a:lnTo>
                      <a:lnTo>
                        <a:pt x="226" y="68"/>
                      </a:lnTo>
                      <a:lnTo>
                        <a:pt x="230" y="68"/>
                      </a:lnTo>
                      <a:lnTo>
                        <a:pt x="230" y="72"/>
                      </a:lnTo>
                      <a:lnTo>
                        <a:pt x="234" y="72"/>
                      </a:lnTo>
                      <a:lnTo>
                        <a:pt x="234" y="68"/>
                      </a:lnTo>
                      <a:lnTo>
                        <a:pt x="230" y="68"/>
                      </a:lnTo>
                      <a:lnTo>
                        <a:pt x="226" y="68"/>
                      </a:lnTo>
                      <a:lnTo>
                        <a:pt x="222" y="68"/>
                      </a:lnTo>
                      <a:lnTo>
                        <a:pt x="222" y="64"/>
                      </a:lnTo>
                      <a:lnTo>
                        <a:pt x="220" y="64"/>
                      </a:lnTo>
                      <a:lnTo>
                        <a:pt x="216" y="60"/>
                      </a:lnTo>
                      <a:lnTo>
                        <a:pt x="212" y="60"/>
                      </a:lnTo>
                      <a:lnTo>
                        <a:pt x="208" y="60"/>
                      </a:lnTo>
                      <a:lnTo>
                        <a:pt x="208" y="56"/>
                      </a:lnTo>
                      <a:lnTo>
                        <a:pt x="204" y="52"/>
                      </a:lnTo>
                      <a:lnTo>
                        <a:pt x="200" y="52"/>
                      </a:lnTo>
                      <a:lnTo>
                        <a:pt x="196" y="52"/>
                      </a:lnTo>
                      <a:lnTo>
                        <a:pt x="194" y="52"/>
                      </a:lnTo>
                      <a:lnTo>
                        <a:pt x="194" y="48"/>
                      </a:lnTo>
                      <a:lnTo>
                        <a:pt x="190" y="48"/>
                      </a:lnTo>
                      <a:lnTo>
                        <a:pt x="194" y="48"/>
                      </a:lnTo>
                      <a:lnTo>
                        <a:pt x="196" y="48"/>
                      </a:lnTo>
                      <a:lnTo>
                        <a:pt x="200" y="44"/>
                      </a:lnTo>
                      <a:lnTo>
                        <a:pt x="204" y="44"/>
                      </a:lnTo>
                      <a:lnTo>
                        <a:pt x="208" y="44"/>
                      </a:lnTo>
                      <a:lnTo>
                        <a:pt x="212" y="44"/>
                      </a:lnTo>
                      <a:lnTo>
                        <a:pt x="216" y="44"/>
                      </a:lnTo>
                      <a:lnTo>
                        <a:pt x="220" y="44"/>
                      </a:lnTo>
                      <a:lnTo>
                        <a:pt x="222" y="44"/>
                      </a:lnTo>
                      <a:lnTo>
                        <a:pt x="226" y="44"/>
                      </a:lnTo>
                      <a:lnTo>
                        <a:pt x="230" y="42"/>
                      </a:lnTo>
                      <a:lnTo>
                        <a:pt x="234" y="42"/>
                      </a:lnTo>
                      <a:lnTo>
                        <a:pt x="234" y="44"/>
                      </a:lnTo>
                      <a:lnTo>
                        <a:pt x="238" y="44"/>
                      </a:lnTo>
                      <a:lnTo>
                        <a:pt x="238" y="42"/>
                      </a:lnTo>
                      <a:lnTo>
                        <a:pt x="242" y="42"/>
                      </a:lnTo>
                      <a:lnTo>
                        <a:pt x="246" y="42"/>
                      </a:lnTo>
                      <a:lnTo>
                        <a:pt x="250" y="42"/>
                      </a:lnTo>
                      <a:lnTo>
                        <a:pt x="250" y="44"/>
                      </a:lnTo>
                      <a:lnTo>
                        <a:pt x="252" y="44"/>
                      </a:lnTo>
                      <a:lnTo>
                        <a:pt x="252" y="42"/>
                      </a:lnTo>
                      <a:lnTo>
                        <a:pt x="250" y="42"/>
                      </a:lnTo>
                      <a:lnTo>
                        <a:pt x="246" y="42"/>
                      </a:lnTo>
                      <a:lnTo>
                        <a:pt x="252" y="42"/>
                      </a:lnTo>
                      <a:lnTo>
                        <a:pt x="256" y="38"/>
                      </a:lnTo>
                      <a:lnTo>
                        <a:pt x="260" y="38"/>
                      </a:lnTo>
                      <a:lnTo>
                        <a:pt x="264" y="38"/>
                      </a:lnTo>
                      <a:lnTo>
                        <a:pt x="268" y="42"/>
                      </a:lnTo>
                      <a:lnTo>
                        <a:pt x="272" y="42"/>
                      </a:lnTo>
                      <a:lnTo>
                        <a:pt x="276" y="44"/>
                      </a:lnTo>
                      <a:lnTo>
                        <a:pt x="276" y="52"/>
                      </a:lnTo>
                      <a:lnTo>
                        <a:pt x="276" y="56"/>
                      </a:lnTo>
                      <a:lnTo>
                        <a:pt x="272" y="56"/>
                      </a:lnTo>
                      <a:lnTo>
                        <a:pt x="272" y="60"/>
                      </a:lnTo>
                      <a:lnTo>
                        <a:pt x="272" y="64"/>
                      </a:lnTo>
                      <a:lnTo>
                        <a:pt x="276" y="64"/>
                      </a:lnTo>
                      <a:lnTo>
                        <a:pt x="276" y="60"/>
                      </a:lnTo>
                      <a:lnTo>
                        <a:pt x="278" y="56"/>
                      </a:lnTo>
                      <a:lnTo>
                        <a:pt x="282" y="56"/>
                      </a:lnTo>
                      <a:lnTo>
                        <a:pt x="282" y="52"/>
                      </a:lnTo>
                      <a:lnTo>
                        <a:pt x="282" y="48"/>
                      </a:lnTo>
                      <a:lnTo>
                        <a:pt x="286" y="48"/>
                      </a:lnTo>
                      <a:lnTo>
                        <a:pt x="290" y="48"/>
                      </a:lnTo>
                      <a:lnTo>
                        <a:pt x="298" y="52"/>
                      </a:lnTo>
                      <a:lnTo>
                        <a:pt x="302" y="52"/>
                      </a:lnTo>
                      <a:lnTo>
                        <a:pt x="306" y="52"/>
                      </a:lnTo>
                      <a:lnTo>
                        <a:pt x="308" y="52"/>
                      </a:lnTo>
                      <a:lnTo>
                        <a:pt x="312" y="56"/>
                      </a:lnTo>
                      <a:lnTo>
                        <a:pt x="316" y="56"/>
                      </a:lnTo>
                      <a:lnTo>
                        <a:pt x="320" y="56"/>
                      </a:lnTo>
                      <a:lnTo>
                        <a:pt x="320" y="60"/>
                      </a:lnTo>
                      <a:lnTo>
                        <a:pt x="324" y="60"/>
                      </a:lnTo>
                      <a:lnTo>
                        <a:pt x="328" y="60"/>
                      </a:lnTo>
                      <a:lnTo>
                        <a:pt x="332" y="60"/>
                      </a:lnTo>
                      <a:lnTo>
                        <a:pt x="328" y="60"/>
                      </a:lnTo>
                      <a:lnTo>
                        <a:pt x="324" y="56"/>
                      </a:lnTo>
                      <a:lnTo>
                        <a:pt x="320" y="56"/>
                      </a:lnTo>
                      <a:lnTo>
                        <a:pt x="316" y="56"/>
                      </a:lnTo>
                      <a:lnTo>
                        <a:pt x="316" y="52"/>
                      </a:lnTo>
                      <a:lnTo>
                        <a:pt x="312" y="52"/>
                      </a:lnTo>
                      <a:lnTo>
                        <a:pt x="308" y="52"/>
                      </a:lnTo>
                      <a:lnTo>
                        <a:pt x="312" y="52"/>
                      </a:lnTo>
                      <a:lnTo>
                        <a:pt x="316" y="52"/>
                      </a:lnTo>
                      <a:lnTo>
                        <a:pt x="320" y="52"/>
                      </a:lnTo>
                      <a:lnTo>
                        <a:pt x="324" y="52"/>
                      </a:lnTo>
                      <a:lnTo>
                        <a:pt x="328" y="52"/>
                      </a:lnTo>
                      <a:lnTo>
                        <a:pt x="332" y="52"/>
                      </a:lnTo>
                      <a:lnTo>
                        <a:pt x="328" y="48"/>
                      </a:lnTo>
                      <a:lnTo>
                        <a:pt x="324" y="48"/>
                      </a:lnTo>
                      <a:lnTo>
                        <a:pt x="320" y="48"/>
                      </a:lnTo>
                      <a:lnTo>
                        <a:pt x="320" y="44"/>
                      </a:lnTo>
                      <a:lnTo>
                        <a:pt x="316" y="44"/>
                      </a:lnTo>
                      <a:lnTo>
                        <a:pt x="312" y="44"/>
                      </a:lnTo>
                      <a:lnTo>
                        <a:pt x="312" y="42"/>
                      </a:lnTo>
                      <a:lnTo>
                        <a:pt x="312" y="38"/>
                      </a:lnTo>
                      <a:lnTo>
                        <a:pt x="308" y="38"/>
                      </a:lnTo>
                      <a:lnTo>
                        <a:pt x="308" y="34"/>
                      </a:lnTo>
                      <a:lnTo>
                        <a:pt x="312" y="34"/>
                      </a:lnTo>
                      <a:lnTo>
                        <a:pt x="316" y="34"/>
                      </a:lnTo>
                      <a:lnTo>
                        <a:pt x="320" y="34"/>
                      </a:lnTo>
                      <a:lnTo>
                        <a:pt x="324" y="34"/>
                      </a:lnTo>
                      <a:lnTo>
                        <a:pt x="328" y="34"/>
                      </a:lnTo>
                      <a:lnTo>
                        <a:pt x="332" y="34"/>
                      </a:lnTo>
                      <a:lnTo>
                        <a:pt x="334" y="34"/>
                      </a:lnTo>
                      <a:lnTo>
                        <a:pt x="338" y="34"/>
                      </a:lnTo>
                      <a:lnTo>
                        <a:pt x="338" y="38"/>
                      </a:lnTo>
                      <a:lnTo>
                        <a:pt x="342" y="38"/>
                      </a:lnTo>
                      <a:lnTo>
                        <a:pt x="346" y="38"/>
                      </a:lnTo>
                      <a:lnTo>
                        <a:pt x="346" y="42"/>
                      </a:lnTo>
                      <a:lnTo>
                        <a:pt x="350" y="42"/>
                      </a:lnTo>
                      <a:lnTo>
                        <a:pt x="354" y="42"/>
                      </a:lnTo>
                      <a:lnTo>
                        <a:pt x="358" y="42"/>
                      </a:lnTo>
                      <a:lnTo>
                        <a:pt x="362" y="42"/>
                      </a:lnTo>
                      <a:lnTo>
                        <a:pt x="362" y="44"/>
                      </a:lnTo>
                      <a:lnTo>
                        <a:pt x="364" y="44"/>
                      </a:lnTo>
                      <a:lnTo>
                        <a:pt x="368" y="44"/>
                      </a:lnTo>
                      <a:lnTo>
                        <a:pt x="372" y="44"/>
                      </a:lnTo>
                      <a:lnTo>
                        <a:pt x="376" y="44"/>
                      </a:lnTo>
                      <a:lnTo>
                        <a:pt x="376" y="48"/>
                      </a:lnTo>
                      <a:lnTo>
                        <a:pt x="380" y="48"/>
                      </a:lnTo>
                      <a:lnTo>
                        <a:pt x="384" y="48"/>
                      </a:lnTo>
                      <a:lnTo>
                        <a:pt x="384" y="52"/>
                      </a:lnTo>
                      <a:lnTo>
                        <a:pt x="380" y="52"/>
                      </a:lnTo>
                      <a:lnTo>
                        <a:pt x="384" y="52"/>
                      </a:lnTo>
                      <a:lnTo>
                        <a:pt x="388" y="52"/>
                      </a:lnTo>
                      <a:lnTo>
                        <a:pt x="392" y="52"/>
                      </a:lnTo>
                      <a:lnTo>
                        <a:pt x="392" y="56"/>
                      </a:lnTo>
                      <a:lnTo>
                        <a:pt x="394" y="56"/>
                      </a:lnTo>
                      <a:lnTo>
                        <a:pt x="398" y="56"/>
                      </a:lnTo>
                      <a:lnTo>
                        <a:pt x="402" y="56"/>
                      </a:lnTo>
                      <a:lnTo>
                        <a:pt x="406" y="56"/>
                      </a:lnTo>
                      <a:lnTo>
                        <a:pt x="406" y="52"/>
                      </a:lnTo>
                      <a:lnTo>
                        <a:pt x="402" y="52"/>
                      </a:lnTo>
                      <a:lnTo>
                        <a:pt x="398" y="52"/>
                      </a:lnTo>
                      <a:lnTo>
                        <a:pt x="402" y="52"/>
                      </a:lnTo>
                      <a:lnTo>
                        <a:pt x="402" y="48"/>
                      </a:lnTo>
                      <a:lnTo>
                        <a:pt x="398" y="48"/>
                      </a:lnTo>
                      <a:lnTo>
                        <a:pt x="394" y="48"/>
                      </a:lnTo>
                      <a:lnTo>
                        <a:pt x="398" y="48"/>
                      </a:lnTo>
                      <a:lnTo>
                        <a:pt x="402" y="48"/>
                      </a:lnTo>
                      <a:lnTo>
                        <a:pt x="402" y="44"/>
                      </a:lnTo>
                      <a:lnTo>
                        <a:pt x="398" y="44"/>
                      </a:lnTo>
                      <a:lnTo>
                        <a:pt x="398" y="42"/>
                      </a:lnTo>
                      <a:lnTo>
                        <a:pt x="402" y="42"/>
                      </a:lnTo>
                      <a:lnTo>
                        <a:pt x="406" y="42"/>
                      </a:lnTo>
                      <a:lnTo>
                        <a:pt x="410" y="42"/>
                      </a:lnTo>
                      <a:lnTo>
                        <a:pt x="414" y="42"/>
                      </a:lnTo>
                      <a:lnTo>
                        <a:pt x="418" y="42"/>
                      </a:lnTo>
                      <a:lnTo>
                        <a:pt x="420" y="42"/>
                      </a:lnTo>
                      <a:lnTo>
                        <a:pt x="424" y="42"/>
                      </a:lnTo>
                      <a:lnTo>
                        <a:pt x="428" y="42"/>
                      </a:lnTo>
                      <a:lnTo>
                        <a:pt x="432" y="42"/>
                      </a:lnTo>
                      <a:lnTo>
                        <a:pt x="428" y="42"/>
                      </a:lnTo>
                      <a:lnTo>
                        <a:pt x="424" y="42"/>
                      </a:lnTo>
                      <a:lnTo>
                        <a:pt x="420" y="42"/>
                      </a:lnTo>
                      <a:lnTo>
                        <a:pt x="418" y="42"/>
                      </a:lnTo>
                      <a:lnTo>
                        <a:pt x="414" y="42"/>
                      </a:lnTo>
                      <a:lnTo>
                        <a:pt x="414" y="38"/>
                      </a:lnTo>
                      <a:lnTo>
                        <a:pt x="410" y="38"/>
                      </a:lnTo>
                      <a:lnTo>
                        <a:pt x="414" y="38"/>
                      </a:lnTo>
                      <a:lnTo>
                        <a:pt x="410" y="38"/>
                      </a:lnTo>
                      <a:lnTo>
                        <a:pt x="406" y="34"/>
                      </a:lnTo>
                      <a:lnTo>
                        <a:pt x="402" y="34"/>
                      </a:lnTo>
                      <a:lnTo>
                        <a:pt x="398" y="34"/>
                      </a:lnTo>
                      <a:lnTo>
                        <a:pt x="398" y="30"/>
                      </a:lnTo>
                      <a:lnTo>
                        <a:pt x="394" y="30"/>
                      </a:lnTo>
                      <a:lnTo>
                        <a:pt x="392" y="30"/>
                      </a:lnTo>
                      <a:lnTo>
                        <a:pt x="388" y="26"/>
                      </a:lnTo>
                      <a:lnTo>
                        <a:pt x="384" y="26"/>
                      </a:lnTo>
                      <a:lnTo>
                        <a:pt x="388" y="26"/>
                      </a:lnTo>
                      <a:lnTo>
                        <a:pt x="392" y="26"/>
                      </a:lnTo>
                      <a:lnTo>
                        <a:pt x="394" y="26"/>
                      </a:lnTo>
                      <a:lnTo>
                        <a:pt x="398" y="26"/>
                      </a:lnTo>
                      <a:lnTo>
                        <a:pt x="402" y="26"/>
                      </a:lnTo>
                      <a:lnTo>
                        <a:pt x="406" y="26"/>
                      </a:lnTo>
                      <a:lnTo>
                        <a:pt x="410" y="26"/>
                      </a:lnTo>
                      <a:lnTo>
                        <a:pt x="414" y="26"/>
                      </a:lnTo>
                      <a:lnTo>
                        <a:pt x="418" y="26"/>
                      </a:lnTo>
                      <a:lnTo>
                        <a:pt x="420" y="26"/>
                      </a:lnTo>
                      <a:lnTo>
                        <a:pt x="424" y="26"/>
                      </a:lnTo>
                      <a:lnTo>
                        <a:pt x="428" y="26"/>
                      </a:lnTo>
                      <a:lnTo>
                        <a:pt x="432" y="26"/>
                      </a:lnTo>
                      <a:lnTo>
                        <a:pt x="436" y="26"/>
                      </a:lnTo>
                      <a:lnTo>
                        <a:pt x="436" y="30"/>
                      </a:lnTo>
                      <a:lnTo>
                        <a:pt x="440" y="30"/>
                      </a:lnTo>
                      <a:lnTo>
                        <a:pt x="440" y="34"/>
                      </a:lnTo>
                      <a:lnTo>
                        <a:pt x="442" y="34"/>
                      </a:lnTo>
                      <a:lnTo>
                        <a:pt x="442" y="30"/>
                      </a:lnTo>
                      <a:lnTo>
                        <a:pt x="440" y="26"/>
                      </a:lnTo>
                      <a:lnTo>
                        <a:pt x="442" y="26"/>
                      </a:lnTo>
                      <a:lnTo>
                        <a:pt x="446" y="26"/>
                      </a:lnTo>
                      <a:lnTo>
                        <a:pt x="446" y="30"/>
                      </a:lnTo>
                      <a:lnTo>
                        <a:pt x="454" y="30"/>
                      </a:lnTo>
                      <a:lnTo>
                        <a:pt x="458" y="30"/>
                      </a:lnTo>
                      <a:lnTo>
                        <a:pt x="458" y="34"/>
                      </a:lnTo>
                      <a:lnTo>
                        <a:pt x="462" y="34"/>
                      </a:lnTo>
                      <a:lnTo>
                        <a:pt x="464" y="34"/>
                      </a:lnTo>
                      <a:lnTo>
                        <a:pt x="464" y="38"/>
                      </a:lnTo>
                      <a:lnTo>
                        <a:pt x="468" y="38"/>
                      </a:lnTo>
                      <a:lnTo>
                        <a:pt x="468" y="34"/>
                      </a:lnTo>
                      <a:lnTo>
                        <a:pt x="464" y="34"/>
                      </a:lnTo>
                      <a:lnTo>
                        <a:pt x="464" y="30"/>
                      </a:lnTo>
                      <a:lnTo>
                        <a:pt x="468" y="30"/>
                      </a:lnTo>
                      <a:lnTo>
                        <a:pt x="464" y="30"/>
                      </a:lnTo>
                      <a:lnTo>
                        <a:pt x="464" y="26"/>
                      </a:lnTo>
                      <a:lnTo>
                        <a:pt x="462" y="26"/>
                      </a:lnTo>
                      <a:lnTo>
                        <a:pt x="458" y="26"/>
                      </a:lnTo>
                      <a:lnTo>
                        <a:pt x="454" y="26"/>
                      </a:lnTo>
                      <a:lnTo>
                        <a:pt x="450" y="26"/>
                      </a:lnTo>
                      <a:lnTo>
                        <a:pt x="446" y="26"/>
                      </a:lnTo>
                      <a:lnTo>
                        <a:pt x="442" y="26"/>
                      </a:lnTo>
                      <a:lnTo>
                        <a:pt x="442" y="22"/>
                      </a:lnTo>
                      <a:lnTo>
                        <a:pt x="436" y="22"/>
                      </a:lnTo>
                      <a:lnTo>
                        <a:pt x="432" y="22"/>
                      </a:lnTo>
                      <a:lnTo>
                        <a:pt x="428" y="22"/>
                      </a:lnTo>
                      <a:lnTo>
                        <a:pt x="424" y="22"/>
                      </a:lnTo>
                      <a:lnTo>
                        <a:pt x="418" y="22"/>
                      </a:lnTo>
                      <a:lnTo>
                        <a:pt x="414" y="22"/>
                      </a:lnTo>
                      <a:lnTo>
                        <a:pt x="410" y="22"/>
                      </a:lnTo>
                      <a:lnTo>
                        <a:pt x="406" y="22"/>
                      </a:lnTo>
                      <a:lnTo>
                        <a:pt x="402" y="22"/>
                      </a:lnTo>
                      <a:lnTo>
                        <a:pt x="398" y="22"/>
                      </a:lnTo>
                      <a:lnTo>
                        <a:pt x="394" y="22"/>
                      </a:lnTo>
                      <a:lnTo>
                        <a:pt x="398" y="22"/>
                      </a:lnTo>
                      <a:lnTo>
                        <a:pt x="394" y="22"/>
                      </a:lnTo>
                      <a:lnTo>
                        <a:pt x="392" y="22"/>
                      </a:lnTo>
                      <a:lnTo>
                        <a:pt x="388" y="22"/>
                      </a:lnTo>
                      <a:lnTo>
                        <a:pt x="384" y="22"/>
                      </a:lnTo>
                      <a:lnTo>
                        <a:pt x="380" y="22"/>
                      </a:lnTo>
                      <a:lnTo>
                        <a:pt x="376" y="22"/>
                      </a:lnTo>
                      <a:lnTo>
                        <a:pt x="372" y="22"/>
                      </a:lnTo>
                      <a:lnTo>
                        <a:pt x="368" y="18"/>
                      </a:lnTo>
                      <a:lnTo>
                        <a:pt x="376" y="18"/>
                      </a:lnTo>
                      <a:lnTo>
                        <a:pt x="380" y="22"/>
                      </a:lnTo>
                      <a:lnTo>
                        <a:pt x="380" y="18"/>
                      </a:lnTo>
                      <a:lnTo>
                        <a:pt x="376" y="18"/>
                      </a:lnTo>
                      <a:lnTo>
                        <a:pt x="372" y="18"/>
                      </a:lnTo>
                      <a:lnTo>
                        <a:pt x="376" y="18"/>
                      </a:lnTo>
                      <a:lnTo>
                        <a:pt x="380" y="18"/>
                      </a:lnTo>
                      <a:lnTo>
                        <a:pt x="380" y="16"/>
                      </a:lnTo>
                      <a:lnTo>
                        <a:pt x="384" y="16"/>
                      </a:lnTo>
                      <a:lnTo>
                        <a:pt x="384" y="18"/>
                      </a:lnTo>
                      <a:lnTo>
                        <a:pt x="388" y="18"/>
                      </a:lnTo>
                      <a:lnTo>
                        <a:pt x="392" y="18"/>
                      </a:lnTo>
                      <a:lnTo>
                        <a:pt x="394" y="18"/>
                      </a:lnTo>
                      <a:lnTo>
                        <a:pt x="394" y="22"/>
                      </a:lnTo>
                      <a:lnTo>
                        <a:pt x="398" y="22"/>
                      </a:lnTo>
                      <a:lnTo>
                        <a:pt x="398" y="18"/>
                      </a:lnTo>
                      <a:lnTo>
                        <a:pt x="402" y="18"/>
                      </a:lnTo>
                      <a:lnTo>
                        <a:pt x="402" y="22"/>
                      </a:lnTo>
                      <a:lnTo>
                        <a:pt x="410" y="22"/>
                      </a:lnTo>
                      <a:lnTo>
                        <a:pt x="414" y="22"/>
                      </a:lnTo>
                      <a:lnTo>
                        <a:pt x="418" y="22"/>
                      </a:lnTo>
                      <a:lnTo>
                        <a:pt x="414" y="22"/>
                      </a:lnTo>
                      <a:lnTo>
                        <a:pt x="410" y="22"/>
                      </a:lnTo>
                      <a:lnTo>
                        <a:pt x="406" y="22"/>
                      </a:lnTo>
                      <a:lnTo>
                        <a:pt x="406" y="18"/>
                      </a:lnTo>
                      <a:lnTo>
                        <a:pt x="402" y="18"/>
                      </a:lnTo>
                      <a:lnTo>
                        <a:pt x="398" y="18"/>
                      </a:lnTo>
                      <a:lnTo>
                        <a:pt x="394" y="18"/>
                      </a:lnTo>
                      <a:lnTo>
                        <a:pt x="392" y="18"/>
                      </a:lnTo>
                      <a:lnTo>
                        <a:pt x="388" y="16"/>
                      </a:lnTo>
                      <a:lnTo>
                        <a:pt x="392" y="16"/>
                      </a:lnTo>
                      <a:lnTo>
                        <a:pt x="394" y="16"/>
                      </a:lnTo>
                      <a:lnTo>
                        <a:pt x="398" y="16"/>
                      </a:lnTo>
                      <a:lnTo>
                        <a:pt x="402" y="16"/>
                      </a:lnTo>
                      <a:lnTo>
                        <a:pt x="406" y="16"/>
                      </a:lnTo>
                      <a:lnTo>
                        <a:pt x="410" y="16"/>
                      </a:lnTo>
                      <a:lnTo>
                        <a:pt x="414" y="16"/>
                      </a:lnTo>
                      <a:lnTo>
                        <a:pt x="418" y="16"/>
                      </a:lnTo>
                      <a:lnTo>
                        <a:pt x="420" y="16"/>
                      </a:lnTo>
                      <a:lnTo>
                        <a:pt x="424" y="16"/>
                      </a:lnTo>
                      <a:lnTo>
                        <a:pt x="420" y="16"/>
                      </a:lnTo>
                      <a:lnTo>
                        <a:pt x="418" y="16"/>
                      </a:lnTo>
                      <a:lnTo>
                        <a:pt x="414" y="16"/>
                      </a:lnTo>
                      <a:lnTo>
                        <a:pt x="410" y="16"/>
                      </a:lnTo>
                      <a:lnTo>
                        <a:pt x="410" y="12"/>
                      </a:lnTo>
                      <a:lnTo>
                        <a:pt x="414" y="12"/>
                      </a:lnTo>
                      <a:lnTo>
                        <a:pt x="418" y="12"/>
                      </a:lnTo>
                      <a:lnTo>
                        <a:pt x="420" y="12"/>
                      </a:lnTo>
                      <a:lnTo>
                        <a:pt x="424" y="12"/>
                      </a:lnTo>
                      <a:lnTo>
                        <a:pt x="420" y="12"/>
                      </a:lnTo>
                      <a:lnTo>
                        <a:pt x="424" y="12"/>
                      </a:lnTo>
                      <a:lnTo>
                        <a:pt x="428" y="12"/>
                      </a:lnTo>
                      <a:lnTo>
                        <a:pt x="432" y="12"/>
                      </a:lnTo>
                      <a:lnTo>
                        <a:pt x="436" y="12"/>
                      </a:lnTo>
                      <a:lnTo>
                        <a:pt x="440" y="12"/>
                      </a:lnTo>
                      <a:lnTo>
                        <a:pt x="442" y="16"/>
                      </a:lnTo>
                      <a:lnTo>
                        <a:pt x="440" y="16"/>
                      </a:lnTo>
                      <a:lnTo>
                        <a:pt x="442" y="16"/>
                      </a:lnTo>
                      <a:lnTo>
                        <a:pt x="446" y="16"/>
                      </a:lnTo>
                      <a:lnTo>
                        <a:pt x="450" y="16"/>
                      </a:lnTo>
                      <a:lnTo>
                        <a:pt x="450" y="18"/>
                      </a:lnTo>
                      <a:lnTo>
                        <a:pt x="454" y="18"/>
                      </a:lnTo>
                      <a:lnTo>
                        <a:pt x="458" y="18"/>
                      </a:lnTo>
                      <a:lnTo>
                        <a:pt x="464" y="18"/>
                      </a:lnTo>
                      <a:lnTo>
                        <a:pt x="468" y="18"/>
                      </a:lnTo>
                      <a:lnTo>
                        <a:pt x="472" y="18"/>
                      </a:lnTo>
                      <a:lnTo>
                        <a:pt x="480" y="22"/>
                      </a:lnTo>
                      <a:lnTo>
                        <a:pt x="480" y="26"/>
                      </a:lnTo>
                      <a:lnTo>
                        <a:pt x="484" y="26"/>
                      </a:lnTo>
                      <a:lnTo>
                        <a:pt x="488" y="26"/>
                      </a:lnTo>
                      <a:lnTo>
                        <a:pt x="484" y="26"/>
                      </a:lnTo>
                      <a:lnTo>
                        <a:pt x="484" y="22"/>
                      </a:lnTo>
                      <a:lnTo>
                        <a:pt x="480" y="22"/>
                      </a:lnTo>
                      <a:lnTo>
                        <a:pt x="476" y="18"/>
                      </a:lnTo>
                      <a:lnTo>
                        <a:pt x="480" y="18"/>
                      </a:lnTo>
                      <a:lnTo>
                        <a:pt x="484" y="18"/>
                      </a:lnTo>
                      <a:lnTo>
                        <a:pt x="488" y="18"/>
                      </a:lnTo>
                      <a:lnTo>
                        <a:pt x="490" y="18"/>
                      </a:lnTo>
                      <a:lnTo>
                        <a:pt x="498" y="18"/>
                      </a:lnTo>
                      <a:lnTo>
                        <a:pt x="502" y="18"/>
                      </a:lnTo>
                      <a:lnTo>
                        <a:pt x="506" y="18"/>
                      </a:lnTo>
                      <a:lnTo>
                        <a:pt x="502" y="18"/>
                      </a:lnTo>
                      <a:lnTo>
                        <a:pt x="498" y="18"/>
                      </a:lnTo>
                      <a:lnTo>
                        <a:pt x="490" y="18"/>
                      </a:lnTo>
                      <a:lnTo>
                        <a:pt x="488" y="18"/>
                      </a:lnTo>
                      <a:lnTo>
                        <a:pt x="484" y="18"/>
                      </a:lnTo>
                      <a:lnTo>
                        <a:pt x="484" y="16"/>
                      </a:lnTo>
                      <a:lnTo>
                        <a:pt x="488" y="16"/>
                      </a:lnTo>
                      <a:lnTo>
                        <a:pt x="490" y="16"/>
                      </a:lnTo>
                      <a:lnTo>
                        <a:pt x="494" y="16"/>
                      </a:lnTo>
                      <a:lnTo>
                        <a:pt x="498" y="16"/>
                      </a:lnTo>
                      <a:lnTo>
                        <a:pt x="502" y="16"/>
                      </a:lnTo>
                      <a:lnTo>
                        <a:pt x="506" y="16"/>
                      </a:lnTo>
                      <a:lnTo>
                        <a:pt x="510" y="16"/>
                      </a:lnTo>
                      <a:lnTo>
                        <a:pt x="506" y="16"/>
                      </a:lnTo>
                      <a:lnTo>
                        <a:pt x="502" y="16"/>
                      </a:lnTo>
                      <a:lnTo>
                        <a:pt x="498" y="16"/>
                      </a:lnTo>
                      <a:lnTo>
                        <a:pt x="494" y="12"/>
                      </a:lnTo>
                      <a:lnTo>
                        <a:pt x="490" y="12"/>
                      </a:lnTo>
                      <a:lnTo>
                        <a:pt x="488" y="12"/>
                      </a:lnTo>
                      <a:lnTo>
                        <a:pt x="484" y="12"/>
                      </a:lnTo>
                      <a:lnTo>
                        <a:pt x="484" y="8"/>
                      </a:lnTo>
                      <a:lnTo>
                        <a:pt x="488" y="8"/>
                      </a:lnTo>
                      <a:lnTo>
                        <a:pt x="490" y="8"/>
                      </a:lnTo>
                      <a:lnTo>
                        <a:pt x="494" y="8"/>
                      </a:lnTo>
                      <a:lnTo>
                        <a:pt x="498" y="8"/>
                      </a:lnTo>
                      <a:lnTo>
                        <a:pt x="494" y="8"/>
                      </a:lnTo>
                      <a:lnTo>
                        <a:pt x="494" y="4"/>
                      </a:lnTo>
                      <a:lnTo>
                        <a:pt x="498" y="4"/>
                      </a:lnTo>
                      <a:lnTo>
                        <a:pt x="502" y="4"/>
                      </a:lnTo>
                      <a:lnTo>
                        <a:pt x="506" y="4"/>
                      </a:lnTo>
                      <a:lnTo>
                        <a:pt x="510" y="8"/>
                      </a:lnTo>
                      <a:lnTo>
                        <a:pt x="514" y="8"/>
                      </a:lnTo>
                      <a:lnTo>
                        <a:pt x="518" y="8"/>
                      </a:lnTo>
                      <a:lnTo>
                        <a:pt x="514" y="8"/>
                      </a:lnTo>
                      <a:lnTo>
                        <a:pt x="514" y="4"/>
                      </a:lnTo>
                      <a:lnTo>
                        <a:pt x="510" y="4"/>
                      </a:lnTo>
                      <a:lnTo>
                        <a:pt x="514" y="4"/>
                      </a:lnTo>
                      <a:lnTo>
                        <a:pt x="518" y="4"/>
                      </a:lnTo>
                      <a:lnTo>
                        <a:pt x="520" y="4"/>
                      </a:lnTo>
                      <a:lnTo>
                        <a:pt x="524" y="4"/>
                      </a:lnTo>
                      <a:lnTo>
                        <a:pt x="528" y="4"/>
                      </a:lnTo>
                      <a:lnTo>
                        <a:pt x="532" y="4"/>
                      </a:lnTo>
                      <a:lnTo>
                        <a:pt x="536" y="0"/>
                      </a:lnTo>
                      <a:lnTo>
                        <a:pt x="540" y="0"/>
                      </a:lnTo>
                      <a:lnTo>
                        <a:pt x="544" y="0"/>
                      </a:lnTo>
                      <a:lnTo>
                        <a:pt x="544" y="4"/>
                      </a:lnTo>
                      <a:lnTo>
                        <a:pt x="544" y="0"/>
                      </a:lnTo>
                      <a:lnTo>
                        <a:pt x="546" y="0"/>
                      </a:lnTo>
                      <a:lnTo>
                        <a:pt x="546" y="4"/>
                      </a:lnTo>
                      <a:lnTo>
                        <a:pt x="550" y="4"/>
                      </a:lnTo>
                      <a:lnTo>
                        <a:pt x="554" y="4"/>
                      </a:lnTo>
                      <a:lnTo>
                        <a:pt x="550" y="4"/>
                      </a:lnTo>
                      <a:lnTo>
                        <a:pt x="550" y="0"/>
                      </a:lnTo>
                      <a:lnTo>
                        <a:pt x="554" y="0"/>
                      </a:lnTo>
                      <a:lnTo>
                        <a:pt x="558" y="0"/>
                      </a:lnTo>
                      <a:lnTo>
                        <a:pt x="562" y="0"/>
                      </a:lnTo>
                      <a:lnTo>
                        <a:pt x="566" y="0"/>
                      </a:lnTo>
                      <a:lnTo>
                        <a:pt x="570" y="0"/>
                      </a:lnTo>
                      <a:lnTo>
                        <a:pt x="574" y="0"/>
                      </a:lnTo>
                      <a:lnTo>
                        <a:pt x="576" y="0"/>
                      </a:lnTo>
                      <a:lnTo>
                        <a:pt x="574" y="0"/>
                      </a:lnTo>
                      <a:lnTo>
                        <a:pt x="576" y="0"/>
                      </a:lnTo>
                      <a:lnTo>
                        <a:pt x="580" y="0"/>
                      </a:lnTo>
                      <a:lnTo>
                        <a:pt x="584" y="0"/>
                      </a:lnTo>
                      <a:lnTo>
                        <a:pt x="588" y="0"/>
                      </a:lnTo>
                      <a:lnTo>
                        <a:pt x="592" y="0"/>
                      </a:lnTo>
                      <a:lnTo>
                        <a:pt x="596" y="0"/>
                      </a:lnTo>
                      <a:lnTo>
                        <a:pt x="600" y="0"/>
                      </a:lnTo>
                      <a:lnTo>
                        <a:pt x="604" y="0"/>
                      </a:lnTo>
                      <a:lnTo>
                        <a:pt x="610" y="0"/>
                      </a:lnTo>
                      <a:lnTo>
                        <a:pt x="614" y="4"/>
                      </a:lnTo>
                      <a:lnTo>
                        <a:pt x="618" y="4"/>
                      </a:lnTo>
                      <a:lnTo>
                        <a:pt x="622" y="4"/>
                      </a:lnTo>
                      <a:lnTo>
                        <a:pt x="626" y="4"/>
                      </a:lnTo>
                      <a:lnTo>
                        <a:pt x="630" y="4"/>
                      </a:lnTo>
                      <a:lnTo>
                        <a:pt x="626" y="4"/>
                      </a:lnTo>
                      <a:lnTo>
                        <a:pt x="622" y="4"/>
                      </a:lnTo>
                      <a:lnTo>
                        <a:pt x="626" y="8"/>
                      </a:lnTo>
                      <a:lnTo>
                        <a:pt x="630" y="8"/>
                      </a:lnTo>
                      <a:lnTo>
                        <a:pt x="632" y="8"/>
                      </a:lnTo>
                      <a:lnTo>
                        <a:pt x="630" y="4"/>
                      </a:lnTo>
                      <a:lnTo>
                        <a:pt x="632" y="4"/>
                      </a:lnTo>
                      <a:lnTo>
                        <a:pt x="636" y="4"/>
                      </a:lnTo>
                      <a:lnTo>
                        <a:pt x="640" y="4"/>
                      </a:lnTo>
                      <a:lnTo>
                        <a:pt x="644" y="4"/>
                      </a:lnTo>
                      <a:lnTo>
                        <a:pt x="648" y="4"/>
                      </a:lnTo>
                      <a:lnTo>
                        <a:pt x="652" y="8"/>
                      </a:lnTo>
                      <a:lnTo>
                        <a:pt x="660" y="8"/>
                      </a:lnTo>
                      <a:lnTo>
                        <a:pt x="662" y="8"/>
                      </a:lnTo>
                      <a:lnTo>
                        <a:pt x="666" y="8"/>
                      </a:lnTo>
                      <a:lnTo>
                        <a:pt x="670" y="12"/>
                      </a:lnTo>
                      <a:lnTo>
                        <a:pt x="666" y="12"/>
                      </a:lnTo>
                      <a:lnTo>
                        <a:pt x="662" y="12"/>
                      </a:lnTo>
                      <a:lnTo>
                        <a:pt x="660" y="12"/>
                      </a:lnTo>
                      <a:lnTo>
                        <a:pt x="656" y="16"/>
                      </a:lnTo>
                      <a:lnTo>
                        <a:pt x="652" y="16"/>
                      </a:lnTo>
                      <a:lnTo>
                        <a:pt x="648" y="16"/>
                      </a:lnTo>
                      <a:lnTo>
                        <a:pt x="644" y="16"/>
                      </a:lnTo>
                      <a:lnTo>
                        <a:pt x="640" y="16"/>
                      </a:lnTo>
                      <a:lnTo>
                        <a:pt x="636" y="16"/>
                      </a:lnTo>
                      <a:lnTo>
                        <a:pt x="632" y="16"/>
                      </a:lnTo>
                      <a:lnTo>
                        <a:pt x="630" y="16"/>
                      </a:lnTo>
                      <a:lnTo>
                        <a:pt x="626" y="16"/>
                      </a:lnTo>
                      <a:lnTo>
                        <a:pt x="618" y="16"/>
                      </a:lnTo>
                      <a:lnTo>
                        <a:pt x="614" y="16"/>
                      </a:lnTo>
                      <a:lnTo>
                        <a:pt x="610" y="16"/>
                      </a:lnTo>
                      <a:lnTo>
                        <a:pt x="606" y="16"/>
                      </a:lnTo>
                      <a:lnTo>
                        <a:pt x="604" y="16"/>
                      </a:lnTo>
                      <a:lnTo>
                        <a:pt x="600" y="16"/>
                      </a:lnTo>
                      <a:lnTo>
                        <a:pt x="596" y="16"/>
                      </a:lnTo>
                      <a:lnTo>
                        <a:pt x="592" y="16"/>
                      </a:lnTo>
                      <a:lnTo>
                        <a:pt x="588" y="16"/>
                      </a:lnTo>
                      <a:lnTo>
                        <a:pt x="584" y="16"/>
                      </a:lnTo>
                      <a:lnTo>
                        <a:pt x="584" y="18"/>
                      </a:lnTo>
                      <a:lnTo>
                        <a:pt x="580" y="18"/>
                      </a:lnTo>
                      <a:lnTo>
                        <a:pt x="576" y="18"/>
                      </a:lnTo>
                      <a:lnTo>
                        <a:pt x="574" y="16"/>
                      </a:lnTo>
                      <a:lnTo>
                        <a:pt x="570" y="16"/>
                      </a:lnTo>
                      <a:lnTo>
                        <a:pt x="562" y="16"/>
                      </a:lnTo>
                      <a:lnTo>
                        <a:pt x="558" y="16"/>
                      </a:lnTo>
                      <a:lnTo>
                        <a:pt x="562" y="16"/>
                      </a:lnTo>
                      <a:lnTo>
                        <a:pt x="566" y="16"/>
                      </a:lnTo>
                      <a:lnTo>
                        <a:pt x="570" y="16"/>
                      </a:lnTo>
                      <a:lnTo>
                        <a:pt x="574" y="18"/>
                      </a:lnTo>
                      <a:lnTo>
                        <a:pt x="570" y="18"/>
                      </a:lnTo>
                      <a:lnTo>
                        <a:pt x="566" y="18"/>
                      </a:lnTo>
                      <a:lnTo>
                        <a:pt x="562" y="18"/>
                      </a:lnTo>
                      <a:lnTo>
                        <a:pt x="558" y="18"/>
                      </a:lnTo>
                      <a:lnTo>
                        <a:pt x="554" y="18"/>
                      </a:lnTo>
                      <a:lnTo>
                        <a:pt x="550" y="22"/>
                      </a:lnTo>
                      <a:lnTo>
                        <a:pt x="546" y="22"/>
                      </a:lnTo>
                      <a:lnTo>
                        <a:pt x="544" y="22"/>
                      </a:lnTo>
                      <a:lnTo>
                        <a:pt x="540" y="22"/>
                      </a:lnTo>
                      <a:lnTo>
                        <a:pt x="536" y="22"/>
                      </a:lnTo>
                      <a:lnTo>
                        <a:pt x="532" y="22"/>
                      </a:lnTo>
                      <a:lnTo>
                        <a:pt x="528" y="22"/>
                      </a:lnTo>
                      <a:lnTo>
                        <a:pt x="532" y="22"/>
                      </a:lnTo>
                      <a:lnTo>
                        <a:pt x="528" y="26"/>
                      </a:lnTo>
                      <a:lnTo>
                        <a:pt x="532" y="26"/>
                      </a:lnTo>
                      <a:lnTo>
                        <a:pt x="532" y="22"/>
                      </a:lnTo>
                      <a:lnTo>
                        <a:pt x="536" y="22"/>
                      </a:lnTo>
                      <a:lnTo>
                        <a:pt x="540" y="22"/>
                      </a:lnTo>
                      <a:lnTo>
                        <a:pt x="544" y="22"/>
                      </a:lnTo>
                      <a:lnTo>
                        <a:pt x="546" y="22"/>
                      </a:lnTo>
                      <a:lnTo>
                        <a:pt x="550" y="22"/>
                      </a:lnTo>
                      <a:lnTo>
                        <a:pt x="554" y="22"/>
                      </a:lnTo>
                      <a:lnTo>
                        <a:pt x="554" y="26"/>
                      </a:lnTo>
                      <a:lnTo>
                        <a:pt x="550" y="26"/>
                      </a:lnTo>
                      <a:lnTo>
                        <a:pt x="554" y="26"/>
                      </a:lnTo>
                      <a:lnTo>
                        <a:pt x="554" y="22"/>
                      </a:lnTo>
                      <a:lnTo>
                        <a:pt x="558" y="22"/>
                      </a:lnTo>
                      <a:lnTo>
                        <a:pt x="558" y="18"/>
                      </a:lnTo>
                      <a:lnTo>
                        <a:pt x="562" y="18"/>
                      </a:lnTo>
                      <a:lnTo>
                        <a:pt x="566" y="18"/>
                      </a:lnTo>
                      <a:lnTo>
                        <a:pt x="574" y="18"/>
                      </a:lnTo>
                      <a:lnTo>
                        <a:pt x="576" y="18"/>
                      </a:lnTo>
                      <a:lnTo>
                        <a:pt x="580" y="18"/>
                      </a:lnTo>
                      <a:lnTo>
                        <a:pt x="584" y="18"/>
                      </a:lnTo>
                      <a:lnTo>
                        <a:pt x="584" y="22"/>
                      </a:lnTo>
                      <a:lnTo>
                        <a:pt x="584" y="18"/>
                      </a:lnTo>
                      <a:lnTo>
                        <a:pt x="588" y="18"/>
                      </a:lnTo>
                      <a:lnTo>
                        <a:pt x="592" y="18"/>
                      </a:lnTo>
                      <a:lnTo>
                        <a:pt x="596" y="18"/>
                      </a:lnTo>
                      <a:lnTo>
                        <a:pt x="596" y="16"/>
                      </a:lnTo>
                      <a:lnTo>
                        <a:pt x="600" y="16"/>
                      </a:lnTo>
                      <a:lnTo>
                        <a:pt x="604" y="16"/>
                      </a:lnTo>
                      <a:lnTo>
                        <a:pt x="606" y="16"/>
                      </a:lnTo>
                      <a:lnTo>
                        <a:pt x="610" y="16"/>
                      </a:lnTo>
                      <a:lnTo>
                        <a:pt x="614" y="16"/>
                      </a:lnTo>
                      <a:lnTo>
                        <a:pt x="618" y="16"/>
                      </a:lnTo>
                      <a:lnTo>
                        <a:pt x="622" y="16"/>
                      </a:lnTo>
                      <a:lnTo>
                        <a:pt x="626" y="16"/>
                      </a:lnTo>
                      <a:lnTo>
                        <a:pt x="630" y="16"/>
                      </a:lnTo>
                      <a:lnTo>
                        <a:pt x="632" y="18"/>
                      </a:lnTo>
                      <a:lnTo>
                        <a:pt x="636" y="18"/>
                      </a:lnTo>
                      <a:lnTo>
                        <a:pt x="636" y="16"/>
                      </a:lnTo>
                      <a:lnTo>
                        <a:pt x="640" y="18"/>
                      </a:lnTo>
                      <a:lnTo>
                        <a:pt x="648" y="18"/>
                      </a:lnTo>
                      <a:lnTo>
                        <a:pt x="656" y="18"/>
                      </a:lnTo>
                      <a:lnTo>
                        <a:pt x="656" y="16"/>
                      </a:lnTo>
                      <a:lnTo>
                        <a:pt x="660" y="16"/>
                      </a:lnTo>
                      <a:lnTo>
                        <a:pt x="662" y="16"/>
                      </a:lnTo>
                      <a:lnTo>
                        <a:pt x="666" y="16"/>
                      </a:lnTo>
                      <a:lnTo>
                        <a:pt x="670" y="16"/>
                      </a:lnTo>
                      <a:lnTo>
                        <a:pt x="674" y="16"/>
                      </a:lnTo>
                      <a:lnTo>
                        <a:pt x="678" y="16"/>
                      </a:lnTo>
                      <a:lnTo>
                        <a:pt x="682" y="16"/>
                      </a:lnTo>
                      <a:lnTo>
                        <a:pt x="678" y="16"/>
                      </a:lnTo>
                      <a:lnTo>
                        <a:pt x="678" y="18"/>
                      </a:lnTo>
                      <a:lnTo>
                        <a:pt x="682" y="18"/>
                      </a:lnTo>
                      <a:lnTo>
                        <a:pt x="678" y="22"/>
                      </a:lnTo>
                      <a:lnTo>
                        <a:pt x="674" y="22"/>
                      </a:lnTo>
                      <a:lnTo>
                        <a:pt x="670" y="26"/>
                      </a:lnTo>
                      <a:lnTo>
                        <a:pt x="666" y="26"/>
                      </a:lnTo>
                      <a:lnTo>
                        <a:pt x="670" y="26"/>
                      </a:lnTo>
                      <a:lnTo>
                        <a:pt x="674" y="26"/>
                      </a:lnTo>
                      <a:lnTo>
                        <a:pt x="678" y="26"/>
                      </a:lnTo>
                      <a:lnTo>
                        <a:pt x="678" y="22"/>
                      </a:lnTo>
                      <a:lnTo>
                        <a:pt x="682" y="22"/>
                      </a:lnTo>
                      <a:lnTo>
                        <a:pt x="686" y="22"/>
                      </a:lnTo>
                      <a:lnTo>
                        <a:pt x="688" y="22"/>
                      </a:lnTo>
                      <a:lnTo>
                        <a:pt x="692" y="22"/>
                      </a:lnTo>
                      <a:lnTo>
                        <a:pt x="696" y="22"/>
                      </a:lnTo>
                      <a:lnTo>
                        <a:pt x="692" y="22"/>
                      </a:lnTo>
                      <a:lnTo>
                        <a:pt x="692" y="26"/>
                      </a:lnTo>
                      <a:lnTo>
                        <a:pt x="696" y="26"/>
                      </a:lnTo>
                      <a:lnTo>
                        <a:pt x="696" y="22"/>
                      </a:lnTo>
                      <a:lnTo>
                        <a:pt x="700" y="22"/>
                      </a:lnTo>
                      <a:lnTo>
                        <a:pt x="704" y="22"/>
                      </a:lnTo>
                      <a:lnTo>
                        <a:pt x="704" y="26"/>
                      </a:lnTo>
                      <a:lnTo>
                        <a:pt x="708" y="26"/>
                      </a:lnTo>
                      <a:lnTo>
                        <a:pt x="712" y="26"/>
                      </a:lnTo>
                      <a:lnTo>
                        <a:pt x="716" y="26"/>
                      </a:lnTo>
                      <a:lnTo>
                        <a:pt x="718" y="26"/>
                      </a:lnTo>
                      <a:lnTo>
                        <a:pt x="722" y="30"/>
                      </a:lnTo>
                      <a:lnTo>
                        <a:pt x="726" y="30"/>
                      </a:lnTo>
                      <a:lnTo>
                        <a:pt x="730" y="30"/>
                      </a:lnTo>
                      <a:lnTo>
                        <a:pt x="730" y="34"/>
                      </a:lnTo>
                      <a:lnTo>
                        <a:pt x="722" y="34"/>
                      </a:lnTo>
                      <a:lnTo>
                        <a:pt x="718" y="34"/>
                      </a:lnTo>
                      <a:lnTo>
                        <a:pt x="718" y="38"/>
                      </a:lnTo>
                      <a:lnTo>
                        <a:pt x="716" y="38"/>
                      </a:lnTo>
                      <a:lnTo>
                        <a:pt x="718" y="38"/>
                      </a:lnTo>
                      <a:lnTo>
                        <a:pt x="716" y="38"/>
                      </a:lnTo>
                      <a:lnTo>
                        <a:pt x="716" y="42"/>
                      </a:lnTo>
                      <a:lnTo>
                        <a:pt x="712" y="42"/>
                      </a:lnTo>
                      <a:lnTo>
                        <a:pt x="708" y="42"/>
                      </a:lnTo>
                      <a:lnTo>
                        <a:pt x="704" y="42"/>
                      </a:lnTo>
                      <a:lnTo>
                        <a:pt x="700" y="42"/>
                      </a:lnTo>
                      <a:lnTo>
                        <a:pt x="696" y="42"/>
                      </a:lnTo>
                      <a:lnTo>
                        <a:pt x="688" y="42"/>
                      </a:lnTo>
                      <a:lnTo>
                        <a:pt x="686" y="42"/>
                      </a:lnTo>
                      <a:lnTo>
                        <a:pt x="686" y="44"/>
                      </a:lnTo>
                      <a:lnTo>
                        <a:pt x="682" y="44"/>
                      </a:lnTo>
                      <a:lnTo>
                        <a:pt x="678" y="44"/>
                      </a:lnTo>
                      <a:lnTo>
                        <a:pt x="674" y="44"/>
                      </a:lnTo>
                      <a:lnTo>
                        <a:pt x="666" y="44"/>
                      </a:lnTo>
                      <a:lnTo>
                        <a:pt x="662" y="44"/>
                      </a:lnTo>
                      <a:lnTo>
                        <a:pt x="656" y="44"/>
                      </a:lnTo>
                      <a:lnTo>
                        <a:pt x="652" y="44"/>
                      </a:lnTo>
                      <a:lnTo>
                        <a:pt x="648" y="44"/>
                      </a:lnTo>
                      <a:lnTo>
                        <a:pt x="644" y="44"/>
                      </a:lnTo>
                      <a:lnTo>
                        <a:pt x="640" y="44"/>
                      </a:lnTo>
                      <a:lnTo>
                        <a:pt x="636" y="44"/>
                      </a:lnTo>
                      <a:lnTo>
                        <a:pt x="632" y="44"/>
                      </a:lnTo>
                      <a:lnTo>
                        <a:pt x="630" y="44"/>
                      </a:lnTo>
                      <a:lnTo>
                        <a:pt x="626" y="44"/>
                      </a:lnTo>
                      <a:lnTo>
                        <a:pt x="622" y="44"/>
                      </a:lnTo>
                      <a:lnTo>
                        <a:pt x="618" y="44"/>
                      </a:lnTo>
                      <a:lnTo>
                        <a:pt x="614" y="44"/>
                      </a:lnTo>
                      <a:lnTo>
                        <a:pt x="610" y="44"/>
                      </a:lnTo>
                      <a:lnTo>
                        <a:pt x="606" y="44"/>
                      </a:lnTo>
                      <a:lnTo>
                        <a:pt x="604" y="44"/>
                      </a:lnTo>
                      <a:lnTo>
                        <a:pt x="600" y="44"/>
                      </a:lnTo>
                      <a:lnTo>
                        <a:pt x="596" y="44"/>
                      </a:lnTo>
                      <a:lnTo>
                        <a:pt x="592" y="44"/>
                      </a:lnTo>
                      <a:lnTo>
                        <a:pt x="588" y="44"/>
                      </a:lnTo>
                      <a:lnTo>
                        <a:pt x="584" y="44"/>
                      </a:lnTo>
                      <a:lnTo>
                        <a:pt x="588" y="44"/>
                      </a:lnTo>
                      <a:lnTo>
                        <a:pt x="592" y="44"/>
                      </a:lnTo>
                      <a:lnTo>
                        <a:pt x="600" y="44"/>
                      </a:lnTo>
                      <a:lnTo>
                        <a:pt x="606" y="44"/>
                      </a:lnTo>
                      <a:lnTo>
                        <a:pt x="610" y="44"/>
                      </a:lnTo>
                      <a:lnTo>
                        <a:pt x="606" y="44"/>
                      </a:lnTo>
                      <a:lnTo>
                        <a:pt x="604" y="48"/>
                      </a:lnTo>
                      <a:lnTo>
                        <a:pt x="600" y="48"/>
                      </a:lnTo>
                      <a:lnTo>
                        <a:pt x="596" y="48"/>
                      </a:lnTo>
                      <a:lnTo>
                        <a:pt x="592" y="48"/>
                      </a:lnTo>
                      <a:lnTo>
                        <a:pt x="588" y="48"/>
                      </a:lnTo>
                      <a:lnTo>
                        <a:pt x="584" y="52"/>
                      </a:lnTo>
                      <a:lnTo>
                        <a:pt x="580" y="52"/>
                      </a:lnTo>
                      <a:lnTo>
                        <a:pt x="576" y="52"/>
                      </a:lnTo>
                      <a:lnTo>
                        <a:pt x="574" y="52"/>
                      </a:lnTo>
                      <a:lnTo>
                        <a:pt x="570" y="52"/>
                      </a:lnTo>
                      <a:lnTo>
                        <a:pt x="566" y="52"/>
                      </a:lnTo>
                      <a:lnTo>
                        <a:pt x="566" y="56"/>
                      </a:lnTo>
                      <a:lnTo>
                        <a:pt x="562" y="56"/>
                      </a:lnTo>
                      <a:lnTo>
                        <a:pt x="566" y="60"/>
                      </a:lnTo>
                      <a:lnTo>
                        <a:pt x="570" y="60"/>
                      </a:lnTo>
                      <a:lnTo>
                        <a:pt x="574" y="60"/>
                      </a:lnTo>
                      <a:lnTo>
                        <a:pt x="574" y="56"/>
                      </a:lnTo>
                      <a:lnTo>
                        <a:pt x="580" y="56"/>
                      </a:lnTo>
                      <a:lnTo>
                        <a:pt x="584" y="56"/>
                      </a:lnTo>
                      <a:lnTo>
                        <a:pt x="588" y="52"/>
                      </a:lnTo>
                      <a:lnTo>
                        <a:pt x="592" y="52"/>
                      </a:lnTo>
                      <a:lnTo>
                        <a:pt x="596" y="52"/>
                      </a:lnTo>
                      <a:lnTo>
                        <a:pt x="600" y="52"/>
                      </a:lnTo>
                      <a:lnTo>
                        <a:pt x="604" y="52"/>
                      </a:lnTo>
                      <a:lnTo>
                        <a:pt x="610" y="52"/>
                      </a:lnTo>
                      <a:lnTo>
                        <a:pt x="614" y="52"/>
                      </a:lnTo>
                      <a:lnTo>
                        <a:pt x="622" y="48"/>
                      </a:lnTo>
                      <a:lnTo>
                        <a:pt x="626" y="48"/>
                      </a:lnTo>
                      <a:lnTo>
                        <a:pt x="630" y="48"/>
                      </a:lnTo>
                      <a:lnTo>
                        <a:pt x="636" y="48"/>
                      </a:lnTo>
                      <a:lnTo>
                        <a:pt x="640" y="48"/>
                      </a:lnTo>
                      <a:lnTo>
                        <a:pt x="644" y="48"/>
                      </a:lnTo>
                      <a:lnTo>
                        <a:pt x="648" y="48"/>
                      </a:lnTo>
                      <a:lnTo>
                        <a:pt x="652" y="48"/>
                      </a:lnTo>
                      <a:lnTo>
                        <a:pt x="656" y="48"/>
                      </a:lnTo>
                      <a:lnTo>
                        <a:pt x="660" y="48"/>
                      </a:lnTo>
                      <a:lnTo>
                        <a:pt x="662" y="48"/>
                      </a:lnTo>
                      <a:lnTo>
                        <a:pt x="670" y="48"/>
                      </a:lnTo>
                      <a:lnTo>
                        <a:pt x="674" y="48"/>
                      </a:lnTo>
                      <a:lnTo>
                        <a:pt x="674" y="56"/>
                      </a:lnTo>
                      <a:lnTo>
                        <a:pt x="670" y="56"/>
                      </a:lnTo>
                      <a:lnTo>
                        <a:pt x="666" y="60"/>
                      </a:lnTo>
                      <a:lnTo>
                        <a:pt x="662" y="60"/>
                      </a:lnTo>
                      <a:lnTo>
                        <a:pt x="660" y="60"/>
                      </a:lnTo>
                      <a:lnTo>
                        <a:pt x="656" y="60"/>
                      </a:lnTo>
                      <a:lnTo>
                        <a:pt x="656" y="64"/>
                      </a:lnTo>
                      <a:lnTo>
                        <a:pt x="652" y="64"/>
                      </a:lnTo>
                      <a:lnTo>
                        <a:pt x="648" y="64"/>
                      </a:lnTo>
                      <a:lnTo>
                        <a:pt x="644" y="64"/>
                      </a:lnTo>
                      <a:lnTo>
                        <a:pt x="640" y="64"/>
                      </a:lnTo>
                      <a:lnTo>
                        <a:pt x="644" y="68"/>
                      </a:lnTo>
                      <a:lnTo>
                        <a:pt x="648" y="68"/>
                      </a:lnTo>
                      <a:lnTo>
                        <a:pt x="644" y="68"/>
                      </a:lnTo>
                      <a:lnTo>
                        <a:pt x="640" y="68"/>
                      </a:lnTo>
                      <a:lnTo>
                        <a:pt x="644" y="68"/>
                      </a:lnTo>
                      <a:lnTo>
                        <a:pt x="648" y="68"/>
                      </a:lnTo>
                      <a:lnTo>
                        <a:pt x="652" y="68"/>
                      </a:lnTo>
                      <a:lnTo>
                        <a:pt x="656" y="68"/>
                      </a:lnTo>
                      <a:lnTo>
                        <a:pt x="656" y="64"/>
                      </a:lnTo>
                      <a:lnTo>
                        <a:pt x="660" y="64"/>
                      </a:lnTo>
                      <a:lnTo>
                        <a:pt x="662" y="64"/>
                      </a:lnTo>
                      <a:lnTo>
                        <a:pt x="670" y="60"/>
                      </a:lnTo>
                      <a:lnTo>
                        <a:pt x="674" y="60"/>
                      </a:lnTo>
                      <a:lnTo>
                        <a:pt x="678" y="60"/>
                      </a:lnTo>
                      <a:lnTo>
                        <a:pt x="682" y="60"/>
                      </a:lnTo>
                      <a:lnTo>
                        <a:pt x="686" y="56"/>
                      </a:lnTo>
                      <a:lnTo>
                        <a:pt x="688" y="60"/>
                      </a:lnTo>
                      <a:lnTo>
                        <a:pt x="688" y="56"/>
                      </a:lnTo>
                      <a:lnTo>
                        <a:pt x="692" y="56"/>
                      </a:lnTo>
                      <a:lnTo>
                        <a:pt x="688" y="56"/>
                      </a:lnTo>
                      <a:lnTo>
                        <a:pt x="688" y="52"/>
                      </a:lnTo>
                      <a:lnTo>
                        <a:pt x="692" y="48"/>
                      </a:lnTo>
                      <a:lnTo>
                        <a:pt x="696" y="48"/>
                      </a:lnTo>
                      <a:lnTo>
                        <a:pt x="700" y="48"/>
                      </a:lnTo>
                      <a:lnTo>
                        <a:pt x="704" y="48"/>
                      </a:lnTo>
                      <a:lnTo>
                        <a:pt x="708" y="48"/>
                      </a:lnTo>
                      <a:lnTo>
                        <a:pt x="712" y="48"/>
                      </a:lnTo>
                      <a:lnTo>
                        <a:pt x="716" y="48"/>
                      </a:lnTo>
                      <a:lnTo>
                        <a:pt x="718" y="48"/>
                      </a:lnTo>
                      <a:lnTo>
                        <a:pt x="718" y="52"/>
                      </a:lnTo>
                      <a:lnTo>
                        <a:pt x="722" y="56"/>
                      </a:lnTo>
                      <a:lnTo>
                        <a:pt x="718" y="64"/>
                      </a:lnTo>
                      <a:lnTo>
                        <a:pt x="716" y="68"/>
                      </a:lnTo>
                      <a:lnTo>
                        <a:pt x="716" y="72"/>
                      </a:lnTo>
                      <a:lnTo>
                        <a:pt x="712" y="72"/>
                      </a:lnTo>
                      <a:lnTo>
                        <a:pt x="708" y="72"/>
                      </a:lnTo>
                      <a:lnTo>
                        <a:pt x="712" y="72"/>
                      </a:lnTo>
                      <a:lnTo>
                        <a:pt x="708" y="74"/>
                      </a:lnTo>
                      <a:lnTo>
                        <a:pt x="704" y="74"/>
                      </a:lnTo>
                      <a:lnTo>
                        <a:pt x="700" y="78"/>
                      </a:lnTo>
                      <a:lnTo>
                        <a:pt x="696" y="78"/>
                      </a:lnTo>
                      <a:lnTo>
                        <a:pt x="692" y="82"/>
                      </a:lnTo>
                      <a:lnTo>
                        <a:pt x="696" y="82"/>
                      </a:lnTo>
                      <a:lnTo>
                        <a:pt x="696" y="86"/>
                      </a:lnTo>
                      <a:lnTo>
                        <a:pt x="692" y="86"/>
                      </a:lnTo>
                      <a:lnTo>
                        <a:pt x="688" y="86"/>
                      </a:lnTo>
                      <a:lnTo>
                        <a:pt x="686" y="90"/>
                      </a:lnTo>
                      <a:lnTo>
                        <a:pt x="688" y="90"/>
                      </a:lnTo>
                      <a:lnTo>
                        <a:pt x="692" y="90"/>
                      </a:lnTo>
                      <a:lnTo>
                        <a:pt x="688" y="90"/>
                      </a:lnTo>
                      <a:lnTo>
                        <a:pt x="686" y="94"/>
                      </a:lnTo>
                      <a:lnTo>
                        <a:pt x="688" y="94"/>
                      </a:lnTo>
                      <a:lnTo>
                        <a:pt x="688" y="90"/>
                      </a:lnTo>
                      <a:lnTo>
                        <a:pt x="692" y="90"/>
                      </a:lnTo>
                      <a:lnTo>
                        <a:pt x="696" y="90"/>
                      </a:lnTo>
                      <a:lnTo>
                        <a:pt x="696" y="86"/>
                      </a:lnTo>
                      <a:lnTo>
                        <a:pt x="700" y="86"/>
                      </a:lnTo>
                      <a:lnTo>
                        <a:pt x="700" y="82"/>
                      </a:lnTo>
                      <a:lnTo>
                        <a:pt x="704" y="82"/>
                      </a:lnTo>
                      <a:lnTo>
                        <a:pt x="708" y="82"/>
                      </a:lnTo>
                      <a:lnTo>
                        <a:pt x="712" y="78"/>
                      </a:lnTo>
                      <a:lnTo>
                        <a:pt x="716" y="74"/>
                      </a:lnTo>
                      <a:lnTo>
                        <a:pt x="718" y="74"/>
                      </a:lnTo>
                      <a:lnTo>
                        <a:pt x="718" y="72"/>
                      </a:lnTo>
                      <a:lnTo>
                        <a:pt x="722" y="72"/>
                      </a:lnTo>
                      <a:lnTo>
                        <a:pt x="726" y="72"/>
                      </a:lnTo>
                      <a:lnTo>
                        <a:pt x="730" y="68"/>
                      </a:lnTo>
                      <a:lnTo>
                        <a:pt x="734" y="64"/>
                      </a:lnTo>
                      <a:lnTo>
                        <a:pt x="738" y="64"/>
                      </a:lnTo>
                      <a:lnTo>
                        <a:pt x="742" y="60"/>
                      </a:lnTo>
                      <a:lnTo>
                        <a:pt x="744" y="60"/>
                      </a:lnTo>
                      <a:lnTo>
                        <a:pt x="748" y="60"/>
                      </a:lnTo>
                      <a:lnTo>
                        <a:pt x="744" y="60"/>
                      </a:lnTo>
                      <a:lnTo>
                        <a:pt x="744" y="64"/>
                      </a:lnTo>
                      <a:lnTo>
                        <a:pt x="744" y="68"/>
                      </a:lnTo>
                      <a:lnTo>
                        <a:pt x="748" y="68"/>
                      </a:lnTo>
                      <a:lnTo>
                        <a:pt x="748" y="64"/>
                      </a:lnTo>
                      <a:lnTo>
                        <a:pt x="756" y="64"/>
                      </a:lnTo>
                      <a:lnTo>
                        <a:pt x="760" y="64"/>
                      </a:lnTo>
                      <a:lnTo>
                        <a:pt x="764" y="64"/>
                      </a:lnTo>
                      <a:lnTo>
                        <a:pt x="768" y="64"/>
                      </a:lnTo>
                      <a:lnTo>
                        <a:pt x="770" y="64"/>
                      </a:lnTo>
                      <a:lnTo>
                        <a:pt x="770" y="68"/>
                      </a:lnTo>
                      <a:lnTo>
                        <a:pt x="774" y="68"/>
                      </a:lnTo>
                      <a:lnTo>
                        <a:pt x="778" y="64"/>
                      </a:lnTo>
                      <a:lnTo>
                        <a:pt x="782" y="64"/>
                      </a:lnTo>
                      <a:lnTo>
                        <a:pt x="782" y="60"/>
                      </a:lnTo>
                      <a:lnTo>
                        <a:pt x="778" y="60"/>
                      </a:lnTo>
                      <a:lnTo>
                        <a:pt x="778" y="56"/>
                      </a:lnTo>
                      <a:lnTo>
                        <a:pt x="782" y="56"/>
                      </a:lnTo>
                      <a:lnTo>
                        <a:pt x="782" y="60"/>
                      </a:lnTo>
                      <a:lnTo>
                        <a:pt x="786" y="60"/>
                      </a:lnTo>
                      <a:lnTo>
                        <a:pt x="786" y="56"/>
                      </a:lnTo>
                      <a:lnTo>
                        <a:pt x="782" y="56"/>
                      </a:lnTo>
                      <a:lnTo>
                        <a:pt x="782" y="52"/>
                      </a:lnTo>
                      <a:lnTo>
                        <a:pt x="786" y="52"/>
                      </a:lnTo>
                      <a:lnTo>
                        <a:pt x="786" y="56"/>
                      </a:lnTo>
                      <a:lnTo>
                        <a:pt x="786" y="52"/>
                      </a:lnTo>
                      <a:lnTo>
                        <a:pt x="788" y="52"/>
                      </a:lnTo>
                      <a:lnTo>
                        <a:pt x="792" y="52"/>
                      </a:lnTo>
                      <a:lnTo>
                        <a:pt x="796" y="52"/>
                      </a:lnTo>
                      <a:lnTo>
                        <a:pt x="800" y="52"/>
                      </a:lnTo>
                      <a:lnTo>
                        <a:pt x="804" y="52"/>
                      </a:lnTo>
                      <a:lnTo>
                        <a:pt x="808" y="52"/>
                      </a:lnTo>
                      <a:lnTo>
                        <a:pt x="812" y="52"/>
                      </a:lnTo>
                      <a:lnTo>
                        <a:pt x="816" y="52"/>
                      </a:lnTo>
                      <a:lnTo>
                        <a:pt x="818" y="52"/>
                      </a:lnTo>
                      <a:lnTo>
                        <a:pt x="822" y="52"/>
                      </a:lnTo>
                      <a:lnTo>
                        <a:pt x="826" y="52"/>
                      </a:lnTo>
                      <a:lnTo>
                        <a:pt x="830" y="52"/>
                      </a:lnTo>
                      <a:lnTo>
                        <a:pt x="834" y="52"/>
                      </a:lnTo>
                      <a:lnTo>
                        <a:pt x="834" y="56"/>
                      </a:lnTo>
                      <a:lnTo>
                        <a:pt x="838" y="56"/>
                      </a:lnTo>
                      <a:lnTo>
                        <a:pt x="842" y="56"/>
                      </a:lnTo>
                      <a:lnTo>
                        <a:pt x="844" y="56"/>
                      </a:lnTo>
                      <a:lnTo>
                        <a:pt x="848" y="56"/>
                      </a:lnTo>
                      <a:lnTo>
                        <a:pt x="852" y="56"/>
                      </a:lnTo>
                      <a:lnTo>
                        <a:pt x="852" y="60"/>
                      </a:lnTo>
                      <a:lnTo>
                        <a:pt x="856" y="60"/>
                      </a:lnTo>
                      <a:lnTo>
                        <a:pt x="860" y="60"/>
                      </a:lnTo>
                      <a:lnTo>
                        <a:pt x="856" y="64"/>
                      </a:lnTo>
                      <a:lnTo>
                        <a:pt x="852" y="64"/>
                      </a:lnTo>
                      <a:lnTo>
                        <a:pt x="852" y="68"/>
                      </a:lnTo>
                      <a:lnTo>
                        <a:pt x="848" y="68"/>
                      </a:lnTo>
                      <a:lnTo>
                        <a:pt x="844" y="68"/>
                      </a:lnTo>
                      <a:lnTo>
                        <a:pt x="844" y="72"/>
                      </a:lnTo>
                      <a:lnTo>
                        <a:pt x="842" y="72"/>
                      </a:lnTo>
                      <a:lnTo>
                        <a:pt x="838" y="72"/>
                      </a:lnTo>
                      <a:lnTo>
                        <a:pt x="834" y="74"/>
                      </a:lnTo>
                      <a:lnTo>
                        <a:pt x="830" y="74"/>
                      </a:lnTo>
                      <a:lnTo>
                        <a:pt x="826" y="74"/>
                      </a:lnTo>
                      <a:lnTo>
                        <a:pt x="822" y="74"/>
                      </a:lnTo>
                      <a:lnTo>
                        <a:pt x="818" y="74"/>
                      </a:lnTo>
                      <a:lnTo>
                        <a:pt x="818" y="78"/>
                      </a:lnTo>
                      <a:lnTo>
                        <a:pt x="822" y="78"/>
                      </a:lnTo>
                      <a:lnTo>
                        <a:pt x="822" y="82"/>
                      </a:lnTo>
                      <a:lnTo>
                        <a:pt x="818" y="82"/>
                      </a:lnTo>
                      <a:lnTo>
                        <a:pt x="816" y="82"/>
                      </a:lnTo>
                      <a:lnTo>
                        <a:pt x="812" y="82"/>
                      </a:lnTo>
                      <a:lnTo>
                        <a:pt x="808" y="86"/>
                      </a:lnTo>
                      <a:lnTo>
                        <a:pt x="804" y="86"/>
                      </a:lnTo>
                      <a:lnTo>
                        <a:pt x="800" y="86"/>
                      </a:lnTo>
                      <a:lnTo>
                        <a:pt x="796" y="86"/>
                      </a:lnTo>
                      <a:lnTo>
                        <a:pt x="792" y="86"/>
                      </a:lnTo>
                      <a:lnTo>
                        <a:pt x="788" y="86"/>
                      </a:lnTo>
                      <a:lnTo>
                        <a:pt x="786" y="86"/>
                      </a:lnTo>
                      <a:lnTo>
                        <a:pt x="782" y="86"/>
                      </a:lnTo>
                      <a:lnTo>
                        <a:pt x="778" y="86"/>
                      </a:lnTo>
                      <a:lnTo>
                        <a:pt x="774" y="86"/>
                      </a:lnTo>
                      <a:lnTo>
                        <a:pt x="774" y="90"/>
                      </a:lnTo>
                      <a:lnTo>
                        <a:pt x="770" y="90"/>
                      </a:lnTo>
                      <a:lnTo>
                        <a:pt x="768" y="90"/>
                      </a:lnTo>
                      <a:lnTo>
                        <a:pt x="764" y="90"/>
                      </a:lnTo>
                      <a:lnTo>
                        <a:pt x="760" y="90"/>
                      </a:lnTo>
                      <a:lnTo>
                        <a:pt x="756" y="90"/>
                      </a:lnTo>
                      <a:lnTo>
                        <a:pt x="752" y="90"/>
                      </a:lnTo>
                      <a:lnTo>
                        <a:pt x="748" y="90"/>
                      </a:lnTo>
                      <a:lnTo>
                        <a:pt x="744" y="90"/>
                      </a:lnTo>
                      <a:lnTo>
                        <a:pt x="742" y="90"/>
                      </a:lnTo>
                      <a:lnTo>
                        <a:pt x="738" y="94"/>
                      </a:lnTo>
                      <a:lnTo>
                        <a:pt x="734" y="94"/>
                      </a:lnTo>
                      <a:lnTo>
                        <a:pt x="734" y="90"/>
                      </a:lnTo>
                      <a:lnTo>
                        <a:pt x="730" y="90"/>
                      </a:lnTo>
                      <a:lnTo>
                        <a:pt x="730" y="94"/>
                      </a:lnTo>
                      <a:lnTo>
                        <a:pt x="734" y="94"/>
                      </a:lnTo>
                      <a:lnTo>
                        <a:pt x="738" y="94"/>
                      </a:lnTo>
                      <a:lnTo>
                        <a:pt x="742" y="94"/>
                      </a:lnTo>
                      <a:lnTo>
                        <a:pt x="744" y="94"/>
                      </a:lnTo>
                      <a:lnTo>
                        <a:pt x="744" y="90"/>
                      </a:lnTo>
                      <a:lnTo>
                        <a:pt x="748" y="90"/>
                      </a:lnTo>
                      <a:lnTo>
                        <a:pt x="752" y="90"/>
                      </a:lnTo>
                      <a:lnTo>
                        <a:pt x="756" y="90"/>
                      </a:lnTo>
                      <a:lnTo>
                        <a:pt x="760" y="90"/>
                      </a:lnTo>
                      <a:lnTo>
                        <a:pt x="764" y="90"/>
                      </a:lnTo>
                      <a:lnTo>
                        <a:pt x="768" y="94"/>
                      </a:lnTo>
                      <a:lnTo>
                        <a:pt x="770" y="94"/>
                      </a:lnTo>
                      <a:lnTo>
                        <a:pt x="774" y="94"/>
                      </a:lnTo>
                      <a:lnTo>
                        <a:pt x="778" y="94"/>
                      </a:lnTo>
                      <a:lnTo>
                        <a:pt x="782" y="90"/>
                      </a:lnTo>
                      <a:lnTo>
                        <a:pt x="786" y="90"/>
                      </a:lnTo>
                      <a:lnTo>
                        <a:pt x="788" y="90"/>
                      </a:lnTo>
                      <a:lnTo>
                        <a:pt x="788" y="94"/>
                      </a:lnTo>
                      <a:lnTo>
                        <a:pt x="792" y="94"/>
                      </a:lnTo>
                      <a:lnTo>
                        <a:pt x="796" y="94"/>
                      </a:lnTo>
                      <a:lnTo>
                        <a:pt x="800" y="94"/>
                      </a:lnTo>
                      <a:lnTo>
                        <a:pt x="804" y="94"/>
                      </a:lnTo>
                      <a:lnTo>
                        <a:pt x="800" y="94"/>
                      </a:lnTo>
                      <a:lnTo>
                        <a:pt x="800" y="98"/>
                      </a:lnTo>
                      <a:lnTo>
                        <a:pt x="796" y="98"/>
                      </a:lnTo>
                      <a:lnTo>
                        <a:pt x="792" y="98"/>
                      </a:lnTo>
                      <a:lnTo>
                        <a:pt x="796" y="98"/>
                      </a:lnTo>
                      <a:lnTo>
                        <a:pt x="792" y="100"/>
                      </a:lnTo>
                      <a:lnTo>
                        <a:pt x="788" y="100"/>
                      </a:lnTo>
                      <a:lnTo>
                        <a:pt x="786" y="100"/>
                      </a:lnTo>
                      <a:lnTo>
                        <a:pt x="782" y="100"/>
                      </a:lnTo>
                      <a:lnTo>
                        <a:pt x="778" y="100"/>
                      </a:lnTo>
                      <a:lnTo>
                        <a:pt x="774" y="100"/>
                      </a:lnTo>
                      <a:lnTo>
                        <a:pt x="770" y="100"/>
                      </a:lnTo>
                      <a:lnTo>
                        <a:pt x="768" y="100"/>
                      </a:lnTo>
                      <a:lnTo>
                        <a:pt x="764" y="100"/>
                      </a:lnTo>
                      <a:lnTo>
                        <a:pt x="760" y="100"/>
                      </a:lnTo>
                      <a:lnTo>
                        <a:pt x="756" y="100"/>
                      </a:lnTo>
                      <a:lnTo>
                        <a:pt x="752" y="100"/>
                      </a:lnTo>
                      <a:lnTo>
                        <a:pt x="748" y="100"/>
                      </a:lnTo>
                      <a:lnTo>
                        <a:pt x="748" y="104"/>
                      </a:lnTo>
                      <a:lnTo>
                        <a:pt x="744" y="104"/>
                      </a:lnTo>
                      <a:lnTo>
                        <a:pt x="742" y="104"/>
                      </a:lnTo>
                      <a:lnTo>
                        <a:pt x="744" y="104"/>
                      </a:lnTo>
                      <a:lnTo>
                        <a:pt x="742" y="108"/>
                      </a:lnTo>
                      <a:lnTo>
                        <a:pt x="738" y="112"/>
                      </a:lnTo>
                      <a:lnTo>
                        <a:pt x="742" y="112"/>
                      </a:lnTo>
                      <a:lnTo>
                        <a:pt x="744" y="112"/>
                      </a:lnTo>
                      <a:lnTo>
                        <a:pt x="744" y="116"/>
                      </a:lnTo>
                      <a:lnTo>
                        <a:pt x="748" y="116"/>
                      </a:lnTo>
                      <a:lnTo>
                        <a:pt x="748" y="112"/>
                      </a:lnTo>
                      <a:lnTo>
                        <a:pt x="752" y="112"/>
                      </a:lnTo>
                      <a:lnTo>
                        <a:pt x="748" y="112"/>
                      </a:lnTo>
                      <a:lnTo>
                        <a:pt x="744" y="112"/>
                      </a:lnTo>
                      <a:lnTo>
                        <a:pt x="748" y="108"/>
                      </a:lnTo>
                      <a:lnTo>
                        <a:pt x="752" y="108"/>
                      </a:lnTo>
                      <a:lnTo>
                        <a:pt x="756" y="108"/>
                      </a:lnTo>
                      <a:lnTo>
                        <a:pt x="756" y="104"/>
                      </a:lnTo>
                      <a:lnTo>
                        <a:pt x="760" y="104"/>
                      </a:lnTo>
                      <a:lnTo>
                        <a:pt x="764" y="104"/>
                      </a:lnTo>
                      <a:lnTo>
                        <a:pt x="768" y="104"/>
                      </a:lnTo>
                      <a:lnTo>
                        <a:pt x="770" y="104"/>
                      </a:lnTo>
                      <a:lnTo>
                        <a:pt x="774" y="104"/>
                      </a:lnTo>
                      <a:lnTo>
                        <a:pt x="778" y="104"/>
                      </a:lnTo>
                      <a:lnTo>
                        <a:pt x="782" y="104"/>
                      </a:lnTo>
                      <a:lnTo>
                        <a:pt x="786" y="104"/>
                      </a:lnTo>
                      <a:lnTo>
                        <a:pt x="786" y="108"/>
                      </a:lnTo>
                      <a:lnTo>
                        <a:pt x="782" y="108"/>
                      </a:lnTo>
                      <a:lnTo>
                        <a:pt x="778" y="112"/>
                      </a:lnTo>
                      <a:lnTo>
                        <a:pt x="778" y="116"/>
                      </a:lnTo>
                      <a:lnTo>
                        <a:pt x="774" y="116"/>
                      </a:lnTo>
                      <a:lnTo>
                        <a:pt x="770" y="116"/>
                      </a:lnTo>
                      <a:lnTo>
                        <a:pt x="768" y="116"/>
                      </a:lnTo>
                      <a:lnTo>
                        <a:pt x="764" y="116"/>
                      </a:lnTo>
                      <a:lnTo>
                        <a:pt x="760" y="116"/>
                      </a:lnTo>
                      <a:lnTo>
                        <a:pt x="756" y="116"/>
                      </a:lnTo>
                      <a:lnTo>
                        <a:pt x="756" y="120"/>
                      </a:lnTo>
                      <a:lnTo>
                        <a:pt x="752" y="120"/>
                      </a:lnTo>
                      <a:lnTo>
                        <a:pt x="756" y="120"/>
                      </a:lnTo>
                      <a:lnTo>
                        <a:pt x="756" y="124"/>
                      </a:lnTo>
                      <a:lnTo>
                        <a:pt x="752" y="124"/>
                      </a:lnTo>
                      <a:lnTo>
                        <a:pt x="752" y="128"/>
                      </a:lnTo>
                      <a:lnTo>
                        <a:pt x="752" y="130"/>
                      </a:lnTo>
                      <a:lnTo>
                        <a:pt x="752" y="134"/>
                      </a:lnTo>
                      <a:lnTo>
                        <a:pt x="752" y="130"/>
                      </a:lnTo>
                      <a:lnTo>
                        <a:pt x="756" y="128"/>
                      </a:lnTo>
                      <a:lnTo>
                        <a:pt x="760" y="128"/>
                      </a:lnTo>
                      <a:lnTo>
                        <a:pt x="764" y="128"/>
                      </a:lnTo>
                      <a:lnTo>
                        <a:pt x="764" y="130"/>
                      </a:lnTo>
                      <a:lnTo>
                        <a:pt x="760" y="130"/>
                      </a:lnTo>
                      <a:lnTo>
                        <a:pt x="764" y="130"/>
                      </a:lnTo>
                      <a:lnTo>
                        <a:pt x="760" y="130"/>
                      </a:lnTo>
                      <a:lnTo>
                        <a:pt x="756" y="130"/>
                      </a:lnTo>
                      <a:lnTo>
                        <a:pt x="756" y="134"/>
                      </a:lnTo>
                      <a:lnTo>
                        <a:pt x="752" y="134"/>
                      </a:lnTo>
                      <a:lnTo>
                        <a:pt x="748" y="134"/>
                      </a:lnTo>
                      <a:lnTo>
                        <a:pt x="748" y="138"/>
                      </a:lnTo>
                      <a:lnTo>
                        <a:pt x="748" y="142"/>
                      </a:lnTo>
                      <a:lnTo>
                        <a:pt x="744" y="142"/>
                      </a:lnTo>
                      <a:lnTo>
                        <a:pt x="742" y="142"/>
                      </a:lnTo>
                      <a:lnTo>
                        <a:pt x="738" y="142"/>
                      </a:lnTo>
                      <a:lnTo>
                        <a:pt x="734" y="142"/>
                      </a:lnTo>
                      <a:lnTo>
                        <a:pt x="734" y="146"/>
                      </a:lnTo>
                      <a:lnTo>
                        <a:pt x="738" y="146"/>
                      </a:lnTo>
                      <a:lnTo>
                        <a:pt x="734" y="146"/>
                      </a:lnTo>
                      <a:lnTo>
                        <a:pt x="730" y="146"/>
                      </a:lnTo>
                      <a:lnTo>
                        <a:pt x="730" y="150"/>
                      </a:lnTo>
                      <a:lnTo>
                        <a:pt x="734" y="150"/>
                      </a:lnTo>
                      <a:lnTo>
                        <a:pt x="734" y="146"/>
                      </a:lnTo>
                      <a:lnTo>
                        <a:pt x="738" y="146"/>
                      </a:lnTo>
                      <a:lnTo>
                        <a:pt x="738" y="150"/>
                      </a:lnTo>
                      <a:lnTo>
                        <a:pt x="734" y="150"/>
                      </a:lnTo>
                      <a:lnTo>
                        <a:pt x="734" y="154"/>
                      </a:lnTo>
                      <a:lnTo>
                        <a:pt x="730" y="158"/>
                      </a:lnTo>
                      <a:lnTo>
                        <a:pt x="730" y="160"/>
                      </a:lnTo>
                      <a:lnTo>
                        <a:pt x="726" y="160"/>
                      </a:lnTo>
                      <a:lnTo>
                        <a:pt x="722" y="160"/>
                      </a:lnTo>
                      <a:lnTo>
                        <a:pt x="726" y="164"/>
                      </a:lnTo>
                      <a:lnTo>
                        <a:pt x="730" y="164"/>
                      </a:lnTo>
                      <a:lnTo>
                        <a:pt x="726" y="164"/>
                      </a:lnTo>
                      <a:lnTo>
                        <a:pt x="722" y="168"/>
                      </a:lnTo>
                      <a:lnTo>
                        <a:pt x="726" y="168"/>
                      </a:lnTo>
                      <a:lnTo>
                        <a:pt x="722" y="172"/>
                      </a:lnTo>
                      <a:lnTo>
                        <a:pt x="718" y="174"/>
                      </a:lnTo>
                      <a:lnTo>
                        <a:pt x="722" y="174"/>
                      </a:lnTo>
                      <a:lnTo>
                        <a:pt x="726" y="174"/>
                      </a:lnTo>
                      <a:lnTo>
                        <a:pt x="730" y="174"/>
                      </a:lnTo>
                      <a:lnTo>
                        <a:pt x="726" y="174"/>
                      </a:lnTo>
                      <a:lnTo>
                        <a:pt x="726" y="178"/>
                      </a:lnTo>
                      <a:lnTo>
                        <a:pt x="730" y="174"/>
                      </a:lnTo>
                      <a:lnTo>
                        <a:pt x="730" y="172"/>
                      </a:lnTo>
                      <a:lnTo>
                        <a:pt x="734" y="168"/>
                      </a:lnTo>
                      <a:lnTo>
                        <a:pt x="738" y="164"/>
                      </a:lnTo>
                      <a:lnTo>
                        <a:pt x="742" y="168"/>
                      </a:lnTo>
                      <a:lnTo>
                        <a:pt x="744" y="168"/>
                      </a:lnTo>
                      <a:lnTo>
                        <a:pt x="748" y="172"/>
                      </a:lnTo>
                      <a:lnTo>
                        <a:pt x="752" y="172"/>
                      </a:lnTo>
                      <a:lnTo>
                        <a:pt x="756" y="172"/>
                      </a:lnTo>
                      <a:lnTo>
                        <a:pt x="760" y="172"/>
                      </a:lnTo>
                      <a:lnTo>
                        <a:pt x="764" y="174"/>
                      </a:lnTo>
                      <a:lnTo>
                        <a:pt x="760" y="174"/>
                      </a:lnTo>
                      <a:lnTo>
                        <a:pt x="760" y="178"/>
                      </a:lnTo>
                      <a:lnTo>
                        <a:pt x="756" y="174"/>
                      </a:lnTo>
                      <a:lnTo>
                        <a:pt x="748" y="174"/>
                      </a:lnTo>
                      <a:lnTo>
                        <a:pt x="748" y="172"/>
                      </a:lnTo>
                      <a:lnTo>
                        <a:pt x="744" y="172"/>
                      </a:lnTo>
                      <a:lnTo>
                        <a:pt x="744" y="174"/>
                      </a:lnTo>
                      <a:lnTo>
                        <a:pt x="742" y="174"/>
                      </a:lnTo>
                      <a:lnTo>
                        <a:pt x="738" y="174"/>
                      </a:lnTo>
                      <a:lnTo>
                        <a:pt x="742" y="174"/>
                      </a:lnTo>
                      <a:lnTo>
                        <a:pt x="744" y="174"/>
                      </a:lnTo>
                      <a:lnTo>
                        <a:pt x="744" y="178"/>
                      </a:lnTo>
                      <a:lnTo>
                        <a:pt x="742" y="178"/>
                      </a:lnTo>
                      <a:lnTo>
                        <a:pt x="744" y="178"/>
                      </a:lnTo>
                      <a:lnTo>
                        <a:pt x="742" y="178"/>
                      </a:lnTo>
                      <a:lnTo>
                        <a:pt x="738" y="178"/>
                      </a:lnTo>
                      <a:lnTo>
                        <a:pt x="734" y="178"/>
                      </a:lnTo>
                      <a:lnTo>
                        <a:pt x="738" y="178"/>
                      </a:lnTo>
                      <a:lnTo>
                        <a:pt x="742" y="178"/>
                      </a:lnTo>
                      <a:lnTo>
                        <a:pt x="744" y="178"/>
                      </a:lnTo>
                      <a:lnTo>
                        <a:pt x="748" y="182"/>
                      </a:lnTo>
                      <a:lnTo>
                        <a:pt x="744" y="182"/>
                      </a:lnTo>
                      <a:lnTo>
                        <a:pt x="742" y="182"/>
                      </a:lnTo>
                      <a:lnTo>
                        <a:pt x="738" y="182"/>
                      </a:lnTo>
                      <a:lnTo>
                        <a:pt x="742" y="182"/>
                      </a:lnTo>
                      <a:lnTo>
                        <a:pt x="744" y="182"/>
                      </a:lnTo>
                      <a:lnTo>
                        <a:pt x="748" y="182"/>
                      </a:lnTo>
                      <a:lnTo>
                        <a:pt x="752" y="182"/>
                      </a:lnTo>
                      <a:lnTo>
                        <a:pt x="756" y="182"/>
                      </a:lnTo>
                      <a:lnTo>
                        <a:pt x="756" y="186"/>
                      </a:lnTo>
                      <a:lnTo>
                        <a:pt x="760" y="186"/>
                      </a:lnTo>
                      <a:lnTo>
                        <a:pt x="764" y="186"/>
                      </a:lnTo>
                      <a:lnTo>
                        <a:pt x="764" y="182"/>
                      </a:lnTo>
                      <a:lnTo>
                        <a:pt x="768" y="182"/>
                      </a:lnTo>
                      <a:lnTo>
                        <a:pt x="770" y="182"/>
                      </a:lnTo>
                      <a:lnTo>
                        <a:pt x="774" y="186"/>
                      </a:lnTo>
                      <a:lnTo>
                        <a:pt x="774" y="190"/>
                      </a:lnTo>
                      <a:lnTo>
                        <a:pt x="774" y="194"/>
                      </a:lnTo>
                      <a:lnTo>
                        <a:pt x="774" y="198"/>
                      </a:lnTo>
                      <a:lnTo>
                        <a:pt x="770" y="198"/>
                      </a:lnTo>
                      <a:lnTo>
                        <a:pt x="770" y="200"/>
                      </a:lnTo>
                      <a:lnTo>
                        <a:pt x="768" y="198"/>
                      </a:lnTo>
                      <a:lnTo>
                        <a:pt x="764" y="198"/>
                      </a:lnTo>
                      <a:lnTo>
                        <a:pt x="760" y="198"/>
                      </a:lnTo>
                      <a:lnTo>
                        <a:pt x="756" y="198"/>
                      </a:lnTo>
                      <a:lnTo>
                        <a:pt x="752" y="194"/>
                      </a:lnTo>
                      <a:lnTo>
                        <a:pt x="748" y="194"/>
                      </a:lnTo>
                      <a:lnTo>
                        <a:pt x="744" y="194"/>
                      </a:lnTo>
                      <a:lnTo>
                        <a:pt x="738" y="194"/>
                      </a:lnTo>
                      <a:lnTo>
                        <a:pt x="734" y="194"/>
                      </a:lnTo>
                      <a:lnTo>
                        <a:pt x="738" y="194"/>
                      </a:lnTo>
                      <a:lnTo>
                        <a:pt x="742" y="194"/>
                      </a:lnTo>
                      <a:lnTo>
                        <a:pt x="742" y="198"/>
                      </a:lnTo>
                      <a:lnTo>
                        <a:pt x="738" y="198"/>
                      </a:lnTo>
                      <a:lnTo>
                        <a:pt x="734" y="198"/>
                      </a:lnTo>
                      <a:lnTo>
                        <a:pt x="730" y="198"/>
                      </a:lnTo>
                      <a:lnTo>
                        <a:pt x="726" y="198"/>
                      </a:lnTo>
                      <a:lnTo>
                        <a:pt x="730" y="198"/>
                      </a:lnTo>
                      <a:lnTo>
                        <a:pt x="734" y="198"/>
                      </a:lnTo>
                      <a:lnTo>
                        <a:pt x="738" y="198"/>
                      </a:lnTo>
                      <a:lnTo>
                        <a:pt x="734" y="198"/>
                      </a:lnTo>
                      <a:lnTo>
                        <a:pt x="734" y="200"/>
                      </a:lnTo>
                      <a:lnTo>
                        <a:pt x="734" y="198"/>
                      </a:lnTo>
                      <a:lnTo>
                        <a:pt x="730" y="198"/>
                      </a:lnTo>
                      <a:lnTo>
                        <a:pt x="730" y="200"/>
                      </a:lnTo>
                      <a:lnTo>
                        <a:pt x="726" y="204"/>
                      </a:lnTo>
                      <a:lnTo>
                        <a:pt x="722" y="204"/>
                      </a:lnTo>
                      <a:lnTo>
                        <a:pt x="722" y="200"/>
                      </a:lnTo>
                      <a:lnTo>
                        <a:pt x="718" y="198"/>
                      </a:lnTo>
                      <a:lnTo>
                        <a:pt x="716" y="198"/>
                      </a:lnTo>
                      <a:lnTo>
                        <a:pt x="716" y="200"/>
                      </a:lnTo>
                      <a:lnTo>
                        <a:pt x="712" y="200"/>
                      </a:lnTo>
                      <a:lnTo>
                        <a:pt x="716" y="204"/>
                      </a:lnTo>
                      <a:lnTo>
                        <a:pt x="716" y="208"/>
                      </a:lnTo>
                      <a:lnTo>
                        <a:pt x="716" y="204"/>
                      </a:lnTo>
                      <a:lnTo>
                        <a:pt x="718" y="204"/>
                      </a:lnTo>
                      <a:lnTo>
                        <a:pt x="722" y="204"/>
                      </a:lnTo>
                      <a:lnTo>
                        <a:pt x="726" y="208"/>
                      </a:lnTo>
                      <a:lnTo>
                        <a:pt x="722" y="208"/>
                      </a:lnTo>
                      <a:lnTo>
                        <a:pt x="718" y="208"/>
                      </a:lnTo>
                      <a:lnTo>
                        <a:pt x="722" y="208"/>
                      </a:lnTo>
                      <a:lnTo>
                        <a:pt x="726" y="208"/>
                      </a:lnTo>
                      <a:lnTo>
                        <a:pt x="722" y="208"/>
                      </a:lnTo>
                      <a:lnTo>
                        <a:pt x="718" y="208"/>
                      </a:lnTo>
                      <a:lnTo>
                        <a:pt x="716" y="208"/>
                      </a:lnTo>
                      <a:lnTo>
                        <a:pt x="718" y="208"/>
                      </a:lnTo>
                      <a:lnTo>
                        <a:pt x="722" y="208"/>
                      </a:lnTo>
                      <a:lnTo>
                        <a:pt x="726" y="208"/>
                      </a:lnTo>
                      <a:lnTo>
                        <a:pt x="726" y="212"/>
                      </a:lnTo>
                      <a:lnTo>
                        <a:pt x="726" y="216"/>
                      </a:lnTo>
                      <a:lnTo>
                        <a:pt x="730" y="212"/>
                      </a:lnTo>
                      <a:lnTo>
                        <a:pt x="734" y="212"/>
                      </a:lnTo>
                      <a:lnTo>
                        <a:pt x="734" y="216"/>
                      </a:lnTo>
                      <a:lnTo>
                        <a:pt x="738" y="216"/>
                      </a:lnTo>
                      <a:lnTo>
                        <a:pt x="742" y="216"/>
                      </a:lnTo>
                      <a:lnTo>
                        <a:pt x="744" y="216"/>
                      </a:lnTo>
                      <a:lnTo>
                        <a:pt x="742" y="216"/>
                      </a:lnTo>
                      <a:lnTo>
                        <a:pt x="738" y="216"/>
                      </a:lnTo>
                      <a:lnTo>
                        <a:pt x="734" y="212"/>
                      </a:lnTo>
                      <a:lnTo>
                        <a:pt x="738" y="212"/>
                      </a:lnTo>
                      <a:lnTo>
                        <a:pt x="742" y="212"/>
                      </a:lnTo>
                      <a:lnTo>
                        <a:pt x="742" y="216"/>
                      </a:lnTo>
                      <a:lnTo>
                        <a:pt x="744" y="216"/>
                      </a:lnTo>
                      <a:lnTo>
                        <a:pt x="748" y="216"/>
                      </a:lnTo>
                      <a:lnTo>
                        <a:pt x="748" y="212"/>
                      </a:lnTo>
                      <a:lnTo>
                        <a:pt x="752" y="216"/>
                      </a:lnTo>
                      <a:lnTo>
                        <a:pt x="752" y="220"/>
                      </a:lnTo>
                      <a:lnTo>
                        <a:pt x="748" y="220"/>
                      </a:lnTo>
                      <a:lnTo>
                        <a:pt x="744" y="220"/>
                      </a:lnTo>
                      <a:lnTo>
                        <a:pt x="744" y="224"/>
                      </a:lnTo>
                      <a:lnTo>
                        <a:pt x="742" y="224"/>
                      </a:lnTo>
                      <a:lnTo>
                        <a:pt x="738" y="220"/>
                      </a:lnTo>
                      <a:lnTo>
                        <a:pt x="730" y="220"/>
                      </a:lnTo>
                      <a:lnTo>
                        <a:pt x="730" y="224"/>
                      </a:lnTo>
                      <a:lnTo>
                        <a:pt x="726" y="224"/>
                      </a:lnTo>
                      <a:lnTo>
                        <a:pt x="722" y="224"/>
                      </a:lnTo>
                      <a:lnTo>
                        <a:pt x="722" y="220"/>
                      </a:lnTo>
                      <a:lnTo>
                        <a:pt x="722" y="224"/>
                      </a:lnTo>
                      <a:lnTo>
                        <a:pt x="726" y="224"/>
                      </a:lnTo>
                      <a:lnTo>
                        <a:pt x="730" y="224"/>
                      </a:lnTo>
                      <a:lnTo>
                        <a:pt x="734" y="224"/>
                      </a:lnTo>
                      <a:lnTo>
                        <a:pt x="738" y="224"/>
                      </a:lnTo>
                      <a:lnTo>
                        <a:pt x="742" y="224"/>
                      </a:lnTo>
                      <a:lnTo>
                        <a:pt x="744" y="224"/>
                      </a:lnTo>
                      <a:lnTo>
                        <a:pt x="748" y="224"/>
                      </a:lnTo>
                      <a:lnTo>
                        <a:pt x="752" y="224"/>
                      </a:lnTo>
                      <a:lnTo>
                        <a:pt x="756" y="228"/>
                      </a:lnTo>
                      <a:lnTo>
                        <a:pt x="756" y="230"/>
                      </a:lnTo>
                      <a:lnTo>
                        <a:pt x="756" y="234"/>
                      </a:lnTo>
                      <a:lnTo>
                        <a:pt x="760" y="238"/>
                      </a:lnTo>
                      <a:lnTo>
                        <a:pt x="756" y="238"/>
                      </a:lnTo>
                      <a:lnTo>
                        <a:pt x="756" y="242"/>
                      </a:lnTo>
                      <a:lnTo>
                        <a:pt x="756" y="246"/>
                      </a:lnTo>
                      <a:lnTo>
                        <a:pt x="752" y="246"/>
                      </a:lnTo>
                      <a:lnTo>
                        <a:pt x="748" y="246"/>
                      </a:lnTo>
                      <a:lnTo>
                        <a:pt x="748" y="242"/>
                      </a:lnTo>
                      <a:lnTo>
                        <a:pt x="748" y="238"/>
                      </a:lnTo>
                      <a:lnTo>
                        <a:pt x="744" y="238"/>
                      </a:lnTo>
                      <a:lnTo>
                        <a:pt x="742" y="238"/>
                      </a:lnTo>
                      <a:lnTo>
                        <a:pt x="742" y="242"/>
                      </a:lnTo>
                      <a:lnTo>
                        <a:pt x="738" y="242"/>
                      </a:lnTo>
                      <a:lnTo>
                        <a:pt x="734" y="238"/>
                      </a:lnTo>
                      <a:lnTo>
                        <a:pt x="730" y="234"/>
                      </a:lnTo>
                      <a:lnTo>
                        <a:pt x="726" y="234"/>
                      </a:lnTo>
                      <a:lnTo>
                        <a:pt x="726" y="230"/>
                      </a:lnTo>
                      <a:lnTo>
                        <a:pt x="722" y="230"/>
                      </a:lnTo>
                      <a:lnTo>
                        <a:pt x="718" y="230"/>
                      </a:lnTo>
                      <a:lnTo>
                        <a:pt x="716" y="230"/>
                      </a:lnTo>
                      <a:lnTo>
                        <a:pt x="718" y="230"/>
                      </a:lnTo>
                      <a:lnTo>
                        <a:pt x="722" y="230"/>
                      </a:lnTo>
                      <a:lnTo>
                        <a:pt x="722" y="234"/>
                      </a:lnTo>
                      <a:lnTo>
                        <a:pt x="726" y="234"/>
                      </a:lnTo>
                      <a:lnTo>
                        <a:pt x="730" y="234"/>
                      </a:lnTo>
                      <a:lnTo>
                        <a:pt x="726" y="234"/>
                      </a:lnTo>
                      <a:lnTo>
                        <a:pt x="722" y="234"/>
                      </a:lnTo>
                      <a:lnTo>
                        <a:pt x="718" y="234"/>
                      </a:lnTo>
                      <a:lnTo>
                        <a:pt x="716" y="234"/>
                      </a:lnTo>
                      <a:lnTo>
                        <a:pt x="718" y="234"/>
                      </a:lnTo>
                      <a:lnTo>
                        <a:pt x="722" y="234"/>
                      </a:lnTo>
                      <a:lnTo>
                        <a:pt x="726" y="234"/>
                      </a:lnTo>
                      <a:lnTo>
                        <a:pt x="730" y="238"/>
                      </a:lnTo>
                      <a:lnTo>
                        <a:pt x="734" y="238"/>
                      </a:lnTo>
                      <a:lnTo>
                        <a:pt x="738" y="242"/>
                      </a:lnTo>
                      <a:lnTo>
                        <a:pt x="742" y="242"/>
                      </a:lnTo>
                      <a:lnTo>
                        <a:pt x="742" y="246"/>
                      </a:lnTo>
                      <a:lnTo>
                        <a:pt x="738" y="246"/>
                      </a:lnTo>
                      <a:lnTo>
                        <a:pt x="734" y="246"/>
                      </a:lnTo>
                      <a:lnTo>
                        <a:pt x="730" y="246"/>
                      </a:lnTo>
                      <a:lnTo>
                        <a:pt x="730" y="250"/>
                      </a:lnTo>
                      <a:lnTo>
                        <a:pt x="726" y="250"/>
                      </a:lnTo>
                      <a:lnTo>
                        <a:pt x="722" y="250"/>
                      </a:lnTo>
                      <a:lnTo>
                        <a:pt x="722" y="246"/>
                      </a:lnTo>
                      <a:lnTo>
                        <a:pt x="718" y="246"/>
                      </a:lnTo>
                      <a:lnTo>
                        <a:pt x="716" y="246"/>
                      </a:lnTo>
                      <a:lnTo>
                        <a:pt x="716" y="242"/>
                      </a:lnTo>
                      <a:lnTo>
                        <a:pt x="716" y="246"/>
                      </a:lnTo>
                      <a:lnTo>
                        <a:pt x="718" y="246"/>
                      </a:lnTo>
                      <a:lnTo>
                        <a:pt x="722" y="246"/>
                      </a:lnTo>
                      <a:lnTo>
                        <a:pt x="722" y="250"/>
                      </a:lnTo>
                      <a:lnTo>
                        <a:pt x="726" y="250"/>
                      </a:lnTo>
                      <a:lnTo>
                        <a:pt x="730" y="250"/>
                      </a:lnTo>
                      <a:lnTo>
                        <a:pt x="730" y="246"/>
                      </a:lnTo>
                      <a:lnTo>
                        <a:pt x="734" y="246"/>
                      </a:lnTo>
                      <a:lnTo>
                        <a:pt x="738" y="246"/>
                      </a:lnTo>
                      <a:lnTo>
                        <a:pt x="742" y="246"/>
                      </a:lnTo>
                      <a:lnTo>
                        <a:pt x="742" y="250"/>
                      </a:lnTo>
                      <a:lnTo>
                        <a:pt x="738" y="254"/>
                      </a:lnTo>
                      <a:lnTo>
                        <a:pt x="742" y="254"/>
                      </a:lnTo>
                      <a:lnTo>
                        <a:pt x="742" y="256"/>
                      </a:lnTo>
                      <a:lnTo>
                        <a:pt x="738" y="256"/>
                      </a:lnTo>
                      <a:lnTo>
                        <a:pt x="734" y="256"/>
                      </a:lnTo>
                      <a:lnTo>
                        <a:pt x="738" y="256"/>
                      </a:lnTo>
                      <a:lnTo>
                        <a:pt x="742" y="256"/>
                      </a:lnTo>
                      <a:lnTo>
                        <a:pt x="744" y="256"/>
                      </a:lnTo>
                      <a:lnTo>
                        <a:pt x="748" y="256"/>
                      </a:lnTo>
                      <a:lnTo>
                        <a:pt x="752" y="260"/>
                      </a:lnTo>
                      <a:lnTo>
                        <a:pt x="756" y="256"/>
                      </a:lnTo>
                      <a:lnTo>
                        <a:pt x="760" y="256"/>
                      </a:lnTo>
                      <a:lnTo>
                        <a:pt x="760" y="260"/>
                      </a:lnTo>
                      <a:lnTo>
                        <a:pt x="764" y="260"/>
                      </a:lnTo>
                      <a:lnTo>
                        <a:pt x="764" y="264"/>
                      </a:lnTo>
                      <a:lnTo>
                        <a:pt x="760" y="264"/>
                      </a:lnTo>
                      <a:lnTo>
                        <a:pt x="760" y="268"/>
                      </a:lnTo>
                      <a:lnTo>
                        <a:pt x="756" y="268"/>
                      </a:lnTo>
                      <a:lnTo>
                        <a:pt x="752" y="268"/>
                      </a:lnTo>
                      <a:lnTo>
                        <a:pt x="748" y="268"/>
                      </a:lnTo>
                      <a:lnTo>
                        <a:pt x="744" y="268"/>
                      </a:lnTo>
                      <a:lnTo>
                        <a:pt x="744" y="264"/>
                      </a:lnTo>
                      <a:lnTo>
                        <a:pt x="742" y="264"/>
                      </a:lnTo>
                      <a:lnTo>
                        <a:pt x="738" y="264"/>
                      </a:lnTo>
                      <a:lnTo>
                        <a:pt x="734" y="264"/>
                      </a:lnTo>
                      <a:lnTo>
                        <a:pt x="730" y="264"/>
                      </a:lnTo>
                      <a:lnTo>
                        <a:pt x="726" y="264"/>
                      </a:lnTo>
                      <a:lnTo>
                        <a:pt x="722" y="264"/>
                      </a:lnTo>
                      <a:lnTo>
                        <a:pt x="722" y="260"/>
                      </a:lnTo>
                      <a:lnTo>
                        <a:pt x="718" y="260"/>
                      </a:lnTo>
                      <a:lnTo>
                        <a:pt x="722" y="260"/>
                      </a:lnTo>
                      <a:lnTo>
                        <a:pt x="722" y="264"/>
                      </a:lnTo>
                      <a:lnTo>
                        <a:pt x="722" y="268"/>
                      </a:lnTo>
                      <a:lnTo>
                        <a:pt x="718" y="268"/>
                      </a:lnTo>
                      <a:lnTo>
                        <a:pt x="716" y="268"/>
                      </a:lnTo>
                      <a:lnTo>
                        <a:pt x="718" y="268"/>
                      </a:lnTo>
                      <a:lnTo>
                        <a:pt x="718" y="272"/>
                      </a:lnTo>
                      <a:lnTo>
                        <a:pt x="716" y="272"/>
                      </a:lnTo>
                      <a:lnTo>
                        <a:pt x="718" y="276"/>
                      </a:lnTo>
                      <a:lnTo>
                        <a:pt x="722" y="276"/>
                      </a:lnTo>
                      <a:lnTo>
                        <a:pt x="722" y="280"/>
                      </a:lnTo>
                      <a:lnTo>
                        <a:pt x="722" y="284"/>
                      </a:lnTo>
                      <a:lnTo>
                        <a:pt x="726" y="284"/>
                      </a:lnTo>
                      <a:lnTo>
                        <a:pt x="722" y="280"/>
                      </a:lnTo>
                      <a:lnTo>
                        <a:pt x="722" y="276"/>
                      </a:lnTo>
                      <a:lnTo>
                        <a:pt x="726" y="272"/>
                      </a:lnTo>
                      <a:lnTo>
                        <a:pt x="726" y="276"/>
                      </a:lnTo>
                      <a:lnTo>
                        <a:pt x="730" y="276"/>
                      </a:lnTo>
                      <a:lnTo>
                        <a:pt x="734" y="276"/>
                      </a:lnTo>
                      <a:lnTo>
                        <a:pt x="738" y="280"/>
                      </a:lnTo>
                      <a:lnTo>
                        <a:pt x="742" y="280"/>
                      </a:lnTo>
                      <a:lnTo>
                        <a:pt x="744" y="280"/>
                      </a:lnTo>
                      <a:lnTo>
                        <a:pt x="744" y="284"/>
                      </a:lnTo>
                      <a:lnTo>
                        <a:pt x="742" y="284"/>
                      </a:lnTo>
                      <a:lnTo>
                        <a:pt x="742" y="286"/>
                      </a:lnTo>
                      <a:lnTo>
                        <a:pt x="744" y="286"/>
                      </a:lnTo>
                      <a:lnTo>
                        <a:pt x="742" y="290"/>
                      </a:lnTo>
                      <a:lnTo>
                        <a:pt x="738" y="290"/>
                      </a:lnTo>
                      <a:lnTo>
                        <a:pt x="734" y="290"/>
                      </a:lnTo>
                      <a:lnTo>
                        <a:pt x="730" y="290"/>
                      </a:lnTo>
                      <a:lnTo>
                        <a:pt x="726" y="290"/>
                      </a:lnTo>
                      <a:lnTo>
                        <a:pt x="722" y="290"/>
                      </a:lnTo>
                      <a:lnTo>
                        <a:pt x="722" y="294"/>
                      </a:lnTo>
                      <a:lnTo>
                        <a:pt x="718" y="294"/>
                      </a:lnTo>
                      <a:lnTo>
                        <a:pt x="716" y="294"/>
                      </a:lnTo>
                      <a:lnTo>
                        <a:pt x="712" y="294"/>
                      </a:lnTo>
                      <a:lnTo>
                        <a:pt x="708" y="294"/>
                      </a:lnTo>
                      <a:lnTo>
                        <a:pt x="704" y="294"/>
                      </a:lnTo>
                      <a:lnTo>
                        <a:pt x="704" y="290"/>
                      </a:lnTo>
                      <a:lnTo>
                        <a:pt x="700" y="290"/>
                      </a:lnTo>
                      <a:lnTo>
                        <a:pt x="696" y="290"/>
                      </a:lnTo>
                      <a:lnTo>
                        <a:pt x="696" y="286"/>
                      </a:lnTo>
                      <a:lnTo>
                        <a:pt x="692" y="286"/>
                      </a:lnTo>
                      <a:lnTo>
                        <a:pt x="692" y="284"/>
                      </a:lnTo>
                      <a:lnTo>
                        <a:pt x="696" y="284"/>
                      </a:lnTo>
                      <a:lnTo>
                        <a:pt x="700" y="284"/>
                      </a:lnTo>
                      <a:lnTo>
                        <a:pt x="704" y="286"/>
                      </a:lnTo>
                      <a:lnTo>
                        <a:pt x="708" y="286"/>
                      </a:lnTo>
                      <a:lnTo>
                        <a:pt x="712" y="286"/>
                      </a:lnTo>
                      <a:lnTo>
                        <a:pt x="716" y="286"/>
                      </a:lnTo>
                      <a:lnTo>
                        <a:pt x="718" y="286"/>
                      </a:lnTo>
                      <a:lnTo>
                        <a:pt x="716" y="286"/>
                      </a:lnTo>
                      <a:lnTo>
                        <a:pt x="712" y="286"/>
                      </a:lnTo>
                      <a:lnTo>
                        <a:pt x="708" y="286"/>
                      </a:lnTo>
                      <a:lnTo>
                        <a:pt x="704" y="284"/>
                      </a:lnTo>
                      <a:lnTo>
                        <a:pt x="700" y="284"/>
                      </a:lnTo>
                      <a:lnTo>
                        <a:pt x="696" y="284"/>
                      </a:lnTo>
                      <a:lnTo>
                        <a:pt x="692" y="284"/>
                      </a:lnTo>
                      <a:lnTo>
                        <a:pt x="692" y="280"/>
                      </a:lnTo>
                      <a:lnTo>
                        <a:pt x="688" y="280"/>
                      </a:lnTo>
                      <a:lnTo>
                        <a:pt x="688" y="284"/>
                      </a:lnTo>
                      <a:lnTo>
                        <a:pt x="686" y="284"/>
                      </a:lnTo>
                      <a:lnTo>
                        <a:pt x="686" y="286"/>
                      </a:lnTo>
                      <a:lnTo>
                        <a:pt x="682" y="286"/>
                      </a:lnTo>
                      <a:lnTo>
                        <a:pt x="678" y="286"/>
                      </a:lnTo>
                      <a:lnTo>
                        <a:pt x="678" y="284"/>
                      </a:lnTo>
                      <a:lnTo>
                        <a:pt x="674" y="284"/>
                      </a:lnTo>
                      <a:lnTo>
                        <a:pt x="674" y="280"/>
                      </a:lnTo>
                      <a:lnTo>
                        <a:pt x="670" y="280"/>
                      </a:lnTo>
                      <a:lnTo>
                        <a:pt x="670" y="276"/>
                      </a:lnTo>
                      <a:lnTo>
                        <a:pt x="666" y="276"/>
                      </a:lnTo>
                      <a:lnTo>
                        <a:pt x="666" y="280"/>
                      </a:lnTo>
                      <a:lnTo>
                        <a:pt x="670" y="280"/>
                      </a:lnTo>
                      <a:lnTo>
                        <a:pt x="674" y="284"/>
                      </a:lnTo>
                      <a:lnTo>
                        <a:pt x="678" y="284"/>
                      </a:lnTo>
                      <a:lnTo>
                        <a:pt x="678" y="286"/>
                      </a:lnTo>
                      <a:lnTo>
                        <a:pt x="682" y="286"/>
                      </a:lnTo>
                      <a:lnTo>
                        <a:pt x="682" y="290"/>
                      </a:lnTo>
                      <a:lnTo>
                        <a:pt x="678" y="290"/>
                      </a:lnTo>
                      <a:lnTo>
                        <a:pt x="674" y="290"/>
                      </a:lnTo>
                      <a:lnTo>
                        <a:pt x="670" y="290"/>
                      </a:lnTo>
                      <a:lnTo>
                        <a:pt x="670" y="294"/>
                      </a:lnTo>
                      <a:lnTo>
                        <a:pt x="666" y="294"/>
                      </a:lnTo>
                      <a:lnTo>
                        <a:pt x="662" y="294"/>
                      </a:lnTo>
                      <a:lnTo>
                        <a:pt x="660" y="294"/>
                      </a:lnTo>
                      <a:lnTo>
                        <a:pt x="656" y="294"/>
                      </a:lnTo>
                      <a:lnTo>
                        <a:pt x="652" y="294"/>
                      </a:lnTo>
                      <a:lnTo>
                        <a:pt x="652" y="290"/>
                      </a:lnTo>
                      <a:lnTo>
                        <a:pt x="648" y="290"/>
                      </a:lnTo>
                      <a:lnTo>
                        <a:pt x="644" y="290"/>
                      </a:lnTo>
                      <a:lnTo>
                        <a:pt x="648" y="294"/>
                      </a:lnTo>
                      <a:lnTo>
                        <a:pt x="652" y="294"/>
                      </a:lnTo>
                      <a:lnTo>
                        <a:pt x="656" y="294"/>
                      </a:lnTo>
                      <a:lnTo>
                        <a:pt x="660" y="294"/>
                      </a:lnTo>
                      <a:lnTo>
                        <a:pt x="656" y="294"/>
                      </a:lnTo>
                      <a:lnTo>
                        <a:pt x="656" y="298"/>
                      </a:lnTo>
                      <a:lnTo>
                        <a:pt x="652" y="298"/>
                      </a:lnTo>
                      <a:lnTo>
                        <a:pt x="648" y="298"/>
                      </a:lnTo>
                      <a:lnTo>
                        <a:pt x="644" y="298"/>
                      </a:lnTo>
                      <a:lnTo>
                        <a:pt x="640" y="298"/>
                      </a:lnTo>
                      <a:lnTo>
                        <a:pt x="644" y="298"/>
                      </a:lnTo>
                      <a:lnTo>
                        <a:pt x="644" y="302"/>
                      </a:lnTo>
                      <a:lnTo>
                        <a:pt x="644" y="306"/>
                      </a:lnTo>
                      <a:lnTo>
                        <a:pt x="644" y="302"/>
                      </a:lnTo>
                      <a:lnTo>
                        <a:pt x="644" y="298"/>
                      </a:lnTo>
                      <a:lnTo>
                        <a:pt x="648" y="298"/>
                      </a:lnTo>
                      <a:lnTo>
                        <a:pt x="652" y="298"/>
                      </a:lnTo>
                      <a:lnTo>
                        <a:pt x="656" y="298"/>
                      </a:lnTo>
                      <a:lnTo>
                        <a:pt x="660" y="298"/>
                      </a:lnTo>
                      <a:lnTo>
                        <a:pt x="662" y="298"/>
                      </a:lnTo>
                      <a:lnTo>
                        <a:pt x="666" y="298"/>
                      </a:lnTo>
                      <a:lnTo>
                        <a:pt x="670" y="298"/>
                      </a:lnTo>
                      <a:lnTo>
                        <a:pt x="674" y="298"/>
                      </a:lnTo>
                      <a:lnTo>
                        <a:pt x="674" y="302"/>
                      </a:lnTo>
                      <a:lnTo>
                        <a:pt x="678" y="298"/>
                      </a:lnTo>
                      <a:lnTo>
                        <a:pt x="678" y="302"/>
                      </a:lnTo>
                      <a:lnTo>
                        <a:pt x="678" y="306"/>
                      </a:lnTo>
                      <a:lnTo>
                        <a:pt x="674" y="306"/>
                      </a:lnTo>
                      <a:lnTo>
                        <a:pt x="670" y="306"/>
                      </a:lnTo>
                      <a:lnTo>
                        <a:pt x="666" y="306"/>
                      </a:lnTo>
                      <a:lnTo>
                        <a:pt x="662" y="310"/>
                      </a:lnTo>
                      <a:lnTo>
                        <a:pt x="660" y="310"/>
                      </a:lnTo>
                      <a:lnTo>
                        <a:pt x="656" y="306"/>
                      </a:lnTo>
                      <a:lnTo>
                        <a:pt x="652" y="306"/>
                      </a:lnTo>
                      <a:lnTo>
                        <a:pt x="648" y="306"/>
                      </a:lnTo>
                      <a:lnTo>
                        <a:pt x="644" y="306"/>
                      </a:lnTo>
                      <a:lnTo>
                        <a:pt x="648" y="306"/>
                      </a:lnTo>
                      <a:lnTo>
                        <a:pt x="652" y="306"/>
                      </a:lnTo>
                      <a:lnTo>
                        <a:pt x="656" y="306"/>
                      </a:lnTo>
                      <a:lnTo>
                        <a:pt x="660" y="310"/>
                      </a:lnTo>
                      <a:lnTo>
                        <a:pt x="656" y="310"/>
                      </a:lnTo>
                      <a:lnTo>
                        <a:pt x="652" y="310"/>
                      </a:lnTo>
                      <a:lnTo>
                        <a:pt x="656" y="310"/>
                      </a:lnTo>
                      <a:lnTo>
                        <a:pt x="660" y="310"/>
                      </a:lnTo>
                      <a:lnTo>
                        <a:pt x="660" y="314"/>
                      </a:lnTo>
                      <a:lnTo>
                        <a:pt x="660" y="310"/>
                      </a:lnTo>
                      <a:lnTo>
                        <a:pt x="662" y="310"/>
                      </a:lnTo>
                      <a:lnTo>
                        <a:pt x="666" y="310"/>
                      </a:lnTo>
                      <a:lnTo>
                        <a:pt x="670" y="306"/>
                      </a:lnTo>
                      <a:lnTo>
                        <a:pt x="674" y="310"/>
                      </a:lnTo>
                      <a:lnTo>
                        <a:pt x="678" y="310"/>
                      </a:lnTo>
                      <a:lnTo>
                        <a:pt x="682" y="310"/>
                      </a:lnTo>
                      <a:lnTo>
                        <a:pt x="682" y="314"/>
                      </a:lnTo>
                      <a:lnTo>
                        <a:pt x="686" y="314"/>
                      </a:lnTo>
                      <a:lnTo>
                        <a:pt x="682" y="316"/>
                      </a:lnTo>
                      <a:lnTo>
                        <a:pt x="678" y="316"/>
                      </a:lnTo>
                      <a:lnTo>
                        <a:pt x="674" y="316"/>
                      </a:lnTo>
                      <a:lnTo>
                        <a:pt x="670" y="316"/>
                      </a:lnTo>
                      <a:lnTo>
                        <a:pt x="666" y="316"/>
                      </a:lnTo>
                      <a:lnTo>
                        <a:pt x="670" y="316"/>
                      </a:lnTo>
                      <a:lnTo>
                        <a:pt x="674" y="316"/>
                      </a:lnTo>
                      <a:lnTo>
                        <a:pt x="674" y="320"/>
                      </a:lnTo>
                      <a:lnTo>
                        <a:pt x="670" y="320"/>
                      </a:lnTo>
                      <a:lnTo>
                        <a:pt x="670" y="324"/>
                      </a:lnTo>
                      <a:lnTo>
                        <a:pt x="674" y="324"/>
                      </a:lnTo>
                      <a:lnTo>
                        <a:pt x="674" y="320"/>
                      </a:lnTo>
                      <a:lnTo>
                        <a:pt x="678" y="320"/>
                      </a:lnTo>
                      <a:lnTo>
                        <a:pt x="678" y="316"/>
                      </a:lnTo>
                      <a:lnTo>
                        <a:pt x="682" y="316"/>
                      </a:lnTo>
                      <a:lnTo>
                        <a:pt x="686" y="316"/>
                      </a:lnTo>
                      <a:lnTo>
                        <a:pt x="686" y="320"/>
                      </a:lnTo>
                      <a:lnTo>
                        <a:pt x="688" y="320"/>
                      </a:lnTo>
                      <a:lnTo>
                        <a:pt x="692" y="320"/>
                      </a:lnTo>
                      <a:lnTo>
                        <a:pt x="696" y="320"/>
                      </a:lnTo>
                      <a:lnTo>
                        <a:pt x="696" y="324"/>
                      </a:lnTo>
                      <a:lnTo>
                        <a:pt x="700" y="324"/>
                      </a:lnTo>
                      <a:lnTo>
                        <a:pt x="704" y="324"/>
                      </a:lnTo>
                      <a:lnTo>
                        <a:pt x="704" y="328"/>
                      </a:lnTo>
                      <a:lnTo>
                        <a:pt x="708" y="328"/>
                      </a:lnTo>
                      <a:lnTo>
                        <a:pt x="712" y="328"/>
                      </a:lnTo>
                      <a:lnTo>
                        <a:pt x="712" y="332"/>
                      </a:lnTo>
                      <a:lnTo>
                        <a:pt x="716" y="332"/>
                      </a:lnTo>
                      <a:lnTo>
                        <a:pt x="712" y="332"/>
                      </a:lnTo>
                      <a:lnTo>
                        <a:pt x="712" y="336"/>
                      </a:lnTo>
                      <a:lnTo>
                        <a:pt x="708" y="336"/>
                      </a:lnTo>
                      <a:lnTo>
                        <a:pt x="704" y="336"/>
                      </a:lnTo>
                      <a:lnTo>
                        <a:pt x="704" y="340"/>
                      </a:lnTo>
                      <a:lnTo>
                        <a:pt x="708" y="340"/>
                      </a:lnTo>
                      <a:lnTo>
                        <a:pt x="708" y="336"/>
                      </a:lnTo>
                      <a:lnTo>
                        <a:pt x="712" y="336"/>
                      </a:lnTo>
                      <a:lnTo>
                        <a:pt x="716" y="336"/>
                      </a:lnTo>
                      <a:lnTo>
                        <a:pt x="712" y="336"/>
                      </a:lnTo>
                      <a:lnTo>
                        <a:pt x="712" y="340"/>
                      </a:lnTo>
                      <a:lnTo>
                        <a:pt x="716" y="340"/>
                      </a:lnTo>
                      <a:lnTo>
                        <a:pt x="716" y="336"/>
                      </a:lnTo>
                      <a:lnTo>
                        <a:pt x="718" y="336"/>
                      </a:lnTo>
                      <a:lnTo>
                        <a:pt x="722" y="336"/>
                      </a:lnTo>
                      <a:lnTo>
                        <a:pt x="718" y="336"/>
                      </a:lnTo>
                      <a:lnTo>
                        <a:pt x="718" y="340"/>
                      </a:lnTo>
                      <a:lnTo>
                        <a:pt x="716" y="340"/>
                      </a:lnTo>
                      <a:lnTo>
                        <a:pt x="712" y="342"/>
                      </a:lnTo>
                      <a:lnTo>
                        <a:pt x="716" y="342"/>
                      </a:lnTo>
                      <a:lnTo>
                        <a:pt x="716" y="346"/>
                      </a:lnTo>
                      <a:lnTo>
                        <a:pt x="716" y="342"/>
                      </a:lnTo>
                      <a:lnTo>
                        <a:pt x="718" y="342"/>
                      </a:lnTo>
                      <a:lnTo>
                        <a:pt x="722" y="342"/>
                      </a:lnTo>
                      <a:lnTo>
                        <a:pt x="726" y="342"/>
                      </a:lnTo>
                      <a:lnTo>
                        <a:pt x="722" y="342"/>
                      </a:lnTo>
                      <a:lnTo>
                        <a:pt x="722" y="346"/>
                      </a:lnTo>
                      <a:lnTo>
                        <a:pt x="726" y="346"/>
                      </a:lnTo>
                      <a:lnTo>
                        <a:pt x="722" y="346"/>
                      </a:lnTo>
                      <a:lnTo>
                        <a:pt x="726" y="346"/>
                      </a:lnTo>
                      <a:lnTo>
                        <a:pt x="726" y="350"/>
                      </a:lnTo>
                      <a:lnTo>
                        <a:pt x="722" y="350"/>
                      </a:lnTo>
                      <a:lnTo>
                        <a:pt x="722" y="354"/>
                      </a:lnTo>
                      <a:lnTo>
                        <a:pt x="718" y="354"/>
                      </a:lnTo>
                      <a:lnTo>
                        <a:pt x="716" y="354"/>
                      </a:lnTo>
                      <a:lnTo>
                        <a:pt x="718" y="354"/>
                      </a:lnTo>
                      <a:lnTo>
                        <a:pt x="722" y="354"/>
                      </a:lnTo>
                      <a:lnTo>
                        <a:pt x="726" y="354"/>
                      </a:lnTo>
                      <a:lnTo>
                        <a:pt x="726" y="358"/>
                      </a:lnTo>
                      <a:lnTo>
                        <a:pt x="722" y="358"/>
                      </a:lnTo>
                      <a:lnTo>
                        <a:pt x="722" y="362"/>
                      </a:lnTo>
                      <a:lnTo>
                        <a:pt x="722" y="358"/>
                      </a:lnTo>
                      <a:lnTo>
                        <a:pt x="722" y="362"/>
                      </a:lnTo>
                      <a:lnTo>
                        <a:pt x="726" y="362"/>
                      </a:lnTo>
                      <a:lnTo>
                        <a:pt x="726" y="358"/>
                      </a:lnTo>
                      <a:lnTo>
                        <a:pt x="726" y="362"/>
                      </a:lnTo>
                      <a:lnTo>
                        <a:pt x="722" y="362"/>
                      </a:lnTo>
                      <a:lnTo>
                        <a:pt x="726" y="362"/>
                      </a:lnTo>
                      <a:lnTo>
                        <a:pt x="722" y="366"/>
                      </a:lnTo>
                      <a:lnTo>
                        <a:pt x="726" y="366"/>
                      </a:lnTo>
                      <a:lnTo>
                        <a:pt x="730" y="366"/>
                      </a:lnTo>
                      <a:lnTo>
                        <a:pt x="726" y="370"/>
                      </a:lnTo>
                      <a:lnTo>
                        <a:pt x="722" y="370"/>
                      </a:lnTo>
                      <a:lnTo>
                        <a:pt x="718" y="370"/>
                      </a:lnTo>
                      <a:lnTo>
                        <a:pt x="716" y="370"/>
                      </a:lnTo>
                      <a:lnTo>
                        <a:pt x="716" y="366"/>
                      </a:lnTo>
                      <a:lnTo>
                        <a:pt x="716" y="362"/>
                      </a:lnTo>
                      <a:lnTo>
                        <a:pt x="716" y="358"/>
                      </a:lnTo>
                      <a:lnTo>
                        <a:pt x="712" y="358"/>
                      </a:lnTo>
                      <a:lnTo>
                        <a:pt x="712" y="362"/>
                      </a:lnTo>
                      <a:lnTo>
                        <a:pt x="712" y="366"/>
                      </a:lnTo>
                      <a:lnTo>
                        <a:pt x="712" y="370"/>
                      </a:lnTo>
                      <a:lnTo>
                        <a:pt x="708" y="370"/>
                      </a:lnTo>
                      <a:lnTo>
                        <a:pt x="704" y="370"/>
                      </a:lnTo>
                      <a:lnTo>
                        <a:pt x="700" y="370"/>
                      </a:lnTo>
                      <a:lnTo>
                        <a:pt x="696" y="366"/>
                      </a:lnTo>
                      <a:lnTo>
                        <a:pt x="692" y="366"/>
                      </a:lnTo>
                      <a:lnTo>
                        <a:pt x="692" y="362"/>
                      </a:lnTo>
                      <a:lnTo>
                        <a:pt x="688" y="362"/>
                      </a:lnTo>
                      <a:lnTo>
                        <a:pt x="688" y="358"/>
                      </a:lnTo>
                      <a:lnTo>
                        <a:pt x="688" y="354"/>
                      </a:lnTo>
                      <a:lnTo>
                        <a:pt x="688" y="350"/>
                      </a:lnTo>
                      <a:lnTo>
                        <a:pt x="686" y="350"/>
                      </a:lnTo>
                      <a:lnTo>
                        <a:pt x="682" y="346"/>
                      </a:lnTo>
                      <a:lnTo>
                        <a:pt x="678" y="346"/>
                      </a:lnTo>
                      <a:lnTo>
                        <a:pt x="674" y="346"/>
                      </a:lnTo>
                      <a:lnTo>
                        <a:pt x="674" y="342"/>
                      </a:lnTo>
                      <a:lnTo>
                        <a:pt x="670" y="342"/>
                      </a:lnTo>
                      <a:lnTo>
                        <a:pt x="670" y="340"/>
                      </a:lnTo>
                      <a:lnTo>
                        <a:pt x="666" y="340"/>
                      </a:lnTo>
                      <a:lnTo>
                        <a:pt x="660" y="340"/>
                      </a:lnTo>
                      <a:lnTo>
                        <a:pt x="656" y="340"/>
                      </a:lnTo>
                      <a:lnTo>
                        <a:pt x="652" y="340"/>
                      </a:lnTo>
                      <a:lnTo>
                        <a:pt x="648" y="336"/>
                      </a:lnTo>
                      <a:lnTo>
                        <a:pt x="644" y="336"/>
                      </a:lnTo>
                      <a:lnTo>
                        <a:pt x="644" y="332"/>
                      </a:lnTo>
                      <a:lnTo>
                        <a:pt x="640" y="332"/>
                      </a:lnTo>
                      <a:lnTo>
                        <a:pt x="640" y="328"/>
                      </a:lnTo>
                      <a:lnTo>
                        <a:pt x="636" y="328"/>
                      </a:lnTo>
                      <a:lnTo>
                        <a:pt x="632" y="328"/>
                      </a:lnTo>
                      <a:lnTo>
                        <a:pt x="630" y="324"/>
                      </a:lnTo>
                      <a:lnTo>
                        <a:pt x="626" y="324"/>
                      </a:lnTo>
                      <a:lnTo>
                        <a:pt x="626" y="328"/>
                      </a:lnTo>
                      <a:lnTo>
                        <a:pt x="630" y="328"/>
                      </a:lnTo>
                      <a:lnTo>
                        <a:pt x="630" y="332"/>
                      </a:lnTo>
                      <a:lnTo>
                        <a:pt x="632" y="332"/>
                      </a:lnTo>
                      <a:lnTo>
                        <a:pt x="636" y="332"/>
                      </a:lnTo>
                      <a:lnTo>
                        <a:pt x="640" y="336"/>
                      </a:lnTo>
                      <a:lnTo>
                        <a:pt x="644" y="336"/>
                      </a:lnTo>
                      <a:lnTo>
                        <a:pt x="644" y="340"/>
                      </a:lnTo>
                      <a:lnTo>
                        <a:pt x="640" y="340"/>
                      </a:lnTo>
                      <a:lnTo>
                        <a:pt x="636" y="340"/>
                      </a:lnTo>
                      <a:lnTo>
                        <a:pt x="632" y="340"/>
                      </a:lnTo>
                      <a:lnTo>
                        <a:pt x="630" y="340"/>
                      </a:lnTo>
                      <a:lnTo>
                        <a:pt x="632" y="340"/>
                      </a:lnTo>
                      <a:lnTo>
                        <a:pt x="636" y="340"/>
                      </a:lnTo>
                      <a:lnTo>
                        <a:pt x="640" y="340"/>
                      </a:lnTo>
                      <a:lnTo>
                        <a:pt x="644" y="340"/>
                      </a:lnTo>
                      <a:lnTo>
                        <a:pt x="648" y="340"/>
                      </a:lnTo>
                      <a:lnTo>
                        <a:pt x="644" y="340"/>
                      </a:lnTo>
                      <a:lnTo>
                        <a:pt x="644" y="342"/>
                      </a:lnTo>
                      <a:lnTo>
                        <a:pt x="648" y="342"/>
                      </a:lnTo>
                      <a:lnTo>
                        <a:pt x="648" y="340"/>
                      </a:lnTo>
                      <a:lnTo>
                        <a:pt x="652" y="340"/>
                      </a:lnTo>
                      <a:lnTo>
                        <a:pt x="652" y="342"/>
                      </a:lnTo>
                      <a:lnTo>
                        <a:pt x="656" y="342"/>
                      </a:lnTo>
                      <a:lnTo>
                        <a:pt x="660" y="342"/>
                      </a:lnTo>
                      <a:lnTo>
                        <a:pt x="662" y="342"/>
                      </a:lnTo>
                      <a:lnTo>
                        <a:pt x="666" y="342"/>
                      </a:lnTo>
                      <a:lnTo>
                        <a:pt x="670" y="342"/>
                      </a:lnTo>
                      <a:lnTo>
                        <a:pt x="674" y="346"/>
                      </a:lnTo>
                      <a:lnTo>
                        <a:pt x="670" y="350"/>
                      </a:lnTo>
                      <a:lnTo>
                        <a:pt x="670" y="346"/>
                      </a:lnTo>
                      <a:lnTo>
                        <a:pt x="666" y="346"/>
                      </a:lnTo>
                      <a:lnTo>
                        <a:pt x="670" y="350"/>
                      </a:lnTo>
                      <a:lnTo>
                        <a:pt x="662" y="354"/>
                      </a:lnTo>
                      <a:lnTo>
                        <a:pt x="660" y="354"/>
                      </a:lnTo>
                      <a:lnTo>
                        <a:pt x="652" y="358"/>
                      </a:lnTo>
                      <a:lnTo>
                        <a:pt x="652" y="354"/>
                      </a:lnTo>
                      <a:lnTo>
                        <a:pt x="648" y="358"/>
                      </a:lnTo>
                      <a:lnTo>
                        <a:pt x="644" y="358"/>
                      </a:lnTo>
                      <a:lnTo>
                        <a:pt x="644" y="354"/>
                      </a:lnTo>
                      <a:lnTo>
                        <a:pt x="640" y="354"/>
                      </a:lnTo>
                      <a:lnTo>
                        <a:pt x="640" y="350"/>
                      </a:lnTo>
                      <a:lnTo>
                        <a:pt x="636" y="350"/>
                      </a:lnTo>
                      <a:lnTo>
                        <a:pt x="636" y="354"/>
                      </a:lnTo>
                      <a:lnTo>
                        <a:pt x="640" y="354"/>
                      </a:lnTo>
                      <a:lnTo>
                        <a:pt x="640" y="358"/>
                      </a:lnTo>
                      <a:lnTo>
                        <a:pt x="640" y="354"/>
                      </a:lnTo>
                      <a:lnTo>
                        <a:pt x="636" y="354"/>
                      </a:lnTo>
                      <a:lnTo>
                        <a:pt x="632" y="354"/>
                      </a:lnTo>
                      <a:lnTo>
                        <a:pt x="630" y="354"/>
                      </a:lnTo>
                      <a:lnTo>
                        <a:pt x="632" y="354"/>
                      </a:lnTo>
                      <a:lnTo>
                        <a:pt x="632" y="358"/>
                      </a:lnTo>
                      <a:lnTo>
                        <a:pt x="636" y="358"/>
                      </a:lnTo>
                      <a:lnTo>
                        <a:pt x="636" y="362"/>
                      </a:lnTo>
                      <a:lnTo>
                        <a:pt x="632" y="366"/>
                      </a:lnTo>
                      <a:lnTo>
                        <a:pt x="630" y="366"/>
                      </a:lnTo>
                      <a:lnTo>
                        <a:pt x="626" y="366"/>
                      </a:lnTo>
                      <a:lnTo>
                        <a:pt x="622" y="370"/>
                      </a:lnTo>
                      <a:lnTo>
                        <a:pt x="618" y="370"/>
                      </a:lnTo>
                      <a:lnTo>
                        <a:pt x="622" y="370"/>
                      </a:lnTo>
                      <a:lnTo>
                        <a:pt x="626" y="370"/>
                      </a:lnTo>
                      <a:lnTo>
                        <a:pt x="630" y="370"/>
                      </a:lnTo>
                      <a:lnTo>
                        <a:pt x="632" y="366"/>
                      </a:lnTo>
                      <a:lnTo>
                        <a:pt x="632" y="370"/>
                      </a:lnTo>
                      <a:lnTo>
                        <a:pt x="630" y="370"/>
                      </a:lnTo>
                      <a:lnTo>
                        <a:pt x="632" y="370"/>
                      </a:lnTo>
                      <a:lnTo>
                        <a:pt x="636" y="370"/>
                      </a:lnTo>
                      <a:lnTo>
                        <a:pt x="640" y="370"/>
                      </a:lnTo>
                      <a:lnTo>
                        <a:pt x="648" y="370"/>
                      </a:lnTo>
                      <a:lnTo>
                        <a:pt x="652" y="370"/>
                      </a:lnTo>
                      <a:lnTo>
                        <a:pt x="656" y="370"/>
                      </a:lnTo>
                      <a:lnTo>
                        <a:pt x="660" y="370"/>
                      </a:lnTo>
                      <a:lnTo>
                        <a:pt x="660" y="372"/>
                      </a:lnTo>
                      <a:lnTo>
                        <a:pt x="656" y="372"/>
                      </a:lnTo>
                      <a:lnTo>
                        <a:pt x="652" y="372"/>
                      </a:lnTo>
                      <a:lnTo>
                        <a:pt x="648" y="372"/>
                      </a:lnTo>
                      <a:lnTo>
                        <a:pt x="644" y="372"/>
                      </a:lnTo>
                      <a:lnTo>
                        <a:pt x="644" y="376"/>
                      </a:lnTo>
                      <a:lnTo>
                        <a:pt x="640" y="376"/>
                      </a:lnTo>
                      <a:lnTo>
                        <a:pt x="636" y="376"/>
                      </a:lnTo>
                      <a:lnTo>
                        <a:pt x="632" y="376"/>
                      </a:lnTo>
                      <a:lnTo>
                        <a:pt x="630" y="376"/>
                      </a:lnTo>
                      <a:lnTo>
                        <a:pt x="630" y="380"/>
                      </a:lnTo>
                      <a:lnTo>
                        <a:pt x="632" y="376"/>
                      </a:lnTo>
                      <a:lnTo>
                        <a:pt x="632" y="380"/>
                      </a:lnTo>
                      <a:lnTo>
                        <a:pt x="636" y="380"/>
                      </a:lnTo>
                      <a:lnTo>
                        <a:pt x="640" y="380"/>
                      </a:lnTo>
                      <a:lnTo>
                        <a:pt x="644" y="380"/>
                      </a:lnTo>
                      <a:lnTo>
                        <a:pt x="648" y="376"/>
                      </a:lnTo>
                      <a:lnTo>
                        <a:pt x="652" y="372"/>
                      </a:lnTo>
                      <a:lnTo>
                        <a:pt x="656" y="372"/>
                      </a:lnTo>
                      <a:lnTo>
                        <a:pt x="656" y="376"/>
                      </a:lnTo>
                      <a:lnTo>
                        <a:pt x="660" y="376"/>
                      </a:lnTo>
                      <a:lnTo>
                        <a:pt x="662" y="372"/>
                      </a:lnTo>
                      <a:lnTo>
                        <a:pt x="666" y="372"/>
                      </a:lnTo>
                      <a:lnTo>
                        <a:pt x="670" y="372"/>
                      </a:lnTo>
                      <a:lnTo>
                        <a:pt x="674" y="370"/>
                      </a:lnTo>
                      <a:lnTo>
                        <a:pt x="674" y="372"/>
                      </a:lnTo>
                      <a:lnTo>
                        <a:pt x="678" y="372"/>
                      </a:lnTo>
                      <a:lnTo>
                        <a:pt x="678" y="370"/>
                      </a:lnTo>
                      <a:lnTo>
                        <a:pt x="678" y="372"/>
                      </a:lnTo>
                      <a:lnTo>
                        <a:pt x="682" y="372"/>
                      </a:lnTo>
                      <a:lnTo>
                        <a:pt x="686" y="372"/>
                      </a:lnTo>
                      <a:lnTo>
                        <a:pt x="692" y="376"/>
                      </a:lnTo>
                      <a:lnTo>
                        <a:pt x="696" y="376"/>
                      </a:lnTo>
                      <a:lnTo>
                        <a:pt x="700" y="376"/>
                      </a:lnTo>
                      <a:lnTo>
                        <a:pt x="704" y="376"/>
                      </a:lnTo>
                      <a:lnTo>
                        <a:pt x="708" y="376"/>
                      </a:lnTo>
                      <a:lnTo>
                        <a:pt x="712" y="376"/>
                      </a:lnTo>
                      <a:lnTo>
                        <a:pt x="716" y="376"/>
                      </a:lnTo>
                      <a:lnTo>
                        <a:pt x="718" y="376"/>
                      </a:lnTo>
                      <a:lnTo>
                        <a:pt x="718" y="380"/>
                      </a:lnTo>
                      <a:lnTo>
                        <a:pt x="716" y="380"/>
                      </a:lnTo>
                      <a:lnTo>
                        <a:pt x="712" y="380"/>
                      </a:lnTo>
                      <a:lnTo>
                        <a:pt x="708" y="380"/>
                      </a:lnTo>
                      <a:lnTo>
                        <a:pt x="708" y="384"/>
                      </a:lnTo>
                      <a:lnTo>
                        <a:pt x="712" y="384"/>
                      </a:lnTo>
                      <a:lnTo>
                        <a:pt x="708" y="384"/>
                      </a:lnTo>
                      <a:lnTo>
                        <a:pt x="708" y="380"/>
                      </a:lnTo>
                      <a:lnTo>
                        <a:pt x="704" y="380"/>
                      </a:lnTo>
                      <a:lnTo>
                        <a:pt x="704" y="384"/>
                      </a:lnTo>
                      <a:lnTo>
                        <a:pt x="708" y="384"/>
                      </a:lnTo>
                      <a:lnTo>
                        <a:pt x="704" y="384"/>
                      </a:lnTo>
                      <a:lnTo>
                        <a:pt x="708" y="384"/>
                      </a:lnTo>
                      <a:lnTo>
                        <a:pt x="708" y="388"/>
                      </a:lnTo>
                      <a:lnTo>
                        <a:pt x="704" y="388"/>
                      </a:lnTo>
                      <a:lnTo>
                        <a:pt x="704" y="384"/>
                      </a:lnTo>
                      <a:lnTo>
                        <a:pt x="700" y="384"/>
                      </a:lnTo>
                      <a:lnTo>
                        <a:pt x="704" y="384"/>
                      </a:lnTo>
                      <a:lnTo>
                        <a:pt x="704" y="388"/>
                      </a:lnTo>
                      <a:lnTo>
                        <a:pt x="700" y="388"/>
                      </a:lnTo>
                      <a:lnTo>
                        <a:pt x="696" y="388"/>
                      </a:lnTo>
                      <a:lnTo>
                        <a:pt x="692" y="388"/>
                      </a:lnTo>
                      <a:lnTo>
                        <a:pt x="696" y="388"/>
                      </a:lnTo>
                      <a:lnTo>
                        <a:pt x="700" y="388"/>
                      </a:lnTo>
                      <a:lnTo>
                        <a:pt x="696" y="392"/>
                      </a:lnTo>
                      <a:lnTo>
                        <a:pt x="692" y="392"/>
                      </a:lnTo>
                      <a:lnTo>
                        <a:pt x="688" y="392"/>
                      </a:lnTo>
                      <a:lnTo>
                        <a:pt x="692" y="392"/>
                      </a:lnTo>
                      <a:lnTo>
                        <a:pt x="688" y="396"/>
                      </a:lnTo>
                      <a:lnTo>
                        <a:pt x="686" y="396"/>
                      </a:lnTo>
                      <a:lnTo>
                        <a:pt x="682" y="396"/>
                      </a:lnTo>
                      <a:lnTo>
                        <a:pt x="686" y="398"/>
                      </a:lnTo>
                      <a:lnTo>
                        <a:pt x="682" y="398"/>
                      </a:lnTo>
                      <a:lnTo>
                        <a:pt x="678" y="398"/>
                      </a:lnTo>
                      <a:lnTo>
                        <a:pt x="674" y="398"/>
                      </a:lnTo>
                      <a:lnTo>
                        <a:pt x="678" y="398"/>
                      </a:lnTo>
                      <a:lnTo>
                        <a:pt x="678" y="402"/>
                      </a:lnTo>
                      <a:lnTo>
                        <a:pt x="674" y="402"/>
                      </a:lnTo>
                      <a:lnTo>
                        <a:pt x="674" y="406"/>
                      </a:lnTo>
                      <a:lnTo>
                        <a:pt x="670" y="402"/>
                      </a:lnTo>
                      <a:lnTo>
                        <a:pt x="670" y="406"/>
                      </a:lnTo>
                      <a:lnTo>
                        <a:pt x="666" y="406"/>
                      </a:lnTo>
                      <a:lnTo>
                        <a:pt x="670" y="406"/>
                      </a:lnTo>
                      <a:lnTo>
                        <a:pt x="670" y="410"/>
                      </a:lnTo>
                      <a:lnTo>
                        <a:pt x="666" y="410"/>
                      </a:lnTo>
                      <a:lnTo>
                        <a:pt x="662" y="410"/>
                      </a:lnTo>
                      <a:lnTo>
                        <a:pt x="660" y="414"/>
                      </a:lnTo>
                      <a:lnTo>
                        <a:pt x="656" y="414"/>
                      </a:lnTo>
                      <a:lnTo>
                        <a:pt x="652" y="414"/>
                      </a:lnTo>
                      <a:lnTo>
                        <a:pt x="648" y="418"/>
                      </a:lnTo>
                      <a:lnTo>
                        <a:pt x="648" y="414"/>
                      </a:lnTo>
                      <a:lnTo>
                        <a:pt x="644" y="414"/>
                      </a:lnTo>
                      <a:lnTo>
                        <a:pt x="644" y="418"/>
                      </a:lnTo>
                      <a:lnTo>
                        <a:pt x="648" y="418"/>
                      </a:lnTo>
                      <a:lnTo>
                        <a:pt x="644" y="418"/>
                      </a:lnTo>
                      <a:lnTo>
                        <a:pt x="640" y="418"/>
                      </a:lnTo>
                      <a:lnTo>
                        <a:pt x="636" y="418"/>
                      </a:lnTo>
                      <a:lnTo>
                        <a:pt x="632" y="422"/>
                      </a:lnTo>
                      <a:lnTo>
                        <a:pt x="630" y="418"/>
                      </a:lnTo>
                      <a:lnTo>
                        <a:pt x="626" y="422"/>
                      </a:lnTo>
                      <a:lnTo>
                        <a:pt x="622" y="422"/>
                      </a:lnTo>
                      <a:lnTo>
                        <a:pt x="618" y="422"/>
                      </a:lnTo>
                      <a:lnTo>
                        <a:pt x="622" y="422"/>
                      </a:lnTo>
                      <a:lnTo>
                        <a:pt x="622" y="426"/>
                      </a:lnTo>
                      <a:lnTo>
                        <a:pt x="618" y="426"/>
                      </a:lnTo>
                      <a:lnTo>
                        <a:pt x="618" y="422"/>
                      </a:lnTo>
                      <a:lnTo>
                        <a:pt x="618" y="426"/>
                      </a:lnTo>
                      <a:lnTo>
                        <a:pt x="614" y="426"/>
                      </a:lnTo>
                      <a:lnTo>
                        <a:pt x="610" y="422"/>
                      </a:lnTo>
                      <a:lnTo>
                        <a:pt x="606" y="422"/>
                      </a:lnTo>
                      <a:lnTo>
                        <a:pt x="604" y="426"/>
                      </a:lnTo>
                      <a:lnTo>
                        <a:pt x="606" y="426"/>
                      </a:lnTo>
                      <a:lnTo>
                        <a:pt x="606" y="428"/>
                      </a:lnTo>
                      <a:lnTo>
                        <a:pt x="604" y="428"/>
                      </a:lnTo>
                      <a:lnTo>
                        <a:pt x="604" y="426"/>
                      </a:lnTo>
                      <a:lnTo>
                        <a:pt x="600" y="426"/>
                      </a:lnTo>
                      <a:lnTo>
                        <a:pt x="596" y="426"/>
                      </a:lnTo>
                      <a:lnTo>
                        <a:pt x="600" y="426"/>
                      </a:lnTo>
                      <a:lnTo>
                        <a:pt x="604" y="428"/>
                      </a:lnTo>
                      <a:lnTo>
                        <a:pt x="600" y="428"/>
                      </a:lnTo>
                      <a:lnTo>
                        <a:pt x="596" y="428"/>
                      </a:lnTo>
                      <a:lnTo>
                        <a:pt x="592" y="428"/>
                      </a:lnTo>
                      <a:lnTo>
                        <a:pt x="588" y="428"/>
                      </a:lnTo>
                      <a:lnTo>
                        <a:pt x="588" y="426"/>
                      </a:lnTo>
                      <a:lnTo>
                        <a:pt x="584" y="428"/>
                      </a:lnTo>
                      <a:lnTo>
                        <a:pt x="588" y="428"/>
                      </a:lnTo>
                      <a:lnTo>
                        <a:pt x="584" y="428"/>
                      </a:lnTo>
                      <a:lnTo>
                        <a:pt x="584" y="426"/>
                      </a:lnTo>
                      <a:lnTo>
                        <a:pt x="580" y="426"/>
                      </a:lnTo>
                      <a:lnTo>
                        <a:pt x="576" y="426"/>
                      </a:lnTo>
                      <a:lnTo>
                        <a:pt x="576" y="422"/>
                      </a:lnTo>
                      <a:lnTo>
                        <a:pt x="574" y="422"/>
                      </a:lnTo>
                      <a:lnTo>
                        <a:pt x="574" y="418"/>
                      </a:lnTo>
                      <a:lnTo>
                        <a:pt x="574" y="414"/>
                      </a:lnTo>
                      <a:lnTo>
                        <a:pt x="574" y="418"/>
                      </a:lnTo>
                      <a:lnTo>
                        <a:pt x="570" y="418"/>
                      </a:lnTo>
                      <a:lnTo>
                        <a:pt x="574" y="418"/>
                      </a:lnTo>
                      <a:lnTo>
                        <a:pt x="574" y="422"/>
                      </a:lnTo>
                      <a:lnTo>
                        <a:pt x="576" y="422"/>
                      </a:lnTo>
                      <a:lnTo>
                        <a:pt x="576" y="426"/>
                      </a:lnTo>
                      <a:lnTo>
                        <a:pt x="574" y="426"/>
                      </a:lnTo>
                      <a:lnTo>
                        <a:pt x="576" y="426"/>
                      </a:lnTo>
                      <a:lnTo>
                        <a:pt x="580" y="428"/>
                      </a:lnTo>
                      <a:lnTo>
                        <a:pt x="576" y="428"/>
                      </a:lnTo>
                      <a:lnTo>
                        <a:pt x="576" y="432"/>
                      </a:lnTo>
                      <a:lnTo>
                        <a:pt x="574" y="432"/>
                      </a:lnTo>
                      <a:lnTo>
                        <a:pt x="570" y="432"/>
                      </a:lnTo>
                      <a:lnTo>
                        <a:pt x="574" y="432"/>
                      </a:lnTo>
                      <a:lnTo>
                        <a:pt x="574" y="436"/>
                      </a:lnTo>
                      <a:lnTo>
                        <a:pt x="570" y="436"/>
                      </a:lnTo>
                      <a:lnTo>
                        <a:pt x="566" y="436"/>
                      </a:lnTo>
                      <a:lnTo>
                        <a:pt x="566" y="440"/>
                      </a:lnTo>
                      <a:lnTo>
                        <a:pt x="562" y="440"/>
                      </a:lnTo>
                      <a:lnTo>
                        <a:pt x="562" y="436"/>
                      </a:lnTo>
                      <a:lnTo>
                        <a:pt x="562" y="440"/>
                      </a:lnTo>
                      <a:lnTo>
                        <a:pt x="566" y="440"/>
                      </a:lnTo>
                      <a:lnTo>
                        <a:pt x="562" y="440"/>
                      </a:lnTo>
                      <a:lnTo>
                        <a:pt x="562" y="444"/>
                      </a:lnTo>
                      <a:lnTo>
                        <a:pt x="562" y="448"/>
                      </a:lnTo>
                      <a:lnTo>
                        <a:pt x="558" y="448"/>
                      </a:lnTo>
                      <a:lnTo>
                        <a:pt x="558" y="452"/>
                      </a:lnTo>
                      <a:lnTo>
                        <a:pt x="554" y="452"/>
                      </a:lnTo>
                      <a:lnTo>
                        <a:pt x="554" y="456"/>
                      </a:lnTo>
                      <a:lnTo>
                        <a:pt x="550" y="456"/>
                      </a:lnTo>
                      <a:lnTo>
                        <a:pt x="550" y="458"/>
                      </a:lnTo>
                      <a:lnTo>
                        <a:pt x="550" y="462"/>
                      </a:lnTo>
                      <a:lnTo>
                        <a:pt x="546" y="466"/>
                      </a:lnTo>
                      <a:lnTo>
                        <a:pt x="546" y="462"/>
                      </a:lnTo>
                      <a:lnTo>
                        <a:pt x="546" y="466"/>
                      </a:lnTo>
                      <a:lnTo>
                        <a:pt x="544" y="466"/>
                      </a:lnTo>
                      <a:lnTo>
                        <a:pt x="544" y="462"/>
                      </a:lnTo>
                      <a:lnTo>
                        <a:pt x="546" y="462"/>
                      </a:lnTo>
                      <a:lnTo>
                        <a:pt x="544" y="462"/>
                      </a:lnTo>
                      <a:lnTo>
                        <a:pt x="544" y="466"/>
                      </a:lnTo>
                      <a:lnTo>
                        <a:pt x="544" y="470"/>
                      </a:lnTo>
                      <a:lnTo>
                        <a:pt x="540" y="470"/>
                      </a:lnTo>
                      <a:lnTo>
                        <a:pt x="540" y="474"/>
                      </a:lnTo>
                      <a:lnTo>
                        <a:pt x="536" y="474"/>
                      </a:lnTo>
                      <a:lnTo>
                        <a:pt x="536" y="470"/>
                      </a:lnTo>
                      <a:lnTo>
                        <a:pt x="532" y="470"/>
                      </a:lnTo>
                      <a:lnTo>
                        <a:pt x="532" y="474"/>
                      </a:lnTo>
                      <a:lnTo>
                        <a:pt x="536" y="474"/>
                      </a:lnTo>
                      <a:lnTo>
                        <a:pt x="532" y="474"/>
                      </a:lnTo>
                      <a:lnTo>
                        <a:pt x="528" y="474"/>
                      </a:lnTo>
                      <a:lnTo>
                        <a:pt x="524" y="470"/>
                      </a:lnTo>
                      <a:lnTo>
                        <a:pt x="528" y="474"/>
                      </a:lnTo>
                      <a:lnTo>
                        <a:pt x="528" y="478"/>
                      </a:lnTo>
                      <a:lnTo>
                        <a:pt x="524" y="478"/>
                      </a:lnTo>
                      <a:lnTo>
                        <a:pt x="524" y="482"/>
                      </a:lnTo>
                      <a:lnTo>
                        <a:pt x="520" y="482"/>
                      </a:lnTo>
                      <a:lnTo>
                        <a:pt x="518" y="482"/>
                      </a:lnTo>
                      <a:lnTo>
                        <a:pt x="518" y="478"/>
                      </a:lnTo>
                      <a:lnTo>
                        <a:pt x="514" y="478"/>
                      </a:lnTo>
                      <a:lnTo>
                        <a:pt x="518" y="478"/>
                      </a:lnTo>
                      <a:lnTo>
                        <a:pt x="514" y="482"/>
                      </a:lnTo>
                      <a:lnTo>
                        <a:pt x="510" y="482"/>
                      </a:lnTo>
                      <a:lnTo>
                        <a:pt x="510" y="484"/>
                      </a:lnTo>
                      <a:lnTo>
                        <a:pt x="506" y="484"/>
                      </a:lnTo>
                      <a:lnTo>
                        <a:pt x="506" y="482"/>
                      </a:lnTo>
                      <a:lnTo>
                        <a:pt x="506" y="478"/>
                      </a:lnTo>
                      <a:lnTo>
                        <a:pt x="506" y="482"/>
                      </a:lnTo>
                      <a:lnTo>
                        <a:pt x="506" y="484"/>
                      </a:lnTo>
                      <a:lnTo>
                        <a:pt x="502" y="484"/>
                      </a:lnTo>
                      <a:lnTo>
                        <a:pt x="502" y="482"/>
                      </a:lnTo>
                      <a:lnTo>
                        <a:pt x="498" y="482"/>
                      </a:lnTo>
                      <a:lnTo>
                        <a:pt x="498" y="478"/>
                      </a:lnTo>
                      <a:lnTo>
                        <a:pt x="502" y="474"/>
                      </a:lnTo>
                      <a:lnTo>
                        <a:pt x="506" y="474"/>
                      </a:lnTo>
                      <a:lnTo>
                        <a:pt x="506" y="470"/>
                      </a:lnTo>
                      <a:lnTo>
                        <a:pt x="502" y="470"/>
                      </a:lnTo>
                      <a:lnTo>
                        <a:pt x="502" y="474"/>
                      </a:lnTo>
                      <a:lnTo>
                        <a:pt x="498" y="474"/>
                      </a:lnTo>
                      <a:lnTo>
                        <a:pt x="498" y="470"/>
                      </a:lnTo>
                      <a:lnTo>
                        <a:pt x="494" y="470"/>
                      </a:lnTo>
                      <a:lnTo>
                        <a:pt x="490" y="470"/>
                      </a:lnTo>
                      <a:lnTo>
                        <a:pt x="494" y="470"/>
                      </a:lnTo>
                      <a:lnTo>
                        <a:pt x="494" y="474"/>
                      </a:lnTo>
                      <a:lnTo>
                        <a:pt x="498" y="474"/>
                      </a:lnTo>
                      <a:lnTo>
                        <a:pt x="494" y="474"/>
                      </a:lnTo>
                      <a:lnTo>
                        <a:pt x="494" y="478"/>
                      </a:lnTo>
                      <a:lnTo>
                        <a:pt x="494" y="482"/>
                      </a:lnTo>
                      <a:lnTo>
                        <a:pt x="490" y="482"/>
                      </a:lnTo>
                      <a:lnTo>
                        <a:pt x="488" y="482"/>
                      </a:lnTo>
                      <a:lnTo>
                        <a:pt x="488" y="478"/>
                      </a:lnTo>
                      <a:lnTo>
                        <a:pt x="488" y="482"/>
                      </a:lnTo>
                      <a:lnTo>
                        <a:pt x="490" y="484"/>
                      </a:lnTo>
                      <a:lnTo>
                        <a:pt x="490" y="488"/>
                      </a:lnTo>
                      <a:lnTo>
                        <a:pt x="488" y="488"/>
                      </a:lnTo>
                      <a:lnTo>
                        <a:pt x="484" y="488"/>
                      </a:lnTo>
                      <a:lnTo>
                        <a:pt x="488" y="488"/>
                      </a:lnTo>
                      <a:lnTo>
                        <a:pt x="484" y="488"/>
                      </a:lnTo>
                      <a:lnTo>
                        <a:pt x="480" y="488"/>
                      </a:lnTo>
                      <a:lnTo>
                        <a:pt x="476" y="488"/>
                      </a:lnTo>
                      <a:lnTo>
                        <a:pt x="476" y="484"/>
                      </a:lnTo>
                      <a:lnTo>
                        <a:pt x="476" y="488"/>
                      </a:lnTo>
                      <a:lnTo>
                        <a:pt x="476" y="492"/>
                      </a:lnTo>
                      <a:lnTo>
                        <a:pt x="472" y="492"/>
                      </a:lnTo>
                      <a:lnTo>
                        <a:pt x="472" y="488"/>
                      </a:lnTo>
                      <a:lnTo>
                        <a:pt x="468" y="488"/>
                      </a:lnTo>
                      <a:lnTo>
                        <a:pt x="468" y="492"/>
                      </a:lnTo>
                      <a:lnTo>
                        <a:pt x="464" y="492"/>
                      </a:lnTo>
                      <a:lnTo>
                        <a:pt x="464" y="488"/>
                      </a:lnTo>
                      <a:lnTo>
                        <a:pt x="462" y="492"/>
                      </a:lnTo>
                      <a:lnTo>
                        <a:pt x="464" y="492"/>
                      </a:lnTo>
                      <a:lnTo>
                        <a:pt x="468" y="492"/>
                      </a:lnTo>
                      <a:lnTo>
                        <a:pt x="468" y="496"/>
                      </a:lnTo>
                      <a:lnTo>
                        <a:pt x="468" y="492"/>
                      </a:lnTo>
                      <a:lnTo>
                        <a:pt x="464" y="496"/>
                      </a:lnTo>
                      <a:lnTo>
                        <a:pt x="468" y="496"/>
                      </a:lnTo>
                      <a:lnTo>
                        <a:pt x="468" y="500"/>
                      </a:lnTo>
                      <a:lnTo>
                        <a:pt x="464" y="500"/>
                      </a:lnTo>
                      <a:lnTo>
                        <a:pt x="464" y="504"/>
                      </a:lnTo>
                      <a:lnTo>
                        <a:pt x="462" y="504"/>
                      </a:lnTo>
                      <a:lnTo>
                        <a:pt x="458" y="504"/>
                      </a:lnTo>
                      <a:lnTo>
                        <a:pt x="458" y="500"/>
                      </a:lnTo>
                      <a:lnTo>
                        <a:pt x="458" y="504"/>
                      </a:lnTo>
                      <a:lnTo>
                        <a:pt x="450" y="504"/>
                      </a:lnTo>
                      <a:lnTo>
                        <a:pt x="450" y="508"/>
                      </a:lnTo>
                      <a:lnTo>
                        <a:pt x="454" y="508"/>
                      </a:lnTo>
                      <a:lnTo>
                        <a:pt x="454" y="512"/>
                      </a:lnTo>
                      <a:lnTo>
                        <a:pt x="458" y="512"/>
                      </a:lnTo>
                      <a:lnTo>
                        <a:pt x="458" y="514"/>
                      </a:lnTo>
                      <a:lnTo>
                        <a:pt x="458" y="518"/>
                      </a:lnTo>
                      <a:lnTo>
                        <a:pt x="462" y="518"/>
                      </a:lnTo>
                      <a:lnTo>
                        <a:pt x="458" y="518"/>
                      </a:lnTo>
                      <a:lnTo>
                        <a:pt x="454" y="518"/>
                      </a:lnTo>
                      <a:lnTo>
                        <a:pt x="450" y="522"/>
                      </a:lnTo>
                      <a:lnTo>
                        <a:pt x="446" y="518"/>
                      </a:lnTo>
                      <a:lnTo>
                        <a:pt x="442" y="518"/>
                      </a:lnTo>
                      <a:lnTo>
                        <a:pt x="442" y="522"/>
                      </a:lnTo>
                      <a:lnTo>
                        <a:pt x="446" y="522"/>
                      </a:lnTo>
                      <a:lnTo>
                        <a:pt x="450" y="526"/>
                      </a:lnTo>
                      <a:lnTo>
                        <a:pt x="454" y="526"/>
                      </a:lnTo>
                      <a:lnTo>
                        <a:pt x="454" y="522"/>
                      </a:lnTo>
                      <a:lnTo>
                        <a:pt x="458" y="526"/>
                      </a:lnTo>
                      <a:lnTo>
                        <a:pt x="454" y="530"/>
                      </a:lnTo>
                      <a:lnTo>
                        <a:pt x="458" y="530"/>
                      </a:lnTo>
                      <a:lnTo>
                        <a:pt x="458" y="534"/>
                      </a:lnTo>
                      <a:lnTo>
                        <a:pt x="458" y="538"/>
                      </a:lnTo>
                      <a:lnTo>
                        <a:pt x="454" y="538"/>
                      </a:lnTo>
                      <a:lnTo>
                        <a:pt x="454" y="534"/>
                      </a:lnTo>
                      <a:lnTo>
                        <a:pt x="450" y="534"/>
                      </a:lnTo>
                      <a:lnTo>
                        <a:pt x="446" y="534"/>
                      </a:lnTo>
                      <a:lnTo>
                        <a:pt x="442" y="534"/>
                      </a:lnTo>
                      <a:lnTo>
                        <a:pt x="446" y="534"/>
                      </a:lnTo>
                      <a:lnTo>
                        <a:pt x="450" y="534"/>
                      </a:lnTo>
                      <a:lnTo>
                        <a:pt x="450" y="538"/>
                      </a:lnTo>
                      <a:lnTo>
                        <a:pt x="454" y="538"/>
                      </a:lnTo>
                      <a:lnTo>
                        <a:pt x="454" y="540"/>
                      </a:lnTo>
                      <a:lnTo>
                        <a:pt x="454" y="538"/>
                      </a:lnTo>
                      <a:lnTo>
                        <a:pt x="450" y="538"/>
                      </a:lnTo>
                      <a:lnTo>
                        <a:pt x="450" y="540"/>
                      </a:lnTo>
                      <a:lnTo>
                        <a:pt x="446" y="540"/>
                      </a:lnTo>
                      <a:lnTo>
                        <a:pt x="446" y="538"/>
                      </a:lnTo>
                      <a:lnTo>
                        <a:pt x="446" y="540"/>
                      </a:lnTo>
                      <a:lnTo>
                        <a:pt x="450" y="540"/>
                      </a:lnTo>
                      <a:lnTo>
                        <a:pt x="446" y="540"/>
                      </a:lnTo>
                      <a:lnTo>
                        <a:pt x="442" y="540"/>
                      </a:lnTo>
                      <a:lnTo>
                        <a:pt x="446" y="540"/>
                      </a:lnTo>
                      <a:lnTo>
                        <a:pt x="450" y="544"/>
                      </a:lnTo>
                      <a:lnTo>
                        <a:pt x="446" y="544"/>
                      </a:lnTo>
                      <a:lnTo>
                        <a:pt x="446" y="540"/>
                      </a:lnTo>
                      <a:lnTo>
                        <a:pt x="442" y="540"/>
                      </a:lnTo>
                      <a:lnTo>
                        <a:pt x="440" y="540"/>
                      </a:lnTo>
                      <a:lnTo>
                        <a:pt x="442" y="544"/>
                      </a:lnTo>
                      <a:lnTo>
                        <a:pt x="446" y="544"/>
                      </a:lnTo>
                      <a:lnTo>
                        <a:pt x="446" y="548"/>
                      </a:lnTo>
                      <a:lnTo>
                        <a:pt x="442" y="548"/>
                      </a:lnTo>
                      <a:lnTo>
                        <a:pt x="440" y="548"/>
                      </a:lnTo>
                      <a:lnTo>
                        <a:pt x="440" y="544"/>
                      </a:lnTo>
                      <a:lnTo>
                        <a:pt x="440" y="548"/>
                      </a:lnTo>
                      <a:lnTo>
                        <a:pt x="442" y="548"/>
                      </a:lnTo>
                      <a:lnTo>
                        <a:pt x="442" y="552"/>
                      </a:lnTo>
                      <a:lnTo>
                        <a:pt x="440" y="552"/>
                      </a:lnTo>
                      <a:lnTo>
                        <a:pt x="440" y="548"/>
                      </a:lnTo>
                      <a:lnTo>
                        <a:pt x="436" y="548"/>
                      </a:lnTo>
                      <a:lnTo>
                        <a:pt x="440" y="552"/>
                      </a:lnTo>
                      <a:lnTo>
                        <a:pt x="442" y="552"/>
                      </a:lnTo>
                      <a:lnTo>
                        <a:pt x="442" y="556"/>
                      </a:lnTo>
                      <a:lnTo>
                        <a:pt x="440" y="556"/>
                      </a:lnTo>
                      <a:lnTo>
                        <a:pt x="436" y="556"/>
                      </a:lnTo>
                      <a:lnTo>
                        <a:pt x="432" y="556"/>
                      </a:lnTo>
                      <a:lnTo>
                        <a:pt x="432" y="552"/>
                      </a:lnTo>
                      <a:lnTo>
                        <a:pt x="436" y="552"/>
                      </a:lnTo>
                      <a:lnTo>
                        <a:pt x="432" y="552"/>
                      </a:lnTo>
                      <a:lnTo>
                        <a:pt x="432" y="556"/>
                      </a:lnTo>
                      <a:lnTo>
                        <a:pt x="432" y="560"/>
                      </a:lnTo>
                      <a:lnTo>
                        <a:pt x="428" y="556"/>
                      </a:lnTo>
                      <a:lnTo>
                        <a:pt x="428" y="560"/>
                      </a:lnTo>
                      <a:lnTo>
                        <a:pt x="424" y="560"/>
                      </a:lnTo>
                      <a:lnTo>
                        <a:pt x="420" y="556"/>
                      </a:lnTo>
                      <a:lnTo>
                        <a:pt x="420" y="560"/>
                      </a:lnTo>
                      <a:lnTo>
                        <a:pt x="424" y="560"/>
                      </a:lnTo>
                      <a:lnTo>
                        <a:pt x="428" y="560"/>
                      </a:lnTo>
                      <a:lnTo>
                        <a:pt x="432" y="564"/>
                      </a:lnTo>
                      <a:lnTo>
                        <a:pt x="436" y="564"/>
                      </a:lnTo>
                      <a:lnTo>
                        <a:pt x="436" y="568"/>
                      </a:lnTo>
                      <a:lnTo>
                        <a:pt x="432" y="568"/>
                      </a:lnTo>
                      <a:lnTo>
                        <a:pt x="432" y="564"/>
                      </a:lnTo>
                      <a:lnTo>
                        <a:pt x="428" y="564"/>
                      </a:lnTo>
                      <a:lnTo>
                        <a:pt x="424" y="564"/>
                      </a:lnTo>
                      <a:lnTo>
                        <a:pt x="428" y="564"/>
                      </a:lnTo>
                      <a:lnTo>
                        <a:pt x="428" y="568"/>
                      </a:lnTo>
                      <a:lnTo>
                        <a:pt x="432" y="568"/>
                      </a:lnTo>
                      <a:lnTo>
                        <a:pt x="436" y="570"/>
                      </a:lnTo>
                      <a:lnTo>
                        <a:pt x="432" y="570"/>
                      </a:lnTo>
                      <a:lnTo>
                        <a:pt x="432" y="574"/>
                      </a:lnTo>
                      <a:lnTo>
                        <a:pt x="436" y="574"/>
                      </a:lnTo>
                      <a:lnTo>
                        <a:pt x="436" y="578"/>
                      </a:lnTo>
                      <a:lnTo>
                        <a:pt x="432" y="578"/>
                      </a:lnTo>
                      <a:lnTo>
                        <a:pt x="436" y="578"/>
                      </a:lnTo>
                      <a:lnTo>
                        <a:pt x="432" y="582"/>
                      </a:lnTo>
                      <a:lnTo>
                        <a:pt x="428" y="582"/>
                      </a:lnTo>
                      <a:lnTo>
                        <a:pt x="428" y="578"/>
                      </a:lnTo>
                      <a:lnTo>
                        <a:pt x="424" y="578"/>
                      </a:lnTo>
                      <a:lnTo>
                        <a:pt x="424" y="582"/>
                      </a:lnTo>
                      <a:lnTo>
                        <a:pt x="428" y="578"/>
                      </a:lnTo>
                      <a:lnTo>
                        <a:pt x="428" y="582"/>
                      </a:lnTo>
                      <a:lnTo>
                        <a:pt x="432" y="582"/>
                      </a:lnTo>
                      <a:lnTo>
                        <a:pt x="432" y="584"/>
                      </a:lnTo>
                      <a:lnTo>
                        <a:pt x="428" y="584"/>
                      </a:lnTo>
                      <a:lnTo>
                        <a:pt x="424" y="584"/>
                      </a:lnTo>
                      <a:lnTo>
                        <a:pt x="428" y="584"/>
                      </a:lnTo>
                      <a:lnTo>
                        <a:pt x="432" y="584"/>
                      </a:lnTo>
                      <a:lnTo>
                        <a:pt x="432" y="588"/>
                      </a:lnTo>
                      <a:lnTo>
                        <a:pt x="428" y="588"/>
                      </a:lnTo>
                      <a:lnTo>
                        <a:pt x="428" y="592"/>
                      </a:lnTo>
                      <a:lnTo>
                        <a:pt x="428" y="588"/>
                      </a:lnTo>
                      <a:lnTo>
                        <a:pt x="424" y="588"/>
                      </a:lnTo>
                      <a:lnTo>
                        <a:pt x="420" y="588"/>
                      </a:lnTo>
                      <a:lnTo>
                        <a:pt x="424" y="588"/>
                      </a:lnTo>
                      <a:lnTo>
                        <a:pt x="428" y="592"/>
                      </a:lnTo>
                      <a:lnTo>
                        <a:pt x="424" y="592"/>
                      </a:lnTo>
                      <a:lnTo>
                        <a:pt x="428" y="592"/>
                      </a:lnTo>
                      <a:lnTo>
                        <a:pt x="424" y="592"/>
                      </a:lnTo>
                      <a:lnTo>
                        <a:pt x="420" y="592"/>
                      </a:lnTo>
                      <a:lnTo>
                        <a:pt x="424" y="592"/>
                      </a:lnTo>
                      <a:lnTo>
                        <a:pt x="428" y="592"/>
                      </a:lnTo>
                      <a:lnTo>
                        <a:pt x="428" y="596"/>
                      </a:lnTo>
                      <a:lnTo>
                        <a:pt x="424" y="596"/>
                      </a:lnTo>
                      <a:lnTo>
                        <a:pt x="420" y="596"/>
                      </a:lnTo>
                      <a:lnTo>
                        <a:pt x="418" y="592"/>
                      </a:lnTo>
                      <a:lnTo>
                        <a:pt x="418" y="596"/>
                      </a:lnTo>
                      <a:lnTo>
                        <a:pt x="420" y="596"/>
                      </a:lnTo>
                      <a:lnTo>
                        <a:pt x="424" y="596"/>
                      </a:lnTo>
                      <a:lnTo>
                        <a:pt x="428" y="596"/>
                      </a:lnTo>
                      <a:lnTo>
                        <a:pt x="428" y="600"/>
                      </a:lnTo>
                      <a:lnTo>
                        <a:pt x="424" y="600"/>
                      </a:lnTo>
                      <a:lnTo>
                        <a:pt x="420" y="600"/>
                      </a:lnTo>
                      <a:lnTo>
                        <a:pt x="418" y="600"/>
                      </a:lnTo>
                      <a:lnTo>
                        <a:pt x="420" y="600"/>
                      </a:lnTo>
                      <a:lnTo>
                        <a:pt x="424" y="600"/>
                      </a:lnTo>
                      <a:lnTo>
                        <a:pt x="428" y="600"/>
                      </a:lnTo>
                      <a:lnTo>
                        <a:pt x="428" y="604"/>
                      </a:lnTo>
                      <a:lnTo>
                        <a:pt x="424" y="604"/>
                      </a:lnTo>
                      <a:lnTo>
                        <a:pt x="424" y="600"/>
                      </a:lnTo>
                      <a:lnTo>
                        <a:pt x="420" y="600"/>
                      </a:lnTo>
                      <a:lnTo>
                        <a:pt x="418" y="600"/>
                      </a:lnTo>
                      <a:lnTo>
                        <a:pt x="420" y="604"/>
                      </a:lnTo>
                      <a:lnTo>
                        <a:pt x="424" y="604"/>
                      </a:lnTo>
                      <a:lnTo>
                        <a:pt x="428" y="604"/>
                      </a:lnTo>
                      <a:lnTo>
                        <a:pt x="424" y="604"/>
                      </a:lnTo>
                      <a:lnTo>
                        <a:pt x="420" y="604"/>
                      </a:lnTo>
                      <a:lnTo>
                        <a:pt x="424" y="604"/>
                      </a:lnTo>
                      <a:lnTo>
                        <a:pt x="424" y="608"/>
                      </a:lnTo>
                      <a:lnTo>
                        <a:pt x="424" y="604"/>
                      </a:lnTo>
                      <a:lnTo>
                        <a:pt x="428" y="604"/>
                      </a:lnTo>
                      <a:lnTo>
                        <a:pt x="424" y="608"/>
                      </a:lnTo>
                      <a:lnTo>
                        <a:pt x="420" y="608"/>
                      </a:lnTo>
                      <a:lnTo>
                        <a:pt x="420" y="612"/>
                      </a:lnTo>
                      <a:lnTo>
                        <a:pt x="418" y="608"/>
                      </a:lnTo>
                      <a:lnTo>
                        <a:pt x="414" y="608"/>
                      </a:lnTo>
                      <a:lnTo>
                        <a:pt x="414" y="604"/>
                      </a:lnTo>
                      <a:lnTo>
                        <a:pt x="414" y="608"/>
                      </a:lnTo>
                      <a:lnTo>
                        <a:pt x="410" y="608"/>
                      </a:lnTo>
                      <a:lnTo>
                        <a:pt x="406" y="608"/>
                      </a:lnTo>
                      <a:lnTo>
                        <a:pt x="410" y="608"/>
                      </a:lnTo>
                      <a:lnTo>
                        <a:pt x="418" y="608"/>
                      </a:lnTo>
                      <a:lnTo>
                        <a:pt x="420" y="612"/>
                      </a:lnTo>
                      <a:lnTo>
                        <a:pt x="418" y="612"/>
                      </a:lnTo>
                      <a:lnTo>
                        <a:pt x="418" y="614"/>
                      </a:lnTo>
                      <a:lnTo>
                        <a:pt x="418" y="612"/>
                      </a:lnTo>
                      <a:lnTo>
                        <a:pt x="420" y="612"/>
                      </a:lnTo>
                      <a:lnTo>
                        <a:pt x="420" y="614"/>
                      </a:lnTo>
                      <a:lnTo>
                        <a:pt x="420" y="618"/>
                      </a:lnTo>
                      <a:lnTo>
                        <a:pt x="418" y="618"/>
                      </a:lnTo>
                      <a:lnTo>
                        <a:pt x="414" y="618"/>
                      </a:lnTo>
                      <a:lnTo>
                        <a:pt x="414" y="614"/>
                      </a:lnTo>
                      <a:lnTo>
                        <a:pt x="410" y="614"/>
                      </a:lnTo>
                      <a:lnTo>
                        <a:pt x="410" y="612"/>
                      </a:lnTo>
                      <a:lnTo>
                        <a:pt x="410" y="614"/>
                      </a:lnTo>
                      <a:lnTo>
                        <a:pt x="406" y="614"/>
                      </a:lnTo>
                      <a:lnTo>
                        <a:pt x="406" y="618"/>
                      </a:lnTo>
                      <a:lnTo>
                        <a:pt x="402" y="614"/>
                      </a:lnTo>
                      <a:lnTo>
                        <a:pt x="402" y="618"/>
                      </a:lnTo>
                      <a:lnTo>
                        <a:pt x="402" y="622"/>
                      </a:lnTo>
                      <a:lnTo>
                        <a:pt x="398" y="618"/>
                      </a:lnTo>
                      <a:lnTo>
                        <a:pt x="394" y="618"/>
                      </a:lnTo>
                      <a:lnTo>
                        <a:pt x="394" y="614"/>
                      </a:lnTo>
                      <a:lnTo>
                        <a:pt x="398" y="614"/>
                      </a:lnTo>
                      <a:lnTo>
                        <a:pt x="398" y="612"/>
                      </a:lnTo>
                      <a:lnTo>
                        <a:pt x="402" y="612"/>
                      </a:lnTo>
                      <a:lnTo>
                        <a:pt x="402" y="608"/>
                      </a:lnTo>
                      <a:lnTo>
                        <a:pt x="398" y="614"/>
                      </a:lnTo>
                      <a:lnTo>
                        <a:pt x="394" y="614"/>
                      </a:lnTo>
                      <a:lnTo>
                        <a:pt x="394" y="618"/>
                      </a:lnTo>
                      <a:lnTo>
                        <a:pt x="392" y="618"/>
                      </a:lnTo>
                      <a:lnTo>
                        <a:pt x="394" y="614"/>
                      </a:lnTo>
                      <a:lnTo>
                        <a:pt x="392" y="614"/>
                      </a:lnTo>
                      <a:lnTo>
                        <a:pt x="394" y="614"/>
                      </a:lnTo>
                      <a:lnTo>
                        <a:pt x="394" y="612"/>
                      </a:lnTo>
                      <a:lnTo>
                        <a:pt x="398" y="612"/>
                      </a:lnTo>
                      <a:lnTo>
                        <a:pt x="398" y="604"/>
                      </a:lnTo>
                      <a:lnTo>
                        <a:pt x="402" y="604"/>
                      </a:lnTo>
                      <a:lnTo>
                        <a:pt x="398" y="604"/>
                      </a:lnTo>
                      <a:lnTo>
                        <a:pt x="398" y="608"/>
                      </a:lnTo>
                      <a:lnTo>
                        <a:pt x="394" y="608"/>
                      </a:lnTo>
                      <a:lnTo>
                        <a:pt x="394" y="612"/>
                      </a:lnTo>
                      <a:lnTo>
                        <a:pt x="392" y="612"/>
                      </a:lnTo>
                      <a:lnTo>
                        <a:pt x="392" y="608"/>
                      </a:lnTo>
                      <a:lnTo>
                        <a:pt x="394" y="608"/>
                      </a:lnTo>
                      <a:lnTo>
                        <a:pt x="394" y="604"/>
                      </a:lnTo>
                      <a:lnTo>
                        <a:pt x="394" y="608"/>
                      </a:lnTo>
                      <a:lnTo>
                        <a:pt x="392" y="608"/>
                      </a:lnTo>
                      <a:lnTo>
                        <a:pt x="388" y="608"/>
                      </a:lnTo>
                      <a:lnTo>
                        <a:pt x="392" y="608"/>
                      </a:lnTo>
                      <a:lnTo>
                        <a:pt x="392" y="604"/>
                      </a:lnTo>
                      <a:lnTo>
                        <a:pt x="392" y="608"/>
                      </a:lnTo>
                      <a:lnTo>
                        <a:pt x="388" y="608"/>
                      </a:lnTo>
                      <a:lnTo>
                        <a:pt x="388" y="612"/>
                      </a:lnTo>
                      <a:lnTo>
                        <a:pt x="384" y="608"/>
                      </a:lnTo>
                      <a:lnTo>
                        <a:pt x="388" y="608"/>
                      </a:lnTo>
                      <a:lnTo>
                        <a:pt x="384" y="608"/>
                      </a:lnTo>
                      <a:lnTo>
                        <a:pt x="388" y="604"/>
                      </a:lnTo>
                      <a:lnTo>
                        <a:pt x="384" y="604"/>
                      </a:lnTo>
                      <a:lnTo>
                        <a:pt x="388" y="604"/>
                      </a:lnTo>
                      <a:lnTo>
                        <a:pt x="392" y="600"/>
                      </a:lnTo>
                      <a:lnTo>
                        <a:pt x="392" y="596"/>
                      </a:lnTo>
                      <a:lnTo>
                        <a:pt x="392" y="600"/>
                      </a:lnTo>
                      <a:lnTo>
                        <a:pt x="388" y="600"/>
                      </a:lnTo>
                      <a:lnTo>
                        <a:pt x="388" y="604"/>
                      </a:lnTo>
                      <a:lnTo>
                        <a:pt x="384" y="604"/>
                      </a:lnTo>
                      <a:lnTo>
                        <a:pt x="384" y="600"/>
                      </a:lnTo>
                      <a:lnTo>
                        <a:pt x="384" y="604"/>
                      </a:lnTo>
                      <a:lnTo>
                        <a:pt x="380" y="604"/>
                      </a:lnTo>
                      <a:lnTo>
                        <a:pt x="380" y="600"/>
                      </a:lnTo>
                      <a:lnTo>
                        <a:pt x="384" y="600"/>
                      </a:lnTo>
                      <a:lnTo>
                        <a:pt x="380" y="600"/>
                      </a:lnTo>
                      <a:lnTo>
                        <a:pt x="380" y="604"/>
                      </a:lnTo>
                      <a:lnTo>
                        <a:pt x="380" y="600"/>
                      </a:lnTo>
                      <a:lnTo>
                        <a:pt x="384" y="600"/>
                      </a:lnTo>
                      <a:lnTo>
                        <a:pt x="388" y="600"/>
                      </a:lnTo>
                      <a:lnTo>
                        <a:pt x="388" y="596"/>
                      </a:lnTo>
                      <a:lnTo>
                        <a:pt x="392" y="596"/>
                      </a:lnTo>
                      <a:lnTo>
                        <a:pt x="392" y="592"/>
                      </a:lnTo>
                      <a:lnTo>
                        <a:pt x="392" y="596"/>
                      </a:lnTo>
                      <a:lnTo>
                        <a:pt x="392" y="592"/>
                      </a:lnTo>
                      <a:lnTo>
                        <a:pt x="388" y="592"/>
                      </a:lnTo>
                      <a:lnTo>
                        <a:pt x="388" y="596"/>
                      </a:lnTo>
                      <a:lnTo>
                        <a:pt x="384" y="600"/>
                      </a:lnTo>
                      <a:lnTo>
                        <a:pt x="384" y="596"/>
                      </a:lnTo>
                      <a:lnTo>
                        <a:pt x="384" y="600"/>
                      </a:lnTo>
                      <a:lnTo>
                        <a:pt x="380" y="600"/>
                      </a:lnTo>
                      <a:lnTo>
                        <a:pt x="380" y="596"/>
                      </a:lnTo>
                      <a:lnTo>
                        <a:pt x="384" y="596"/>
                      </a:lnTo>
                      <a:lnTo>
                        <a:pt x="388" y="592"/>
                      </a:lnTo>
                      <a:lnTo>
                        <a:pt x="384" y="592"/>
                      </a:lnTo>
                      <a:lnTo>
                        <a:pt x="384" y="588"/>
                      </a:lnTo>
                      <a:lnTo>
                        <a:pt x="388" y="588"/>
                      </a:lnTo>
                      <a:lnTo>
                        <a:pt x="384" y="588"/>
                      </a:lnTo>
                      <a:lnTo>
                        <a:pt x="380" y="592"/>
                      </a:lnTo>
                      <a:lnTo>
                        <a:pt x="384" y="592"/>
                      </a:lnTo>
                      <a:lnTo>
                        <a:pt x="384" y="596"/>
                      </a:lnTo>
                      <a:lnTo>
                        <a:pt x="380" y="596"/>
                      </a:lnTo>
                      <a:lnTo>
                        <a:pt x="376" y="596"/>
                      </a:lnTo>
                      <a:lnTo>
                        <a:pt x="372" y="596"/>
                      </a:lnTo>
                      <a:lnTo>
                        <a:pt x="372" y="600"/>
                      </a:lnTo>
                      <a:lnTo>
                        <a:pt x="368" y="600"/>
                      </a:lnTo>
                      <a:lnTo>
                        <a:pt x="372" y="600"/>
                      </a:lnTo>
                      <a:lnTo>
                        <a:pt x="368" y="604"/>
                      </a:lnTo>
                      <a:lnTo>
                        <a:pt x="368" y="600"/>
                      </a:lnTo>
                      <a:lnTo>
                        <a:pt x="368" y="596"/>
                      </a:lnTo>
                      <a:lnTo>
                        <a:pt x="364" y="600"/>
                      </a:lnTo>
                      <a:lnTo>
                        <a:pt x="362" y="600"/>
                      </a:lnTo>
                      <a:lnTo>
                        <a:pt x="358" y="600"/>
                      </a:lnTo>
                      <a:lnTo>
                        <a:pt x="362" y="600"/>
                      </a:lnTo>
                      <a:lnTo>
                        <a:pt x="358" y="600"/>
                      </a:lnTo>
                      <a:lnTo>
                        <a:pt x="354" y="600"/>
                      </a:lnTo>
                      <a:lnTo>
                        <a:pt x="350" y="600"/>
                      </a:lnTo>
                      <a:lnTo>
                        <a:pt x="354" y="600"/>
                      </a:lnTo>
                      <a:lnTo>
                        <a:pt x="358" y="596"/>
                      </a:lnTo>
                      <a:lnTo>
                        <a:pt x="354" y="596"/>
                      </a:lnTo>
                      <a:lnTo>
                        <a:pt x="350" y="600"/>
                      </a:lnTo>
                      <a:lnTo>
                        <a:pt x="350" y="596"/>
                      </a:lnTo>
                      <a:lnTo>
                        <a:pt x="346" y="596"/>
                      </a:lnTo>
                      <a:lnTo>
                        <a:pt x="350" y="596"/>
                      </a:lnTo>
                      <a:lnTo>
                        <a:pt x="354" y="596"/>
                      </a:lnTo>
                      <a:lnTo>
                        <a:pt x="350" y="596"/>
                      </a:lnTo>
                      <a:lnTo>
                        <a:pt x="350" y="592"/>
                      </a:lnTo>
                      <a:lnTo>
                        <a:pt x="354" y="588"/>
                      </a:lnTo>
                      <a:lnTo>
                        <a:pt x="350" y="588"/>
                      </a:lnTo>
                      <a:lnTo>
                        <a:pt x="350" y="592"/>
                      </a:lnTo>
                      <a:lnTo>
                        <a:pt x="350" y="596"/>
                      </a:lnTo>
                      <a:lnTo>
                        <a:pt x="346" y="592"/>
                      </a:lnTo>
                      <a:lnTo>
                        <a:pt x="350" y="592"/>
                      </a:lnTo>
                      <a:lnTo>
                        <a:pt x="346" y="592"/>
                      </a:lnTo>
                      <a:lnTo>
                        <a:pt x="342" y="592"/>
                      </a:lnTo>
                      <a:lnTo>
                        <a:pt x="346" y="592"/>
                      </a:lnTo>
                      <a:lnTo>
                        <a:pt x="346" y="588"/>
                      </a:lnTo>
                      <a:lnTo>
                        <a:pt x="342" y="588"/>
                      </a:lnTo>
                      <a:lnTo>
                        <a:pt x="338" y="588"/>
                      </a:lnTo>
                      <a:lnTo>
                        <a:pt x="342" y="584"/>
                      </a:lnTo>
                      <a:lnTo>
                        <a:pt x="346" y="584"/>
                      </a:lnTo>
                      <a:lnTo>
                        <a:pt x="350" y="584"/>
                      </a:lnTo>
                      <a:lnTo>
                        <a:pt x="346" y="584"/>
                      </a:lnTo>
                      <a:lnTo>
                        <a:pt x="342" y="584"/>
                      </a:lnTo>
                      <a:lnTo>
                        <a:pt x="338" y="584"/>
                      </a:lnTo>
                      <a:lnTo>
                        <a:pt x="334" y="584"/>
                      </a:lnTo>
                      <a:lnTo>
                        <a:pt x="338" y="584"/>
                      </a:lnTo>
                      <a:lnTo>
                        <a:pt x="342" y="584"/>
                      </a:lnTo>
                      <a:lnTo>
                        <a:pt x="346" y="582"/>
                      </a:lnTo>
                      <a:lnTo>
                        <a:pt x="342" y="582"/>
                      </a:lnTo>
                      <a:lnTo>
                        <a:pt x="338" y="584"/>
                      </a:lnTo>
                      <a:lnTo>
                        <a:pt x="338" y="582"/>
                      </a:lnTo>
                      <a:lnTo>
                        <a:pt x="334" y="582"/>
                      </a:lnTo>
                      <a:lnTo>
                        <a:pt x="338" y="578"/>
                      </a:lnTo>
                      <a:lnTo>
                        <a:pt x="338" y="574"/>
                      </a:lnTo>
                      <a:lnTo>
                        <a:pt x="342" y="574"/>
                      </a:lnTo>
                      <a:lnTo>
                        <a:pt x="338" y="574"/>
                      </a:lnTo>
                      <a:lnTo>
                        <a:pt x="334" y="578"/>
                      </a:lnTo>
                      <a:lnTo>
                        <a:pt x="334" y="582"/>
                      </a:lnTo>
                      <a:lnTo>
                        <a:pt x="334" y="578"/>
                      </a:lnTo>
                      <a:lnTo>
                        <a:pt x="332" y="578"/>
                      </a:lnTo>
                      <a:lnTo>
                        <a:pt x="334" y="574"/>
                      </a:lnTo>
                      <a:lnTo>
                        <a:pt x="338" y="574"/>
                      </a:lnTo>
                      <a:lnTo>
                        <a:pt x="342" y="574"/>
                      </a:lnTo>
                      <a:lnTo>
                        <a:pt x="338" y="574"/>
                      </a:lnTo>
                      <a:lnTo>
                        <a:pt x="338" y="570"/>
                      </a:lnTo>
                      <a:lnTo>
                        <a:pt x="334" y="570"/>
                      </a:lnTo>
                      <a:lnTo>
                        <a:pt x="334" y="574"/>
                      </a:lnTo>
                      <a:lnTo>
                        <a:pt x="332" y="574"/>
                      </a:lnTo>
                      <a:lnTo>
                        <a:pt x="328" y="574"/>
                      </a:lnTo>
                      <a:lnTo>
                        <a:pt x="328" y="570"/>
                      </a:lnTo>
                      <a:lnTo>
                        <a:pt x="332" y="570"/>
                      </a:lnTo>
                      <a:lnTo>
                        <a:pt x="332" y="574"/>
                      </a:lnTo>
                      <a:lnTo>
                        <a:pt x="334" y="570"/>
                      </a:lnTo>
                      <a:lnTo>
                        <a:pt x="332" y="570"/>
                      </a:lnTo>
                      <a:lnTo>
                        <a:pt x="334" y="570"/>
                      </a:lnTo>
                      <a:lnTo>
                        <a:pt x="334" y="568"/>
                      </a:lnTo>
                      <a:lnTo>
                        <a:pt x="332" y="570"/>
                      </a:lnTo>
                      <a:lnTo>
                        <a:pt x="328" y="568"/>
                      </a:lnTo>
                      <a:lnTo>
                        <a:pt x="328" y="570"/>
                      </a:lnTo>
                      <a:lnTo>
                        <a:pt x="328" y="568"/>
                      </a:lnTo>
                      <a:lnTo>
                        <a:pt x="324" y="568"/>
                      </a:lnTo>
                      <a:lnTo>
                        <a:pt x="320" y="564"/>
                      </a:lnTo>
                      <a:lnTo>
                        <a:pt x="320" y="560"/>
                      </a:lnTo>
                      <a:lnTo>
                        <a:pt x="324" y="556"/>
                      </a:lnTo>
                      <a:lnTo>
                        <a:pt x="320" y="560"/>
                      </a:lnTo>
                      <a:lnTo>
                        <a:pt x="320" y="556"/>
                      </a:lnTo>
                      <a:lnTo>
                        <a:pt x="324" y="552"/>
                      </a:lnTo>
                      <a:lnTo>
                        <a:pt x="328" y="552"/>
                      </a:lnTo>
                      <a:lnTo>
                        <a:pt x="328" y="548"/>
                      </a:lnTo>
                      <a:lnTo>
                        <a:pt x="328" y="552"/>
                      </a:lnTo>
                      <a:lnTo>
                        <a:pt x="324" y="552"/>
                      </a:lnTo>
                      <a:lnTo>
                        <a:pt x="320" y="556"/>
                      </a:lnTo>
                      <a:lnTo>
                        <a:pt x="320" y="552"/>
                      </a:lnTo>
                      <a:lnTo>
                        <a:pt x="324" y="552"/>
                      </a:lnTo>
                      <a:lnTo>
                        <a:pt x="320" y="552"/>
                      </a:lnTo>
                      <a:lnTo>
                        <a:pt x="316" y="552"/>
                      </a:lnTo>
                      <a:lnTo>
                        <a:pt x="316" y="548"/>
                      </a:lnTo>
                      <a:lnTo>
                        <a:pt x="320" y="548"/>
                      </a:lnTo>
                      <a:lnTo>
                        <a:pt x="324" y="544"/>
                      </a:lnTo>
                      <a:lnTo>
                        <a:pt x="320" y="544"/>
                      </a:lnTo>
                      <a:lnTo>
                        <a:pt x="320" y="548"/>
                      </a:lnTo>
                      <a:lnTo>
                        <a:pt x="316" y="548"/>
                      </a:lnTo>
                      <a:lnTo>
                        <a:pt x="316" y="544"/>
                      </a:lnTo>
                      <a:lnTo>
                        <a:pt x="312" y="548"/>
                      </a:lnTo>
                      <a:lnTo>
                        <a:pt x="312" y="544"/>
                      </a:lnTo>
                      <a:lnTo>
                        <a:pt x="312" y="548"/>
                      </a:lnTo>
                      <a:lnTo>
                        <a:pt x="308" y="548"/>
                      </a:lnTo>
                      <a:lnTo>
                        <a:pt x="308" y="544"/>
                      </a:lnTo>
                      <a:lnTo>
                        <a:pt x="312" y="544"/>
                      </a:lnTo>
                      <a:lnTo>
                        <a:pt x="316" y="544"/>
                      </a:lnTo>
                      <a:lnTo>
                        <a:pt x="320" y="540"/>
                      </a:lnTo>
                      <a:lnTo>
                        <a:pt x="316" y="540"/>
                      </a:lnTo>
                      <a:lnTo>
                        <a:pt x="312" y="540"/>
                      </a:lnTo>
                      <a:lnTo>
                        <a:pt x="308" y="540"/>
                      </a:lnTo>
                      <a:lnTo>
                        <a:pt x="312" y="540"/>
                      </a:lnTo>
                      <a:lnTo>
                        <a:pt x="312" y="538"/>
                      </a:lnTo>
                      <a:lnTo>
                        <a:pt x="308" y="538"/>
                      </a:lnTo>
                      <a:lnTo>
                        <a:pt x="308" y="540"/>
                      </a:lnTo>
                      <a:lnTo>
                        <a:pt x="308" y="538"/>
                      </a:lnTo>
                      <a:lnTo>
                        <a:pt x="312" y="538"/>
                      </a:lnTo>
                      <a:lnTo>
                        <a:pt x="316" y="538"/>
                      </a:lnTo>
                      <a:lnTo>
                        <a:pt x="312" y="538"/>
                      </a:lnTo>
                      <a:lnTo>
                        <a:pt x="308" y="538"/>
                      </a:lnTo>
                      <a:lnTo>
                        <a:pt x="308" y="540"/>
                      </a:lnTo>
                      <a:lnTo>
                        <a:pt x="306" y="538"/>
                      </a:lnTo>
                      <a:lnTo>
                        <a:pt x="302" y="538"/>
                      </a:lnTo>
                      <a:lnTo>
                        <a:pt x="302" y="534"/>
                      </a:lnTo>
                      <a:lnTo>
                        <a:pt x="306" y="534"/>
                      </a:lnTo>
                      <a:lnTo>
                        <a:pt x="308" y="534"/>
                      </a:lnTo>
                      <a:lnTo>
                        <a:pt x="308" y="530"/>
                      </a:lnTo>
                      <a:lnTo>
                        <a:pt x="312" y="530"/>
                      </a:lnTo>
                      <a:lnTo>
                        <a:pt x="308" y="530"/>
                      </a:lnTo>
                      <a:lnTo>
                        <a:pt x="306" y="530"/>
                      </a:lnTo>
                      <a:lnTo>
                        <a:pt x="306" y="534"/>
                      </a:lnTo>
                      <a:lnTo>
                        <a:pt x="306" y="530"/>
                      </a:lnTo>
                      <a:lnTo>
                        <a:pt x="302" y="530"/>
                      </a:lnTo>
                      <a:lnTo>
                        <a:pt x="302" y="526"/>
                      </a:lnTo>
                      <a:lnTo>
                        <a:pt x="306" y="526"/>
                      </a:lnTo>
                      <a:lnTo>
                        <a:pt x="312" y="526"/>
                      </a:lnTo>
                      <a:lnTo>
                        <a:pt x="316" y="526"/>
                      </a:lnTo>
                      <a:lnTo>
                        <a:pt x="316" y="522"/>
                      </a:lnTo>
                      <a:lnTo>
                        <a:pt x="316" y="526"/>
                      </a:lnTo>
                      <a:lnTo>
                        <a:pt x="320" y="522"/>
                      </a:lnTo>
                      <a:lnTo>
                        <a:pt x="324" y="522"/>
                      </a:lnTo>
                      <a:lnTo>
                        <a:pt x="320" y="522"/>
                      </a:lnTo>
                      <a:lnTo>
                        <a:pt x="316" y="522"/>
                      </a:lnTo>
                      <a:lnTo>
                        <a:pt x="312" y="522"/>
                      </a:lnTo>
                      <a:lnTo>
                        <a:pt x="312" y="526"/>
                      </a:lnTo>
                      <a:lnTo>
                        <a:pt x="308" y="526"/>
                      </a:lnTo>
                      <a:lnTo>
                        <a:pt x="306" y="526"/>
                      </a:lnTo>
                      <a:lnTo>
                        <a:pt x="302" y="526"/>
                      </a:lnTo>
                      <a:lnTo>
                        <a:pt x="302" y="522"/>
                      </a:lnTo>
                      <a:lnTo>
                        <a:pt x="306" y="522"/>
                      </a:lnTo>
                      <a:lnTo>
                        <a:pt x="306" y="526"/>
                      </a:lnTo>
                      <a:lnTo>
                        <a:pt x="306" y="522"/>
                      </a:lnTo>
                      <a:lnTo>
                        <a:pt x="302" y="522"/>
                      </a:lnTo>
                      <a:lnTo>
                        <a:pt x="302" y="526"/>
                      </a:lnTo>
                      <a:lnTo>
                        <a:pt x="302" y="522"/>
                      </a:lnTo>
                      <a:lnTo>
                        <a:pt x="306" y="522"/>
                      </a:lnTo>
                      <a:lnTo>
                        <a:pt x="308" y="522"/>
                      </a:lnTo>
                      <a:lnTo>
                        <a:pt x="312" y="522"/>
                      </a:lnTo>
                      <a:lnTo>
                        <a:pt x="308" y="522"/>
                      </a:lnTo>
                      <a:lnTo>
                        <a:pt x="312" y="518"/>
                      </a:lnTo>
                      <a:lnTo>
                        <a:pt x="316" y="518"/>
                      </a:lnTo>
                      <a:lnTo>
                        <a:pt x="320" y="518"/>
                      </a:lnTo>
                      <a:lnTo>
                        <a:pt x="324" y="518"/>
                      </a:lnTo>
                      <a:lnTo>
                        <a:pt x="324" y="514"/>
                      </a:lnTo>
                      <a:lnTo>
                        <a:pt x="320" y="514"/>
                      </a:lnTo>
                      <a:lnTo>
                        <a:pt x="320" y="518"/>
                      </a:lnTo>
                      <a:lnTo>
                        <a:pt x="316" y="518"/>
                      </a:lnTo>
                      <a:lnTo>
                        <a:pt x="316" y="514"/>
                      </a:lnTo>
                      <a:lnTo>
                        <a:pt x="320" y="514"/>
                      </a:lnTo>
                      <a:lnTo>
                        <a:pt x="316" y="514"/>
                      </a:lnTo>
                      <a:lnTo>
                        <a:pt x="312" y="514"/>
                      </a:lnTo>
                      <a:lnTo>
                        <a:pt x="312" y="512"/>
                      </a:lnTo>
                      <a:lnTo>
                        <a:pt x="316" y="512"/>
                      </a:lnTo>
                      <a:lnTo>
                        <a:pt x="320" y="512"/>
                      </a:lnTo>
                      <a:lnTo>
                        <a:pt x="316" y="512"/>
                      </a:lnTo>
                      <a:lnTo>
                        <a:pt x="320" y="512"/>
                      </a:lnTo>
                      <a:lnTo>
                        <a:pt x="320" y="514"/>
                      </a:lnTo>
                      <a:lnTo>
                        <a:pt x="324" y="514"/>
                      </a:lnTo>
                      <a:lnTo>
                        <a:pt x="324" y="518"/>
                      </a:lnTo>
                      <a:lnTo>
                        <a:pt x="328" y="518"/>
                      </a:lnTo>
                      <a:lnTo>
                        <a:pt x="332" y="518"/>
                      </a:lnTo>
                      <a:lnTo>
                        <a:pt x="328" y="518"/>
                      </a:lnTo>
                      <a:lnTo>
                        <a:pt x="324" y="514"/>
                      </a:lnTo>
                      <a:lnTo>
                        <a:pt x="324" y="512"/>
                      </a:lnTo>
                      <a:lnTo>
                        <a:pt x="320" y="512"/>
                      </a:lnTo>
                      <a:lnTo>
                        <a:pt x="324" y="508"/>
                      </a:lnTo>
                      <a:lnTo>
                        <a:pt x="320" y="508"/>
                      </a:lnTo>
                      <a:lnTo>
                        <a:pt x="320" y="512"/>
                      </a:lnTo>
                      <a:lnTo>
                        <a:pt x="316" y="512"/>
                      </a:lnTo>
                      <a:lnTo>
                        <a:pt x="316" y="508"/>
                      </a:lnTo>
                      <a:lnTo>
                        <a:pt x="316" y="504"/>
                      </a:lnTo>
                      <a:lnTo>
                        <a:pt x="312" y="504"/>
                      </a:lnTo>
                      <a:lnTo>
                        <a:pt x="312" y="500"/>
                      </a:lnTo>
                      <a:lnTo>
                        <a:pt x="312" y="504"/>
                      </a:lnTo>
                      <a:lnTo>
                        <a:pt x="316" y="508"/>
                      </a:lnTo>
                      <a:lnTo>
                        <a:pt x="316" y="512"/>
                      </a:lnTo>
                      <a:lnTo>
                        <a:pt x="312" y="512"/>
                      </a:lnTo>
                      <a:lnTo>
                        <a:pt x="308" y="512"/>
                      </a:lnTo>
                      <a:lnTo>
                        <a:pt x="308" y="514"/>
                      </a:lnTo>
                      <a:lnTo>
                        <a:pt x="308" y="512"/>
                      </a:lnTo>
                      <a:lnTo>
                        <a:pt x="308" y="508"/>
                      </a:lnTo>
                      <a:lnTo>
                        <a:pt x="308" y="512"/>
                      </a:lnTo>
                      <a:lnTo>
                        <a:pt x="306" y="512"/>
                      </a:lnTo>
                      <a:lnTo>
                        <a:pt x="306" y="514"/>
                      </a:lnTo>
                      <a:lnTo>
                        <a:pt x="302" y="518"/>
                      </a:lnTo>
                      <a:lnTo>
                        <a:pt x="302" y="522"/>
                      </a:lnTo>
                      <a:lnTo>
                        <a:pt x="298" y="522"/>
                      </a:lnTo>
                      <a:lnTo>
                        <a:pt x="298" y="518"/>
                      </a:lnTo>
                      <a:lnTo>
                        <a:pt x="294" y="518"/>
                      </a:lnTo>
                      <a:lnTo>
                        <a:pt x="294" y="514"/>
                      </a:lnTo>
                      <a:lnTo>
                        <a:pt x="294" y="512"/>
                      </a:lnTo>
                      <a:lnTo>
                        <a:pt x="298" y="508"/>
                      </a:lnTo>
                      <a:lnTo>
                        <a:pt x="302" y="508"/>
                      </a:lnTo>
                      <a:lnTo>
                        <a:pt x="306" y="508"/>
                      </a:lnTo>
                      <a:lnTo>
                        <a:pt x="306" y="504"/>
                      </a:lnTo>
                      <a:lnTo>
                        <a:pt x="308" y="504"/>
                      </a:lnTo>
                      <a:lnTo>
                        <a:pt x="306" y="504"/>
                      </a:lnTo>
                      <a:lnTo>
                        <a:pt x="302" y="508"/>
                      </a:lnTo>
                      <a:lnTo>
                        <a:pt x="302" y="504"/>
                      </a:lnTo>
                      <a:lnTo>
                        <a:pt x="298" y="508"/>
                      </a:lnTo>
                      <a:lnTo>
                        <a:pt x="294" y="508"/>
                      </a:lnTo>
                      <a:lnTo>
                        <a:pt x="298" y="508"/>
                      </a:lnTo>
                      <a:lnTo>
                        <a:pt x="294" y="508"/>
                      </a:lnTo>
                      <a:lnTo>
                        <a:pt x="294" y="504"/>
                      </a:lnTo>
                      <a:lnTo>
                        <a:pt x="298" y="504"/>
                      </a:lnTo>
                      <a:lnTo>
                        <a:pt x="294" y="504"/>
                      </a:lnTo>
                      <a:lnTo>
                        <a:pt x="294" y="500"/>
                      </a:lnTo>
                      <a:lnTo>
                        <a:pt x="294" y="496"/>
                      </a:lnTo>
                      <a:lnTo>
                        <a:pt x="294" y="500"/>
                      </a:lnTo>
                      <a:lnTo>
                        <a:pt x="290" y="500"/>
                      </a:lnTo>
                      <a:lnTo>
                        <a:pt x="294" y="500"/>
                      </a:lnTo>
                      <a:lnTo>
                        <a:pt x="294" y="496"/>
                      </a:lnTo>
                      <a:lnTo>
                        <a:pt x="290" y="496"/>
                      </a:lnTo>
                      <a:lnTo>
                        <a:pt x="290" y="500"/>
                      </a:lnTo>
                      <a:lnTo>
                        <a:pt x="290" y="496"/>
                      </a:lnTo>
                      <a:lnTo>
                        <a:pt x="294" y="492"/>
                      </a:lnTo>
                      <a:lnTo>
                        <a:pt x="298" y="492"/>
                      </a:lnTo>
                      <a:lnTo>
                        <a:pt x="298" y="488"/>
                      </a:lnTo>
                      <a:lnTo>
                        <a:pt x="302" y="488"/>
                      </a:lnTo>
                      <a:lnTo>
                        <a:pt x="298" y="488"/>
                      </a:lnTo>
                      <a:lnTo>
                        <a:pt x="302" y="488"/>
                      </a:lnTo>
                      <a:lnTo>
                        <a:pt x="302" y="484"/>
                      </a:lnTo>
                      <a:lnTo>
                        <a:pt x="306" y="484"/>
                      </a:lnTo>
                      <a:lnTo>
                        <a:pt x="308" y="484"/>
                      </a:lnTo>
                      <a:lnTo>
                        <a:pt x="312" y="484"/>
                      </a:lnTo>
                      <a:lnTo>
                        <a:pt x="312" y="488"/>
                      </a:lnTo>
                      <a:lnTo>
                        <a:pt x="316" y="488"/>
                      </a:lnTo>
                      <a:lnTo>
                        <a:pt x="316" y="484"/>
                      </a:lnTo>
                      <a:lnTo>
                        <a:pt x="312" y="484"/>
                      </a:lnTo>
                      <a:lnTo>
                        <a:pt x="308" y="484"/>
                      </a:lnTo>
                      <a:lnTo>
                        <a:pt x="306" y="484"/>
                      </a:lnTo>
                      <a:lnTo>
                        <a:pt x="302" y="484"/>
                      </a:lnTo>
                      <a:lnTo>
                        <a:pt x="298" y="488"/>
                      </a:lnTo>
                      <a:lnTo>
                        <a:pt x="298" y="492"/>
                      </a:lnTo>
                      <a:lnTo>
                        <a:pt x="294" y="492"/>
                      </a:lnTo>
                      <a:lnTo>
                        <a:pt x="290" y="492"/>
                      </a:lnTo>
                      <a:lnTo>
                        <a:pt x="290" y="496"/>
                      </a:lnTo>
                      <a:lnTo>
                        <a:pt x="286" y="492"/>
                      </a:lnTo>
                      <a:lnTo>
                        <a:pt x="290" y="488"/>
                      </a:lnTo>
                      <a:lnTo>
                        <a:pt x="286" y="488"/>
                      </a:lnTo>
                      <a:lnTo>
                        <a:pt x="286" y="492"/>
                      </a:lnTo>
                      <a:lnTo>
                        <a:pt x="286" y="488"/>
                      </a:lnTo>
                      <a:lnTo>
                        <a:pt x="286" y="484"/>
                      </a:lnTo>
                      <a:lnTo>
                        <a:pt x="286" y="488"/>
                      </a:lnTo>
                      <a:lnTo>
                        <a:pt x="282" y="488"/>
                      </a:lnTo>
                      <a:lnTo>
                        <a:pt x="278" y="488"/>
                      </a:lnTo>
                      <a:lnTo>
                        <a:pt x="278" y="484"/>
                      </a:lnTo>
                      <a:lnTo>
                        <a:pt x="282" y="484"/>
                      </a:lnTo>
                      <a:lnTo>
                        <a:pt x="278" y="484"/>
                      </a:lnTo>
                      <a:lnTo>
                        <a:pt x="282" y="484"/>
                      </a:lnTo>
                      <a:lnTo>
                        <a:pt x="282" y="482"/>
                      </a:lnTo>
                      <a:lnTo>
                        <a:pt x="286" y="482"/>
                      </a:lnTo>
                      <a:lnTo>
                        <a:pt x="290" y="482"/>
                      </a:lnTo>
                      <a:lnTo>
                        <a:pt x="294" y="482"/>
                      </a:lnTo>
                      <a:lnTo>
                        <a:pt x="298" y="482"/>
                      </a:lnTo>
                      <a:lnTo>
                        <a:pt x="298" y="478"/>
                      </a:lnTo>
                      <a:lnTo>
                        <a:pt x="294" y="482"/>
                      </a:lnTo>
                      <a:lnTo>
                        <a:pt x="290" y="482"/>
                      </a:lnTo>
                      <a:lnTo>
                        <a:pt x="286" y="482"/>
                      </a:lnTo>
                      <a:lnTo>
                        <a:pt x="282" y="482"/>
                      </a:lnTo>
                      <a:lnTo>
                        <a:pt x="278" y="484"/>
                      </a:lnTo>
                      <a:lnTo>
                        <a:pt x="278" y="482"/>
                      </a:lnTo>
                      <a:lnTo>
                        <a:pt x="282" y="482"/>
                      </a:lnTo>
                      <a:lnTo>
                        <a:pt x="282" y="478"/>
                      </a:lnTo>
                      <a:lnTo>
                        <a:pt x="282" y="482"/>
                      </a:lnTo>
                      <a:lnTo>
                        <a:pt x="278" y="482"/>
                      </a:lnTo>
                      <a:lnTo>
                        <a:pt x="276" y="482"/>
                      </a:lnTo>
                      <a:lnTo>
                        <a:pt x="278" y="482"/>
                      </a:lnTo>
                      <a:lnTo>
                        <a:pt x="278" y="478"/>
                      </a:lnTo>
                      <a:lnTo>
                        <a:pt x="278" y="482"/>
                      </a:lnTo>
                      <a:lnTo>
                        <a:pt x="278" y="478"/>
                      </a:lnTo>
                      <a:lnTo>
                        <a:pt x="276" y="478"/>
                      </a:lnTo>
                      <a:lnTo>
                        <a:pt x="278" y="478"/>
                      </a:lnTo>
                      <a:lnTo>
                        <a:pt x="282" y="478"/>
                      </a:lnTo>
                      <a:lnTo>
                        <a:pt x="282" y="474"/>
                      </a:lnTo>
                      <a:lnTo>
                        <a:pt x="286" y="474"/>
                      </a:lnTo>
                      <a:lnTo>
                        <a:pt x="286" y="470"/>
                      </a:lnTo>
                      <a:lnTo>
                        <a:pt x="290" y="470"/>
                      </a:lnTo>
                      <a:lnTo>
                        <a:pt x="294" y="470"/>
                      </a:lnTo>
                      <a:lnTo>
                        <a:pt x="294" y="466"/>
                      </a:lnTo>
                      <a:lnTo>
                        <a:pt x="298" y="466"/>
                      </a:lnTo>
                      <a:lnTo>
                        <a:pt x="298" y="462"/>
                      </a:lnTo>
                      <a:lnTo>
                        <a:pt x="302" y="462"/>
                      </a:lnTo>
                      <a:lnTo>
                        <a:pt x="306" y="462"/>
                      </a:lnTo>
                      <a:lnTo>
                        <a:pt x="306" y="458"/>
                      </a:lnTo>
                      <a:lnTo>
                        <a:pt x="308" y="458"/>
                      </a:lnTo>
                      <a:lnTo>
                        <a:pt x="312" y="458"/>
                      </a:lnTo>
                      <a:lnTo>
                        <a:pt x="316" y="458"/>
                      </a:lnTo>
                      <a:lnTo>
                        <a:pt x="320" y="458"/>
                      </a:lnTo>
                      <a:lnTo>
                        <a:pt x="316" y="458"/>
                      </a:lnTo>
                      <a:lnTo>
                        <a:pt x="312" y="458"/>
                      </a:lnTo>
                      <a:lnTo>
                        <a:pt x="308" y="458"/>
                      </a:lnTo>
                      <a:lnTo>
                        <a:pt x="312" y="458"/>
                      </a:lnTo>
                      <a:lnTo>
                        <a:pt x="312" y="456"/>
                      </a:lnTo>
                      <a:lnTo>
                        <a:pt x="316" y="456"/>
                      </a:lnTo>
                      <a:lnTo>
                        <a:pt x="320" y="456"/>
                      </a:lnTo>
                      <a:lnTo>
                        <a:pt x="324" y="456"/>
                      </a:lnTo>
                      <a:lnTo>
                        <a:pt x="320" y="456"/>
                      </a:lnTo>
                      <a:lnTo>
                        <a:pt x="316" y="456"/>
                      </a:lnTo>
                      <a:lnTo>
                        <a:pt x="320" y="456"/>
                      </a:lnTo>
                      <a:lnTo>
                        <a:pt x="316" y="456"/>
                      </a:lnTo>
                      <a:lnTo>
                        <a:pt x="312" y="456"/>
                      </a:lnTo>
                      <a:lnTo>
                        <a:pt x="308" y="456"/>
                      </a:lnTo>
                      <a:lnTo>
                        <a:pt x="308" y="458"/>
                      </a:lnTo>
                      <a:lnTo>
                        <a:pt x="306" y="458"/>
                      </a:lnTo>
                      <a:lnTo>
                        <a:pt x="302" y="458"/>
                      </a:lnTo>
                      <a:lnTo>
                        <a:pt x="302" y="462"/>
                      </a:lnTo>
                      <a:lnTo>
                        <a:pt x="298" y="462"/>
                      </a:lnTo>
                      <a:lnTo>
                        <a:pt x="298" y="466"/>
                      </a:lnTo>
                      <a:lnTo>
                        <a:pt x="294" y="466"/>
                      </a:lnTo>
                      <a:lnTo>
                        <a:pt x="290" y="470"/>
                      </a:lnTo>
                      <a:lnTo>
                        <a:pt x="286" y="470"/>
                      </a:lnTo>
                      <a:lnTo>
                        <a:pt x="286" y="474"/>
                      </a:lnTo>
                      <a:lnTo>
                        <a:pt x="282" y="474"/>
                      </a:lnTo>
                      <a:lnTo>
                        <a:pt x="278" y="478"/>
                      </a:lnTo>
                      <a:lnTo>
                        <a:pt x="276" y="478"/>
                      </a:lnTo>
                      <a:lnTo>
                        <a:pt x="276" y="474"/>
                      </a:lnTo>
                      <a:lnTo>
                        <a:pt x="278" y="474"/>
                      </a:lnTo>
                      <a:lnTo>
                        <a:pt x="276" y="474"/>
                      </a:lnTo>
                      <a:lnTo>
                        <a:pt x="272" y="474"/>
                      </a:lnTo>
                      <a:lnTo>
                        <a:pt x="272" y="470"/>
                      </a:lnTo>
                      <a:lnTo>
                        <a:pt x="272" y="466"/>
                      </a:lnTo>
                      <a:lnTo>
                        <a:pt x="276" y="466"/>
                      </a:lnTo>
                      <a:lnTo>
                        <a:pt x="278" y="466"/>
                      </a:lnTo>
                      <a:lnTo>
                        <a:pt x="282" y="466"/>
                      </a:lnTo>
                      <a:lnTo>
                        <a:pt x="286" y="466"/>
                      </a:lnTo>
                      <a:lnTo>
                        <a:pt x="290" y="466"/>
                      </a:lnTo>
                      <a:lnTo>
                        <a:pt x="286" y="466"/>
                      </a:lnTo>
                      <a:lnTo>
                        <a:pt x="282" y="466"/>
                      </a:lnTo>
                      <a:lnTo>
                        <a:pt x="278" y="466"/>
                      </a:lnTo>
                      <a:lnTo>
                        <a:pt x="276" y="466"/>
                      </a:lnTo>
                      <a:lnTo>
                        <a:pt x="276" y="462"/>
                      </a:lnTo>
                      <a:lnTo>
                        <a:pt x="278" y="462"/>
                      </a:lnTo>
                      <a:lnTo>
                        <a:pt x="282" y="462"/>
                      </a:lnTo>
                      <a:lnTo>
                        <a:pt x="286" y="462"/>
                      </a:lnTo>
                      <a:lnTo>
                        <a:pt x="282" y="462"/>
                      </a:lnTo>
                      <a:lnTo>
                        <a:pt x="278" y="462"/>
                      </a:lnTo>
                      <a:lnTo>
                        <a:pt x="282" y="462"/>
                      </a:lnTo>
                      <a:lnTo>
                        <a:pt x="282" y="458"/>
                      </a:lnTo>
                      <a:lnTo>
                        <a:pt x="282" y="462"/>
                      </a:lnTo>
                      <a:lnTo>
                        <a:pt x="278" y="462"/>
                      </a:lnTo>
                      <a:lnTo>
                        <a:pt x="282" y="462"/>
                      </a:lnTo>
                      <a:lnTo>
                        <a:pt x="282" y="458"/>
                      </a:lnTo>
                      <a:lnTo>
                        <a:pt x="286" y="458"/>
                      </a:lnTo>
                      <a:lnTo>
                        <a:pt x="290" y="458"/>
                      </a:lnTo>
                      <a:lnTo>
                        <a:pt x="294" y="458"/>
                      </a:lnTo>
                      <a:lnTo>
                        <a:pt x="290" y="458"/>
                      </a:lnTo>
                      <a:lnTo>
                        <a:pt x="286" y="458"/>
                      </a:lnTo>
                      <a:lnTo>
                        <a:pt x="282" y="458"/>
                      </a:lnTo>
                      <a:lnTo>
                        <a:pt x="278" y="458"/>
                      </a:lnTo>
                      <a:lnTo>
                        <a:pt x="276" y="458"/>
                      </a:lnTo>
                      <a:lnTo>
                        <a:pt x="272" y="458"/>
                      </a:lnTo>
                      <a:lnTo>
                        <a:pt x="272" y="456"/>
                      </a:lnTo>
                      <a:lnTo>
                        <a:pt x="276" y="456"/>
                      </a:lnTo>
                      <a:lnTo>
                        <a:pt x="278" y="456"/>
                      </a:lnTo>
                      <a:lnTo>
                        <a:pt x="276" y="456"/>
                      </a:lnTo>
                      <a:lnTo>
                        <a:pt x="272" y="456"/>
                      </a:lnTo>
                      <a:lnTo>
                        <a:pt x="276" y="456"/>
                      </a:lnTo>
                      <a:lnTo>
                        <a:pt x="276" y="452"/>
                      </a:lnTo>
                      <a:lnTo>
                        <a:pt x="272" y="456"/>
                      </a:lnTo>
                      <a:lnTo>
                        <a:pt x="268" y="456"/>
                      </a:lnTo>
                      <a:lnTo>
                        <a:pt x="268" y="452"/>
                      </a:lnTo>
                      <a:lnTo>
                        <a:pt x="272" y="452"/>
                      </a:lnTo>
                      <a:lnTo>
                        <a:pt x="276" y="452"/>
                      </a:lnTo>
                      <a:lnTo>
                        <a:pt x="276" y="448"/>
                      </a:lnTo>
                      <a:lnTo>
                        <a:pt x="278" y="448"/>
                      </a:lnTo>
                      <a:lnTo>
                        <a:pt x="282" y="448"/>
                      </a:lnTo>
                      <a:lnTo>
                        <a:pt x="286" y="448"/>
                      </a:lnTo>
                      <a:lnTo>
                        <a:pt x="290" y="448"/>
                      </a:lnTo>
                      <a:lnTo>
                        <a:pt x="294" y="448"/>
                      </a:lnTo>
                      <a:lnTo>
                        <a:pt x="298" y="448"/>
                      </a:lnTo>
                      <a:lnTo>
                        <a:pt x="302" y="448"/>
                      </a:lnTo>
                      <a:lnTo>
                        <a:pt x="306" y="448"/>
                      </a:lnTo>
                      <a:lnTo>
                        <a:pt x="306" y="452"/>
                      </a:lnTo>
                      <a:lnTo>
                        <a:pt x="308" y="452"/>
                      </a:lnTo>
                      <a:lnTo>
                        <a:pt x="312" y="452"/>
                      </a:lnTo>
                      <a:lnTo>
                        <a:pt x="316" y="452"/>
                      </a:lnTo>
                      <a:lnTo>
                        <a:pt x="320" y="452"/>
                      </a:lnTo>
                      <a:lnTo>
                        <a:pt x="316" y="452"/>
                      </a:lnTo>
                      <a:lnTo>
                        <a:pt x="312" y="452"/>
                      </a:lnTo>
                      <a:lnTo>
                        <a:pt x="308" y="452"/>
                      </a:lnTo>
                      <a:lnTo>
                        <a:pt x="306" y="448"/>
                      </a:lnTo>
                      <a:lnTo>
                        <a:pt x="302" y="448"/>
                      </a:lnTo>
                      <a:lnTo>
                        <a:pt x="306" y="448"/>
                      </a:lnTo>
                      <a:lnTo>
                        <a:pt x="308" y="444"/>
                      </a:lnTo>
                      <a:lnTo>
                        <a:pt x="306" y="444"/>
                      </a:lnTo>
                      <a:lnTo>
                        <a:pt x="302" y="448"/>
                      </a:lnTo>
                      <a:lnTo>
                        <a:pt x="298" y="448"/>
                      </a:lnTo>
                      <a:lnTo>
                        <a:pt x="294" y="448"/>
                      </a:lnTo>
                      <a:lnTo>
                        <a:pt x="294" y="444"/>
                      </a:lnTo>
                      <a:lnTo>
                        <a:pt x="286" y="448"/>
                      </a:lnTo>
                      <a:lnTo>
                        <a:pt x="282" y="448"/>
                      </a:lnTo>
                      <a:lnTo>
                        <a:pt x="278" y="448"/>
                      </a:lnTo>
                      <a:lnTo>
                        <a:pt x="276" y="448"/>
                      </a:lnTo>
                      <a:lnTo>
                        <a:pt x="272" y="452"/>
                      </a:lnTo>
                      <a:lnTo>
                        <a:pt x="272" y="448"/>
                      </a:lnTo>
                      <a:lnTo>
                        <a:pt x="272" y="444"/>
                      </a:lnTo>
                      <a:lnTo>
                        <a:pt x="276" y="444"/>
                      </a:lnTo>
                      <a:lnTo>
                        <a:pt x="278" y="440"/>
                      </a:lnTo>
                      <a:lnTo>
                        <a:pt x="282" y="440"/>
                      </a:lnTo>
                      <a:lnTo>
                        <a:pt x="278" y="440"/>
                      </a:lnTo>
                      <a:lnTo>
                        <a:pt x="282" y="440"/>
                      </a:lnTo>
                      <a:lnTo>
                        <a:pt x="282" y="436"/>
                      </a:lnTo>
                      <a:lnTo>
                        <a:pt x="286" y="436"/>
                      </a:lnTo>
                      <a:lnTo>
                        <a:pt x="290" y="436"/>
                      </a:lnTo>
                      <a:lnTo>
                        <a:pt x="286" y="436"/>
                      </a:lnTo>
                      <a:lnTo>
                        <a:pt x="290" y="436"/>
                      </a:lnTo>
                      <a:lnTo>
                        <a:pt x="294" y="436"/>
                      </a:lnTo>
                      <a:lnTo>
                        <a:pt x="298" y="436"/>
                      </a:lnTo>
                      <a:lnTo>
                        <a:pt x="298" y="440"/>
                      </a:lnTo>
                      <a:lnTo>
                        <a:pt x="302" y="440"/>
                      </a:lnTo>
                      <a:lnTo>
                        <a:pt x="306" y="440"/>
                      </a:lnTo>
                      <a:lnTo>
                        <a:pt x="308" y="440"/>
                      </a:lnTo>
                      <a:lnTo>
                        <a:pt x="312" y="440"/>
                      </a:lnTo>
                      <a:lnTo>
                        <a:pt x="312" y="444"/>
                      </a:lnTo>
                      <a:lnTo>
                        <a:pt x="316" y="444"/>
                      </a:lnTo>
                      <a:lnTo>
                        <a:pt x="320" y="444"/>
                      </a:lnTo>
                      <a:lnTo>
                        <a:pt x="324" y="444"/>
                      </a:lnTo>
                      <a:lnTo>
                        <a:pt x="320" y="444"/>
                      </a:lnTo>
                      <a:lnTo>
                        <a:pt x="316" y="444"/>
                      </a:lnTo>
                      <a:lnTo>
                        <a:pt x="316" y="440"/>
                      </a:lnTo>
                      <a:lnTo>
                        <a:pt x="312" y="440"/>
                      </a:lnTo>
                      <a:lnTo>
                        <a:pt x="316" y="440"/>
                      </a:lnTo>
                      <a:lnTo>
                        <a:pt x="320" y="440"/>
                      </a:lnTo>
                      <a:lnTo>
                        <a:pt x="320" y="436"/>
                      </a:lnTo>
                      <a:lnTo>
                        <a:pt x="324" y="436"/>
                      </a:lnTo>
                      <a:lnTo>
                        <a:pt x="324" y="440"/>
                      </a:lnTo>
                      <a:lnTo>
                        <a:pt x="324" y="436"/>
                      </a:lnTo>
                      <a:lnTo>
                        <a:pt x="320" y="436"/>
                      </a:lnTo>
                      <a:lnTo>
                        <a:pt x="316" y="436"/>
                      </a:lnTo>
                      <a:lnTo>
                        <a:pt x="316" y="440"/>
                      </a:lnTo>
                      <a:lnTo>
                        <a:pt x="312" y="440"/>
                      </a:lnTo>
                      <a:lnTo>
                        <a:pt x="308" y="440"/>
                      </a:lnTo>
                      <a:lnTo>
                        <a:pt x="308" y="436"/>
                      </a:lnTo>
                      <a:lnTo>
                        <a:pt x="312" y="436"/>
                      </a:lnTo>
                      <a:lnTo>
                        <a:pt x="316" y="436"/>
                      </a:lnTo>
                      <a:lnTo>
                        <a:pt x="320" y="436"/>
                      </a:lnTo>
                      <a:lnTo>
                        <a:pt x="320" y="432"/>
                      </a:lnTo>
                      <a:lnTo>
                        <a:pt x="312" y="432"/>
                      </a:lnTo>
                      <a:lnTo>
                        <a:pt x="316" y="432"/>
                      </a:lnTo>
                      <a:lnTo>
                        <a:pt x="316" y="436"/>
                      </a:lnTo>
                      <a:lnTo>
                        <a:pt x="312" y="436"/>
                      </a:lnTo>
                      <a:lnTo>
                        <a:pt x="308" y="436"/>
                      </a:lnTo>
                      <a:lnTo>
                        <a:pt x="306" y="432"/>
                      </a:lnTo>
                      <a:lnTo>
                        <a:pt x="308" y="432"/>
                      </a:lnTo>
                      <a:lnTo>
                        <a:pt x="312" y="432"/>
                      </a:lnTo>
                      <a:lnTo>
                        <a:pt x="308" y="432"/>
                      </a:lnTo>
                      <a:lnTo>
                        <a:pt x="306" y="432"/>
                      </a:lnTo>
                      <a:lnTo>
                        <a:pt x="302" y="432"/>
                      </a:lnTo>
                      <a:lnTo>
                        <a:pt x="306" y="432"/>
                      </a:lnTo>
                      <a:lnTo>
                        <a:pt x="306" y="436"/>
                      </a:lnTo>
                      <a:lnTo>
                        <a:pt x="302" y="436"/>
                      </a:lnTo>
                      <a:lnTo>
                        <a:pt x="306" y="436"/>
                      </a:lnTo>
                      <a:lnTo>
                        <a:pt x="302" y="436"/>
                      </a:lnTo>
                      <a:lnTo>
                        <a:pt x="298" y="436"/>
                      </a:lnTo>
                      <a:lnTo>
                        <a:pt x="302" y="436"/>
                      </a:lnTo>
                      <a:lnTo>
                        <a:pt x="298" y="436"/>
                      </a:lnTo>
                      <a:lnTo>
                        <a:pt x="294" y="436"/>
                      </a:lnTo>
                      <a:lnTo>
                        <a:pt x="290" y="436"/>
                      </a:lnTo>
                      <a:lnTo>
                        <a:pt x="294" y="432"/>
                      </a:lnTo>
                      <a:lnTo>
                        <a:pt x="298" y="432"/>
                      </a:lnTo>
                      <a:lnTo>
                        <a:pt x="302" y="432"/>
                      </a:lnTo>
                      <a:lnTo>
                        <a:pt x="298" y="432"/>
                      </a:lnTo>
                      <a:lnTo>
                        <a:pt x="294" y="432"/>
                      </a:lnTo>
                      <a:lnTo>
                        <a:pt x="290" y="432"/>
                      </a:lnTo>
                      <a:lnTo>
                        <a:pt x="290" y="436"/>
                      </a:lnTo>
                      <a:lnTo>
                        <a:pt x="286" y="436"/>
                      </a:lnTo>
                      <a:lnTo>
                        <a:pt x="282" y="436"/>
                      </a:lnTo>
                      <a:lnTo>
                        <a:pt x="278" y="440"/>
                      </a:lnTo>
                      <a:lnTo>
                        <a:pt x="276" y="444"/>
                      </a:lnTo>
                      <a:lnTo>
                        <a:pt x="272" y="444"/>
                      </a:lnTo>
                      <a:lnTo>
                        <a:pt x="272" y="440"/>
                      </a:lnTo>
                      <a:lnTo>
                        <a:pt x="276" y="440"/>
                      </a:lnTo>
                      <a:lnTo>
                        <a:pt x="276" y="436"/>
                      </a:lnTo>
                      <a:lnTo>
                        <a:pt x="272" y="436"/>
                      </a:lnTo>
                      <a:lnTo>
                        <a:pt x="276" y="432"/>
                      </a:lnTo>
                      <a:lnTo>
                        <a:pt x="276" y="436"/>
                      </a:lnTo>
                      <a:lnTo>
                        <a:pt x="278" y="436"/>
                      </a:lnTo>
                      <a:lnTo>
                        <a:pt x="276" y="436"/>
                      </a:lnTo>
                      <a:lnTo>
                        <a:pt x="276" y="432"/>
                      </a:lnTo>
                      <a:lnTo>
                        <a:pt x="278" y="432"/>
                      </a:lnTo>
                      <a:lnTo>
                        <a:pt x="278" y="436"/>
                      </a:lnTo>
                      <a:lnTo>
                        <a:pt x="278" y="432"/>
                      </a:lnTo>
                      <a:lnTo>
                        <a:pt x="282" y="432"/>
                      </a:lnTo>
                      <a:lnTo>
                        <a:pt x="278" y="432"/>
                      </a:lnTo>
                      <a:lnTo>
                        <a:pt x="282" y="432"/>
                      </a:lnTo>
                      <a:lnTo>
                        <a:pt x="282" y="428"/>
                      </a:lnTo>
                      <a:lnTo>
                        <a:pt x="278" y="432"/>
                      </a:lnTo>
                      <a:lnTo>
                        <a:pt x="278" y="428"/>
                      </a:lnTo>
                      <a:lnTo>
                        <a:pt x="282" y="428"/>
                      </a:lnTo>
                      <a:lnTo>
                        <a:pt x="286" y="432"/>
                      </a:lnTo>
                      <a:lnTo>
                        <a:pt x="290" y="432"/>
                      </a:lnTo>
                      <a:lnTo>
                        <a:pt x="294" y="432"/>
                      </a:lnTo>
                      <a:lnTo>
                        <a:pt x="290" y="432"/>
                      </a:lnTo>
                      <a:lnTo>
                        <a:pt x="286" y="432"/>
                      </a:lnTo>
                      <a:lnTo>
                        <a:pt x="286" y="428"/>
                      </a:lnTo>
                      <a:lnTo>
                        <a:pt x="282" y="428"/>
                      </a:lnTo>
                      <a:lnTo>
                        <a:pt x="278" y="428"/>
                      </a:lnTo>
                      <a:lnTo>
                        <a:pt x="276" y="426"/>
                      </a:lnTo>
                      <a:lnTo>
                        <a:pt x="278" y="426"/>
                      </a:lnTo>
                      <a:lnTo>
                        <a:pt x="282" y="426"/>
                      </a:lnTo>
                      <a:lnTo>
                        <a:pt x="286" y="428"/>
                      </a:lnTo>
                      <a:lnTo>
                        <a:pt x="290" y="428"/>
                      </a:lnTo>
                      <a:lnTo>
                        <a:pt x="286" y="428"/>
                      </a:lnTo>
                      <a:lnTo>
                        <a:pt x="286" y="426"/>
                      </a:lnTo>
                      <a:lnTo>
                        <a:pt x="290" y="426"/>
                      </a:lnTo>
                      <a:lnTo>
                        <a:pt x="290" y="428"/>
                      </a:lnTo>
                      <a:lnTo>
                        <a:pt x="294" y="428"/>
                      </a:lnTo>
                      <a:lnTo>
                        <a:pt x="298" y="428"/>
                      </a:lnTo>
                      <a:lnTo>
                        <a:pt x="302" y="428"/>
                      </a:lnTo>
                      <a:lnTo>
                        <a:pt x="306" y="428"/>
                      </a:lnTo>
                      <a:lnTo>
                        <a:pt x="308" y="428"/>
                      </a:lnTo>
                      <a:lnTo>
                        <a:pt x="316" y="432"/>
                      </a:lnTo>
                      <a:lnTo>
                        <a:pt x="320" y="432"/>
                      </a:lnTo>
                      <a:lnTo>
                        <a:pt x="324" y="432"/>
                      </a:lnTo>
                      <a:lnTo>
                        <a:pt x="320" y="432"/>
                      </a:lnTo>
                      <a:lnTo>
                        <a:pt x="316" y="432"/>
                      </a:lnTo>
                      <a:lnTo>
                        <a:pt x="316" y="428"/>
                      </a:lnTo>
                      <a:lnTo>
                        <a:pt x="312" y="428"/>
                      </a:lnTo>
                      <a:lnTo>
                        <a:pt x="308" y="428"/>
                      </a:lnTo>
                      <a:lnTo>
                        <a:pt x="306" y="426"/>
                      </a:lnTo>
                      <a:lnTo>
                        <a:pt x="308" y="426"/>
                      </a:lnTo>
                      <a:lnTo>
                        <a:pt x="312" y="426"/>
                      </a:lnTo>
                      <a:lnTo>
                        <a:pt x="308" y="426"/>
                      </a:lnTo>
                      <a:lnTo>
                        <a:pt x="308" y="422"/>
                      </a:lnTo>
                      <a:lnTo>
                        <a:pt x="312" y="418"/>
                      </a:lnTo>
                      <a:lnTo>
                        <a:pt x="308" y="422"/>
                      </a:lnTo>
                      <a:lnTo>
                        <a:pt x="306" y="422"/>
                      </a:lnTo>
                      <a:lnTo>
                        <a:pt x="302" y="422"/>
                      </a:lnTo>
                      <a:lnTo>
                        <a:pt x="306" y="422"/>
                      </a:lnTo>
                      <a:lnTo>
                        <a:pt x="308" y="422"/>
                      </a:lnTo>
                      <a:lnTo>
                        <a:pt x="306" y="426"/>
                      </a:lnTo>
                      <a:lnTo>
                        <a:pt x="302" y="426"/>
                      </a:lnTo>
                      <a:lnTo>
                        <a:pt x="298" y="426"/>
                      </a:lnTo>
                      <a:lnTo>
                        <a:pt x="294" y="426"/>
                      </a:lnTo>
                      <a:lnTo>
                        <a:pt x="290" y="426"/>
                      </a:lnTo>
                      <a:lnTo>
                        <a:pt x="286" y="426"/>
                      </a:lnTo>
                      <a:lnTo>
                        <a:pt x="282" y="426"/>
                      </a:lnTo>
                      <a:lnTo>
                        <a:pt x="282" y="422"/>
                      </a:lnTo>
                      <a:lnTo>
                        <a:pt x="286" y="422"/>
                      </a:lnTo>
                      <a:lnTo>
                        <a:pt x="282" y="422"/>
                      </a:lnTo>
                      <a:lnTo>
                        <a:pt x="282" y="426"/>
                      </a:lnTo>
                      <a:lnTo>
                        <a:pt x="278" y="426"/>
                      </a:lnTo>
                      <a:lnTo>
                        <a:pt x="278" y="422"/>
                      </a:lnTo>
                      <a:lnTo>
                        <a:pt x="278" y="426"/>
                      </a:lnTo>
                      <a:lnTo>
                        <a:pt x="276" y="426"/>
                      </a:lnTo>
                      <a:lnTo>
                        <a:pt x="276" y="422"/>
                      </a:lnTo>
                      <a:lnTo>
                        <a:pt x="278" y="422"/>
                      </a:lnTo>
                      <a:lnTo>
                        <a:pt x="282" y="422"/>
                      </a:lnTo>
                      <a:lnTo>
                        <a:pt x="286" y="418"/>
                      </a:lnTo>
                      <a:lnTo>
                        <a:pt x="290" y="418"/>
                      </a:lnTo>
                      <a:lnTo>
                        <a:pt x="294" y="418"/>
                      </a:lnTo>
                      <a:lnTo>
                        <a:pt x="298" y="418"/>
                      </a:lnTo>
                      <a:lnTo>
                        <a:pt x="302" y="418"/>
                      </a:lnTo>
                      <a:lnTo>
                        <a:pt x="306" y="418"/>
                      </a:lnTo>
                      <a:lnTo>
                        <a:pt x="308" y="418"/>
                      </a:lnTo>
                      <a:lnTo>
                        <a:pt x="308" y="414"/>
                      </a:lnTo>
                      <a:lnTo>
                        <a:pt x="312" y="414"/>
                      </a:lnTo>
                      <a:lnTo>
                        <a:pt x="312" y="414"/>
                      </a:lnTo>
                      <a:lnTo>
                        <a:pt x="312" y="414"/>
                      </a:lnTo>
                      <a:close/>
                      <a:moveTo>
                        <a:pt x="764" y="104"/>
                      </a:moveTo>
                      <a:lnTo>
                        <a:pt x="760" y="104"/>
                      </a:lnTo>
                      <a:lnTo>
                        <a:pt x="756" y="104"/>
                      </a:lnTo>
                      <a:lnTo>
                        <a:pt x="752" y="104"/>
                      </a:lnTo>
                      <a:lnTo>
                        <a:pt x="748" y="108"/>
                      </a:lnTo>
                      <a:lnTo>
                        <a:pt x="748" y="104"/>
                      </a:lnTo>
                      <a:lnTo>
                        <a:pt x="752" y="100"/>
                      </a:lnTo>
                      <a:lnTo>
                        <a:pt x="756" y="100"/>
                      </a:lnTo>
                      <a:lnTo>
                        <a:pt x="764" y="104"/>
                      </a:lnTo>
                      <a:lnTo>
                        <a:pt x="764" y="104"/>
                      </a:lnTo>
                      <a:lnTo>
                        <a:pt x="764" y="104"/>
                      </a:lnTo>
                      <a:close/>
                      <a:moveTo>
                        <a:pt x="756" y="146"/>
                      </a:moveTo>
                      <a:lnTo>
                        <a:pt x="752" y="146"/>
                      </a:lnTo>
                      <a:lnTo>
                        <a:pt x="752" y="142"/>
                      </a:lnTo>
                      <a:lnTo>
                        <a:pt x="756" y="138"/>
                      </a:lnTo>
                      <a:lnTo>
                        <a:pt x="760" y="138"/>
                      </a:lnTo>
                      <a:lnTo>
                        <a:pt x="760" y="142"/>
                      </a:lnTo>
                      <a:lnTo>
                        <a:pt x="756" y="142"/>
                      </a:lnTo>
                      <a:lnTo>
                        <a:pt x="760" y="142"/>
                      </a:lnTo>
                      <a:lnTo>
                        <a:pt x="760" y="146"/>
                      </a:lnTo>
                      <a:lnTo>
                        <a:pt x="756" y="146"/>
                      </a:lnTo>
                      <a:lnTo>
                        <a:pt x="756" y="146"/>
                      </a:lnTo>
                      <a:lnTo>
                        <a:pt x="756" y="146"/>
                      </a:lnTo>
                      <a:close/>
                      <a:moveTo>
                        <a:pt x="752" y="168"/>
                      </a:moveTo>
                      <a:lnTo>
                        <a:pt x="756" y="168"/>
                      </a:lnTo>
                      <a:lnTo>
                        <a:pt x="760" y="168"/>
                      </a:lnTo>
                      <a:lnTo>
                        <a:pt x="760" y="172"/>
                      </a:lnTo>
                      <a:lnTo>
                        <a:pt x="756" y="172"/>
                      </a:lnTo>
                      <a:lnTo>
                        <a:pt x="752" y="172"/>
                      </a:lnTo>
                      <a:lnTo>
                        <a:pt x="748" y="168"/>
                      </a:lnTo>
                      <a:lnTo>
                        <a:pt x="744" y="168"/>
                      </a:lnTo>
                      <a:lnTo>
                        <a:pt x="742" y="168"/>
                      </a:lnTo>
                      <a:lnTo>
                        <a:pt x="744" y="168"/>
                      </a:lnTo>
                      <a:lnTo>
                        <a:pt x="748" y="168"/>
                      </a:lnTo>
                      <a:lnTo>
                        <a:pt x="752" y="168"/>
                      </a:lnTo>
                      <a:lnTo>
                        <a:pt x="752" y="168"/>
                      </a:lnTo>
                      <a:lnTo>
                        <a:pt x="752" y="168"/>
                      </a:lnTo>
                      <a:close/>
                      <a:moveTo>
                        <a:pt x="782" y="168"/>
                      </a:moveTo>
                      <a:lnTo>
                        <a:pt x="782" y="172"/>
                      </a:lnTo>
                      <a:lnTo>
                        <a:pt x="782" y="174"/>
                      </a:lnTo>
                      <a:lnTo>
                        <a:pt x="778" y="174"/>
                      </a:lnTo>
                      <a:lnTo>
                        <a:pt x="774" y="174"/>
                      </a:lnTo>
                      <a:lnTo>
                        <a:pt x="774" y="172"/>
                      </a:lnTo>
                      <a:lnTo>
                        <a:pt x="778" y="172"/>
                      </a:lnTo>
                      <a:lnTo>
                        <a:pt x="778" y="168"/>
                      </a:lnTo>
                      <a:lnTo>
                        <a:pt x="782" y="168"/>
                      </a:lnTo>
                      <a:lnTo>
                        <a:pt x="782" y="168"/>
                      </a:lnTo>
                      <a:lnTo>
                        <a:pt x="782" y="168"/>
                      </a:lnTo>
                      <a:close/>
                      <a:moveTo>
                        <a:pt x="768" y="216"/>
                      </a:moveTo>
                      <a:lnTo>
                        <a:pt x="770" y="220"/>
                      </a:lnTo>
                      <a:lnTo>
                        <a:pt x="770" y="224"/>
                      </a:lnTo>
                      <a:lnTo>
                        <a:pt x="768" y="224"/>
                      </a:lnTo>
                      <a:lnTo>
                        <a:pt x="768" y="220"/>
                      </a:lnTo>
                      <a:lnTo>
                        <a:pt x="768" y="216"/>
                      </a:lnTo>
                      <a:lnTo>
                        <a:pt x="764" y="216"/>
                      </a:lnTo>
                      <a:lnTo>
                        <a:pt x="764" y="212"/>
                      </a:lnTo>
                      <a:lnTo>
                        <a:pt x="764" y="208"/>
                      </a:lnTo>
                      <a:lnTo>
                        <a:pt x="760" y="208"/>
                      </a:lnTo>
                      <a:lnTo>
                        <a:pt x="760" y="204"/>
                      </a:lnTo>
                      <a:lnTo>
                        <a:pt x="764" y="204"/>
                      </a:lnTo>
                      <a:lnTo>
                        <a:pt x="768" y="204"/>
                      </a:lnTo>
                      <a:lnTo>
                        <a:pt x="764" y="204"/>
                      </a:lnTo>
                      <a:lnTo>
                        <a:pt x="764" y="200"/>
                      </a:lnTo>
                      <a:lnTo>
                        <a:pt x="768" y="200"/>
                      </a:lnTo>
                      <a:lnTo>
                        <a:pt x="768" y="204"/>
                      </a:lnTo>
                      <a:lnTo>
                        <a:pt x="768" y="208"/>
                      </a:lnTo>
                      <a:lnTo>
                        <a:pt x="768" y="212"/>
                      </a:lnTo>
                      <a:lnTo>
                        <a:pt x="768" y="216"/>
                      </a:lnTo>
                      <a:lnTo>
                        <a:pt x="768" y="216"/>
                      </a:lnTo>
                      <a:lnTo>
                        <a:pt x="768" y="216"/>
                      </a:lnTo>
                      <a:close/>
                      <a:moveTo>
                        <a:pt x="778" y="238"/>
                      </a:moveTo>
                      <a:lnTo>
                        <a:pt x="778" y="242"/>
                      </a:lnTo>
                      <a:lnTo>
                        <a:pt x="774" y="242"/>
                      </a:lnTo>
                      <a:lnTo>
                        <a:pt x="778" y="246"/>
                      </a:lnTo>
                      <a:lnTo>
                        <a:pt x="782" y="246"/>
                      </a:lnTo>
                      <a:lnTo>
                        <a:pt x="786" y="246"/>
                      </a:lnTo>
                      <a:lnTo>
                        <a:pt x="786" y="250"/>
                      </a:lnTo>
                      <a:lnTo>
                        <a:pt x="782" y="250"/>
                      </a:lnTo>
                      <a:lnTo>
                        <a:pt x="778" y="250"/>
                      </a:lnTo>
                      <a:lnTo>
                        <a:pt x="778" y="246"/>
                      </a:lnTo>
                      <a:lnTo>
                        <a:pt x="774" y="246"/>
                      </a:lnTo>
                      <a:lnTo>
                        <a:pt x="774" y="250"/>
                      </a:lnTo>
                      <a:lnTo>
                        <a:pt x="770" y="250"/>
                      </a:lnTo>
                      <a:lnTo>
                        <a:pt x="768" y="250"/>
                      </a:lnTo>
                      <a:lnTo>
                        <a:pt x="764" y="250"/>
                      </a:lnTo>
                      <a:lnTo>
                        <a:pt x="764" y="246"/>
                      </a:lnTo>
                      <a:lnTo>
                        <a:pt x="768" y="246"/>
                      </a:lnTo>
                      <a:lnTo>
                        <a:pt x="768" y="242"/>
                      </a:lnTo>
                      <a:lnTo>
                        <a:pt x="764" y="242"/>
                      </a:lnTo>
                      <a:lnTo>
                        <a:pt x="768" y="238"/>
                      </a:lnTo>
                      <a:lnTo>
                        <a:pt x="770" y="238"/>
                      </a:lnTo>
                      <a:lnTo>
                        <a:pt x="770" y="242"/>
                      </a:lnTo>
                      <a:lnTo>
                        <a:pt x="774" y="242"/>
                      </a:lnTo>
                      <a:lnTo>
                        <a:pt x="774" y="238"/>
                      </a:lnTo>
                      <a:lnTo>
                        <a:pt x="778" y="238"/>
                      </a:lnTo>
                      <a:lnTo>
                        <a:pt x="778" y="238"/>
                      </a:lnTo>
                      <a:lnTo>
                        <a:pt x="778" y="238"/>
                      </a:lnTo>
                      <a:close/>
                      <a:moveTo>
                        <a:pt x="722" y="310"/>
                      </a:moveTo>
                      <a:lnTo>
                        <a:pt x="718" y="310"/>
                      </a:lnTo>
                      <a:lnTo>
                        <a:pt x="716" y="310"/>
                      </a:lnTo>
                      <a:lnTo>
                        <a:pt x="712" y="310"/>
                      </a:lnTo>
                      <a:lnTo>
                        <a:pt x="712" y="306"/>
                      </a:lnTo>
                      <a:lnTo>
                        <a:pt x="708" y="306"/>
                      </a:lnTo>
                      <a:lnTo>
                        <a:pt x="704" y="306"/>
                      </a:lnTo>
                      <a:lnTo>
                        <a:pt x="700" y="306"/>
                      </a:lnTo>
                      <a:lnTo>
                        <a:pt x="696" y="306"/>
                      </a:lnTo>
                      <a:lnTo>
                        <a:pt x="692" y="306"/>
                      </a:lnTo>
                      <a:lnTo>
                        <a:pt x="688" y="306"/>
                      </a:lnTo>
                      <a:lnTo>
                        <a:pt x="686" y="306"/>
                      </a:lnTo>
                      <a:lnTo>
                        <a:pt x="686" y="302"/>
                      </a:lnTo>
                      <a:lnTo>
                        <a:pt x="688" y="302"/>
                      </a:lnTo>
                      <a:lnTo>
                        <a:pt x="692" y="302"/>
                      </a:lnTo>
                      <a:lnTo>
                        <a:pt x="696" y="302"/>
                      </a:lnTo>
                      <a:lnTo>
                        <a:pt x="700" y="302"/>
                      </a:lnTo>
                      <a:lnTo>
                        <a:pt x="704" y="302"/>
                      </a:lnTo>
                      <a:lnTo>
                        <a:pt x="708" y="302"/>
                      </a:lnTo>
                      <a:lnTo>
                        <a:pt x="712" y="302"/>
                      </a:lnTo>
                      <a:lnTo>
                        <a:pt x="716" y="302"/>
                      </a:lnTo>
                      <a:lnTo>
                        <a:pt x="718" y="302"/>
                      </a:lnTo>
                      <a:lnTo>
                        <a:pt x="718" y="306"/>
                      </a:lnTo>
                      <a:lnTo>
                        <a:pt x="722" y="306"/>
                      </a:lnTo>
                      <a:lnTo>
                        <a:pt x="718" y="306"/>
                      </a:lnTo>
                      <a:lnTo>
                        <a:pt x="718" y="310"/>
                      </a:lnTo>
                      <a:lnTo>
                        <a:pt x="722" y="310"/>
                      </a:lnTo>
                      <a:lnTo>
                        <a:pt x="722" y="310"/>
                      </a:lnTo>
                      <a:lnTo>
                        <a:pt x="722" y="310"/>
                      </a:lnTo>
                      <a:close/>
                      <a:moveTo>
                        <a:pt x="716" y="324"/>
                      </a:moveTo>
                      <a:lnTo>
                        <a:pt x="712" y="324"/>
                      </a:lnTo>
                      <a:lnTo>
                        <a:pt x="708" y="320"/>
                      </a:lnTo>
                      <a:lnTo>
                        <a:pt x="704" y="320"/>
                      </a:lnTo>
                      <a:lnTo>
                        <a:pt x="700" y="316"/>
                      </a:lnTo>
                      <a:lnTo>
                        <a:pt x="692" y="316"/>
                      </a:lnTo>
                      <a:lnTo>
                        <a:pt x="692" y="314"/>
                      </a:lnTo>
                      <a:lnTo>
                        <a:pt x="688" y="314"/>
                      </a:lnTo>
                      <a:lnTo>
                        <a:pt x="686" y="306"/>
                      </a:lnTo>
                      <a:lnTo>
                        <a:pt x="688" y="306"/>
                      </a:lnTo>
                      <a:lnTo>
                        <a:pt x="692" y="306"/>
                      </a:lnTo>
                      <a:lnTo>
                        <a:pt x="696" y="306"/>
                      </a:lnTo>
                      <a:lnTo>
                        <a:pt x="700" y="306"/>
                      </a:lnTo>
                      <a:lnTo>
                        <a:pt x="704" y="306"/>
                      </a:lnTo>
                      <a:lnTo>
                        <a:pt x="704" y="310"/>
                      </a:lnTo>
                      <a:lnTo>
                        <a:pt x="708" y="310"/>
                      </a:lnTo>
                      <a:lnTo>
                        <a:pt x="712" y="310"/>
                      </a:lnTo>
                      <a:lnTo>
                        <a:pt x="712" y="314"/>
                      </a:lnTo>
                      <a:lnTo>
                        <a:pt x="716" y="314"/>
                      </a:lnTo>
                      <a:lnTo>
                        <a:pt x="718" y="314"/>
                      </a:lnTo>
                      <a:lnTo>
                        <a:pt x="722" y="316"/>
                      </a:lnTo>
                      <a:lnTo>
                        <a:pt x="718" y="316"/>
                      </a:lnTo>
                      <a:lnTo>
                        <a:pt x="716" y="316"/>
                      </a:lnTo>
                      <a:lnTo>
                        <a:pt x="712" y="316"/>
                      </a:lnTo>
                      <a:lnTo>
                        <a:pt x="712" y="320"/>
                      </a:lnTo>
                      <a:lnTo>
                        <a:pt x="716" y="320"/>
                      </a:lnTo>
                      <a:lnTo>
                        <a:pt x="718" y="320"/>
                      </a:lnTo>
                      <a:lnTo>
                        <a:pt x="718" y="324"/>
                      </a:lnTo>
                      <a:lnTo>
                        <a:pt x="716" y="324"/>
                      </a:lnTo>
                      <a:lnTo>
                        <a:pt x="716" y="324"/>
                      </a:lnTo>
                      <a:lnTo>
                        <a:pt x="716" y="324"/>
                      </a:lnTo>
                      <a:close/>
                      <a:moveTo>
                        <a:pt x="246" y="332"/>
                      </a:moveTo>
                      <a:lnTo>
                        <a:pt x="250" y="332"/>
                      </a:lnTo>
                      <a:lnTo>
                        <a:pt x="246" y="332"/>
                      </a:lnTo>
                      <a:lnTo>
                        <a:pt x="242" y="332"/>
                      </a:lnTo>
                      <a:lnTo>
                        <a:pt x="246" y="332"/>
                      </a:lnTo>
                      <a:lnTo>
                        <a:pt x="246" y="332"/>
                      </a:lnTo>
                      <a:lnTo>
                        <a:pt x="246" y="332"/>
                      </a:lnTo>
                      <a:close/>
                      <a:moveTo>
                        <a:pt x="278" y="340"/>
                      </a:moveTo>
                      <a:lnTo>
                        <a:pt x="276" y="340"/>
                      </a:lnTo>
                      <a:lnTo>
                        <a:pt x="276" y="336"/>
                      </a:lnTo>
                      <a:lnTo>
                        <a:pt x="278" y="336"/>
                      </a:lnTo>
                      <a:lnTo>
                        <a:pt x="282" y="340"/>
                      </a:lnTo>
                      <a:lnTo>
                        <a:pt x="286" y="340"/>
                      </a:lnTo>
                      <a:lnTo>
                        <a:pt x="286" y="336"/>
                      </a:lnTo>
                      <a:lnTo>
                        <a:pt x="286" y="340"/>
                      </a:lnTo>
                      <a:lnTo>
                        <a:pt x="282" y="340"/>
                      </a:lnTo>
                      <a:lnTo>
                        <a:pt x="278" y="340"/>
                      </a:lnTo>
                      <a:lnTo>
                        <a:pt x="278" y="340"/>
                      </a:lnTo>
                      <a:lnTo>
                        <a:pt x="278" y="340"/>
                      </a:lnTo>
                      <a:close/>
                      <a:moveTo>
                        <a:pt x="278" y="346"/>
                      </a:moveTo>
                      <a:lnTo>
                        <a:pt x="282" y="346"/>
                      </a:lnTo>
                      <a:lnTo>
                        <a:pt x="282" y="342"/>
                      </a:lnTo>
                      <a:lnTo>
                        <a:pt x="286" y="346"/>
                      </a:lnTo>
                      <a:lnTo>
                        <a:pt x="290" y="346"/>
                      </a:lnTo>
                      <a:lnTo>
                        <a:pt x="286" y="346"/>
                      </a:lnTo>
                      <a:lnTo>
                        <a:pt x="286" y="350"/>
                      </a:lnTo>
                      <a:lnTo>
                        <a:pt x="282" y="350"/>
                      </a:lnTo>
                      <a:lnTo>
                        <a:pt x="278" y="350"/>
                      </a:lnTo>
                      <a:lnTo>
                        <a:pt x="278" y="346"/>
                      </a:lnTo>
                      <a:lnTo>
                        <a:pt x="278" y="346"/>
                      </a:lnTo>
                      <a:lnTo>
                        <a:pt x="278" y="346"/>
                      </a:lnTo>
                      <a:close/>
                      <a:moveTo>
                        <a:pt x="276" y="346"/>
                      </a:moveTo>
                      <a:lnTo>
                        <a:pt x="276" y="350"/>
                      </a:lnTo>
                      <a:lnTo>
                        <a:pt x="276" y="354"/>
                      </a:lnTo>
                      <a:lnTo>
                        <a:pt x="272" y="354"/>
                      </a:lnTo>
                      <a:lnTo>
                        <a:pt x="268" y="350"/>
                      </a:lnTo>
                      <a:lnTo>
                        <a:pt x="272" y="350"/>
                      </a:lnTo>
                      <a:lnTo>
                        <a:pt x="272" y="346"/>
                      </a:lnTo>
                      <a:lnTo>
                        <a:pt x="276" y="346"/>
                      </a:lnTo>
                      <a:lnTo>
                        <a:pt x="276" y="346"/>
                      </a:lnTo>
                      <a:lnTo>
                        <a:pt x="276" y="346"/>
                      </a:lnTo>
                      <a:close/>
                      <a:moveTo>
                        <a:pt x="670" y="354"/>
                      </a:moveTo>
                      <a:lnTo>
                        <a:pt x="674" y="358"/>
                      </a:lnTo>
                      <a:lnTo>
                        <a:pt x="674" y="362"/>
                      </a:lnTo>
                      <a:lnTo>
                        <a:pt x="670" y="366"/>
                      </a:lnTo>
                      <a:lnTo>
                        <a:pt x="666" y="366"/>
                      </a:lnTo>
                      <a:lnTo>
                        <a:pt x="662" y="366"/>
                      </a:lnTo>
                      <a:lnTo>
                        <a:pt x="660" y="366"/>
                      </a:lnTo>
                      <a:lnTo>
                        <a:pt x="656" y="366"/>
                      </a:lnTo>
                      <a:lnTo>
                        <a:pt x="652" y="366"/>
                      </a:lnTo>
                      <a:lnTo>
                        <a:pt x="648" y="370"/>
                      </a:lnTo>
                      <a:lnTo>
                        <a:pt x="640" y="370"/>
                      </a:lnTo>
                      <a:lnTo>
                        <a:pt x="636" y="370"/>
                      </a:lnTo>
                      <a:lnTo>
                        <a:pt x="632" y="370"/>
                      </a:lnTo>
                      <a:lnTo>
                        <a:pt x="632" y="366"/>
                      </a:lnTo>
                      <a:lnTo>
                        <a:pt x="636" y="366"/>
                      </a:lnTo>
                      <a:lnTo>
                        <a:pt x="640" y="366"/>
                      </a:lnTo>
                      <a:lnTo>
                        <a:pt x="640" y="362"/>
                      </a:lnTo>
                      <a:lnTo>
                        <a:pt x="644" y="362"/>
                      </a:lnTo>
                      <a:lnTo>
                        <a:pt x="648" y="358"/>
                      </a:lnTo>
                      <a:lnTo>
                        <a:pt x="652" y="358"/>
                      </a:lnTo>
                      <a:lnTo>
                        <a:pt x="656" y="358"/>
                      </a:lnTo>
                      <a:lnTo>
                        <a:pt x="660" y="358"/>
                      </a:lnTo>
                      <a:lnTo>
                        <a:pt x="660" y="354"/>
                      </a:lnTo>
                      <a:lnTo>
                        <a:pt x="662" y="354"/>
                      </a:lnTo>
                      <a:lnTo>
                        <a:pt x="666" y="354"/>
                      </a:lnTo>
                      <a:lnTo>
                        <a:pt x="670" y="354"/>
                      </a:lnTo>
                      <a:lnTo>
                        <a:pt x="670" y="354"/>
                      </a:lnTo>
                      <a:lnTo>
                        <a:pt x="670" y="354"/>
                      </a:lnTo>
                      <a:close/>
                      <a:moveTo>
                        <a:pt x="298" y="354"/>
                      </a:moveTo>
                      <a:lnTo>
                        <a:pt x="302" y="358"/>
                      </a:lnTo>
                      <a:lnTo>
                        <a:pt x="298" y="358"/>
                      </a:lnTo>
                      <a:lnTo>
                        <a:pt x="294" y="358"/>
                      </a:lnTo>
                      <a:lnTo>
                        <a:pt x="294" y="354"/>
                      </a:lnTo>
                      <a:lnTo>
                        <a:pt x="298" y="354"/>
                      </a:lnTo>
                      <a:lnTo>
                        <a:pt x="298" y="354"/>
                      </a:lnTo>
                      <a:lnTo>
                        <a:pt x="298" y="354"/>
                      </a:lnTo>
                      <a:close/>
                      <a:moveTo>
                        <a:pt x="648" y="358"/>
                      </a:moveTo>
                      <a:lnTo>
                        <a:pt x="644" y="358"/>
                      </a:lnTo>
                      <a:lnTo>
                        <a:pt x="640" y="362"/>
                      </a:lnTo>
                      <a:lnTo>
                        <a:pt x="640" y="358"/>
                      </a:lnTo>
                      <a:lnTo>
                        <a:pt x="644" y="358"/>
                      </a:lnTo>
                      <a:lnTo>
                        <a:pt x="648" y="358"/>
                      </a:lnTo>
                      <a:lnTo>
                        <a:pt x="648" y="358"/>
                      </a:lnTo>
                      <a:lnTo>
                        <a:pt x="648" y="358"/>
                      </a:lnTo>
                      <a:close/>
                      <a:moveTo>
                        <a:pt x="302" y="366"/>
                      </a:moveTo>
                      <a:lnTo>
                        <a:pt x="302" y="362"/>
                      </a:lnTo>
                      <a:lnTo>
                        <a:pt x="298" y="362"/>
                      </a:lnTo>
                      <a:lnTo>
                        <a:pt x="302" y="362"/>
                      </a:lnTo>
                      <a:lnTo>
                        <a:pt x="306" y="362"/>
                      </a:lnTo>
                      <a:lnTo>
                        <a:pt x="302" y="366"/>
                      </a:lnTo>
                      <a:lnTo>
                        <a:pt x="302" y="366"/>
                      </a:lnTo>
                      <a:lnTo>
                        <a:pt x="302" y="366"/>
                      </a:lnTo>
                      <a:close/>
                      <a:moveTo>
                        <a:pt x="662" y="366"/>
                      </a:moveTo>
                      <a:lnTo>
                        <a:pt x="662" y="370"/>
                      </a:lnTo>
                      <a:lnTo>
                        <a:pt x="660" y="370"/>
                      </a:lnTo>
                      <a:lnTo>
                        <a:pt x="660" y="366"/>
                      </a:lnTo>
                      <a:lnTo>
                        <a:pt x="662" y="366"/>
                      </a:lnTo>
                      <a:lnTo>
                        <a:pt x="662" y="366"/>
                      </a:lnTo>
                      <a:lnTo>
                        <a:pt x="662" y="366"/>
                      </a:lnTo>
                      <a:close/>
                      <a:moveTo>
                        <a:pt x="252" y="370"/>
                      </a:moveTo>
                      <a:lnTo>
                        <a:pt x="256" y="370"/>
                      </a:lnTo>
                      <a:lnTo>
                        <a:pt x="260" y="370"/>
                      </a:lnTo>
                      <a:lnTo>
                        <a:pt x="256" y="370"/>
                      </a:lnTo>
                      <a:lnTo>
                        <a:pt x="252" y="370"/>
                      </a:lnTo>
                      <a:lnTo>
                        <a:pt x="252" y="370"/>
                      </a:lnTo>
                      <a:lnTo>
                        <a:pt x="252" y="370"/>
                      </a:lnTo>
                      <a:close/>
                      <a:moveTo>
                        <a:pt x="264" y="396"/>
                      </a:moveTo>
                      <a:lnTo>
                        <a:pt x="268" y="396"/>
                      </a:lnTo>
                      <a:lnTo>
                        <a:pt x="272" y="396"/>
                      </a:lnTo>
                      <a:lnTo>
                        <a:pt x="276" y="396"/>
                      </a:lnTo>
                      <a:lnTo>
                        <a:pt x="276" y="392"/>
                      </a:lnTo>
                      <a:lnTo>
                        <a:pt x="278" y="392"/>
                      </a:lnTo>
                      <a:lnTo>
                        <a:pt x="276" y="392"/>
                      </a:lnTo>
                      <a:lnTo>
                        <a:pt x="272" y="392"/>
                      </a:lnTo>
                      <a:lnTo>
                        <a:pt x="272" y="396"/>
                      </a:lnTo>
                      <a:lnTo>
                        <a:pt x="272" y="392"/>
                      </a:lnTo>
                      <a:lnTo>
                        <a:pt x="268" y="392"/>
                      </a:lnTo>
                      <a:lnTo>
                        <a:pt x="272" y="392"/>
                      </a:lnTo>
                      <a:lnTo>
                        <a:pt x="268" y="392"/>
                      </a:lnTo>
                      <a:lnTo>
                        <a:pt x="260" y="392"/>
                      </a:lnTo>
                      <a:lnTo>
                        <a:pt x="256" y="392"/>
                      </a:lnTo>
                      <a:lnTo>
                        <a:pt x="252" y="388"/>
                      </a:lnTo>
                      <a:lnTo>
                        <a:pt x="256" y="388"/>
                      </a:lnTo>
                      <a:lnTo>
                        <a:pt x="260" y="388"/>
                      </a:lnTo>
                      <a:lnTo>
                        <a:pt x="264" y="388"/>
                      </a:lnTo>
                      <a:lnTo>
                        <a:pt x="260" y="388"/>
                      </a:lnTo>
                      <a:lnTo>
                        <a:pt x="260" y="384"/>
                      </a:lnTo>
                      <a:lnTo>
                        <a:pt x="256" y="384"/>
                      </a:lnTo>
                      <a:lnTo>
                        <a:pt x="256" y="380"/>
                      </a:lnTo>
                      <a:lnTo>
                        <a:pt x="260" y="380"/>
                      </a:lnTo>
                      <a:lnTo>
                        <a:pt x="264" y="380"/>
                      </a:lnTo>
                      <a:lnTo>
                        <a:pt x="264" y="384"/>
                      </a:lnTo>
                      <a:lnTo>
                        <a:pt x="264" y="380"/>
                      </a:lnTo>
                      <a:lnTo>
                        <a:pt x="260" y="380"/>
                      </a:lnTo>
                      <a:lnTo>
                        <a:pt x="256" y="380"/>
                      </a:lnTo>
                      <a:lnTo>
                        <a:pt x="256" y="376"/>
                      </a:lnTo>
                      <a:lnTo>
                        <a:pt x="256" y="372"/>
                      </a:lnTo>
                      <a:lnTo>
                        <a:pt x="260" y="372"/>
                      </a:lnTo>
                      <a:lnTo>
                        <a:pt x="264" y="372"/>
                      </a:lnTo>
                      <a:lnTo>
                        <a:pt x="268" y="372"/>
                      </a:lnTo>
                      <a:lnTo>
                        <a:pt x="272" y="372"/>
                      </a:lnTo>
                      <a:lnTo>
                        <a:pt x="276" y="372"/>
                      </a:lnTo>
                      <a:lnTo>
                        <a:pt x="278" y="376"/>
                      </a:lnTo>
                      <a:lnTo>
                        <a:pt x="282" y="376"/>
                      </a:lnTo>
                      <a:lnTo>
                        <a:pt x="282" y="380"/>
                      </a:lnTo>
                      <a:lnTo>
                        <a:pt x="286" y="380"/>
                      </a:lnTo>
                      <a:lnTo>
                        <a:pt x="286" y="384"/>
                      </a:lnTo>
                      <a:lnTo>
                        <a:pt x="290" y="384"/>
                      </a:lnTo>
                      <a:lnTo>
                        <a:pt x="294" y="384"/>
                      </a:lnTo>
                      <a:lnTo>
                        <a:pt x="298" y="384"/>
                      </a:lnTo>
                      <a:lnTo>
                        <a:pt x="298" y="388"/>
                      </a:lnTo>
                      <a:lnTo>
                        <a:pt x="298" y="392"/>
                      </a:lnTo>
                      <a:lnTo>
                        <a:pt x="294" y="392"/>
                      </a:lnTo>
                      <a:lnTo>
                        <a:pt x="294" y="396"/>
                      </a:lnTo>
                      <a:lnTo>
                        <a:pt x="290" y="396"/>
                      </a:lnTo>
                      <a:lnTo>
                        <a:pt x="286" y="396"/>
                      </a:lnTo>
                      <a:lnTo>
                        <a:pt x="282" y="396"/>
                      </a:lnTo>
                      <a:lnTo>
                        <a:pt x="278" y="398"/>
                      </a:lnTo>
                      <a:lnTo>
                        <a:pt x="276" y="398"/>
                      </a:lnTo>
                      <a:lnTo>
                        <a:pt x="272" y="398"/>
                      </a:lnTo>
                      <a:lnTo>
                        <a:pt x="268" y="398"/>
                      </a:lnTo>
                      <a:lnTo>
                        <a:pt x="268" y="396"/>
                      </a:lnTo>
                      <a:lnTo>
                        <a:pt x="264" y="396"/>
                      </a:lnTo>
                      <a:lnTo>
                        <a:pt x="264" y="396"/>
                      </a:lnTo>
                      <a:lnTo>
                        <a:pt x="264" y="396"/>
                      </a:lnTo>
                      <a:close/>
                      <a:moveTo>
                        <a:pt x="308" y="384"/>
                      </a:moveTo>
                      <a:lnTo>
                        <a:pt x="312" y="384"/>
                      </a:lnTo>
                      <a:lnTo>
                        <a:pt x="316" y="384"/>
                      </a:lnTo>
                      <a:lnTo>
                        <a:pt x="312" y="388"/>
                      </a:lnTo>
                      <a:lnTo>
                        <a:pt x="312" y="392"/>
                      </a:lnTo>
                      <a:lnTo>
                        <a:pt x="308" y="392"/>
                      </a:lnTo>
                      <a:lnTo>
                        <a:pt x="306" y="388"/>
                      </a:lnTo>
                      <a:lnTo>
                        <a:pt x="306" y="384"/>
                      </a:lnTo>
                      <a:lnTo>
                        <a:pt x="308" y="384"/>
                      </a:lnTo>
                      <a:lnTo>
                        <a:pt x="306" y="384"/>
                      </a:lnTo>
                      <a:lnTo>
                        <a:pt x="308" y="384"/>
                      </a:lnTo>
                      <a:lnTo>
                        <a:pt x="308" y="380"/>
                      </a:lnTo>
                      <a:lnTo>
                        <a:pt x="308" y="384"/>
                      </a:lnTo>
                      <a:lnTo>
                        <a:pt x="308" y="384"/>
                      </a:lnTo>
                      <a:lnTo>
                        <a:pt x="308" y="384"/>
                      </a:lnTo>
                      <a:close/>
                      <a:moveTo>
                        <a:pt x="294" y="414"/>
                      </a:moveTo>
                      <a:lnTo>
                        <a:pt x="290" y="414"/>
                      </a:lnTo>
                      <a:lnTo>
                        <a:pt x="286" y="414"/>
                      </a:lnTo>
                      <a:lnTo>
                        <a:pt x="282" y="414"/>
                      </a:lnTo>
                      <a:lnTo>
                        <a:pt x="282" y="418"/>
                      </a:lnTo>
                      <a:lnTo>
                        <a:pt x="278" y="418"/>
                      </a:lnTo>
                      <a:lnTo>
                        <a:pt x="282" y="414"/>
                      </a:lnTo>
                      <a:lnTo>
                        <a:pt x="286" y="414"/>
                      </a:lnTo>
                      <a:lnTo>
                        <a:pt x="282" y="414"/>
                      </a:lnTo>
                      <a:lnTo>
                        <a:pt x="286" y="414"/>
                      </a:lnTo>
                      <a:lnTo>
                        <a:pt x="290" y="414"/>
                      </a:lnTo>
                      <a:lnTo>
                        <a:pt x="294" y="414"/>
                      </a:lnTo>
                      <a:lnTo>
                        <a:pt x="294" y="414"/>
                      </a:lnTo>
                      <a:lnTo>
                        <a:pt x="294" y="414"/>
                      </a:lnTo>
                      <a:close/>
                      <a:moveTo>
                        <a:pt x="294" y="426"/>
                      </a:moveTo>
                      <a:lnTo>
                        <a:pt x="298" y="426"/>
                      </a:lnTo>
                      <a:lnTo>
                        <a:pt x="302" y="426"/>
                      </a:lnTo>
                      <a:lnTo>
                        <a:pt x="306" y="426"/>
                      </a:lnTo>
                      <a:lnTo>
                        <a:pt x="302" y="426"/>
                      </a:lnTo>
                      <a:lnTo>
                        <a:pt x="298" y="426"/>
                      </a:lnTo>
                      <a:lnTo>
                        <a:pt x="298" y="428"/>
                      </a:lnTo>
                      <a:lnTo>
                        <a:pt x="294" y="428"/>
                      </a:lnTo>
                      <a:lnTo>
                        <a:pt x="290" y="426"/>
                      </a:lnTo>
                      <a:lnTo>
                        <a:pt x="294" y="426"/>
                      </a:lnTo>
                      <a:lnTo>
                        <a:pt x="294" y="426"/>
                      </a:lnTo>
                      <a:lnTo>
                        <a:pt x="294" y="426"/>
                      </a:lnTo>
                      <a:close/>
                      <a:moveTo>
                        <a:pt x="610" y="426"/>
                      </a:moveTo>
                      <a:lnTo>
                        <a:pt x="610" y="428"/>
                      </a:lnTo>
                      <a:lnTo>
                        <a:pt x="610" y="426"/>
                      </a:lnTo>
                      <a:lnTo>
                        <a:pt x="606" y="426"/>
                      </a:lnTo>
                      <a:lnTo>
                        <a:pt x="610" y="426"/>
                      </a:lnTo>
                      <a:lnTo>
                        <a:pt x="610" y="426"/>
                      </a:lnTo>
                      <a:lnTo>
                        <a:pt x="610" y="426"/>
                      </a:lnTo>
                      <a:close/>
                      <a:moveTo>
                        <a:pt x="298" y="428"/>
                      </a:moveTo>
                      <a:lnTo>
                        <a:pt x="306" y="426"/>
                      </a:lnTo>
                      <a:lnTo>
                        <a:pt x="308" y="428"/>
                      </a:lnTo>
                      <a:lnTo>
                        <a:pt x="306" y="428"/>
                      </a:lnTo>
                      <a:lnTo>
                        <a:pt x="302" y="428"/>
                      </a:lnTo>
                      <a:lnTo>
                        <a:pt x="298" y="428"/>
                      </a:lnTo>
                      <a:lnTo>
                        <a:pt x="298" y="428"/>
                      </a:lnTo>
                      <a:lnTo>
                        <a:pt x="298" y="428"/>
                      </a:lnTo>
                      <a:close/>
                      <a:moveTo>
                        <a:pt x="276" y="428"/>
                      </a:moveTo>
                      <a:lnTo>
                        <a:pt x="278" y="428"/>
                      </a:lnTo>
                      <a:lnTo>
                        <a:pt x="276" y="428"/>
                      </a:lnTo>
                      <a:lnTo>
                        <a:pt x="276" y="428"/>
                      </a:lnTo>
                      <a:lnTo>
                        <a:pt x="276" y="428"/>
                      </a:lnTo>
                      <a:close/>
                      <a:moveTo>
                        <a:pt x="272" y="440"/>
                      </a:moveTo>
                      <a:lnTo>
                        <a:pt x="272" y="436"/>
                      </a:lnTo>
                      <a:lnTo>
                        <a:pt x="276" y="436"/>
                      </a:lnTo>
                      <a:lnTo>
                        <a:pt x="272" y="440"/>
                      </a:lnTo>
                      <a:lnTo>
                        <a:pt x="272" y="440"/>
                      </a:lnTo>
                      <a:lnTo>
                        <a:pt x="272" y="440"/>
                      </a:lnTo>
                      <a:close/>
                      <a:moveTo>
                        <a:pt x="272" y="478"/>
                      </a:moveTo>
                      <a:lnTo>
                        <a:pt x="276" y="478"/>
                      </a:lnTo>
                      <a:lnTo>
                        <a:pt x="272" y="478"/>
                      </a:lnTo>
                      <a:lnTo>
                        <a:pt x="272" y="478"/>
                      </a:lnTo>
                      <a:lnTo>
                        <a:pt x="272" y="478"/>
                      </a:lnTo>
                      <a:close/>
                      <a:moveTo>
                        <a:pt x="514" y="484"/>
                      </a:moveTo>
                      <a:lnTo>
                        <a:pt x="514" y="482"/>
                      </a:lnTo>
                      <a:lnTo>
                        <a:pt x="514" y="484"/>
                      </a:lnTo>
                      <a:lnTo>
                        <a:pt x="514" y="484"/>
                      </a:lnTo>
                      <a:lnTo>
                        <a:pt x="514" y="484"/>
                      </a:lnTo>
                      <a:close/>
                      <a:moveTo>
                        <a:pt x="518" y="484"/>
                      </a:moveTo>
                      <a:lnTo>
                        <a:pt x="518" y="482"/>
                      </a:lnTo>
                      <a:lnTo>
                        <a:pt x="520" y="482"/>
                      </a:lnTo>
                      <a:lnTo>
                        <a:pt x="520" y="484"/>
                      </a:lnTo>
                      <a:lnTo>
                        <a:pt x="518" y="484"/>
                      </a:lnTo>
                      <a:lnTo>
                        <a:pt x="518" y="484"/>
                      </a:lnTo>
                      <a:lnTo>
                        <a:pt x="518" y="484"/>
                      </a:lnTo>
                      <a:close/>
                      <a:moveTo>
                        <a:pt x="498" y="488"/>
                      </a:moveTo>
                      <a:lnTo>
                        <a:pt x="494" y="488"/>
                      </a:lnTo>
                      <a:lnTo>
                        <a:pt x="494" y="484"/>
                      </a:lnTo>
                      <a:lnTo>
                        <a:pt x="494" y="482"/>
                      </a:lnTo>
                      <a:lnTo>
                        <a:pt x="498" y="482"/>
                      </a:lnTo>
                      <a:lnTo>
                        <a:pt x="502" y="482"/>
                      </a:lnTo>
                      <a:lnTo>
                        <a:pt x="502" y="484"/>
                      </a:lnTo>
                      <a:lnTo>
                        <a:pt x="506" y="484"/>
                      </a:lnTo>
                      <a:lnTo>
                        <a:pt x="502" y="484"/>
                      </a:lnTo>
                      <a:lnTo>
                        <a:pt x="502" y="488"/>
                      </a:lnTo>
                      <a:lnTo>
                        <a:pt x="498" y="488"/>
                      </a:lnTo>
                      <a:lnTo>
                        <a:pt x="498" y="488"/>
                      </a:lnTo>
                      <a:lnTo>
                        <a:pt x="498" y="488"/>
                      </a:lnTo>
                      <a:close/>
                      <a:moveTo>
                        <a:pt x="472" y="496"/>
                      </a:moveTo>
                      <a:lnTo>
                        <a:pt x="468" y="496"/>
                      </a:lnTo>
                      <a:lnTo>
                        <a:pt x="472" y="496"/>
                      </a:lnTo>
                      <a:lnTo>
                        <a:pt x="472" y="496"/>
                      </a:lnTo>
                      <a:lnTo>
                        <a:pt x="472" y="496"/>
                      </a:lnTo>
                      <a:close/>
                      <a:moveTo>
                        <a:pt x="462" y="518"/>
                      </a:moveTo>
                      <a:lnTo>
                        <a:pt x="462" y="514"/>
                      </a:lnTo>
                      <a:lnTo>
                        <a:pt x="458" y="514"/>
                      </a:lnTo>
                      <a:lnTo>
                        <a:pt x="458" y="512"/>
                      </a:lnTo>
                      <a:lnTo>
                        <a:pt x="454" y="508"/>
                      </a:lnTo>
                      <a:lnTo>
                        <a:pt x="458" y="508"/>
                      </a:lnTo>
                      <a:lnTo>
                        <a:pt x="462" y="512"/>
                      </a:lnTo>
                      <a:lnTo>
                        <a:pt x="458" y="512"/>
                      </a:lnTo>
                      <a:lnTo>
                        <a:pt x="462" y="514"/>
                      </a:lnTo>
                      <a:lnTo>
                        <a:pt x="464" y="514"/>
                      </a:lnTo>
                      <a:lnTo>
                        <a:pt x="464" y="518"/>
                      </a:lnTo>
                      <a:lnTo>
                        <a:pt x="462" y="518"/>
                      </a:lnTo>
                      <a:lnTo>
                        <a:pt x="462" y="518"/>
                      </a:lnTo>
                      <a:lnTo>
                        <a:pt x="462" y="518"/>
                      </a:lnTo>
                      <a:close/>
                      <a:moveTo>
                        <a:pt x="308" y="514"/>
                      </a:moveTo>
                      <a:lnTo>
                        <a:pt x="308" y="518"/>
                      </a:lnTo>
                      <a:lnTo>
                        <a:pt x="306" y="518"/>
                      </a:lnTo>
                      <a:lnTo>
                        <a:pt x="306" y="514"/>
                      </a:lnTo>
                      <a:lnTo>
                        <a:pt x="308" y="514"/>
                      </a:lnTo>
                      <a:lnTo>
                        <a:pt x="308" y="514"/>
                      </a:lnTo>
                      <a:lnTo>
                        <a:pt x="308" y="514"/>
                      </a:lnTo>
                      <a:close/>
                      <a:moveTo>
                        <a:pt x="312" y="514"/>
                      </a:moveTo>
                      <a:lnTo>
                        <a:pt x="312" y="518"/>
                      </a:lnTo>
                      <a:lnTo>
                        <a:pt x="308" y="518"/>
                      </a:lnTo>
                      <a:lnTo>
                        <a:pt x="308" y="522"/>
                      </a:lnTo>
                      <a:lnTo>
                        <a:pt x="306" y="522"/>
                      </a:lnTo>
                      <a:lnTo>
                        <a:pt x="308" y="518"/>
                      </a:lnTo>
                      <a:lnTo>
                        <a:pt x="308" y="514"/>
                      </a:lnTo>
                      <a:lnTo>
                        <a:pt x="312" y="514"/>
                      </a:lnTo>
                      <a:lnTo>
                        <a:pt x="312" y="514"/>
                      </a:lnTo>
                      <a:lnTo>
                        <a:pt x="312" y="514"/>
                      </a:lnTo>
                      <a:close/>
                      <a:moveTo>
                        <a:pt x="306" y="518"/>
                      </a:moveTo>
                      <a:lnTo>
                        <a:pt x="306" y="522"/>
                      </a:lnTo>
                      <a:lnTo>
                        <a:pt x="302" y="522"/>
                      </a:lnTo>
                      <a:lnTo>
                        <a:pt x="306" y="518"/>
                      </a:lnTo>
                      <a:lnTo>
                        <a:pt x="306" y="518"/>
                      </a:lnTo>
                      <a:lnTo>
                        <a:pt x="306" y="518"/>
                      </a:lnTo>
                      <a:close/>
                      <a:moveTo>
                        <a:pt x="450" y="522"/>
                      </a:moveTo>
                      <a:lnTo>
                        <a:pt x="446" y="522"/>
                      </a:lnTo>
                      <a:lnTo>
                        <a:pt x="446" y="518"/>
                      </a:lnTo>
                      <a:lnTo>
                        <a:pt x="450" y="522"/>
                      </a:lnTo>
                      <a:lnTo>
                        <a:pt x="450" y="522"/>
                      </a:lnTo>
                      <a:lnTo>
                        <a:pt x="450" y="52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35" name="Freeform 74"/>
                <p:cNvSpPr>
                  <a:spLocks/>
                </p:cNvSpPr>
                <p:nvPr/>
              </p:nvSpPr>
              <p:spPr bwMode="auto">
                <a:xfrm>
                  <a:off x="2324100" y="4070418"/>
                  <a:ext cx="88900" cy="114300"/>
                </a:xfrm>
                <a:custGeom>
                  <a:avLst/>
                  <a:gdLst>
                    <a:gd name="T0" fmla="*/ 38 w 56"/>
                    <a:gd name="T1" fmla="*/ 60 h 72"/>
                    <a:gd name="T2" fmla="*/ 38 w 56"/>
                    <a:gd name="T3" fmla="*/ 64 h 72"/>
                    <a:gd name="T4" fmla="*/ 38 w 56"/>
                    <a:gd name="T5" fmla="*/ 64 h 72"/>
                    <a:gd name="T6" fmla="*/ 38 w 56"/>
                    <a:gd name="T7" fmla="*/ 64 h 72"/>
                    <a:gd name="T8" fmla="*/ 34 w 56"/>
                    <a:gd name="T9" fmla="*/ 68 h 72"/>
                    <a:gd name="T10" fmla="*/ 30 w 56"/>
                    <a:gd name="T11" fmla="*/ 72 h 72"/>
                    <a:gd name="T12" fmla="*/ 30 w 56"/>
                    <a:gd name="T13" fmla="*/ 72 h 72"/>
                    <a:gd name="T14" fmla="*/ 26 w 56"/>
                    <a:gd name="T15" fmla="*/ 72 h 72"/>
                    <a:gd name="T16" fmla="*/ 22 w 56"/>
                    <a:gd name="T17" fmla="*/ 68 h 72"/>
                    <a:gd name="T18" fmla="*/ 22 w 56"/>
                    <a:gd name="T19" fmla="*/ 68 h 72"/>
                    <a:gd name="T20" fmla="*/ 16 w 56"/>
                    <a:gd name="T21" fmla="*/ 68 h 72"/>
                    <a:gd name="T22" fmla="*/ 12 w 56"/>
                    <a:gd name="T23" fmla="*/ 68 h 72"/>
                    <a:gd name="T24" fmla="*/ 8 w 56"/>
                    <a:gd name="T25" fmla="*/ 68 h 72"/>
                    <a:gd name="T26" fmla="*/ 8 w 56"/>
                    <a:gd name="T27" fmla="*/ 64 h 72"/>
                    <a:gd name="T28" fmla="*/ 4 w 56"/>
                    <a:gd name="T29" fmla="*/ 64 h 72"/>
                    <a:gd name="T30" fmla="*/ 0 w 56"/>
                    <a:gd name="T31" fmla="*/ 60 h 72"/>
                    <a:gd name="T32" fmla="*/ 0 w 56"/>
                    <a:gd name="T33" fmla="*/ 56 h 72"/>
                    <a:gd name="T34" fmla="*/ 0 w 56"/>
                    <a:gd name="T35" fmla="*/ 56 h 72"/>
                    <a:gd name="T36" fmla="*/ 0 w 56"/>
                    <a:gd name="T37" fmla="*/ 52 h 72"/>
                    <a:gd name="T38" fmla="*/ 0 w 56"/>
                    <a:gd name="T39" fmla="*/ 44 h 72"/>
                    <a:gd name="T40" fmla="*/ 8 w 56"/>
                    <a:gd name="T41" fmla="*/ 30 h 72"/>
                    <a:gd name="T42" fmla="*/ 18 w 56"/>
                    <a:gd name="T43" fmla="*/ 30 h 72"/>
                    <a:gd name="T44" fmla="*/ 26 w 56"/>
                    <a:gd name="T45" fmla="*/ 30 h 72"/>
                    <a:gd name="T46" fmla="*/ 26 w 56"/>
                    <a:gd name="T47" fmla="*/ 30 h 72"/>
                    <a:gd name="T48" fmla="*/ 26 w 56"/>
                    <a:gd name="T49" fmla="*/ 26 h 72"/>
                    <a:gd name="T50" fmla="*/ 22 w 56"/>
                    <a:gd name="T51" fmla="*/ 26 h 72"/>
                    <a:gd name="T52" fmla="*/ 22 w 56"/>
                    <a:gd name="T53" fmla="*/ 22 h 72"/>
                    <a:gd name="T54" fmla="*/ 22 w 56"/>
                    <a:gd name="T55" fmla="*/ 18 h 72"/>
                    <a:gd name="T56" fmla="*/ 18 w 56"/>
                    <a:gd name="T57" fmla="*/ 18 h 72"/>
                    <a:gd name="T58" fmla="*/ 16 w 56"/>
                    <a:gd name="T59" fmla="*/ 14 h 72"/>
                    <a:gd name="T60" fmla="*/ 12 w 56"/>
                    <a:gd name="T61" fmla="*/ 12 h 72"/>
                    <a:gd name="T62" fmla="*/ 18 w 56"/>
                    <a:gd name="T63" fmla="*/ 0 h 72"/>
                    <a:gd name="T64" fmla="*/ 22 w 56"/>
                    <a:gd name="T65" fmla="*/ 0 h 72"/>
                    <a:gd name="T66" fmla="*/ 42 w 56"/>
                    <a:gd name="T67" fmla="*/ 0 h 72"/>
                    <a:gd name="T68" fmla="*/ 46 w 56"/>
                    <a:gd name="T69" fmla="*/ 14 h 72"/>
                    <a:gd name="T70" fmla="*/ 42 w 56"/>
                    <a:gd name="T71" fmla="*/ 34 h 72"/>
                    <a:gd name="T72" fmla="*/ 50 w 56"/>
                    <a:gd name="T73" fmla="*/ 34 h 72"/>
                    <a:gd name="T74" fmla="*/ 50 w 56"/>
                    <a:gd name="T75" fmla="*/ 34 h 72"/>
                    <a:gd name="T76" fmla="*/ 52 w 56"/>
                    <a:gd name="T77" fmla="*/ 38 h 72"/>
                    <a:gd name="T78" fmla="*/ 52 w 56"/>
                    <a:gd name="T79" fmla="*/ 34 h 72"/>
                    <a:gd name="T80" fmla="*/ 56 w 56"/>
                    <a:gd name="T81" fmla="*/ 38 h 72"/>
                    <a:gd name="T82" fmla="*/ 56 w 56"/>
                    <a:gd name="T83" fmla="*/ 38 h 72"/>
                    <a:gd name="T84" fmla="*/ 52 w 56"/>
                    <a:gd name="T85" fmla="*/ 44 h 72"/>
                    <a:gd name="T86" fmla="*/ 46 w 56"/>
                    <a:gd name="T87" fmla="*/ 48 h 72"/>
                    <a:gd name="T88" fmla="*/ 46 w 56"/>
                    <a:gd name="T89" fmla="*/ 48 h 72"/>
                    <a:gd name="T90" fmla="*/ 42 w 56"/>
                    <a:gd name="T91" fmla="*/ 52 h 72"/>
                    <a:gd name="T92" fmla="*/ 46 w 56"/>
                    <a:gd name="T93" fmla="*/ 56 h 72"/>
                    <a:gd name="T94" fmla="*/ 42 w 56"/>
                    <a:gd name="T95" fmla="*/ 60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56" h="72">
                      <a:moveTo>
                        <a:pt x="42" y="60"/>
                      </a:moveTo>
                      <a:lnTo>
                        <a:pt x="42" y="60"/>
                      </a:lnTo>
                      <a:lnTo>
                        <a:pt x="38" y="60"/>
                      </a:lnTo>
                      <a:lnTo>
                        <a:pt x="38" y="60"/>
                      </a:lnTo>
                      <a:lnTo>
                        <a:pt x="38" y="60"/>
                      </a:lnTo>
                      <a:lnTo>
                        <a:pt x="38" y="60"/>
                      </a:lnTo>
                      <a:lnTo>
                        <a:pt x="38" y="64"/>
                      </a:lnTo>
                      <a:lnTo>
                        <a:pt x="38" y="64"/>
                      </a:lnTo>
                      <a:lnTo>
                        <a:pt x="38" y="64"/>
                      </a:lnTo>
                      <a:lnTo>
                        <a:pt x="38" y="64"/>
                      </a:lnTo>
                      <a:lnTo>
                        <a:pt x="38" y="64"/>
                      </a:lnTo>
                      <a:lnTo>
                        <a:pt x="38" y="64"/>
                      </a:lnTo>
                      <a:lnTo>
                        <a:pt x="38" y="64"/>
                      </a:lnTo>
                      <a:lnTo>
                        <a:pt x="38" y="64"/>
                      </a:lnTo>
                      <a:lnTo>
                        <a:pt x="38" y="64"/>
                      </a:lnTo>
                      <a:lnTo>
                        <a:pt x="38" y="64"/>
                      </a:lnTo>
                      <a:lnTo>
                        <a:pt x="38" y="64"/>
                      </a:lnTo>
                      <a:lnTo>
                        <a:pt x="34" y="68"/>
                      </a:lnTo>
                      <a:lnTo>
                        <a:pt x="34" y="68"/>
                      </a:lnTo>
                      <a:lnTo>
                        <a:pt x="34" y="68"/>
                      </a:lnTo>
                      <a:lnTo>
                        <a:pt x="34" y="68"/>
                      </a:lnTo>
                      <a:lnTo>
                        <a:pt x="34" y="68"/>
                      </a:lnTo>
                      <a:lnTo>
                        <a:pt x="30" y="68"/>
                      </a:lnTo>
                      <a:lnTo>
                        <a:pt x="30" y="72"/>
                      </a:lnTo>
                      <a:lnTo>
                        <a:pt x="30" y="72"/>
                      </a:lnTo>
                      <a:lnTo>
                        <a:pt x="30" y="72"/>
                      </a:lnTo>
                      <a:lnTo>
                        <a:pt x="30" y="72"/>
                      </a:lnTo>
                      <a:lnTo>
                        <a:pt x="30" y="72"/>
                      </a:lnTo>
                      <a:lnTo>
                        <a:pt x="30" y="72"/>
                      </a:lnTo>
                      <a:lnTo>
                        <a:pt x="30" y="72"/>
                      </a:lnTo>
                      <a:lnTo>
                        <a:pt x="30" y="72"/>
                      </a:lnTo>
                      <a:lnTo>
                        <a:pt x="26" y="72"/>
                      </a:lnTo>
                      <a:lnTo>
                        <a:pt x="26" y="72"/>
                      </a:lnTo>
                      <a:lnTo>
                        <a:pt x="26" y="72"/>
                      </a:lnTo>
                      <a:lnTo>
                        <a:pt x="26" y="72"/>
                      </a:lnTo>
                      <a:lnTo>
                        <a:pt x="22" y="68"/>
                      </a:lnTo>
                      <a:lnTo>
                        <a:pt x="22" y="68"/>
                      </a:lnTo>
                      <a:lnTo>
                        <a:pt x="22" y="68"/>
                      </a:lnTo>
                      <a:lnTo>
                        <a:pt x="22" y="68"/>
                      </a:lnTo>
                      <a:lnTo>
                        <a:pt x="22" y="68"/>
                      </a:lnTo>
                      <a:lnTo>
                        <a:pt x="18" y="68"/>
                      </a:lnTo>
                      <a:lnTo>
                        <a:pt x="18" y="68"/>
                      </a:lnTo>
                      <a:lnTo>
                        <a:pt x="18" y="68"/>
                      </a:lnTo>
                      <a:lnTo>
                        <a:pt x="16" y="68"/>
                      </a:lnTo>
                      <a:lnTo>
                        <a:pt x="16" y="68"/>
                      </a:lnTo>
                      <a:lnTo>
                        <a:pt x="16" y="68"/>
                      </a:lnTo>
                      <a:lnTo>
                        <a:pt x="16" y="68"/>
                      </a:lnTo>
                      <a:lnTo>
                        <a:pt x="12" y="68"/>
                      </a:lnTo>
                      <a:lnTo>
                        <a:pt x="12" y="68"/>
                      </a:lnTo>
                      <a:lnTo>
                        <a:pt x="12" y="68"/>
                      </a:lnTo>
                      <a:lnTo>
                        <a:pt x="12" y="68"/>
                      </a:lnTo>
                      <a:lnTo>
                        <a:pt x="8" y="68"/>
                      </a:lnTo>
                      <a:lnTo>
                        <a:pt x="8" y="68"/>
                      </a:lnTo>
                      <a:lnTo>
                        <a:pt x="8" y="68"/>
                      </a:lnTo>
                      <a:lnTo>
                        <a:pt x="8" y="64"/>
                      </a:lnTo>
                      <a:lnTo>
                        <a:pt x="8" y="64"/>
                      </a:lnTo>
                      <a:lnTo>
                        <a:pt x="8" y="64"/>
                      </a:lnTo>
                      <a:lnTo>
                        <a:pt x="8" y="64"/>
                      </a:lnTo>
                      <a:lnTo>
                        <a:pt x="8" y="64"/>
                      </a:lnTo>
                      <a:lnTo>
                        <a:pt x="4" y="64"/>
                      </a:lnTo>
                      <a:lnTo>
                        <a:pt x="4" y="64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0" y="60"/>
                      </a:lnTo>
                      <a:lnTo>
                        <a:pt x="0" y="60"/>
                      </a:lnTo>
                      <a:lnTo>
                        <a:pt x="0" y="60"/>
                      </a:lnTo>
                      <a:lnTo>
                        <a:pt x="0" y="56"/>
                      </a:lnTo>
                      <a:lnTo>
                        <a:pt x="0" y="56"/>
                      </a:lnTo>
                      <a:lnTo>
                        <a:pt x="0" y="56"/>
                      </a:lnTo>
                      <a:lnTo>
                        <a:pt x="0" y="56"/>
                      </a:lnTo>
                      <a:lnTo>
                        <a:pt x="0" y="56"/>
                      </a:lnTo>
                      <a:lnTo>
                        <a:pt x="0" y="56"/>
                      </a:lnTo>
                      <a:lnTo>
                        <a:pt x="0" y="56"/>
                      </a:lnTo>
                      <a:lnTo>
                        <a:pt x="0" y="52"/>
                      </a:lnTo>
                      <a:lnTo>
                        <a:pt x="0" y="52"/>
                      </a:lnTo>
                      <a:lnTo>
                        <a:pt x="0" y="52"/>
                      </a:lnTo>
                      <a:lnTo>
                        <a:pt x="0" y="52"/>
                      </a:lnTo>
                      <a:lnTo>
                        <a:pt x="4" y="48"/>
                      </a:lnTo>
                      <a:lnTo>
                        <a:pt x="4" y="48"/>
                      </a:lnTo>
                      <a:lnTo>
                        <a:pt x="0" y="44"/>
                      </a:lnTo>
                      <a:lnTo>
                        <a:pt x="0" y="42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12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22" y="30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2" y="26"/>
                      </a:lnTo>
                      <a:lnTo>
                        <a:pt x="22" y="26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2" y="18"/>
                      </a:lnTo>
                      <a:lnTo>
                        <a:pt x="22" y="18"/>
                      </a:lnTo>
                      <a:lnTo>
                        <a:pt x="18" y="18"/>
                      </a:lnTo>
                      <a:lnTo>
                        <a:pt x="18" y="18"/>
                      </a:lnTo>
                      <a:lnTo>
                        <a:pt x="18" y="18"/>
                      </a:lnTo>
                      <a:lnTo>
                        <a:pt x="18" y="18"/>
                      </a:lnTo>
                      <a:lnTo>
                        <a:pt x="18" y="18"/>
                      </a:lnTo>
                      <a:lnTo>
                        <a:pt x="16" y="14"/>
                      </a:lnTo>
                      <a:lnTo>
                        <a:pt x="16" y="14"/>
                      </a:lnTo>
                      <a:lnTo>
                        <a:pt x="16" y="12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8" y="12"/>
                      </a:lnTo>
                      <a:lnTo>
                        <a:pt x="18" y="4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4" y="0"/>
                      </a:lnTo>
                      <a:lnTo>
                        <a:pt x="42" y="0"/>
                      </a:lnTo>
                      <a:lnTo>
                        <a:pt x="46" y="0"/>
                      </a:lnTo>
                      <a:lnTo>
                        <a:pt x="46" y="4"/>
                      </a:lnTo>
                      <a:lnTo>
                        <a:pt x="46" y="8"/>
                      </a:lnTo>
                      <a:lnTo>
                        <a:pt x="46" y="14"/>
                      </a:lnTo>
                      <a:lnTo>
                        <a:pt x="46" y="26"/>
                      </a:lnTo>
                      <a:lnTo>
                        <a:pt x="42" y="30"/>
                      </a:lnTo>
                      <a:lnTo>
                        <a:pt x="42" y="34"/>
                      </a:lnTo>
                      <a:lnTo>
                        <a:pt x="42" y="34"/>
                      </a:lnTo>
                      <a:lnTo>
                        <a:pt x="46" y="34"/>
                      </a:lnTo>
                      <a:lnTo>
                        <a:pt x="46" y="34"/>
                      </a:lnTo>
                      <a:lnTo>
                        <a:pt x="46" y="34"/>
                      </a:lnTo>
                      <a:lnTo>
                        <a:pt x="50" y="34"/>
                      </a:lnTo>
                      <a:lnTo>
                        <a:pt x="50" y="34"/>
                      </a:lnTo>
                      <a:lnTo>
                        <a:pt x="50" y="34"/>
                      </a:lnTo>
                      <a:lnTo>
                        <a:pt x="50" y="34"/>
                      </a:lnTo>
                      <a:lnTo>
                        <a:pt x="50" y="34"/>
                      </a:lnTo>
                      <a:lnTo>
                        <a:pt x="50" y="34"/>
                      </a:lnTo>
                      <a:lnTo>
                        <a:pt x="50" y="38"/>
                      </a:lnTo>
                      <a:lnTo>
                        <a:pt x="52" y="38"/>
                      </a:lnTo>
                      <a:lnTo>
                        <a:pt x="52" y="38"/>
                      </a:lnTo>
                      <a:lnTo>
                        <a:pt x="52" y="38"/>
                      </a:lnTo>
                      <a:lnTo>
                        <a:pt x="52" y="38"/>
                      </a:lnTo>
                      <a:lnTo>
                        <a:pt x="52" y="34"/>
                      </a:lnTo>
                      <a:lnTo>
                        <a:pt x="52" y="34"/>
                      </a:lnTo>
                      <a:lnTo>
                        <a:pt x="52" y="34"/>
                      </a:lnTo>
                      <a:lnTo>
                        <a:pt x="52" y="34"/>
                      </a:lnTo>
                      <a:lnTo>
                        <a:pt x="56" y="34"/>
                      </a:lnTo>
                      <a:lnTo>
                        <a:pt x="56" y="38"/>
                      </a:lnTo>
                      <a:lnTo>
                        <a:pt x="56" y="38"/>
                      </a:lnTo>
                      <a:lnTo>
                        <a:pt x="56" y="38"/>
                      </a:lnTo>
                      <a:lnTo>
                        <a:pt x="56" y="38"/>
                      </a:lnTo>
                      <a:lnTo>
                        <a:pt x="56" y="38"/>
                      </a:lnTo>
                      <a:lnTo>
                        <a:pt x="56" y="38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4"/>
                      </a:lnTo>
                      <a:lnTo>
                        <a:pt x="50" y="44"/>
                      </a:lnTo>
                      <a:lnTo>
                        <a:pt x="50" y="44"/>
                      </a:lnTo>
                      <a:lnTo>
                        <a:pt x="46" y="48"/>
                      </a:lnTo>
                      <a:lnTo>
                        <a:pt x="46" y="48"/>
                      </a:lnTo>
                      <a:lnTo>
                        <a:pt x="46" y="48"/>
                      </a:lnTo>
                      <a:lnTo>
                        <a:pt x="46" y="48"/>
                      </a:lnTo>
                      <a:lnTo>
                        <a:pt x="46" y="48"/>
                      </a:lnTo>
                      <a:lnTo>
                        <a:pt x="46" y="48"/>
                      </a:lnTo>
                      <a:lnTo>
                        <a:pt x="46" y="48"/>
                      </a:lnTo>
                      <a:lnTo>
                        <a:pt x="46" y="52"/>
                      </a:lnTo>
                      <a:lnTo>
                        <a:pt x="46" y="52"/>
                      </a:lnTo>
                      <a:lnTo>
                        <a:pt x="42" y="52"/>
                      </a:lnTo>
                      <a:lnTo>
                        <a:pt x="42" y="52"/>
                      </a:lnTo>
                      <a:lnTo>
                        <a:pt x="42" y="52"/>
                      </a:lnTo>
                      <a:lnTo>
                        <a:pt x="46" y="56"/>
                      </a:lnTo>
                      <a:lnTo>
                        <a:pt x="46" y="56"/>
                      </a:lnTo>
                      <a:lnTo>
                        <a:pt x="46" y="56"/>
                      </a:lnTo>
                      <a:lnTo>
                        <a:pt x="46" y="56"/>
                      </a:lnTo>
                      <a:lnTo>
                        <a:pt x="42" y="56"/>
                      </a:lnTo>
                      <a:lnTo>
                        <a:pt x="42" y="60"/>
                      </a:lnTo>
                      <a:lnTo>
                        <a:pt x="42" y="60"/>
                      </a:lnTo>
                      <a:lnTo>
                        <a:pt x="42" y="60"/>
                      </a:lnTo>
                      <a:lnTo>
                        <a:pt x="42" y="60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36" name="Freeform 75"/>
                <p:cNvSpPr>
                  <a:spLocks noEditPoints="1"/>
                </p:cNvSpPr>
                <p:nvPr/>
              </p:nvSpPr>
              <p:spPr bwMode="auto">
                <a:xfrm>
                  <a:off x="2720975" y="4010093"/>
                  <a:ext cx="63500" cy="53975"/>
                </a:xfrm>
                <a:custGeom>
                  <a:avLst/>
                  <a:gdLst>
                    <a:gd name="T0" fmla="*/ 22 w 40"/>
                    <a:gd name="T1" fmla="*/ 0 h 34"/>
                    <a:gd name="T2" fmla="*/ 26 w 40"/>
                    <a:gd name="T3" fmla="*/ 0 h 34"/>
                    <a:gd name="T4" fmla="*/ 26 w 40"/>
                    <a:gd name="T5" fmla="*/ 0 h 34"/>
                    <a:gd name="T6" fmla="*/ 18 w 40"/>
                    <a:gd name="T7" fmla="*/ 8 h 34"/>
                    <a:gd name="T8" fmla="*/ 14 w 40"/>
                    <a:gd name="T9" fmla="*/ 8 h 34"/>
                    <a:gd name="T10" fmla="*/ 14 w 40"/>
                    <a:gd name="T11" fmla="*/ 4 h 34"/>
                    <a:gd name="T12" fmla="*/ 18 w 40"/>
                    <a:gd name="T13" fmla="*/ 4 h 34"/>
                    <a:gd name="T14" fmla="*/ 22 w 40"/>
                    <a:gd name="T15" fmla="*/ 0 h 34"/>
                    <a:gd name="T16" fmla="*/ 26 w 40"/>
                    <a:gd name="T17" fmla="*/ 0 h 34"/>
                    <a:gd name="T18" fmla="*/ 30 w 40"/>
                    <a:gd name="T19" fmla="*/ 4 h 34"/>
                    <a:gd name="T20" fmla="*/ 34 w 40"/>
                    <a:gd name="T21" fmla="*/ 4 h 34"/>
                    <a:gd name="T22" fmla="*/ 40 w 40"/>
                    <a:gd name="T23" fmla="*/ 4 h 34"/>
                    <a:gd name="T24" fmla="*/ 40 w 40"/>
                    <a:gd name="T25" fmla="*/ 8 h 34"/>
                    <a:gd name="T26" fmla="*/ 40 w 40"/>
                    <a:gd name="T27" fmla="*/ 8 h 34"/>
                    <a:gd name="T28" fmla="*/ 40 w 40"/>
                    <a:gd name="T29" fmla="*/ 12 h 34"/>
                    <a:gd name="T30" fmla="*/ 40 w 40"/>
                    <a:gd name="T31" fmla="*/ 16 h 34"/>
                    <a:gd name="T32" fmla="*/ 40 w 40"/>
                    <a:gd name="T33" fmla="*/ 16 h 34"/>
                    <a:gd name="T34" fmla="*/ 40 w 40"/>
                    <a:gd name="T35" fmla="*/ 22 h 34"/>
                    <a:gd name="T36" fmla="*/ 40 w 40"/>
                    <a:gd name="T37" fmla="*/ 22 h 34"/>
                    <a:gd name="T38" fmla="*/ 38 w 40"/>
                    <a:gd name="T39" fmla="*/ 22 h 34"/>
                    <a:gd name="T40" fmla="*/ 38 w 40"/>
                    <a:gd name="T41" fmla="*/ 22 h 34"/>
                    <a:gd name="T42" fmla="*/ 38 w 40"/>
                    <a:gd name="T43" fmla="*/ 26 h 34"/>
                    <a:gd name="T44" fmla="*/ 38 w 40"/>
                    <a:gd name="T45" fmla="*/ 26 h 34"/>
                    <a:gd name="T46" fmla="*/ 40 w 40"/>
                    <a:gd name="T47" fmla="*/ 30 h 34"/>
                    <a:gd name="T48" fmla="*/ 40 w 40"/>
                    <a:gd name="T49" fmla="*/ 34 h 34"/>
                    <a:gd name="T50" fmla="*/ 38 w 40"/>
                    <a:gd name="T51" fmla="*/ 34 h 34"/>
                    <a:gd name="T52" fmla="*/ 34 w 40"/>
                    <a:gd name="T53" fmla="*/ 30 h 34"/>
                    <a:gd name="T54" fmla="*/ 34 w 40"/>
                    <a:gd name="T55" fmla="*/ 30 h 34"/>
                    <a:gd name="T56" fmla="*/ 30 w 40"/>
                    <a:gd name="T57" fmla="*/ 34 h 34"/>
                    <a:gd name="T58" fmla="*/ 26 w 40"/>
                    <a:gd name="T59" fmla="*/ 34 h 34"/>
                    <a:gd name="T60" fmla="*/ 22 w 40"/>
                    <a:gd name="T61" fmla="*/ 34 h 34"/>
                    <a:gd name="T62" fmla="*/ 18 w 40"/>
                    <a:gd name="T63" fmla="*/ 30 h 34"/>
                    <a:gd name="T64" fmla="*/ 10 w 40"/>
                    <a:gd name="T65" fmla="*/ 34 h 34"/>
                    <a:gd name="T66" fmla="*/ 10 w 40"/>
                    <a:gd name="T67" fmla="*/ 34 h 34"/>
                    <a:gd name="T68" fmla="*/ 10 w 40"/>
                    <a:gd name="T69" fmla="*/ 34 h 34"/>
                    <a:gd name="T70" fmla="*/ 10 w 40"/>
                    <a:gd name="T71" fmla="*/ 34 h 34"/>
                    <a:gd name="T72" fmla="*/ 8 w 40"/>
                    <a:gd name="T73" fmla="*/ 34 h 34"/>
                    <a:gd name="T74" fmla="*/ 4 w 40"/>
                    <a:gd name="T75" fmla="*/ 30 h 34"/>
                    <a:gd name="T76" fmla="*/ 4 w 40"/>
                    <a:gd name="T77" fmla="*/ 30 h 34"/>
                    <a:gd name="T78" fmla="*/ 4 w 40"/>
                    <a:gd name="T79" fmla="*/ 22 h 34"/>
                    <a:gd name="T80" fmla="*/ 8 w 40"/>
                    <a:gd name="T81" fmla="*/ 22 h 34"/>
                    <a:gd name="T82" fmla="*/ 10 w 40"/>
                    <a:gd name="T83" fmla="*/ 26 h 34"/>
                    <a:gd name="T84" fmla="*/ 10 w 40"/>
                    <a:gd name="T85" fmla="*/ 26 h 34"/>
                    <a:gd name="T86" fmla="*/ 14 w 40"/>
                    <a:gd name="T87" fmla="*/ 26 h 34"/>
                    <a:gd name="T88" fmla="*/ 10 w 40"/>
                    <a:gd name="T89" fmla="*/ 26 h 34"/>
                    <a:gd name="T90" fmla="*/ 14 w 40"/>
                    <a:gd name="T91" fmla="*/ 26 h 34"/>
                    <a:gd name="T92" fmla="*/ 22 w 40"/>
                    <a:gd name="T93" fmla="*/ 26 h 34"/>
                    <a:gd name="T94" fmla="*/ 22 w 40"/>
                    <a:gd name="T95" fmla="*/ 26 h 34"/>
                    <a:gd name="T96" fmla="*/ 26 w 40"/>
                    <a:gd name="T97" fmla="*/ 26 h 34"/>
                    <a:gd name="T98" fmla="*/ 26 w 40"/>
                    <a:gd name="T99" fmla="*/ 26 h 34"/>
                    <a:gd name="T100" fmla="*/ 30 w 40"/>
                    <a:gd name="T101" fmla="*/ 26 h 34"/>
                    <a:gd name="T102" fmla="*/ 30 w 40"/>
                    <a:gd name="T103" fmla="*/ 22 h 34"/>
                    <a:gd name="T104" fmla="*/ 30 w 40"/>
                    <a:gd name="T105" fmla="*/ 22 h 34"/>
                    <a:gd name="T106" fmla="*/ 26 w 40"/>
                    <a:gd name="T107" fmla="*/ 20 h 34"/>
                    <a:gd name="T108" fmla="*/ 26 w 40"/>
                    <a:gd name="T109" fmla="*/ 16 h 34"/>
                    <a:gd name="T110" fmla="*/ 22 w 40"/>
                    <a:gd name="T111" fmla="*/ 8 h 34"/>
                    <a:gd name="T112" fmla="*/ 22 w 40"/>
                    <a:gd name="T113" fmla="*/ 8 h 34"/>
                    <a:gd name="T114" fmla="*/ 18 w 40"/>
                    <a:gd name="T115" fmla="*/ 20 h 34"/>
                    <a:gd name="T116" fmla="*/ 18 w 40"/>
                    <a:gd name="T117" fmla="*/ 20 h 34"/>
                    <a:gd name="T118" fmla="*/ 22 w 40"/>
                    <a:gd name="T119" fmla="*/ 20 h 34"/>
                    <a:gd name="T120" fmla="*/ 26 w 40"/>
                    <a:gd name="T121" fmla="*/ 22 h 34"/>
                    <a:gd name="T122" fmla="*/ 26 w 40"/>
                    <a:gd name="T123" fmla="*/ 22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40" h="34">
                      <a:moveTo>
                        <a:pt x="26" y="0"/>
                      </a:moveTo>
                      <a:lnTo>
                        <a:pt x="26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close/>
                      <a:moveTo>
                        <a:pt x="22" y="8"/>
                      </a:move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4" y="8"/>
                      </a:lnTo>
                      <a:lnTo>
                        <a:pt x="14" y="8"/>
                      </a:lnTo>
                      <a:lnTo>
                        <a:pt x="14" y="8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30" y="0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8" y="4"/>
                      </a:lnTo>
                      <a:lnTo>
                        <a:pt x="38" y="4"/>
                      </a:lnTo>
                      <a:lnTo>
                        <a:pt x="38" y="4"/>
                      </a:lnTo>
                      <a:lnTo>
                        <a:pt x="40" y="4"/>
                      </a:lnTo>
                      <a:lnTo>
                        <a:pt x="40" y="4"/>
                      </a:lnTo>
                      <a:lnTo>
                        <a:pt x="40" y="4"/>
                      </a:lnTo>
                      <a:lnTo>
                        <a:pt x="40" y="4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12"/>
                      </a:lnTo>
                      <a:lnTo>
                        <a:pt x="40" y="12"/>
                      </a:lnTo>
                      <a:lnTo>
                        <a:pt x="40" y="12"/>
                      </a:lnTo>
                      <a:lnTo>
                        <a:pt x="40" y="12"/>
                      </a:lnTo>
                      <a:lnTo>
                        <a:pt x="40" y="16"/>
                      </a:lnTo>
                      <a:lnTo>
                        <a:pt x="40" y="16"/>
                      </a:lnTo>
                      <a:lnTo>
                        <a:pt x="40" y="16"/>
                      </a:lnTo>
                      <a:lnTo>
                        <a:pt x="40" y="16"/>
                      </a:lnTo>
                      <a:lnTo>
                        <a:pt x="40" y="16"/>
                      </a:lnTo>
                      <a:lnTo>
                        <a:pt x="40" y="16"/>
                      </a:lnTo>
                      <a:lnTo>
                        <a:pt x="40" y="16"/>
                      </a:lnTo>
                      <a:lnTo>
                        <a:pt x="40" y="16"/>
                      </a:lnTo>
                      <a:lnTo>
                        <a:pt x="40" y="16"/>
                      </a:lnTo>
                      <a:lnTo>
                        <a:pt x="40" y="20"/>
                      </a:lnTo>
                      <a:lnTo>
                        <a:pt x="40" y="20"/>
                      </a:lnTo>
                      <a:lnTo>
                        <a:pt x="40" y="20"/>
                      </a:lnTo>
                      <a:lnTo>
                        <a:pt x="40" y="22"/>
                      </a:lnTo>
                      <a:lnTo>
                        <a:pt x="40" y="22"/>
                      </a:lnTo>
                      <a:lnTo>
                        <a:pt x="40" y="22"/>
                      </a:lnTo>
                      <a:lnTo>
                        <a:pt x="40" y="22"/>
                      </a:lnTo>
                      <a:lnTo>
                        <a:pt x="40" y="22"/>
                      </a:lnTo>
                      <a:lnTo>
                        <a:pt x="40" y="22"/>
                      </a:lnTo>
                      <a:lnTo>
                        <a:pt x="40" y="22"/>
                      </a:lnTo>
                      <a:lnTo>
                        <a:pt x="40" y="22"/>
                      </a:lnTo>
                      <a:lnTo>
                        <a:pt x="40" y="22"/>
                      </a:lnTo>
                      <a:lnTo>
                        <a:pt x="40" y="22"/>
                      </a:lnTo>
                      <a:lnTo>
                        <a:pt x="38" y="22"/>
                      </a:lnTo>
                      <a:lnTo>
                        <a:pt x="38" y="22"/>
                      </a:lnTo>
                      <a:lnTo>
                        <a:pt x="38" y="22"/>
                      </a:lnTo>
                      <a:lnTo>
                        <a:pt x="38" y="26"/>
                      </a:lnTo>
                      <a:lnTo>
                        <a:pt x="38" y="22"/>
                      </a:lnTo>
                      <a:lnTo>
                        <a:pt x="38" y="22"/>
                      </a:lnTo>
                      <a:lnTo>
                        <a:pt x="38" y="22"/>
                      </a:lnTo>
                      <a:lnTo>
                        <a:pt x="38" y="22"/>
                      </a:lnTo>
                      <a:lnTo>
                        <a:pt x="38" y="26"/>
                      </a:lnTo>
                      <a:lnTo>
                        <a:pt x="38" y="26"/>
                      </a:lnTo>
                      <a:lnTo>
                        <a:pt x="38" y="26"/>
                      </a:lnTo>
                      <a:lnTo>
                        <a:pt x="38" y="26"/>
                      </a:lnTo>
                      <a:lnTo>
                        <a:pt x="38" y="26"/>
                      </a:lnTo>
                      <a:lnTo>
                        <a:pt x="38" y="26"/>
                      </a:lnTo>
                      <a:lnTo>
                        <a:pt x="38" y="26"/>
                      </a:lnTo>
                      <a:lnTo>
                        <a:pt x="38" y="26"/>
                      </a:lnTo>
                      <a:lnTo>
                        <a:pt x="38" y="30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0" y="34"/>
                      </a:lnTo>
                      <a:lnTo>
                        <a:pt x="40" y="34"/>
                      </a:lnTo>
                      <a:lnTo>
                        <a:pt x="40" y="34"/>
                      </a:lnTo>
                      <a:lnTo>
                        <a:pt x="40" y="34"/>
                      </a:lnTo>
                      <a:lnTo>
                        <a:pt x="40" y="34"/>
                      </a:lnTo>
                      <a:lnTo>
                        <a:pt x="40" y="34"/>
                      </a:lnTo>
                      <a:lnTo>
                        <a:pt x="38" y="34"/>
                      </a:lnTo>
                      <a:lnTo>
                        <a:pt x="38" y="34"/>
                      </a:lnTo>
                      <a:lnTo>
                        <a:pt x="38" y="34"/>
                      </a:lnTo>
                      <a:lnTo>
                        <a:pt x="38" y="34"/>
                      </a:lnTo>
                      <a:lnTo>
                        <a:pt x="38" y="30"/>
                      </a:lnTo>
                      <a:lnTo>
                        <a:pt x="34" y="30"/>
                      </a:lnTo>
                      <a:lnTo>
                        <a:pt x="34" y="30"/>
                      </a:lnTo>
                      <a:lnTo>
                        <a:pt x="34" y="30"/>
                      </a:lnTo>
                      <a:lnTo>
                        <a:pt x="34" y="30"/>
                      </a:lnTo>
                      <a:lnTo>
                        <a:pt x="34" y="30"/>
                      </a:lnTo>
                      <a:lnTo>
                        <a:pt x="34" y="30"/>
                      </a:lnTo>
                      <a:lnTo>
                        <a:pt x="34" y="30"/>
                      </a:lnTo>
                      <a:lnTo>
                        <a:pt x="30" y="30"/>
                      </a:lnTo>
                      <a:lnTo>
                        <a:pt x="30" y="30"/>
                      </a:lnTo>
                      <a:lnTo>
                        <a:pt x="30" y="30"/>
                      </a:lnTo>
                      <a:lnTo>
                        <a:pt x="30" y="34"/>
                      </a:lnTo>
                      <a:lnTo>
                        <a:pt x="26" y="34"/>
                      </a:lnTo>
                      <a:lnTo>
                        <a:pt x="26" y="34"/>
                      </a:lnTo>
                      <a:lnTo>
                        <a:pt x="26" y="34"/>
                      </a:lnTo>
                      <a:lnTo>
                        <a:pt x="26" y="34"/>
                      </a:lnTo>
                      <a:lnTo>
                        <a:pt x="26" y="34"/>
                      </a:lnTo>
                      <a:lnTo>
                        <a:pt x="26" y="34"/>
                      </a:lnTo>
                      <a:lnTo>
                        <a:pt x="26" y="34"/>
                      </a:lnTo>
                      <a:lnTo>
                        <a:pt x="26" y="34"/>
                      </a:lnTo>
                      <a:lnTo>
                        <a:pt x="26" y="34"/>
                      </a:lnTo>
                      <a:lnTo>
                        <a:pt x="22" y="34"/>
                      </a:lnTo>
                      <a:lnTo>
                        <a:pt x="22" y="34"/>
                      </a:lnTo>
                      <a:lnTo>
                        <a:pt x="22" y="34"/>
                      </a:lnTo>
                      <a:lnTo>
                        <a:pt x="22" y="34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4" y="30"/>
                      </a:lnTo>
                      <a:lnTo>
                        <a:pt x="14" y="30"/>
                      </a:lnTo>
                      <a:lnTo>
                        <a:pt x="10" y="34"/>
                      </a:lnTo>
                      <a:lnTo>
                        <a:pt x="10" y="34"/>
                      </a:lnTo>
                      <a:lnTo>
                        <a:pt x="10" y="34"/>
                      </a:lnTo>
                      <a:lnTo>
                        <a:pt x="10" y="34"/>
                      </a:lnTo>
                      <a:lnTo>
                        <a:pt x="10" y="34"/>
                      </a:lnTo>
                      <a:lnTo>
                        <a:pt x="10" y="34"/>
                      </a:lnTo>
                      <a:lnTo>
                        <a:pt x="10" y="34"/>
                      </a:lnTo>
                      <a:lnTo>
                        <a:pt x="10" y="34"/>
                      </a:lnTo>
                      <a:lnTo>
                        <a:pt x="10" y="34"/>
                      </a:lnTo>
                      <a:lnTo>
                        <a:pt x="10" y="34"/>
                      </a:lnTo>
                      <a:lnTo>
                        <a:pt x="10" y="34"/>
                      </a:lnTo>
                      <a:lnTo>
                        <a:pt x="10" y="34"/>
                      </a:lnTo>
                      <a:lnTo>
                        <a:pt x="10" y="34"/>
                      </a:lnTo>
                      <a:lnTo>
                        <a:pt x="10" y="34"/>
                      </a:lnTo>
                      <a:lnTo>
                        <a:pt x="10" y="34"/>
                      </a:lnTo>
                      <a:lnTo>
                        <a:pt x="10" y="34"/>
                      </a:lnTo>
                      <a:lnTo>
                        <a:pt x="10" y="34"/>
                      </a:lnTo>
                      <a:lnTo>
                        <a:pt x="10" y="34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26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10" y="26"/>
                      </a:lnTo>
                      <a:lnTo>
                        <a:pt x="10" y="26"/>
                      </a:lnTo>
                      <a:lnTo>
                        <a:pt x="10" y="26"/>
                      </a:lnTo>
                      <a:lnTo>
                        <a:pt x="10" y="26"/>
                      </a:lnTo>
                      <a:lnTo>
                        <a:pt x="10" y="26"/>
                      </a:lnTo>
                      <a:lnTo>
                        <a:pt x="10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0" y="26"/>
                      </a:lnTo>
                      <a:lnTo>
                        <a:pt x="10" y="26"/>
                      </a:lnTo>
                      <a:lnTo>
                        <a:pt x="10" y="26"/>
                      </a:lnTo>
                      <a:lnTo>
                        <a:pt x="10" y="26"/>
                      </a:lnTo>
                      <a:lnTo>
                        <a:pt x="10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22" y="26"/>
                      </a:lnTo>
                      <a:lnTo>
                        <a:pt x="22" y="26"/>
                      </a:lnTo>
                      <a:lnTo>
                        <a:pt x="22" y="26"/>
                      </a:lnTo>
                      <a:lnTo>
                        <a:pt x="22" y="26"/>
                      </a:lnTo>
                      <a:lnTo>
                        <a:pt x="22" y="26"/>
                      </a:lnTo>
                      <a:lnTo>
                        <a:pt x="22" y="26"/>
                      </a:lnTo>
                      <a:lnTo>
                        <a:pt x="22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30" y="26"/>
                      </a:lnTo>
                      <a:lnTo>
                        <a:pt x="30" y="26"/>
                      </a:lnTo>
                      <a:lnTo>
                        <a:pt x="30" y="26"/>
                      </a:lnTo>
                      <a:lnTo>
                        <a:pt x="30" y="26"/>
                      </a:lnTo>
                      <a:lnTo>
                        <a:pt x="30" y="26"/>
                      </a:lnTo>
                      <a:lnTo>
                        <a:pt x="30" y="26"/>
                      </a:lnTo>
                      <a:lnTo>
                        <a:pt x="30" y="26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0" y="22"/>
                      </a:lnTo>
                      <a:lnTo>
                        <a:pt x="30" y="22"/>
                      </a:lnTo>
                      <a:lnTo>
                        <a:pt x="30" y="22"/>
                      </a:lnTo>
                      <a:lnTo>
                        <a:pt x="30" y="22"/>
                      </a:lnTo>
                      <a:lnTo>
                        <a:pt x="30" y="22"/>
                      </a:lnTo>
                      <a:lnTo>
                        <a:pt x="30" y="22"/>
                      </a:lnTo>
                      <a:lnTo>
                        <a:pt x="30" y="22"/>
                      </a:lnTo>
                      <a:lnTo>
                        <a:pt x="30" y="22"/>
                      </a:lnTo>
                      <a:lnTo>
                        <a:pt x="30" y="20"/>
                      </a:lnTo>
                      <a:lnTo>
                        <a:pt x="26" y="20"/>
                      </a:lnTo>
                      <a:lnTo>
                        <a:pt x="26" y="20"/>
                      </a:lnTo>
                      <a:lnTo>
                        <a:pt x="26" y="20"/>
                      </a:lnTo>
                      <a:lnTo>
                        <a:pt x="26" y="20"/>
                      </a:lnTo>
                      <a:lnTo>
                        <a:pt x="26" y="20"/>
                      </a:lnTo>
                      <a:lnTo>
                        <a:pt x="26" y="20"/>
                      </a:lnTo>
                      <a:lnTo>
                        <a:pt x="26" y="16"/>
                      </a:lnTo>
                      <a:lnTo>
                        <a:pt x="26" y="16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22" y="8"/>
                      </a:lnTo>
                      <a:lnTo>
                        <a:pt x="22" y="8"/>
                      </a:lnTo>
                      <a:lnTo>
                        <a:pt x="22" y="8"/>
                      </a:lnTo>
                      <a:lnTo>
                        <a:pt x="22" y="8"/>
                      </a:lnTo>
                      <a:lnTo>
                        <a:pt x="22" y="8"/>
                      </a:lnTo>
                      <a:lnTo>
                        <a:pt x="22" y="8"/>
                      </a:lnTo>
                      <a:close/>
                      <a:moveTo>
                        <a:pt x="26" y="22"/>
                      </a:moveTo>
                      <a:lnTo>
                        <a:pt x="26" y="22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18" y="20"/>
                      </a:lnTo>
                      <a:lnTo>
                        <a:pt x="18" y="20"/>
                      </a:lnTo>
                      <a:lnTo>
                        <a:pt x="18" y="20"/>
                      </a:lnTo>
                      <a:lnTo>
                        <a:pt x="18" y="20"/>
                      </a:lnTo>
                      <a:lnTo>
                        <a:pt x="18" y="20"/>
                      </a:lnTo>
                      <a:lnTo>
                        <a:pt x="18" y="20"/>
                      </a:lnTo>
                      <a:lnTo>
                        <a:pt x="18" y="20"/>
                      </a:lnTo>
                      <a:lnTo>
                        <a:pt x="18" y="20"/>
                      </a:lnTo>
                      <a:lnTo>
                        <a:pt x="18" y="20"/>
                      </a:lnTo>
                      <a:lnTo>
                        <a:pt x="18" y="20"/>
                      </a:lnTo>
                      <a:lnTo>
                        <a:pt x="22" y="20"/>
                      </a:lnTo>
                      <a:lnTo>
                        <a:pt x="22" y="20"/>
                      </a:lnTo>
                      <a:lnTo>
                        <a:pt x="26" y="20"/>
                      </a:lnTo>
                      <a:lnTo>
                        <a:pt x="26" y="20"/>
                      </a:lnTo>
                      <a:lnTo>
                        <a:pt x="26" y="22"/>
                      </a:lnTo>
                      <a:lnTo>
                        <a:pt x="26" y="22"/>
                      </a:lnTo>
                      <a:lnTo>
                        <a:pt x="26" y="22"/>
                      </a:lnTo>
                      <a:lnTo>
                        <a:pt x="26" y="22"/>
                      </a:lnTo>
                      <a:lnTo>
                        <a:pt x="26" y="22"/>
                      </a:lnTo>
                      <a:lnTo>
                        <a:pt x="26" y="22"/>
                      </a:lnTo>
                      <a:lnTo>
                        <a:pt x="26" y="22"/>
                      </a:lnTo>
                      <a:lnTo>
                        <a:pt x="26" y="2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37" name="Freeform 76"/>
                <p:cNvSpPr>
                  <a:spLocks noEditPoints="1"/>
                </p:cNvSpPr>
                <p:nvPr/>
              </p:nvSpPr>
              <p:spPr bwMode="auto">
                <a:xfrm>
                  <a:off x="2390775" y="4111693"/>
                  <a:ext cx="139700" cy="95250"/>
                </a:xfrm>
                <a:custGeom>
                  <a:avLst/>
                  <a:gdLst>
                    <a:gd name="T0" fmla="*/ 36 w 88"/>
                    <a:gd name="T1" fmla="*/ 52 h 60"/>
                    <a:gd name="T2" fmla="*/ 32 w 88"/>
                    <a:gd name="T3" fmla="*/ 56 h 60"/>
                    <a:gd name="T4" fmla="*/ 32 w 88"/>
                    <a:gd name="T5" fmla="*/ 60 h 60"/>
                    <a:gd name="T6" fmla="*/ 24 w 88"/>
                    <a:gd name="T7" fmla="*/ 56 h 60"/>
                    <a:gd name="T8" fmla="*/ 24 w 88"/>
                    <a:gd name="T9" fmla="*/ 52 h 60"/>
                    <a:gd name="T10" fmla="*/ 24 w 88"/>
                    <a:gd name="T11" fmla="*/ 52 h 60"/>
                    <a:gd name="T12" fmla="*/ 20 w 88"/>
                    <a:gd name="T13" fmla="*/ 52 h 60"/>
                    <a:gd name="T14" fmla="*/ 20 w 88"/>
                    <a:gd name="T15" fmla="*/ 52 h 60"/>
                    <a:gd name="T16" fmla="*/ 20 w 88"/>
                    <a:gd name="T17" fmla="*/ 46 h 60"/>
                    <a:gd name="T18" fmla="*/ 16 w 88"/>
                    <a:gd name="T19" fmla="*/ 46 h 60"/>
                    <a:gd name="T20" fmla="*/ 16 w 88"/>
                    <a:gd name="T21" fmla="*/ 42 h 60"/>
                    <a:gd name="T22" fmla="*/ 14 w 88"/>
                    <a:gd name="T23" fmla="*/ 46 h 60"/>
                    <a:gd name="T24" fmla="*/ 10 w 88"/>
                    <a:gd name="T25" fmla="*/ 46 h 60"/>
                    <a:gd name="T26" fmla="*/ 10 w 88"/>
                    <a:gd name="T27" fmla="*/ 42 h 60"/>
                    <a:gd name="T28" fmla="*/ 6 w 88"/>
                    <a:gd name="T29" fmla="*/ 42 h 60"/>
                    <a:gd name="T30" fmla="*/ 6 w 88"/>
                    <a:gd name="T31" fmla="*/ 38 h 60"/>
                    <a:gd name="T32" fmla="*/ 4 w 88"/>
                    <a:gd name="T33" fmla="*/ 38 h 60"/>
                    <a:gd name="T34" fmla="*/ 0 w 88"/>
                    <a:gd name="T35" fmla="*/ 34 h 60"/>
                    <a:gd name="T36" fmla="*/ 4 w 88"/>
                    <a:gd name="T37" fmla="*/ 30 h 60"/>
                    <a:gd name="T38" fmla="*/ 4 w 88"/>
                    <a:gd name="T39" fmla="*/ 26 h 60"/>
                    <a:gd name="T40" fmla="*/ 4 w 88"/>
                    <a:gd name="T41" fmla="*/ 22 h 60"/>
                    <a:gd name="T42" fmla="*/ 10 w 88"/>
                    <a:gd name="T43" fmla="*/ 16 h 60"/>
                    <a:gd name="T44" fmla="*/ 14 w 88"/>
                    <a:gd name="T45" fmla="*/ 12 h 60"/>
                    <a:gd name="T46" fmla="*/ 16 w 88"/>
                    <a:gd name="T47" fmla="*/ 8 h 60"/>
                    <a:gd name="T48" fmla="*/ 20 w 88"/>
                    <a:gd name="T49" fmla="*/ 8 h 60"/>
                    <a:gd name="T50" fmla="*/ 28 w 88"/>
                    <a:gd name="T51" fmla="*/ 8 h 60"/>
                    <a:gd name="T52" fmla="*/ 36 w 88"/>
                    <a:gd name="T53" fmla="*/ 12 h 60"/>
                    <a:gd name="T54" fmla="*/ 40 w 88"/>
                    <a:gd name="T55" fmla="*/ 12 h 60"/>
                    <a:gd name="T56" fmla="*/ 42 w 88"/>
                    <a:gd name="T57" fmla="*/ 8 h 60"/>
                    <a:gd name="T58" fmla="*/ 46 w 88"/>
                    <a:gd name="T59" fmla="*/ 8 h 60"/>
                    <a:gd name="T60" fmla="*/ 46 w 88"/>
                    <a:gd name="T61" fmla="*/ 8 h 60"/>
                    <a:gd name="T62" fmla="*/ 50 w 88"/>
                    <a:gd name="T63" fmla="*/ 8 h 60"/>
                    <a:gd name="T64" fmla="*/ 58 w 88"/>
                    <a:gd name="T65" fmla="*/ 8 h 60"/>
                    <a:gd name="T66" fmla="*/ 66 w 88"/>
                    <a:gd name="T67" fmla="*/ 8 h 60"/>
                    <a:gd name="T68" fmla="*/ 66 w 88"/>
                    <a:gd name="T69" fmla="*/ 8 h 60"/>
                    <a:gd name="T70" fmla="*/ 76 w 88"/>
                    <a:gd name="T71" fmla="*/ 16 h 60"/>
                    <a:gd name="T72" fmla="*/ 72 w 88"/>
                    <a:gd name="T73" fmla="*/ 18 h 60"/>
                    <a:gd name="T74" fmla="*/ 72 w 88"/>
                    <a:gd name="T75" fmla="*/ 18 h 60"/>
                    <a:gd name="T76" fmla="*/ 76 w 88"/>
                    <a:gd name="T77" fmla="*/ 18 h 60"/>
                    <a:gd name="T78" fmla="*/ 80 w 88"/>
                    <a:gd name="T79" fmla="*/ 18 h 60"/>
                    <a:gd name="T80" fmla="*/ 80 w 88"/>
                    <a:gd name="T81" fmla="*/ 22 h 60"/>
                    <a:gd name="T82" fmla="*/ 80 w 88"/>
                    <a:gd name="T83" fmla="*/ 18 h 60"/>
                    <a:gd name="T84" fmla="*/ 84 w 88"/>
                    <a:gd name="T85" fmla="*/ 18 h 60"/>
                    <a:gd name="T86" fmla="*/ 84 w 88"/>
                    <a:gd name="T87" fmla="*/ 22 h 60"/>
                    <a:gd name="T88" fmla="*/ 84 w 88"/>
                    <a:gd name="T89" fmla="*/ 22 h 60"/>
                    <a:gd name="T90" fmla="*/ 76 w 88"/>
                    <a:gd name="T91" fmla="*/ 26 h 60"/>
                    <a:gd name="T92" fmla="*/ 66 w 88"/>
                    <a:gd name="T93" fmla="*/ 30 h 60"/>
                    <a:gd name="T94" fmla="*/ 58 w 88"/>
                    <a:gd name="T95" fmla="*/ 30 h 60"/>
                    <a:gd name="T96" fmla="*/ 58 w 88"/>
                    <a:gd name="T97" fmla="*/ 34 h 60"/>
                    <a:gd name="T98" fmla="*/ 58 w 88"/>
                    <a:gd name="T99" fmla="*/ 38 h 60"/>
                    <a:gd name="T100" fmla="*/ 54 w 88"/>
                    <a:gd name="T101" fmla="*/ 38 h 60"/>
                    <a:gd name="T102" fmla="*/ 50 w 88"/>
                    <a:gd name="T103" fmla="*/ 46 h 60"/>
                    <a:gd name="T104" fmla="*/ 46 w 88"/>
                    <a:gd name="T105" fmla="*/ 42 h 60"/>
                    <a:gd name="T106" fmla="*/ 42 w 88"/>
                    <a:gd name="T107" fmla="*/ 42 h 60"/>
                    <a:gd name="T108" fmla="*/ 36 w 88"/>
                    <a:gd name="T109" fmla="*/ 46 h 60"/>
                    <a:gd name="T110" fmla="*/ 36 w 88"/>
                    <a:gd name="T111" fmla="*/ 0 h 60"/>
                    <a:gd name="T112" fmla="*/ 40 w 88"/>
                    <a:gd name="T113" fmla="*/ 0 h 60"/>
                    <a:gd name="T114" fmla="*/ 40 w 88"/>
                    <a:gd name="T115" fmla="*/ 0 h 60"/>
                    <a:gd name="T116" fmla="*/ 36 w 88"/>
                    <a:gd name="T117" fmla="*/ 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88" h="60">
                      <a:moveTo>
                        <a:pt x="36" y="46"/>
                      </a:moveTo>
                      <a:lnTo>
                        <a:pt x="36" y="50"/>
                      </a:lnTo>
                      <a:lnTo>
                        <a:pt x="36" y="52"/>
                      </a:lnTo>
                      <a:lnTo>
                        <a:pt x="36" y="52"/>
                      </a:lnTo>
                      <a:lnTo>
                        <a:pt x="36" y="52"/>
                      </a:lnTo>
                      <a:lnTo>
                        <a:pt x="36" y="52"/>
                      </a:lnTo>
                      <a:lnTo>
                        <a:pt x="36" y="52"/>
                      </a:lnTo>
                      <a:lnTo>
                        <a:pt x="36" y="52"/>
                      </a:lnTo>
                      <a:lnTo>
                        <a:pt x="36" y="52"/>
                      </a:lnTo>
                      <a:lnTo>
                        <a:pt x="36" y="52"/>
                      </a:lnTo>
                      <a:lnTo>
                        <a:pt x="32" y="52"/>
                      </a:lnTo>
                      <a:lnTo>
                        <a:pt x="32" y="56"/>
                      </a:lnTo>
                      <a:lnTo>
                        <a:pt x="32" y="56"/>
                      </a:lnTo>
                      <a:lnTo>
                        <a:pt x="32" y="56"/>
                      </a:lnTo>
                      <a:lnTo>
                        <a:pt x="32" y="56"/>
                      </a:lnTo>
                      <a:lnTo>
                        <a:pt x="32" y="60"/>
                      </a:lnTo>
                      <a:lnTo>
                        <a:pt x="32" y="60"/>
                      </a:lnTo>
                      <a:lnTo>
                        <a:pt x="32" y="60"/>
                      </a:lnTo>
                      <a:lnTo>
                        <a:pt x="28" y="60"/>
                      </a:lnTo>
                      <a:lnTo>
                        <a:pt x="28" y="60"/>
                      </a:lnTo>
                      <a:lnTo>
                        <a:pt x="28" y="60"/>
                      </a:lnTo>
                      <a:lnTo>
                        <a:pt x="28" y="56"/>
                      </a:lnTo>
                      <a:lnTo>
                        <a:pt x="24" y="56"/>
                      </a:lnTo>
                      <a:lnTo>
                        <a:pt x="24" y="56"/>
                      </a:lnTo>
                      <a:lnTo>
                        <a:pt x="24" y="52"/>
                      </a:lnTo>
                      <a:lnTo>
                        <a:pt x="24" y="52"/>
                      </a:lnTo>
                      <a:lnTo>
                        <a:pt x="24" y="52"/>
                      </a:lnTo>
                      <a:lnTo>
                        <a:pt x="24" y="52"/>
                      </a:lnTo>
                      <a:lnTo>
                        <a:pt x="24" y="52"/>
                      </a:lnTo>
                      <a:lnTo>
                        <a:pt x="24" y="52"/>
                      </a:lnTo>
                      <a:lnTo>
                        <a:pt x="24" y="52"/>
                      </a:lnTo>
                      <a:lnTo>
                        <a:pt x="24" y="52"/>
                      </a:lnTo>
                      <a:lnTo>
                        <a:pt x="24" y="52"/>
                      </a:lnTo>
                      <a:lnTo>
                        <a:pt x="24" y="52"/>
                      </a:lnTo>
                      <a:lnTo>
                        <a:pt x="24" y="52"/>
                      </a:lnTo>
                      <a:lnTo>
                        <a:pt x="24" y="52"/>
                      </a:lnTo>
                      <a:lnTo>
                        <a:pt x="24" y="52"/>
                      </a:lnTo>
                      <a:lnTo>
                        <a:pt x="24" y="52"/>
                      </a:lnTo>
                      <a:lnTo>
                        <a:pt x="20" y="52"/>
                      </a:lnTo>
                      <a:lnTo>
                        <a:pt x="20" y="52"/>
                      </a:lnTo>
                      <a:lnTo>
                        <a:pt x="20" y="52"/>
                      </a:lnTo>
                      <a:lnTo>
                        <a:pt x="20" y="52"/>
                      </a:lnTo>
                      <a:lnTo>
                        <a:pt x="20" y="52"/>
                      </a:lnTo>
                      <a:lnTo>
                        <a:pt x="20" y="52"/>
                      </a:lnTo>
                      <a:lnTo>
                        <a:pt x="20" y="52"/>
                      </a:lnTo>
                      <a:lnTo>
                        <a:pt x="20" y="52"/>
                      </a:lnTo>
                      <a:lnTo>
                        <a:pt x="20" y="52"/>
                      </a:lnTo>
                      <a:lnTo>
                        <a:pt x="20" y="52"/>
                      </a:lnTo>
                      <a:lnTo>
                        <a:pt x="20" y="50"/>
                      </a:lnTo>
                      <a:lnTo>
                        <a:pt x="20" y="50"/>
                      </a:lnTo>
                      <a:lnTo>
                        <a:pt x="20" y="50"/>
                      </a:lnTo>
                      <a:lnTo>
                        <a:pt x="20" y="50"/>
                      </a:lnTo>
                      <a:lnTo>
                        <a:pt x="20" y="50"/>
                      </a:lnTo>
                      <a:lnTo>
                        <a:pt x="20" y="46"/>
                      </a:lnTo>
                      <a:lnTo>
                        <a:pt x="20" y="46"/>
                      </a:lnTo>
                      <a:lnTo>
                        <a:pt x="20" y="46"/>
                      </a:lnTo>
                      <a:lnTo>
                        <a:pt x="20" y="46"/>
                      </a:lnTo>
                      <a:lnTo>
                        <a:pt x="20" y="46"/>
                      </a:lnTo>
                      <a:lnTo>
                        <a:pt x="20" y="46"/>
                      </a:lnTo>
                      <a:lnTo>
                        <a:pt x="16" y="46"/>
                      </a:lnTo>
                      <a:lnTo>
                        <a:pt x="16" y="46"/>
                      </a:lnTo>
                      <a:lnTo>
                        <a:pt x="16" y="46"/>
                      </a:lnTo>
                      <a:lnTo>
                        <a:pt x="16" y="46"/>
                      </a:lnTo>
                      <a:lnTo>
                        <a:pt x="16" y="46"/>
                      </a:lnTo>
                      <a:lnTo>
                        <a:pt x="16" y="42"/>
                      </a:lnTo>
                      <a:lnTo>
                        <a:pt x="16" y="42"/>
                      </a:lnTo>
                      <a:lnTo>
                        <a:pt x="16" y="42"/>
                      </a:lnTo>
                      <a:lnTo>
                        <a:pt x="14" y="42"/>
                      </a:lnTo>
                      <a:lnTo>
                        <a:pt x="14" y="42"/>
                      </a:lnTo>
                      <a:lnTo>
                        <a:pt x="14" y="42"/>
                      </a:lnTo>
                      <a:lnTo>
                        <a:pt x="14" y="42"/>
                      </a:lnTo>
                      <a:lnTo>
                        <a:pt x="14" y="46"/>
                      </a:lnTo>
                      <a:lnTo>
                        <a:pt x="14" y="46"/>
                      </a:lnTo>
                      <a:lnTo>
                        <a:pt x="14" y="46"/>
                      </a:lnTo>
                      <a:lnTo>
                        <a:pt x="14" y="46"/>
                      </a:lnTo>
                      <a:lnTo>
                        <a:pt x="14" y="46"/>
                      </a:lnTo>
                      <a:lnTo>
                        <a:pt x="10" y="46"/>
                      </a:lnTo>
                      <a:lnTo>
                        <a:pt x="10" y="46"/>
                      </a:lnTo>
                      <a:lnTo>
                        <a:pt x="10" y="46"/>
                      </a:lnTo>
                      <a:lnTo>
                        <a:pt x="10" y="42"/>
                      </a:lnTo>
                      <a:lnTo>
                        <a:pt x="10" y="42"/>
                      </a:lnTo>
                      <a:lnTo>
                        <a:pt x="10" y="42"/>
                      </a:lnTo>
                      <a:lnTo>
                        <a:pt x="10" y="42"/>
                      </a:lnTo>
                      <a:lnTo>
                        <a:pt x="10" y="42"/>
                      </a:lnTo>
                      <a:lnTo>
                        <a:pt x="6" y="42"/>
                      </a:lnTo>
                      <a:lnTo>
                        <a:pt x="6" y="42"/>
                      </a:lnTo>
                      <a:lnTo>
                        <a:pt x="6" y="42"/>
                      </a:lnTo>
                      <a:lnTo>
                        <a:pt x="6" y="38"/>
                      </a:lnTo>
                      <a:lnTo>
                        <a:pt x="6" y="38"/>
                      </a:lnTo>
                      <a:lnTo>
                        <a:pt x="6" y="42"/>
                      </a:lnTo>
                      <a:lnTo>
                        <a:pt x="6" y="42"/>
                      </a:lnTo>
                      <a:lnTo>
                        <a:pt x="6" y="42"/>
                      </a:lnTo>
                      <a:lnTo>
                        <a:pt x="6" y="38"/>
                      </a:lnTo>
                      <a:lnTo>
                        <a:pt x="6" y="38"/>
                      </a:lnTo>
                      <a:lnTo>
                        <a:pt x="6" y="38"/>
                      </a:lnTo>
                      <a:lnTo>
                        <a:pt x="6" y="38"/>
                      </a:lnTo>
                      <a:lnTo>
                        <a:pt x="6" y="38"/>
                      </a:lnTo>
                      <a:lnTo>
                        <a:pt x="4" y="38"/>
                      </a:lnTo>
                      <a:lnTo>
                        <a:pt x="4" y="38"/>
                      </a:lnTo>
                      <a:lnTo>
                        <a:pt x="4" y="38"/>
                      </a:lnTo>
                      <a:lnTo>
                        <a:pt x="4" y="38"/>
                      </a:lnTo>
                      <a:lnTo>
                        <a:pt x="4" y="38"/>
                      </a:lnTo>
                      <a:lnTo>
                        <a:pt x="4" y="34"/>
                      </a:lnTo>
                      <a:lnTo>
                        <a:pt x="4" y="38"/>
                      </a:lnTo>
                      <a:lnTo>
                        <a:pt x="4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6" y="18"/>
                      </a:lnTo>
                      <a:lnTo>
                        <a:pt x="6" y="18"/>
                      </a:lnTo>
                      <a:lnTo>
                        <a:pt x="10" y="18"/>
                      </a:lnTo>
                      <a:lnTo>
                        <a:pt x="10" y="16"/>
                      </a:lnTo>
                      <a:lnTo>
                        <a:pt x="10" y="16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6" y="12"/>
                      </a:lnTo>
                      <a:lnTo>
                        <a:pt x="16" y="12"/>
                      </a:lnTo>
                      <a:lnTo>
                        <a:pt x="16" y="12"/>
                      </a:lnTo>
                      <a:lnTo>
                        <a:pt x="16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4" y="8"/>
                      </a:lnTo>
                      <a:lnTo>
                        <a:pt x="24" y="12"/>
                      </a:lnTo>
                      <a:lnTo>
                        <a:pt x="24" y="12"/>
                      </a:lnTo>
                      <a:lnTo>
                        <a:pt x="24" y="12"/>
                      </a:lnTo>
                      <a:lnTo>
                        <a:pt x="24" y="12"/>
                      </a:lnTo>
                      <a:lnTo>
                        <a:pt x="28" y="8"/>
                      </a:lnTo>
                      <a:lnTo>
                        <a:pt x="28" y="12"/>
                      </a:lnTo>
                      <a:lnTo>
                        <a:pt x="28" y="12"/>
                      </a:lnTo>
                      <a:lnTo>
                        <a:pt x="32" y="12"/>
                      </a:lnTo>
                      <a:lnTo>
                        <a:pt x="32" y="12"/>
                      </a:lnTo>
                      <a:lnTo>
                        <a:pt x="32" y="12"/>
                      </a:lnTo>
                      <a:lnTo>
                        <a:pt x="36" y="12"/>
                      </a:lnTo>
                      <a:lnTo>
                        <a:pt x="36" y="12"/>
                      </a:lnTo>
                      <a:lnTo>
                        <a:pt x="36" y="12"/>
                      </a:lnTo>
                      <a:lnTo>
                        <a:pt x="40" y="12"/>
                      </a:lnTo>
                      <a:lnTo>
                        <a:pt x="40" y="12"/>
                      </a:lnTo>
                      <a:lnTo>
                        <a:pt x="40" y="12"/>
                      </a:lnTo>
                      <a:lnTo>
                        <a:pt x="40" y="12"/>
                      </a:lnTo>
                      <a:lnTo>
                        <a:pt x="40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50" y="8"/>
                      </a:lnTo>
                      <a:lnTo>
                        <a:pt x="50" y="8"/>
                      </a:lnTo>
                      <a:lnTo>
                        <a:pt x="50" y="8"/>
                      </a:lnTo>
                      <a:lnTo>
                        <a:pt x="50" y="8"/>
                      </a:lnTo>
                      <a:lnTo>
                        <a:pt x="50" y="8"/>
                      </a:lnTo>
                      <a:lnTo>
                        <a:pt x="54" y="8"/>
                      </a:lnTo>
                      <a:lnTo>
                        <a:pt x="54" y="8"/>
                      </a:lnTo>
                      <a:lnTo>
                        <a:pt x="58" y="8"/>
                      </a:lnTo>
                      <a:lnTo>
                        <a:pt x="58" y="8"/>
                      </a:lnTo>
                      <a:lnTo>
                        <a:pt x="58" y="8"/>
                      </a:lnTo>
                      <a:lnTo>
                        <a:pt x="58" y="8"/>
                      </a:lnTo>
                      <a:lnTo>
                        <a:pt x="58" y="8"/>
                      </a:lnTo>
                      <a:lnTo>
                        <a:pt x="58" y="8"/>
                      </a:lnTo>
                      <a:lnTo>
                        <a:pt x="58" y="8"/>
                      </a:lnTo>
                      <a:lnTo>
                        <a:pt x="58" y="8"/>
                      </a:lnTo>
                      <a:lnTo>
                        <a:pt x="62" y="8"/>
                      </a:lnTo>
                      <a:lnTo>
                        <a:pt x="66" y="8"/>
                      </a:lnTo>
                      <a:lnTo>
                        <a:pt x="66" y="12"/>
                      </a:lnTo>
                      <a:lnTo>
                        <a:pt x="66" y="12"/>
                      </a:lnTo>
                      <a:lnTo>
                        <a:pt x="66" y="12"/>
                      </a:lnTo>
                      <a:lnTo>
                        <a:pt x="66" y="12"/>
                      </a:lnTo>
                      <a:lnTo>
                        <a:pt x="70" y="12"/>
                      </a:lnTo>
                      <a:lnTo>
                        <a:pt x="66" y="8"/>
                      </a:lnTo>
                      <a:lnTo>
                        <a:pt x="66" y="8"/>
                      </a:lnTo>
                      <a:lnTo>
                        <a:pt x="70" y="12"/>
                      </a:lnTo>
                      <a:lnTo>
                        <a:pt x="72" y="12"/>
                      </a:lnTo>
                      <a:lnTo>
                        <a:pt x="72" y="12"/>
                      </a:lnTo>
                      <a:lnTo>
                        <a:pt x="76" y="16"/>
                      </a:lnTo>
                      <a:lnTo>
                        <a:pt x="76" y="16"/>
                      </a:lnTo>
                      <a:lnTo>
                        <a:pt x="72" y="16"/>
                      </a:lnTo>
                      <a:lnTo>
                        <a:pt x="72" y="16"/>
                      </a:lnTo>
                      <a:lnTo>
                        <a:pt x="72" y="16"/>
                      </a:lnTo>
                      <a:lnTo>
                        <a:pt x="70" y="16"/>
                      </a:lnTo>
                      <a:lnTo>
                        <a:pt x="70" y="16"/>
                      </a:lnTo>
                      <a:lnTo>
                        <a:pt x="72" y="18"/>
                      </a:lnTo>
                      <a:lnTo>
                        <a:pt x="72" y="18"/>
                      </a:lnTo>
                      <a:lnTo>
                        <a:pt x="76" y="18"/>
                      </a:lnTo>
                      <a:lnTo>
                        <a:pt x="76" y="18"/>
                      </a:lnTo>
                      <a:lnTo>
                        <a:pt x="76" y="18"/>
                      </a:lnTo>
                      <a:lnTo>
                        <a:pt x="72" y="18"/>
                      </a:lnTo>
                      <a:lnTo>
                        <a:pt x="72" y="18"/>
                      </a:lnTo>
                      <a:lnTo>
                        <a:pt x="72" y="18"/>
                      </a:lnTo>
                      <a:lnTo>
                        <a:pt x="72" y="18"/>
                      </a:lnTo>
                      <a:lnTo>
                        <a:pt x="72" y="16"/>
                      </a:lnTo>
                      <a:lnTo>
                        <a:pt x="72" y="16"/>
                      </a:lnTo>
                      <a:lnTo>
                        <a:pt x="76" y="18"/>
                      </a:lnTo>
                      <a:lnTo>
                        <a:pt x="76" y="18"/>
                      </a:lnTo>
                      <a:lnTo>
                        <a:pt x="76" y="18"/>
                      </a:lnTo>
                      <a:lnTo>
                        <a:pt x="76" y="18"/>
                      </a:lnTo>
                      <a:lnTo>
                        <a:pt x="76" y="18"/>
                      </a:lnTo>
                      <a:lnTo>
                        <a:pt x="80" y="18"/>
                      </a:lnTo>
                      <a:lnTo>
                        <a:pt x="80" y="18"/>
                      </a:lnTo>
                      <a:lnTo>
                        <a:pt x="80" y="18"/>
                      </a:lnTo>
                      <a:lnTo>
                        <a:pt x="80" y="18"/>
                      </a:lnTo>
                      <a:lnTo>
                        <a:pt x="80" y="18"/>
                      </a:lnTo>
                      <a:lnTo>
                        <a:pt x="80" y="18"/>
                      </a:lnTo>
                      <a:lnTo>
                        <a:pt x="80" y="18"/>
                      </a:lnTo>
                      <a:lnTo>
                        <a:pt x="80" y="18"/>
                      </a:lnTo>
                      <a:lnTo>
                        <a:pt x="80" y="22"/>
                      </a:lnTo>
                      <a:lnTo>
                        <a:pt x="80" y="22"/>
                      </a:lnTo>
                      <a:lnTo>
                        <a:pt x="80" y="22"/>
                      </a:lnTo>
                      <a:lnTo>
                        <a:pt x="80" y="18"/>
                      </a:lnTo>
                      <a:lnTo>
                        <a:pt x="80" y="18"/>
                      </a:lnTo>
                      <a:lnTo>
                        <a:pt x="80" y="18"/>
                      </a:lnTo>
                      <a:lnTo>
                        <a:pt x="80" y="18"/>
                      </a:lnTo>
                      <a:lnTo>
                        <a:pt x="80" y="18"/>
                      </a:lnTo>
                      <a:lnTo>
                        <a:pt x="80" y="18"/>
                      </a:lnTo>
                      <a:lnTo>
                        <a:pt x="80" y="18"/>
                      </a:lnTo>
                      <a:lnTo>
                        <a:pt x="80" y="18"/>
                      </a:lnTo>
                      <a:lnTo>
                        <a:pt x="84" y="18"/>
                      </a:lnTo>
                      <a:lnTo>
                        <a:pt x="84" y="18"/>
                      </a:lnTo>
                      <a:lnTo>
                        <a:pt x="84" y="22"/>
                      </a:lnTo>
                      <a:lnTo>
                        <a:pt x="84" y="22"/>
                      </a:lnTo>
                      <a:lnTo>
                        <a:pt x="84" y="22"/>
                      </a:lnTo>
                      <a:lnTo>
                        <a:pt x="84" y="22"/>
                      </a:lnTo>
                      <a:lnTo>
                        <a:pt x="84" y="22"/>
                      </a:lnTo>
                      <a:lnTo>
                        <a:pt x="84" y="22"/>
                      </a:lnTo>
                      <a:lnTo>
                        <a:pt x="84" y="22"/>
                      </a:lnTo>
                      <a:lnTo>
                        <a:pt x="88" y="22"/>
                      </a:lnTo>
                      <a:lnTo>
                        <a:pt x="84" y="22"/>
                      </a:lnTo>
                      <a:lnTo>
                        <a:pt x="84" y="22"/>
                      </a:lnTo>
                      <a:lnTo>
                        <a:pt x="84" y="22"/>
                      </a:lnTo>
                      <a:lnTo>
                        <a:pt x="84" y="22"/>
                      </a:lnTo>
                      <a:lnTo>
                        <a:pt x="84" y="22"/>
                      </a:lnTo>
                      <a:lnTo>
                        <a:pt x="80" y="22"/>
                      </a:lnTo>
                      <a:lnTo>
                        <a:pt x="80" y="26"/>
                      </a:lnTo>
                      <a:lnTo>
                        <a:pt x="80" y="26"/>
                      </a:lnTo>
                      <a:lnTo>
                        <a:pt x="76" y="26"/>
                      </a:lnTo>
                      <a:lnTo>
                        <a:pt x="76" y="26"/>
                      </a:lnTo>
                      <a:lnTo>
                        <a:pt x="72" y="30"/>
                      </a:lnTo>
                      <a:lnTo>
                        <a:pt x="72" y="30"/>
                      </a:lnTo>
                      <a:lnTo>
                        <a:pt x="72" y="30"/>
                      </a:lnTo>
                      <a:lnTo>
                        <a:pt x="70" y="30"/>
                      </a:lnTo>
                      <a:lnTo>
                        <a:pt x="70" y="30"/>
                      </a:lnTo>
                      <a:lnTo>
                        <a:pt x="66" y="30"/>
                      </a:lnTo>
                      <a:lnTo>
                        <a:pt x="66" y="30"/>
                      </a:lnTo>
                      <a:lnTo>
                        <a:pt x="62" y="26"/>
                      </a:lnTo>
                      <a:lnTo>
                        <a:pt x="62" y="26"/>
                      </a:lnTo>
                      <a:lnTo>
                        <a:pt x="62" y="26"/>
                      </a:lnTo>
                      <a:lnTo>
                        <a:pt x="58" y="30"/>
                      </a:lnTo>
                      <a:lnTo>
                        <a:pt x="58" y="30"/>
                      </a:lnTo>
                      <a:lnTo>
                        <a:pt x="58" y="30"/>
                      </a:lnTo>
                      <a:lnTo>
                        <a:pt x="58" y="30"/>
                      </a:lnTo>
                      <a:lnTo>
                        <a:pt x="58" y="30"/>
                      </a:lnTo>
                      <a:lnTo>
                        <a:pt x="58" y="30"/>
                      </a:lnTo>
                      <a:lnTo>
                        <a:pt x="58" y="34"/>
                      </a:lnTo>
                      <a:lnTo>
                        <a:pt x="58" y="34"/>
                      </a:lnTo>
                      <a:lnTo>
                        <a:pt x="58" y="34"/>
                      </a:lnTo>
                      <a:lnTo>
                        <a:pt x="58" y="34"/>
                      </a:lnTo>
                      <a:lnTo>
                        <a:pt x="58" y="34"/>
                      </a:lnTo>
                      <a:lnTo>
                        <a:pt x="58" y="34"/>
                      </a:lnTo>
                      <a:lnTo>
                        <a:pt x="58" y="38"/>
                      </a:lnTo>
                      <a:lnTo>
                        <a:pt x="58" y="38"/>
                      </a:lnTo>
                      <a:lnTo>
                        <a:pt x="54" y="38"/>
                      </a:lnTo>
                      <a:lnTo>
                        <a:pt x="54" y="38"/>
                      </a:lnTo>
                      <a:lnTo>
                        <a:pt x="54" y="38"/>
                      </a:lnTo>
                      <a:lnTo>
                        <a:pt x="54" y="38"/>
                      </a:lnTo>
                      <a:lnTo>
                        <a:pt x="54" y="38"/>
                      </a:lnTo>
                      <a:lnTo>
                        <a:pt x="54" y="38"/>
                      </a:lnTo>
                      <a:lnTo>
                        <a:pt x="54" y="38"/>
                      </a:lnTo>
                      <a:lnTo>
                        <a:pt x="54" y="38"/>
                      </a:lnTo>
                      <a:lnTo>
                        <a:pt x="50" y="42"/>
                      </a:lnTo>
                      <a:lnTo>
                        <a:pt x="50" y="42"/>
                      </a:lnTo>
                      <a:lnTo>
                        <a:pt x="50" y="42"/>
                      </a:lnTo>
                      <a:lnTo>
                        <a:pt x="50" y="46"/>
                      </a:lnTo>
                      <a:lnTo>
                        <a:pt x="50" y="46"/>
                      </a:lnTo>
                      <a:lnTo>
                        <a:pt x="50" y="46"/>
                      </a:lnTo>
                      <a:lnTo>
                        <a:pt x="50" y="46"/>
                      </a:lnTo>
                      <a:lnTo>
                        <a:pt x="46" y="46"/>
                      </a:lnTo>
                      <a:lnTo>
                        <a:pt x="46" y="46"/>
                      </a:lnTo>
                      <a:lnTo>
                        <a:pt x="46" y="42"/>
                      </a:lnTo>
                      <a:lnTo>
                        <a:pt x="46" y="42"/>
                      </a:lnTo>
                      <a:lnTo>
                        <a:pt x="46" y="42"/>
                      </a:lnTo>
                      <a:lnTo>
                        <a:pt x="46" y="42"/>
                      </a:lnTo>
                      <a:lnTo>
                        <a:pt x="42" y="42"/>
                      </a:lnTo>
                      <a:lnTo>
                        <a:pt x="42" y="42"/>
                      </a:lnTo>
                      <a:lnTo>
                        <a:pt x="42" y="42"/>
                      </a:lnTo>
                      <a:lnTo>
                        <a:pt x="40" y="46"/>
                      </a:lnTo>
                      <a:lnTo>
                        <a:pt x="40" y="46"/>
                      </a:lnTo>
                      <a:lnTo>
                        <a:pt x="40" y="46"/>
                      </a:lnTo>
                      <a:lnTo>
                        <a:pt x="36" y="46"/>
                      </a:lnTo>
                      <a:lnTo>
                        <a:pt x="36" y="46"/>
                      </a:lnTo>
                      <a:lnTo>
                        <a:pt x="36" y="46"/>
                      </a:lnTo>
                      <a:lnTo>
                        <a:pt x="36" y="46"/>
                      </a:lnTo>
                      <a:lnTo>
                        <a:pt x="36" y="46"/>
                      </a:lnTo>
                      <a:lnTo>
                        <a:pt x="36" y="46"/>
                      </a:lnTo>
                      <a:close/>
                      <a:moveTo>
                        <a:pt x="36" y="0"/>
                      </a:moveTo>
                      <a:lnTo>
                        <a:pt x="36" y="0"/>
                      </a:lnTo>
                      <a:lnTo>
                        <a:pt x="36" y="0"/>
                      </a:lnTo>
                      <a:lnTo>
                        <a:pt x="36" y="0"/>
                      </a:lnTo>
                      <a:lnTo>
                        <a:pt x="36" y="0"/>
                      </a:lnTo>
                      <a:lnTo>
                        <a:pt x="36" y="0"/>
                      </a:lnTo>
                      <a:lnTo>
                        <a:pt x="36" y="0"/>
                      </a:lnTo>
                      <a:lnTo>
                        <a:pt x="40" y="0"/>
                      </a:lnTo>
                      <a:lnTo>
                        <a:pt x="40" y="0"/>
                      </a:lnTo>
                      <a:lnTo>
                        <a:pt x="40" y="0"/>
                      </a:lnTo>
                      <a:lnTo>
                        <a:pt x="40" y="0"/>
                      </a:lnTo>
                      <a:lnTo>
                        <a:pt x="42" y="0"/>
                      </a:lnTo>
                      <a:lnTo>
                        <a:pt x="42" y="0"/>
                      </a:lnTo>
                      <a:lnTo>
                        <a:pt x="40" y="0"/>
                      </a:lnTo>
                      <a:lnTo>
                        <a:pt x="40" y="0"/>
                      </a:lnTo>
                      <a:lnTo>
                        <a:pt x="40" y="0"/>
                      </a:lnTo>
                      <a:lnTo>
                        <a:pt x="36" y="0"/>
                      </a:lnTo>
                      <a:lnTo>
                        <a:pt x="36" y="0"/>
                      </a:lnTo>
                      <a:lnTo>
                        <a:pt x="36" y="0"/>
                      </a:lnTo>
                      <a:lnTo>
                        <a:pt x="36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38" name="Freeform 77"/>
                <p:cNvSpPr>
                  <a:spLocks/>
                </p:cNvSpPr>
                <p:nvPr/>
              </p:nvSpPr>
              <p:spPr bwMode="auto">
                <a:xfrm>
                  <a:off x="2635250" y="4054543"/>
                  <a:ext cx="50800" cy="22225"/>
                </a:xfrm>
                <a:custGeom>
                  <a:avLst/>
                  <a:gdLst>
                    <a:gd name="T0" fmla="*/ 24 w 32"/>
                    <a:gd name="T1" fmla="*/ 10 h 14"/>
                    <a:gd name="T2" fmla="*/ 24 w 32"/>
                    <a:gd name="T3" fmla="*/ 10 h 14"/>
                    <a:gd name="T4" fmla="*/ 20 w 32"/>
                    <a:gd name="T5" fmla="*/ 6 h 14"/>
                    <a:gd name="T6" fmla="*/ 20 w 32"/>
                    <a:gd name="T7" fmla="*/ 10 h 14"/>
                    <a:gd name="T8" fmla="*/ 20 w 32"/>
                    <a:gd name="T9" fmla="*/ 10 h 14"/>
                    <a:gd name="T10" fmla="*/ 20 w 32"/>
                    <a:gd name="T11" fmla="*/ 10 h 14"/>
                    <a:gd name="T12" fmla="*/ 16 w 32"/>
                    <a:gd name="T13" fmla="*/ 10 h 14"/>
                    <a:gd name="T14" fmla="*/ 16 w 32"/>
                    <a:gd name="T15" fmla="*/ 10 h 14"/>
                    <a:gd name="T16" fmla="*/ 16 w 32"/>
                    <a:gd name="T17" fmla="*/ 14 h 14"/>
                    <a:gd name="T18" fmla="*/ 16 w 32"/>
                    <a:gd name="T19" fmla="*/ 14 h 14"/>
                    <a:gd name="T20" fmla="*/ 16 w 32"/>
                    <a:gd name="T21" fmla="*/ 14 h 14"/>
                    <a:gd name="T22" fmla="*/ 12 w 32"/>
                    <a:gd name="T23" fmla="*/ 10 h 14"/>
                    <a:gd name="T24" fmla="*/ 12 w 32"/>
                    <a:gd name="T25" fmla="*/ 10 h 14"/>
                    <a:gd name="T26" fmla="*/ 12 w 32"/>
                    <a:gd name="T27" fmla="*/ 10 h 14"/>
                    <a:gd name="T28" fmla="*/ 8 w 32"/>
                    <a:gd name="T29" fmla="*/ 10 h 14"/>
                    <a:gd name="T30" fmla="*/ 8 w 32"/>
                    <a:gd name="T31" fmla="*/ 6 h 14"/>
                    <a:gd name="T32" fmla="*/ 4 w 32"/>
                    <a:gd name="T33" fmla="*/ 6 h 14"/>
                    <a:gd name="T34" fmla="*/ 4 w 32"/>
                    <a:gd name="T35" fmla="*/ 6 h 14"/>
                    <a:gd name="T36" fmla="*/ 4 w 32"/>
                    <a:gd name="T37" fmla="*/ 6 h 14"/>
                    <a:gd name="T38" fmla="*/ 4 w 32"/>
                    <a:gd name="T39" fmla="*/ 4 h 14"/>
                    <a:gd name="T40" fmla="*/ 0 w 32"/>
                    <a:gd name="T41" fmla="*/ 4 h 14"/>
                    <a:gd name="T42" fmla="*/ 0 w 32"/>
                    <a:gd name="T43" fmla="*/ 4 h 14"/>
                    <a:gd name="T44" fmla="*/ 0 w 32"/>
                    <a:gd name="T45" fmla="*/ 4 h 14"/>
                    <a:gd name="T46" fmla="*/ 0 w 32"/>
                    <a:gd name="T47" fmla="*/ 4 h 14"/>
                    <a:gd name="T48" fmla="*/ 0 w 32"/>
                    <a:gd name="T49" fmla="*/ 4 h 14"/>
                    <a:gd name="T50" fmla="*/ 4 w 32"/>
                    <a:gd name="T51" fmla="*/ 0 h 14"/>
                    <a:gd name="T52" fmla="*/ 4 w 32"/>
                    <a:gd name="T53" fmla="*/ 0 h 14"/>
                    <a:gd name="T54" fmla="*/ 8 w 32"/>
                    <a:gd name="T55" fmla="*/ 0 h 14"/>
                    <a:gd name="T56" fmla="*/ 8 w 32"/>
                    <a:gd name="T57" fmla="*/ 0 h 14"/>
                    <a:gd name="T58" fmla="*/ 12 w 32"/>
                    <a:gd name="T59" fmla="*/ 0 h 14"/>
                    <a:gd name="T60" fmla="*/ 12 w 32"/>
                    <a:gd name="T61" fmla="*/ 0 h 14"/>
                    <a:gd name="T62" fmla="*/ 16 w 32"/>
                    <a:gd name="T63" fmla="*/ 0 h 14"/>
                    <a:gd name="T64" fmla="*/ 16 w 32"/>
                    <a:gd name="T65" fmla="*/ 0 h 14"/>
                    <a:gd name="T66" fmla="*/ 20 w 32"/>
                    <a:gd name="T67" fmla="*/ 0 h 14"/>
                    <a:gd name="T68" fmla="*/ 20 w 32"/>
                    <a:gd name="T69" fmla="*/ 4 h 14"/>
                    <a:gd name="T70" fmla="*/ 20 w 32"/>
                    <a:gd name="T71" fmla="*/ 4 h 14"/>
                    <a:gd name="T72" fmla="*/ 24 w 32"/>
                    <a:gd name="T73" fmla="*/ 4 h 14"/>
                    <a:gd name="T74" fmla="*/ 24 w 32"/>
                    <a:gd name="T75" fmla="*/ 4 h 14"/>
                    <a:gd name="T76" fmla="*/ 28 w 32"/>
                    <a:gd name="T77" fmla="*/ 6 h 14"/>
                    <a:gd name="T78" fmla="*/ 28 w 32"/>
                    <a:gd name="T79" fmla="*/ 6 h 14"/>
                    <a:gd name="T80" fmla="*/ 32 w 32"/>
                    <a:gd name="T81" fmla="*/ 6 h 14"/>
                    <a:gd name="T82" fmla="*/ 32 w 32"/>
                    <a:gd name="T83" fmla="*/ 10 h 14"/>
                    <a:gd name="T84" fmla="*/ 28 w 32"/>
                    <a:gd name="T85" fmla="*/ 10 h 14"/>
                    <a:gd name="T86" fmla="*/ 24 w 32"/>
                    <a:gd name="T87" fmla="*/ 10 h 14"/>
                    <a:gd name="T88" fmla="*/ 24 w 32"/>
                    <a:gd name="T89" fmla="*/ 1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32" h="14">
                      <a:moveTo>
                        <a:pt x="24" y="10"/>
                      </a:moveTo>
                      <a:lnTo>
                        <a:pt x="24" y="10"/>
                      </a:lnTo>
                      <a:lnTo>
                        <a:pt x="24" y="10"/>
                      </a:lnTo>
                      <a:lnTo>
                        <a:pt x="24" y="10"/>
                      </a:lnTo>
                      <a:lnTo>
                        <a:pt x="24" y="10"/>
                      </a:lnTo>
                      <a:lnTo>
                        <a:pt x="24" y="10"/>
                      </a:lnTo>
                      <a:lnTo>
                        <a:pt x="24" y="10"/>
                      </a:lnTo>
                      <a:lnTo>
                        <a:pt x="24" y="6"/>
                      </a:lnTo>
                      <a:lnTo>
                        <a:pt x="20" y="6"/>
                      </a:lnTo>
                      <a:lnTo>
                        <a:pt x="20" y="6"/>
                      </a:lnTo>
                      <a:lnTo>
                        <a:pt x="20" y="6"/>
                      </a:lnTo>
                      <a:lnTo>
                        <a:pt x="20" y="10"/>
                      </a:lnTo>
                      <a:lnTo>
                        <a:pt x="20" y="10"/>
                      </a:lnTo>
                      <a:lnTo>
                        <a:pt x="20" y="10"/>
                      </a:lnTo>
                      <a:lnTo>
                        <a:pt x="20" y="10"/>
                      </a:lnTo>
                      <a:lnTo>
                        <a:pt x="20" y="10"/>
                      </a:lnTo>
                      <a:lnTo>
                        <a:pt x="20" y="10"/>
                      </a:lnTo>
                      <a:lnTo>
                        <a:pt x="20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6" y="14"/>
                      </a:lnTo>
                      <a:lnTo>
                        <a:pt x="16" y="14"/>
                      </a:lnTo>
                      <a:lnTo>
                        <a:pt x="16" y="14"/>
                      </a:lnTo>
                      <a:lnTo>
                        <a:pt x="16" y="14"/>
                      </a:lnTo>
                      <a:lnTo>
                        <a:pt x="16" y="14"/>
                      </a:lnTo>
                      <a:lnTo>
                        <a:pt x="16" y="14"/>
                      </a:lnTo>
                      <a:lnTo>
                        <a:pt x="16" y="14"/>
                      </a:lnTo>
                      <a:lnTo>
                        <a:pt x="16" y="14"/>
                      </a:lnTo>
                      <a:lnTo>
                        <a:pt x="16" y="14"/>
                      </a:lnTo>
                      <a:lnTo>
                        <a:pt x="12" y="10"/>
                      </a:lnTo>
                      <a:lnTo>
                        <a:pt x="12" y="10"/>
                      </a:lnTo>
                      <a:lnTo>
                        <a:pt x="12" y="10"/>
                      </a:lnTo>
                      <a:lnTo>
                        <a:pt x="12" y="10"/>
                      </a:lnTo>
                      <a:lnTo>
                        <a:pt x="12" y="10"/>
                      </a:lnTo>
                      <a:lnTo>
                        <a:pt x="12" y="10"/>
                      </a:lnTo>
                      <a:lnTo>
                        <a:pt x="12" y="10"/>
                      </a:lnTo>
                      <a:lnTo>
                        <a:pt x="12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0" y="4"/>
                      </a:lnTo>
                      <a:lnTo>
                        <a:pt x="20" y="0"/>
                      </a:lnTo>
                      <a:lnTo>
                        <a:pt x="20" y="4"/>
                      </a:lnTo>
                      <a:lnTo>
                        <a:pt x="20" y="4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8" y="4"/>
                      </a:lnTo>
                      <a:lnTo>
                        <a:pt x="28" y="4"/>
                      </a:lnTo>
                      <a:lnTo>
                        <a:pt x="28" y="6"/>
                      </a:lnTo>
                      <a:lnTo>
                        <a:pt x="28" y="6"/>
                      </a:lnTo>
                      <a:lnTo>
                        <a:pt x="28" y="6"/>
                      </a:lnTo>
                      <a:lnTo>
                        <a:pt x="28" y="6"/>
                      </a:lnTo>
                      <a:lnTo>
                        <a:pt x="28" y="6"/>
                      </a:lnTo>
                      <a:lnTo>
                        <a:pt x="32" y="6"/>
                      </a:lnTo>
                      <a:lnTo>
                        <a:pt x="32" y="6"/>
                      </a:lnTo>
                      <a:lnTo>
                        <a:pt x="32" y="6"/>
                      </a:lnTo>
                      <a:lnTo>
                        <a:pt x="32" y="10"/>
                      </a:lnTo>
                      <a:lnTo>
                        <a:pt x="32" y="10"/>
                      </a:lnTo>
                      <a:lnTo>
                        <a:pt x="32" y="10"/>
                      </a:lnTo>
                      <a:lnTo>
                        <a:pt x="28" y="10"/>
                      </a:lnTo>
                      <a:lnTo>
                        <a:pt x="28" y="10"/>
                      </a:lnTo>
                      <a:lnTo>
                        <a:pt x="28" y="10"/>
                      </a:lnTo>
                      <a:lnTo>
                        <a:pt x="24" y="10"/>
                      </a:lnTo>
                      <a:lnTo>
                        <a:pt x="24" y="10"/>
                      </a:lnTo>
                      <a:lnTo>
                        <a:pt x="24" y="10"/>
                      </a:lnTo>
                      <a:lnTo>
                        <a:pt x="24" y="10"/>
                      </a:lnTo>
                      <a:lnTo>
                        <a:pt x="24" y="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39" name="Freeform 79"/>
                <p:cNvSpPr>
                  <a:spLocks noEditPoints="1"/>
                </p:cNvSpPr>
                <p:nvPr/>
              </p:nvSpPr>
              <p:spPr bwMode="auto">
                <a:xfrm>
                  <a:off x="2844800" y="4222818"/>
                  <a:ext cx="15875" cy="6350"/>
                </a:xfrm>
                <a:custGeom>
                  <a:avLst/>
                  <a:gdLst>
                    <a:gd name="T0" fmla="*/ 4 w 10"/>
                    <a:gd name="T1" fmla="*/ 4 h 4"/>
                    <a:gd name="T2" fmla="*/ 4 w 10"/>
                    <a:gd name="T3" fmla="*/ 4 h 4"/>
                    <a:gd name="T4" fmla="*/ 4 w 10"/>
                    <a:gd name="T5" fmla="*/ 4 h 4"/>
                    <a:gd name="T6" fmla="*/ 4 w 10"/>
                    <a:gd name="T7" fmla="*/ 4 h 4"/>
                    <a:gd name="T8" fmla="*/ 0 w 10"/>
                    <a:gd name="T9" fmla="*/ 4 h 4"/>
                    <a:gd name="T10" fmla="*/ 0 w 10"/>
                    <a:gd name="T11" fmla="*/ 0 h 4"/>
                    <a:gd name="T12" fmla="*/ 0 w 10"/>
                    <a:gd name="T13" fmla="*/ 0 h 4"/>
                    <a:gd name="T14" fmla="*/ 0 w 10"/>
                    <a:gd name="T15" fmla="*/ 0 h 4"/>
                    <a:gd name="T16" fmla="*/ 0 w 10"/>
                    <a:gd name="T17" fmla="*/ 0 h 4"/>
                    <a:gd name="T18" fmla="*/ 0 w 10"/>
                    <a:gd name="T19" fmla="*/ 0 h 4"/>
                    <a:gd name="T20" fmla="*/ 0 w 10"/>
                    <a:gd name="T21" fmla="*/ 0 h 4"/>
                    <a:gd name="T22" fmla="*/ 0 w 10"/>
                    <a:gd name="T23" fmla="*/ 0 h 4"/>
                    <a:gd name="T24" fmla="*/ 0 w 10"/>
                    <a:gd name="T25" fmla="*/ 0 h 4"/>
                    <a:gd name="T26" fmla="*/ 0 w 10"/>
                    <a:gd name="T27" fmla="*/ 0 h 4"/>
                    <a:gd name="T28" fmla="*/ 0 w 10"/>
                    <a:gd name="T29" fmla="*/ 0 h 4"/>
                    <a:gd name="T30" fmla="*/ 0 w 10"/>
                    <a:gd name="T31" fmla="*/ 0 h 4"/>
                    <a:gd name="T32" fmla="*/ 0 w 10"/>
                    <a:gd name="T33" fmla="*/ 0 h 4"/>
                    <a:gd name="T34" fmla="*/ 0 w 10"/>
                    <a:gd name="T35" fmla="*/ 0 h 4"/>
                    <a:gd name="T36" fmla="*/ 0 w 10"/>
                    <a:gd name="T37" fmla="*/ 0 h 4"/>
                    <a:gd name="T38" fmla="*/ 0 w 10"/>
                    <a:gd name="T39" fmla="*/ 0 h 4"/>
                    <a:gd name="T40" fmla="*/ 0 w 10"/>
                    <a:gd name="T41" fmla="*/ 0 h 4"/>
                    <a:gd name="T42" fmla="*/ 0 w 10"/>
                    <a:gd name="T43" fmla="*/ 0 h 4"/>
                    <a:gd name="T44" fmla="*/ 4 w 10"/>
                    <a:gd name="T45" fmla="*/ 0 h 4"/>
                    <a:gd name="T46" fmla="*/ 4 w 10"/>
                    <a:gd name="T47" fmla="*/ 0 h 4"/>
                    <a:gd name="T48" fmla="*/ 4 w 10"/>
                    <a:gd name="T49" fmla="*/ 4 h 4"/>
                    <a:gd name="T50" fmla="*/ 4 w 10"/>
                    <a:gd name="T51" fmla="*/ 4 h 4"/>
                    <a:gd name="T52" fmla="*/ 4 w 10"/>
                    <a:gd name="T53" fmla="*/ 4 h 4"/>
                    <a:gd name="T54" fmla="*/ 4 w 10"/>
                    <a:gd name="T55" fmla="*/ 4 h 4"/>
                    <a:gd name="T56" fmla="*/ 4 w 10"/>
                    <a:gd name="T57" fmla="*/ 4 h 4"/>
                    <a:gd name="T58" fmla="*/ 4 w 10"/>
                    <a:gd name="T59" fmla="*/ 4 h 4"/>
                    <a:gd name="T60" fmla="*/ 4 w 10"/>
                    <a:gd name="T61" fmla="*/ 4 h 4"/>
                    <a:gd name="T62" fmla="*/ 10 w 10"/>
                    <a:gd name="T63" fmla="*/ 4 h 4"/>
                    <a:gd name="T64" fmla="*/ 10 w 10"/>
                    <a:gd name="T65" fmla="*/ 4 h 4"/>
                    <a:gd name="T66" fmla="*/ 10 w 10"/>
                    <a:gd name="T67" fmla="*/ 4 h 4"/>
                    <a:gd name="T68" fmla="*/ 10 w 10"/>
                    <a:gd name="T69" fmla="*/ 4 h 4"/>
                    <a:gd name="T70" fmla="*/ 10 w 10"/>
                    <a:gd name="T71" fmla="*/ 4 h 4"/>
                    <a:gd name="T72" fmla="*/ 10 w 10"/>
                    <a:gd name="T73" fmla="*/ 4 h 4"/>
                    <a:gd name="T74" fmla="*/ 10 w 10"/>
                    <a:gd name="T75" fmla="*/ 4 h 4"/>
                    <a:gd name="T76" fmla="*/ 10 w 10"/>
                    <a:gd name="T77" fmla="*/ 4 h 4"/>
                    <a:gd name="T78" fmla="*/ 10 w 10"/>
                    <a:gd name="T79" fmla="*/ 0 h 4"/>
                    <a:gd name="T80" fmla="*/ 10 w 10"/>
                    <a:gd name="T81" fmla="*/ 0 h 4"/>
                    <a:gd name="T82" fmla="*/ 10 w 10"/>
                    <a:gd name="T83" fmla="*/ 0 h 4"/>
                    <a:gd name="T84" fmla="*/ 10 w 10"/>
                    <a:gd name="T85" fmla="*/ 0 h 4"/>
                    <a:gd name="T86" fmla="*/ 10 w 10"/>
                    <a:gd name="T87" fmla="*/ 0 h 4"/>
                    <a:gd name="T88" fmla="*/ 8 w 10"/>
                    <a:gd name="T89" fmla="*/ 0 h 4"/>
                    <a:gd name="T90" fmla="*/ 8 w 10"/>
                    <a:gd name="T91" fmla="*/ 0 h 4"/>
                    <a:gd name="T92" fmla="*/ 8 w 10"/>
                    <a:gd name="T93" fmla="*/ 0 h 4"/>
                    <a:gd name="T94" fmla="*/ 8 w 10"/>
                    <a:gd name="T95" fmla="*/ 0 h 4"/>
                    <a:gd name="T96" fmla="*/ 8 w 10"/>
                    <a:gd name="T97" fmla="*/ 0 h 4"/>
                    <a:gd name="T98" fmla="*/ 8 w 10"/>
                    <a:gd name="T99" fmla="*/ 0 h 4"/>
                    <a:gd name="T100" fmla="*/ 10 w 10"/>
                    <a:gd name="T101" fmla="*/ 0 h 4"/>
                    <a:gd name="T102" fmla="*/ 10 w 10"/>
                    <a:gd name="T103" fmla="*/ 0 h 4"/>
                    <a:gd name="T104" fmla="*/ 10 w 10"/>
                    <a:gd name="T105" fmla="*/ 0 h 4"/>
                    <a:gd name="T106" fmla="*/ 10 w 10"/>
                    <a:gd name="T107" fmla="*/ 4 h 4"/>
                    <a:gd name="T108" fmla="*/ 10 w 10"/>
                    <a:gd name="T109" fmla="*/ 4 h 4"/>
                    <a:gd name="T110" fmla="*/ 10 w 10"/>
                    <a:gd name="T111" fmla="*/ 4 h 4"/>
                    <a:gd name="T112" fmla="*/ 10 w 10"/>
                    <a:gd name="T113" fmla="*/ 4 h 4"/>
                    <a:gd name="T114" fmla="*/ 10 w 10"/>
                    <a:gd name="T115" fmla="*/ 4 h 4"/>
                    <a:gd name="T116" fmla="*/ 10 w 10"/>
                    <a:gd name="T11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0" h="4">
                      <a:moveTo>
                        <a:pt x="4" y="4"/>
                      </a:move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  <a:moveTo>
                        <a:pt x="10" y="4"/>
                      </a:move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40" name="Freeform 80"/>
                <p:cNvSpPr>
                  <a:spLocks/>
                </p:cNvSpPr>
                <p:nvPr/>
              </p:nvSpPr>
              <p:spPr bwMode="auto">
                <a:xfrm>
                  <a:off x="2422525" y="4146618"/>
                  <a:ext cx="107950" cy="120650"/>
                </a:xfrm>
                <a:custGeom>
                  <a:avLst/>
                  <a:gdLst>
                    <a:gd name="T0" fmla="*/ 64 w 68"/>
                    <a:gd name="T1" fmla="*/ 4 h 76"/>
                    <a:gd name="T2" fmla="*/ 64 w 68"/>
                    <a:gd name="T3" fmla="*/ 8 h 76"/>
                    <a:gd name="T4" fmla="*/ 64 w 68"/>
                    <a:gd name="T5" fmla="*/ 12 h 76"/>
                    <a:gd name="T6" fmla="*/ 64 w 68"/>
                    <a:gd name="T7" fmla="*/ 20 h 76"/>
                    <a:gd name="T8" fmla="*/ 60 w 68"/>
                    <a:gd name="T9" fmla="*/ 24 h 76"/>
                    <a:gd name="T10" fmla="*/ 60 w 68"/>
                    <a:gd name="T11" fmla="*/ 30 h 76"/>
                    <a:gd name="T12" fmla="*/ 60 w 68"/>
                    <a:gd name="T13" fmla="*/ 34 h 76"/>
                    <a:gd name="T14" fmla="*/ 60 w 68"/>
                    <a:gd name="T15" fmla="*/ 42 h 76"/>
                    <a:gd name="T16" fmla="*/ 60 w 68"/>
                    <a:gd name="T17" fmla="*/ 46 h 76"/>
                    <a:gd name="T18" fmla="*/ 60 w 68"/>
                    <a:gd name="T19" fmla="*/ 46 h 76"/>
                    <a:gd name="T20" fmla="*/ 60 w 68"/>
                    <a:gd name="T21" fmla="*/ 46 h 76"/>
                    <a:gd name="T22" fmla="*/ 60 w 68"/>
                    <a:gd name="T23" fmla="*/ 42 h 76"/>
                    <a:gd name="T24" fmla="*/ 56 w 68"/>
                    <a:gd name="T25" fmla="*/ 46 h 76"/>
                    <a:gd name="T26" fmla="*/ 56 w 68"/>
                    <a:gd name="T27" fmla="*/ 54 h 76"/>
                    <a:gd name="T28" fmla="*/ 56 w 68"/>
                    <a:gd name="T29" fmla="*/ 58 h 76"/>
                    <a:gd name="T30" fmla="*/ 56 w 68"/>
                    <a:gd name="T31" fmla="*/ 58 h 76"/>
                    <a:gd name="T32" fmla="*/ 60 w 68"/>
                    <a:gd name="T33" fmla="*/ 60 h 76"/>
                    <a:gd name="T34" fmla="*/ 56 w 68"/>
                    <a:gd name="T35" fmla="*/ 64 h 76"/>
                    <a:gd name="T36" fmla="*/ 56 w 68"/>
                    <a:gd name="T37" fmla="*/ 68 h 76"/>
                    <a:gd name="T38" fmla="*/ 56 w 68"/>
                    <a:gd name="T39" fmla="*/ 72 h 76"/>
                    <a:gd name="T40" fmla="*/ 60 w 68"/>
                    <a:gd name="T41" fmla="*/ 76 h 76"/>
                    <a:gd name="T42" fmla="*/ 56 w 68"/>
                    <a:gd name="T43" fmla="*/ 76 h 76"/>
                    <a:gd name="T44" fmla="*/ 52 w 68"/>
                    <a:gd name="T45" fmla="*/ 76 h 76"/>
                    <a:gd name="T46" fmla="*/ 48 w 68"/>
                    <a:gd name="T47" fmla="*/ 76 h 76"/>
                    <a:gd name="T48" fmla="*/ 38 w 68"/>
                    <a:gd name="T49" fmla="*/ 72 h 76"/>
                    <a:gd name="T50" fmla="*/ 38 w 68"/>
                    <a:gd name="T51" fmla="*/ 72 h 76"/>
                    <a:gd name="T52" fmla="*/ 30 w 68"/>
                    <a:gd name="T53" fmla="*/ 68 h 76"/>
                    <a:gd name="T54" fmla="*/ 26 w 68"/>
                    <a:gd name="T55" fmla="*/ 68 h 76"/>
                    <a:gd name="T56" fmla="*/ 22 w 68"/>
                    <a:gd name="T57" fmla="*/ 64 h 76"/>
                    <a:gd name="T58" fmla="*/ 20 w 68"/>
                    <a:gd name="T59" fmla="*/ 58 h 76"/>
                    <a:gd name="T60" fmla="*/ 16 w 68"/>
                    <a:gd name="T61" fmla="*/ 54 h 76"/>
                    <a:gd name="T62" fmla="*/ 16 w 68"/>
                    <a:gd name="T63" fmla="*/ 50 h 76"/>
                    <a:gd name="T64" fmla="*/ 12 w 68"/>
                    <a:gd name="T65" fmla="*/ 46 h 76"/>
                    <a:gd name="T66" fmla="*/ 4 w 68"/>
                    <a:gd name="T67" fmla="*/ 42 h 76"/>
                    <a:gd name="T68" fmla="*/ 0 w 68"/>
                    <a:gd name="T69" fmla="*/ 38 h 76"/>
                    <a:gd name="T70" fmla="*/ 4 w 68"/>
                    <a:gd name="T71" fmla="*/ 38 h 76"/>
                    <a:gd name="T72" fmla="*/ 8 w 68"/>
                    <a:gd name="T73" fmla="*/ 38 h 76"/>
                    <a:gd name="T74" fmla="*/ 12 w 68"/>
                    <a:gd name="T75" fmla="*/ 38 h 76"/>
                    <a:gd name="T76" fmla="*/ 12 w 68"/>
                    <a:gd name="T77" fmla="*/ 34 h 76"/>
                    <a:gd name="T78" fmla="*/ 16 w 68"/>
                    <a:gd name="T79" fmla="*/ 30 h 76"/>
                    <a:gd name="T80" fmla="*/ 16 w 68"/>
                    <a:gd name="T81" fmla="*/ 30 h 76"/>
                    <a:gd name="T82" fmla="*/ 16 w 68"/>
                    <a:gd name="T83" fmla="*/ 24 h 76"/>
                    <a:gd name="T84" fmla="*/ 22 w 68"/>
                    <a:gd name="T85" fmla="*/ 20 h 76"/>
                    <a:gd name="T86" fmla="*/ 26 w 68"/>
                    <a:gd name="T87" fmla="*/ 20 h 76"/>
                    <a:gd name="T88" fmla="*/ 30 w 68"/>
                    <a:gd name="T89" fmla="*/ 24 h 76"/>
                    <a:gd name="T90" fmla="*/ 34 w 68"/>
                    <a:gd name="T91" fmla="*/ 16 h 76"/>
                    <a:gd name="T92" fmla="*/ 34 w 68"/>
                    <a:gd name="T93" fmla="*/ 16 h 76"/>
                    <a:gd name="T94" fmla="*/ 38 w 68"/>
                    <a:gd name="T95" fmla="*/ 12 h 76"/>
                    <a:gd name="T96" fmla="*/ 38 w 68"/>
                    <a:gd name="T97" fmla="*/ 12 h 76"/>
                    <a:gd name="T98" fmla="*/ 38 w 68"/>
                    <a:gd name="T99" fmla="*/ 8 h 76"/>
                    <a:gd name="T100" fmla="*/ 46 w 68"/>
                    <a:gd name="T101" fmla="*/ 8 h 76"/>
                    <a:gd name="T102" fmla="*/ 52 w 68"/>
                    <a:gd name="T103" fmla="*/ 8 h 76"/>
                    <a:gd name="T104" fmla="*/ 60 w 68"/>
                    <a:gd name="T105" fmla="*/ 4 h 76"/>
                    <a:gd name="T106" fmla="*/ 64 w 68"/>
                    <a:gd name="T107" fmla="*/ 0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76">
                      <a:moveTo>
                        <a:pt x="68" y="0"/>
                      </a:moveTo>
                      <a:lnTo>
                        <a:pt x="64" y="4"/>
                      </a:lnTo>
                      <a:lnTo>
                        <a:pt x="64" y="4"/>
                      </a:lnTo>
                      <a:lnTo>
                        <a:pt x="64" y="4"/>
                      </a:lnTo>
                      <a:lnTo>
                        <a:pt x="64" y="4"/>
                      </a:lnTo>
                      <a:lnTo>
                        <a:pt x="64" y="4"/>
                      </a:lnTo>
                      <a:lnTo>
                        <a:pt x="60" y="4"/>
                      </a:lnTo>
                      <a:lnTo>
                        <a:pt x="64" y="8"/>
                      </a:lnTo>
                      <a:lnTo>
                        <a:pt x="64" y="8"/>
                      </a:lnTo>
                      <a:lnTo>
                        <a:pt x="64" y="8"/>
                      </a:lnTo>
                      <a:lnTo>
                        <a:pt x="64" y="8"/>
                      </a:lnTo>
                      <a:lnTo>
                        <a:pt x="64" y="8"/>
                      </a:lnTo>
                      <a:lnTo>
                        <a:pt x="64" y="12"/>
                      </a:lnTo>
                      <a:lnTo>
                        <a:pt x="64" y="12"/>
                      </a:lnTo>
                      <a:lnTo>
                        <a:pt x="64" y="12"/>
                      </a:lnTo>
                      <a:lnTo>
                        <a:pt x="64" y="16"/>
                      </a:lnTo>
                      <a:lnTo>
                        <a:pt x="64" y="16"/>
                      </a:lnTo>
                      <a:lnTo>
                        <a:pt x="64" y="16"/>
                      </a:lnTo>
                      <a:lnTo>
                        <a:pt x="64" y="16"/>
                      </a:lnTo>
                      <a:lnTo>
                        <a:pt x="64" y="20"/>
                      </a:lnTo>
                      <a:lnTo>
                        <a:pt x="64" y="20"/>
                      </a:lnTo>
                      <a:lnTo>
                        <a:pt x="64" y="20"/>
                      </a:lnTo>
                      <a:lnTo>
                        <a:pt x="60" y="20"/>
                      </a:lnTo>
                      <a:lnTo>
                        <a:pt x="60" y="20"/>
                      </a:lnTo>
                      <a:lnTo>
                        <a:pt x="60" y="24"/>
                      </a:lnTo>
                      <a:lnTo>
                        <a:pt x="60" y="24"/>
                      </a:lnTo>
                      <a:lnTo>
                        <a:pt x="60" y="24"/>
                      </a:lnTo>
                      <a:lnTo>
                        <a:pt x="60" y="28"/>
                      </a:lnTo>
                      <a:lnTo>
                        <a:pt x="60" y="30"/>
                      </a:lnTo>
                      <a:lnTo>
                        <a:pt x="60" y="30"/>
                      </a:lnTo>
                      <a:lnTo>
                        <a:pt x="60" y="30"/>
                      </a:lnTo>
                      <a:lnTo>
                        <a:pt x="60" y="30"/>
                      </a:lnTo>
                      <a:lnTo>
                        <a:pt x="60" y="34"/>
                      </a:lnTo>
                      <a:lnTo>
                        <a:pt x="60" y="34"/>
                      </a:lnTo>
                      <a:lnTo>
                        <a:pt x="60" y="34"/>
                      </a:lnTo>
                      <a:lnTo>
                        <a:pt x="60" y="34"/>
                      </a:lnTo>
                      <a:lnTo>
                        <a:pt x="60" y="38"/>
                      </a:lnTo>
                      <a:lnTo>
                        <a:pt x="60" y="38"/>
                      </a:lnTo>
                      <a:lnTo>
                        <a:pt x="60" y="38"/>
                      </a:lnTo>
                      <a:lnTo>
                        <a:pt x="60" y="42"/>
                      </a:lnTo>
                      <a:lnTo>
                        <a:pt x="60" y="42"/>
                      </a:lnTo>
                      <a:lnTo>
                        <a:pt x="60" y="46"/>
                      </a:lnTo>
                      <a:lnTo>
                        <a:pt x="60" y="46"/>
                      </a:lnTo>
                      <a:lnTo>
                        <a:pt x="60" y="46"/>
                      </a:lnTo>
                      <a:lnTo>
                        <a:pt x="60" y="46"/>
                      </a:lnTo>
                      <a:lnTo>
                        <a:pt x="60" y="46"/>
                      </a:lnTo>
                      <a:lnTo>
                        <a:pt x="60" y="46"/>
                      </a:lnTo>
                      <a:lnTo>
                        <a:pt x="60" y="50"/>
                      </a:lnTo>
                      <a:lnTo>
                        <a:pt x="60" y="50"/>
                      </a:lnTo>
                      <a:lnTo>
                        <a:pt x="60" y="46"/>
                      </a:lnTo>
                      <a:lnTo>
                        <a:pt x="60" y="46"/>
                      </a:lnTo>
                      <a:lnTo>
                        <a:pt x="60" y="46"/>
                      </a:lnTo>
                      <a:lnTo>
                        <a:pt x="60" y="46"/>
                      </a:lnTo>
                      <a:lnTo>
                        <a:pt x="60" y="46"/>
                      </a:lnTo>
                      <a:lnTo>
                        <a:pt x="60" y="46"/>
                      </a:lnTo>
                      <a:lnTo>
                        <a:pt x="60" y="42"/>
                      </a:lnTo>
                      <a:lnTo>
                        <a:pt x="60" y="42"/>
                      </a:lnTo>
                      <a:lnTo>
                        <a:pt x="60" y="42"/>
                      </a:lnTo>
                      <a:lnTo>
                        <a:pt x="60" y="42"/>
                      </a:lnTo>
                      <a:lnTo>
                        <a:pt x="60" y="42"/>
                      </a:lnTo>
                      <a:lnTo>
                        <a:pt x="60" y="42"/>
                      </a:lnTo>
                      <a:lnTo>
                        <a:pt x="60" y="42"/>
                      </a:lnTo>
                      <a:lnTo>
                        <a:pt x="60" y="42"/>
                      </a:lnTo>
                      <a:lnTo>
                        <a:pt x="60" y="42"/>
                      </a:lnTo>
                      <a:lnTo>
                        <a:pt x="56" y="46"/>
                      </a:lnTo>
                      <a:lnTo>
                        <a:pt x="56" y="46"/>
                      </a:lnTo>
                      <a:lnTo>
                        <a:pt x="56" y="50"/>
                      </a:lnTo>
                      <a:lnTo>
                        <a:pt x="56" y="50"/>
                      </a:lnTo>
                      <a:lnTo>
                        <a:pt x="56" y="50"/>
                      </a:lnTo>
                      <a:lnTo>
                        <a:pt x="56" y="54"/>
                      </a:lnTo>
                      <a:lnTo>
                        <a:pt x="56" y="54"/>
                      </a:lnTo>
                      <a:lnTo>
                        <a:pt x="56" y="54"/>
                      </a:lnTo>
                      <a:lnTo>
                        <a:pt x="56" y="54"/>
                      </a:lnTo>
                      <a:lnTo>
                        <a:pt x="56" y="58"/>
                      </a:lnTo>
                      <a:lnTo>
                        <a:pt x="56" y="58"/>
                      </a:lnTo>
                      <a:lnTo>
                        <a:pt x="56" y="58"/>
                      </a:lnTo>
                      <a:lnTo>
                        <a:pt x="56" y="58"/>
                      </a:lnTo>
                      <a:lnTo>
                        <a:pt x="56" y="58"/>
                      </a:lnTo>
                      <a:lnTo>
                        <a:pt x="56" y="58"/>
                      </a:lnTo>
                      <a:lnTo>
                        <a:pt x="56" y="58"/>
                      </a:lnTo>
                      <a:lnTo>
                        <a:pt x="56" y="58"/>
                      </a:lnTo>
                      <a:lnTo>
                        <a:pt x="56" y="58"/>
                      </a:lnTo>
                      <a:lnTo>
                        <a:pt x="56" y="58"/>
                      </a:lnTo>
                      <a:lnTo>
                        <a:pt x="56" y="60"/>
                      </a:lnTo>
                      <a:lnTo>
                        <a:pt x="60" y="60"/>
                      </a:lnTo>
                      <a:lnTo>
                        <a:pt x="60" y="60"/>
                      </a:lnTo>
                      <a:lnTo>
                        <a:pt x="56" y="60"/>
                      </a:lnTo>
                      <a:lnTo>
                        <a:pt x="56" y="60"/>
                      </a:lnTo>
                      <a:lnTo>
                        <a:pt x="56" y="64"/>
                      </a:lnTo>
                      <a:lnTo>
                        <a:pt x="56" y="64"/>
                      </a:lnTo>
                      <a:lnTo>
                        <a:pt x="56" y="64"/>
                      </a:lnTo>
                      <a:lnTo>
                        <a:pt x="56" y="64"/>
                      </a:lnTo>
                      <a:lnTo>
                        <a:pt x="56" y="68"/>
                      </a:lnTo>
                      <a:lnTo>
                        <a:pt x="56" y="68"/>
                      </a:lnTo>
                      <a:lnTo>
                        <a:pt x="56" y="68"/>
                      </a:lnTo>
                      <a:lnTo>
                        <a:pt x="56" y="72"/>
                      </a:lnTo>
                      <a:lnTo>
                        <a:pt x="56" y="72"/>
                      </a:lnTo>
                      <a:lnTo>
                        <a:pt x="56" y="72"/>
                      </a:lnTo>
                      <a:lnTo>
                        <a:pt x="56" y="72"/>
                      </a:lnTo>
                      <a:lnTo>
                        <a:pt x="56" y="72"/>
                      </a:lnTo>
                      <a:lnTo>
                        <a:pt x="60" y="72"/>
                      </a:lnTo>
                      <a:lnTo>
                        <a:pt x="60" y="72"/>
                      </a:lnTo>
                      <a:lnTo>
                        <a:pt x="60" y="72"/>
                      </a:lnTo>
                      <a:lnTo>
                        <a:pt x="60" y="76"/>
                      </a:lnTo>
                      <a:lnTo>
                        <a:pt x="60" y="76"/>
                      </a:lnTo>
                      <a:lnTo>
                        <a:pt x="56" y="76"/>
                      </a:lnTo>
                      <a:lnTo>
                        <a:pt x="56" y="76"/>
                      </a:lnTo>
                      <a:lnTo>
                        <a:pt x="56" y="76"/>
                      </a:lnTo>
                      <a:lnTo>
                        <a:pt x="56" y="76"/>
                      </a:lnTo>
                      <a:lnTo>
                        <a:pt x="56" y="76"/>
                      </a:lnTo>
                      <a:lnTo>
                        <a:pt x="56" y="76"/>
                      </a:lnTo>
                      <a:lnTo>
                        <a:pt x="56" y="76"/>
                      </a:lnTo>
                      <a:lnTo>
                        <a:pt x="52" y="76"/>
                      </a:lnTo>
                      <a:lnTo>
                        <a:pt x="52" y="76"/>
                      </a:lnTo>
                      <a:lnTo>
                        <a:pt x="52" y="76"/>
                      </a:lnTo>
                      <a:lnTo>
                        <a:pt x="52" y="76"/>
                      </a:lnTo>
                      <a:lnTo>
                        <a:pt x="52" y="76"/>
                      </a:lnTo>
                      <a:lnTo>
                        <a:pt x="52" y="76"/>
                      </a:lnTo>
                      <a:lnTo>
                        <a:pt x="52" y="76"/>
                      </a:lnTo>
                      <a:lnTo>
                        <a:pt x="48" y="76"/>
                      </a:lnTo>
                      <a:lnTo>
                        <a:pt x="48" y="72"/>
                      </a:lnTo>
                      <a:lnTo>
                        <a:pt x="48" y="72"/>
                      </a:lnTo>
                      <a:lnTo>
                        <a:pt x="46" y="72"/>
                      </a:lnTo>
                      <a:lnTo>
                        <a:pt x="42" y="72"/>
                      </a:lnTo>
                      <a:lnTo>
                        <a:pt x="38" y="72"/>
                      </a:lnTo>
                      <a:lnTo>
                        <a:pt x="38" y="72"/>
                      </a:lnTo>
                      <a:lnTo>
                        <a:pt x="38" y="72"/>
                      </a:lnTo>
                      <a:lnTo>
                        <a:pt x="38" y="72"/>
                      </a:lnTo>
                      <a:lnTo>
                        <a:pt x="38" y="72"/>
                      </a:lnTo>
                      <a:lnTo>
                        <a:pt x="38" y="72"/>
                      </a:lnTo>
                      <a:lnTo>
                        <a:pt x="34" y="72"/>
                      </a:lnTo>
                      <a:lnTo>
                        <a:pt x="34" y="68"/>
                      </a:lnTo>
                      <a:lnTo>
                        <a:pt x="34" y="68"/>
                      </a:lnTo>
                      <a:lnTo>
                        <a:pt x="30" y="68"/>
                      </a:lnTo>
                      <a:lnTo>
                        <a:pt x="30" y="68"/>
                      </a:lnTo>
                      <a:lnTo>
                        <a:pt x="30" y="68"/>
                      </a:lnTo>
                      <a:lnTo>
                        <a:pt x="30" y="72"/>
                      </a:lnTo>
                      <a:lnTo>
                        <a:pt x="30" y="72"/>
                      </a:lnTo>
                      <a:lnTo>
                        <a:pt x="26" y="68"/>
                      </a:lnTo>
                      <a:lnTo>
                        <a:pt x="26" y="68"/>
                      </a:lnTo>
                      <a:lnTo>
                        <a:pt x="26" y="68"/>
                      </a:lnTo>
                      <a:lnTo>
                        <a:pt x="26" y="68"/>
                      </a:lnTo>
                      <a:lnTo>
                        <a:pt x="22" y="64"/>
                      </a:lnTo>
                      <a:lnTo>
                        <a:pt x="22" y="64"/>
                      </a:lnTo>
                      <a:lnTo>
                        <a:pt x="22" y="64"/>
                      </a:lnTo>
                      <a:lnTo>
                        <a:pt x="22" y="60"/>
                      </a:lnTo>
                      <a:lnTo>
                        <a:pt x="20" y="60"/>
                      </a:lnTo>
                      <a:lnTo>
                        <a:pt x="20" y="60"/>
                      </a:lnTo>
                      <a:lnTo>
                        <a:pt x="20" y="58"/>
                      </a:lnTo>
                      <a:lnTo>
                        <a:pt x="20" y="58"/>
                      </a:lnTo>
                      <a:lnTo>
                        <a:pt x="20" y="58"/>
                      </a:lnTo>
                      <a:lnTo>
                        <a:pt x="20" y="58"/>
                      </a:lnTo>
                      <a:lnTo>
                        <a:pt x="16" y="54"/>
                      </a:lnTo>
                      <a:lnTo>
                        <a:pt x="16" y="54"/>
                      </a:lnTo>
                      <a:lnTo>
                        <a:pt x="16" y="54"/>
                      </a:lnTo>
                      <a:lnTo>
                        <a:pt x="16" y="54"/>
                      </a:lnTo>
                      <a:lnTo>
                        <a:pt x="16" y="54"/>
                      </a:lnTo>
                      <a:lnTo>
                        <a:pt x="16" y="54"/>
                      </a:lnTo>
                      <a:lnTo>
                        <a:pt x="16" y="54"/>
                      </a:lnTo>
                      <a:lnTo>
                        <a:pt x="16" y="50"/>
                      </a:lnTo>
                      <a:lnTo>
                        <a:pt x="16" y="50"/>
                      </a:lnTo>
                      <a:lnTo>
                        <a:pt x="12" y="50"/>
                      </a:lnTo>
                      <a:lnTo>
                        <a:pt x="12" y="50"/>
                      </a:lnTo>
                      <a:lnTo>
                        <a:pt x="12" y="50"/>
                      </a:lnTo>
                      <a:lnTo>
                        <a:pt x="12" y="46"/>
                      </a:lnTo>
                      <a:lnTo>
                        <a:pt x="8" y="46"/>
                      </a:lnTo>
                      <a:lnTo>
                        <a:pt x="8" y="46"/>
                      </a:lnTo>
                      <a:lnTo>
                        <a:pt x="8" y="46"/>
                      </a:lnTo>
                      <a:lnTo>
                        <a:pt x="8" y="46"/>
                      </a:lnTo>
                      <a:lnTo>
                        <a:pt x="4" y="42"/>
                      </a:lnTo>
                      <a:lnTo>
                        <a:pt x="4" y="42"/>
                      </a:lnTo>
                      <a:lnTo>
                        <a:pt x="4" y="38"/>
                      </a:lnTo>
                      <a:lnTo>
                        <a:pt x="0" y="38"/>
                      </a:lnTo>
                      <a:lnTo>
                        <a:pt x="0" y="38"/>
                      </a:lnTo>
                      <a:lnTo>
                        <a:pt x="0" y="38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8"/>
                      </a:lnTo>
                      <a:lnTo>
                        <a:pt x="4" y="38"/>
                      </a:lnTo>
                      <a:lnTo>
                        <a:pt x="4" y="38"/>
                      </a:lnTo>
                      <a:lnTo>
                        <a:pt x="4" y="38"/>
                      </a:lnTo>
                      <a:lnTo>
                        <a:pt x="4" y="38"/>
                      </a:lnTo>
                      <a:lnTo>
                        <a:pt x="4" y="38"/>
                      </a:lnTo>
                      <a:lnTo>
                        <a:pt x="4" y="38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12" y="38"/>
                      </a:lnTo>
                      <a:lnTo>
                        <a:pt x="12" y="38"/>
                      </a:lnTo>
                      <a:lnTo>
                        <a:pt x="12" y="38"/>
                      </a:lnTo>
                      <a:lnTo>
                        <a:pt x="12" y="34"/>
                      </a:lnTo>
                      <a:lnTo>
                        <a:pt x="12" y="34"/>
                      </a:lnTo>
                      <a:lnTo>
                        <a:pt x="12" y="34"/>
                      </a:lnTo>
                      <a:lnTo>
                        <a:pt x="12" y="34"/>
                      </a:lnTo>
                      <a:lnTo>
                        <a:pt x="12" y="30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6" y="28"/>
                      </a:lnTo>
                      <a:lnTo>
                        <a:pt x="16" y="24"/>
                      </a:lnTo>
                      <a:lnTo>
                        <a:pt x="16" y="24"/>
                      </a:lnTo>
                      <a:lnTo>
                        <a:pt x="16" y="24"/>
                      </a:lnTo>
                      <a:lnTo>
                        <a:pt x="16" y="24"/>
                      </a:lnTo>
                      <a:lnTo>
                        <a:pt x="20" y="24"/>
                      </a:lnTo>
                      <a:lnTo>
                        <a:pt x="20" y="24"/>
                      </a:lnTo>
                      <a:lnTo>
                        <a:pt x="20" y="24"/>
                      </a:lnTo>
                      <a:lnTo>
                        <a:pt x="22" y="20"/>
                      </a:lnTo>
                      <a:lnTo>
                        <a:pt x="22" y="20"/>
                      </a:lnTo>
                      <a:lnTo>
                        <a:pt x="22" y="20"/>
                      </a:lnTo>
                      <a:lnTo>
                        <a:pt x="26" y="20"/>
                      </a:lnTo>
                      <a:lnTo>
                        <a:pt x="26" y="20"/>
                      </a:lnTo>
                      <a:lnTo>
                        <a:pt x="26" y="20"/>
                      </a:lnTo>
                      <a:lnTo>
                        <a:pt x="26" y="20"/>
                      </a:lnTo>
                      <a:lnTo>
                        <a:pt x="26" y="24"/>
                      </a:lnTo>
                      <a:lnTo>
                        <a:pt x="26" y="24"/>
                      </a:lnTo>
                      <a:lnTo>
                        <a:pt x="30" y="24"/>
                      </a:lnTo>
                      <a:lnTo>
                        <a:pt x="30" y="24"/>
                      </a:lnTo>
                      <a:lnTo>
                        <a:pt x="30" y="24"/>
                      </a:lnTo>
                      <a:lnTo>
                        <a:pt x="30" y="24"/>
                      </a:lnTo>
                      <a:lnTo>
                        <a:pt x="30" y="20"/>
                      </a:lnTo>
                      <a:lnTo>
                        <a:pt x="30" y="20"/>
                      </a:lnTo>
                      <a:lnTo>
                        <a:pt x="30" y="20"/>
                      </a:lnTo>
                      <a:lnTo>
                        <a:pt x="34" y="16"/>
                      </a:lnTo>
                      <a:lnTo>
                        <a:pt x="34" y="16"/>
                      </a:lnTo>
                      <a:lnTo>
                        <a:pt x="34" y="16"/>
                      </a:lnTo>
                      <a:lnTo>
                        <a:pt x="34" y="16"/>
                      </a:lnTo>
                      <a:lnTo>
                        <a:pt x="34" y="16"/>
                      </a:lnTo>
                      <a:lnTo>
                        <a:pt x="34" y="16"/>
                      </a:lnTo>
                      <a:lnTo>
                        <a:pt x="34" y="16"/>
                      </a:lnTo>
                      <a:lnTo>
                        <a:pt x="34" y="16"/>
                      </a:lnTo>
                      <a:lnTo>
                        <a:pt x="38" y="16"/>
                      </a:lnTo>
                      <a:lnTo>
                        <a:pt x="38" y="16"/>
                      </a:lnTo>
                      <a:lnTo>
                        <a:pt x="38" y="12"/>
                      </a:lnTo>
                      <a:lnTo>
                        <a:pt x="38" y="12"/>
                      </a:lnTo>
                      <a:lnTo>
                        <a:pt x="38" y="12"/>
                      </a:lnTo>
                      <a:lnTo>
                        <a:pt x="38" y="12"/>
                      </a:lnTo>
                      <a:lnTo>
                        <a:pt x="38" y="12"/>
                      </a:lnTo>
                      <a:lnTo>
                        <a:pt x="38" y="12"/>
                      </a:lnTo>
                      <a:lnTo>
                        <a:pt x="38" y="8"/>
                      </a:lnTo>
                      <a:lnTo>
                        <a:pt x="38" y="8"/>
                      </a:lnTo>
                      <a:lnTo>
                        <a:pt x="38" y="8"/>
                      </a:lnTo>
                      <a:lnTo>
                        <a:pt x="38" y="8"/>
                      </a:lnTo>
                      <a:lnTo>
                        <a:pt x="38" y="8"/>
                      </a:lnTo>
                      <a:lnTo>
                        <a:pt x="38" y="8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8" y="8"/>
                      </a:lnTo>
                      <a:lnTo>
                        <a:pt x="48" y="8"/>
                      </a:lnTo>
                      <a:lnTo>
                        <a:pt x="52" y="8"/>
                      </a:lnTo>
                      <a:lnTo>
                        <a:pt x="52" y="8"/>
                      </a:lnTo>
                      <a:lnTo>
                        <a:pt x="52" y="8"/>
                      </a:lnTo>
                      <a:lnTo>
                        <a:pt x="56" y="4"/>
                      </a:lnTo>
                      <a:lnTo>
                        <a:pt x="56" y="4"/>
                      </a:lnTo>
                      <a:lnTo>
                        <a:pt x="60" y="4"/>
                      </a:lnTo>
                      <a:lnTo>
                        <a:pt x="60" y="4"/>
                      </a:lnTo>
                      <a:lnTo>
                        <a:pt x="60" y="0"/>
                      </a:lnTo>
                      <a:lnTo>
                        <a:pt x="64" y="0"/>
                      </a:lnTo>
                      <a:lnTo>
                        <a:pt x="64" y="0"/>
                      </a:lnTo>
                      <a:lnTo>
                        <a:pt x="64" y="0"/>
                      </a:lnTo>
                      <a:lnTo>
                        <a:pt x="64" y="0"/>
                      </a:lnTo>
                      <a:lnTo>
                        <a:pt x="64" y="0"/>
                      </a:lnTo>
                      <a:lnTo>
                        <a:pt x="68" y="0"/>
                      </a:lnTo>
                      <a:lnTo>
                        <a:pt x="68" y="0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41" name="Freeform 81"/>
                <p:cNvSpPr>
                  <a:spLocks noEditPoints="1"/>
                </p:cNvSpPr>
                <p:nvPr/>
              </p:nvSpPr>
              <p:spPr bwMode="auto">
                <a:xfrm>
                  <a:off x="2530475" y="4295843"/>
                  <a:ext cx="130175" cy="66675"/>
                </a:xfrm>
                <a:custGeom>
                  <a:avLst/>
                  <a:gdLst>
                    <a:gd name="T0" fmla="*/ 38 w 82"/>
                    <a:gd name="T1" fmla="*/ 22 h 42"/>
                    <a:gd name="T2" fmla="*/ 38 w 82"/>
                    <a:gd name="T3" fmla="*/ 30 h 42"/>
                    <a:gd name="T4" fmla="*/ 40 w 82"/>
                    <a:gd name="T5" fmla="*/ 34 h 42"/>
                    <a:gd name="T6" fmla="*/ 40 w 82"/>
                    <a:gd name="T7" fmla="*/ 38 h 42"/>
                    <a:gd name="T8" fmla="*/ 34 w 82"/>
                    <a:gd name="T9" fmla="*/ 42 h 42"/>
                    <a:gd name="T10" fmla="*/ 30 w 82"/>
                    <a:gd name="T11" fmla="*/ 42 h 42"/>
                    <a:gd name="T12" fmla="*/ 30 w 82"/>
                    <a:gd name="T13" fmla="*/ 34 h 42"/>
                    <a:gd name="T14" fmla="*/ 26 w 82"/>
                    <a:gd name="T15" fmla="*/ 30 h 42"/>
                    <a:gd name="T16" fmla="*/ 22 w 82"/>
                    <a:gd name="T17" fmla="*/ 34 h 42"/>
                    <a:gd name="T18" fmla="*/ 18 w 82"/>
                    <a:gd name="T19" fmla="*/ 30 h 42"/>
                    <a:gd name="T20" fmla="*/ 18 w 82"/>
                    <a:gd name="T21" fmla="*/ 26 h 42"/>
                    <a:gd name="T22" fmla="*/ 10 w 82"/>
                    <a:gd name="T23" fmla="*/ 26 h 42"/>
                    <a:gd name="T24" fmla="*/ 8 w 82"/>
                    <a:gd name="T25" fmla="*/ 26 h 42"/>
                    <a:gd name="T26" fmla="*/ 4 w 82"/>
                    <a:gd name="T27" fmla="*/ 22 h 42"/>
                    <a:gd name="T28" fmla="*/ 4 w 82"/>
                    <a:gd name="T29" fmla="*/ 30 h 42"/>
                    <a:gd name="T30" fmla="*/ 0 w 82"/>
                    <a:gd name="T31" fmla="*/ 26 h 42"/>
                    <a:gd name="T32" fmla="*/ 4 w 82"/>
                    <a:gd name="T33" fmla="*/ 22 h 42"/>
                    <a:gd name="T34" fmla="*/ 0 w 82"/>
                    <a:gd name="T35" fmla="*/ 16 h 42"/>
                    <a:gd name="T36" fmla="*/ 0 w 82"/>
                    <a:gd name="T37" fmla="*/ 12 h 42"/>
                    <a:gd name="T38" fmla="*/ 4 w 82"/>
                    <a:gd name="T39" fmla="*/ 0 h 42"/>
                    <a:gd name="T40" fmla="*/ 8 w 82"/>
                    <a:gd name="T41" fmla="*/ 4 h 42"/>
                    <a:gd name="T42" fmla="*/ 10 w 82"/>
                    <a:gd name="T43" fmla="*/ 12 h 42"/>
                    <a:gd name="T44" fmla="*/ 14 w 82"/>
                    <a:gd name="T45" fmla="*/ 12 h 42"/>
                    <a:gd name="T46" fmla="*/ 18 w 82"/>
                    <a:gd name="T47" fmla="*/ 16 h 42"/>
                    <a:gd name="T48" fmla="*/ 26 w 82"/>
                    <a:gd name="T49" fmla="*/ 16 h 42"/>
                    <a:gd name="T50" fmla="*/ 30 w 82"/>
                    <a:gd name="T51" fmla="*/ 16 h 42"/>
                    <a:gd name="T52" fmla="*/ 38 w 82"/>
                    <a:gd name="T53" fmla="*/ 12 h 42"/>
                    <a:gd name="T54" fmla="*/ 40 w 82"/>
                    <a:gd name="T55" fmla="*/ 8 h 42"/>
                    <a:gd name="T56" fmla="*/ 48 w 82"/>
                    <a:gd name="T57" fmla="*/ 4 h 42"/>
                    <a:gd name="T58" fmla="*/ 56 w 82"/>
                    <a:gd name="T59" fmla="*/ 4 h 42"/>
                    <a:gd name="T60" fmla="*/ 56 w 82"/>
                    <a:gd name="T61" fmla="*/ 4 h 42"/>
                    <a:gd name="T62" fmla="*/ 64 w 82"/>
                    <a:gd name="T63" fmla="*/ 4 h 42"/>
                    <a:gd name="T64" fmla="*/ 70 w 82"/>
                    <a:gd name="T65" fmla="*/ 12 h 42"/>
                    <a:gd name="T66" fmla="*/ 78 w 82"/>
                    <a:gd name="T67" fmla="*/ 16 h 42"/>
                    <a:gd name="T68" fmla="*/ 78 w 82"/>
                    <a:gd name="T69" fmla="*/ 18 h 42"/>
                    <a:gd name="T70" fmla="*/ 78 w 82"/>
                    <a:gd name="T71" fmla="*/ 22 h 42"/>
                    <a:gd name="T72" fmla="*/ 82 w 82"/>
                    <a:gd name="T73" fmla="*/ 26 h 42"/>
                    <a:gd name="T74" fmla="*/ 82 w 82"/>
                    <a:gd name="T75" fmla="*/ 34 h 42"/>
                    <a:gd name="T76" fmla="*/ 74 w 82"/>
                    <a:gd name="T77" fmla="*/ 34 h 42"/>
                    <a:gd name="T78" fmla="*/ 74 w 82"/>
                    <a:gd name="T79" fmla="*/ 38 h 42"/>
                    <a:gd name="T80" fmla="*/ 68 w 82"/>
                    <a:gd name="T81" fmla="*/ 38 h 42"/>
                    <a:gd name="T82" fmla="*/ 68 w 82"/>
                    <a:gd name="T83" fmla="*/ 30 h 42"/>
                    <a:gd name="T84" fmla="*/ 68 w 82"/>
                    <a:gd name="T85" fmla="*/ 30 h 42"/>
                    <a:gd name="T86" fmla="*/ 68 w 82"/>
                    <a:gd name="T87" fmla="*/ 26 h 42"/>
                    <a:gd name="T88" fmla="*/ 70 w 82"/>
                    <a:gd name="T89" fmla="*/ 26 h 42"/>
                    <a:gd name="T90" fmla="*/ 74 w 82"/>
                    <a:gd name="T91" fmla="*/ 26 h 42"/>
                    <a:gd name="T92" fmla="*/ 70 w 82"/>
                    <a:gd name="T93" fmla="*/ 22 h 42"/>
                    <a:gd name="T94" fmla="*/ 64 w 82"/>
                    <a:gd name="T95" fmla="*/ 22 h 42"/>
                    <a:gd name="T96" fmla="*/ 60 w 82"/>
                    <a:gd name="T97" fmla="*/ 16 h 42"/>
                    <a:gd name="T98" fmla="*/ 56 w 82"/>
                    <a:gd name="T99" fmla="*/ 12 h 42"/>
                    <a:gd name="T100" fmla="*/ 56 w 82"/>
                    <a:gd name="T101" fmla="*/ 12 h 42"/>
                    <a:gd name="T102" fmla="*/ 48 w 82"/>
                    <a:gd name="T103" fmla="*/ 12 h 42"/>
                    <a:gd name="T104" fmla="*/ 44 w 82"/>
                    <a:gd name="T105" fmla="*/ 16 h 42"/>
                    <a:gd name="T106" fmla="*/ 40 w 82"/>
                    <a:gd name="T107" fmla="*/ 22 h 42"/>
                    <a:gd name="T108" fmla="*/ 10 w 82"/>
                    <a:gd name="T109" fmla="*/ 8 h 42"/>
                    <a:gd name="T110" fmla="*/ 60 w 82"/>
                    <a:gd name="T111" fmla="*/ 22 h 42"/>
                    <a:gd name="T112" fmla="*/ 56 w 82"/>
                    <a:gd name="T113" fmla="*/ 22 h 42"/>
                    <a:gd name="T114" fmla="*/ 18 w 82"/>
                    <a:gd name="T115" fmla="*/ 38 h 42"/>
                    <a:gd name="T116" fmla="*/ 18 w 82"/>
                    <a:gd name="T117" fmla="*/ 42 h 42"/>
                    <a:gd name="T118" fmla="*/ 18 w 82"/>
                    <a:gd name="T119" fmla="*/ 42 h 42"/>
                    <a:gd name="T120" fmla="*/ 18 w 82"/>
                    <a:gd name="T121" fmla="*/ 34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82" h="42">
                      <a:moveTo>
                        <a:pt x="40" y="22"/>
                      </a:moveTo>
                      <a:lnTo>
                        <a:pt x="40" y="22"/>
                      </a:lnTo>
                      <a:lnTo>
                        <a:pt x="40" y="22"/>
                      </a:lnTo>
                      <a:lnTo>
                        <a:pt x="40" y="22"/>
                      </a:lnTo>
                      <a:lnTo>
                        <a:pt x="40" y="22"/>
                      </a:lnTo>
                      <a:lnTo>
                        <a:pt x="38" y="22"/>
                      </a:lnTo>
                      <a:lnTo>
                        <a:pt x="38" y="22"/>
                      </a:lnTo>
                      <a:lnTo>
                        <a:pt x="38" y="26"/>
                      </a:lnTo>
                      <a:lnTo>
                        <a:pt x="38" y="26"/>
                      </a:lnTo>
                      <a:lnTo>
                        <a:pt x="38" y="26"/>
                      </a:lnTo>
                      <a:lnTo>
                        <a:pt x="38" y="26"/>
                      </a:lnTo>
                      <a:lnTo>
                        <a:pt x="38" y="26"/>
                      </a:lnTo>
                      <a:lnTo>
                        <a:pt x="38" y="26"/>
                      </a:lnTo>
                      <a:lnTo>
                        <a:pt x="38" y="30"/>
                      </a:lnTo>
                      <a:lnTo>
                        <a:pt x="38" y="30"/>
                      </a:lnTo>
                      <a:lnTo>
                        <a:pt x="38" y="30"/>
                      </a:lnTo>
                      <a:lnTo>
                        <a:pt x="38" y="30"/>
                      </a:lnTo>
                      <a:lnTo>
                        <a:pt x="38" y="30"/>
                      </a:lnTo>
                      <a:lnTo>
                        <a:pt x="38" y="30"/>
                      </a:lnTo>
                      <a:lnTo>
                        <a:pt x="38" y="30"/>
                      </a:lnTo>
                      <a:lnTo>
                        <a:pt x="40" y="34"/>
                      </a:lnTo>
                      <a:lnTo>
                        <a:pt x="40" y="34"/>
                      </a:lnTo>
                      <a:lnTo>
                        <a:pt x="40" y="38"/>
                      </a:lnTo>
                      <a:lnTo>
                        <a:pt x="40" y="38"/>
                      </a:lnTo>
                      <a:lnTo>
                        <a:pt x="40" y="38"/>
                      </a:lnTo>
                      <a:lnTo>
                        <a:pt x="40" y="38"/>
                      </a:lnTo>
                      <a:lnTo>
                        <a:pt x="40" y="38"/>
                      </a:lnTo>
                      <a:lnTo>
                        <a:pt x="40" y="38"/>
                      </a:lnTo>
                      <a:lnTo>
                        <a:pt x="38" y="38"/>
                      </a:lnTo>
                      <a:lnTo>
                        <a:pt x="38" y="38"/>
                      </a:lnTo>
                      <a:lnTo>
                        <a:pt x="38" y="38"/>
                      </a:lnTo>
                      <a:lnTo>
                        <a:pt x="38" y="42"/>
                      </a:lnTo>
                      <a:lnTo>
                        <a:pt x="38" y="42"/>
                      </a:lnTo>
                      <a:lnTo>
                        <a:pt x="38" y="42"/>
                      </a:lnTo>
                      <a:lnTo>
                        <a:pt x="34" y="42"/>
                      </a:lnTo>
                      <a:lnTo>
                        <a:pt x="34" y="42"/>
                      </a:lnTo>
                      <a:lnTo>
                        <a:pt x="34" y="42"/>
                      </a:lnTo>
                      <a:lnTo>
                        <a:pt x="34" y="42"/>
                      </a:lnTo>
                      <a:lnTo>
                        <a:pt x="34" y="42"/>
                      </a:lnTo>
                      <a:lnTo>
                        <a:pt x="30" y="42"/>
                      </a:lnTo>
                      <a:lnTo>
                        <a:pt x="30" y="42"/>
                      </a:lnTo>
                      <a:lnTo>
                        <a:pt x="30" y="42"/>
                      </a:lnTo>
                      <a:lnTo>
                        <a:pt x="30" y="42"/>
                      </a:lnTo>
                      <a:lnTo>
                        <a:pt x="30" y="42"/>
                      </a:lnTo>
                      <a:lnTo>
                        <a:pt x="30" y="42"/>
                      </a:lnTo>
                      <a:lnTo>
                        <a:pt x="30" y="38"/>
                      </a:lnTo>
                      <a:lnTo>
                        <a:pt x="30" y="38"/>
                      </a:lnTo>
                      <a:lnTo>
                        <a:pt x="30" y="38"/>
                      </a:lnTo>
                      <a:lnTo>
                        <a:pt x="30" y="34"/>
                      </a:lnTo>
                      <a:lnTo>
                        <a:pt x="26" y="34"/>
                      </a:lnTo>
                      <a:lnTo>
                        <a:pt x="26" y="34"/>
                      </a:lnTo>
                      <a:lnTo>
                        <a:pt x="26" y="34"/>
                      </a:lnTo>
                      <a:lnTo>
                        <a:pt x="26" y="30"/>
                      </a:lnTo>
                      <a:lnTo>
                        <a:pt x="26" y="34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6" y="34"/>
                      </a:lnTo>
                      <a:lnTo>
                        <a:pt x="26" y="34"/>
                      </a:lnTo>
                      <a:lnTo>
                        <a:pt x="26" y="34"/>
                      </a:lnTo>
                      <a:lnTo>
                        <a:pt x="26" y="34"/>
                      </a:lnTo>
                      <a:lnTo>
                        <a:pt x="26" y="38"/>
                      </a:lnTo>
                      <a:lnTo>
                        <a:pt x="26" y="34"/>
                      </a:lnTo>
                      <a:lnTo>
                        <a:pt x="22" y="34"/>
                      </a:lnTo>
                      <a:lnTo>
                        <a:pt x="22" y="34"/>
                      </a:lnTo>
                      <a:lnTo>
                        <a:pt x="22" y="34"/>
                      </a:lnTo>
                      <a:lnTo>
                        <a:pt x="22" y="34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14" y="26"/>
                      </a:lnTo>
                      <a:lnTo>
                        <a:pt x="10" y="26"/>
                      </a:lnTo>
                      <a:lnTo>
                        <a:pt x="10" y="26"/>
                      </a:lnTo>
                      <a:lnTo>
                        <a:pt x="10" y="26"/>
                      </a:lnTo>
                      <a:lnTo>
                        <a:pt x="10" y="26"/>
                      </a:lnTo>
                      <a:lnTo>
                        <a:pt x="10" y="26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4" y="22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8"/>
                      </a:lnTo>
                      <a:lnTo>
                        <a:pt x="0" y="4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10" y="8"/>
                      </a:lnTo>
                      <a:lnTo>
                        <a:pt x="10" y="12"/>
                      </a:lnTo>
                      <a:lnTo>
                        <a:pt x="10" y="12"/>
                      </a:lnTo>
                      <a:lnTo>
                        <a:pt x="10" y="12"/>
                      </a:lnTo>
                      <a:lnTo>
                        <a:pt x="14" y="16"/>
                      </a:lnTo>
                      <a:lnTo>
                        <a:pt x="14" y="12"/>
                      </a:lnTo>
                      <a:lnTo>
                        <a:pt x="18" y="12"/>
                      </a:lnTo>
                      <a:lnTo>
                        <a:pt x="18" y="12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4" y="8"/>
                      </a:lnTo>
                      <a:lnTo>
                        <a:pt x="14" y="8"/>
                      </a:lnTo>
                      <a:lnTo>
                        <a:pt x="14" y="8"/>
                      </a:lnTo>
                      <a:lnTo>
                        <a:pt x="18" y="12"/>
                      </a:lnTo>
                      <a:lnTo>
                        <a:pt x="18" y="12"/>
                      </a:lnTo>
                      <a:lnTo>
                        <a:pt x="18" y="12"/>
                      </a:lnTo>
                      <a:lnTo>
                        <a:pt x="18" y="16"/>
                      </a:lnTo>
                      <a:lnTo>
                        <a:pt x="18" y="16"/>
                      </a:lnTo>
                      <a:lnTo>
                        <a:pt x="18" y="16"/>
                      </a:lnTo>
                      <a:lnTo>
                        <a:pt x="22" y="16"/>
                      </a:lnTo>
                      <a:lnTo>
                        <a:pt x="26" y="16"/>
                      </a:lnTo>
                      <a:lnTo>
                        <a:pt x="26" y="16"/>
                      </a:lnTo>
                      <a:lnTo>
                        <a:pt x="26" y="16"/>
                      </a:lnTo>
                      <a:lnTo>
                        <a:pt x="26" y="16"/>
                      </a:lnTo>
                      <a:lnTo>
                        <a:pt x="26" y="16"/>
                      </a:lnTo>
                      <a:lnTo>
                        <a:pt x="30" y="16"/>
                      </a:lnTo>
                      <a:lnTo>
                        <a:pt x="30" y="16"/>
                      </a:lnTo>
                      <a:lnTo>
                        <a:pt x="30" y="16"/>
                      </a:lnTo>
                      <a:lnTo>
                        <a:pt x="30" y="16"/>
                      </a:lnTo>
                      <a:lnTo>
                        <a:pt x="30" y="16"/>
                      </a:lnTo>
                      <a:lnTo>
                        <a:pt x="30" y="16"/>
                      </a:lnTo>
                      <a:lnTo>
                        <a:pt x="30" y="16"/>
                      </a:lnTo>
                      <a:lnTo>
                        <a:pt x="30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8" y="12"/>
                      </a:lnTo>
                      <a:lnTo>
                        <a:pt x="38" y="8"/>
                      </a:lnTo>
                      <a:lnTo>
                        <a:pt x="38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4" y="4"/>
                      </a:lnTo>
                      <a:lnTo>
                        <a:pt x="44" y="4"/>
                      </a:lnTo>
                      <a:lnTo>
                        <a:pt x="48" y="4"/>
                      </a:lnTo>
                      <a:lnTo>
                        <a:pt x="48" y="4"/>
                      </a:lnTo>
                      <a:lnTo>
                        <a:pt x="48" y="0"/>
                      </a:lnTo>
                      <a:lnTo>
                        <a:pt x="48" y="0"/>
                      </a:lnTo>
                      <a:lnTo>
                        <a:pt x="48" y="0"/>
                      </a:lnTo>
                      <a:lnTo>
                        <a:pt x="48" y="4"/>
                      </a:lnTo>
                      <a:lnTo>
                        <a:pt x="52" y="4"/>
                      </a:lnTo>
                      <a:lnTo>
                        <a:pt x="56" y="4"/>
                      </a:lnTo>
                      <a:lnTo>
                        <a:pt x="56" y="4"/>
                      </a:lnTo>
                      <a:lnTo>
                        <a:pt x="56" y="4"/>
                      </a:lnTo>
                      <a:lnTo>
                        <a:pt x="56" y="4"/>
                      </a:lnTo>
                      <a:lnTo>
                        <a:pt x="56" y="4"/>
                      </a:lnTo>
                      <a:lnTo>
                        <a:pt x="56" y="4"/>
                      </a:lnTo>
                      <a:lnTo>
                        <a:pt x="56" y="4"/>
                      </a:lnTo>
                      <a:lnTo>
                        <a:pt x="56" y="4"/>
                      </a:lnTo>
                      <a:lnTo>
                        <a:pt x="56" y="4"/>
                      </a:lnTo>
                      <a:lnTo>
                        <a:pt x="56" y="4"/>
                      </a:lnTo>
                      <a:lnTo>
                        <a:pt x="56" y="4"/>
                      </a:lnTo>
                      <a:lnTo>
                        <a:pt x="56" y="4"/>
                      </a:lnTo>
                      <a:lnTo>
                        <a:pt x="60" y="4"/>
                      </a:lnTo>
                      <a:lnTo>
                        <a:pt x="64" y="4"/>
                      </a:lnTo>
                      <a:lnTo>
                        <a:pt x="64" y="4"/>
                      </a:lnTo>
                      <a:lnTo>
                        <a:pt x="64" y="4"/>
                      </a:lnTo>
                      <a:lnTo>
                        <a:pt x="64" y="8"/>
                      </a:lnTo>
                      <a:lnTo>
                        <a:pt x="68" y="8"/>
                      </a:lnTo>
                      <a:lnTo>
                        <a:pt x="68" y="8"/>
                      </a:lnTo>
                      <a:lnTo>
                        <a:pt x="68" y="8"/>
                      </a:lnTo>
                      <a:lnTo>
                        <a:pt x="70" y="8"/>
                      </a:lnTo>
                      <a:lnTo>
                        <a:pt x="70" y="12"/>
                      </a:lnTo>
                      <a:lnTo>
                        <a:pt x="70" y="12"/>
                      </a:lnTo>
                      <a:lnTo>
                        <a:pt x="74" y="12"/>
                      </a:lnTo>
                      <a:lnTo>
                        <a:pt x="74" y="12"/>
                      </a:lnTo>
                      <a:lnTo>
                        <a:pt x="74" y="12"/>
                      </a:lnTo>
                      <a:lnTo>
                        <a:pt x="74" y="12"/>
                      </a:lnTo>
                      <a:lnTo>
                        <a:pt x="74" y="16"/>
                      </a:lnTo>
                      <a:lnTo>
                        <a:pt x="74" y="16"/>
                      </a:lnTo>
                      <a:lnTo>
                        <a:pt x="78" y="16"/>
                      </a:lnTo>
                      <a:lnTo>
                        <a:pt x="78" y="18"/>
                      </a:lnTo>
                      <a:lnTo>
                        <a:pt x="78" y="18"/>
                      </a:lnTo>
                      <a:lnTo>
                        <a:pt x="78" y="18"/>
                      </a:lnTo>
                      <a:lnTo>
                        <a:pt x="78" y="18"/>
                      </a:lnTo>
                      <a:lnTo>
                        <a:pt x="78" y="18"/>
                      </a:lnTo>
                      <a:lnTo>
                        <a:pt x="78" y="18"/>
                      </a:lnTo>
                      <a:lnTo>
                        <a:pt x="78" y="18"/>
                      </a:lnTo>
                      <a:lnTo>
                        <a:pt x="78" y="18"/>
                      </a:lnTo>
                      <a:lnTo>
                        <a:pt x="78" y="18"/>
                      </a:lnTo>
                      <a:lnTo>
                        <a:pt x="78" y="18"/>
                      </a:lnTo>
                      <a:lnTo>
                        <a:pt x="78" y="22"/>
                      </a:lnTo>
                      <a:lnTo>
                        <a:pt x="78" y="22"/>
                      </a:lnTo>
                      <a:lnTo>
                        <a:pt x="78" y="22"/>
                      </a:lnTo>
                      <a:lnTo>
                        <a:pt x="78" y="22"/>
                      </a:lnTo>
                      <a:lnTo>
                        <a:pt x="78" y="22"/>
                      </a:lnTo>
                      <a:lnTo>
                        <a:pt x="78" y="22"/>
                      </a:lnTo>
                      <a:lnTo>
                        <a:pt x="78" y="22"/>
                      </a:lnTo>
                      <a:lnTo>
                        <a:pt x="78" y="26"/>
                      </a:lnTo>
                      <a:lnTo>
                        <a:pt x="82" y="26"/>
                      </a:lnTo>
                      <a:lnTo>
                        <a:pt x="82" y="26"/>
                      </a:lnTo>
                      <a:lnTo>
                        <a:pt x="82" y="26"/>
                      </a:lnTo>
                      <a:lnTo>
                        <a:pt x="82" y="26"/>
                      </a:lnTo>
                      <a:lnTo>
                        <a:pt x="82" y="30"/>
                      </a:lnTo>
                      <a:lnTo>
                        <a:pt x="82" y="30"/>
                      </a:lnTo>
                      <a:lnTo>
                        <a:pt x="82" y="30"/>
                      </a:lnTo>
                      <a:lnTo>
                        <a:pt x="82" y="30"/>
                      </a:lnTo>
                      <a:lnTo>
                        <a:pt x="78" y="34"/>
                      </a:lnTo>
                      <a:lnTo>
                        <a:pt x="82" y="34"/>
                      </a:lnTo>
                      <a:lnTo>
                        <a:pt x="82" y="34"/>
                      </a:lnTo>
                      <a:lnTo>
                        <a:pt x="78" y="38"/>
                      </a:lnTo>
                      <a:lnTo>
                        <a:pt x="78" y="38"/>
                      </a:lnTo>
                      <a:lnTo>
                        <a:pt x="74" y="38"/>
                      </a:lnTo>
                      <a:lnTo>
                        <a:pt x="74" y="38"/>
                      </a:lnTo>
                      <a:lnTo>
                        <a:pt x="74" y="34"/>
                      </a:lnTo>
                      <a:lnTo>
                        <a:pt x="74" y="34"/>
                      </a:lnTo>
                      <a:lnTo>
                        <a:pt x="74" y="34"/>
                      </a:lnTo>
                      <a:lnTo>
                        <a:pt x="74" y="34"/>
                      </a:lnTo>
                      <a:lnTo>
                        <a:pt x="74" y="34"/>
                      </a:lnTo>
                      <a:lnTo>
                        <a:pt x="74" y="38"/>
                      </a:lnTo>
                      <a:lnTo>
                        <a:pt x="74" y="38"/>
                      </a:lnTo>
                      <a:lnTo>
                        <a:pt x="74" y="38"/>
                      </a:lnTo>
                      <a:lnTo>
                        <a:pt x="74" y="38"/>
                      </a:lnTo>
                      <a:lnTo>
                        <a:pt x="74" y="38"/>
                      </a:lnTo>
                      <a:lnTo>
                        <a:pt x="74" y="38"/>
                      </a:lnTo>
                      <a:lnTo>
                        <a:pt x="74" y="38"/>
                      </a:lnTo>
                      <a:lnTo>
                        <a:pt x="70" y="42"/>
                      </a:lnTo>
                      <a:lnTo>
                        <a:pt x="70" y="42"/>
                      </a:lnTo>
                      <a:lnTo>
                        <a:pt x="70" y="42"/>
                      </a:lnTo>
                      <a:lnTo>
                        <a:pt x="68" y="38"/>
                      </a:lnTo>
                      <a:lnTo>
                        <a:pt x="68" y="38"/>
                      </a:lnTo>
                      <a:lnTo>
                        <a:pt x="68" y="38"/>
                      </a:lnTo>
                      <a:lnTo>
                        <a:pt x="68" y="34"/>
                      </a:lnTo>
                      <a:lnTo>
                        <a:pt x="68" y="34"/>
                      </a:lnTo>
                      <a:lnTo>
                        <a:pt x="68" y="34"/>
                      </a:lnTo>
                      <a:lnTo>
                        <a:pt x="68" y="30"/>
                      </a:lnTo>
                      <a:lnTo>
                        <a:pt x="68" y="30"/>
                      </a:lnTo>
                      <a:lnTo>
                        <a:pt x="68" y="30"/>
                      </a:lnTo>
                      <a:lnTo>
                        <a:pt x="64" y="30"/>
                      </a:lnTo>
                      <a:lnTo>
                        <a:pt x="64" y="30"/>
                      </a:lnTo>
                      <a:lnTo>
                        <a:pt x="64" y="26"/>
                      </a:lnTo>
                      <a:lnTo>
                        <a:pt x="64" y="26"/>
                      </a:lnTo>
                      <a:lnTo>
                        <a:pt x="64" y="26"/>
                      </a:lnTo>
                      <a:lnTo>
                        <a:pt x="68" y="30"/>
                      </a:lnTo>
                      <a:lnTo>
                        <a:pt x="68" y="30"/>
                      </a:lnTo>
                      <a:lnTo>
                        <a:pt x="68" y="26"/>
                      </a:lnTo>
                      <a:lnTo>
                        <a:pt x="68" y="26"/>
                      </a:lnTo>
                      <a:lnTo>
                        <a:pt x="68" y="26"/>
                      </a:lnTo>
                      <a:lnTo>
                        <a:pt x="68" y="26"/>
                      </a:lnTo>
                      <a:lnTo>
                        <a:pt x="68" y="26"/>
                      </a:lnTo>
                      <a:lnTo>
                        <a:pt x="68" y="26"/>
                      </a:lnTo>
                      <a:lnTo>
                        <a:pt x="68" y="26"/>
                      </a:lnTo>
                      <a:lnTo>
                        <a:pt x="68" y="22"/>
                      </a:lnTo>
                      <a:lnTo>
                        <a:pt x="68" y="22"/>
                      </a:lnTo>
                      <a:lnTo>
                        <a:pt x="68" y="22"/>
                      </a:lnTo>
                      <a:lnTo>
                        <a:pt x="70" y="22"/>
                      </a:lnTo>
                      <a:lnTo>
                        <a:pt x="70" y="26"/>
                      </a:lnTo>
                      <a:lnTo>
                        <a:pt x="70" y="26"/>
                      </a:lnTo>
                      <a:lnTo>
                        <a:pt x="70" y="26"/>
                      </a:lnTo>
                      <a:lnTo>
                        <a:pt x="70" y="26"/>
                      </a:lnTo>
                      <a:lnTo>
                        <a:pt x="74" y="26"/>
                      </a:lnTo>
                      <a:lnTo>
                        <a:pt x="74" y="26"/>
                      </a:lnTo>
                      <a:lnTo>
                        <a:pt x="74" y="26"/>
                      </a:lnTo>
                      <a:lnTo>
                        <a:pt x="74" y="26"/>
                      </a:lnTo>
                      <a:lnTo>
                        <a:pt x="74" y="26"/>
                      </a:lnTo>
                      <a:lnTo>
                        <a:pt x="70" y="26"/>
                      </a:lnTo>
                      <a:lnTo>
                        <a:pt x="70" y="26"/>
                      </a:lnTo>
                      <a:lnTo>
                        <a:pt x="70" y="26"/>
                      </a:lnTo>
                      <a:lnTo>
                        <a:pt x="70" y="26"/>
                      </a:lnTo>
                      <a:lnTo>
                        <a:pt x="70" y="22"/>
                      </a:lnTo>
                      <a:lnTo>
                        <a:pt x="70" y="22"/>
                      </a:lnTo>
                      <a:lnTo>
                        <a:pt x="70" y="22"/>
                      </a:lnTo>
                      <a:lnTo>
                        <a:pt x="68" y="22"/>
                      </a:lnTo>
                      <a:lnTo>
                        <a:pt x="68" y="22"/>
                      </a:lnTo>
                      <a:lnTo>
                        <a:pt x="68" y="22"/>
                      </a:lnTo>
                      <a:lnTo>
                        <a:pt x="68" y="22"/>
                      </a:lnTo>
                      <a:lnTo>
                        <a:pt x="64" y="22"/>
                      </a:lnTo>
                      <a:lnTo>
                        <a:pt x="64" y="22"/>
                      </a:lnTo>
                      <a:lnTo>
                        <a:pt x="64" y="22"/>
                      </a:lnTo>
                      <a:lnTo>
                        <a:pt x="64" y="22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60" y="16"/>
                      </a:lnTo>
                      <a:lnTo>
                        <a:pt x="60" y="16"/>
                      </a:lnTo>
                      <a:lnTo>
                        <a:pt x="60" y="16"/>
                      </a:lnTo>
                      <a:lnTo>
                        <a:pt x="56" y="12"/>
                      </a:lnTo>
                      <a:lnTo>
                        <a:pt x="56" y="12"/>
                      </a:lnTo>
                      <a:lnTo>
                        <a:pt x="56" y="12"/>
                      </a:lnTo>
                      <a:lnTo>
                        <a:pt x="56" y="12"/>
                      </a:lnTo>
                      <a:lnTo>
                        <a:pt x="56" y="12"/>
                      </a:lnTo>
                      <a:lnTo>
                        <a:pt x="56" y="12"/>
                      </a:lnTo>
                      <a:lnTo>
                        <a:pt x="56" y="12"/>
                      </a:lnTo>
                      <a:lnTo>
                        <a:pt x="56" y="12"/>
                      </a:lnTo>
                      <a:lnTo>
                        <a:pt x="56" y="12"/>
                      </a:lnTo>
                      <a:lnTo>
                        <a:pt x="56" y="12"/>
                      </a:lnTo>
                      <a:lnTo>
                        <a:pt x="56" y="12"/>
                      </a:lnTo>
                      <a:lnTo>
                        <a:pt x="56" y="12"/>
                      </a:lnTo>
                      <a:lnTo>
                        <a:pt x="52" y="12"/>
                      </a:lnTo>
                      <a:lnTo>
                        <a:pt x="52" y="12"/>
                      </a:lnTo>
                      <a:lnTo>
                        <a:pt x="52" y="12"/>
                      </a:lnTo>
                      <a:lnTo>
                        <a:pt x="52" y="12"/>
                      </a:lnTo>
                      <a:lnTo>
                        <a:pt x="52" y="12"/>
                      </a:lnTo>
                      <a:lnTo>
                        <a:pt x="52" y="12"/>
                      </a:lnTo>
                      <a:lnTo>
                        <a:pt x="48" y="12"/>
                      </a:lnTo>
                      <a:lnTo>
                        <a:pt x="48" y="12"/>
                      </a:lnTo>
                      <a:lnTo>
                        <a:pt x="48" y="16"/>
                      </a:lnTo>
                      <a:lnTo>
                        <a:pt x="48" y="16"/>
                      </a:lnTo>
                      <a:lnTo>
                        <a:pt x="48" y="16"/>
                      </a:lnTo>
                      <a:lnTo>
                        <a:pt x="48" y="16"/>
                      </a:lnTo>
                      <a:lnTo>
                        <a:pt x="44" y="16"/>
                      </a:lnTo>
                      <a:lnTo>
                        <a:pt x="44" y="16"/>
                      </a:lnTo>
                      <a:lnTo>
                        <a:pt x="44" y="16"/>
                      </a:lnTo>
                      <a:lnTo>
                        <a:pt x="44" y="18"/>
                      </a:lnTo>
                      <a:lnTo>
                        <a:pt x="44" y="18"/>
                      </a:lnTo>
                      <a:lnTo>
                        <a:pt x="44" y="22"/>
                      </a:lnTo>
                      <a:lnTo>
                        <a:pt x="40" y="22"/>
                      </a:lnTo>
                      <a:lnTo>
                        <a:pt x="40" y="22"/>
                      </a:lnTo>
                      <a:lnTo>
                        <a:pt x="40" y="22"/>
                      </a:lnTo>
                      <a:lnTo>
                        <a:pt x="40" y="22"/>
                      </a:lnTo>
                      <a:close/>
                      <a:moveTo>
                        <a:pt x="10" y="4"/>
                      </a:move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close/>
                      <a:moveTo>
                        <a:pt x="60" y="22"/>
                      </a:moveTo>
                      <a:lnTo>
                        <a:pt x="60" y="22"/>
                      </a:lnTo>
                      <a:lnTo>
                        <a:pt x="60" y="22"/>
                      </a:lnTo>
                      <a:lnTo>
                        <a:pt x="60" y="22"/>
                      </a:lnTo>
                      <a:lnTo>
                        <a:pt x="60" y="22"/>
                      </a:lnTo>
                      <a:lnTo>
                        <a:pt x="60" y="22"/>
                      </a:lnTo>
                      <a:lnTo>
                        <a:pt x="60" y="22"/>
                      </a:lnTo>
                      <a:lnTo>
                        <a:pt x="60" y="26"/>
                      </a:lnTo>
                      <a:lnTo>
                        <a:pt x="56" y="22"/>
                      </a:lnTo>
                      <a:lnTo>
                        <a:pt x="56" y="22"/>
                      </a:lnTo>
                      <a:lnTo>
                        <a:pt x="56" y="22"/>
                      </a:lnTo>
                      <a:lnTo>
                        <a:pt x="60" y="22"/>
                      </a:lnTo>
                      <a:lnTo>
                        <a:pt x="60" y="22"/>
                      </a:lnTo>
                      <a:lnTo>
                        <a:pt x="60" y="22"/>
                      </a:lnTo>
                      <a:lnTo>
                        <a:pt x="60" y="22"/>
                      </a:lnTo>
                      <a:close/>
                      <a:moveTo>
                        <a:pt x="18" y="34"/>
                      </a:moveTo>
                      <a:lnTo>
                        <a:pt x="18" y="38"/>
                      </a:lnTo>
                      <a:lnTo>
                        <a:pt x="18" y="38"/>
                      </a:lnTo>
                      <a:lnTo>
                        <a:pt x="18" y="38"/>
                      </a:lnTo>
                      <a:lnTo>
                        <a:pt x="18" y="38"/>
                      </a:lnTo>
                      <a:lnTo>
                        <a:pt x="18" y="38"/>
                      </a:lnTo>
                      <a:lnTo>
                        <a:pt x="18" y="38"/>
                      </a:lnTo>
                      <a:lnTo>
                        <a:pt x="18" y="42"/>
                      </a:lnTo>
                      <a:lnTo>
                        <a:pt x="18" y="42"/>
                      </a:lnTo>
                      <a:lnTo>
                        <a:pt x="18" y="42"/>
                      </a:lnTo>
                      <a:lnTo>
                        <a:pt x="18" y="42"/>
                      </a:lnTo>
                      <a:lnTo>
                        <a:pt x="18" y="42"/>
                      </a:lnTo>
                      <a:lnTo>
                        <a:pt x="18" y="42"/>
                      </a:lnTo>
                      <a:lnTo>
                        <a:pt x="18" y="42"/>
                      </a:lnTo>
                      <a:lnTo>
                        <a:pt x="18" y="42"/>
                      </a:lnTo>
                      <a:lnTo>
                        <a:pt x="18" y="42"/>
                      </a:lnTo>
                      <a:lnTo>
                        <a:pt x="18" y="42"/>
                      </a:lnTo>
                      <a:lnTo>
                        <a:pt x="14" y="38"/>
                      </a:lnTo>
                      <a:lnTo>
                        <a:pt x="14" y="38"/>
                      </a:lnTo>
                      <a:lnTo>
                        <a:pt x="14" y="38"/>
                      </a:lnTo>
                      <a:lnTo>
                        <a:pt x="14" y="38"/>
                      </a:lnTo>
                      <a:lnTo>
                        <a:pt x="14" y="38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8" y="3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42" name="Freeform 82"/>
                <p:cNvSpPr>
                  <a:spLocks noEditPoints="1"/>
                </p:cNvSpPr>
                <p:nvPr/>
              </p:nvSpPr>
              <p:spPr bwMode="auto">
                <a:xfrm>
                  <a:off x="2886075" y="4054543"/>
                  <a:ext cx="41275" cy="15875"/>
                </a:xfrm>
                <a:custGeom>
                  <a:avLst/>
                  <a:gdLst>
                    <a:gd name="T0" fmla="*/ 18 w 26"/>
                    <a:gd name="T1" fmla="*/ 6 h 10"/>
                    <a:gd name="T2" fmla="*/ 18 w 26"/>
                    <a:gd name="T3" fmla="*/ 6 h 10"/>
                    <a:gd name="T4" fmla="*/ 18 w 26"/>
                    <a:gd name="T5" fmla="*/ 10 h 10"/>
                    <a:gd name="T6" fmla="*/ 16 w 26"/>
                    <a:gd name="T7" fmla="*/ 10 h 10"/>
                    <a:gd name="T8" fmla="*/ 12 w 26"/>
                    <a:gd name="T9" fmla="*/ 10 h 10"/>
                    <a:gd name="T10" fmla="*/ 12 w 26"/>
                    <a:gd name="T11" fmla="*/ 10 h 10"/>
                    <a:gd name="T12" fmla="*/ 8 w 26"/>
                    <a:gd name="T13" fmla="*/ 10 h 10"/>
                    <a:gd name="T14" fmla="*/ 8 w 26"/>
                    <a:gd name="T15" fmla="*/ 10 h 10"/>
                    <a:gd name="T16" fmla="*/ 8 w 26"/>
                    <a:gd name="T17" fmla="*/ 6 h 10"/>
                    <a:gd name="T18" fmla="*/ 4 w 26"/>
                    <a:gd name="T19" fmla="*/ 10 h 10"/>
                    <a:gd name="T20" fmla="*/ 4 w 26"/>
                    <a:gd name="T21" fmla="*/ 10 h 10"/>
                    <a:gd name="T22" fmla="*/ 4 w 26"/>
                    <a:gd name="T23" fmla="*/ 10 h 10"/>
                    <a:gd name="T24" fmla="*/ 0 w 26"/>
                    <a:gd name="T25" fmla="*/ 10 h 10"/>
                    <a:gd name="T26" fmla="*/ 0 w 26"/>
                    <a:gd name="T27" fmla="*/ 10 h 10"/>
                    <a:gd name="T28" fmla="*/ 0 w 26"/>
                    <a:gd name="T29" fmla="*/ 6 h 10"/>
                    <a:gd name="T30" fmla="*/ 0 w 26"/>
                    <a:gd name="T31" fmla="*/ 2 h 10"/>
                    <a:gd name="T32" fmla="*/ 0 w 26"/>
                    <a:gd name="T33" fmla="*/ 2 h 10"/>
                    <a:gd name="T34" fmla="*/ 0 w 26"/>
                    <a:gd name="T35" fmla="*/ 2 h 10"/>
                    <a:gd name="T36" fmla="*/ 0 w 26"/>
                    <a:gd name="T37" fmla="*/ 2 h 10"/>
                    <a:gd name="T38" fmla="*/ 0 w 26"/>
                    <a:gd name="T39" fmla="*/ 2 h 10"/>
                    <a:gd name="T40" fmla="*/ 0 w 26"/>
                    <a:gd name="T41" fmla="*/ 2 h 10"/>
                    <a:gd name="T42" fmla="*/ 0 w 26"/>
                    <a:gd name="T43" fmla="*/ 0 h 10"/>
                    <a:gd name="T44" fmla="*/ 0 w 26"/>
                    <a:gd name="T45" fmla="*/ 0 h 10"/>
                    <a:gd name="T46" fmla="*/ 0 w 26"/>
                    <a:gd name="T47" fmla="*/ 0 h 10"/>
                    <a:gd name="T48" fmla="*/ 4 w 26"/>
                    <a:gd name="T49" fmla="*/ 0 h 10"/>
                    <a:gd name="T50" fmla="*/ 4 w 26"/>
                    <a:gd name="T51" fmla="*/ 0 h 10"/>
                    <a:gd name="T52" fmla="*/ 8 w 26"/>
                    <a:gd name="T53" fmla="*/ 0 h 10"/>
                    <a:gd name="T54" fmla="*/ 12 w 26"/>
                    <a:gd name="T55" fmla="*/ 0 h 10"/>
                    <a:gd name="T56" fmla="*/ 16 w 26"/>
                    <a:gd name="T57" fmla="*/ 0 h 10"/>
                    <a:gd name="T58" fmla="*/ 16 w 26"/>
                    <a:gd name="T59" fmla="*/ 0 h 10"/>
                    <a:gd name="T60" fmla="*/ 16 w 26"/>
                    <a:gd name="T61" fmla="*/ 0 h 10"/>
                    <a:gd name="T62" fmla="*/ 16 w 26"/>
                    <a:gd name="T63" fmla="*/ 0 h 10"/>
                    <a:gd name="T64" fmla="*/ 18 w 26"/>
                    <a:gd name="T65" fmla="*/ 0 h 10"/>
                    <a:gd name="T66" fmla="*/ 18 w 26"/>
                    <a:gd name="T67" fmla="*/ 0 h 10"/>
                    <a:gd name="T68" fmla="*/ 22 w 26"/>
                    <a:gd name="T69" fmla="*/ 2 h 10"/>
                    <a:gd name="T70" fmla="*/ 22 w 26"/>
                    <a:gd name="T71" fmla="*/ 2 h 10"/>
                    <a:gd name="T72" fmla="*/ 22 w 26"/>
                    <a:gd name="T73" fmla="*/ 2 h 10"/>
                    <a:gd name="T74" fmla="*/ 22 w 26"/>
                    <a:gd name="T75" fmla="*/ 2 h 10"/>
                    <a:gd name="T76" fmla="*/ 18 w 26"/>
                    <a:gd name="T77" fmla="*/ 6 h 10"/>
                    <a:gd name="T78" fmla="*/ 18 w 26"/>
                    <a:gd name="T79" fmla="*/ 6 h 10"/>
                    <a:gd name="T80" fmla="*/ 22 w 26"/>
                    <a:gd name="T81" fmla="*/ 6 h 10"/>
                    <a:gd name="T82" fmla="*/ 22 w 26"/>
                    <a:gd name="T83" fmla="*/ 6 h 10"/>
                    <a:gd name="T84" fmla="*/ 22 w 26"/>
                    <a:gd name="T85" fmla="*/ 6 h 10"/>
                    <a:gd name="T86" fmla="*/ 26 w 26"/>
                    <a:gd name="T87" fmla="*/ 6 h 10"/>
                    <a:gd name="T88" fmla="*/ 26 w 26"/>
                    <a:gd name="T89" fmla="*/ 6 h 10"/>
                    <a:gd name="T90" fmla="*/ 26 w 26"/>
                    <a:gd name="T91" fmla="*/ 6 h 10"/>
                    <a:gd name="T92" fmla="*/ 22 w 26"/>
                    <a:gd name="T93" fmla="*/ 6 h 10"/>
                    <a:gd name="T94" fmla="*/ 22 w 26"/>
                    <a:gd name="T95" fmla="*/ 6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26" h="10">
                      <a:moveTo>
                        <a:pt x="18" y="6"/>
                      </a:move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18" y="10"/>
                      </a:lnTo>
                      <a:lnTo>
                        <a:pt x="18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2" y="10"/>
                      </a:lnTo>
                      <a:lnTo>
                        <a:pt x="12" y="10"/>
                      </a:lnTo>
                      <a:lnTo>
                        <a:pt x="12" y="10"/>
                      </a:lnTo>
                      <a:lnTo>
                        <a:pt x="12" y="6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4" y="10"/>
                      </a:lnTo>
                      <a:lnTo>
                        <a:pt x="4" y="10"/>
                      </a:lnTo>
                      <a:lnTo>
                        <a:pt x="4" y="10"/>
                      </a:lnTo>
                      <a:lnTo>
                        <a:pt x="4" y="10"/>
                      </a:lnTo>
                      <a:lnTo>
                        <a:pt x="4" y="10"/>
                      </a:lnTo>
                      <a:lnTo>
                        <a:pt x="4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22" y="2"/>
                      </a:lnTo>
                      <a:lnTo>
                        <a:pt x="22" y="2"/>
                      </a:lnTo>
                      <a:lnTo>
                        <a:pt x="22" y="2"/>
                      </a:lnTo>
                      <a:lnTo>
                        <a:pt x="22" y="2"/>
                      </a:lnTo>
                      <a:lnTo>
                        <a:pt x="22" y="2"/>
                      </a:lnTo>
                      <a:lnTo>
                        <a:pt x="22" y="2"/>
                      </a:lnTo>
                      <a:lnTo>
                        <a:pt x="22" y="2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18" y="6"/>
                      </a:lnTo>
                      <a:close/>
                      <a:moveTo>
                        <a:pt x="22" y="6"/>
                      </a:moveTo>
                      <a:lnTo>
                        <a:pt x="22" y="6"/>
                      </a:lnTo>
                      <a:lnTo>
                        <a:pt x="22" y="6"/>
                      </a:lnTo>
                      <a:lnTo>
                        <a:pt x="22" y="6"/>
                      </a:lnTo>
                      <a:lnTo>
                        <a:pt x="22" y="6"/>
                      </a:lnTo>
                      <a:lnTo>
                        <a:pt x="22" y="6"/>
                      </a:lnTo>
                      <a:lnTo>
                        <a:pt x="22" y="6"/>
                      </a:lnTo>
                      <a:lnTo>
                        <a:pt x="26" y="6"/>
                      </a:lnTo>
                      <a:lnTo>
                        <a:pt x="26" y="6"/>
                      </a:lnTo>
                      <a:lnTo>
                        <a:pt x="26" y="6"/>
                      </a:lnTo>
                      <a:lnTo>
                        <a:pt x="26" y="6"/>
                      </a:lnTo>
                      <a:lnTo>
                        <a:pt x="26" y="6"/>
                      </a:lnTo>
                      <a:lnTo>
                        <a:pt x="26" y="6"/>
                      </a:lnTo>
                      <a:lnTo>
                        <a:pt x="22" y="6"/>
                      </a:lnTo>
                      <a:lnTo>
                        <a:pt x="22" y="6"/>
                      </a:lnTo>
                      <a:lnTo>
                        <a:pt x="22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43" name="Freeform 83"/>
                <p:cNvSpPr>
                  <a:spLocks noEditPoints="1"/>
                </p:cNvSpPr>
                <p:nvPr/>
              </p:nvSpPr>
              <p:spPr bwMode="auto">
                <a:xfrm>
                  <a:off x="3127375" y="3206818"/>
                  <a:ext cx="6350" cy="12700"/>
                </a:xfrm>
                <a:custGeom>
                  <a:avLst/>
                  <a:gdLst>
                    <a:gd name="T0" fmla="*/ 0 w 4"/>
                    <a:gd name="T1" fmla="*/ 0 h 8"/>
                    <a:gd name="T2" fmla="*/ 4 w 4"/>
                    <a:gd name="T3" fmla="*/ 0 h 8"/>
                    <a:gd name="T4" fmla="*/ 4 w 4"/>
                    <a:gd name="T5" fmla="*/ 0 h 8"/>
                    <a:gd name="T6" fmla="*/ 0 w 4"/>
                    <a:gd name="T7" fmla="*/ 0 h 8"/>
                    <a:gd name="T8" fmla="*/ 0 w 4"/>
                    <a:gd name="T9" fmla="*/ 0 h 8"/>
                    <a:gd name="T10" fmla="*/ 0 w 4"/>
                    <a:gd name="T11" fmla="*/ 0 h 8"/>
                    <a:gd name="T12" fmla="*/ 0 w 4"/>
                    <a:gd name="T13" fmla="*/ 0 h 8"/>
                    <a:gd name="T14" fmla="*/ 0 w 4"/>
                    <a:gd name="T15" fmla="*/ 0 h 8"/>
                    <a:gd name="T16" fmla="*/ 0 w 4"/>
                    <a:gd name="T17" fmla="*/ 0 h 8"/>
                    <a:gd name="T18" fmla="*/ 0 w 4"/>
                    <a:gd name="T19" fmla="*/ 0 h 8"/>
                    <a:gd name="T20" fmla="*/ 0 w 4"/>
                    <a:gd name="T21" fmla="*/ 0 h 8"/>
                    <a:gd name="T22" fmla="*/ 0 w 4"/>
                    <a:gd name="T23" fmla="*/ 4 h 8"/>
                    <a:gd name="T24" fmla="*/ 0 w 4"/>
                    <a:gd name="T25" fmla="*/ 4 h 8"/>
                    <a:gd name="T26" fmla="*/ 0 w 4"/>
                    <a:gd name="T27" fmla="*/ 4 h 8"/>
                    <a:gd name="T28" fmla="*/ 0 w 4"/>
                    <a:gd name="T29" fmla="*/ 4 h 8"/>
                    <a:gd name="T30" fmla="*/ 0 w 4"/>
                    <a:gd name="T31" fmla="*/ 4 h 8"/>
                    <a:gd name="T32" fmla="*/ 4 w 4"/>
                    <a:gd name="T33" fmla="*/ 4 h 8"/>
                    <a:gd name="T34" fmla="*/ 4 w 4"/>
                    <a:gd name="T35" fmla="*/ 4 h 8"/>
                    <a:gd name="T36" fmla="*/ 4 w 4"/>
                    <a:gd name="T37" fmla="*/ 4 h 8"/>
                    <a:gd name="T38" fmla="*/ 4 w 4"/>
                    <a:gd name="T39" fmla="*/ 4 h 8"/>
                    <a:gd name="T40" fmla="*/ 4 w 4"/>
                    <a:gd name="T41" fmla="*/ 4 h 8"/>
                    <a:gd name="T42" fmla="*/ 4 w 4"/>
                    <a:gd name="T43" fmla="*/ 4 h 8"/>
                    <a:gd name="T44" fmla="*/ 0 w 4"/>
                    <a:gd name="T45" fmla="*/ 4 h 8"/>
                    <a:gd name="T46" fmla="*/ 0 w 4"/>
                    <a:gd name="T47" fmla="*/ 4 h 8"/>
                    <a:gd name="T48" fmla="*/ 0 w 4"/>
                    <a:gd name="T49" fmla="*/ 4 h 8"/>
                    <a:gd name="T50" fmla="*/ 0 w 4"/>
                    <a:gd name="T51" fmla="*/ 4 h 8"/>
                    <a:gd name="T52" fmla="*/ 0 w 4"/>
                    <a:gd name="T53" fmla="*/ 4 h 8"/>
                    <a:gd name="T54" fmla="*/ 0 w 4"/>
                    <a:gd name="T55" fmla="*/ 4 h 8"/>
                    <a:gd name="T56" fmla="*/ 0 w 4"/>
                    <a:gd name="T57" fmla="*/ 4 h 8"/>
                    <a:gd name="T58" fmla="*/ 0 w 4"/>
                    <a:gd name="T59" fmla="*/ 4 h 8"/>
                    <a:gd name="T60" fmla="*/ 0 w 4"/>
                    <a:gd name="T61" fmla="*/ 4 h 8"/>
                    <a:gd name="T62" fmla="*/ 0 w 4"/>
                    <a:gd name="T63" fmla="*/ 4 h 8"/>
                    <a:gd name="T64" fmla="*/ 0 w 4"/>
                    <a:gd name="T65" fmla="*/ 4 h 8"/>
                    <a:gd name="T66" fmla="*/ 0 w 4"/>
                    <a:gd name="T67" fmla="*/ 0 h 8"/>
                    <a:gd name="T68" fmla="*/ 0 w 4"/>
                    <a:gd name="T69" fmla="*/ 0 h 8"/>
                    <a:gd name="T70" fmla="*/ 0 w 4"/>
                    <a:gd name="T71" fmla="*/ 0 h 8"/>
                    <a:gd name="T72" fmla="*/ 0 w 4"/>
                    <a:gd name="T73" fmla="*/ 0 h 8"/>
                    <a:gd name="T74" fmla="*/ 0 w 4"/>
                    <a:gd name="T75" fmla="*/ 0 h 8"/>
                    <a:gd name="T76" fmla="*/ 0 w 4"/>
                    <a:gd name="T77" fmla="*/ 0 h 8"/>
                    <a:gd name="T78" fmla="*/ 0 w 4"/>
                    <a:gd name="T79" fmla="*/ 0 h 8"/>
                    <a:gd name="T80" fmla="*/ 0 w 4"/>
                    <a:gd name="T81" fmla="*/ 0 h 8"/>
                    <a:gd name="T82" fmla="*/ 0 w 4"/>
                    <a:gd name="T83" fmla="*/ 0 h 8"/>
                    <a:gd name="T84" fmla="*/ 0 w 4"/>
                    <a:gd name="T85" fmla="*/ 0 h 8"/>
                    <a:gd name="T86" fmla="*/ 0 w 4"/>
                    <a:gd name="T87" fmla="*/ 0 h 8"/>
                    <a:gd name="T88" fmla="*/ 0 w 4"/>
                    <a:gd name="T89" fmla="*/ 0 h 8"/>
                    <a:gd name="T90" fmla="*/ 0 w 4"/>
                    <a:gd name="T91" fmla="*/ 0 h 8"/>
                    <a:gd name="T92" fmla="*/ 4 w 4"/>
                    <a:gd name="T93" fmla="*/ 4 h 8"/>
                    <a:gd name="T94" fmla="*/ 4 w 4"/>
                    <a:gd name="T95" fmla="*/ 4 h 8"/>
                    <a:gd name="T96" fmla="*/ 4 w 4"/>
                    <a:gd name="T97" fmla="*/ 8 h 8"/>
                    <a:gd name="T98" fmla="*/ 4 w 4"/>
                    <a:gd name="T99" fmla="*/ 8 h 8"/>
                    <a:gd name="T100" fmla="*/ 4 w 4"/>
                    <a:gd name="T101" fmla="*/ 8 h 8"/>
                    <a:gd name="T102" fmla="*/ 4 w 4"/>
                    <a:gd name="T103" fmla="*/ 4 h 8"/>
                    <a:gd name="T104" fmla="*/ 4 w 4"/>
                    <a:gd name="T105" fmla="*/ 4 h 8"/>
                    <a:gd name="T106" fmla="*/ 4 w 4"/>
                    <a:gd name="T107" fmla="*/ 4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4" h="8">
                      <a:moveTo>
                        <a:pt x="0" y="0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  <a:moveTo>
                        <a:pt x="4" y="4"/>
                      </a:moveTo>
                      <a:lnTo>
                        <a:pt x="4" y="4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44" name="Freeform 84"/>
                <p:cNvSpPr>
                  <a:spLocks noEditPoints="1"/>
                </p:cNvSpPr>
                <p:nvPr/>
              </p:nvSpPr>
              <p:spPr bwMode="auto">
                <a:xfrm>
                  <a:off x="2619375" y="3816418"/>
                  <a:ext cx="142875" cy="174625"/>
                </a:xfrm>
                <a:custGeom>
                  <a:avLst/>
                  <a:gdLst>
                    <a:gd name="T0" fmla="*/ 52 w 90"/>
                    <a:gd name="T1" fmla="*/ 50 h 110"/>
                    <a:gd name="T2" fmla="*/ 48 w 90"/>
                    <a:gd name="T3" fmla="*/ 46 h 110"/>
                    <a:gd name="T4" fmla="*/ 52 w 90"/>
                    <a:gd name="T5" fmla="*/ 50 h 110"/>
                    <a:gd name="T6" fmla="*/ 64 w 90"/>
                    <a:gd name="T7" fmla="*/ 50 h 110"/>
                    <a:gd name="T8" fmla="*/ 64 w 90"/>
                    <a:gd name="T9" fmla="*/ 54 h 110"/>
                    <a:gd name="T10" fmla="*/ 86 w 90"/>
                    <a:gd name="T11" fmla="*/ 82 h 110"/>
                    <a:gd name="T12" fmla="*/ 86 w 90"/>
                    <a:gd name="T13" fmla="*/ 80 h 110"/>
                    <a:gd name="T14" fmla="*/ 90 w 90"/>
                    <a:gd name="T15" fmla="*/ 82 h 110"/>
                    <a:gd name="T16" fmla="*/ 22 w 90"/>
                    <a:gd name="T17" fmla="*/ 0 h 110"/>
                    <a:gd name="T18" fmla="*/ 26 w 90"/>
                    <a:gd name="T19" fmla="*/ 8 h 110"/>
                    <a:gd name="T20" fmla="*/ 26 w 90"/>
                    <a:gd name="T21" fmla="*/ 12 h 110"/>
                    <a:gd name="T22" fmla="*/ 26 w 90"/>
                    <a:gd name="T23" fmla="*/ 16 h 110"/>
                    <a:gd name="T24" fmla="*/ 26 w 90"/>
                    <a:gd name="T25" fmla="*/ 12 h 110"/>
                    <a:gd name="T26" fmla="*/ 22 w 90"/>
                    <a:gd name="T27" fmla="*/ 4 h 110"/>
                    <a:gd name="T28" fmla="*/ 16 w 90"/>
                    <a:gd name="T29" fmla="*/ 0 h 110"/>
                    <a:gd name="T30" fmla="*/ 4 w 90"/>
                    <a:gd name="T31" fmla="*/ 8 h 110"/>
                    <a:gd name="T32" fmla="*/ 8 w 90"/>
                    <a:gd name="T33" fmla="*/ 4 h 110"/>
                    <a:gd name="T34" fmla="*/ 12 w 90"/>
                    <a:gd name="T35" fmla="*/ 4 h 110"/>
                    <a:gd name="T36" fmla="*/ 4 w 90"/>
                    <a:gd name="T37" fmla="*/ 8 h 110"/>
                    <a:gd name="T38" fmla="*/ 34 w 90"/>
                    <a:gd name="T39" fmla="*/ 26 h 110"/>
                    <a:gd name="T40" fmla="*/ 42 w 90"/>
                    <a:gd name="T41" fmla="*/ 30 h 110"/>
                    <a:gd name="T42" fmla="*/ 42 w 90"/>
                    <a:gd name="T43" fmla="*/ 42 h 110"/>
                    <a:gd name="T44" fmla="*/ 42 w 90"/>
                    <a:gd name="T45" fmla="*/ 38 h 110"/>
                    <a:gd name="T46" fmla="*/ 38 w 90"/>
                    <a:gd name="T47" fmla="*/ 30 h 110"/>
                    <a:gd name="T48" fmla="*/ 34 w 90"/>
                    <a:gd name="T49" fmla="*/ 24 h 110"/>
                    <a:gd name="T50" fmla="*/ 12 w 90"/>
                    <a:gd name="T51" fmla="*/ 30 h 110"/>
                    <a:gd name="T52" fmla="*/ 16 w 90"/>
                    <a:gd name="T53" fmla="*/ 38 h 110"/>
                    <a:gd name="T54" fmla="*/ 18 w 90"/>
                    <a:gd name="T55" fmla="*/ 46 h 110"/>
                    <a:gd name="T56" fmla="*/ 12 w 90"/>
                    <a:gd name="T57" fmla="*/ 46 h 110"/>
                    <a:gd name="T58" fmla="*/ 12 w 90"/>
                    <a:gd name="T59" fmla="*/ 42 h 110"/>
                    <a:gd name="T60" fmla="*/ 12 w 90"/>
                    <a:gd name="T61" fmla="*/ 38 h 110"/>
                    <a:gd name="T62" fmla="*/ 12 w 90"/>
                    <a:gd name="T63" fmla="*/ 30 h 110"/>
                    <a:gd name="T64" fmla="*/ 26 w 90"/>
                    <a:gd name="T65" fmla="*/ 34 h 110"/>
                    <a:gd name="T66" fmla="*/ 22 w 90"/>
                    <a:gd name="T67" fmla="*/ 34 h 110"/>
                    <a:gd name="T68" fmla="*/ 18 w 90"/>
                    <a:gd name="T69" fmla="*/ 50 h 110"/>
                    <a:gd name="T70" fmla="*/ 22 w 90"/>
                    <a:gd name="T71" fmla="*/ 56 h 110"/>
                    <a:gd name="T72" fmla="*/ 18 w 90"/>
                    <a:gd name="T73" fmla="*/ 56 h 110"/>
                    <a:gd name="T74" fmla="*/ 18 w 90"/>
                    <a:gd name="T75" fmla="*/ 50 h 110"/>
                    <a:gd name="T76" fmla="*/ 44 w 90"/>
                    <a:gd name="T77" fmla="*/ 60 h 110"/>
                    <a:gd name="T78" fmla="*/ 44 w 90"/>
                    <a:gd name="T79" fmla="*/ 56 h 110"/>
                    <a:gd name="T80" fmla="*/ 52 w 90"/>
                    <a:gd name="T81" fmla="*/ 60 h 110"/>
                    <a:gd name="T82" fmla="*/ 60 w 90"/>
                    <a:gd name="T83" fmla="*/ 68 h 110"/>
                    <a:gd name="T84" fmla="*/ 56 w 90"/>
                    <a:gd name="T85" fmla="*/ 68 h 110"/>
                    <a:gd name="T86" fmla="*/ 52 w 90"/>
                    <a:gd name="T87" fmla="*/ 60 h 110"/>
                    <a:gd name="T88" fmla="*/ 68 w 90"/>
                    <a:gd name="T89" fmla="*/ 76 h 110"/>
                    <a:gd name="T90" fmla="*/ 70 w 90"/>
                    <a:gd name="T91" fmla="*/ 76 h 110"/>
                    <a:gd name="T92" fmla="*/ 68 w 90"/>
                    <a:gd name="T93" fmla="*/ 86 h 110"/>
                    <a:gd name="T94" fmla="*/ 70 w 90"/>
                    <a:gd name="T95" fmla="*/ 80 h 110"/>
                    <a:gd name="T96" fmla="*/ 70 w 90"/>
                    <a:gd name="T97" fmla="*/ 76 h 110"/>
                    <a:gd name="T98" fmla="*/ 70 w 90"/>
                    <a:gd name="T99" fmla="*/ 82 h 110"/>
                    <a:gd name="T100" fmla="*/ 68 w 90"/>
                    <a:gd name="T101" fmla="*/ 86 h 110"/>
                    <a:gd name="T102" fmla="*/ 74 w 90"/>
                    <a:gd name="T103" fmla="*/ 106 h 110"/>
                    <a:gd name="T104" fmla="*/ 82 w 90"/>
                    <a:gd name="T105" fmla="*/ 102 h 110"/>
                    <a:gd name="T106" fmla="*/ 86 w 90"/>
                    <a:gd name="T107" fmla="*/ 102 h 110"/>
                    <a:gd name="T108" fmla="*/ 82 w 90"/>
                    <a:gd name="T109" fmla="*/ 110 h 110"/>
                    <a:gd name="T110" fmla="*/ 74 w 90"/>
                    <a:gd name="T111" fmla="*/ 110 h 1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90" h="110">
                      <a:moveTo>
                        <a:pt x="52" y="50"/>
                      </a:moveTo>
                      <a:lnTo>
                        <a:pt x="48" y="50"/>
                      </a:lnTo>
                      <a:lnTo>
                        <a:pt x="52" y="50"/>
                      </a:lnTo>
                      <a:lnTo>
                        <a:pt x="48" y="46"/>
                      </a:lnTo>
                      <a:lnTo>
                        <a:pt x="48" y="42"/>
                      </a:lnTo>
                      <a:lnTo>
                        <a:pt x="48" y="46"/>
                      </a:lnTo>
                      <a:lnTo>
                        <a:pt x="52" y="46"/>
                      </a:lnTo>
                      <a:lnTo>
                        <a:pt x="52" y="50"/>
                      </a:lnTo>
                      <a:lnTo>
                        <a:pt x="52" y="50"/>
                      </a:lnTo>
                      <a:lnTo>
                        <a:pt x="52" y="50"/>
                      </a:lnTo>
                      <a:close/>
                      <a:moveTo>
                        <a:pt x="64" y="54"/>
                      </a:moveTo>
                      <a:lnTo>
                        <a:pt x="64" y="50"/>
                      </a:lnTo>
                      <a:lnTo>
                        <a:pt x="68" y="54"/>
                      </a:lnTo>
                      <a:lnTo>
                        <a:pt x="64" y="54"/>
                      </a:lnTo>
                      <a:lnTo>
                        <a:pt x="64" y="54"/>
                      </a:lnTo>
                      <a:lnTo>
                        <a:pt x="64" y="54"/>
                      </a:lnTo>
                      <a:close/>
                      <a:moveTo>
                        <a:pt x="90" y="82"/>
                      </a:moveTo>
                      <a:lnTo>
                        <a:pt x="86" y="82"/>
                      </a:lnTo>
                      <a:lnTo>
                        <a:pt x="82" y="82"/>
                      </a:lnTo>
                      <a:lnTo>
                        <a:pt x="82" y="80"/>
                      </a:lnTo>
                      <a:lnTo>
                        <a:pt x="86" y="80"/>
                      </a:lnTo>
                      <a:lnTo>
                        <a:pt x="90" y="82"/>
                      </a:lnTo>
                      <a:lnTo>
                        <a:pt x="90" y="82"/>
                      </a:lnTo>
                      <a:lnTo>
                        <a:pt x="90" y="82"/>
                      </a:lnTo>
                      <a:close/>
                      <a:moveTo>
                        <a:pt x="16" y="0"/>
                      </a:moveTo>
                      <a:lnTo>
                        <a:pt x="18" y="0"/>
                      </a:lnTo>
                      <a:lnTo>
                        <a:pt x="22" y="0"/>
                      </a:lnTo>
                      <a:lnTo>
                        <a:pt x="22" y="4"/>
                      </a:lnTo>
                      <a:lnTo>
                        <a:pt x="26" y="4"/>
                      </a:lnTo>
                      <a:lnTo>
                        <a:pt x="26" y="8"/>
                      </a:lnTo>
                      <a:lnTo>
                        <a:pt x="30" y="8"/>
                      </a:lnTo>
                      <a:lnTo>
                        <a:pt x="30" y="12"/>
                      </a:lnTo>
                      <a:lnTo>
                        <a:pt x="26" y="12"/>
                      </a:lnTo>
                      <a:lnTo>
                        <a:pt x="26" y="16"/>
                      </a:lnTo>
                      <a:lnTo>
                        <a:pt x="26" y="20"/>
                      </a:lnTo>
                      <a:lnTo>
                        <a:pt x="26" y="16"/>
                      </a:lnTo>
                      <a:lnTo>
                        <a:pt x="22" y="16"/>
                      </a:lnTo>
                      <a:lnTo>
                        <a:pt x="26" y="16"/>
                      </a:lnTo>
                      <a:lnTo>
                        <a:pt x="26" y="12"/>
                      </a:lnTo>
                      <a:lnTo>
                        <a:pt x="26" y="8"/>
                      </a:lnTo>
                      <a:lnTo>
                        <a:pt x="26" y="4"/>
                      </a:lnTo>
                      <a:lnTo>
                        <a:pt x="22" y="4"/>
                      </a:lnTo>
                      <a:lnTo>
                        <a:pt x="22" y="0"/>
                      </a:lnTo>
                      <a:lnTo>
                        <a:pt x="18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close/>
                      <a:moveTo>
                        <a:pt x="4" y="8"/>
                      </a:moveTo>
                      <a:lnTo>
                        <a:pt x="0" y="4"/>
                      </a:lnTo>
                      <a:lnTo>
                        <a:pt x="4" y="4"/>
                      </a:lnTo>
                      <a:lnTo>
                        <a:pt x="8" y="4"/>
                      </a:lnTo>
                      <a:lnTo>
                        <a:pt x="12" y="4"/>
                      </a:lnTo>
                      <a:lnTo>
                        <a:pt x="16" y="4"/>
                      </a:lnTo>
                      <a:lnTo>
                        <a:pt x="12" y="4"/>
                      </a:lnTo>
                      <a:lnTo>
                        <a:pt x="8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close/>
                      <a:moveTo>
                        <a:pt x="34" y="24"/>
                      </a:moveTo>
                      <a:lnTo>
                        <a:pt x="34" y="26"/>
                      </a:lnTo>
                      <a:lnTo>
                        <a:pt x="38" y="26"/>
                      </a:lnTo>
                      <a:lnTo>
                        <a:pt x="38" y="30"/>
                      </a:lnTo>
                      <a:lnTo>
                        <a:pt x="42" y="30"/>
                      </a:lnTo>
                      <a:lnTo>
                        <a:pt x="42" y="34"/>
                      </a:lnTo>
                      <a:lnTo>
                        <a:pt x="42" y="38"/>
                      </a:lnTo>
                      <a:lnTo>
                        <a:pt x="42" y="42"/>
                      </a:lnTo>
                      <a:lnTo>
                        <a:pt x="42" y="38"/>
                      </a:lnTo>
                      <a:lnTo>
                        <a:pt x="38" y="38"/>
                      </a:lnTo>
                      <a:lnTo>
                        <a:pt x="42" y="38"/>
                      </a:lnTo>
                      <a:lnTo>
                        <a:pt x="42" y="34"/>
                      </a:lnTo>
                      <a:lnTo>
                        <a:pt x="42" y="30"/>
                      </a:lnTo>
                      <a:lnTo>
                        <a:pt x="38" y="30"/>
                      </a:lnTo>
                      <a:lnTo>
                        <a:pt x="38" y="26"/>
                      </a:lnTo>
                      <a:lnTo>
                        <a:pt x="34" y="26"/>
                      </a:lnTo>
                      <a:lnTo>
                        <a:pt x="34" y="24"/>
                      </a:lnTo>
                      <a:lnTo>
                        <a:pt x="34" y="24"/>
                      </a:lnTo>
                      <a:lnTo>
                        <a:pt x="34" y="24"/>
                      </a:lnTo>
                      <a:close/>
                      <a:moveTo>
                        <a:pt x="12" y="30"/>
                      </a:moveTo>
                      <a:lnTo>
                        <a:pt x="16" y="30"/>
                      </a:lnTo>
                      <a:lnTo>
                        <a:pt x="16" y="34"/>
                      </a:lnTo>
                      <a:lnTo>
                        <a:pt x="16" y="38"/>
                      </a:lnTo>
                      <a:lnTo>
                        <a:pt x="18" y="38"/>
                      </a:lnTo>
                      <a:lnTo>
                        <a:pt x="18" y="42"/>
                      </a:lnTo>
                      <a:lnTo>
                        <a:pt x="18" y="46"/>
                      </a:lnTo>
                      <a:lnTo>
                        <a:pt x="16" y="50"/>
                      </a:lnTo>
                      <a:lnTo>
                        <a:pt x="16" y="46"/>
                      </a:lnTo>
                      <a:lnTo>
                        <a:pt x="12" y="46"/>
                      </a:lnTo>
                      <a:lnTo>
                        <a:pt x="12" y="42"/>
                      </a:lnTo>
                      <a:lnTo>
                        <a:pt x="8" y="42"/>
                      </a:lnTo>
                      <a:lnTo>
                        <a:pt x="12" y="42"/>
                      </a:lnTo>
                      <a:lnTo>
                        <a:pt x="12" y="38"/>
                      </a:lnTo>
                      <a:lnTo>
                        <a:pt x="12" y="42"/>
                      </a:lnTo>
                      <a:lnTo>
                        <a:pt x="12" y="38"/>
                      </a:lnTo>
                      <a:lnTo>
                        <a:pt x="12" y="34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2" y="30"/>
                      </a:lnTo>
                      <a:close/>
                      <a:moveTo>
                        <a:pt x="22" y="34"/>
                      </a:moveTo>
                      <a:lnTo>
                        <a:pt x="26" y="34"/>
                      </a:lnTo>
                      <a:lnTo>
                        <a:pt x="22" y="34"/>
                      </a:lnTo>
                      <a:lnTo>
                        <a:pt x="22" y="34"/>
                      </a:lnTo>
                      <a:lnTo>
                        <a:pt x="22" y="34"/>
                      </a:lnTo>
                      <a:close/>
                      <a:moveTo>
                        <a:pt x="18" y="50"/>
                      </a:moveTo>
                      <a:lnTo>
                        <a:pt x="18" y="54"/>
                      </a:lnTo>
                      <a:lnTo>
                        <a:pt x="18" y="50"/>
                      </a:lnTo>
                      <a:lnTo>
                        <a:pt x="22" y="50"/>
                      </a:lnTo>
                      <a:lnTo>
                        <a:pt x="22" y="54"/>
                      </a:lnTo>
                      <a:lnTo>
                        <a:pt x="22" y="56"/>
                      </a:lnTo>
                      <a:lnTo>
                        <a:pt x="18" y="56"/>
                      </a:lnTo>
                      <a:lnTo>
                        <a:pt x="22" y="56"/>
                      </a:lnTo>
                      <a:lnTo>
                        <a:pt x="18" y="56"/>
                      </a:lnTo>
                      <a:lnTo>
                        <a:pt x="16" y="54"/>
                      </a:lnTo>
                      <a:lnTo>
                        <a:pt x="18" y="50"/>
                      </a:lnTo>
                      <a:lnTo>
                        <a:pt x="18" y="50"/>
                      </a:lnTo>
                      <a:lnTo>
                        <a:pt x="18" y="50"/>
                      </a:lnTo>
                      <a:close/>
                      <a:moveTo>
                        <a:pt x="44" y="56"/>
                      </a:moveTo>
                      <a:lnTo>
                        <a:pt x="44" y="60"/>
                      </a:lnTo>
                      <a:lnTo>
                        <a:pt x="42" y="60"/>
                      </a:lnTo>
                      <a:lnTo>
                        <a:pt x="42" y="56"/>
                      </a:lnTo>
                      <a:lnTo>
                        <a:pt x="44" y="56"/>
                      </a:lnTo>
                      <a:lnTo>
                        <a:pt x="44" y="56"/>
                      </a:lnTo>
                      <a:lnTo>
                        <a:pt x="44" y="56"/>
                      </a:lnTo>
                      <a:close/>
                      <a:moveTo>
                        <a:pt x="52" y="60"/>
                      </a:moveTo>
                      <a:lnTo>
                        <a:pt x="56" y="64"/>
                      </a:lnTo>
                      <a:lnTo>
                        <a:pt x="56" y="68"/>
                      </a:lnTo>
                      <a:lnTo>
                        <a:pt x="60" y="68"/>
                      </a:lnTo>
                      <a:lnTo>
                        <a:pt x="60" y="72"/>
                      </a:lnTo>
                      <a:lnTo>
                        <a:pt x="60" y="68"/>
                      </a:lnTo>
                      <a:lnTo>
                        <a:pt x="56" y="68"/>
                      </a:lnTo>
                      <a:lnTo>
                        <a:pt x="56" y="64"/>
                      </a:lnTo>
                      <a:lnTo>
                        <a:pt x="52" y="60"/>
                      </a:lnTo>
                      <a:lnTo>
                        <a:pt x="52" y="60"/>
                      </a:lnTo>
                      <a:lnTo>
                        <a:pt x="52" y="60"/>
                      </a:lnTo>
                      <a:close/>
                      <a:moveTo>
                        <a:pt x="70" y="76"/>
                      </a:moveTo>
                      <a:lnTo>
                        <a:pt x="68" y="76"/>
                      </a:lnTo>
                      <a:lnTo>
                        <a:pt x="68" y="72"/>
                      </a:lnTo>
                      <a:lnTo>
                        <a:pt x="68" y="76"/>
                      </a:lnTo>
                      <a:lnTo>
                        <a:pt x="70" y="76"/>
                      </a:lnTo>
                      <a:lnTo>
                        <a:pt x="70" y="76"/>
                      </a:lnTo>
                      <a:lnTo>
                        <a:pt x="70" y="76"/>
                      </a:lnTo>
                      <a:close/>
                      <a:moveTo>
                        <a:pt x="68" y="86"/>
                      </a:moveTo>
                      <a:lnTo>
                        <a:pt x="68" y="82"/>
                      </a:lnTo>
                      <a:lnTo>
                        <a:pt x="70" y="82"/>
                      </a:lnTo>
                      <a:lnTo>
                        <a:pt x="70" y="80"/>
                      </a:lnTo>
                      <a:lnTo>
                        <a:pt x="74" y="80"/>
                      </a:lnTo>
                      <a:lnTo>
                        <a:pt x="70" y="80"/>
                      </a:lnTo>
                      <a:lnTo>
                        <a:pt x="70" y="76"/>
                      </a:lnTo>
                      <a:lnTo>
                        <a:pt x="74" y="76"/>
                      </a:lnTo>
                      <a:lnTo>
                        <a:pt x="74" y="80"/>
                      </a:lnTo>
                      <a:lnTo>
                        <a:pt x="70" y="82"/>
                      </a:lnTo>
                      <a:lnTo>
                        <a:pt x="68" y="82"/>
                      </a:lnTo>
                      <a:lnTo>
                        <a:pt x="68" y="86"/>
                      </a:lnTo>
                      <a:lnTo>
                        <a:pt x="68" y="86"/>
                      </a:lnTo>
                      <a:lnTo>
                        <a:pt x="68" y="86"/>
                      </a:lnTo>
                      <a:close/>
                      <a:moveTo>
                        <a:pt x="74" y="110"/>
                      </a:moveTo>
                      <a:lnTo>
                        <a:pt x="74" y="106"/>
                      </a:lnTo>
                      <a:lnTo>
                        <a:pt x="78" y="106"/>
                      </a:lnTo>
                      <a:lnTo>
                        <a:pt x="78" y="102"/>
                      </a:lnTo>
                      <a:lnTo>
                        <a:pt x="82" y="102"/>
                      </a:lnTo>
                      <a:lnTo>
                        <a:pt x="82" y="106"/>
                      </a:lnTo>
                      <a:lnTo>
                        <a:pt x="82" y="102"/>
                      </a:lnTo>
                      <a:lnTo>
                        <a:pt x="86" y="102"/>
                      </a:lnTo>
                      <a:lnTo>
                        <a:pt x="86" y="106"/>
                      </a:lnTo>
                      <a:lnTo>
                        <a:pt x="82" y="106"/>
                      </a:lnTo>
                      <a:lnTo>
                        <a:pt x="82" y="110"/>
                      </a:lnTo>
                      <a:lnTo>
                        <a:pt x="78" y="110"/>
                      </a:lnTo>
                      <a:lnTo>
                        <a:pt x="78" y="106"/>
                      </a:lnTo>
                      <a:lnTo>
                        <a:pt x="74" y="110"/>
                      </a:lnTo>
                      <a:lnTo>
                        <a:pt x="74" y="110"/>
                      </a:lnTo>
                      <a:lnTo>
                        <a:pt x="74" y="1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45" name="Freeform 85"/>
                <p:cNvSpPr>
                  <a:spLocks noEditPoints="1"/>
                </p:cNvSpPr>
                <p:nvPr/>
              </p:nvSpPr>
              <p:spPr bwMode="auto">
                <a:xfrm>
                  <a:off x="3003550" y="4248218"/>
                  <a:ext cx="28575" cy="34925"/>
                </a:xfrm>
                <a:custGeom>
                  <a:avLst/>
                  <a:gdLst>
                    <a:gd name="T0" fmla="*/ 14 w 18"/>
                    <a:gd name="T1" fmla="*/ 4 h 22"/>
                    <a:gd name="T2" fmla="*/ 14 w 18"/>
                    <a:gd name="T3" fmla="*/ 4 h 22"/>
                    <a:gd name="T4" fmla="*/ 18 w 18"/>
                    <a:gd name="T5" fmla="*/ 4 h 22"/>
                    <a:gd name="T6" fmla="*/ 18 w 18"/>
                    <a:gd name="T7" fmla="*/ 0 h 22"/>
                    <a:gd name="T8" fmla="*/ 18 w 18"/>
                    <a:gd name="T9" fmla="*/ 4 h 22"/>
                    <a:gd name="T10" fmla="*/ 18 w 18"/>
                    <a:gd name="T11" fmla="*/ 4 h 22"/>
                    <a:gd name="T12" fmla="*/ 18 w 18"/>
                    <a:gd name="T13" fmla="*/ 4 h 22"/>
                    <a:gd name="T14" fmla="*/ 14 w 18"/>
                    <a:gd name="T15" fmla="*/ 4 h 22"/>
                    <a:gd name="T16" fmla="*/ 14 w 18"/>
                    <a:gd name="T17" fmla="*/ 4 h 22"/>
                    <a:gd name="T18" fmla="*/ 12 w 18"/>
                    <a:gd name="T19" fmla="*/ 12 h 22"/>
                    <a:gd name="T20" fmla="*/ 14 w 18"/>
                    <a:gd name="T21" fmla="*/ 12 h 22"/>
                    <a:gd name="T22" fmla="*/ 14 w 18"/>
                    <a:gd name="T23" fmla="*/ 12 h 22"/>
                    <a:gd name="T24" fmla="*/ 14 w 18"/>
                    <a:gd name="T25" fmla="*/ 12 h 22"/>
                    <a:gd name="T26" fmla="*/ 12 w 18"/>
                    <a:gd name="T27" fmla="*/ 12 h 22"/>
                    <a:gd name="T28" fmla="*/ 12 w 18"/>
                    <a:gd name="T29" fmla="*/ 16 h 22"/>
                    <a:gd name="T30" fmla="*/ 14 w 18"/>
                    <a:gd name="T31" fmla="*/ 18 h 22"/>
                    <a:gd name="T32" fmla="*/ 12 w 18"/>
                    <a:gd name="T33" fmla="*/ 22 h 22"/>
                    <a:gd name="T34" fmla="*/ 12 w 18"/>
                    <a:gd name="T35" fmla="*/ 22 h 22"/>
                    <a:gd name="T36" fmla="*/ 8 w 18"/>
                    <a:gd name="T37" fmla="*/ 22 h 22"/>
                    <a:gd name="T38" fmla="*/ 4 w 18"/>
                    <a:gd name="T39" fmla="*/ 22 h 22"/>
                    <a:gd name="T40" fmla="*/ 0 w 18"/>
                    <a:gd name="T41" fmla="*/ 22 h 22"/>
                    <a:gd name="T42" fmla="*/ 0 w 18"/>
                    <a:gd name="T43" fmla="*/ 22 h 22"/>
                    <a:gd name="T44" fmla="*/ 0 w 18"/>
                    <a:gd name="T45" fmla="*/ 22 h 22"/>
                    <a:gd name="T46" fmla="*/ 0 w 18"/>
                    <a:gd name="T47" fmla="*/ 22 h 22"/>
                    <a:gd name="T48" fmla="*/ 8 w 18"/>
                    <a:gd name="T49" fmla="*/ 18 h 22"/>
                    <a:gd name="T50" fmla="*/ 8 w 18"/>
                    <a:gd name="T51" fmla="*/ 18 h 22"/>
                    <a:gd name="T52" fmla="*/ 8 w 18"/>
                    <a:gd name="T53" fmla="*/ 16 h 22"/>
                    <a:gd name="T54" fmla="*/ 4 w 18"/>
                    <a:gd name="T55" fmla="*/ 12 h 22"/>
                    <a:gd name="T56" fmla="*/ 4 w 18"/>
                    <a:gd name="T57" fmla="*/ 12 h 22"/>
                    <a:gd name="T58" fmla="*/ 4 w 18"/>
                    <a:gd name="T59" fmla="*/ 12 h 22"/>
                    <a:gd name="T60" fmla="*/ 8 w 18"/>
                    <a:gd name="T61" fmla="*/ 12 h 22"/>
                    <a:gd name="T62" fmla="*/ 8 w 18"/>
                    <a:gd name="T63" fmla="*/ 12 h 22"/>
                    <a:gd name="T64" fmla="*/ 12 w 18"/>
                    <a:gd name="T65" fmla="*/ 12 h 22"/>
                    <a:gd name="T66" fmla="*/ 12 w 18"/>
                    <a:gd name="T67" fmla="*/ 12 h 22"/>
                    <a:gd name="T68" fmla="*/ 12 w 18"/>
                    <a:gd name="T69" fmla="*/ 12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8" h="22">
                      <a:moveTo>
                        <a:pt x="14" y="4"/>
                      </a:move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close/>
                      <a:moveTo>
                        <a:pt x="12" y="12"/>
                      </a:move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2" y="16"/>
                      </a:lnTo>
                      <a:lnTo>
                        <a:pt x="12" y="18"/>
                      </a:lnTo>
                      <a:lnTo>
                        <a:pt x="14" y="18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4" y="22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8" y="12"/>
                      </a:lnTo>
                      <a:lnTo>
                        <a:pt x="8" y="12"/>
                      </a:lnTo>
                      <a:lnTo>
                        <a:pt x="8" y="12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2" y="1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46" name="Freeform 86"/>
                <p:cNvSpPr>
                  <a:spLocks noEditPoints="1"/>
                </p:cNvSpPr>
                <p:nvPr/>
              </p:nvSpPr>
              <p:spPr bwMode="auto">
                <a:xfrm>
                  <a:off x="2781300" y="3959293"/>
                  <a:ext cx="15875" cy="12700"/>
                </a:xfrm>
                <a:custGeom>
                  <a:avLst/>
                  <a:gdLst>
                    <a:gd name="T0" fmla="*/ 10 w 10"/>
                    <a:gd name="T1" fmla="*/ 8 h 8"/>
                    <a:gd name="T2" fmla="*/ 10 w 10"/>
                    <a:gd name="T3" fmla="*/ 8 h 8"/>
                    <a:gd name="T4" fmla="*/ 10 w 10"/>
                    <a:gd name="T5" fmla="*/ 8 h 8"/>
                    <a:gd name="T6" fmla="*/ 10 w 10"/>
                    <a:gd name="T7" fmla="*/ 8 h 8"/>
                    <a:gd name="T8" fmla="*/ 10 w 10"/>
                    <a:gd name="T9" fmla="*/ 8 h 8"/>
                    <a:gd name="T10" fmla="*/ 10 w 10"/>
                    <a:gd name="T11" fmla="*/ 8 h 8"/>
                    <a:gd name="T12" fmla="*/ 10 w 10"/>
                    <a:gd name="T13" fmla="*/ 8 h 8"/>
                    <a:gd name="T14" fmla="*/ 0 w 10"/>
                    <a:gd name="T15" fmla="*/ 0 h 8"/>
                    <a:gd name="T16" fmla="*/ 0 w 10"/>
                    <a:gd name="T17" fmla="*/ 0 h 8"/>
                    <a:gd name="T18" fmla="*/ 0 w 10"/>
                    <a:gd name="T19" fmla="*/ 0 h 8"/>
                    <a:gd name="T20" fmla="*/ 0 w 10"/>
                    <a:gd name="T21" fmla="*/ 0 h 8"/>
                    <a:gd name="T22" fmla="*/ 0 w 10"/>
                    <a:gd name="T23" fmla="*/ 0 h 8"/>
                    <a:gd name="T24" fmla="*/ 0 w 10"/>
                    <a:gd name="T25" fmla="*/ 0 h 8"/>
                    <a:gd name="T26" fmla="*/ 0 w 10"/>
                    <a:gd name="T27" fmla="*/ 0 h 8"/>
                    <a:gd name="T28" fmla="*/ 0 w 10"/>
                    <a:gd name="T29" fmla="*/ 0 h 8"/>
                    <a:gd name="T30" fmla="*/ 0 w 10"/>
                    <a:gd name="T31" fmla="*/ 0 h 8"/>
                    <a:gd name="T32" fmla="*/ 0 w 10"/>
                    <a:gd name="T33" fmla="*/ 0 h 8"/>
                    <a:gd name="T34" fmla="*/ 0 w 10"/>
                    <a:gd name="T35" fmla="*/ 0 h 8"/>
                    <a:gd name="T36" fmla="*/ 0 w 10"/>
                    <a:gd name="T37" fmla="*/ 0 h 8"/>
                    <a:gd name="T38" fmla="*/ 0 w 10"/>
                    <a:gd name="T39" fmla="*/ 0 h 8"/>
                    <a:gd name="T40" fmla="*/ 0 w 10"/>
                    <a:gd name="T41" fmla="*/ 0 h 8"/>
                    <a:gd name="T42" fmla="*/ 0 w 10"/>
                    <a:gd name="T43" fmla="*/ 0 h 8"/>
                    <a:gd name="T44" fmla="*/ 2 w 10"/>
                    <a:gd name="T45" fmla="*/ 4 h 8"/>
                    <a:gd name="T46" fmla="*/ 2 w 10"/>
                    <a:gd name="T47" fmla="*/ 4 h 8"/>
                    <a:gd name="T48" fmla="*/ 2 w 10"/>
                    <a:gd name="T49" fmla="*/ 4 h 8"/>
                    <a:gd name="T50" fmla="*/ 2 w 10"/>
                    <a:gd name="T51" fmla="*/ 0 h 8"/>
                    <a:gd name="T52" fmla="*/ 2 w 10"/>
                    <a:gd name="T53" fmla="*/ 0 h 8"/>
                    <a:gd name="T54" fmla="*/ 2 w 10"/>
                    <a:gd name="T55" fmla="*/ 0 h 8"/>
                    <a:gd name="T56" fmla="*/ 2 w 10"/>
                    <a:gd name="T57" fmla="*/ 0 h 8"/>
                    <a:gd name="T58" fmla="*/ 0 w 10"/>
                    <a:gd name="T59" fmla="*/ 4 h 8"/>
                    <a:gd name="T60" fmla="*/ 0 w 10"/>
                    <a:gd name="T61" fmla="*/ 4 h 8"/>
                    <a:gd name="T62" fmla="*/ 0 w 10"/>
                    <a:gd name="T63" fmla="*/ 0 h 8"/>
                    <a:gd name="T64" fmla="*/ 0 w 10"/>
                    <a:gd name="T65" fmla="*/ 0 h 8"/>
                    <a:gd name="T66" fmla="*/ 0 w 10"/>
                    <a:gd name="T67" fmla="*/ 0 h 8"/>
                    <a:gd name="T68" fmla="*/ 2 w 10"/>
                    <a:gd name="T69" fmla="*/ 0 h 8"/>
                    <a:gd name="T70" fmla="*/ 2 w 10"/>
                    <a:gd name="T71" fmla="*/ 0 h 8"/>
                    <a:gd name="T72" fmla="*/ 2 w 10"/>
                    <a:gd name="T73" fmla="*/ 0 h 8"/>
                    <a:gd name="T74" fmla="*/ 2 w 10"/>
                    <a:gd name="T75" fmla="*/ 0 h 8"/>
                    <a:gd name="T76" fmla="*/ 2 w 10"/>
                    <a:gd name="T77" fmla="*/ 4 h 8"/>
                    <a:gd name="T78" fmla="*/ 2 w 10"/>
                    <a:gd name="T79" fmla="*/ 4 h 8"/>
                    <a:gd name="T80" fmla="*/ 2 w 10"/>
                    <a:gd name="T81" fmla="*/ 4 h 8"/>
                    <a:gd name="T82" fmla="*/ 2 w 10"/>
                    <a:gd name="T83" fmla="*/ 4 h 8"/>
                    <a:gd name="T84" fmla="*/ 2 w 10"/>
                    <a:gd name="T85" fmla="*/ 4 h 8"/>
                    <a:gd name="T86" fmla="*/ 2 w 10"/>
                    <a:gd name="T87" fmla="*/ 4 h 8"/>
                    <a:gd name="T88" fmla="*/ 2 w 10"/>
                    <a:gd name="T89" fmla="*/ 4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0" h="8">
                      <a:moveTo>
                        <a:pt x="10" y="8"/>
                      </a:move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close/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  <a:moveTo>
                        <a:pt x="2" y="4"/>
                      </a:move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47" name="Freeform 87"/>
                <p:cNvSpPr>
                  <a:spLocks/>
                </p:cNvSpPr>
                <p:nvPr/>
              </p:nvSpPr>
              <p:spPr bwMode="auto">
                <a:xfrm>
                  <a:off x="4826000" y="3349693"/>
                  <a:ext cx="41275" cy="88900"/>
                </a:xfrm>
                <a:custGeom>
                  <a:avLst/>
                  <a:gdLst>
                    <a:gd name="T0" fmla="*/ 4 w 26"/>
                    <a:gd name="T1" fmla="*/ 14 h 56"/>
                    <a:gd name="T2" fmla="*/ 4 w 26"/>
                    <a:gd name="T3" fmla="*/ 14 h 56"/>
                    <a:gd name="T4" fmla="*/ 4 w 26"/>
                    <a:gd name="T5" fmla="*/ 14 h 56"/>
                    <a:gd name="T6" fmla="*/ 4 w 26"/>
                    <a:gd name="T7" fmla="*/ 10 h 56"/>
                    <a:gd name="T8" fmla="*/ 0 w 26"/>
                    <a:gd name="T9" fmla="*/ 6 h 56"/>
                    <a:gd name="T10" fmla="*/ 4 w 26"/>
                    <a:gd name="T11" fmla="*/ 0 h 56"/>
                    <a:gd name="T12" fmla="*/ 8 w 26"/>
                    <a:gd name="T13" fmla="*/ 0 h 56"/>
                    <a:gd name="T14" fmla="*/ 8 w 26"/>
                    <a:gd name="T15" fmla="*/ 0 h 56"/>
                    <a:gd name="T16" fmla="*/ 8 w 26"/>
                    <a:gd name="T17" fmla="*/ 0 h 56"/>
                    <a:gd name="T18" fmla="*/ 12 w 26"/>
                    <a:gd name="T19" fmla="*/ 0 h 56"/>
                    <a:gd name="T20" fmla="*/ 16 w 26"/>
                    <a:gd name="T21" fmla="*/ 0 h 56"/>
                    <a:gd name="T22" fmla="*/ 16 w 26"/>
                    <a:gd name="T23" fmla="*/ 2 h 56"/>
                    <a:gd name="T24" fmla="*/ 18 w 26"/>
                    <a:gd name="T25" fmla="*/ 6 h 56"/>
                    <a:gd name="T26" fmla="*/ 18 w 26"/>
                    <a:gd name="T27" fmla="*/ 10 h 56"/>
                    <a:gd name="T28" fmla="*/ 18 w 26"/>
                    <a:gd name="T29" fmla="*/ 10 h 56"/>
                    <a:gd name="T30" fmla="*/ 18 w 26"/>
                    <a:gd name="T31" fmla="*/ 14 h 56"/>
                    <a:gd name="T32" fmla="*/ 18 w 26"/>
                    <a:gd name="T33" fmla="*/ 18 h 56"/>
                    <a:gd name="T34" fmla="*/ 18 w 26"/>
                    <a:gd name="T35" fmla="*/ 22 h 56"/>
                    <a:gd name="T36" fmla="*/ 18 w 26"/>
                    <a:gd name="T37" fmla="*/ 22 h 56"/>
                    <a:gd name="T38" fmla="*/ 18 w 26"/>
                    <a:gd name="T39" fmla="*/ 26 h 56"/>
                    <a:gd name="T40" fmla="*/ 18 w 26"/>
                    <a:gd name="T41" fmla="*/ 30 h 56"/>
                    <a:gd name="T42" fmla="*/ 22 w 26"/>
                    <a:gd name="T43" fmla="*/ 32 h 56"/>
                    <a:gd name="T44" fmla="*/ 26 w 26"/>
                    <a:gd name="T45" fmla="*/ 32 h 56"/>
                    <a:gd name="T46" fmla="*/ 26 w 26"/>
                    <a:gd name="T47" fmla="*/ 32 h 56"/>
                    <a:gd name="T48" fmla="*/ 26 w 26"/>
                    <a:gd name="T49" fmla="*/ 36 h 56"/>
                    <a:gd name="T50" fmla="*/ 22 w 26"/>
                    <a:gd name="T51" fmla="*/ 40 h 56"/>
                    <a:gd name="T52" fmla="*/ 22 w 26"/>
                    <a:gd name="T53" fmla="*/ 40 h 56"/>
                    <a:gd name="T54" fmla="*/ 22 w 26"/>
                    <a:gd name="T55" fmla="*/ 44 h 56"/>
                    <a:gd name="T56" fmla="*/ 18 w 26"/>
                    <a:gd name="T57" fmla="*/ 48 h 56"/>
                    <a:gd name="T58" fmla="*/ 18 w 26"/>
                    <a:gd name="T59" fmla="*/ 48 h 56"/>
                    <a:gd name="T60" fmla="*/ 18 w 26"/>
                    <a:gd name="T61" fmla="*/ 48 h 56"/>
                    <a:gd name="T62" fmla="*/ 16 w 26"/>
                    <a:gd name="T63" fmla="*/ 52 h 56"/>
                    <a:gd name="T64" fmla="*/ 16 w 26"/>
                    <a:gd name="T65" fmla="*/ 52 h 56"/>
                    <a:gd name="T66" fmla="*/ 16 w 26"/>
                    <a:gd name="T67" fmla="*/ 52 h 56"/>
                    <a:gd name="T68" fmla="*/ 16 w 26"/>
                    <a:gd name="T69" fmla="*/ 56 h 56"/>
                    <a:gd name="T70" fmla="*/ 16 w 26"/>
                    <a:gd name="T71" fmla="*/ 56 h 56"/>
                    <a:gd name="T72" fmla="*/ 12 w 26"/>
                    <a:gd name="T73" fmla="*/ 56 h 56"/>
                    <a:gd name="T74" fmla="*/ 12 w 26"/>
                    <a:gd name="T75" fmla="*/ 56 h 56"/>
                    <a:gd name="T76" fmla="*/ 8 w 26"/>
                    <a:gd name="T77" fmla="*/ 48 h 56"/>
                    <a:gd name="T78" fmla="*/ 8 w 26"/>
                    <a:gd name="T79" fmla="*/ 48 h 56"/>
                    <a:gd name="T80" fmla="*/ 4 w 26"/>
                    <a:gd name="T81" fmla="*/ 44 h 56"/>
                    <a:gd name="T82" fmla="*/ 0 w 26"/>
                    <a:gd name="T83" fmla="*/ 40 h 56"/>
                    <a:gd name="T84" fmla="*/ 4 w 26"/>
                    <a:gd name="T85" fmla="*/ 40 h 56"/>
                    <a:gd name="T86" fmla="*/ 4 w 26"/>
                    <a:gd name="T87" fmla="*/ 44 h 56"/>
                    <a:gd name="T88" fmla="*/ 4 w 26"/>
                    <a:gd name="T89" fmla="*/ 40 h 56"/>
                    <a:gd name="T90" fmla="*/ 4 w 26"/>
                    <a:gd name="T91" fmla="*/ 36 h 56"/>
                    <a:gd name="T92" fmla="*/ 0 w 26"/>
                    <a:gd name="T93" fmla="*/ 36 h 56"/>
                    <a:gd name="T94" fmla="*/ 4 w 26"/>
                    <a:gd name="T95" fmla="*/ 32 h 56"/>
                    <a:gd name="T96" fmla="*/ 4 w 26"/>
                    <a:gd name="T97" fmla="*/ 32 h 56"/>
                    <a:gd name="T98" fmla="*/ 4 w 26"/>
                    <a:gd name="T99" fmla="*/ 30 h 56"/>
                    <a:gd name="T100" fmla="*/ 4 w 26"/>
                    <a:gd name="T101" fmla="*/ 26 h 56"/>
                    <a:gd name="T102" fmla="*/ 4 w 26"/>
                    <a:gd name="T103" fmla="*/ 26 h 56"/>
                    <a:gd name="T104" fmla="*/ 4 w 26"/>
                    <a:gd name="T105" fmla="*/ 18 h 56"/>
                    <a:gd name="T106" fmla="*/ 4 w 26"/>
                    <a:gd name="T107" fmla="*/ 18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6" h="56">
                      <a:moveTo>
                        <a:pt x="4" y="18"/>
                      </a:moveTo>
                      <a:lnTo>
                        <a:pt x="4" y="18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4" y="10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2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6" y="0"/>
                      </a:ln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18" y="10"/>
                      </a:lnTo>
                      <a:lnTo>
                        <a:pt x="18" y="10"/>
                      </a:lnTo>
                      <a:lnTo>
                        <a:pt x="18" y="10"/>
                      </a:lnTo>
                      <a:lnTo>
                        <a:pt x="18" y="10"/>
                      </a:lnTo>
                      <a:lnTo>
                        <a:pt x="18" y="14"/>
                      </a:lnTo>
                      <a:lnTo>
                        <a:pt x="18" y="14"/>
                      </a:lnTo>
                      <a:lnTo>
                        <a:pt x="18" y="14"/>
                      </a:lnTo>
                      <a:lnTo>
                        <a:pt x="18" y="14"/>
                      </a:lnTo>
                      <a:lnTo>
                        <a:pt x="18" y="18"/>
                      </a:lnTo>
                      <a:lnTo>
                        <a:pt x="18" y="18"/>
                      </a:lnTo>
                      <a:lnTo>
                        <a:pt x="18" y="22"/>
                      </a:lnTo>
                      <a:lnTo>
                        <a:pt x="18" y="22"/>
                      </a:lnTo>
                      <a:lnTo>
                        <a:pt x="18" y="22"/>
                      </a:lnTo>
                      <a:lnTo>
                        <a:pt x="18" y="22"/>
                      </a:lnTo>
                      <a:lnTo>
                        <a:pt x="18" y="22"/>
                      </a:lnTo>
                      <a:lnTo>
                        <a:pt x="18" y="22"/>
                      </a:lnTo>
                      <a:lnTo>
                        <a:pt x="18" y="22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22" y="32"/>
                      </a:lnTo>
                      <a:lnTo>
                        <a:pt x="22" y="32"/>
                      </a:lnTo>
                      <a:lnTo>
                        <a:pt x="22" y="32"/>
                      </a:lnTo>
                      <a:lnTo>
                        <a:pt x="22" y="32"/>
                      </a:lnTo>
                      <a:lnTo>
                        <a:pt x="22" y="32"/>
                      </a:lnTo>
                      <a:lnTo>
                        <a:pt x="26" y="32"/>
                      </a:lnTo>
                      <a:lnTo>
                        <a:pt x="26" y="32"/>
                      </a:lnTo>
                      <a:lnTo>
                        <a:pt x="26" y="32"/>
                      </a:lnTo>
                      <a:lnTo>
                        <a:pt x="26" y="32"/>
                      </a:lnTo>
                      <a:lnTo>
                        <a:pt x="26" y="36"/>
                      </a:lnTo>
                      <a:lnTo>
                        <a:pt x="26" y="36"/>
                      </a:lnTo>
                      <a:lnTo>
                        <a:pt x="26" y="36"/>
                      </a:lnTo>
                      <a:lnTo>
                        <a:pt x="26" y="40"/>
                      </a:lnTo>
                      <a:lnTo>
                        <a:pt x="26" y="40"/>
                      </a:lnTo>
                      <a:lnTo>
                        <a:pt x="22" y="40"/>
                      </a:lnTo>
                      <a:lnTo>
                        <a:pt x="22" y="40"/>
                      </a:lnTo>
                      <a:lnTo>
                        <a:pt x="22" y="40"/>
                      </a:lnTo>
                      <a:lnTo>
                        <a:pt x="22" y="40"/>
                      </a:lnTo>
                      <a:lnTo>
                        <a:pt x="22" y="44"/>
                      </a:lnTo>
                      <a:lnTo>
                        <a:pt x="22" y="44"/>
                      </a:lnTo>
                      <a:lnTo>
                        <a:pt x="22" y="44"/>
                      </a:lnTo>
                      <a:lnTo>
                        <a:pt x="22" y="44"/>
                      </a:lnTo>
                      <a:lnTo>
                        <a:pt x="18" y="48"/>
                      </a:lnTo>
                      <a:lnTo>
                        <a:pt x="18" y="48"/>
                      </a:lnTo>
                      <a:lnTo>
                        <a:pt x="18" y="48"/>
                      </a:lnTo>
                      <a:lnTo>
                        <a:pt x="18" y="48"/>
                      </a:lnTo>
                      <a:lnTo>
                        <a:pt x="18" y="48"/>
                      </a:lnTo>
                      <a:lnTo>
                        <a:pt x="18" y="48"/>
                      </a:lnTo>
                      <a:lnTo>
                        <a:pt x="18" y="48"/>
                      </a:lnTo>
                      <a:lnTo>
                        <a:pt x="18" y="48"/>
                      </a:lnTo>
                      <a:lnTo>
                        <a:pt x="18" y="48"/>
                      </a:lnTo>
                      <a:lnTo>
                        <a:pt x="16" y="48"/>
                      </a:lnTo>
                      <a:lnTo>
                        <a:pt x="16" y="52"/>
                      </a:lnTo>
                      <a:lnTo>
                        <a:pt x="16" y="52"/>
                      </a:lnTo>
                      <a:lnTo>
                        <a:pt x="16" y="52"/>
                      </a:lnTo>
                      <a:lnTo>
                        <a:pt x="16" y="52"/>
                      </a:lnTo>
                      <a:lnTo>
                        <a:pt x="16" y="52"/>
                      </a:lnTo>
                      <a:lnTo>
                        <a:pt x="16" y="56"/>
                      </a:lnTo>
                      <a:lnTo>
                        <a:pt x="16" y="52"/>
                      </a:lnTo>
                      <a:lnTo>
                        <a:pt x="16" y="52"/>
                      </a:lnTo>
                      <a:lnTo>
                        <a:pt x="16" y="56"/>
                      </a:lnTo>
                      <a:lnTo>
                        <a:pt x="16" y="56"/>
                      </a:lnTo>
                      <a:lnTo>
                        <a:pt x="16" y="56"/>
                      </a:lnTo>
                      <a:lnTo>
                        <a:pt x="16" y="56"/>
                      </a:lnTo>
                      <a:lnTo>
                        <a:pt x="16" y="56"/>
                      </a:lnTo>
                      <a:lnTo>
                        <a:pt x="12" y="56"/>
                      </a:lnTo>
                      <a:lnTo>
                        <a:pt x="12" y="56"/>
                      </a:lnTo>
                      <a:lnTo>
                        <a:pt x="12" y="56"/>
                      </a:lnTo>
                      <a:lnTo>
                        <a:pt x="12" y="56"/>
                      </a:lnTo>
                      <a:lnTo>
                        <a:pt x="12" y="56"/>
                      </a:lnTo>
                      <a:lnTo>
                        <a:pt x="12" y="56"/>
                      </a:lnTo>
                      <a:lnTo>
                        <a:pt x="12" y="52"/>
                      </a:lnTo>
                      <a:lnTo>
                        <a:pt x="12" y="52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4" y="48"/>
                      </a:lnTo>
                      <a:lnTo>
                        <a:pt x="4" y="44"/>
                      </a:lnTo>
                      <a:lnTo>
                        <a:pt x="4" y="44"/>
                      </a:lnTo>
                      <a:lnTo>
                        <a:pt x="4" y="44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4" y="40"/>
                      </a:lnTo>
                      <a:lnTo>
                        <a:pt x="4" y="44"/>
                      </a:lnTo>
                      <a:lnTo>
                        <a:pt x="4" y="44"/>
                      </a:lnTo>
                      <a:lnTo>
                        <a:pt x="4" y="44"/>
                      </a:lnTo>
                      <a:lnTo>
                        <a:pt x="4" y="44"/>
                      </a:lnTo>
                      <a:lnTo>
                        <a:pt x="4" y="44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4" y="36"/>
                      </a:lnTo>
                      <a:lnTo>
                        <a:pt x="4" y="36"/>
                      </a:lnTo>
                      <a:lnTo>
                        <a:pt x="0" y="36"/>
                      </a:lnTo>
                      <a:lnTo>
                        <a:pt x="0" y="36"/>
                      </a:lnTo>
                      <a:lnTo>
                        <a:pt x="0" y="36"/>
                      </a:lnTo>
                      <a:lnTo>
                        <a:pt x="4" y="32"/>
                      </a:lnTo>
                      <a:lnTo>
                        <a:pt x="4" y="32"/>
                      </a:lnTo>
                      <a:lnTo>
                        <a:pt x="4" y="32"/>
                      </a:lnTo>
                      <a:lnTo>
                        <a:pt x="4" y="32"/>
                      </a:lnTo>
                      <a:lnTo>
                        <a:pt x="4" y="32"/>
                      </a:lnTo>
                      <a:lnTo>
                        <a:pt x="4" y="32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2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48" name="Freeform 88"/>
                <p:cNvSpPr>
                  <a:spLocks/>
                </p:cNvSpPr>
                <p:nvPr/>
              </p:nvSpPr>
              <p:spPr bwMode="auto">
                <a:xfrm>
                  <a:off x="4422775" y="3349693"/>
                  <a:ext cx="12700" cy="3175"/>
                </a:xfrm>
                <a:custGeom>
                  <a:avLst/>
                  <a:gdLst>
                    <a:gd name="T0" fmla="*/ 0 w 8"/>
                    <a:gd name="T1" fmla="*/ 0 h 2"/>
                    <a:gd name="T2" fmla="*/ 4 w 8"/>
                    <a:gd name="T3" fmla="*/ 0 h 2"/>
                    <a:gd name="T4" fmla="*/ 4 w 8"/>
                    <a:gd name="T5" fmla="*/ 0 h 2"/>
                    <a:gd name="T6" fmla="*/ 4 w 8"/>
                    <a:gd name="T7" fmla="*/ 0 h 2"/>
                    <a:gd name="T8" fmla="*/ 8 w 8"/>
                    <a:gd name="T9" fmla="*/ 0 h 2"/>
                    <a:gd name="T10" fmla="*/ 8 w 8"/>
                    <a:gd name="T11" fmla="*/ 0 h 2"/>
                    <a:gd name="T12" fmla="*/ 8 w 8"/>
                    <a:gd name="T13" fmla="*/ 0 h 2"/>
                    <a:gd name="T14" fmla="*/ 8 w 8"/>
                    <a:gd name="T15" fmla="*/ 0 h 2"/>
                    <a:gd name="T16" fmla="*/ 8 w 8"/>
                    <a:gd name="T17" fmla="*/ 0 h 2"/>
                    <a:gd name="T18" fmla="*/ 8 w 8"/>
                    <a:gd name="T19" fmla="*/ 0 h 2"/>
                    <a:gd name="T20" fmla="*/ 8 w 8"/>
                    <a:gd name="T21" fmla="*/ 0 h 2"/>
                    <a:gd name="T22" fmla="*/ 4 w 8"/>
                    <a:gd name="T23" fmla="*/ 2 h 2"/>
                    <a:gd name="T24" fmla="*/ 4 w 8"/>
                    <a:gd name="T25" fmla="*/ 2 h 2"/>
                    <a:gd name="T26" fmla="*/ 4 w 8"/>
                    <a:gd name="T27" fmla="*/ 2 h 2"/>
                    <a:gd name="T28" fmla="*/ 4 w 8"/>
                    <a:gd name="T29" fmla="*/ 2 h 2"/>
                    <a:gd name="T30" fmla="*/ 0 w 8"/>
                    <a:gd name="T31" fmla="*/ 0 h 2"/>
                    <a:gd name="T32" fmla="*/ 0 w 8"/>
                    <a:gd name="T33" fmla="*/ 0 h 2"/>
                    <a:gd name="T34" fmla="*/ 0 w 8"/>
                    <a:gd name="T35" fmla="*/ 0 h 2"/>
                    <a:gd name="T36" fmla="*/ 0 w 8"/>
                    <a:gd name="T37" fmla="*/ 0 h 2"/>
                    <a:gd name="T38" fmla="*/ 0 w 8"/>
                    <a:gd name="T39" fmla="*/ 0 h 2"/>
                    <a:gd name="T40" fmla="*/ 0 w 8"/>
                    <a:gd name="T4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8" h="2">
                      <a:moveTo>
                        <a:pt x="0" y="0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49" name="Freeform 89"/>
                <p:cNvSpPr>
                  <a:spLocks/>
                </p:cNvSpPr>
                <p:nvPr/>
              </p:nvSpPr>
              <p:spPr bwMode="auto">
                <a:xfrm>
                  <a:off x="4606925" y="3143318"/>
                  <a:ext cx="171450" cy="82550"/>
                </a:xfrm>
                <a:custGeom>
                  <a:avLst/>
                  <a:gdLst>
                    <a:gd name="T0" fmla="*/ 12 w 108"/>
                    <a:gd name="T1" fmla="*/ 40 h 52"/>
                    <a:gd name="T2" fmla="*/ 8 w 108"/>
                    <a:gd name="T3" fmla="*/ 44 h 52"/>
                    <a:gd name="T4" fmla="*/ 4 w 108"/>
                    <a:gd name="T5" fmla="*/ 40 h 52"/>
                    <a:gd name="T6" fmla="*/ 4 w 108"/>
                    <a:gd name="T7" fmla="*/ 40 h 52"/>
                    <a:gd name="T8" fmla="*/ 4 w 108"/>
                    <a:gd name="T9" fmla="*/ 34 h 52"/>
                    <a:gd name="T10" fmla="*/ 0 w 108"/>
                    <a:gd name="T11" fmla="*/ 30 h 52"/>
                    <a:gd name="T12" fmla="*/ 4 w 108"/>
                    <a:gd name="T13" fmla="*/ 30 h 52"/>
                    <a:gd name="T14" fmla="*/ 12 w 108"/>
                    <a:gd name="T15" fmla="*/ 38 h 52"/>
                    <a:gd name="T16" fmla="*/ 14 w 108"/>
                    <a:gd name="T17" fmla="*/ 34 h 52"/>
                    <a:gd name="T18" fmla="*/ 18 w 108"/>
                    <a:gd name="T19" fmla="*/ 30 h 52"/>
                    <a:gd name="T20" fmla="*/ 26 w 108"/>
                    <a:gd name="T21" fmla="*/ 30 h 52"/>
                    <a:gd name="T22" fmla="*/ 38 w 108"/>
                    <a:gd name="T23" fmla="*/ 30 h 52"/>
                    <a:gd name="T24" fmla="*/ 38 w 108"/>
                    <a:gd name="T25" fmla="*/ 30 h 52"/>
                    <a:gd name="T26" fmla="*/ 44 w 108"/>
                    <a:gd name="T27" fmla="*/ 30 h 52"/>
                    <a:gd name="T28" fmla="*/ 48 w 108"/>
                    <a:gd name="T29" fmla="*/ 34 h 52"/>
                    <a:gd name="T30" fmla="*/ 48 w 108"/>
                    <a:gd name="T31" fmla="*/ 26 h 52"/>
                    <a:gd name="T32" fmla="*/ 48 w 108"/>
                    <a:gd name="T33" fmla="*/ 22 h 52"/>
                    <a:gd name="T34" fmla="*/ 44 w 108"/>
                    <a:gd name="T35" fmla="*/ 18 h 52"/>
                    <a:gd name="T36" fmla="*/ 52 w 108"/>
                    <a:gd name="T37" fmla="*/ 14 h 52"/>
                    <a:gd name="T38" fmla="*/ 56 w 108"/>
                    <a:gd name="T39" fmla="*/ 10 h 52"/>
                    <a:gd name="T40" fmla="*/ 60 w 108"/>
                    <a:gd name="T41" fmla="*/ 10 h 52"/>
                    <a:gd name="T42" fmla="*/ 64 w 108"/>
                    <a:gd name="T43" fmla="*/ 6 h 52"/>
                    <a:gd name="T44" fmla="*/ 70 w 108"/>
                    <a:gd name="T45" fmla="*/ 6 h 52"/>
                    <a:gd name="T46" fmla="*/ 74 w 108"/>
                    <a:gd name="T47" fmla="*/ 6 h 52"/>
                    <a:gd name="T48" fmla="*/ 78 w 108"/>
                    <a:gd name="T49" fmla="*/ 4 h 52"/>
                    <a:gd name="T50" fmla="*/ 82 w 108"/>
                    <a:gd name="T51" fmla="*/ 0 h 52"/>
                    <a:gd name="T52" fmla="*/ 86 w 108"/>
                    <a:gd name="T53" fmla="*/ 4 h 52"/>
                    <a:gd name="T54" fmla="*/ 92 w 108"/>
                    <a:gd name="T55" fmla="*/ 4 h 52"/>
                    <a:gd name="T56" fmla="*/ 96 w 108"/>
                    <a:gd name="T57" fmla="*/ 6 h 52"/>
                    <a:gd name="T58" fmla="*/ 100 w 108"/>
                    <a:gd name="T59" fmla="*/ 6 h 52"/>
                    <a:gd name="T60" fmla="*/ 104 w 108"/>
                    <a:gd name="T61" fmla="*/ 6 h 52"/>
                    <a:gd name="T62" fmla="*/ 104 w 108"/>
                    <a:gd name="T63" fmla="*/ 14 h 52"/>
                    <a:gd name="T64" fmla="*/ 108 w 108"/>
                    <a:gd name="T65" fmla="*/ 18 h 52"/>
                    <a:gd name="T66" fmla="*/ 108 w 108"/>
                    <a:gd name="T67" fmla="*/ 22 h 52"/>
                    <a:gd name="T68" fmla="*/ 108 w 108"/>
                    <a:gd name="T69" fmla="*/ 26 h 52"/>
                    <a:gd name="T70" fmla="*/ 100 w 108"/>
                    <a:gd name="T71" fmla="*/ 26 h 52"/>
                    <a:gd name="T72" fmla="*/ 100 w 108"/>
                    <a:gd name="T73" fmla="*/ 30 h 52"/>
                    <a:gd name="T74" fmla="*/ 100 w 108"/>
                    <a:gd name="T75" fmla="*/ 34 h 52"/>
                    <a:gd name="T76" fmla="*/ 100 w 108"/>
                    <a:gd name="T77" fmla="*/ 38 h 52"/>
                    <a:gd name="T78" fmla="*/ 96 w 108"/>
                    <a:gd name="T79" fmla="*/ 40 h 52"/>
                    <a:gd name="T80" fmla="*/ 92 w 108"/>
                    <a:gd name="T81" fmla="*/ 44 h 52"/>
                    <a:gd name="T82" fmla="*/ 90 w 108"/>
                    <a:gd name="T83" fmla="*/ 48 h 52"/>
                    <a:gd name="T84" fmla="*/ 78 w 108"/>
                    <a:gd name="T85" fmla="*/ 48 h 52"/>
                    <a:gd name="T86" fmla="*/ 70 w 108"/>
                    <a:gd name="T87" fmla="*/ 52 h 52"/>
                    <a:gd name="T88" fmla="*/ 64 w 108"/>
                    <a:gd name="T89" fmla="*/ 52 h 52"/>
                    <a:gd name="T90" fmla="*/ 56 w 108"/>
                    <a:gd name="T91" fmla="*/ 52 h 52"/>
                    <a:gd name="T92" fmla="*/ 44 w 108"/>
                    <a:gd name="T93" fmla="*/ 48 h 52"/>
                    <a:gd name="T94" fmla="*/ 40 w 108"/>
                    <a:gd name="T95" fmla="*/ 48 h 52"/>
                    <a:gd name="T96" fmla="*/ 38 w 108"/>
                    <a:gd name="T97" fmla="*/ 40 h 52"/>
                    <a:gd name="T98" fmla="*/ 38 w 108"/>
                    <a:gd name="T99" fmla="*/ 40 h 52"/>
                    <a:gd name="T100" fmla="*/ 30 w 108"/>
                    <a:gd name="T101" fmla="*/ 40 h 52"/>
                    <a:gd name="T102" fmla="*/ 22 w 108"/>
                    <a:gd name="T103" fmla="*/ 44 h 52"/>
                    <a:gd name="T104" fmla="*/ 18 w 108"/>
                    <a:gd name="T105" fmla="*/ 44 h 52"/>
                    <a:gd name="T106" fmla="*/ 14 w 108"/>
                    <a:gd name="T107" fmla="*/ 44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08" h="52">
                      <a:moveTo>
                        <a:pt x="14" y="44"/>
                      </a:moveTo>
                      <a:lnTo>
                        <a:pt x="14" y="44"/>
                      </a:lnTo>
                      <a:lnTo>
                        <a:pt x="14" y="40"/>
                      </a:lnTo>
                      <a:lnTo>
                        <a:pt x="12" y="40"/>
                      </a:lnTo>
                      <a:lnTo>
                        <a:pt x="12" y="40"/>
                      </a:lnTo>
                      <a:lnTo>
                        <a:pt x="12" y="40"/>
                      </a:lnTo>
                      <a:lnTo>
                        <a:pt x="12" y="44"/>
                      </a:lnTo>
                      <a:lnTo>
                        <a:pt x="12" y="44"/>
                      </a:lnTo>
                      <a:lnTo>
                        <a:pt x="12" y="44"/>
                      </a:lnTo>
                      <a:lnTo>
                        <a:pt x="8" y="44"/>
                      </a:lnTo>
                      <a:lnTo>
                        <a:pt x="8" y="44"/>
                      </a:lnTo>
                      <a:lnTo>
                        <a:pt x="8" y="44"/>
                      </a:lnTo>
                      <a:lnTo>
                        <a:pt x="8" y="44"/>
                      </a:lnTo>
                      <a:lnTo>
                        <a:pt x="8" y="44"/>
                      </a:lnTo>
                      <a:lnTo>
                        <a:pt x="4" y="44"/>
                      </a:lnTo>
                      <a:lnTo>
                        <a:pt x="4" y="40"/>
                      </a:lnTo>
                      <a:lnTo>
                        <a:pt x="8" y="40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4" y="38"/>
                      </a:lnTo>
                      <a:lnTo>
                        <a:pt x="0" y="38"/>
                      </a:lnTo>
                      <a:lnTo>
                        <a:pt x="0" y="38"/>
                      </a:lnTo>
                      <a:lnTo>
                        <a:pt x="0" y="38"/>
                      </a:lnTo>
                      <a:lnTo>
                        <a:pt x="0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8" y="30"/>
                      </a:lnTo>
                      <a:lnTo>
                        <a:pt x="8" y="34"/>
                      </a:lnTo>
                      <a:lnTo>
                        <a:pt x="12" y="34"/>
                      </a:lnTo>
                      <a:lnTo>
                        <a:pt x="12" y="34"/>
                      </a:lnTo>
                      <a:lnTo>
                        <a:pt x="12" y="38"/>
                      </a:lnTo>
                      <a:lnTo>
                        <a:pt x="12" y="38"/>
                      </a:lnTo>
                      <a:lnTo>
                        <a:pt x="12" y="38"/>
                      </a:lnTo>
                      <a:lnTo>
                        <a:pt x="12" y="38"/>
                      </a:lnTo>
                      <a:lnTo>
                        <a:pt x="14" y="34"/>
                      </a:lnTo>
                      <a:lnTo>
                        <a:pt x="14" y="34"/>
                      </a:lnTo>
                      <a:lnTo>
                        <a:pt x="14" y="34"/>
                      </a:lnTo>
                      <a:lnTo>
                        <a:pt x="14" y="30"/>
                      </a:lnTo>
                      <a:lnTo>
                        <a:pt x="14" y="30"/>
                      </a:lnTo>
                      <a:lnTo>
                        <a:pt x="14" y="30"/>
                      </a:lnTo>
                      <a:lnTo>
                        <a:pt x="14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22" y="34"/>
                      </a:lnTo>
                      <a:lnTo>
                        <a:pt x="22" y="34"/>
                      </a:lnTo>
                      <a:lnTo>
                        <a:pt x="22" y="34"/>
                      </a:lnTo>
                      <a:lnTo>
                        <a:pt x="22" y="34"/>
                      </a:lnTo>
                      <a:lnTo>
                        <a:pt x="26" y="34"/>
                      </a:lnTo>
                      <a:lnTo>
                        <a:pt x="26" y="30"/>
                      </a:lnTo>
                      <a:lnTo>
                        <a:pt x="30" y="30"/>
                      </a:lnTo>
                      <a:lnTo>
                        <a:pt x="30" y="30"/>
                      </a:lnTo>
                      <a:lnTo>
                        <a:pt x="30" y="30"/>
                      </a:lnTo>
                      <a:lnTo>
                        <a:pt x="30" y="30"/>
                      </a:lnTo>
                      <a:lnTo>
                        <a:pt x="34" y="30"/>
                      </a:lnTo>
                      <a:lnTo>
                        <a:pt x="38" y="30"/>
                      </a:lnTo>
                      <a:lnTo>
                        <a:pt x="38" y="30"/>
                      </a:lnTo>
                      <a:lnTo>
                        <a:pt x="38" y="30"/>
                      </a:lnTo>
                      <a:lnTo>
                        <a:pt x="38" y="30"/>
                      </a:lnTo>
                      <a:lnTo>
                        <a:pt x="38" y="30"/>
                      </a:lnTo>
                      <a:lnTo>
                        <a:pt x="38" y="30"/>
                      </a:lnTo>
                      <a:lnTo>
                        <a:pt x="38" y="30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4" y="30"/>
                      </a:lnTo>
                      <a:lnTo>
                        <a:pt x="44" y="30"/>
                      </a:lnTo>
                      <a:lnTo>
                        <a:pt x="44" y="30"/>
                      </a:lnTo>
                      <a:lnTo>
                        <a:pt x="44" y="30"/>
                      </a:lnTo>
                      <a:lnTo>
                        <a:pt x="44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4"/>
                      </a:lnTo>
                      <a:lnTo>
                        <a:pt x="48" y="34"/>
                      </a:lnTo>
                      <a:lnTo>
                        <a:pt x="52" y="34"/>
                      </a:lnTo>
                      <a:lnTo>
                        <a:pt x="52" y="30"/>
                      </a:lnTo>
                      <a:lnTo>
                        <a:pt x="52" y="30"/>
                      </a:lnTo>
                      <a:lnTo>
                        <a:pt x="52" y="26"/>
                      </a:lnTo>
                      <a:lnTo>
                        <a:pt x="48" y="26"/>
                      </a:lnTo>
                      <a:lnTo>
                        <a:pt x="48" y="26"/>
                      </a:lnTo>
                      <a:lnTo>
                        <a:pt x="48" y="26"/>
                      </a:lnTo>
                      <a:lnTo>
                        <a:pt x="48" y="26"/>
                      </a:lnTo>
                      <a:lnTo>
                        <a:pt x="48" y="26"/>
                      </a:lnTo>
                      <a:lnTo>
                        <a:pt x="48" y="26"/>
                      </a:lnTo>
                      <a:lnTo>
                        <a:pt x="48" y="22"/>
                      </a:lnTo>
                      <a:lnTo>
                        <a:pt x="48" y="22"/>
                      </a:lnTo>
                      <a:lnTo>
                        <a:pt x="48" y="22"/>
                      </a:lnTo>
                      <a:lnTo>
                        <a:pt x="48" y="22"/>
                      </a:lnTo>
                      <a:lnTo>
                        <a:pt x="48" y="22"/>
                      </a:lnTo>
                      <a:lnTo>
                        <a:pt x="48" y="18"/>
                      </a:lnTo>
                      <a:lnTo>
                        <a:pt x="44" y="18"/>
                      </a:lnTo>
                      <a:lnTo>
                        <a:pt x="44" y="18"/>
                      </a:lnTo>
                      <a:lnTo>
                        <a:pt x="48" y="18"/>
                      </a:lnTo>
                      <a:lnTo>
                        <a:pt x="48" y="14"/>
                      </a:lnTo>
                      <a:lnTo>
                        <a:pt x="52" y="14"/>
                      </a:lnTo>
                      <a:lnTo>
                        <a:pt x="52" y="14"/>
                      </a:lnTo>
                      <a:lnTo>
                        <a:pt x="52" y="14"/>
                      </a:lnTo>
                      <a:lnTo>
                        <a:pt x="56" y="14"/>
                      </a:lnTo>
                      <a:lnTo>
                        <a:pt x="56" y="14"/>
                      </a:lnTo>
                      <a:lnTo>
                        <a:pt x="56" y="14"/>
                      </a:lnTo>
                      <a:lnTo>
                        <a:pt x="56" y="14"/>
                      </a:lnTo>
                      <a:lnTo>
                        <a:pt x="56" y="10"/>
                      </a:lnTo>
                      <a:lnTo>
                        <a:pt x="56" y="10"/>
                      </a:lnTo>
                      <a:lnTo>
                        <a:pt x="56" y="10"/>
                      </a:lnTo>
                      <a:lnTo>
                        <a:pt x="56" y="10"/>
                      </a:lnTo>
                      <a:lnTo>
                        <a:pt x="60" y="10"/>
                      </a:lnTo>
                      <a:lnTo>
                        <a:pt x="60" y="10"/>
                      </a:lnTo>
                      <a:lnTo>
                        <a:pt x="60" y="10"/>
                      </a:lnTo>
                      <a:lnTo>
                        <a:pt x="60" y="10"/>
                      </a:lnTo>
                      <a:lnTo>
                        <a:pt x="60" y="10"/>
                      </a:lnTo>
                      <a:lnTo>
                        <a:pt x="60" y="6"/>
                      </a:lnTo>
                      <a:lnTo>
                        <a:pt x="60" y="6"/>
                      </a:lnTo>
                      <a:lnTo>
                        <a:pt x="60" y="6"/>
                      </a:lnTo>
                      <a:lnTo>
                        <a:pt x="64" y="6"/>
                      </a:lnTo>
                      <a:lnTo>
                        <a:pt x="64" y="6"/>
                      </a:lnTo>
                      <a:lnTo>
                        <a:pt x="64" y="6"/>
                      </a:lnTo>
                      <a:lnTo>
                        <a:pt x="64" y="6"/>
                      </a:lnTo>
                      <a:lnTo>
                        <a:pt x="66" y="10"/>
                      </a:lnTo>
                      <a:lnTo>
                        <a:pt x="66" y="10"/>
                      </a:lnTo>
                      <a:lnTo>
                        <a:pt x="70" y="10"/>
                      </a:lnTo>
                      <a:lnTo>
                        <a:pt x="70" y="6"/>
                      </a:lnTo>
                      <a:lnTo>
                        <a:pt x="70" y="6"/>
                      </a:lnTo>
                      <a:lnTo>
                        <a:pt x="70" y="6"/>
                      </a:lnTo>
                      <a:lnTo>
                        <a:pt x="74" y="6"/>
                      </a:lnTo>
                      <a:lnTo>
                        <a:pt x="74" y="10"/>
                      </a:lnTo>
                      <a:lnTo>
                        <a:pt x="74" y="10"/>
                      </a:lnTo>
                      <a:lnTo>
                        <a:pt x="74" y="6"/>
                      </a:lnTo>
                      <a:lnTo>
                        <a:pt x="74" y="6"/>
                      </a:lnTo>
                      <a:lnTo>
                        <a:pt x="74" y="6"/>
                      </a:lnTo>
                      <a:lnTo>
                        <a:pt x="74" y="4"/>
                      </a:lnTo>
                      <a:lnTo>
                        <a:pt x="74" y="4"/>
                      </a:lnTo>
                      <a:lnTo>
                        <a:pt x="74" y="4"/>
                      </a:lnTo>
                      <a:lnTo>
                        <a:pt x="78" y="4"/>
                      </a:lnTo>
                      <a:lnTo>
                        <a:pt x="78" y="4"/>
                      </a:lnTo>
                      <a:lnTo>
                        <a:pt x="78" y="0"/>
                      </a:lnTo>
                      <a:lnTo>
                        <a:pt x="78" y="0"/>
                      </a:lnTo>
                      <a:lnTo>
                        <a:pt x="78" y="0"/>
                      </a:lnTo>
                      <a:lnTo>
                        <a:pt x="78" y="0"/>
                      </a:lnTo>
                      <a:lnTo>
                        <a:pt x="82" y="0"/>
                      </a:lnTo>
                      <a:lnTo>
                        <a:pt x="82" y="0"/>
                      </a:lnTo>
                      <a:lnTo>
                        <a:pt x="82" y="0"/>
                      </a:lnTo>
                      <a:lnTo>
                        <a:pt x="82" y="0"/>
                      </a:lnTo>
                      <a:lnTo>
                        <a:pt x="86" y="4"/>
                      </a:lnTo>
                      <a:lnTo>
                        <a:pt x="86" y="4"/>
                      </a:lnTo>
                      <a:lnTo>
                        <a:pt x="86" y="4"/>
                      </a:lnTo>
                      <a:lnTo>
                        <a:pt x="86" y="4"/>
                      </a:lnTo>
                      <a:lnTo>
                        <a:pt x="86" y="4"/>
                      </a:lnTo>
                      <a:lnTo>
                        <a:pt x="90" y="4"/>
                      </a:lnTo>
                      <a:lnTo>
                        <a:pt x="90" y="4"/>
                      </a:lnTo>
                      <a:lnTo>
                        <a:pt x="90" y="4"/>
                      </a:lnTo>
                      <a:lnTo>
                        <a:pt x="92" y="4"/>
                      </a:lnTo>
                      <a:lnTo>
                        <a:pt x="92" y="6"/>
                      </a:lnTo>
                      <a:lnTo>
                        <a:pt x="92" y="6"/>
                      </a:lnTo>
                      <a:lnTo>
                        <a:pt x="92" y="6"/>
                      </a:lnTo>
                      <a:lnTo>
                        <a:pt x="92" y="6"/>
                      </a:lnTo>
                      <a:lnTo>
                        <a:pt x="96" y="6"/>
                      </a:lnTo>
                      <a:lnTo>
                        <a:pt x="96" y="6"/>
                      </a:lnTo>
                      <a:lnTo>
                        <a:pt x="96" y="6"/>
                      </a:lnTo>
                      <a:lnTo>
                        <a:pt x="96" y="4"/>
                      </a:lnTo>
                      <a:lnTo>
                        <a:pt x="96" y="4"/>
                      </a:lnTo>
                      <a:lnTo>
                        <a:pt x="100" y="4"/>
                      </a:lnTo>
                      <a:lnTo>
                        <a:pt x="100" y="4"/>
                      </a:lnTo>
                      <a:lnTo>
                        <a:pt x="100" y="6"/>
                      </a:lnTo>
                      <a:lnTo>
                        <a:pt x="104" y="6"/>
                      </a:lnTo>
                      <a:lnTo>
                        <a:pt x="104" y="6"/>
                      </a:lnTo>
                      <a:lnTo>
                        <a:pt x="104" y="6"/>
                      </a:lnTo>
                      <a:lnTo>
                        <a:pt x="104" y="6"/>
                      </a:lnTo>
                      <a:lnTo>
                        <a:pt x="104" y="6"/>
                      </a:lnTo>
                      <a:lnTo>
                        <a:pt x="104" y="6"/>
                      </a:lnTo>
                      <a:lnTo>
                        <a:pt x="104" y="10"/>
                      </a:lnTo>
                      <a:lnTo>
                        <a:pt x="104" y="10"/>
                      </a:lnTo>
                      <a:lnTo>
                        <a:pt x="104" y="10"/>
                      </a:lnTo>
                      <a:lnTo>
                        <a:pt x="104" y="10"/>
                      </a:lnTo>
                      <a:lnTo>
                        <a:pt x="104" y="10"/>
                      </a:lnTo>
                      <a:lnTo>
                        <a:pt x="104" y="14"/>
                      </a:lnTo>
                      <a:lnTo>
                        <a:pt x="104" y="14"/>
                      </a:lnTo>
                      <a:lnTo>
                        <a:pt x="104" y="14"/>
                      </a:lnTo>
                      <a:lnTo>
                        <a:pt x="104" y="14"/>
                      </a:lnTo>
                      <a:lnTo>
                        <a:pt x="104" y="18"/>
                      </a:lnTo>
                      <a:lnTo>
                        <a:pt x="108" y="18"/>
                      </a:lnTo>
                      <a:lnTo>
                        <a:pt x="108" y="18"/>
                      </a:lnTo>
                      <a:lnTo>
                        <a:pt x="108" y="18"/>
                      </a:lnTo>
                      <a:lnTo>
                        <a:pt x="108" y="18"/>
                      </a:lnTo>
                      <a:lnTo>
                        <a:pt x="108" y="22"/>
                      </a:lnTo>
                      <a:lnTo>
                        <a:pt x="108" y="22"/>
                      </a:lnTo>
                      <a:lnTo>
                        <a:pt x="108" y="22"/>
                      </a:lnTo>
                      <a:lnTo>
                        <a:pt x="108" y="22"/>
                      </a:lnTo>
                      <a:lnTo>
                        <a:pt x="108" y="22"/>
                      </a:lnTo>
                      <a:lnTo>
                        <a:pt x="108" y="26"/>
                      </a:lnTo>
                      <a:lnTo>
                        <a:pt x="108" y="26"/>
                      </a:lnTo>
                      <a:lnTo>
                        <a:pt x="108" y="26"/>
                      </a:lnTo>
                      <a:lnTo>
                        <a:pt x="108" y="26"/>
                      </a:lnTo>
                      <a:lnTo>
                        <a:pt x="108" y="26"/>
                      </a:lnTo>
                      <a:lnTo>
                        <a:pt x="104" y="26"/>
                      </a:lnTo>
                      <a:lnTo>
                        <a:pt x="104" y="26"/>
                      </a:lnTo>
                      <a:lnTo>
                        <a:pt x="104" y="30"/>
                      </a:lnTo>
                      <a:lnTo>
                        <a:pt x="104" y="30"/>
                      </a:lnTo>
                      <a:lnTo>
                        <a:pt x="104" y="26"/>
                      </a:lnTo>
                      <a:lnTo>
                        <a:pt x="100" y="26"/>
                      </a:lnTo>
                      <a:lnTo>
                        <a:pt x="100" y="26"/>
                      </a:lnTo>
                      <a:lnTo>
                        <a:pt x="100" y="26"/>
                      </a:lnTo>
                      <a:lnTo>
                        <a:pt x="100" y="26"/>
                      </a:lnTo>
                      <a:lnTo>
                        <a:pt x="96" y="26"/>
                      </a:lnTo>
                      <a:lnTo>
                        <a:pt x="96" y="30"/>
                      </a:lnTo>
                      <a:lnTo>
                        <a:pt x="100" y="30"/>
                      </a:lnTo>
                      <a:lnTo>
                        <a:pt x="100" y="30"/>
                      </a:lnTo>
                      <a:lnTo>
                        <a:pt x="100" y="30"/>
                      </a:lnTo>
                      <a:lnTo>
                        <a:pt x="100" y="30"/>
                      </a:lnTo>
                      <a:lnTo>
                        <a:pt x="100" y="30"/>
                      </a:lnTo>
                      <a:lnTo>
                        <a:pt x="100" y="30"/>
                      </a:lnTo>
                      <a:lnTo>
                        <a:pt x="100" y="34"/>
                      </a:lnTo>
                      <a:lnTo>
                        <a:pt x="100" y="34"/>
                      </a:lnTo>
                      <a:lnTo>
                        <a:pt x="100" y="34"/>
                      </a:lnTo>
                      <a:lnTo>
                        <a:pt x="96" y="34"/>
                      </a:lnTo>
                      <a:lnTo>
                        <a:pt x="96" y="34"/>
                      </a:lnTo>
                      <a:lnTo>
                        <a:pt x="100" y="38"/>
                      </a:lnTo>
                      <a:lnTo>
                        <a:pt x="100" y="38"/>
                      </a:lnTo>
                      <a:lnTo>
                        <a:pt x="96" y="38"/>
                      </a:lnTo>
                      <a:lnTo>
                        <a:pt x="96" y="38"/>
                      </a:lnTo>
                      <a:lnTo>
                        <a:pt x="96" y="38"/>
                      </a:lnTo>
                      <a:lnTo>
                        <a:pt x="100" y="40"/>
                      </a:lnTo>
                      <a:lnTo>
                        <a:pt x="100" y="40"/>
                      </a:lnTo>
                      <a:lnTo>
                        <a:pt x="96" y="40"/>
                      </a:lnTo>
                      <a:lnTo>
                        <a:pt x="96" y="40"/>
                      </a:lnTo>
                      <a:lnTo>
                        <a:pt x="96" y="40"/>
                      </a:lnTo>
                      <a:lnTo>
                        <a:pt x="96" y="40"/>
                      </a:lnTo>
                      <a:lnTo>
                        <a:pt x="96" y="40"/>
                      </a:lnTo>
                      <a:lnTo>
                        <a:pt x="96" y="40"/>
                      </a:lnTo>
                      <a:lnTo>
                        <a:pt x="92" y="44"/>
                      </a:lnTo>
                      <a:lnTo>
                        <a:pt x="92" y="44"/>
                      </a:lnTo>
                      <a:lnTo>
                        <a:pt x="92" y="44"/>
                      </a:lnTo>
                      <a:lnTo>
                        <a:pt x="92" y="44"/>
                      </a:lnTo>
                      <a:lnTo>
                        <a:pt x="92" y="48"/>
                      </a:lnTo>
                      <a:lnTo>
                        <a:pt x="90" y="48"/>
                      </a:lnTo>
                      <a:lnTo>
                        <a:pt x="90" y="48"/>
                      </a:lnTo>
                      <a:lnTo>
                        <a:pt x="90" y="48"/>
                      </a:lnTo>
                      <a:lnTo>
                        <a:pt x="86" y="48"/>
                      </a:lnTo>
                      <a:lnTo>
                        <a:pt x="82" y="48"/>
                      </a:lnTo>
                      <a:lnTo>
                        <a:pt x="78" y="48"/>
                      </a:lnTo>
                      <a:lnTo>
                        <a:pt x="78" y="48"/>
                      </a:lnTo>
                      <a:lnTo>
                        <a:pt x="78" y="48"/>
                      </a:lnTo>
                      <a:lnTo>
                        <a:pt x="78" y="48"/>
                      </a:lnTo>
                      <a:lnTo>
                        <a:pt x="74" y="48"/>
                      </a:lnTo>
                      <a:lnTo>
                        <a:pt x="74" y="52"/>
                      </a:lnTo>
                      <a:lnTo>
                        <a:pt x="74" y="52"/>
                      </a:lnTo>
                      <a:lnTo>
                        <a:pt x="74" y="52"/>
                      </a:lnTo>
                      <a:lnTo>
                        <a:pt x="70" y="52"/>
                      </a:lnTo>
                      <a:lnTo>
                        <a:pt x="70" y="52"/>
                      </a:lnTo>
                      <a:lnTo>
                        <a:pt x="66" y="52"/>
                      </a:lnTo>
                      <a:lnTo>
                        <a:pt x="66" y="52"/>
                      </a:lnTo>
                      <a:lnTo>
                        <a:pt x="66" y="52"/>
                      </a:lnTo>
                      <a:lnTo>
                        <a:pt x="64" y="52"/>
                      </a:lnTo>
                      <a:lnTo>
                        <a:pt x="64" y="52"/>
                      </a:lnTo>
                      <a:lnTo>
                        <a:pt x="64" y="52"/>
                      </a:lnTo>
                      <a:lnTo>
                        <a:pt x="60" y="52"/>
                      </a:lnTo>
                      <a:lnTo>
                        <a:pt x="60" y="52"/>
                      </a:lnTo>
                      <a:lnTo>
                        <a:pt x="60" y="52"/>
                      </a:lnTo>
                      <a:lnTo>
                        <a:pt x="56" y="52"/>
                      </a:lnTo>
                      <a:lnTo>
                        <a:pt x="56" y="52"/>
                      </a:lnTo>
                      <a:lnTo>
                        <a:pt x="52" y="52"/>
                      </a:lnTo>
                      <a:lnTo>
                        <a:pt x="48" y="48"/>
                      </a:lnTo>
                      <a:lnTo>
                        <a:pt x="44" y="48"/>
                      </a:lnTo>
                      <a:lnTo>
                        <a:pt x="44" y="48"/>
                      </a:lnTo>
                      <a:lnTo>
                        <a:pt x="44" y="48"/>
                      </a:lnTo>
                      <a:lnTo>
                        <a:pt x="44" y="48"/>
                      </a:lnTo>
                      <a:lnTo>
                        <a:pt x="44" y="48"/>
                      </a:lnTo>
                      <a:lnTo>
                        <a:pt x="44" y="48"/>
                      </a:lnTo>
                      <a:lnTo>
                        <a:pt x="44" y="48"/>
                      </a:lnTo>
                      <a:lnTo>
                        <a:pt x="40" y="48"/>
                      </a:lnTo>
                      <a:lnTo>
                        <a:pt x="40" y="48"/>
                      </a:lnTo>
                      <a:lnTo>
                        <a:pt x="40" y="48"/>
                      </a:lnTo>
                      <a:lnTo>
                        <a:pt x="40" y="48"/>
                      </a:lnTo>
                      <a:lnTo>
                        <a:pt x="40" y="44"/>
                      </a:lnTo>
                      <a:lnTo>
                        <a:pt x="38" y="44"/>
                      </a:lnTo>
                      <a:lnTo>
                        <a:pt x="38" y="44"/>
                      </a:lnTo>
                      <a:lnTo>
                        <a:pt x="38" y="44"/>
                      </a:lnTo>
                      <a:lnTo>
                        <a:pt x="38" y="40"/>
                      </a:lnTo>
                      <a:lnTo>
                        <a:pt x="38" y="40"/>
                      </a:lnTo>
                      <a:lnTo>
                        <a:pt x="38" y="40"/>
                      </a:lnTo>
                      <a:lnTo>
                        <a:pt x="38" y="40"/>
                      </a:lnTo>
                      <a:lnTo>
                        <a:pt x="38" y="40"/>
                      </a:lnTo>
                      <a:lnTo>
                        <a:pt x="38" y="40"/>
                      </a:lnTo>
                      <a:lnTo>
                        <a:pt x="38" y="40"/>
                      </a:lnTo>
                      <a:lnTo>
                        <a:pt x="38" y="40"/>
                      </a:lnTo>
                      <a:lnTo>
                        <a:pt x="38" y="40"/>
                      </a:lnTo>
                      <a:lnTo>
                        <a:pt x="34" y="40"/>
                      </a:lnTo>
                      <a:lnTo>
                        <a:pt x="34" y="40"/>
                      </a:lnTo>
                      <a:lnTo>
                        <a:pt x="30" y="40"/>
                      </a:lnTo>
                      <a:lnTo>
                        <a:pt x="30" y="40"/>
                      </a:lnTo>
                      <a:lnTo>
                        <a:pt x="30" y="40"/>
                      </a:lnTo>
                      <a:lnTo>
                        <a:pt x="22" y="40"/>
                      </a:lnTo>
                      <a:lnTo>
                        <a:pt x="22" y="44"/>
                      </a:lnTo>
                      <a:lnTo>
                        <a:pt x="22" y="44"/>
                      </a:lnTo>
                      <a:lnTo>
                        <a:pt x="22" y="44"/>
                      </a:lnTo>
                      <a:lnTo>
                        <a:pt x="22" y="44"/>
                      </a:lnTo>
                      <a:lnTo>
                        <a:pt x="22" y="44"/>
                      </a:lnTo>
                      <a:lnTo>
                        <a:pt x="18" y="48"/>
                      </a:lnTo>
                      <a:lnTo>
                        <a:pt x="18" y="44"/>
                      </a:lnTo>
                      <a:lnTo>
                        <a:pt x="18" y="44"/>
                      </a:lnTo>
                      <a:lnTo>
                        <a:pt x="18" y="44"/>
                      </a:lnTo>
                      <a:lnTo>
                        <a:pt x="18" y="44"/>
                      </a:lnTo>
                      <a:lnTo>
                        <a:pt x="14" y="44"/>
                      </a:lnTo>
                      <a:lnTo>
                        <a:pt x="14" y="44"/>
                      </a:lnTo>
                      <a:lnTo>
                        <a:pt x="14" y="44"/>
                      </a:lnTo>
                      <a:lnTo>
                        <a:pt x="14" y="44"/>
                      </a:lnTo>
                      <a:lnTo>
                        <a:pt x="14" y="44"/>
                      </a:lnTo>
                      <a:lnTo>
                        <a:pt x="14" y="44"/>
                      </a:lnTo>
                      <a:lnTo>
                        <a:pt x="14" y="44"/>
                      </a:lnTo>
                      <a:lnTo>
                        <a:pt x="14" y="44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50" name="Freeform 90"/>
                <p:cNvSpPr>
                  <a:spLocks/>
                </p:cNvSpPr>
                <p:nvPr/>
              </p:nvSpPr>
              <p:spPr bwMode="auto">
                <a:xfrm>
                  <a:off x="4914900" y="2898843"/>
                  <a:ext cx="212725" cy="171450"/>
                </a:xfrm>
                <a:custGeom>
                  <a:avLst/>
                  <a:gdLst>
                    <a:gd name="T0" fmla="*/ 26 w 134"/>
                    <a:gd name="T1" fmla="*/ 94 h 108"/>
                    <a:gd name="T2" fmla="*/ 14 w 134"/>
                    <a:gd name="T3" fmla="*/ 98 h 108"/>
                    <a:gd name="T4" fmla="*/ 12 w 134"/>
                    <a:gd name="T5" fmla="*/ 100 h 108"/>
                    <a:gd name="T6" fmla="*/ 4 w 134"/>
                    <a:gd name="T7" fmla="*/ 100 h 108"/>
                    <a:gd name="T8" fmla="*/ 8 w 134"/>
                    <a:gd name="T9" fmla="*/ 90 h 108"/>
                    <a:gd name="T10" fmla="*/ 0 w 134"/>
                    <a:gd name="T11" fmla="*/ 82 h 108"/>
                    <a:gd name="T12" fmla="*/ 8 w 134"/>
                    <a:gd name="T13" fmla="*/ 78 h 108"/>
                    <a:gd name="T14" fmla="*/ 12 w 134"/>
                    <a:gd name="T15" fmla="*/ 74 h 108"/>
                    <a:gd name="T16" fmla="*/ 8 w 134"/>
                    <a:gd name="T17" fmla="*/ 60 h 108"/>
                    <a:gd name="T18" fmla="*/ 4 w 134"/>
                    <a:gd name="T19" fmla="*/ 52 h 108"/>
                    <a:gd name="T20" fmla="*/ 8 w 134"/>
                    <a:gd name="T21" fmla="*/ 48 h 108"/>
                    <a:gd name="T22" fmla="*/ 14 w 134"/>
                    <a:gd name="T23" fmla="*/ 48 h 108"/>
                    <a:gd name="T24" fmla="*/ 18 w 134"/>
                    <a:gd name="T25" fmla="*/ 48 h 108"/>
                    <a:gd name="T26" fmla="*/ 22 w 134"/>
                    <a:gd name="T27" fmla="*/ 44 h 108"/>
                    <a:gd name="T28" fmla="*/ 30 w 134"/>
                    <a:gd name="T29" fmla="*/ 44 h 108"/>
                    <a:gd name="T30" fmla="*/ 34 w 134"/>
                    <a:gd name="T31" fmla="*/ 44 h 108"/>
                    <a:gd name="T32" fmla="*/ 38 w 134"/>
                    <a:gd name="T33" fmla="*/ 40 h 108"/>
                    <a:gd name="T34" fmla="*/ 38 w 134"/>
                    <a:gd name="T35" fmla="*/ 38 h 108"/>
                    <a:gd name="T36" fmla="*/ 38 w 134"/>
                    <a:gd name="T37" fmla="*/ 30 h 108"/>
                    <a:gd name="T38" fmla="*/ 44 w 134"/>
                    <a:gd name="T39" fmla="*/ 22 h 108"/>
                    <a:gd name="T40" fmla="*/ 48 w 134"/>
                    <a:gd name="T41" fmla="*/ 18 h 108"/>
                    <a:gd name="T42" fmla="*/ 48 w 134"/>
                    <a:gd name="T43" fmla="*/ 10 h 108"/>
                    <a:gd name="T44" fmla="*/ 52 w 134"/>
                    <a:gd name="T45" fmla="*/ 10 h 108"/>
                    <a:gd name="T46" fmla="*/ 64 w 134"/>
                    <a:gd name="T47" fmla="*/ 10 h 108"/>
                    <a:gd name="T48" fmla="*/ 68 w 134"/>
                    <a:gd name="T49" fmla="*/ 4 h 108"/>
                    <a:gd name="T50" fmla="*/ 74 w 134"/>
                    <a:gd name="T51" fmla="*/ 4 h 108"/>
                    <a:gd name="T52" fmla="*/ 78 w 134"/>
                    <a:gd name="T53" fmla="*/ 8 h 108"/>
                    <a:gd name="T54" fmla="*/ 88 w 134"/>
                    <a:gd name="T55" fmla="*/ 8 h 108"/>
                    <a:gd name="T56" fmla="*/ 96 w 134"/>
                    <a:gd name="T57" fmla="*/ 8 h 108"/>
                    <a:gd name="T58" fmla="*/ 108 w 134"/>
                    <a:gd name="T59" fmla="*/ 14 h 108"/>
                    <a:gd name="T60" fmla="*/ 108 w 134"/>
                    <a:gd name="T61" fmla="*/ 18 h 108"/>
                    <a:gd name="T62" fmla="*/ 112 w 134"/>
                    <a:gd name="T63" fmla="*/ 26 h 108"/>
                    <a:gd name="T64" fmla="*/ 108 w 134"/>
                    <a:gd name="T65" fmla="*/ 34 h 108"/>
                    <a:gd name="T66" fmla="*/ 112 w 134"/>
                    <a:gd name="T67" fmla="*/ 38 h 108"/>
                    <a:gd name="T68" fmla="*/ 118 w 134"/>
                    <a:gd name="T69" fmla="*/ 44 h 108"/>
                    <a:gd name="T70" fmla="*/ 122 w 134"/>
                    <a:gd name="T71" fmla="*/ 52 h 108"/>
                    <a:gd name="T72" fmla="*/ 130 w 134"/>
                    <a:gd name="T73" fmla="*/ 56 h 108"/>
                    <a:gd name="T74" fmla="*/ 134 w 134"/>
                    <a:gd name="T75" fmla="*/ 60 h 108"/>
                    <a:gd name="T76" fmla="*/ 130 w 134"/>
                    <a:gd name="T77" fmla="*/ 68 h 108"/>
                    <a:gd name="T78" fmla="*/ 122 w 134"/>
                    <a:gd name="T79" fmla="*/ 68 h 108"/>
                    <a:gd name="T80" fmla="*/ 114 w 134"/>
                    <a:gd name="T81" fmla="*/ 70 h 108"/>
                    <a:gd name="T82" fmla="*/ 118 w 134"/>
                    <a:gd name="T83" fmla="*/ 74 h 108"/>
                    <a:gd name="T84" fmla="*/ 118 w 134"/>
                    <a:gd name="T85" fmla="*/ 86 h 108"/>
                    <a:gd name="T86" fmla="*/ 118 w 134"/>
                    <a:gd name="T87" fmla="*/ 90 h 108"/>
                    <a:gd name="T88" fmla="*/ 112 w 134"/>
                    <a:gd name="T89" fmla="*/ 90 h 108"/>
                    <a:gd name="T90" fmla="*/ 104 w 134"/>
                    <a:gd name="T91" fmla="*/ 94 h 108"/>
                    <a:gd name="T92" fmla="*/ 104 w 134"/>
                    <a:gd name="T93" fmla="*/ 104 h 108"/>
                    <a:gd name="T94" fmla="*/ 96 w 134"/>
                    <a:gd name="T95" fmla="*/ 100 h 108"/>
                    <a:gd name="T96" fmla="*/ 92 w 134"/>
                    <a:gd name="T97" fmla="*/ 104 h 108"/>
                    <a:gd name="T98" fmla="*/ 84 w 134"/>
                    <a:gd name="T99" fmla="*/ 100 h 108"/>
                    <a:gd name="T100" fmla="*/ 78 w 134"/>
                    <a:gd name="T101" fmla="*/ 100 h 108"/>
                    <a:gd name="T102" fmla="*/ 78 w 134"/>
                    <a:gd name="T103" fmla="*/ 100 h 108"/>
                    <a:gd name="T104" fmla="*/ 70 w 134"/>
                    <a:gd name="T105" fmla="*/ 100 h 108"/>
                    <a:gd name="T106" fmla="*/ 68 w 134"/>
                    <a:gd name="T107" fmla="*/ 100 h 108"/>
                    <a:gd name="T108" fmla="*/ 64 w 134"/>
                    <a:gd name="T109" fmla="*/ 100 h 108"/>
                    <a:gd name="T110" fmla="*/ 60 w 134"/>
                    <a:gd name="T111" fmla="*/ 100 h 108"/>
                    <a:gd name="T112" fmla="*/ 52 w 134"/>
                    <a:gd name="T113" fmla="*/ 98 h 108"/>
                    <a:gd name="T114" fmla="*/ 48 w 134"/>
                    <a:gd name="T115" fmla="*/ 94 h 108"/>
                    <a:gd name="T116" fmla="*/ 44 w 134"/>
                    <a:gd name="T117" fmla="*/ 94 h 108"/>
                    <a:gd name="T118" fmla="*/ 38 w 134"/>
                    <a:gd name="T119" fmla="*/ 94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34" h="108">
                      <a:moveTo>
                        <a:pt x="34" y="94"/>
                      </a:moveTo>
                      <a:lnTo>
                        <a:pt x="34" y="94"/>
                      </a:lnTo>
                      <a:lnTo>
                        <a:pt x="30" y="94"/>
                      </a:lnTo>
                      <a:lnTo>
                        <a:pt x="30" y="94"/>
                      </a:lnTo>
                      <a:lnTo>
                        <a:pt x="30" y="94"/>
                      </a:lnTo>
                      <a:lnTo>
                        <a:pt x="30" y="94"/>
                      </a:lnTo>
                      <a:lnTo>
                        <a:pt x="30" y="94"/>
                      </a:lnTo>
                      <a:lnTo>
                        <a:pt x="26" y="94"/>
                      </a:lnTo>
                      <a:lnTo>
                        <a:pt x="26" y="94"/>
                      </a:lnTo>
                      <a:lnTo>
                        <a:pt x="26" y="94"/>
                      </a:lnTo>
                      <a:lnTo>
                        <a:pt x="22" y="94"/>
                      </a:lnTo>
                      <a:lnTo>
                        <a:pt x="22" y="94"/>
                      </a:lnTo>
                      <a:lnTo>
                        <a:pt x="22" y="94"/>
                      </a:lnTo>
                      <a:lnTo>
                        <a:pt x="18" y="94"/>
                      </a:lnTo>
                      <a:lnTo>
                        <a:pt x="14" y="94"/>
                      </a:lnTo>
                      <a:lnTo>
                        <a:pt x="14" y="98"/>
                      </a:lnTo>
                      <a:lnTo>
                        <a:pt x="14" y="98"/>
                      </a:lnTo>
                      <a:lnTo>
                        <a:pt x="14" y="98"/>
                      </a:lnTo>
                      <a:lnTo>
                        <a:pt x="12" y="100"/>
                      </a:lnTo>
                      <a:lnTo>
                        <a:pt x="12" y="100"/>
                      </a:lnTo>
                      <a:lnTo>
                        <a:pt x="12" y="100"/>
                      </a:lnTo>
                      <a:lnTo>
                        <a:pt x="12" y="100"/>
                      </a:lnTo>
                      <a:lnTo>
                        <a:pt x="12" y="100"/>
                      </a:lnTo>
                      <a:lnTo>
                        <a:pt x="12" y="100"/>
                      </a:lnTo>
                      <a:lnTo>
                        <a:pt x="12" y="100"/>
                      </a:lnTo>
                      <a:lnTo>
                        <a:pt x="8" y="98"/>
                      </a:lnTo>
                      <a:lnTo>
                        <a:pt x="8" y="100"/>
                      </a:lnTo>
                      <a:lnTo>
                        <a:pt x="8" y="100"/>
                      </a:lnTo>
                      <a:lnTo>
                        <a:pt x="8" y="100"/>
                      </a:lnTo>
                      <a:lnTo>
                        <a:pt x="8" y="100"/>
                      </a:lnTo>
                      <a:lnTo>
                        <a:pt x="8" y="100"/>
                      </a:lnTo>
                      <a:lnTo>
                        <a:pt x="4" y="100"/>
                      </a:lnTo>
                      <a:lnTo>
                        <a:pt x="4" y="100"/>
                      </a:lnTo>
                      <a:lnTo>
                        <a:pt x="4" y="98"/>
                      </a:lnTo>
                      <a:lnTo>
                        <a:pt x="4" y="98"/>
                      </a:lnTo>
                      <a:lnTo>
                        <a:pt x="4" y="98"/>
                      </a:lnTo>
                      <a:lnTo>
                        <a:pt x="4" y="98"/>
                      </a:lnTo>
                      <a:lnTo>
                        <a:pt x="8" y="94"/>
                      </a:lnTo>
                      <a:lnTo>
                        <a:pt x="8" y="94"/>
                      </a:lnTo>
                      <a:lnTo>
                        <a:pt x="8" y="90"/>
                      </a:lnTo>
                      <a:lnTo>
                        <a:pt x="8" y="90"/>
                      </a:lnTo>
                      <a:lnTo>
                        <a:pt x="8" y="90"/>
                      </a:lnTo>
                      <a:lnTo>
                        <a:pt x="4" y="86"/>
                      </a:lnTo>
                      <a:lnTo>
                        <a:pt x="0" y="86"/>
                      </a:lnTo>
                      <a:lnTo>
                        <a:pt x="0" y="86"/>
                      </a:lnTo>
                      <a:lnTo>
                        <a:pt x="0" y="86"/>
                      </a:lnTo>
                      <a:lnTo>
                        <a:pt x="0" y="86"/>
                      </a:lnTo>
                      <a:lnTo>
                        <a:pt x="0" y="82"/>
                      </a:lnTo>
                      <a:lnTo>
                        <a:pt x="4" y="82"/>
                      </a:lnTo>
                      <a:lnTo>
                        <a:pt x="4" y="82"/>
                      </a:lnTo>
                      <a:lnTo>
                        <a:pt x="4" y="78"/>
                      </a:lnTo>
                      <a:lnTo>
                        <a:pt x="4" y="78"/>
                      </a:lnTo>
                      <a:lnTo>
                        <a:pt x="4" y="78"/>
                      </a:lnTo>
                      <a:lnTo>
                        <a:pt x="8" y="78"/>
                      </a:lnTo>
                      <a:lnTo>
                        <a:pt x="8" y="78"/>
                      </a:lnTo>
                      <a:lnTo>
                        <a:pt x="8" y="78"/>
                      </a:lnTo>
                      <a:lnTo>
                        <a:pt x="8" y="78"/>
                      </a:lnTo>
                      <a:lnTo>
                        <a:pt x="8" y="78"/>
                      </a:lnTo>
                      <a:lnTo>
                        <a:pt x="8" y="78"/>
                      </a:lnTo>
                      <a:lnTo>
                        <a:pt x="12" y="78"/>
                      </a:lnTo>
                      <a:lnTo>
                        <a:pt x="12" y="78"/>
                      </a:lnTo>
                      <a:lnTo>
                        <a:pt x="12" y="74"/>
                      </a:lnTo>
                      <a:lnTo>
                        <a:pt x="12" y="74"/>
                      </a:lnTo>
                      <a:lnTo>
                        <a:pt x="12" y="74"/>
                      </a:lnTo>
                      <a:lnTo>
                        <a:pt x="12" y="74"/>
                      </a:lnTo>
                      <a:lnTo>
                        <a:pt x="12" y="74"/>
                      </a:lnTo>
                      <a:lnTo>
                        <a:pt x="12" y="70"/>
                      </a:lnTo>
                      <a:lnTo>
                        <a:pt x="12" y="70"/>
                      </a:lnTo>
                      <a:lnTo>
                        <a:pt x="12" y="68"/>
                      </a:lnTo>
                      <a:lnTo>
                        <a:pt x="8" y="64"/>
                      </a:lnTo>
                      <a:lnTo>
                        <a:pt x="8" y="60"/>
                      </a:lnTo>
                      <a:lnTo>
                        <a:pt x="8" y="60"/>
                      </a:lnTo>
                      <a:lnTo>
                        <a:pt x="8" y="60"/>
                      </a:lnTo>
                      <a:lnTo>
                        <a:pt x="8" y="56"/>
                      </a:lnTo>
                      <a:lnTo>
                        <a:pt x="8" y="56"/>
                      </a:lnTo>
                      <a:lnTo>
                        <a:pt x="8" y="56"/>
                      </a:lnTo>
                      <a:lnTo>
                        <a:pt x="8" y="56"/>
                      </a:lnTo>
                      <a:lnTo>
                        <a:pt x="4" y="56"/>
                      </a:lnTo>
                      <a:lnTo>
                        <a:pt x="4" y="52"/>
                      </a:lnTo>
                      <a:lnTo>
                        <a:pt x="4" y="52"/>
                      </a:lnTo>
                      <a:lnTo>
                        <a:pt x="4" y="48"/>
                      </a:lnTo>
                      <a:lnTo>
                        <a:pt x="4" y="48"/>
                      </a:lnTo>
                      <a:lnTo>
                        <a:pt x="4" y="48"/>
                      </a:lnTo>
                      <a:lnTo>
                        <a:pt x="4" y="48"/>
                      </a:lnTo>
                      <a:lnTo>
                        <a:pt x="4" y="48"/>
                      </a:lnTo>
                      <a:lnTo>
                        <a:pt x="4" y="48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12" y="48"/>
                      </a:lnTo>
                      <a:lnTo>
                        <a:pt x="12" y="48"/>
                      </a:lnTo>
                      <a:lnTo>
                        <a:pt x="12" y="48"/>
                      </a:lnTo>
                      <a:lnTo>
                        <a:pt x="12" y="48"/>
                      </a:lnTo>
                      <a:lnTo>
                        <a:pt x="14" y="48"/>
                      </a:lnTo>
                      <a:lnTo>
                        <a:pt x="14" y="48"/>
                      </a:lnTo>
                      <a:lnTo>
                        <a:pt x="14" y="48"/>
                      </a:lnTo>
                      <a:lnTo>
                        <a:pt x="14" y="48"/>
                      </a:lnTo>
                      <a:lnTo>
                        <a:pt x="14" y="48"/>
                      </a:lnTo>
                      <a:lnTo>
                        <a:pt x="14" y="48"/>
                      </a:lnTo>
                      <a:lnTo>
                        <a:pt x="14" y="52"/>
                      </a:lnTo>
                      <a:lnTo>
                        <a:pt x="18" y="52"/>
                      </a:lnTo>
                      <a:lnTo>
                        <a:pt x="18" y="48"/>
                      </a:lnTo>
                      <a:lnTo>
                        <a:pt x="18" y="48"/>
                      </a:lnTo>
                      <a:lnTo>
                        <a:pt x="18" y="48"/>
                      </a:lnTo>
                      <a:lnTo>
                        <a:pt x="22" y="48"/>
                      </a:lnTo>
                      <a:lnTo>
                        <a:pt x="22" y="48"/>
                      </a:lnTo>
                      <a:lnTo>
                        <a:pt x="22" y="48"/>
                      </a:lnTo>
                      <a:lnTo>
                        <a:pt x="22" y="48"/>
                      </a:lnTo>
                      <a:lnTo>
                        <a:pt x="22" y="48"/>
                      </a:lnTo>
                      <a:lnTo>
                        <a:pt x="22" y="48"/>
                      </a:lnTo>
                      <a:lnTo>
                        <a:pt x="22" y="44"/>
                      </a:lnTo>
                      <a:lnTo>
                        <a:pt x="22" y="44"/>
                      </a:lnTo>
                      <a:lnTo>
                        <a:pt x="26" y="44"/>
                      </a:lnTo>
                      <a:lnTo>
                        <a:pt x="26" y="44"/>
                      </a:lnTo>
                      <a:lnTo>
                        <a:pt x="26" y="44"/>
                      </a:lnTo>
                      <a:lnTo>
                        <a:pt x="26" y="44"/>
                      </a:lnTo>
                      <a:lnTo>
                        <a:pt x="26" y="44"/>
                      </a:lnTo>
                      <a:lnTo>
                        <a:pt x="26" y="44"/>
                      </a:lnTo>
                      <a:lnTo>
                        <a:pt x="30" y="44"/>
                      </a:lnTo>
                      <a:lnTo>
                        <a:pt x="30" y="44"/>
                      </a:lnTo>
                      <a:lnTo>
                        <a:pt x="30" y="44"/>
                      </a:lnTo>
                      <a:lnTo>
                        <a:pt x="30" y="44"/>
                      </a:lnTo>
                      <a:lnTo>
                        <a:pt x="30" y="44"/>
                      </a:lnTo>
                      <a:lnTo>
                        <a:pt x="30" y="40"/>
                      </a:lnTo>
                      <a:lnTo>
                        <a:pt x="34" y="40"/>
                      </a:lnTo>
                      <a:lnTo>
                        <a:pt x="34" y="40"/>
                      </a:lnTo>
                      <a:lnTo>
                        <a:pt x="34" y="40"/>
                      </a:lnTo>
                      <a:lnTo>
                        <a:pt x="34" y="44"/>
                      </a:lnTo>
                      <a:lnTo>
                        <a:pt x="34" y="44"/>
                      </a:lnTo>
                      <a:lnTo>
                        <a:pt x="34" y="44"/>
                      </a:lnTo>
                      <a:lnTo>
                        <a:pt x="34" y="44"/>
                      </a:lnTo>
                      <a:lnTo>
                        <a:pt x="34" y="44"/>
                      </a:lnTo>
                      <a:lnTo>
                        <a:pt x="38" y="44"/>
                      </a:lnTo>
                      <a:lnTo>
                        <a:pt x="38" y="44"/>
                      </a:lnTo>
                      <a:lnTo>
                        <a:pt x="38" y="44"/>
                      </a:lnTo>
                      <a:lnTo>
                        <a:pt x="38" y="40"/>
                      </a:lnTo>
                      <a:lnTo>
                        <a:pt x="34" y="40"/>
                      </a:lnTo>
                      <a:lnTo>
                        <a:pt x="34" y="40"/>
                      </a:lnTo>
                      <a:lnTo>
                        <a:pt x="34" y="40"/>
                      </a:lnTo>
                      <a:lnTo>
                        <a:pt x="34" y="40"/>
                      </a:lnTo>
                      <a:lnTo>
                        <a:pt x="34" y="40"/>
                      </a:lnTo>
                      <a:lnTo>
                        <a:pt x="34" y="40"/>
                      </a:lnTo>
                      <a:lnTo>
                        <a:pt x="34" y="38"/>
                      </a:lnTo>
                      <a:lnTo>
                        <a:pt x="38" y="38"/>
                      </a:lnTo>
                      <a:lnTo>
                        <a:pt x="38" y="38"/>
                      </a:lnTo>
                      <a:lnTo>
                        <a:pt x="38" y="38"/>
                      </a:lnTo>
                      <a:lnTo>
                        <a:pt x="38" y="34"/>
                      </a:lnTo>
                      <a:lnTo>
                        <a:pt x="38" y="34"/>
                      </a:lnTo>
                      <a:lnTo>
                        <a:pt x="38" y="34"/>
                      </a:lnTo>
                      <a:lnTo>
                        <a:pt x="38" y="30"/>
                      </a:lnTo>
                      <a:lnTo>
                        <a:pt x="38" y="30"/>
                      </a:lnTo>
                      <a:lnTo>
                        <a:pt x="38" y="30"/>
                      </a:lnTo>
                      <a:lnTo>
                        <a:pt x="38" y="30"/>
                      </a:lnTo>
                      <a:lnTo>
                        <a:pt x="38" y="30"/>
                      </a:lnTo>
                      <a:lnTo>
                        <a:pt x="42" y="26"/>
                      </a:lnTo>
                      <a:lnTo>
                        <a:pt x="42" y="26"/>
                      </a:lnTo>
                      <a:lnTo>
                        <a:pt x="42" y="26"/>
                      </a:lnTo>
                      <a:lnTo>
                        <a:pt x="44" y="26"/>
                      </a:lnTo>
                      <a:lnTo>
                        <a:pt x="44" y="26"/>
                      </a:lnTo>
                      <a:lnTo>
                        <a:pt x="44" y="22"/>
                      </a:lnTo>
                      <a:lnTo>
                        <a:pt x="44" y="22"/>
                      </a:lnTo>
                      <a:lnTo>
                        <a:pt x="48" y="22"/>
                      </a:lnTo>
                      <a:lnTo>
                        <a:pt x="48" y="22"/>
                      </a:lnTo>
                      <a:lnTo>
                        <a:pt x="52" y="22"/>
                      </a:lnTo>
                      <a:lnTo>
                        <a:pt x="52" y="22"/>
                      </a:lnTo>
                      <a:lnTo>
                        <a:pt x="52" y="22"/>
                      </a:lnTo>
                      <a:lnTo>
                        <a:pt x="52" y="18"/>
                      </a:lnTo>
                      <a:lnTo>
                        <a:pt x="48" y="18"/>
                      </a:lnTo>
                      <a:lnTo>
                        <a:pt x="48" y="18"/>
                      </a:lnTo>
                      <a:lnTo>
                        <a:pt x="48" y="18"/>
                      </a:lnTo>
                      <a:lnTo>
                        <a:pt x="48" y="18"/>
                      </a:lnTo>
                      <a:lnTo>
                        <a:pt x="48" y="18"/>
                      </a:lnTo>
                      <a:lnTo>
                        <a:pt x="44" y="18"/>
                      </a:lnTo>
                      <a:lnTo>
                        <a:pt x="48" y="18"/>
                      </a:lnTo>
                      <a:lnTo>
                        <a:pt x="48" y="14"/>
                      </a:lnTo>
                      <a:lnTo>
                        <a:pt x="48" y="10"/>
                      </a:lnTo>
                      <a:lnTo>
                        <a:pt x="48" y="10"/>
                      </a:lnTo>
                      <a:lnTo>
                        <a:pt x="48" y="10"/>
                      </a:lnTo>
                      <a:lnTo>
                        <a:pt x="48" y="10"/>
                      </a:lnTo>
                      <a:lnTo>
                        <a:pt x="48" y="10"/>
                      </a:lnTo>
                      <a:lnTo>
                        <a:pt x="48" y="10"/>
                      </a:lnTo>
                      <a:lnTo>
                        <a:pt x="48" y="10"/>
                      </a:lnTo>
                      <a:lnTo>
                        <a:pt x="52" y="10"/>
                      </a:lnTo>
                      <a:lnTo>
                        <a:pt x="52" y="10"/>
                      </a:lnTo>
                      <a:lnTo>
                        <a:pt x="52" y="10"/>
                      </a:lnTo>
                      <a:lnTo>
                        <a:pt x="52" y="10"/>
                      </a:lnTo>
                      <a:lnTo>
                        <a:pt x="52" y="8"/>
                      </a:lnTo>
                      <a:lnTo>
                        <a:pt x="56" y="8"/>
                      </a:lnTo>
                      <a:lnTo>
                        <a:pt x="56" y="8"/>
                      </a:lnTo>
                      <a:lnTo>
                        <a:pt x="60" y="10"/>
                      </a:lnTo>
                      <a:lnTo>
                        <a:pt x="60" y="10"/>
                      </a:lnTo>
                      <a:lnTo>
                        <a:pt x="64" y="10"/>
                      </a:lnTo>
                      <a:lnTo>
                        <a:pt x="64" y="10"/>
                      </a:lnTo>
                      <a:lnTo>
                        <a:pt x="64" y="8"/>
                      </a:lnTo>
                      <a:lnTo>
                        <a:pt x="64" y="8"/>
                      </a:lnTo>
                      <a:lnTo>
                        <a:pt x="64" y="8"/>
                      </a:lnTo>
                      <a:lnTo>
                        <a:pt x="64" y="8"/>
                      </a:lnTo>
                      <a:lnTo>
                        <a:pt x="64" y="4"/>
                      </a:lnTo>
                      <a:lnTo>
                        <a:pt x="68" y="4"/>
                      </a:lnTo>
                      <a:lnTo>
                        <a:pt x="68" y="4"/>
                      </a:lnTo>
                      <a:lnTo>
                        <a:pt x="70" y="0"/>
                      </a:lnTo>
                      <a:lnTo>
                        <a:pt x="70" y="0"/>
                      </a:lnTo>
                      <a:lnTo>
                        <a:pt x="70" y="4"/>
                      </a:lnTo>
                      <a:lnTo>
                        <a:pt x="70" y="4"/>
                      </a:lnTo>
                      <a:lnTo>
                        <a:pt x="70" y="4"/>
                      </a:lnTo>
                      <a:lnTo>
                        <a:pt x="70" y="4"/>
                      </a:lnTo>
                      <a:lnTo>
                        <a:pt x="74" y="4"/>
                      </a:lnTo>
                      <a:lnTo>
                        <a:pt x="74" y="4"/>
                      </a:lnTo>
                      <a:lnTo>
                        <a:pt x="74" y="4"/>
                      </a:lnTo>
                      <a:lnTo>
                        <a:pt x="78" y="4"/>
                      </a:lnTo>
                      <a:lnTo>
                        <a:pt x="78" y="4"/>
                      </a:lnTo>
                      <a:lnTo>
                        <a:pt x="78" y="4"/>
                      </a:lnTo>
                      <a:lnTo>
                        <a:pt x="78" y="4"/>
                      </a:lnTo>
                      <a:lnTo>
                        <a:pt x="78" y="8"/>
                      </a:lnTo>
                      <a:lnTo>
                        <a:pt x="78" y="8"/>
                      </a:lnTo>
                      <a:lnTo>
                        <a:pt x="78" y="8"/>
                      </a:lnTo>
                      <a:lnTo>
                        <a:pt x="82" y="8"/>
                      </a:lnTo>
                      <a:lnTo>
                        <a:pt x="82" y="4"/>
                      </a:lnTo>
                      <a:lnTo>
                        <a:pt x="82" y="4"/>
                      </a:lnTo>
                      <a:lnTo>
                        <a:pt x="82" y="4"/>
                      </a:lnTo>
                      <a:lnTo>
                        <a:pt x="84" y="4"/>
                      </a:lnTo>
                      <a:lnTo>
                        <a:pt x="84" y="4"/>
                      </a:lnTo>
                      <a:lnTo>
                        <a:pt x="88" y="8"/>
                      </a:lnTo>
                      <a:lnTo>
                        <a:pt x="88" y="8"/>
                      </a:lnTo>
                      <a:lnTo>
                        <a:pt x="88" y="8"/>
                      </a:lnTo>
                      <a:lnTo>
                        <a:pt x="84" y="10"/>
                      </a:lnTo>
                      <a:lnTo>
                        <a:pt x="88" y="10"/>
                      </a:lnTo>
                      <a:lnTo>
                        <a:pt x="88" y="10"/>
                      </a:lnTo>
                      <a:lnTo>
                        <a:pt x="88" y="10"/>
                      </a:lnTo>
                      <a:lnTo>
                        <a:pt x="92" y="10"/>
                      </a:lnTo>
                      <a:lnTo>
                        <a:pt x="92" y="8"/>
                      </a:lnTo>
                      <a:lnTo>
                        <a:pt x="96" y="8"/>
                      </a:lnTo>
                      <a:lnTo>
                        <a:pt x="96" y="8"/>
                      </a:lnTo>
                      <a:lnTo>
                        <a:pt x="100" y="8"/>
                      </a:lnTo>
                      <a:lnTo>
                        <a:pt x="104" y="10"/>
                      </a:lnTo>
                      <a:lnTo>
                        <a:pt x="104" y="10"/>
                      </a:lnTo>
                      <a:lnTo>
                        <a:pt x="104" y="10"/>
                      </a:lnTo>
                      <a:lnTo>
                        <a:pt x="104" y="10"/>
                      </a:lnTo>
                      <a:lnTo>
                        <a:pt x="108" y="14"/>
                      </a:lnTo>
                      <a:lnTo>
                        <a:pt x="108" y="14"/>
                      </a:lnTo>
                      <a:lnTo>
                        <a:pt x="108" y="14"/>
                      </a:lnTo>
                      <a:lnTo>
                        <a:pt x="108" y="14"/>
                      </a:lnTo>
                      <a:lnTo>
                        <a:pt x="108" y="14"/>
                      </a:lnTo>
                      <a:lnTo>
                        <a:pt x="108" y="14"/>
                      </a:lnTo>
                      <a:lnTo>
                        <a:pt x="108" y="14"/>
                      </a:lnTo>
                      <a:lnTo>
                        <a:pt x="108" y="14"/>
                      </a:lnTo>
                      <a:lnTo>
                        <a:pt x="108" y="18"/>
                      </a:lnTo>
                      <a:lnTo>
                        <a:pt x="108" y="18"/>
                      </a:lnTo>
                      <a:lnTo>
                        <a:pt x="108" y="18"/>
                      </a:lnTo>
                      <a:lnTo>
                        <a:pt x="108" y="18"/>
                      </a:lnTo>
                      <a:lnTo>
                        <a:pt x="108" y="18"/>
                      </a:lnTo>
                      <a:lnTo>
                        <a:pt x="108" y="18"/>
                      </a:lnTo>
                      <a:lnTo>
                        <a:pt x="108" y="22"/>
                      </a:lnTo>
                      <a:lnTo>
                        <a:pt x="108" y="22"/>
                      </a:lnTo>
                      <a:lnTo>
                        <a:pt x="112" y="22"/>
                      </a:lnTo>
                      <a:lnTo>
                        <a:pt x="112" y="26"/>
                      </a:lnTo>
                      <a:lnTo>
                        <a:pt x="108" y="26"/>
                      </a:lnTo>
                      <a:lnTo>
                        <a:pt x="108" y="30"/>
                      </a:lnTo>
                      <a:lnTo>
                        <a:pt x="108" y="30"/>
                      </a:lnTo>
                      <a:lnTo>
                        <a:pt x="108" y="30"/>
                      </a:lnTo>
                      <a:lnTo>
                        <a:pt x="108" y="30"/>
                      </a:lnTo>
                      <a:lnTo>
                        <a:pt x="108" y="30"/>
                      </a:lnTo>
                      <a:lnTo>
                        <a:pt x="108" y="34"/>
                      </a:lnTo>
                      <a:lnTo>
                        <a:pt x="108" y="34"/>
                      </a:lnTo>
                      <a:lnTo>
                        <a:pt x="108" y="34"/>
                      </a:lnTo>
                      <a:lnTo>
                        <a:pt x="112" y="34"/>
                      </a:lnTo>
                      <a:lnTo>
                        <a:pt x="112" y="34"/>
                      </a:lnTo>
                      <a:lnTo>
                        <a:pt x="112" y="38"/>
                      </a:lnTo>
                      <a:lnTo>
                        <a:pt x="112" y="38"/>
                      </a:lnTo>
                      <a:lnTo>
                        <a:pt x="112" y="38"/>
                      </a:lnTo>
                      <a:lnTo>
                        <a:pt x="112" y="38"/>
                      </a:lnTo>
                      <a:lnTo>
                        <a:pt x="112" y="38"/>
                      </a:lnTo>
                      <a:lnTo>
                        <a:pt x="112" y="38"/>
                      </a:lnTo>
                      <a:lnTo>
                        <a:pt x="114" y="38"/>
                      </a:lnTo>
                      <a:lnTo>
                        <a:pt x="114" y="40"/>
                      </a:lnTo>
                      <a:lnTo>
                        <a:pt x="114" y="40"/>
                      </a:lnTo>
                      <a:lnTo>
                        <a:pt x="114" y="44"/>
                      </a:lnTo>
                      <a:lnTo>
                        <a:pt x="118" y="44"/>
                      </a:lnTo>
                      <a:lnTo>
                        <a:pt x="118" y="44"/>
                      </a:lnTo>
                      <a:lnTo>
                        <a:pt x="118" y="44"/>
                      </a:lnTo>
                      <a:lnTo>
                        <a:pt x="118" y="44"/>
                      </a:lnTo>
                      <a:lnTo>
                        <a:pt x="122" y="44"/>
                      </a:lnTo>
                      <a:lnTo>
                        <a:pt x="122" y="48"/>
                      </a:lnTo>
                      <a:lnTo>
                        <a:pt x="122" y="48"/>
                      </a:lnTo>
                      <a:lnTo>
                        <a:pt x="122" y="48"/>
                      </a:lnTo>
                      <a:lnTo>
                        <a:pt x="122" y="52"/>
                      </a:lnTo>
                      <a:lnTo>
                        <a:pt x="122" y="52"/>
                      </a:lnTo>
                      <a:lnTo>
                        <a:pt x="122" y="52"/>
                      </a:lnTo>
                      <a:lnTo>
                        <a:pt x="122" y="52"/>
                      </a:lnTo>
                      <a:lnTo>
                        <a:pt x="122" y="52"/>
                      </a:lnTo>
                      <a:lnTo>
                        <a:pt x="122" y="52"/>
                      </a:lnTo>
                      <a:lnTo>
                        <a:pt x="122" y="52"/>
                      </a:lnTo>
                      <a:lnTo>
                        <a:pt x="122" y="52"/>
                      </a:lnTo>
                      <a:lnTo>
                        <a:pt x="126" y="52"/>
                      </a:lnTo>
                      <a:lnTo>
                        <a:pt x="130" y="52"/>
                      </a:lnTo>
                      <a:lnTo>
                        <a:pt x="130" y="56"/>
                      </a:lnTo>
                      <a:lnTo>
                        <a:pt x="130" y="56"/>
                      </a:lnTo>
                      <a:lnTo>
                        <a:pt x="130" y="56"/>
                      </a:lnTo>
                      <a:lnTo>
                        <a:pt x="130" y="56"/>
                      </a:lnTo>
                      <a:lnTo>
                        <a:pt x="130" y="56"/>
                      </a:lnTo>
                      <a:lnTo>
                        <a:pt x="130" y="56"/>
                      </a:lnTo>
                      <a:lnTo>
                        <a:pt x="130" y="60"/>
                      </a:lnTo>
                      <a:lnTo>
                        <a:pt x="134" y="60"/>
                      </a:lnTo>
                      <a:lnTo>
                        <a:pt x="134" y="60"/>
                      </a:lnTo>
                      <a:lnTo>
                        <a:pt x="134" y="60"/>
                      </a:lnTo>
                      <a:lnTo>
                        <a:pt x="134" y="60"/>
                      </a:lnTo>
                      <a:lnTo>
                        <a:pt x="134" y="60"/>
                      </a:lnTo>
                      <a:lnTo>
                        <a:pt x="134" y="64"/>
                      </a:lnTo>
                      <a:lnTo>
                        <a:pt x="134" y="64"/>
                      </a:lnTo>
                      <a:lnTo>
                        <a:pt x="130" y="68"/>
                      </a:lnTo>
                      <a:lnTo>
                        <a:pt x="130" y="68"/>
                      </a:lnTo>
                      <a:lnTo>
                        <a:pt x="130" y="68"/>
                      </a:lnTo>
                      <a:lnTo>
                        <a:pt x="126" y="68"/>
                      </a:lnTo>
                      <a:lnTo>
                        <a:pt x="126" y="68"/>
                      </a:lnTo>
                      <a:lnTo>
                        <a:pt x="126" y="68"/>
                      </a:lnTo>
                      <a:lnTo>
                        <a:pt x="122" y="68"/>
                      </a:lnTo>
                      <a:lnTo>
                        <a:pt x="122" y="68"/>
                      </a:lnTo>
                      <a:lnTo>
                        <a:pt x="122" y="68"/>
                      </a:lnTo>
                      <a:lnTo>
                        <a:pt x="122" y="68"/>
                      </a:lnTo>
                      <a:lnTo>
                        <a:pt x="122" y="68"/>
                      </a:lnTo>
                      <a:lnTo>
                        <a:pt x="118" y="68"/>
                      </a:lnTo>
                      <a:lnTo>
                        <a:pt x="114" y="68"/>
                      </a:lnTo>
                      <a:lnTo>
                        <a:pt x="114" y="68"/>
                      </a:lnTo>
                      <a:lnTo>
                        <a:pt x="114" y="68"/>
                      </a:lnTo>
                      <a:lnTo>
                        <a:pt x="114" y="68"/>
                      </a:lnTo>
                      <a:lnTo>
                        <a:pt x="114" y="68"/>
                      </a:lnTo>
                      <a:lnTo>
                        <a:pt x="114" y="68"/>
                      </a:lnTo>
                      <a:lnTo>
                        <a:pt x="114" y="70"/>
                      </a:lnTo>
                      <a:lnTo>
                        <a:pt x="114" y="70"/>
                      </a:lnTo>
                      <a:lnTo>
                        <a:pt x="114" y="70"/>
                      </a:lnTo>
                      <a:lnTo>
                        <a:pt x="114" y="70"/>
                      </a:lnTo>
                      <a:lnTo>
                        <a:pt x="114" y="74"/>
                      </a:lnTo>
                      <a:lnTo>
                        <a:pt x="118" y="74"/>
                      </a:lnTo>
                      <a:lnTo>
                        <a:pt x="118" y="74"/>
                      </a:lnTo>
                      <a:lnTo>
                        <a:pt x="118" y="74"/>
                      </a:lnTo>
                      <a:lnTo>
                        <a:pt x="118" y="74"/>
                      </a:lnTo>
                      <a:lnTo>
                        <a:pt x="118" y="74"/>
                      </a:lnTo>
                      <a:lnTo>
                        <a:pt x="118" y="74"/>
                      </a:lnTo>
                      <a:lnTo>
                        <a:pt x="118" y="78"/>
                      </a:lnTo>
                      <a:lnTo>
                        <a:pt x="118" y="78"/>
                      </a:lnTo>
                      <a:lnTo>
                        <a:pt x="118" y="82"/>
                      </a:lnTo>
                      <a:lnTo>
                        <a:pt x="118" y="82"/>
                      </a:lnTo>
                      <a:lnTo>
                        <a:pt x="118" y="86"/>
                      </a:lnTo>
                      <a:lnTo>
                        <a:pt x="118" y="86"/>
                      </a:lnTo>
                      <a:lnTo>
                        <a:pt x="118" y="86"/>
                      </a:lnTo>
                      <a:lnTo>
                        <a:pt x="122" y="86"/>
                      </a:lnTo>
                      <a:lnTo>
                        <a:pt x="122" y="90"/>
                      </a:lnTo>
                      <a:lnTo>
                        <a:pt x="122" y="90"/>
                      </a:lnTo>
                      <a:lnTo>
                        <a:pt x="122" y="90"/>
                      </a:lnTo>
                      <a:lnTo>
                        <a:pt x="118" y="90"/>
                      </a:lnTo>
                      <a:lnTo>
                        <a:pt x="118" y="90"/>
                      </a:lnTo>
                      <a:lnTo>
                        <a:pt x="118" y="90"/>
                      </a:lnTo>
                      <a:lnTo>
                        <a:pt x="118" y="90"/>
                      </a:lnTo>
                      <a:lnTo>
                        <a:pt x="114" y="90"/>
                      </a:lnTo>
                      <a:lnTo>
                        <a:pt x="114" y="90"/>
                      </a:lnTo>
                      <a:lnTo>
                        <a:pt x="114" y="90"/>
                      </a:lnTo>
                      <a:lnTo>
                        <a:pt x="114" y="90"/>
                      </a:lnTo>
                      <a:lnTo>
                        <a:pt x="114" y="90"/>
                      </a:lnTo>
                      <a:lnTo>
                        <a:pt x="112" y="90"/>
                      </a:lnTo>
                      <a:lnTo>
                        <a:pt x="112" y="90"/>
                      </a:lnTo>
                      <a:lnTo>
                        <a:pt x="108" y="90"/>
                      </a:lnTo>
                      <a:lnTo>
                        <a:pt x="108" y="90"/>
                      </a:lnTo>
                      <a:lnTo>
                        <a:pt x="108" y="90"/>
                      </a:lnTo>
                      <a:lnTo>
                        <a:pt x="108" y="90"/>
                      </a:lnTo>
                      <a:lnTo>
                        <a:pt x="108" y="94"/>
                      </a:lnTo>
                      <a:lnTo>
                        <a:pt x="108" y="94"/>
                      </a:lnTo>
                      <a:lnTo>
                        <a:pt x="108" y="94"/>
                      </a:lnTo>
                      <a:lnTo>
                        <a:pt x="104" y="94"/>
                      </a:lnTo>
                      <a:lnTo>
                        <a:pt x="104" y="98"/>
                      </a:lnTo>
                      <a:lnTo>
                        <a:pt x="104" y="98"/>
                      </a:lnTo>
                      <a:lnTo>
                        <a:pt x="104" y="98"/>
                      </a:lnTo>
                      <a:lnTo>
                        <a:pt x="104" y="100"/>
                      </a:lnTo>
                      <a:lnTo>
                        <a:pt x="104" y="100"/>
                      </a:lnTo>
                      <a:lnTo>
                        <a:pt x="104" y="104"/>
                      </a:lnTo>
                      <a:lnTo>
                        <a:pt x="104" y="104"/>
                      </a:lnTo>
                      <a:lnTo>
                        <a:pt x="104" y="104"/>
                      </a:lnTo>
                      <a:lnTo>
                        <a:pt x="104" y="104"/>
                      </a:lnTo>
                      <a:lnTo>
                        <a:pt x="104" y="108"/>
                      </a:lnTo>
                      <a:lnTo>
                        <a:pt x="104" y="104"/>
                      </a:lnTo>
                      <a:lnTo>
                        <a:pt x="100" y="104"/>
                      </a:lnTo>
                      <a:lnTo>
                        <a:pt x="100" y="104"/>
                      </a:lnTo>
                      <a:lnTo>
                        <a:pt x="100" y="100"/>
                      </a:lnTo>
                      <a:lnTo>
                        <a:pt x="100" y="100"/>
                      </a:lnTo>
                      <a:lnTo>
                        <a:pt x="96" y="100"/>
                      </a:lnTo>
                      <a:lnTo>
                        <a:pt x="96" y="100"/>
                      </a:lnTo>
                      <a:lnTo>
                        <a:pt x="96" y="100"/>
                      </a:lnTo>
                      <a:lnTo>
                        <a:pt x="96" y="100"/>
                      </a:lnTo>
                      <a:lnTo>
                        <a:pt x="96" y="100"/>
                      </a:lnTo>
                      <a:lnTo>
                        <a:pt x="92" y="104"/>
                      </a:lnTo>
                      <a:lnTo>
                        <a:pt x="92" y="104"/>
                      </a:lnTo>
                      <a:lnTo>
                        <a:pt x="92" y="104"/>
                      </a:lnTo>
                      <a:lnTo>
                        <a:pt x="92" y="104"/>
                      </a:lnTo>
                      <a:lnTo>
                        <a:pt x="92" y="100"/>
                      </a:lnTo>
                      <a:lnTo>
                        <a:pt x="92" y="100"/>
                      </a:lnTo>
                      <a:lnTo>
                        <a:pt x="88" y="100"/>
                      </a:lnTo>
                      <a:lnTo>
                        <a:pt x="88" y="104"/>
                      </a:lnTo>
                      <a:lnTo>
                        <a:pt x="84" y="104"/>
                      </a:lnTo>
                      <a:lnTo>
                        <a:pt x="84" y="104"/>
                      </a:lnTo>
                      <a:lnTo>
                        <a:pt x="84" y="104"/>
                      </a:lnTo>
                      <a:lnTo>
                        <a:pt x="84" y="100"/>
                      </a:lnTo>
                      <a:lnTo>
                        <a:pt x="84" y="100"/>
                      </a:lnTo>
                      <a:lnTo>
                        <a:pt x="84" y="100"/>
                      </a:lnTo>
                      <a:lnTo>
                        <a:pt x="84" y="100"/>
                      </a:lnTo>
                      <a:lnTo>
                        <a:pt x="84" y="100"/>
                      </a:lnTo>
                      <a:lnTo>
                        <a:pt x="82" y="100"/>
                      </a:lnTo>
                      <a:lnTo>
                        <a:pt x="82" y="100"/>
                      </a:lnTo>
                      <a:lnTo>
                        <a:pt x="78" y="100"/>
                      </a:lnTo>
                      <a:lnTo>
                        <a:pt x="78" y="100"/>
                      </a:lnTo>
                      <a:lnTo>
                        <a:pt x="78" y="100"/>
                      </a:lnTo>
                      <a:lnTo>
                        <a:pt x="78" y="100"/>
                      </a:lnTo>
                      <a:lnTo>
                        <a:pt x="78" y="104"/>
                      </a:lnTo>
                      <a:lnTo>
                        <a:pt x="78" y="104"/>
                      </a:lnTo>
                      <a:lnTo>
                        <a:pt x="78" y="104"/>
                      </a:lnTo>
                      <a:lnTo>
                        <a:pt x="78" y="104"/>
                      </a:lnTo>
                      <a:lnTo>
                        <a:pt x="78" y="100"/>
                      </a:lnTo>
                      <a:lnTo>
                        <a:pt x="78" y="100"/>
                      </a:lnTo>
                      <a:lnTo>
                        <a:pt x="78" y="100"/>
                      </a:lnTo>
                      <a:lnTo>
                        <a:pt x="74" y="100"/>
                      </a:lnTo>
                      <a:lnTo>
                        <a:pt x="74" y="100"/>
                      </a:lnTo>
                      <a:lnTo>
                        <a:pt x="74" y="100"/>
                      </a:lnTo>
                      <a:lnTo>
                        <a:pt x="70" y="100"/>
                      </a:lnTo>
                      <a:lnTo>
                        <a:pt x="70" y="98"/>
                      </a:lnTo>
                      <a:lnTo>
                        <a:pt x="70" y="98"/>
                      </a:lnTo>
                      <a:lnTo>
                        <a:pt x="70" y="100"/>
                      </a:lnTo>
                      <a:lnTo>
                        <a:pt x="70" y="100"/>
                      </a:lnTo>
                      <a:lnTo>
                        <a:pt x="70" y="100"/>
                      </a:lnTo>
                      <a:lnTo>
                        <a:pt x="70" y="100"/>
                      </a:lnTo>
                      <a:lnTo>
                        <a:pt x="70" y="100"/>
                      </a:lnTo>
                      <a:lnTo>
                        <a:pt x="68" y="100"/>
                      </a:lnTo>
                      <a:lnTo>
                        <a:pt x="68" y="100"/>
                      </a:lnTo>
                      <a:lnTo>
                        <a:pt x="68" y="100"/>
                      </a:lnTo>
                      <a:lnTo>
                        <a:pt x="68" y="100"/>
                      </a:lnTo>
                      <a:lnTo>
                        <a:pt x="68" y="100"/>
                      </a:lnTo>
                      <a:lnTo>
                        <a:pt x="68" y="100"/>
                      </a:lnTo>
                      <a:lnTo>
                        <a:pt x="68" y="100"/>
                      </a:lnTo>
                      <a:lnTo>
                        <a:pt x="68" y="100"/>
                      </a:lnTo>
                      <a:lnTo>
                        <a:pt x="68" y="100"/>
                      </a:lnTo>
                      <a:lnTo>
                        <a:pt x="68" y="100"/>
                      </a:lnTo>
                      <a:lnTo>
                        <a:pt x="64" y="100"/>
                      </a:lnTo>
                      <a:lnTo>
                        <a:pt x="64" y="100"/>
                      </a:lnTo>
                      <a:lnTo>
                        <a:pt x="64" y="100"/>
                      </a:lnTo>
                      <a:lnTo>
                        <a:pt x="64" y="100"/>
                      </a:lnTo>
                      <a:lnTo>
                        <a:pt x="64" y="100"/>
                      </a:lnTo>
                      <a:lnTo>
                        <a:pt x="64" y="100"/>
                      </a:lnTo>
                      <a:lnTo>
                        <a:pt x="60" y="100"/>
                      </a:lnTo>
                      <a:lnTo>
                        <a:pt x="60" y="100"/>
                      </a:lnTo>
                      <a:lnTo>
                        <a:pt x="60" y="100"/>
                      </a:lnTo>
                      <a:lnTo>
                        <a:pt x="60" y="100"/>
                      </a:lnTo>
                      <a:lnTo>
                        <a:pt x="56" y="98"/>
                      </a:lnTo>
                      <a:lnTo>
                        <a:pt x="56" y="98"/>
                      </a:lnTo>
                      <a:lnTo>
                        <a:pt x="56" y="98"/>
                      </a:lnTo>
                      <a:lnTo>
                        <a:pt x="56" y="98"/>
                      </a:lnTo>
                      <a:lnTo>
                        <a:pt x="56" y="98"/>
                      </a:lnTo>
                      <a:lnTo>
                        <a:pt x="56" y="98"/>
                      </a:lnTo>
                      <a:lnTo>
                        <a:pt x="52" y="98"/>
                      </a:lnTo>
                      <a:lnTo>
                        <a:pt x="52" y="98"/>
                      </a:lnTo>
                      <a:lnTo>
                        <a:pt x="52" y="98"/>
                      </a:lnTo>
                      <a:lnTo>
                        <a:pt x="52" y="98"/>
                      </a:lnTo>
                      <a:lnTo>
                        <a:pt x="52" y="98"/>
                      </a:lnTo>
                      <a:lnTo>
                        <a:pt x="52" y="98"/>
                      </a:lnTo>
                      <a:lnTo>
                        <a:pt x="48" y="98"/>
                      </a:lnTo>
                      <a:lnTo>
                        <a:pt x="48" y="98"/>
                      </a:lnTo>
                      <a:lnTo>
                        <a:pt x="48" y="94"/>
                      </a:lnTo>
                      <a:lnTo>
                        <a:pt x="48" y="94"/>
                      </a:lnTo>
                      <a:lnTo>
                        <a:pt x="48" y="98"/>
                      </a:lnTo>
                      <a:lnTo>
                        <a:pt x="48" y="98"/>
                      </a:lnTo>
                      <a:lnTo>
                        <a:pt x="48" y="98"/>
                      </a:lnTo>
                      <a:lnTo>
                        <a:pt x="44" y="98"/>
                      </a:lnTo>
                      <a:lnTo>
                        <a:pt x="44" y="94"/>
                      </a:lnTo>
                      <a:lnTo>
                        <a:pt x="44" y="94"/>
                      </a:lnTo>
                      <a:lnTo>
                        <a:pt x="44" y="94"/>
                      </a:lnTo>
                      <a:lnTo>
                        <a:pt x="44" y="94"/>
                      </a:lnTo>
                      <a:lnTo>
                        <a:pt x="44" y="94"/>
                      </a:lnTo>
                      <a:lnTo>
                        <a:pt x="42" y="94"/>
                      </a:lnTo>
                      <a:lnTo>
                        <a:pt x="42" y="94"/>
                      </a:lnTo>
                      <a:lnTo>
                        <a:pt x="42" y="94"/>
                      </a:lnTo>
                      <a:lnTo>
                        <a:pt x="42" y="94"/>
                      </a:lnTo>
                      <a:lnTo>
                        <a:pt x="38" y="94"/>
                      </a:lnTo>
                      <a:lnTo>
                        <a:pt x="38" y="94"/>
                      </a:lnTo>
                      <a:lnTo>
                        <a:pt x="38" y="94"/>
                      </a:lnTo>
                      <a:lnTo>
                        <a:pt x="34" y="94"/>
                      </a:lnTo>
                      <a:lnTo>
                        <a:pt x="34" y="94"/>
                      </a:lnTo>
                      <a:lnTo>
                        <a:pt x="34" y="94"/>
                      </a:lnTo>
                      <a:lnTo>
                        <a:pt x="34" y="94"/>
                      </a:lnTo>
                      <a:lnTo>
                        <a:pt x="34" y="94"/>
                      </a:lnTo>
                      <a:lnTo>
                        <a:pt x="34" y="94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51" name="Freeform 91"/>
                <p:cNvSpPr>
                  <a:spLocks/>
                </p:cNvSpPr>
                <p:nvPr/>
              </p:nvSpPr>
              <p:spPr bwMode="auto">
                <a:xfrm>
                  <a:off x="4454525" y="3060768"/>
                  <a:ext cx="79375" cy="63500"/>
                </a:xfrm>
                <a:custGeom>
                  <a:avLst/>
                  <a:gdLst>
                    <a:gd name="T0" fmla="*/ 22 w 50"/>
                    <a:gd name="T1" fmla="*/ 26 h 40"/>
                    <a:gd name="T2" fmla="*/ 18 w 50"/>
                    <a:gd name="T3" fmla="*/ 26 h 40"/>
                    <a:gd name="T4" fmla="*/ 14 w 50"/>
                    <a:gd name="T5" fmla="*/ 22 h 40"/>
                    <a:gd name="T6" fmla="*/ 10 w 50"/>
                    <a:gd name="T7" fmla="*/ 22 h 40"/>
                    <a:gd name="T8" fmla="*/ 6 w 50"/>
                    <a:gd name="T9" fmla="*/ 18 h 40"/>
                    <a:gd name="T10" fmla="*/ 6 w 50"/>
                    <a:gd name="T11" fmla="*/ 14 h 40"/>
                    <a:gd name="T12" fmla="*/ 2 w 50"/>
                    <a:gd name="T13" fmla="*/ 14 h 40"/>
                    <a:gd name="T14" fmla="*/ 2 w 50"/>
                    <a:gd name="T15" fmla="*/ 14 h 40"/>
                    <a:gd name="T16" fmla="*/ 0 w 50"/>
                    <a:gd name="T17" fmla="*/ 10 h 40"/>
                    <a:gd name="T18" fmla="*/ 2 w 50"/>
                    <a:gd name="T19" fmla="*/ 6 h 40"/>
                    <a:gd name="T20" fmla="*/ 10 w 50"/>
                    <a:gd name="T21" fmla="*/ 4 h 40"/>
                    <a:gd name="T22" fmla="*/ 10 w 50"/>
                    <a:gd name="T23" fmla="*/ 6 h 40"/>
                    <a:gd name="T24" fmla="*/ 14 w 50"/>
                    <a:gd name="T25" fmla="*/ 4 h 40"/>
                    <a:gd name="T26" fmla="*/ 18 w 50"/>
                    <a:gd name="T27" fmla="*/ 6 h 40"/>
                    <a:gd name="T28" fmla="*/ 22 w 50"/>
                    <a:gd name="T29" fmla="*/ 4 h 40"/>
                    <a:gd name="T30" fmla="*/ 22 w 50"/>
                    <a:gd name="T31" fmla="*/ 4 h 40"/>
                    <a:gd name="T32" fmla="*/ 22 w 50"/>
                    <a:gd name="T33" fmla="*/ 6 h 40"/>
                    <a:gd name="T34" fmla="*/ 22 w 50"/>
                    <a:gd name="T35" fmla="*/ 4 h 40"/>
                    <a:gd name="T36" fmla="*/ 26 w 50"/>
                    <a:gd name="T37" fmla="*/ 4 h 40"/>
                    <a:gd name="T38" fmla="*/ 26 w 50"/>
                    <a:gd name="T39" fmla="*/ 4 h 40"/>
                    <a:gd name="T40" fmla="*/ 26 w 50"/>
                    <a:gd name="T41" fmla="*/ 0 h 40"/>
                    <a:gd name="T42" fmla="*/ 30 w 50"/>
                    <a:gd name="T43" fmla="*/ 4 h 40"/>
                    <a:gd name="T44" fmla="*/ 30 w 50"/>
                    <a:gd name="T45" fmla="*/ 0 h 40"/>
                    <a:gd name="T46" fmla="*/ 32 w 50"/>
                    <a:gd name="T47" fmla="*/ 4 h 40"/>
                    <a:gd name="T48" fmla="*/ 32 w 50"/>
                    <a:gd name="T49" fmla="*/ 0 h 40"/>
                    <a:gd name="T50" fmla="*/ 36 w 50"/>
                    <a:gd name="T51" fmla="*/ 4 h 40"/>
                    <a:gd name="T52" fmla="*/ 36 w 50"/>
                    <a:gd name="T53" fmla="*/ 6 h 40"/>
                    <a:gd name="T54" fmla="*/ 40 w 50"/>
                    <a:gd name="T55" fmla="*/ 6 h 40"/>
                    <a:gd name="T56" fmla="*/ 44 w 50"/>
                    <a:gd name="T57" fmla="*/ 6 h 40"/>
                    <a:gd name="T58" fmla="*/ 44 w 50"/>
                    <a:gd name="T59" fmla="*/ 10 h 40"/>
                    <a:gd name="T60" fmla="*/ 44 w 50"/>
                    <a:gd name="T61" fmla="*/ 14 h 40"/>
                    <a:gd name="T62" fmla="*/ 44 w 50"/>
                    <a:gd name="T63" fmla="*/ 14 h 40"/>
                    <a:gd name="T64" fmla="*/ 44 w 50"/>
                    <a:gd name="T65" fmla="*/ 14 h 40"/>
                    <a:gd name="T66" fmla="*/ 48 w 50"/>
                    <a:gd name="T67" fmla="*/ 18 h 40"/>
                    <a:gd name="T68" fmla="*/ 50 w 50"/>
                    <a:gd name="T69" fmla="*/ 22 h 40"/>
                    <a:gd name="T70" fmla="*/ 50 w 50"/>
                    <a:gd name="T71" fmla="*/ 26 h 40"/>
                    <a:gd name="T72" fmla="*/ 48 w 50"/>
                    <a:gd name="T73" fmla="*/ 28 h 40"/>
                    <a:gd name="T74" fmla="*/ 48 w 50"/>
                    <a:gd name="T75" fmla="*/ 28 h 40"/>
                    <a:gd name="T76" fmla="*/ 44 w 50"/>
                    <a:gd name="T77" fmla="*/ 28 h 40"/>
                    <a:gd name="T78" fmla="*/ 44 w 50"/>
                    <a:gd name="T79" fmla="*/ 36 h 40"/>
                    <a:gd name="T80" fmla="*/ 44 w 50"/>
                    <a:gd name="T81" fmla="*/ 36 h 40"/>
                    <a:gd name="T82" fmla="*/ 44 w 50"/>
                    <a:gd name="T83" fmla="*/ 40 h 40"/>
                    <a:gd name="T84" fmla="*/ 40 w 50"/>
                    <a:gd name="T85" fmla="*/ 40 h 40"/>
                    <a:gd name="T86" fmla="*/ 40 w 50"/>
                    <a:gd name="T87" fmla="*/ 40 h 40"/>
                    <a:gd name="T88" fmla="*/ 36 w 50"/>
                    <a:gd name="T89" fmla="*/ 40 h 40"/>
                    <a:gd name="T90" fmla="*/ 32 w 50"/>
                    <a:gd name="T91" fmla="*/ 36 h 40"/>
                    <a:gd name="T92" fmla="*/ 30 w 50"/>
                    <a:gd name="T93" fmla="*/ 28 h 40"/>
                    <a:gd name="T94" fmla="*/ 30 w 50"/>
                    <a:gd name="T95" fmla="*/ 28 h 40"/>
                    <a:gd name="T96" fmla="*/ 26 w 50"/>
                    <a:gd name="T97" fmla="*/ 32 h 40"/>
                    <a:gd name="T98" fmla="*/ 22 w 50"/>
                    <a:gd name="T99" fmla="*/ 32 h 40"/>
                    <a:gd name="T100" fmla="*/ 22 w 50"/>
                    <a:gd name="T101" fmla="*/ 32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50" h="40">
                      <a:moveTo>
                        <a:pt x="22" y="32"/>
                      </a:moveTo>
                      <a:lnTo>
                        <a:pt x="22" y="32"/>
                      </a:lnTo>
                      <a:lnTo>
                        <a:pt x="22" y="28"/>
                      </a:lnTo>
                      <a:lnTo>
                        <a:pt x="22" y="26"/>
                      </a:lnTo>
                      <a:lnTo>
                        <a:pt x="22" y="26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2"/>
                      </a:lnTo>
                      <a:lnTo>
                        <a:pt x="14" y="22"/>
                      </a:lnTo>
                      <a:lnTo>
                        <a:pt x="14" y="22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6" y="22"/>
                      </a:lnTo>
                      <a:lnTo>
                        <a:pt x="6" y="18"/>
                      </a:lnTo>
                      <a:lnTo>
                        <a:pt x="6" y="18"/>
                      </a:lnTo>
                      <a:lnTo>
                        <a:pt x="6" y="18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2" y="14"/>
                      </a:lnTo>
                      <a:lnTo>
                        <a:pt x="2" y="14"/>
                      </a:lnTo>
                      <a:lnTo>
                        <a:pt x="2" y="14"/>
                      </a:lnTo>
                      <a:lnTo>
                        <a:pt x="2" y="18"/>
                      </a:lnTo>
                      <a:lnTo>
                        <a:pt x="2" y="18"/>
                      </a:lnTo>
                      <a:lnTo>
                        <a:pt x="2" y="18"/>
                      </a:lnTo>
                      <a:lnTo>
                        <a:pt x="2" y="14"/>
                      </a:lnTo>
                      <a:lnTo>
                        <a:pt x="0" y="14"/>
                      </a:lnTo>
                      <a:lnTo>
                        <a:pt x="0" y="14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6"/>
                      </a:lnTo>
                      <a:lnTo>
                        <a:pt x="10" y="6"/>
                      </a:lnTo>
                      <a:lnTo>
                        <a:pt x="10" y="6"/>
                      </a:lnTo>
                      <a:lnTo>
                        <a:pt x="10" y="6"/>
                      </a:lnTo>
                      <a:lnTo>
                        <a:pt x="10" y="6"/>
                      </a:lnTo>
                      <a:lnTo>
                        <a:pt x="10" y="6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6"/>
                      </a:lnTo>
                      <a:lnTo>
                        <a:pt x="14" y="6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22" y="6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6"/>
                      </a:lnTo>
                      <a:lnTo>
                        <a:pt x="22" y="6"/>
                      </a:lnTo>
                      <a:lnTo>
                        <a:pt x="22" y="6"/>
                      </a:lnTo>
                      <a:lnTo>
                        <a:pt x="22" y="6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2" y="4"/>
                      </a:lnTo>
                      <a:lnTo>
                        <a:pt x="32" y="4"/>
                      </a:lnTo>
                      <a:lnTo>
                        <a:pt x="32" y="0"/>
                      </a:lnTo>
                      <a:lnTo>
                        <a:pt x="32" y="0"/>
                      </a:lnTo>
                      <a:lnTo>
                        <a:pt x="32" y="0"/>
                      </a:lnTo>
                      <a:lnTo>
                        <a:pt x="32" y="4"/>
                      </a:lnTo>
                      <a:lnTo>
                        <a:pt x="32" y="4"/>
                      </a:lnTo>
                      <a:lnTo>
                        <a:pt x="36" y="4"/>
                      </a:lnTo>
                      <a:lnTo>
                        <a:pt x="36" y="4"/>
                      </a:lnTo>
                      <a:lnTo>
                        <a:pt x="36" y="4"/>
                      </a:lnTo>
                      <a:lnTo>
                        <a:pt x="36" y="4"/>
                      </a:lnTo>
                      <a:lnTo>
                        <a:pt x="36" y="6"/>
                      </a:lnTo>
                      <a:lnTo>
                        <a:pt x="36" y="6"/>
                      </a:lnTo>
                      <a:lnTo>
                        <a:pt x="40" y="6"/>
                      </a:lnTo>
                      <a:lnTo>
                        <a:pt x="40" y="6"/>
                      </a:lnTo>
                      <a:lnTo>
                        <a:pt x="40" y="4"/>
                      </a:lnTo>
                      <a:lnTo>
                        <a:pt x="40" y="6"/>
                      </a:lnTo>
                      <a:lnTo>
                        <a:pt x="40" y="6"/>
                      </a:lnTo>
                      <a:lnTo>
                        <a:pt x="40" y="6"/>
                      </a:lnTo>
                      <a:lnTo>
                        <a:pt x="44" y="6"/>
                      </a:lnTo>
                      <a:lnTo>
                        <a:pt x="44" y="6"/>
                      </a:lnTo>
                      <a:lnTo>
                        <a:pt x="44" y="6"/>
                      </a:lnTo>
                      <a:lnTo>
                        <a:pt x="44" y="10"/>
                      </a:lnTo>
                      <a:lnTo>
                        <a:pt x="44" y="10"/>
                      </a:lnTo>
                      <a:lnTo>
                        <a:pt x="44" y="10"/>
                      </a:lnTo>
                      <a:lnTo>
                        <a:pt x="40" y="14"/>
                      </a:lnTo>
                      <a:lnTo>
                        <a:pt x="40" y="14"/>
                      </a:lnTo>
                      <a:lnTo>
                        <a:pt x="40" y="14"/>
                      </a:lnTo>
                      <a:lnTo>
                        <a:pt x="44" y="14"/>
                      </a:lnTo>
                      <a:lnTo>
                        <a:pt x="44" y="14"/>
                      </a:lnTo>
                      <a:lnTo>
                        <a:pt x="44" y="14"/>
                      </a:lnTo>
                      <a:lnTo>
                        <a:pt x="44" y="14"/>
                      </a:lnTo>
                      <a:lnTo>
                        <a:pt x="44" y="14"/>
                      </a:lnTo>
                      <a:lnTo>
                        <a:pt x="44" y="14"/>
                      </a:lnTo>
                      <a:lnTo>
                        <a:pt x="44" y="14"/>
                      </a:lnTo>
                      <a:lnTo>
                        <a:pt x="44" y="14"/>
                      </a:lnTo>
                      <a:lnTo>
                        <a:pt x="44" y="14"/>
                      </a:lnTo>
                      <a:lnTo>
                        <a:pt x="44" y="18"/>
                      </a:lnTo>
                      <a:lnTo>
                        <a:pt x="44" y="14"/>
                      </a:lnTo>
                      <a:lnTo>
                        <a:pt x="48" y="14"/>
                      </a:lnTo>
                      <a:lnTo>
                        <a:pt x="48" y="18"/>
                      </a:lnTo>
                      <a:lnTo>
                        <a:pt x="48" y="18"/>
                      </a:lnTo>
                      <a:lnTo>
                        <a:pt x="50" y="18"/>
                      </a:lnTo>
                      <a:lnTo>
                        <a:pt x="50" y="18"/>
                      </a:lnTo>
                      <a:lnTo>
                        <a:pt x="50" y="22"/>
                      </a:lnTo>
                      <a:lnTo>
                        <a:pt x="50" y="22"/>
                      </a:lnTo>
                      <a:lnTo>
                        <a:pt x="50" y="22"/>
                      </a:lnTo>
                      <a:lnTo>
                        <a:pt x="50" y="22"/>
                      </a:lnTo>
                      <a:lnTo>
                        <a:pt x="50" y="26"/>
                      </a:lnTo>
                      <a:lnTo>
                        <a:pt x="50" y="26"/>
                      </a:lnTo>
                      <a:lnTo>
                        <a:pt x="50" y="26"/>
                      </a:lnTo>
                      <a:lnTo>
                        <a:pt x="48" y="26"/>
                      </a:lnTo>
                      <a:lnTo>
                        <a:pt x="48" y="28"/>
                      </a:lnTo>
                      <a:lnTo>
                        <a:pt x="48" y="28"/>
                      </a:lnTo>
                      <a:lnTo>
                        <a:pt x="48" y="28"/>
                      </a:lnTo>
                      <a:lnTo>
                        <a:pt x="48" y="28"/>
                      </a:lnTo>
                      <a:lnTo>
                        <a:pt x="48" y="28"/>
                      </a:lnTo>
                      <a:lnTo>
                        <a:pt x="48" y="28"/>
                      </a:lnTo>
                      <a:lnTo>
                        <a:pt x="48" y="28"/>
                      </a:lnTo>
                      <a:lnTo>
                        <a:pt x="44" y="28"/>
                      </a:lnTo>
                      <a:lnTo>
                        <a:pt x="44" y="28"/>
                      </a:lnTo>
                      <a:lnTo>
                        <a:pt x="44" y="32"/>
                      </a:lnTo>
                      <a:lnTo>
                        <a:pt x="44" y="32"/>
                      </a:lnTo>
                      <a:lnTo>
                        <a:pt x="44" y="32"/>
                      </a:lnTo>
                      <a:lnTo>
                        <a:pt x="44" y="36"/>
                      </a:lnTo>
                      <a:lnTo>
                        <a:pt x="44" y="36"/>
                      </a:lnTo>
                      <a:lnTo>
                        <a:pt x="44" y="36"/>
                      </a:lnTo>
                      <a:lnTo>
                        <a:pt x="44" y="36"/>
                      </a:lnTo>
                      <a:lnTo>
                        <a:pt x="44" y="36"/>
                      </a:lnTo>
                      <a:lnTo>
                        <a:pt x="44" y="40"/>
                      </a:lnTo>
                      <a:lnTo>
                        <a:pt x="44" y="40"/>
                      </a:lnTo>
                      <a:lnTo>
                        <a:pt x="44" y="40"/>
                      </a:lnTo>
                      <a:lnTo>
                        <a:pt x="44" y="40"/>
                      </a:lnTo>
                      <a:lnTo>
                        <a:pt x="44" y="40"/>
                      </a:lnTo>
                      <a:lnTo>
                        <a:pt x="44" y="40"/>
                      </a:lnTo>
                      <a:lnTo>
                        <a:pt x="44" y="40"/>
                      </a:lnTo>
                      <a:lnTo>
                        <a:pt x="40" y="40"/>
                      </a:lnTo>
                      <a:lnTo>
                        <a:pt x="40" y="40"/>
                      </a:lnTo>
                      <a:lnTo>
                        <a:pt x="40" y="40"/>
                      </a:lnTo>
                      <a:lnTo>
                        <a:pt x="40" y="40"/>
                      </a:lnTo>
                      <a:lnTo>
                        <a:pt x="40" y="40"/>
                      </a:lnTo>
                      <a:lnTo>
                        <a:pt x="40" y="40"/>
                      </a:lnTo>
                      <a:lnTo>
                        <a:pt x="40" y="40"/>
                      </a:lnTo>
                      <a:lnTo>
                        <a:pt x="36" y="40"/>
                      </a:lnTo>
                      <a:lnTo>
                        <a:pt x="36" y="40"/>
                      </a:lnTo>
                      <a:lnTo>
                        <a:pt x="32" y="36"/>
                      </a:lnTo>
                      <a:lnTo>
                        <a:pt x="32" y="36"/>
                      </a:lnTo>
                      <a:lnTo>
                        <a:pt x="32" y="36"/>
                      </a:lnTo>
                      <a:lnTo>
                        <a:pt x="32" y="36"/>
                      </a:lnTo>
                      <a:lnTo>
                        <a:pt x="30" y="36"/>
                      </a:lnTo>
                      <a:lnTo>
                        <a:pt x="30" y="32"/>
                      </a:lnTo>
                      <a:lnTo>
                        <a:pt x="30" y="28"/>
                      </a:lnTo>
                      <a:lnTo>
                        <a:pt x="30" y="28"/>
                      </a:lnTo>
                      <a:lnTo>
                        <a:pt x="32" y="28"/>
                      </a:lnTo>
                      <a:lnTo>
                        <a:pt x="30" y="28"/>
                      </a:lnTo>
                      <a:lnTo>
                        <a:pt x="30" y="28"/>
                      </a:lnTo>
                      <a:lnTo>
                        <a:pt x="30" y="28"/>
                      </a:lnTo>
                      <a:lnTo>
                        <a:pt x="30" y="28"/>
                      </a:lnTo>
                      <a:lnTo>
                        <a:pt x="30" y="32"/>
                      </a:lnTo>
                      <a:lnTo>
                        <a:pt x="26" y="32"/>
                      </a:lnTo>
                      <a:lnTo>
                        <a:pt x="26" y="32"/>
                      </a:lnTo>
                      <a:lnTo>
                        <a:pt x="26" y="32"/>
                      </a:lnTo>
                      <a:lnTo>
                        <a:pt x="26" y="32"/>
                      </a:lnTo>
                      <a:lnTo>
                        <a:pt x="22" y="32"/>
                      </a:lnTo>
                      <a:lnTo>
                        <a:pt x="22" y="32"/>
                      </a:lnTo>
                      <a:lnTo>
                        <a:pt x="22" y="32"/>
                      </a:lnTo>
                      <a:lnTo>
                        <a:pt x="22" y="32"/>
                      </a:lnTo>
                      <a:lnTo>
                        <a:pt x="22" y="32"/>
                      </a:lnTo>
                      <a:lnTo>
                        <a:pt x="22" y="32"/>
                      </a:lnTo>
                      <a:lnTo>
                        <a:pt x="22" y="3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52" name="Freeform 92"/>
                <p:cNvSpPr>
                  <a:spLocks/>
                </p:cNvSpPr>
                <p:nvPr/>
              </p:nvSpPr>
              <p:spPr bwMode="auto">
                <a:xfrm>
                  <a:off x="4749800" y="3267143"/>
                  <a:ext cx="82550" cy="82550"/>
                </a:xfrm>
                <a:custGeom>
                  <a:avLst/>
                  <a:gdLst>
                    <a:gd name="T0" fmla="*/ 26 w 52"/>
                    <a:gd name="T1" fmla="*/ 44 h 52"/>
                    <a:gd name="T2" fmla="*/ 26 w 52"/>
                    <a:gd name="T3" fmla="*/ 40 h 52"/>
                    <a:gd name="T4" fmla="*/ 22 w 52"/>
                    <a:gd name="T5" fmla="*/ 38 h 52"/>
                    <a:gd name="T6" fmla="*/ 18 w 52"/>
                    <a:gd name="T7" fmla="*/ 34 h 52"/>
                    <a:gd name="T8" fmla="*/ 18 w 52"/>
                    <a:gd name="T9" fmla="*/ 34 h 52"/>
                    <a:gd name="T10" fmla="*/ 14 w 52"/>
                    <a:gd name="T11" fmla="*/ 30 h 52"/>
                    <a:gd name="T12" fmla="*/ 10 w 52"/>
                    <a:gd name="T13" fmla="*/ 22 h 52"/>
                    <a:gd name="T14" fmla="*/ 6 w 52"/>
                    <a:gd name="T15" fmla="*/ 22 h 52"/>
                    <a:gd name="T16" fmla="*/ 6 w 52"/>
                    <a:gd name="T17" fmla="*/ 18 h 52"/>
                    <a:gd name="T18" fmla="*/ 4 w 52"/>
                    <a:gd name="T19" fmla="*/ 18 h 52"/>
                    <a:gd name="T20" fmla="*/ 4 w 52"/>
                    <a:gd name="T21" fmla="*/ 14 h 52"/>
                    <a:gd name="T22" fmla="*/ 4 w 52"/>
                    <a:gd name="T23" fmla="*/ 12 h 52"/>
                    <a:gd name="T24" fmla="*/ 0 w 52"/>
                    <a:gd name="T25" fmla="*/ 4 h 52"/>
                    <a:gd name="T26" fmla="*/ 0 w 52"/>
                    <a:gd name="T27" fmla="*/ 0 h 52"/>
                    <a:gd name="T28" fmla="*/ 4 w 52"/>
                    <a:gd name="T29" fmla="*/ 0 h 52"/>
                    <a:gd name="T30" fmla="*/ 6 w 52"/>
                    <a:gd name="T31" fmla="*/ 4 h 52"/>
                    <a:gd name="T32" fmla="*/ 6 w 52"/>
                    <a:gd name="T33" fmla="*/ 0 h 52"/>
                    <a:gd name="T34" fmla="*/ 10 w 52"/>
                    <a:gd name="T35" fmla="*/ 0 h 52"/>
                    <a:gd name="T36" fmla="*/ 14 w 52"/>
                    <a:gd name="T37" fmla="*/ 0 h 52"/>
                    <a:gd name="T38" fmla="*/ 18 w 52"/>
                    <a:gd name="T39" fmla="*/ 0 h 52"/>
                    <a:gd name="T40" fmla="*/ 22 w 52"/>
                    <a:gd name="T41" fmla="*/ 0 h 52"/>
                    <a:gd name="T42" fmla="*/ 26 w 52"/>
                    <a:gd name="T43" fmla="*/ 4 h 52"/>
                    <a:gd name="T44" fmla="*/ 28 w 52"/>
                    <a:gd name="T45" fmla="*/ 4 h 52"/>
                    <a:gd name="T46" fmla="*/ 32 w 52"/>
                    <a:gd name="T47" fmla="*/ 4 h 52"/>
                    <a:gd name="T48" fmla="*/ 36 w 52"/>
                    <a:gd name="T49" fmla="*/ 0 h 52"/>
                    <a:gd name="T50" fmla="*/ 40 w 52"/>
                    <a:gd name="T51" fmla="*/ 4 h 52"/>
                    <a:gd name="T52" fmla="*/ 44 w 52"/>
                    <a:gd name="T53" fmla="*/ 8 h 52"/>
                    <a:gd name="T54" fmla="*/ 48 w 52"/>
                    <a:gd name="T55" fmla="*/ 4 h 52"/>
                    <a:gd name="T56" fmla="*/ 48 w 52"/>
                    <a:gd name="T57" fmla="*/ 8 h 52"/>
                    <a:gd name="T58" fmla="*/ 48 w 52"/>
                    <a:gd name="T59" fmla="*/ 14 h 52"/>
                    <a:gd name="T60" fmla="*/ 48 w 52"/>
                    <a:gd name="T61" fmla="*/ 18 h 52"/>
                    <a:gd name="T62" fmla="*/ 52 w 52"/>
                    <a:gd name="T63" fmla="*/ 22 h 52"/>
                    <a:gd name="T64" fmla="*/ 52 w 52"/>
                    <a:gd name="T65" fmla="*/ 26 h 52"/>
                    <a:gd name="T66" fmla="*/ 48 w 52"/>
                    <a:gd name="T67" fmla="*/ 22 h 52"/>
                    <a:gd name="T68" fmla="*/ 52 w 52"/>
                    <a:gd name="T69" fmla="*/ 30 h 52"/>
                    <a:gd name="T70" fmla="*/ 52 w 52"/>
                    <a:gd name="T71" fmla="*/ 30 h 52"/>
                    <a:gd name="T72" fmla="*/ 48 w 52"/>
                    <a:gd name="T73" fmla="*/ 34 h 52"/>
                    <a:gd name="T74" fmla="*/ 44 w 52"/>
                    <a:gd name="T75" fmla="*/ 34 h 52"/>
                    <a:gd name="T76" fmla="*/ 44 w 52"/>
                    <a:gd name="T77" fmla="*/ 34 h 52"/>
                    <a:gd name="T78" fmla="*/ 44 w 52"/>
                    <a:gd name="T79" fmla="*/ 38 h 52"/>
                    <a:gd name="T80" fmla="*/ 44 w 52"/>
                    <a:gd name="T81" fmla="*/ 38 h 52"/>
                    <a:gd name="T82" fmla="*/ 40 w 52"/>
                    <a:gd name="T83" fmla="*/ 40 h 52"/>
                    <a:gd name="T84" fmla="*/ 36 w 52"/>
                    <a:gd name="T85" fmla="*/ 44 h 52"/>
                    <a:gd name="T86" fmla="*/ 36 w 52"/>
                    <a:gd name="T87" fmla="*/ 48 h 52"/>
                    <a:gd name="T88" fmla="*/ 36 w 52"/>
                    <a:gd name="T89" fmla="*/ 52 h 52"/>
                    <a:gd name="T90" fmla="*/ 36 w 52"/>
                    <a:gd name="T91" fmla="*/ 52 h 52"/>
                    <a:gd name="T92" fmla="*/ 32 w 52"/>
                    <a:gd name="T93" fmla="*/ 52 h 52"/>
                    <a:gd name="T94" fmla="*/ 28 w 52"/>
                    <a:gd name="T95" fmla="*/ 48 h 52"/>
                    <a:gd name="T96" fmla="*/ 28 w 52"/>
                    <a:gd name="T97" fmla="*/ 44 h 52"/>
                    <a:gd name="T98" fmla="*/ 26 w 52"/>
                    <a:gd name="T99" fmla="*/ 44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52" h="52">
                      <a:moveTo>
                        <a:pt x="26" y="44"/>
                      </a:moveTo>
                      <a:lnTo>
                        <a:pt x="26" y="44"/>
                      </a:lnTo>
                      <a:lnTo>
                        <a:pt x="26" y="44"/>
                      </a:lnTo>
                      <a:lnTo>
                        <a:pt x="26" y="44"/>
                      </a:lnTo>
                      <a:lnTo>
                        <a:pt x="26" y="40"/>
                      </a:lnTo>
                      <a:lnTo>
                        <a:pt x="26" y="40"/>
                      </a:lnTo>
                      <a:lnTo>
                        <a:pt x="26" y="40"/>
                      </a:lnTo>
                      <a:lnTo>
                        <a:pt x="26" y="40"/>
                      </a:lnTo>
                      <a:lnTo>
                        <a:pt x="22" y="40"/>
                      </a:lnTo>
                      <a:lnTo>
                        <a:pt x="22" y="38"/>
                      </a:lnTo>
                      <a:lnTo>
                        <a:pt x="22" y="38"/>
                      </a:lnTo>
                      <a:lnTo>
                        <a:pt x="22" y="38"/>
                      </a:lnTo>
                      <a:lnTo>
                        <a:pt x="18" y="38"/>
                      </a:lnTo>
                      <a:lnTo>
                        <a:pt x="22" y="34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4" y="34"/>
                      </a:lnTo>
                      <a:lnTo>
                        <a:pt x="14" y="34"/>
                      </a:lnTo>
                      <a:lnTo>
                        <a:pt x="14" y="30"/>
                      </a:lnTo>
                      <a:lnTo>
                        <a:pt x="14" y="30"/>
                      </a:lnTo>
                      <a:lnTo>
                        <a:pt x="10" y="26"/>
                      </a:lnTo>
                      <a:lnTo>
                        <a:pt x="10" y="26"/>
                      </a:lnTo>
                      <a:lnTo>
                        <a:pt x="10" y="26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6" y="22"/>
                      </a:lnTo>
                      <a:lnTo>
                        <a:pt x="6" y="22"/>
                      </a:lnTo>
                      <a:lnTo>
                        <a:pt x="6" y="22"/>
                      </a:lnTo>
                      <a:lnTo>
                        <a:pt x="6" y="22"/>
                      </a:lnTo>
                      <a:lnTo>
                        <a:pt x="6" y="22"/>
                      </a:lnTo>
                      <a:lnTo>
                        <a:pt x="6" y="18"/>
                      </a:lnTo>
                      <a:lnTo>
                        <a:pt x="6" y="18"/>
                      </a:lnTo>
                      <a:lnTo>
                        <a:pt x="6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0" y="12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4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6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4"/>
                      </a:lnTo>
                      <a:lnTo>
                        <a:pt x="28" y="4"/>
                      </a:lnTo>
                      <a:lnTo>
                        <a:pt x="28" y="4"/>
                      </a:lnTo>
                      <a:lnTo>
                        <a:pt x="28" y="4"/>
                      </a:lnTo>
                      <a:lnTo>
                        <a:pt x="28" y="4"/>
                      </a:lnTo>
                      <a:lnTo>
                        <a:pt x="32" y="4"/>
                      </a:lnTo>
                      <a:lnTo>
                        <a:pt x="32" y="4"/>
                      </a:lnTo>
                      <a:lnTo>
                        <a:pt x="32" y="4"/>
                      </a:lnTo>
                      <a:lnTo>
                        <a:pt x="32" y="4"/>
                      </a:lnTo>
                      <a:lnTo>
                        <a:pt x="32" y="4"/>
                      </a:lnTo>
                      <a:lnTo>
                        <a:pt x="32" y="0"/>
                      </a:lnTo>
                      <a:lnTo>
                        <a:pt x="32" y="0"/>
                      </a:lnTo>
                      <a:lnTo>
                        <a:pt x="36" y="0"/>
                      </a:lnTo>
                      <a:lnTo>
                        <a:pt x="40" y="4"/>
                      </a:lnTo>
                      <a:lnTo>
                        <a:pt x="40" y="4"/>
                      </a:lnTo>
                      <a:lnTo>
                        <a:pt x="40" y="4"/>
                      </a:lnTo>
                      <a:lnTo>
                        <a:pt x="40" y="4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8" y="8"/>
                      </a:lnTo>
                      <a:lnTo>
                        <a:pt x="48" y="4"/>
                      </a:lnTo>
                      <a:lnTo>
                        <a:pt x="48" y="8"/>
                      </a:lnTo>
                      <a:lnTo>
                        <a:pt x="52" y="8"/>
                      </a:lnTo>
                      <a:lnTo>
                        <a:pt x="52" y="8"/>
                      </a:lnTo>
                      <a:lnTo>
                        <a:pt x="48" y="8"/>
                      </a:lnTo>
                      <a:lnTo>
                        <a:pt x="48" y="8"/>
                      </a:lnTo>
                      <a:lnTo>
                        <a:pt x="48" y="12"/>
                      </a:lnTo>
                      <a:lnTo>
                        <a:pt x="48" y="12"/>
                      </a:lnTo>
                      <a:lnTo>
                        <a:pt x="48" y="14"/>
                      </a:lnTo>
                      <a:lnTo>
                        <a:pt x="48" y="14"/>
                      </a:lnTo>
                      <a:lnTo>
                        <a:pt x="48" y="18"/>
                      </a:lnTo>
                      <a:lnTo>
                        <a:pt x="48" y="18"/>
                      </a:lnTo>
                      <a:lnTo>
                        <a:pt x="48" y="18"/>
                      </a:lnTo>
                      <a:lnTo>
                        <a:pt x="48" y="18"/>
                      </a:lnTo>
                      <a:lnTo>
                        <a:pt x="48" y="18"/>
                      </a:lnTo>
                      <a:lnTo>
                        <a:pt x="52" y="22"/>
                      </a:lnTo>
                      <a:lnTo>
                        <a:pt x="52" y="22"/>
                      </a:lnTo>
                      <a:lnTo>
                        <a:pt x="52" y="22"/>
                      </a:lnTo>
                      <a:lnTo>
                        <a:pt x="52" y="22"/>
                      </a:lnTo>
                      <a:lnTo>
                        <a:pt x="52" y="26"/>
                      </a:lnTo>
                      <a:lnTo>
                        <a:pt x="52" y="26"/>
                      </a:lnTo>
                      <a:lnTo>
                        <a:pt x="52" y="26"/>
                      </a:lnTo>
                      <a:lnTo>
                        <a:pt x="48" y="26"/>
                      </a:lnTo>
                      <a:lnTo>
                        <a:pt x="48" y="22"/>
                      </a:lnTo>
                      <a:lnTo>
                        <a:pt x="48" y="22"/>
                      </a:lnTo>
                      <a:lnTo>
                        <a:pt x="48" y="26"/>
                      </a:lnTo>
                      <a:lnTo>
                        <a:pt x="48" y="26"/>
                      </a:lnTo>
                      <a:lnTo>
                        <a:pt x="52" y="26"/>
                      </a:lnTo>
                      <a:lnTo>
                        <a:pt x="52" y="30"/>
                      </a:lnTo>
                      <a:lnTo>
                        <a:pt x="52" y="30"/>
                      </a:lnTo>
                      <a:lnTo>
                        <a:pt x="52" y="30"/>
                      </a:lnTo>
                      <a:lnTo>
                        <a:pt x="52" y="30"/>
                      </a:lnTo>
                      <a:lnTo>
                        <a:pt x="52" y="30"/>
                      </a:lnTo>
                      <a:lnTo>
                        <a:pt x="52" y="34"/>
                      </a:lnTo>
                      <a:lnTo>
                        <a:pt x="52" y="34"/>
                      </a:lnTo>
                      <a:lnTo>
                        <a:pt x="52" y="34"/>
                      </a:lnTo>
                      <a:lnTo>
                        <a:pt x="48" y="34"/>
                      </a:lnTo>
                      <a:lnTo>
                        <a:pt x="48" y="34"/>
                      </a:lnTo>
                      <a:lnTo>
                        <a:pt x="48" y="34"/>
                      </a:lnTo>
                      <a:lnTo>
                        <a:pt x="44" y="34"/>
                      </a:lnTo>
                      <a:lnTo>
                        <a:pt x="44" y="34"/>
                      </a:lnTo>
                      <a:lnTo>
                        <a:pt x="44" y="34"/>
                      </a:lnTo>
                      <a:lnTo>
                        <a:pt x="44" y="34"/>
                      </a:lnTo>
                      <a:lnTo>
                        <a:pt x="44" y="34"/>
                      </a:lnTo>
                      <a:lnTo>
                        <a:pt x="44" y="34"/>
                      </a:lnTo>
                      <a:lnTo>
                        <a:pt x="44" y="38"/>
                      </a:lnTo>
                      <a:lnTo>
                        <a:pt x="44" y="38"/>
                      </a:lnTo>
                      <a:lnTo>
                        <a:pt x="44" y="38"/>
                      </a:lnTo>
                      <a:lnTo>
                        <a:pt x="44" y="38"/>
                      </a:lnTo>
                      <a:lnTo>
                        <a:pt x="44" y="38"/>
                      </a:lnTo>
                      <a:lnTo>
                        <a:pt x="44" y="38"/>
                      </a:lnTo>
                      <a:lnTo>
                        <a:pt x="44" y="38"/>
                      </a:lnTo>
                      <a:lnTo>
                        <a:pt x="44" y="38"/>
                      </a:lnTo>
                      <a:lnTo>
                        <a:pt x="40" y="38"/>
                      </a:lnTo>
                      <a:lnTo>
                        <a:pt x="40" y="38"/>
                      </a:lnTo>
                      <a:lnTo>
                        <a:pt x="40" y="40"/>
                      </a:lnTo>
                      <a:lnTo>
                        <a:pt x="40" y="40"/>
                      </a:lnTo>
                      <a:lnTo>
                        <a:pt x="40" y="40"/>
                      </a:lnTo>
                      <a:lnTo>
                        <a:pt x="40" y="40"/>
                      </a:lnTo>
                      <a:lnTo>
                        <a:pt x="40" y="44"/>
                      </a:lnTo>
                      <a:lnTo>
                        <a:pt x="36" y="44"/>
                      </a:lnTo>
                      <a:lnTo>
                        <a:pt x="36" y="44"/>
                      </a:lnTo>
                      <a:lnTo>
                        <a:pt x="36" y="44"/>
                      </a:lnTo>
                      <a:lnTo>
                        <a:pt x="36" y="44"/>
                      </a:lnTo>
                      <a:lnTo>
                        <a:pt x="36" y="48"/>
                      </a:lnTo>
                      <a:lnTo>
                        <a:pt x="36" y="48"/>
                      </a:lnTo>
                      <a:lnTo>
                        <a:pt x="36" y="48"/>
                      </a:lnTo>
                      <a:lnTo>
                        <a:pt x="36" y="48"/>
                      </a:lnTo>
                      <a:lnTo>
                        <a:pt x="36" y="52"/>
                      </a:lnTo>
                      <a:lnTo>
                        <a:pt x="36" y="52"/>
                      </a:lnTo>
                      <a:lnTo>
                        <a:pt x="36" y="52"/>
                      </a:lnTo>
                      <a:lnTo>
                        <a:pt x="36" y="52"/>
                      </a:lnTo>
                      <a:lnTo>
                        <a:pt x="36" y="52"/>
                      </a:lnTo>
                      <a:lnTo>
                        <a:pt x="36" y="52"/>
                      </a:lnTo>
                      <a:lnTo>
                        <a:pt x="36" y="52"/>
                      </a:lnTo>
                      <a:lnTo>
                        <a:pt x="36" y="52"/>
                      </a:lnTo>
                      <a:lnTo>
                        <a:pt x="32" y="52"/>
                      </a:lnTo>
                      <a:lnTo>
                        <a:pt x="32" y="52"/>
                      </a:lnTo>
                      <a:lnTo>
                        <a:pt x="32" y="52"/>
                      </a:lnTo>
                      <a:lnTo>
                        <a:pt x="32" y="48"/>
                      </a:lnTo>
                      <a:lnTo>
                        <a:pt x="28" y="48"/>
                      </a:lnTo>
                      <a:lnTo>
                        <a:pt x="28" y="48"/>
                      </a:lnTo>
                      <a:lnTo>
                        <a:pt x="28" y="48"/>
                      </a:lnTo>
                      <a:lnTo>
                        <a:pt x="28" y="44"/>
                      </a:lnTo>
                      <a:lnTo>
                        <a:pt x="28" y="44"/>
                      </a:lnTo>
                      <a:lnTo>
                        <a:pt x="26" y="44"/>
                      </a:lnTo>
                      <a:lnTo>
                        <a:pt x="26" y="44"/>
                      </a:lnTo>
                      <a:lnTo>
                        <a:pt x="26" y="44"/>
                      </a:lnTo>
                      <a:lnTo>
                        <a:pt x="26" y="44"/>
                      </a:lnTo>
                      <a:lnTo>
                        <a:pt x="26" y="44"/>
                      </a:lnTo>
                      <a:lnTo>
                        <a:pt x="26" y="44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53" name="Freeform 93"/>
                <p:cNvSpPr>
                  <a:spLocks/>
                </p:cNvSpPr>
                <p:nvPr/>
              </p:nvSpPr>
              <p:spPr bwMode="auto">
                <a:xfrm>
                  <a:off x="4895850" y="3295718"/>
                  <a:ext cx="142875" cy="95250"/>
                </a:xfrm>
                <a:custGeom>
                  <a:avLst/>
                  <a:gdLst>
                    <a:gd name="T0" fmla="*/ 8 w 90"/>
                    <a:gd name="T1" fmla="*/ 52 h 60"/>
                    <a:gd name="T2" fmla="*/ 8 w 90"/>
                    <a:gd name="T3" fmla="*/ 48 h 60"/>
                    <a:gd name="T4" fmla="*/ 0 w 90"/>
                    <a:gd name="T5" fmla="*/ 40 h 60"/>
                    <a:gd name="T6" fmla="*/ 4 w 90"/>
                    <a:gd name="T7" fmla="*/ 38 h 60"/>
                    <a:gd name="T8" fmla="*/ 0 w 90"/>
                    <a:gd name="T9" fmla="*/ 30 h 60"/>
                    <a:gd name="T10" fmla="*/ 8 w 90"/>
                    <a:gd name="T11" fmla="*/ 22 h 60"/>
                    <a:gd name="T12" fmla="*/ 8 w 90"/>
                    <a:gd name="T13" fmla="*/ 20 h 60"/>
                    <a:gd name="T14" fmla="*/ 0 w 90"/>
                    <a:gd name="T15" fmla="*/ 12 h 60"/>
                    <a:gd name="T16" fmla="*/ 4 w 90"/>
                    <a:gd name="T17" fmla="*/ 0 h 60"/>
                    <a:gd name="T18" fmla="*/ 8 w 90"/>
                    <a:gd name="T19" fmla="*/ 4 h 60"/>
                    <a:gd name="T20" fmla="*/ 8 w 90"/>
                    <a:gd name="T21" fmla="*/ 4 h 60"/>
                    <a:gd name="T22" fmla="*/ 8 w 90"/>
                    <a:gd name="T23" fmla="*/ 8 h 60"/>
                    <a:gd name="T24" fmla="*/ 12 w 90"/>
                    <a:gd name="T25" fmla="*/ 8 h 60"/>
                    <a:gd name="T26" fmla="*/ 16 w 90"/>
                    <a:gd name="T27" fmla="*/ 8 h 60"/>
                    <a:gd name="T28" fmla="*/ 26 w 90"/>
                    <a:gd name="T29" fmla="*/ 12 h 60"/>
                    <a:gd name="T30" fmla="*/ 26 w 90"/>
                    <a:gd name="T31" fmla="*/ 12 h 60"/>
                    <a:gd name="T32" fmla="*/ 30 w 90"/>
                    <a:gd name="T33" fmla="*/ 12 h 60"/>
                    <a:gd name="T34" fmla="*/ 34 w 90"/>
                    <a:gd name="T35" fmla="*/ 12 h 60"/>
                    <a:gd name="T36" fmla="*/ 42 w 90"/>
                    <a:gd name="T37" fmla="*/ 12 h 60"/>
                    <a:gd name="T38" fmla="*/ 46 w 90"/>
                    <a:gd name="T39" fmla="*/ 12 h 60"/>
                    <a:gd name="T40" fmla="*/ 54 w 90"/>
                    <a:gd name="T41" fmla="*/ 8 h 60"/>
                    <a:gd name="T42" fmla="*/ 56 w 90"/>
                    <a:gd name="T43" fmla="*/ 4 h 60"/>
                    <a:gd name="T44" fmla="*/ 64 w 90"/>
                    <a:gd name="T45" fmla="*/ 4 h 60"/>
                    <a:gd name="T46" fmla="*/ 68 w 90"/>
                    <a:gd name="T47" fmla="*/ 4 h 60"/>
                    <a:gd name="T48" fmla="*/ 76 w 90"/>
                    <a:gd name="T49" fmla="*/ 4 h 60"/>
                    <a:gd name="T50" fmla="*/ 80 w 90"/>
                    <a:gd name="T51" fmla="*/ 8 h 60"/>
                    <a:gd name="T52" fmla="*/ 80 w 90"/>
                    <a:gd name="T53" fmla="*/ 8 h 60"/>
                    <a:gd name="T54" fmla="*/ 86 w 90"/>
                    <a:gd name="T55" fmla="*/ 12 h 60"/>
                    <a:gd name="T56" fmla="*/ 90 w 90"/>
                    <a:gd name="T57" fmla="*/ 16 h 60"/>
                    <a:gd name="T58" fmla="*/ 86 w 90"/>
                    <a:gd name="T59" fmla="*/ 20 h 60"/>
                    <a:gd name="T60" fmla="*/ 82 w 90"/>
                    <a:gd name="T61" fmla="*/ 16 h 60"/>
                    <a:gd name="T62" fmla="*/ 80 w 90"/>
                    <a:gd name="T63" fmla="*/ 22 h 60"/>
                    <a:gd name="T64" fmla="*/ 80 w 90"/>
                    <a:gd name="T65" fmla="*/ 26 h 60"/>
                    <a:gd name="T66" fmla="*/ 76 w 90"/>
                    <a:gd name="T67" fmla="*/ 30 h 60"/>
                    <a:gd name="T68" fmla="*/ 72 w 90"/>
                    <a:gd name="T69" fmla="*/ 38 h 60"/>
                    <a:gd name="T70" fmla="*/ 76 w 90"/>
                    <a:gd name="T71" fmla="*/ 40 h 60"/>
                    <a:gd name="T72" fmla="*/ 80 w 90"/>
                    <a:gd name="T73" fmla="*/ 44 h 60"/>
                    <a:gd name="T74" fmla="*/ 80 w 90"/>
                    <a:gd name="T75" fmla="*/ 44 h 60"/>
                    <a:gd name="T76" fmla="*/ 72 w 90"/>
                    <a:gd name="T77" fmla="*/ 44 h 60"/>
                    <a:gd name="T78" fmla="*/ 68 w 90"/>
                    <a:gd name="T79" fmla="*/ 40 h 60"/>
                    <a:gd name="T80" fmla="*/ 60 w 90"/>
                    <a:gd name="T81" fmla="*/ 44 h 60"/>
                    <a:gd name="T82" fmla="*/ 56 w 90"/>
                    <a:gd name="T83" fmla="*/ 48 h 60"/>
                    <a:gd name="T84" fmla="*/ 56 w 90"/>
                    <a:gd name="T85" fmla="*/ 52 h 60"/>
                    <a:gd name="T86" fmla="*/ 54 w 90"/>
                    <a:gd name="T87" fmla="*/ 52 h 60"/>
                    <a:gd name="T88" fmla="*/ 54 w 90"/>
                    <a:gd name="T89" fmla="*/ 56 h 60"/>
                    <a:gd name="T90" fmla="*/ 46 w 90"/>
                    <a:gd name="T91" fmla="*/ 60 h 60"/>
                    <a:gd name="T92" fmla="*/ 42 w 90"/>
                    <a:gd name="T93" fmla="*/ 60 h 60"/>
                    <a:gd name="T94" fmla="*/ 34 w 90"/>
                    <a:gd name="T95" fmla="*/ 56 h 60"/>
                    <a:gd name="T96" fmla="*/ 26 w 90"/>
                    <a:gd name="T97" fmla="*/ 52 h 60"/>
                    <a:gd name="T98" fmla="*/ 24 w 90"/>
                    <a:gd name="T99" fmla="*/ 56 h 60"/>
                    <a:gd name="T100" fmla="*/ 20 w 90"/>
                    <a:gd name="T101" fmla="*/ 56 h 60"/>
                    <a:gd name="T102" fmla="*/ 12 w 90"/>
                    <a:gd name="T103" fmla="*/ 56 h 60"/>
                    <a:gd name="T104" fmla="*/ 8 w 90"/>
                    <a:gd name="T105" fmla="*/ 56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90" h="60">
                      <a:moveTo>
                        <a:pt x="8" y="56"/>
                      </a:moveTo>
                      <a:lnTo>
                        <a:pt x="8" y="56"/>
                      </a:lnTo>
                      <a:lnTo>
                        <a:pt x="8" y="56"/>
                      </a:lnTo>
                      <a:lnTo>
                        <a:pt x="8" y="56"/>
                      </a:lnTo>
                      <a:lnTo>
                        <a:pt x="8" y="52"/>
                      </a:lnTo>
                      <a:lnTo>
                        <a:pt x="8" y="52"/>
                      </a:lnTo>
                      <a:lnTo>
                        <a:pt x="8" y="52"/>
                      </a:lnTo>
                      <a:lnTo>
                        <a:pt x="8" y="52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8" y="44"/>
                      </a:lnTo>
                      <a:lnTo>
                        <a:pt x="8" y="44"/>
                      </a:lnTo>
                      <a:lnTo>
                        <a:pt x="4" y="44"/>
                      </a:lnTo>
                      <a:lnTo>
                        <a:pt x="4" y="4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0" y="38"/>
                      </a:lnTo>
                      <a:lnTo>
                        <a:pt x="0" y="38"/>
                      </a:lnTo>
                      <a:lnTo>
                        <a:pt x="0" y="38"/>
                      </a:lnTo>
                      <a:lnTo>
                        <a:pt x="0" y="38"/>
                      </a:lnTo>
                      <a:lnTo>
                        <a:pt x="4" y="38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0"/>
                      </a:lnTo>
                      <a:lnTo>
                        <a:pt x="0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4" y="20"/>
                      </a:lnTo>
                      <a:lnTo>
                        <a:pt x="4" y="20"/>
                      </a:lnTo>
                      <a:lnTo>
                        <a:pt x="4" y="20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0" y="12"/>
                      </a:lnTo>
                      <a:lnTo>
                        <a:pt x="0" y="8"/>
                      </a:lnTo>
                      <a:lnTo>
                        <a:pt x="0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12" y="8"/>
                      </a:lnTo>
                      <a:lnTo>
                        <a:pt x="12" y="8"/>
                      </a:lnTo>
                      <a:lnTo>
                        <a:pt x="12" y="8"/>
                      </a:lnTo>
                      <a:lnTo>
                        <a:pt x="12" y="8"/>
                      </a:lnTo>
                      <a:lnTo>
                        <a:pt x="12" y="8"/>
                      </a:lnTo>
                      <a:lnTo>
                        <a:pt x="12" y="8"/>
                      </a:lnTo>
                      <a:lnTo>
                        <a:pt x="12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20" y="8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4" y="12"/>
                      </a:lnTo>
                      <a:lnTo>
                        <a:pt x="24" y="12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30" y="12"/>
                      </a:lnTo>
                      <a:lnTo>
                        <a:pt x="30" y="12"/>
                      </a:lnTo>
                      <a:lnTo>
                        <a:pt x="30" y="12"/>
                      </a:lnTo>
                      <a:lnTo>
                        <a:pt x="30" y="12"/>
                      </a:lnTo>
                      <a:lnTo>
                        <a:pt x="30" y="12"/>
                      </a:lnTo>
                      <a:lnTo>
                        <a:pt x="30" y="12"/>
                      </a:lnTo>
                      <a:lnTo>
                        <a:pt x="30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8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6" y="12"/>
                      </a:lnTo>
                      <a:lnTo>
                        <a:pt x="46" y="12"/>
                      </a:lnTo>
                      <a:lnTo>
                        <a:pt x="46" y="12"/>
                      </a:lnTo>
                      <a:lnTo>
                        <a:pt x="46" y="12"/>
                      </a:lnTo>
                      <a:lnTo>
                        <a:pt x="46" y="12"/>
                      </a:lnTo>
                      <a:lnTo>
                        <a:pt x="50" y="12"/>
                      </a:lnTo>
                      <a:lnTo>
                        <a:pt x="50" y="12"/>
                      </a:lnTo>
                      <a:lnTo>
                        <a:pt x="50" y="12"/>
                      </a:lnTo>
                      <a:lnTo>
                        <a:pt x="50" y="12"/>
                      </a:lnTo>
                      <a:lnTo>
                        <a:pt x="50" y="8"/>
                      </a:lnTo>
                      <a:lnTo>
                        <a:pt x="54" y="8"/>
                      </a:lnTo>
                      <a:lnTo>
                        <a:pt x="54" y="8"/>
                      </a:lnTo>
                      <a:lnTo>
                        <a:pt x="54" y="8"/>
                      </a:lnTo>
                      <a:lnTo>
                        <a:pt x="56" y="4"/>
                      </a:lnTo>
                      <a:lnTo>
                        <a:pt x="56" y="4"/>
                      </a:lnTo>
                      <a:lnTo>
                        <a:pt x="56" y="4"/>
                      </a:lnTo>
                      <a:lnTo>
                        <a:pt x="56" y="4"/>
                      </a:lnTo>
                      <a:lnTo>
                        <a:pt x="56" y="4"/>
                      </a:lnTo>
                      <a:lnTo>
                        <a:pt x="60" y="4"/>
                      </a:lnTo>
                      <a:lnTo>
                        <a:pt x="64" y="4"/>
                      </a:lnTo>
                      <a:lnTo>
                        <a:pt x="64" y="4"/>
                      </a:lnTo>
                      <a:lnTo>
                        <a:pt x="64" y="4"/>
                      </a:lnTo>
                      <a:lnTo>
                        <a:pt x="64" y="4"/>
                      </a:lnTo>
                      <a:lnTo>
                        <a:pt x="68" y="4"/>
                      </a:lnTo>
                      <a:lnTo>
                        <a:pt x="68" y="4"/>
                      </a:lnTo>
                      <a:lnTo>
                        <a:pt x="68" y="4"/>
                      </a:lnTo>
                      <a:lnTo>
                        <a:pt x="68" y="4"/>
                      </a:lnTo>
                      <a:lnTo>
                        <a:pt x="68" y="4"/>
                      </a:lnTo>
                      <a:lnTo>
                        <a:pt x="68" y="4"/>
                      </a:lnTo>
                      <a:lnTo>
                        <a:pt x="68" y="4"/>
                      </a:lnTo>
                      <a:lnTo>
                        <a:pt x="72" y="4"/>
                      </a:lnTo>
                      <a:lnTo>
                        <a:pt x="72" y="4"/>
                      </a:lnTo>
                      <a:lnTo>
                        <a:pt x="72" y="4"/>
                      </a:lnTo>
                      <a:lnTo>
                        <a:pt x="72" y="4"/>
                      </a:lnTo>
                      <a:lnTo>
                        <a:pt x="76" y="4"/>
                      </a:lnTo>
                      <a:lnTo>
                        <a:pt x="76" y="4"/>
                      </a:lnTo>
                      <a:lnTo>
                        <a:pt x="76" y="4"/>
                      </a:lnTo>
                      <a:lnTo>
                        <a:pt x="76" y="4"/>
                      </a:lnTo>
                      <a:lnTo>
                        <a:pt x="76" y="8"/>
                      </a:lnTo>
                      <a:lnTo>
                        <a:pt x="76" y="8"/>
                      </a:lnTo>
                      <a:lnTo>
                        <a:pt x="80" y="8"/>
                      </a:lnTo>
                      <a:lnTo>
                        <a:pt x="80" y="8"/>
                      </a:lnTo>
                      <a:lnTo>
                        <a:pt x="80" y="8"/>
                      </a:lnTo>
                      <a:lnTo>
                        <a:pt x="80" y="4"/>
                      </a:lnTo>
                      <a:lnTo>
                        <a:pt x="80" y="8"/>
                      </a:lnTo>
                      <a:lnTo>
                        <a:pt x="80" y="8"/>
                      </a:lnTo>
                      <a:lnTo>
                        <a:pt x="80" y="8"/>
                      </a:lnTo>
                      <a:lnTo>
                        <a:pt x="80" y="8"/>
                      </a:lnTo>
                      <a:lnTo>
                        <a:pt x="82" y="8"/>
                      </a:lnTo>
                      <a:lnTo>
                        <a:pt x="82" y="12"/>
                      </a:lnTo>
                      <a:lnTo>
                        <a:pt x="82" y="12"/>
                      </a:lnTo>
                      <a:lnTo>
                        <a:pt x="82" y="12"/>
                      </a:lnTo>
                      <a:lnTo>
                        <a:pt x="86" y="12"/>
                      </a:lnTo>
                      <a:lnTo>
                        <a:pt x="86" y="12"/>
                      </a:lnTo>
                      <a:lnTo>
                        <a:pt x="86" y="12"/>
                      </a:lnTo>
                      <a:lnTo>
                        <a:pt x="86" y="12"/>
                      </a:lnTo>
                      <a:lnTo>
                        <a:pt x="86" y="12"/>
                      </a:lnTo>
                      <a:lnTo>
                        <a:pt x="86" y="16"/>
                      </a:lnTo>
                      <a:lnTo>
                        <a:pt x="90" y="16"/>
                      </a:lnTo>
                      <a:lnTo>
                        <a:pt x="90" y="16"/>
                      </a:lnTo>
                      <a:lnTo>
                        <a:pt x="90" y="16"/>
                      </a:lnTo>
                      <a:lnTo>
                        <a:pt x="86" y="16"/>
                      </a:lnTo>
                      <a:lnTo>
                        <a:pt x="86" y="16"/>
                      </a:lnTo>
                      <a:lnTo>
                        <a:pt x="86" y="16"/>
                      </a:lnTo>
                      <a:lnTo>
                        <a:pt x="86" y="20"/>
                      </a:lnTo>
                      <a:lnTo>
                        <a:pt x="86" y="20"/>
                      </a:lnTo>
                      <a:lnTo>
                        <a:pt x="86" y="20"/>
                      </a:lnTo>
                      <a:lnTo>
                        <a:pt x="86" y="20"/>
                      </a:lnTo>
                      <a:lnTo>
                        <a:pt x="86" y="20"/>
                      </a:lnTo>
                      <a:lnTo>
                        <a:pt x="86" y="16"/>
                      </a:lnTo>
                      <a:lnTo>
                        <a:pt x="82" y="16"/>
                      </a:lnTo>
                      <a:lnTo>
                        <a:pt x="82" y="20"/>
                      </a:lnTo>
                      <a:lnTo>
                        <a:pt x="82" y="20"/>
                      </a:lnTo>
                      <a:lnTo>
                        <a:pt x="82" y="20"/>
                      </a:lnTo>
                      <a:lnTo>
                        <a:pt x="82" y="20"/>
                      </a:lnTo>
                      <a:lnTo>
                        <a:pt x="80" y="20"/>
                      </a:lnTo>
                      <a:lnTo>
                        <a:pt x="80" y="22"/>
                      </a:lnTo>
                      <a:lnTo>
                        <a:pt x="80" y="22"/>
                      </a:lnTo>
                      <a:lnTo>
                        <a:pt x="80" y="26"/>
                      </a:lnTo>
                      <a:lnTo>
                        <a:pt x="80" y="26"/>
                      </a:lnTo>
                      <a:lnTo>
                        <a:pt x="80" y="26"/>
                      </a:lnTo>
                      <a:lnTo>
                        <a:pt x="80" y="26"/>
                      </a:lnTo>
                      <a:lnTo>
                        <a:pt x="80" y="26"/>
                      </a:lnTo>
                      <a:lnTo>
                        <a:pt x="80" y="30"/>
                      </a:lnTo>
                      <a:lnTo>
                        <a:pt x="80" y="30"/>
                      </a:lnTo>
                      <a:lnTo>
                        <a:pt x="80" y="30"/>
                      </a:lnTo>
                      <a:lnTo>
                        <a:pt x="80" y="30"/>
                      </a:lnTo>
                      <a:lnTo>
                        <a:pt x="76" y="30"/>
                      </a:lnTo>
                      <a:lnTo>
                        <a:pt x="76" y="30"/>
                      </a:lnTo>
                      <a:lnTo>
                        <a:pt x="76" y="34"/>
                      </a:lnTo>
                      <a:lnTo>
                        <a:pt x="72" y="34"/>
                      </a:lnTo>
                      <a:lnTo>
                        <a:pt x="72" y="34"/>
                      </a:lnTo>
                      <a:lnTo>
                        <a:pt x="72" y="38"/>
                      </a:lnTo>
                      <a:lnTo>
                        <a:pt x="72" y="38"/>
                      </a:lnTo>
                      <a:lnTo>
                        <a:pt x="72" y="38"/>
                      </a:lnTo>
                      <a:lnTo>
                        <a:pt x="76" y="38"/>
                      </a:lnTo>
                      <a:lnTo>
                        <a:pt x="76" y="38"/>
                      </a:lnTo>
                      <a:lnTo>
                        <a:pt x="76" y="38"/>
                      </a:lnTo>
                      <a:lnTo>
                        <a:pt x="76" y="38"/>
                      </a:lnTo>
                      <a:lnTo>
                        <a:pt x="76" y="38"/>
                      </a:lnTo>
                      <a:lnTo>
                        <a:pt x="76" y="40"/>
                      </a:lnTo>
                      <a:lnTo>
                        <a:pt x="76" y="40"/>
                      </a:lnTo>
                      <a:lnTo>
                        <a:pt x="80" y="40"/>
                      </a:lnTo>
                      <a:lnTo>
                        <a:pt x="80" y="40"/>
                      </a:lnTo>
                      <a:lnTo>
                        <a:pt x="80" y="40"/>
                      </a:lnTo>
                      <a:lnTo>
                        <a:pt x="80" y="44"/>
                      </a:lnTo>
                      <a:lnTo>
                        <a:pt x="80" y="44"/>
                      </a:lnTo>
                      <a:lnTo>
                        <a:pt x="80" y="44"/>
                      </a:lnTo>
                      <a:lnTo>
                        <a:pt x="80" y="44"/>
                      </a:lnTo>
                      <a:lnTo>
                        <a:pt x="80" y="44"/>
                      </a:lnTo>
                      <a:lnTo>
                        <a:pt x="80" y="44"/>
                      </a:lnTo>
                      <a:lnTo>
                        <a:pt x="80" y="44"/>
                      </a:lnTo>
                      <a:lnTo>
                        <a:pt x="80" y="44"/>
                      </a:lnTo>
                      <a:lnTo>
                        <a:pt x="76" y="44"/>
                      </a:lnTo>
                      <a:lnTo>
                        <a:pt x="76" y="44"/>
                      </a:lnTo>
                      <a:lnTo>
                        <a:pt x="76" y="44"/>
                      </a:lnTo>
                      <a:lnTo>
                        <a:pt x="76" y="44"/>
                      </a:lnTo>
                      <a:lnTo>
                        <a:pt x="72" y="44"/>
                      </a:lnTo>
                      <a:lnTo>
                        <a:pt x="72" y="44"/>
                      </a:lnTo>
                      <a:lnTo>
                        <a:pt x="72" y="44"/>
                      </a:lnTo>
                      <a:lnTo>
                        <a:pt x="72" y="44"/>
                      </a:lnTo>
                      <a:lnTo>
                        <a:pt x="72" y="44"/>
                      </a:lnTo>
                      <a:lnTo>
                        <a:pt x="72" y="44"/>
                      </a:lnTo>
                      <a:lnTo>
                        <a:pt x="72" y="40"/>
                      </a:lnTo>
                      <a:lnTo>
                        <a:pt x="68" y="40"/>
                      </a:lnTo>
                      <a:lnTo>
                        <a:pt x="68" y="44"/>
                      </a:lnTo>
                      <a:lnTo>
                        <a:pt x="68" y="44"/>
                      </a:lnTo>
                      <a:lnTo>
                        <a:pt x="64" y="44"/>
                      </a:lnTo>
                      <a:lnTo>
                        <a:pt x="64" y="44"/>
                      </a:lnTo>
                      <a:lnTo>
                        <a:pt x="60" y="44"/>
                      </a:lnTo>
                      <a:lnTo>
                        <a:pt x="60" y="44"/>
                      </a:lnTo>
                      <a:lnTo>
                        <a:pt x="60" y="48"/>
                      </a:lnTo>
                      <a:lnTo>
                        <a:pt x="60" y="48"/>
                      </a:lnTo>
                      <a:lnTo>
                        <a:pt x="60" y="48"/>
                      </a:lnTo>
                      <a:lnTo>
                        <a:pt x="60" y="48"/>
                      </a:lnTo>
                      <a:lnTo>
                        <a:pt x="56" y="48"/>
                      </a:lnTo>
                      <a:lnTo>
                        <a:pt x="56" y="48"/>
                      </a:lnTo>
                      <a:lnTo>
                        <a:pt x="56" y="48"/>
                      </a:lnTo>
                      <a:lnTo>
                        <a:pt x="56" y="48"/>
                      </a:lnTo>
                      <a:lnTo>
                        <a:pt x="56" y="48"/>
                      </a:lnTo>
                      <a:lnTo>
                        <a:pt x="56" y="48"/>
                      </a:lnTo>
                      <a:lnTo>
                        <a:pt x="56" y="52"/>
                      </a:lnTo>
                      <a:lnTo>
                        <a:pt x="56" y="52"/>
                      </a:lnTo>
                      <a:lnTo>
                        <a:pt x="56" y="52"/>
                      </a:lnTo>
                      <a:lnTo>
                        <a:pt x="56" y="48"/>
                      </a:lnTo>
                      <a:lnTo>
                        <a:pt x="54" y="48"/>
                      </a:lnTo>
                      <a:lnTo>
                        <a:pt x="54" y="48"/>
                      </a:lnTo>
                      <a:lnTo>
                        <a:pt x="54" y="52"/>
                      </a:lnTo>
                      <a:lnTo>
                        <a:pt x="54" y="52"/>
                      </a:lnTo>
                      <a:lnTo>
                        <a:pt x="54" y="52"/>
                      </a:lnTo>
                      <a:lnTo>
                        <a:pt x="54" y="52"/>
                      </a:lnTo>
                      <a:lnTo>
                        <a:pt x="54" y="52"/>
                      </a:lnTo>
                      <a:lnTo>
                        <a:pt x="54" y="52"/>
                      </a:lnTo>
                      <a:lnTo>
                        <a:pt x="54" y="56"/>
                      </a:lnTo>
                      <a:lnTo>
                        <a:pt x="54" y="56"/>
                      </a:lnTo>
                      <a:lnTo>
                        <a:pt x="54" y="60"/>
                      </a:lnTo>
                      <a:lnTo>
                        <a:pt x="50" y="60"/>
                      </a:lnTo>
                      <a:lnTo>
                        <a:pt x="50" y="60"/>
                      </a:lnTo>
                      <a:lnTo>
                        <a:pt x="50" y="56"/>
                      </a:lnTo>
                      <a:lnTo>
                        <a:pt x="46" y="60"/>
                      </a:lnTo>
                      <a:lnTo>
                        <a:pt x="46" y="60"/>
                      </a:lnTo>
                      <a:lnTo>
                        <a:pt x="46" y="60"/>
                      </a:lnTo>
                      <a:lnTo>
                        <a:pt x="42" y="60"/>
                      </a:lnTo>
                      <a:lnTo>
                        <a:pt x="42" y="60"/>
                      </a:lnTo>
                      <a:lnTo>
                        <a:pt x="42" y="60"/>
                      </a:lnTo>
                      <a:lnTo>
                        <a:pt x="42" y="60"/>
                      </a:lnTo>
                      <a:lnTo>
                        <a:pt x="42" y="60"/>
                      </a:lnTo>
                      <a:lnTo>
                        <a:pt x="38" y="60"/>
                      </a:lnTo>
                      <a:lnTo>
                        <a:pt x="38" y="56"/>
                      </a:lnTo>
                      <a:lnTo>
                        <a:pt x="38" y="56"/>
                      </a:lnTo>
                      <a:lnTo>
                        <a:pt x="38" y="56"/>
                      </a:lnTo>
                      <a:lnTo>
                        <a:pt x="34" y="56"/>
                      </a:lnTo>
                      <a:lnTo>
                        <a:pt x="34" y="56"/>
                      </a:lnTo>
                      <a:lnTo>
                        <a:pt x="34" y="56"/>
                      </a:lnTo>
                      <a:lnTo>
                        <a:pt x="34" y="56"/>
                      </a:lnTo>
                      <a:lnTo>
                        <a:pt x="30" y="56"/>
                      </a:lnTo>
                      <a:lnTo>
                        <a:pt x="30" y="56"/>
                      </a:lnTo>
                      <a:lnTo>
                        <a:pt x="30" y="52"/>
                      </a:lnTo>
                      <a:lnTo>
                        <a:pt x="26" y="52"/>
                      </a:lnTo>
                      <a:lnTo>
                        <a:pt x="26" y="52"/>
                      </a:lnTo>
                      <a:lnTo>
                        <a:pt x="26" y="52"/>
                      </a:lnTo>
                      <a:lnTo>
                        <a:pt x="26" y="52"/>
                      </a:lnTo>
                      <a:lnTo>
                        <a:pt x="26" y="52"/>
                      </a:lnTo>
                      <a:lnTo>
                        <a:pt x="24" y="52"/>
                      </a:lnTo>
                      <a:lnTo>
                        <a:pt x="24" y="56"/>
                      </a:lnTo>
                      <a:lnTo>
                        <a:pt x="24" y="56"/>
                      </a:lnTo>
                      <a:lnTo>
                        <a:pt x="24" y="56"/>
                      </a:lnTo>
                      <a:lnTo>
                        <a:pt x="24" y="56"/>
                      </a:lnTo>
                      <a:lnTo>
                        <a:pt x="20" y="56"/>
                      </a:lnTo>
                      <a:lnTo>
                        <a:pt x="20" y="56"/>
                      </a:lnTo>
                      <a:lnTo>
                        <a:pt x="20" y="56"/>
                      </a:lnTo>
                      <a:lnTo>
                        <a:pt x="20" y="56"/>
                      </a:lnTo>
                      <a:lnTo>
                        <a:pt x="16" y="56"/>
                      </a:lnTo>
                      <a:lnTo>
                        <a:pt x="16" y="56"/>
                      </a:lnTo>
                      <a:lnTo>
                        <a:pt x="12" y="56"/>
                      </a:lnTo>
                      <a:lnTo>
                        <a:pt x="12" y="56"/>
                      </a:lnTo>
                      <a:lnTo>
                        <a:pt x="12" y="56"/>
                      </a:lnTo>
                      <a:lnTo>
                        <a:pt x="12" y="56"/>
                      </a:lnTo>
                      <a:lnTo>
                        <a:pt x="12" y="60"/>
                      </a:lnTo>
                      <a:lnTo>
                        <a:pt x="12" y="60"/>
                      </a:lnTo>
                      <a:lnTo>
                        <a:pt x="12" y="60"/>
                      </a:lnTo>
                      <a:lnTo>
                        <a:pt x="8" y="56"/>
                      </a:lnTo>
                      <a:lnTo>
                        <a:pt x="8" y="56"/>
                      </a:lnTo>
                      <a:lnTo>
                        <a:pt x="8" y="56"/>
                      </a:lnTo>
                      <a:lnTo>
                        <a:pt x="8" y="56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54" name="Freeform 96"/>
                <p:cNvSpPr>
                  <a:spLocks noEditPoints="1"/>
                </p:cNvSpPr>
                <p:nvPr/>
              </p:nvSpPr>
              <p:spPr bwMode="auto">
                <a:xfrm>
                  <a:off x="4575175" y="2844868"/>
                  <a:ext cx="155575" cy="114300"/>
                </a:xfrm>
                <a:custGeom>
                  <a:avLst/>
                  <a:gdLst>
                    <a:gd name="T0" fmla="*/ 4 w 98"/>
                    <a:gd name="T1" fmla="*/ 22 h 72"/>
                    <a:gd name="T2" fmla="*/ 8 w 98"/>
                    <a:gd name="T3" fmla="*/ 16 h 72"/>
                    <a:gd name="T4" fmla="*/ 24 w 98"/>
                    <a:gd name="T5" fmla="*/ 12 h 72"/>
                    <a:gd name="T6" fmla="*/ 34 w 98"/>
                    <a:gd name="T7" fmla="*/ 4 h 72"/>
                    <a:gd name="T8" fmla="*/ 30 w 98"/>
                    <a:gd name="T9" fmla="*/ 16 h 72"/>
                    <a:gd name="T10" fmla="*/ 16 w 98"/>
                    <a:gd name="T11" fmla="*/ 16 h 72"/>
                    <a:gd name="T12" fmla="*/ 4 w 98"/>
                    <a:gd name="T13" fmla="*/ 22 h 72"/>
                    <a:gd name="T14" fmla="*/ 20 w 98"/>
                    <a:gd name="T15" fmla="*/ 56 h 72"/>
                    <a:gd name="T16" fmla="*/ 24 w 98"/>
                    <a:gd name="T17" fmla="*/ 64 h 72"/>
                    <a:gd name="T18" fmla="*/ 8 w 98"/>
                    <a:gd name="T19" fmla="*/ 60 h 72"/>
                    <a:gd name="T20" fmla="*/ 8 w 98"/>
                    <a:gd name="T21" fmla="*/ 56 h 72"/>
                    <a:gd name="T22" fmla="*/ 0 w 98"/>
                    <a:gd name="T23" fmla="*/ 46 h 72"/>
                    <a:gd name="T24" fmla="*/ 0 w 98"/>
                    <a:gd name="T25" fmla="*/ 42 h 72"/>
                    <a:gd name="T26" fmla="*/ 0 w 98"/>
                    <a:gd name="T27" fmla="*/ 26 h 72"/>
                    <a:gd name="T28" fmla="*/ 8 w 98"/>
                    <a:gd name="T29" fmla="*/ 30 h 72"/>
                    <a:gd name="T30" fmla="*/ 16 w 98"/>
                    <a:gd name="T31" fmla="*/ 26 h 72"/>
                    <a:gd name="T32" fmla="*/ 16 w 98"/>
                    <a:gd name="T33" fmla="*/ 16 h 72"/>
                    <a:gd name="T34" fmla="*/ 30 w 98"/>
                    <a:gd name="T35" fmla="*/ 18 h 72"/>
                    <a:gd name="T36" fmla="*/ 30 w 98"/>
                    <a:gd name="T37" fmla="*/ 22 h 72"/>
                    <a:gd name="T38" fmla="*/ 38 w 98"/>
                    <a:gd name="T39" fmla="*/ 26 h 72"/>
                    <a:gd name="T40" fmla="*/ 34 w 98"/>
                    <a:gd name="T41" fmla="*/ 38 h 72"/>
                    <a:gd name="T42" fmla="*/ 30 w 98"/>
                    <a:gd name="T43" fmla="*/ 42 h 72"/>
                    <a:gd name="T44" fmla="*/ 24 w 98"/>
                    <a:gd name="T45" fmla="*/ 46 h 72"/>
                    <a:gd name="T46" fmla="*/ 20 w 98"/>
                    <a:gd name="T47" fmla="*/ 52 h 72"/>
                    <a:gd name="T48" fmla="*/ 42 w 98"/>
                    <a:gd name="T49" fmla="*/ 12 h 72"/>
                    <a:gd name="T50" fmla="*/ 12 w 98"/>
                    <a:gd name="T51" fmla="*/ 18 h 72"/>
                    <a:gd name="T52" fmla="*/ 60 w 98"/>
                    <a:gd name="T53" fmla="*/ 48 h 72"/>
                    <a:gd name="T54" fmla="*/ 56 w 98"/>
                    <a:gd name="T55" fmla="*/ 56 h 72"/>
                    <a:gd name="T56" fmla="*/ 46 w 98"/>
                    <a:gd name="T57" fmla="*/ 56 h 72"/>
                    <a:gd name="T58" fmla="*/ 38 w 98"/>
                    <a:gd name="T59" fmla="*/ 46 h 72"/>
                    <a:gd name="T60" fmla="*/ 46 w 98"/>
                    <a:gd name="T61" fmla="*/ 38 h 72"/>
                    <a:gd name="T62" fmla="*/ 50 w 98"/>
                    <a:gd name="T63" fmla="*/ 46 h 72"/>
                    <a:gd name="T64" fmla="*/ 54 w 98"/>
                    <a:gd name="T65" fmla="*/ 46 h 72"/>
                    <a:gd name="T66" fmla="*/ 56 w 98"/>
                    <a:gd name="T67" fmla="*/ 38 h 72"/>
                    <a:gd name="T68" fmla="*/ 64 w 98"/>
                    <a:gd name="T69" fmla="*/ 48 h 72"/>
                    <a:gd name="T70" fmla="*/ 34 w 98"/>
                    <a:gd name="T71" fmla="*/ 46 h 72"/>
                    <a:gd name="T72" fmla="*/ 34 w 98"/>
                    <a:gd name="T73" fmla="*/ 42 h 72"/>
                    <a:gd name="T74" fmla="*/ 34 w 98"/>
                    <a:gd name="T75" fmla="*/ 48 h 72"/>
                    <a:gd name="T76" fmla="*/ 34 w 98"/>
                    <a:gd name="T77" fmla="*/ 60 h 72"/>
                    <a:gd name="T78" fmla="*/ 26 w 98"/>
                    <a:gd name="T79" fmla="*/ 52 h 72"/>
                    <a:gd name="T80" fmla="*/ 26 w 98"/>
                    <a:gd name="T81" fmla="*/ 48 h 72"/>
                    <a:gd name="T82" fmla="*/ 94 w 98"/>
                    <a:gd name="T83" fmla="*/ 56 h 72"/>
                    <a:gd name="T84" fmla="*/ 38 w 98"/>
                    <a:gd name="T85" fmla="*/ 68 h 72"/>
                    <a:gd name="T86" fmla="*/ 42 w 98"/>
                    <a:gd name="T87" fmla="*/ 56 h 72"/>
                    <a:gd name="T88" fmla="*/ 38 w 98"/>
                    <a:gd name="T89" fmla="*/ 68 h 72"/>
                    <a:gd name="T90" fmla="*/ 24 w 98"/>
                    <a:gd name="T91" fmla="*/ 60 h 72"/>
                    <a:gd name="T92" fmla="*/ 26 w 98"/>
                    <a:gd name="T93" fmla="*/ 60 h 72"/>
                    <a:gd name="T94" fmla="*/ 34 w 98"/>
                    <a:gd name="T95" fmla="*/ 64 h 72"/>
                    <a:gd name="T96" fmla="*/ 60 w 98"/>
                    <a:gd name="T97" fmla="*/ 60 h 72"/>
                    <a:gd name="T98" fmla="*/ 60 w 98"/>
                    <a:gd name="T99" fmla="*/ 64 h 72"/>
                    <a:gd name="T100" fmla="*/ 30 w 98"/>
                    <a:gd name="T101" fmla="*/ 60 h 72"/>
                    <a:gd name="T102" fmla="*/ 30 w 98"/>
                    <a:gd name="T103" fmla="*/ 64 h 72"/>
                    <a:gd name="T104" fmla="*/ 54 w 98"/>
                    <a:gd name="T105" fmla="*/ 72 h 72"/>
                    <a:gd name="T106" fmla="*/ 54 w 98"/>
                    <a:gd name="T107" fmla="*/ 60 h 72"/>
                    <a:gd name="T108" fmla="*/ 42 w 98"/>
                    <a:gd name="T109" fmla="*/ 60 h 72"/>
                    <a:gd name="T110" fmla="*/ 54 w 98"/>
                    <a:gd name="T111" fmla="*/ 68 h 72"/>
                    <a:gd name="T112" fmla="*/ 42 w 98"/>
                    <a:gd name="T113" fmla="*/ 64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98" h="72">
                      <a:moveTo>
                        <a:pt x="4" y="22"/>
                      </a:moveTo>
                      <a:lnTo>
                        <a:pt x="8" y="22"/>
                      </a:lnTo>
                      <a:lnTo>
                        <a:pt x="8" y="26"/>
                      </a:lnTo>
                      <a:lnTo>
                        <a:pt x="4" y="26"/>
                      </a:lnTo>
                      <a:lnTo>
                        <a:pt x="4" y="22"/>
                      </a:lnTo>
                      <a:lnTo>
                        <a:pt x="0" y="22"/>
                      </a:lnTo>
                      <a:lnTo>
                        <a:pt x="0" y="18"/>
                      </a:lnTo>
                      <a:lnTo>
                        <a:pt x="4" y="18"/>
                      </a:lnTo>
                      <a:lnTo>
                        <a:pt x="4" y="16"/>
                      </a:lnTo>
                      <a:lnTo>
                        <a:pt x="8" y="16"/>
                      </a:lnTo>
                      <a:lnTo>
                        <a:pt x="12" y="16"/>
                      </a:lnTo>
                      <a:lnTo>
                        <a:pt x="16" y="16"/>
                      </a:lnTo>
                      <a:lnTo>
                        <a:pt x="20" y="16"/>
                      </a:lnTo>
                      <a:lnTo>
                        <a:pt x="20" y="12"/>
                      </a:lnTo>
                      <a:lnTo>
                        <a:pt x="24" y="12"/>
                      </a:lnTo>
                      <a:lnTo>
                        <a:pt x="24" y="8"/>
                      </a:lnTo>
                      <a:lnTo>
                        <a:pt x="26" y="4"/>
                      </a:lnTo>
                      <a:lnTo>
                        <a:pt x="30" y="4"/>
                      </a:lnTo>
                      <a:lnTo>
                        <a:pt x="34" y="0"/>
                      </a:lnTo>
                      <a:lnTo>
                        <a:pt x="34" y="4"/>
                      </a:lnTo>
                      <a:lnTo>
                        <a:pt x="34" y="8"/>
                      </a:lnTo>
                      <a:lnTo>
                        <a:pt x="34" y="12"/>
                      </a:lnTo>
                      <a:lnTo>
                        <a:pt x="34" y="16"/>
                      </a:lnTo>
                      <a:lnTo>
                        <a:pt x="30" y="18"/>
                      </a:lnTo>
                      <a:lnTo>
                        <a:pt x="30" y="16"/>
                      </a:lnTo>
                      <a:lnTo>
                        <a:pt x="26" y="16"/>
                      </a:lnTo>
                      <a:lnTo>
                        <a:pt x="20" y="16"/>
                      </a:lnTo>
                      <a:lnTo>
                        <a:pt x="16" y="16"/>
                      </a:lnTo>
                      <a:lnTo>
                        <a:pt x="16" y="18"/>
                      </a:lnTo>
                      <a:lnTo>
                        <a:pt x="16" y="16"/>
                      </a:lnTo>
                      <a:lnTo>
                        <a:pt x="12" y="16"/>
                      </a:lnTo>
                      <a:lnTo>
                        <a:pt x="12" y="18"/>
                      </a:lnTo>
                      <a:lnTo>
                        <a:pt x="8" y="18"/>
                      </a:lnTo>
                      <a:lnTo>
                        <a:pt x="8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close/>
                      <a:moveTo>
                        <a:pt x="20" y="52"/>
                      </a:moveTo>
                      <a:lnTo>
                        <a:pt x="24" y="56"/>
                      </a:lnTo>
                      <a:lnTo>
                        <a:pt x="20" y="56"/>
                      </a:lnTo>
                      <a:lnTo>
                        <a:pt x="20" y="60"/>
                      </a:lnTo>
                      <a:lnTo>
                        <a:pt x="24" y="60"/>
                      </a:lnTo>
                      <a:lnTo>
                        <a:pt x="24" y="64"/>
                      </a:lnTo>
                      <a:lnTo>
                        <a:pt x="20" y="64"/>
                      </a:lnTo>
                      <a:lnTo>
                        <a:pt x="24" y="64"/>
                      </a:lnTo>
                      <a:lnTo>
                        <a:pt x="20" y="64"/>
                      </a:lnTo>
                      <a:lnTo>
                        <a:pt x="16" y="64"/>
                      </a:lnTo>
                      <a:lnTo>
                        <a:pt x="12" y="64"/>
                      </a:lnTo>
                      <a:lnTo>
                        <a:pt x="8" y="64"/>
                      </a:lnTo>
                      <a:lnTo>
                        <a:pt x="8" y="60"/>
                      </a:lnTo>
                      <a:lnTo>
                        <a:pt x="4" y="60"/>
                      </a:lnTo>
                      <a:lnTo>
                        <a:pt x="4" y="56"/>
                      </a:lnTo>
                      <a:lnTo>
                        <a:pt x="8" y="56"/>
                      </a:lnTo>
                      <a:lnTo>
                        <a:pt x="4" y="56"/>
                      </a:lnTo>
                      <a:lnTo>
                        <a:pt x="8" y="56"/>
                      </a:lnTo>
                      <a:lnTo>
                        <a:pt x="8" y="52"/>
                      </a:lnTo>
                      <a:lnTo>
                        <a:pt x="4" y="52"/>
                      </a:lnTo>
                      <a:lnTo>
                        <a:pt x="4" y="48"/>
                      </a:lnTo>
                      <a:lnTo>
                        <a:pt x="0" y="48"/>
                      </a:lnTo>
                      <a:lnTo>
                        <a:pt x="0" y="46"/>
                      </a:lnTo>
                      <a:lnTo>
                        <a:pt x="0" y="42"/>
                      </a:lnTo>
                      <a:lnTo>
                        <a:pt x="0" y="38"/>
                      </a:lnTo>
                      <a:lnTo>
                        <a:pt x="0" y="42"/>
                      </a:lnTo>
                      <a:lnTo>
                        <a:pt x="0" y="46"/>
                      </a:lnTo>
                      <a:lnTo>
                        <a:pt x="0" y="42"/>
                      </a:lnTo>
                      <a:lnTo>
                        <a:pt x="4" y="42"/>
                      </a:lnTo>
                      <a:lnTo>
                        <a:pt x="4" y="38"/>
                      </a:lnTo>
                      <a:lnTo>
                        <a:pt x="0" y="38"/>
                      </a:lnTo>
                      <a:lnTo>
                        <a:pt x="0" y="30"/>
                      </a:lnTo>
                      <a:lnTo>
                        <a:pt x="0" y="26"/>
                      </a:lnTo>
                      <a:lnTo>
                        <a:pt x="0" y="22"/>
                      </a:lnTo>
                      <a:lnTo>
                        <a:pt x="0" y="26"/>
                      </a:lnTo>
                      <a:lnTo>
                        <a:pt x="4" y="26"/>
                      </a:lnTo>
                      <a:lnTo>
                        <a:pt x="8" y="26"/>
                      </a:lnTo>
                      <a:lnTo>
                        <a:pt x="8" y="30"/>
                      </a:lnTo>
                      <a:lnTo>
                        <a:pt x="8" y="26"/>
                      </a:lnTo>
                      <a:lnTo>
                        <a:pt x="12" y="22"/>
                      </a:lnTo>
                      <a:lnTo>
                        <a:pt x="16" y="22"/>
                      </a:lnTo>
                      <a:lnTo>
                        <a:pt x="12" y="26"/>
                      </a:lnTo>
                      <a:lnTo>
                        <a:pt x="16" y="26"/>
                      </a:lnTo>
                      <a:lnTo>
                        <a:pt x="20" y="26"/>
                      </a:lnTo>
                      <a:lnTo>
                        <a:pt x="16" y="26"/>
                      </a:lnTo>
                      <a:lnTo>
                        <a:pt x="16" y="22"/>
                      </a:lnTo>
                      <a:lnTo>
                        <a:pt x="16" y="18"/>
                      </a:lnTo>
                      <a:lnTo>
                        <a:pt x="16" y="16"/>
                      </a:lnTo>
                      <a:lnTo>
                        <a:pt x="20" y="16"/>
                      </a:lnTo>
                      <a:lnTo>
                        <a:pt x="24" y="16"/>
                      </a:lnTo>
                      <a:lnTo>
                        <a:pt x="26" y="16"/>
                      </a:lnTo>
                      <a:lnTo>
                        <a:pt x="30" y="16"/>
                      </a:lnTo>
                      <a:lnTo>
                        <a:pt x="30" y="18"/>
                      </a:lnTo>
                      <a:lnTo>
                        <a:pt x="30" y="22"/>
                      </a:lnTo>
                      <a:lnTo>
                        <a:pt x="24" y="26"/>
                      </a:lnTo>
                      <a:lnTo>
                        <a:pt x="26" y="26"/>
                      </a:lnTo>
                      <a:lnTo>
                        <a:pt x="26" y="22"/>
                      </a:lnTo>
                      <a:lnTo>
                        <a:pt x="30" y="22"/>
                      </a:lnTo>
                      <a:lnTo>
                        <a:pt x="30" y="26"/>
                      </a:lnTo>
                      <a:lnTo>
                        <a:pt x="30" y="30"/>
                      </a:lnTo>
                      <a:lnTo>
                        <a:pt x="30" y="26"/>
                      </a:lnTo>
                      <a:lnTo>
                        <a:pt x="34" y="26"/>
                      </a:lnTo>
                      <a:lnTo>
                        <a:pt x="38" y="26"/>
                      </a:lnTo>
                      <a:lnTo>
                        <a:pt x="42" y="30"/>
                      </a:lnTo>
                      <a:lnTo>
                        <a:pt x="38" y="30"/>
                      </a:lnTo>
                      <a:lnTo>
                        <a:pt x="38" y="34"/>
                      </a:lnTo>
                      <a:lnTo>
                        <a:pt x="34" y="34"/>
                      </a:lnTo>
                      <a:lnTo>
                        <a:pt x="34" y="38"/>
                      </a:lnTo>
                      <a:lnTo>
                        <a:pt x="30" y="34"/>
                      </a:lnTo>
                      <a:lnTo>
                        <a:pt x="34" y="34"/>
                      </a:lnTo>
                      <a:lnTo>
                        <a:pt x="30" y="34"/>
                      </a:lnTo>
                      <a:lnTo>
                        <a:pt x="30" y="38"/>
                      </a:lnTo>
                      <a:lnTo>
                        <a:pt x="30" y="42"/>
                      </a:lnTo>
                      <a:lnTo>
                        <a:pt x="26" y="42"/>
                      </a:lnTo>
                      <a:lnTo>
                        <a:pt x="24" y="42"/>
                      </a:lnTo>
                      <a:lnTo>
                        <a:pt x="26" y="42"/>
                      </a:lnTo>
                      <a:lnTo>
                        <a:pt x="26" y="46"/>
                      </a:lnTo>
                      <a:lnTo>
                        <a:pt x="24" y="46"/>
                      </a:lnTo>
                      <a:lnTo>
                        <a:pt x="20" y="46"/>
                      </a:lnTo>
                      <a:lnTo>
                        <a:pt x="24" y="46"/>
                      </a:lnTo>
                      <a:lnTo>
                        <a:pt x="24" y="48"/>
                      </a:lnTo>
                      <a:lnTo>
                        <a:pt x="20" y="52"/>
                      </a:lnTo>
                      <a:lnTo>
                        <a:pt x="20" y="52"/>
                      </a:lnTo>
                      <a:lnTo>
                        <a:pt x="20" y="52"/>
                      </a:lnTo>
                      <a:close/>
                      <a:moveTo>
                        <a:pt x="42" y="12"/>
                      </a:moveTo>
                      <a:lnTo>
                        <a:pt x="38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close/>
                      <a:moveTo>
                        <a:pt x="8" y="22"/>
                      </a:moveTo>
                      <a:lnTo>
                        <a:pt x="4" y="22"/>
                      </a:lnTo>
                      <a:lnTo>
                        <a:pt x="8" y="18"/>
                      </a:lnTo>
                      <a:lnTo>
                        <a:pt x="12" y="18"/>
                      </a:lnTo>
                      <a:lnTo>
                        <a:pt x="12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close/>
                      <a:moveTo>
                        <a:pt x="60" y="48"/>
                      </a:moveTo>
                      <a:lnTo>
                        <a:pt x="56" y="48"/>
                      </a:lnTo>
                      <a:lnTo>
                        <a:pt x="56" y="52"/>
                      </a:lnTo>
                      <a:lnTo>
                        <a:pt x="60" y="52"/>
                      </a:lnTo>
                      <a:lnTo>
                        <a:pt x="60" y="56"/>
                      </a:lnTo>
                      <a:lnTo>
                        <a:pt x="56" y="56"/>
                      </a:lnTo>
                      <a:lnTo>
                        <a:pt x="56" y="60"/>
                      </a:lnTo>
                      <a:lnTo>
                        <a:pt x="54" y="60"/>
                      </a:lnTo>
                      <a:lnTo>
                        <a:pt x="54" y="56"/>
                      </a:lnTo>
                      <a:lnTo>
                        <a:pt x="50" y="56"/>
                      </a:lnTo>
                      <a:lnTo>
                        <a:pt x="46" y="56"/>
                      </a:lnTo>
                      <a:lnTo>
                        <a:pt x="42" y="52"/>
                      </a:lnTo>
                      <a:lnTo>
                        <a:pt x="46" y="52"/>
                      </a:lnTo>
                      <a:lnTo>
                        <a:pt x="42" y="48"/>
                      </a:lnTo>
                      <a:lnTo>
                        <a:pt x="42" y="46"/>
                      </a:lnTo>
                      <a:lnTo>
                        <a:pt x="38" y="46"/>
                      </a:lnTo>
                      <a:lnTo>
                        <a:pt x="42" y="46"/>
                      </a:lnTo>
                      <a:lnTo>
                        <a:pt x="46" y="46"/>
                      </a:lnTo>
                      <a:lnTo>
                        <a:pt x="50" y="42"/>
                      </a:lnTo>
                      <a:lnTo>
                        <a:pt x="46" y="42"/>
                      </a:lnTo>
                      <a:lnTo>
                        <a:pt x="46" y="38"/>
                      </a:lnTo>
                      <a:lnTo>
                        <a:pt x="46" y="42"/>
                      </a:lnTo>
                      <a:lnTo>
                        <a:pt x="50" y="42"/>
                      </a:lnTo>
                      <a:lnTo>
                        <a:pt x="54" y="42"/>
                      </a:lnTo>
                      <a:lnTo>
                        <a:pt x="50" y="42"/>
                      </a:lnTo>
                      <a:lnTo>
                        <a:pt x="50" y="46"/>
                      </a:lnTo>
                      <a:lnTo>
                        <a:pt x="54" y="46"/>
                      </a:lnTo>
                      <a:lnTo>
                        <a:pt x="54" y="42"/>
                      </a:lnTo>
                      <a:lnTo>
                        <a:pt x="56" y="42"/>
                      </a:lnTo>
                      <a:lnTo>
                        <a:pt x="56" y="46"/>
                      </a:lnTo>
                      <a:lnTo>
                        <a:pt x="54" y="46"/>
                      </a:lnTo>
                      <a:lnTo>
                        <a:pt x="56" y="46"/>
                      </a:lnTo>
                      <a:lnTo>
                        <a:pt x="56" y="42"/>
                      </a:lnTo>
                      <a:lnTo>
                        <a:pt x="54" y="42"/>
                      </a:lnTo>
                      <a:lnTo>
                        <a:pt x="54" y="38"/>
                      </a:lnTo>
                      <a:lnTo>
                        <a:pt x="56" y="38"/>
                      </a:lnTo>
                      <a:lnTo>
                        <a:pt x="60" y="38"/>
                      </a:lnTo>
                      <a:lnTo>
                        <a:pt x="64" y="38"/>
                      </a:lnTo>
                      <a:lnTo>
                        <a:pt x="64" y="42"/>
                      </a:lnTo>
                      <a:lnTo>
                        <a:pt x="64" y="46"/>
                      </a:lnTo>
                      <a:lnTo>
                        <a:pt x="64" y="48"/>
                      </a:lnTo>
                      <a:lnTo>
                        <a:pt x="60" y="48"/>
                      </a:lnTo>
                      <a:lnTo>
                        <a:pt x="60" y="48"/>
                      </a:lnTo>
                      <a:lnTo>
                        <a:pt x="60" y="48"/>
                      </a:lnTo>
                      <a:close/>
                      <a:moveTo>
                        <a:pt x="34" y="42"/>
                      </a:moveTo>
                      <a:lnTo>
                        <a:pt x="34" y="46"/>
                      </a:lnTo>
                      <a:lnTo>
                        <a:pt x="34" y="42"/>
                      </a:lnTo>
                      <a:lnTo>
                        <a:pt x="34" y="38"/>
                      </a:lnTo>
                      <a:lnTo>
                        <a:pt x="34" y="42"/>
                      </a:lnTo>
                      <a:lnTo>
                        <a:pt x="34" y="42"/>
                      </a:lnTo>
                      <a:lnTo>
                        <a:pt x="34" y="42"/>
                      </a:lnTo>
                      <a:close/>
                      <a:moveTo>
                        <a:pt x="26" y="48"/>
                      </a:moveTo>
                      <a:lnTo>
                        <a:pt x="30" y="48"/>
                      </a:lnTo>
                      <a:lnTo>
                        <a:pt x="34" y="48"/>
                      </a:lnTo>
                      <a:lnTo>
                        <a:pt x="34" y="52"/>
                      </a:lnTo>
                      <a:lnTo>
                        <a:pt x="34" y="48"/>
                      </a:lnTo>
                      <a:lnTo>
                        <a:pt x="38" y="48"/>
                      </a:lnTo>
                      <a:lnTo>
                        <a:pt x="38" y="52"/>
                      </a:lnTo>
                      <a:lnTo>
                        <a:pt x="38" y="56"/>
                      </a:lnTo>
                      <a:lnTo>
                        <a:pt x="38" y="60"/>
                      </a:lnTo>
                      <a:lnTo>
                        <a:pt x="34" y="60"/>
                      </a:lnTo>
                      <a:lnTo>
                        <a:pt x="30" y="60"/>
                      </a:lnTo>
                      <a:lnTo>
                        <a:pt x="26" y="60"/>
                      </a:lnTo>
                      <a:lnTo>
                        <a:pt x="30" y="56"/>
                      </a:lnTo>
                      <a:lnTo>
                        <a:pt x="26" y="56"/>
                      </a:lnTo>
                      <a:lnTo>
                        <a:pt x="26" y="52"/>
                      </a:lnTo>
                      <a:lnTo>
                        <a:pt x="24" y="52"/>
                      </a:lnTo>
                      <a:lnTo>
                        <a:pt x="24" y="48"/>
                      </a:lnTo>
                      <a:lnTo>
                        <a:pt x="26" y="48"/>
                      </a:lnTo>
                      <a:lnTo>
                        <a:pt x="26" y="48"/>
                      </a:lnTo>
                      <a:lnTo>
                        <a:pt x="26" y="48"/>
                      </a:lnTo>
                      <a:close/>
                      <a:moveTo>
                        <a:pt x="98" y="60"/>
                      </a:moveTo>
                      <a:lnTo>
                        <a:pt x="94" y="60"/>
                      </a:lnTo>
                      <a:lnTo>
                        <a:pt x="94" y="56"/>
                      </a:lnTo>
                      <a:lnTo>
                        <a:pt x="94" y="52"/>
                      </a:lnTo>
                      <a:lnTo>
                        <a:pt x="94" y="56"/>
                      </a:lnTo>
                      <a:lnTo>
                        <a:pt x="98" y="56"/>
                      </a:lnTo>
                      <a:lnTo>
                        <a:pt x="98" y="60"/>
                      </a:lnTo>
                      <a:lnTo>
                        <a:pt x="98" y="60"/>
                      </a:lnTo>
                      <a:lnTo>
                        <a:pt x="98" y="60"/>
                      </a:lnTo>
                      <a:close/>
                      <a:moveTo>
                        <a:pt x="38" y="68"/>
                      </a:moveTo>
                      <a:lnTo>
                        <a:pt x="34" y="64"/>
                      </a:lnTo>
                      <a:lnTo>
                        <a:pt x="38" y="64"/>
                      </a:lnTo>
                      <a:lnTo>
                        <a:pt x="38" y="60"/>
                      </a:lnTo>
                      <a:lnTo>
                        <a:pt x="38" y="56"/>
                      </a:lnTo>
                      <a:lnTo>
                        <a:pt x="42" y="56"/>
                      </a:lnTo>
                      <a:lnTo>
                        <a:pt x="42" y="60"/>
                      </a:lnTo>
                      <a:lnTo>
                        <a:pt x="38" y="60"/>
                      </a:lnTo>
                      <a:lnTo>
                        <a:pt x="38" y="64"/>
                      </a:lnTo>
                      <a:lnTo>
                        <a:pt x="38" y="68"/>
                      </a:lnTo>
                      <a:lnTo>
                        <a:pt x="38" y="68"/>
                      </a:lnTo>
                      <a:lnTo>
                        <a:pt x="38" y="68"/>
                      </a:lnTo>
                      <a:close/>
                      <a:moveTo>
                        <a:pt x="26" y="60"/>
                      </a:moveTo>
                      <a:lnTo>
                        <a:pt x="26" y="64"/>
                      </a:lnTo>
                      <a:lnTo>
                        <a:pt x="24" y="64"/>
                      </a:lnTo>
                      <a:lnTo>
                        <a:pt x="24" y="60"/>
                      </a:lnTo>
                      <a:lnTo>
                        <a:pt x="24" y="64"/>
                      </a:lnTo>
                      <a:lnTo>
                        <a:pt x="24" y="60"/>
                      </a:lnTo>
                      <a:lnTo>
                        <a:pt x="26" y="60"/>
                      </a:lnTo>
                      <a:lnTo>
                        <a:pt x="26" y="60"/>
                      </a:lnTo>
                      <a:lnTo>
                        <a:pt x="26" y="60"/>
                      </a:lnTo>
                      <a:close/>
                      <a:moveTo>
                        <a:pt x="34" y="64"/>
                      </a:moveTo>
                      <a:lnTo>
                        <a:pt x="34" y="60"/>
                      </a:lnTo>
                      <a:lnTo>
                        <a:pt x="38" y="60"/>
                      </a:lnTo>
                      <a:lnTo>
                        <a:pt x="34" y="60"/>
                      </a:lnTo>
                      <a:lnTo>
                        <a:pt x="34" y="64"/>
                      </a:lnTo>
                      <a:lnTo>
                        <a:pt x="34" y="64"/>
                      </a:lnTo>
                      <a:lnTo>
                        <a:pt x="34" y="64"/>
                      </a:lnTo>
                      <a:close/>
                      <a:moveTo>
                        <a:pt x="56" y="64"/>
                      </a:moveTo>
                      <a:lnTo>
                        <a:pt x="56" y="60"/>
                      </a:lnTo>
                      <a:lnTo>
                        <a:pt x="60" y="60"/>
                      </a:lnTo>
                      <a:lnTo>
                        <a:pt x="64" y="60"/>
                      </a:lnTo>
                      <a:lnTo>
                        <a:pt x="64" y="64"/>
                      </a:lnTo>
                      <a:lnTo>
                        <a:pt x="60" y="64"/>
                      </a:lnTo>
                      <a:lnTo>
                        <a:pt x="60" y="60"/>
                      </a:lnTo>
                      <a:lnTo>
                        <a:pt x="60" y="64"/>
                      </a:lnTo>
                      <a:lnTo>
                        <a:pt x="56" y="64"/>
                      </a:lnTo>
                      <a:lnTo>
                        <a:pt x="56" y="64"/>
                      </a:lnTo>
                      <a:lnTo>
                        <a:pt x="56" y="64"/>
                      </a:lnTo>
                      <a:close/>
                      <a:moveTo>
                        <a:pt x="30" y="64"/>
                      </a:moveTo>
                      <a:lnTo>
                        <a:pt x="30" y="60"/>
                      </a:lnTo>
                      <a:lnTo>
                        <a:pt x="30" y="64"/>
                      </a:lnTo>
                      <a:lnTo>
                        <a:pt x="34" y="64"/>
                      </a:lnTo>
                      <a:lnTo>
                        <a:pt x="30" y="64"/>
                      </a:lnTo>
                      <a:lnTo>
                        <a:pt x="30" y="64"/>
                      </a:lnTo>
                      <a:lnTo>
                        <a:pt x="30" y="64"/>
                      </a:lnTo>
                      <a:close/>
                      <a:moveTo>
                        <a:pt x="54" y="64"/>
                      </a:moveTo>
                      <a:lnTo>
                        <a:pt x="56" y="64"/>
                      </a:lnTo>
                      <a:lnTo>
                        <a:pt x="56" y="68"/>
                      </a:lnTo>
                      <a:lnTo>
                        <a:pt x="54" y="68"/>
                      </a:lnTo>
                      <a:lnTo>
                        <a:pt x="54" y="72"/>
                      </a:lnTo>
                      <a:lnTo>
                        <a:pt x="54" y="68"/>
                      </a:lnTo>
                      <a:lnTo>
                        <a:pt x="54" y="64"/>
                      </a:lnTo>
                      <a:lnTo>
                        <a:pt x="50" y="64"/>
                      </a:lnTo>
                      <a:lnTo>
                        <a:pt x="54" y="64"/>
                      </a:lnTo>
                      <a:lnTo>
                        <a:pt x="54" y="60"/>
                      </a:lnTo>
                      <a:lnTo>
                        <a:pt x="54" y="64"/>
                      </a:lnTo>
                      <a:lnTo>
                        <a:pt x="54" y="64"/>
                      </a:lnTo>
                      <a:lnTo>
                        <a:pt x="54" y="64"/>
                      </a:lnTo>
                      <a:close/>
                      <a:moveTo>
                        <a:pt x="42" y="64"/>
                      </a:moveTo>
                      <a:lnTo>
                        <a:pt x="42" y="60"/>
                      </a:lnTo>
                      <a:lnTo>
                        <a:pt x="46" y="60"/>
                      </a:lnTo>
                      <a:lnTo>
                        <a:pt x="46" y="64"/>
                      </a:lnTo>
                      <a:lnTo>
                        <a:pt x="50" y="64"/>
                      </a:lnTo>
                      <a:lnTo>
                        <a:pt x="54" y="64"/>
                      </a:lnTo>
                      <a:lnTo>
                        <a:pt x="54" y="68"/>
                      </a:lnTo>
                      <a:lnTo>
                        <a:pt x="50" y="68"/>
                      </a:lnTo>
                      <a:lnTo>
                        <a:pt x="46" y="68"/>
                      </a:lnTo>
                      <a:lnTo>
                        <a:pt x="42" y="68"/>
                      </a:lnTo>
                      <a:lnTo>
                        <a:pt x="42" y="64"/>
                      </a:lnTo>
                      <a:lnTo>
                        <a:pt x="42" y="64"/>
                      </a:lnTo>
                      <a:lnTo>
                        <a:pt x="42" y="6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55" name="Freeform 97"/>
                <p:cNvSpPr>
                  <a:spLocks noEditPoints="1"/>
                </p:cNvSpPr>
                <p:nvPr/>
              </p:nvSpPr>
              <p:spPr bwMode="auto">
                <a:xfrm>
                  <a:off x="4883150" y="2775018"/>
                  <a:ext cx="142875" cy="76200"/>
                </a:xfrm>
                <a:custGeom>
                  <a:avLst/>
                  <a:gdLst>
                    <a:gd name="T0" fmla="*/ 90 w 90"/>
                    <a:gd name="T1" fmla="*/ 12 h 48"/>
                    <a:gd name="T2" fmla="*/ 88 w 90"/>
                    <a:gd name="T3" fmla="*/ 12 h 48"/>
                    <a:gd name="T4" fmla="*/ 84 w 90"/>
                    <a:gd name="T5" fmla="*/ 18 h 48"/>
                    <a:gd name="T6" fmla="*/ 80 w 90"/>
                    <a:gd name="T7" fmla="*/ 22 h 48"/>
                    <a:gd name="T8" fmla="*/ 84 w 90"/>
                    <a:gd name="T9" fmla="*/ 30 h 48"/>
                    <a:gd name="T10" fmla="*/ 84 w 90"/>
                    <a:gd name="T11" fmla="*/ 36 h 48"/>
                    <a:gd name="T12" fmla="*/ 88 w 90"/>
                    <a:gd name="T13" fmla="*/ 40 h 48"/>
                    <a:gd name="T14" fmla="*/ 84 w 90"/>
                    <a:gd name="T15" fmla="*/ 44 h 48"/>
                    <a:gd name="T16" fmla="*/ 76 w 90"/>
                    <a:gd name="T17" fmla="*/ 48 h 48"/>
                    <a:gd name="T18" fmla="*/ 68 w 90"/>
                    <a:gd name="T19" fmla="*/ 48 h 48"/>
                    <a:gd name="T20" fmla="*/ 60 w 90"/>
                    <a:gd name="T21" fmla="*/ 44 h 48"/>
                    <a:gd name="T22" fmla="*/ 54 w 90"/>
                    <a:gd name="T23" fmla="*/ 36 h 48"/>
                    <a:gd name="T24" fmla="*/ 50 w 90"/>
                    <a:gd name="T25" fmla="*/ 36 h 48"/>
                    <a:gd name="T26" fmla="*/ 46 w 90"/>
                    <a:gd name="T27" fmla="*/ 36 h 48"/>
                    <a:gd name="T28" fmla="*/ 34 w 90"/>
                    <a:gd name="T29" fmla="*/ 40 h 48"/>
                    <a:gd name="T30" fmla="*/ 38 w 90"/>
                    <a:gd name="T31" fmla="*/ 36 h 48"/>
                    <a:gd name="T32" fmla="*/ 38 w 90"/>
                    <a:gd name="T33" fmla="*/ 34 h 48"/>
                    <a:gd name="T34" fmla="*/ 34 w 90"/>
                    <a:gd name="T35" fmla="*/ 30 h 48"/>
                    <a:gd name="T36" fmla="*/ 30 w 90"/>
                    <a:gd name="T37" fmla="*/ 34 h 48"/>
                    <a:gd name="T38" fmla="*/ 28 w 90"/>
                    <a:gd name="T39" fmla="*/ 30 h 48"/>
                    <a:gd name="T40" fmla="*/ 28 w 90"/>
                    <a:gd name="T41" fmla="*/ 22 h 48"/>
                    <a:gd name="T42" fmla="*/ 24 w 90"/>
                    <a:gd name="T43" fmla="*/ 18 h 48"/>
                    <a:gd name="T44" fmla="*/ 28 w 90"/>
                    <a:gd name="T45" fmla="*/ 14 h 48"/>
                    <a:gd name="T46" fmla="*/ 24 w 90"/>
                    <a:gd name="T47" fmla="*/ 14 h 48"/>
                    <a:gd name="T48" fmla="*/ 28 w 90"/>
                    <a:gd name="T49" fmla="*/ 12 h 48"/>
                    <a:gd name="T50" fmla="*/ 30 w 90"/>
                    <a:gd name="T51" fmla="*/ 12 h 48"/>
                    <a:gd name="T52" fmla="*/ 34 w 90"/>
                    <a:gd name="T53" fmla="*/ 8 h 48"/>
                    <a:gd name="T54" fmla="*/ 38 w 90"/>
                    <a:gd name="T55" fmla="*/ 8 h 48"/>
                    <a:gd name="T56" fmla="*/ 46 w 90"/>
                    <a:gd name="T57" fmla="*/ 4 h 48"/>
                    <a:gd name="T58" fmla="*/ 50 w 90"/>
                    <a:gd name="T59" fmla="*/ 8 h 48"/>
                    <a:gd name="T60" fmla="*/ 58 w 90"/>
                    <a:gd name="T61" fmla="*/ 4 h 48"/>
                    <a:gd name="T62" fmla="*/ 60 w 90"/>
                    <a:gd name="T63" fmla="*/ 4 h 48"/>
                    <a:gd name="T64" fmla="*/ 68 w 90"/>
                    <a:gd name="T65" fmla="*/ 4 h 48"/>
                    <a:gd name="T66" fmla="*/ 72 w 90"/>
                    <a:gd name="T67" fmla="*/ 8 h 48"/>
                    <a:gd name="T68" fmla="*/ 76 w 90"/>
                    <a:gd name="T69" fmla="*/ 8 h 48"/>
                    <a:gd name="T70" fmla="*/ 88 w 90"/>
                    <a:gd name="T71" fmla="*/ 8 h 48"/>
                    <a:gd name="T72" fmla="*/ 88 w 90"/>
                    <a:gd name="T73" fmla="*/ 8 h 48"/>
                    <a:gd name="T74" fmla="*/ 8 w 90"/>
                    <a:gd name="T75" fmla="*/ 22 h 48"/>
                    <a:gd name="T76" fmla="*/ 8 w 90"/>
                    <a:gd name="T77" fmla="*/ 18 h 48"/>
                    <a:gd name="T78" fmla="*/ 4 w 90"/>
                    <a:gd name="T79" fmla="*/ 18 h 48"/>
                    <a:gd name="T80" fmla="*/ 8 w 90"/>
                    <a:gd name="T81" fmla="*/ 18 h 48"/>
                    <a:gd name="T82" fmla="*/ 12 w 90"/>
                    <a:gd name="T83" fmla="*/ 18 h 48"/>
                    <a:gd name="T84" fmla="*/ 16 w 90"/>
                    <a:gd name="T85" fmla="*/ 18 h 48"/>
                    <a:gd name="T86" fmla="*/ 16 w 90"/>
                    <a:gd name="T87" fmla="*/ 22 h 48"/>
                    <a:gd name="T88" fmla="*/ 12 w 90"/>
                    <a:gd name="T89" fmla="*/ 22 h 48"/>
                    <a:gd name="T90" fmla="*/ 12 w 90"/>
                    <a:gd name="T91" fmla="*/ 22 h 48"/>
                    <a:gd name="T92" fmla="*/ 12 w 90"/>
                    <a:gd name="T93" fmla="*/ 22 h 48"/>
                    <a:gd name="T94" fmla="*/ 24 w 90"/>
                    <a:gd name="T95" fmla="*/ 14 h 48"/>
                    <a:gd name="T96" fmla="*/ 20 w 90"/>
                    <a:gd name="T97" fmla="*/ 18 h 48"/>
                    <a:gd name="T98" fmla="*/ 20 w 90"/>
                    <a:gd name="T99" fmla="*/ 14 h 48"/>
                    <a:gd name="T100" fmla="*/ 20 w 90"/>
                    <a:gd name="T101" fmla="*/ 14 h 48"/>
                    <a:gd name="T102" fmla="*/ 24 w 90"/>
                    <a:gd name="T103" fmla="*/ 26 h 48"/>
                    <a:gd name="T104" fmla="*/ 20 w 90"/>
                    <a:gd name="T105" fmla="*/ 26 h 48"/>
                    <a:gd name="T106" fmla="*/ 20 w 90"/>
                    <a:gd name="T107" fmla="*/ 22 h 48"/>
                    <a:gd name="T108" fmla="*/ 4 w 90"/>
                    <a:gd name="T109" fmla="*/ 36 h 48"/>
                    <a:gd name="T110" fmla="*/ 0 w 90"/>
                    <a:gd name="T111" fmla="*/ 34 h 48"/>
                    <a:gd name="T112" fmla="*/ 0 w 90"/>
                    <a:gd name="T113" fmla="*/ 30 h 48"/>
                    <a:gd name="T114" fmla="*/ 8 w 90"/>
                    <a:gd name="T115" fmla="*/ 26 h 48"/>
                    <a:gd name="T116" fmla="*/ 20 w 90"/>
                    <a:gd name="T117" fmla="*/ 26 h 48"/>
                    <a:gd name="T118" fmla="*/ 20 w 90"/>
                    <a:gd name="T119" fmla="*/ 30 h 48"/>
                    <a:gd name="T120" fmla="*/ 8 w 90"/>
                    <a:gd name="T121" fmla="*/ 34 h 48"/>
                    <a:gd name="T122" fmla="*/ 4 w 90"/>
                    <a:gd name="T123" fmla="*/ 4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90" h="48">
                      <a:moveTo>
                        <a:pt x="88" y="8"/>
                      </a:moveTo>
                      <a:lnTo>
                        <a:pt x="88" y="8"/>
                      </a:lnTo>
                      <a:lnTo>
                        <a:pt x="90" y="8"/>
                      </a:lnTo>
                      <a:lnTo>
                        <a:pt x="90" y="8"/>
                      </a:lnTo>
                      <a:lnTo>
                        <a:pt x="90" y="8"/>
                      </a:lnTo>
                      <a:lnTo>
                        <a:pt x="90" y="8"/>
                      </a:lnTo>
                      <a:lnTo>
                        <a:pt x="90" y="12"/>
                      </a:lnTo>
                      <a:lnTo>
                        <a:pt x="90" y="12"/>
                      </a:lnTo>
                      <a:lnTo>
                        <a:pt x="90" y="12"/>
                      </a:lnTo>
                      <a:lnTo>
                        <a:pt x="90" y="12"/>
                      </a:lnTo>
                      <a:lnTo>
                        <a:pt x="88" y="12"/>
                      </a:lnTo>
                      <a:lnTo>
                        <a:pt x="88" y="12"/>
                      </a:lnTo>
                      <a:lnTo>
                        <a:pt x="88" y="12"/>
                      </a:lnTo>
                      <a:lnTo>
                        <a:pt x="88" y="12"/>
                      </a:lnTo>
                      <a:lnTo>
                        <a:pt x="88" y="12"/>
                      </a:lnTo>
                      <a:lnTo>
                        <a:pt x="88" y="12"/>
                      </a:lnTo>
                      <a:lnTo>
                        <a:pt x="88" y="14"/>
                      </a:lnTo>
                      <a:lnTo>
                        <a:pt x="88" y="14"/>
                      </a:lnTo>
                      <a:lnTo>
                        <a:pt x="84" y="14"/>
                      </a:lnTo>
                      <a:lnTo>
                        <a:pt x="84" y="18"/>
                      </a:lnTo>
                      <a:lnTo>
                        <a:pt x="84" y="18"/>
                      </a:lnTo>
                      <a:lnTo>
                        <a:pt x="84" y="18"/>
                      </a:lnTo>
                      <a:lnTo>
                        <a:pt x="84" y="18"/>
                      </a:lnTo>
                      <a:lnTo>
                        <a:pt x="80" y="18"/>
                      </a:lnTo>
                      <a:lnTo>
                        <a:pt x="80" y="18"/>
                      </a:lnTo>
                      <a:lnTo>
                        <a:pt x="80" y="22"/>
                      </a:lnTo>
                      <a:lnTo>
                        <a:pt x="80" y="22"/>
                      </a:lnTo>
                      <a:lnTo>
                        <a:pt x="80" y="22"/>
                      </a:lnTo>
                      <a:lnTo>
                        <a:pt x="80" y="22"/>
                      </a:lnTo>
                      <a:lnTo>
                        <a:pt x="80" y="26"/>
                      </a:lnTo>
                      <a:lnTo>
                        <a:pt x="80" y="26"/>
                      </a:lnTo>
                      <a:lnTo>
                        <a:pt x="80" y="30"/>
                      </a:lnTo>
                      <a:lnTo>
                        <a:pt x="80" y="30"/>
                      </a:lnTo>
                      <a:lnTo>
                        <a:pt x="84" y="30"/>
                      </a:lnTo>
                      <a:lnTo>
                        <a:pt x="84" y="30"/>
                      </a:lnTo>
                      <a:lnTo>
                        <a:pt x="84" y="30"/>
                      </a:lnTo>
                      <a:lnTo>
                        <a:pt x="80" y="30"/>
                      </a:lnTo>
                      <a:lnTo>
                        <a:pt x="80" y="34"/>
                      </a:lnTo>
                      <a:lnTo>
                        <a:pt x="80" y="34"/>
                      </a:lnTo>
                      <a:lnTo>
                        <a:pt x="80" y="34"/>
                      </a:lnTo>
                      <a:lnTo>
                        <a:pt x="84" y="36"/>
                      </a:lnTo>
                      <a:lnTo>
                        <a:pt x="84" y="36"/>
                      </a:lnTo>
                      <a:lnTo>
                        <a:pt x="84" y="36"/>
                      </a:lnTo>
                      <a:lnTo>
                        <a:pt x="84" y="36"/>
                      </a:lnTo>
                      <a:lnTo>
                        <a:pt x="84" y="36"/>
                      </a:lnTo>
                      <a:lnTo>
                        <a:pt x="84" y="40"/>
                      </a:lnTo>
                      <a:lnTo>
                        <a:pt x="84" y="40"/>
                      </a:lnTo>
                      <a:lnTo>
                        <a:pt x="88" y="40"/>
                      </a:lnTo>
                      <a:lnTo>
                        <a:pt x="88" y="40"/>
                      </a:lnTo>
                      <a:lnTo>
                        <a:pt x="84" y="40"/>
                      </a:lnTo>
                      <a:lnTo>
                        <a:pt x="84" y="44"/>
                      </a:lnTo>
                      <a:lnTo>
                        <a:pt x="84" y="44"/>
                      </a:lnTo>
                      <a:lnTo>
                        <a:pt x="84" y="44"/>
                      </a:lnTo>
                      <a:lnTo>
                        <a:pt x="84" y="44"/>
                      </a:lnTo>
                      <a:lnTo>
                        <a:pt x="84" y="44"/>
                      </a:lnTo>
                      <a:lnTo>
                        <a:pt x="84" y="44"/>
                      </a:lnTo>
                      <a:lnTo>
                        <a:pt x="80" y="44"/>
                      </a:lnTo>
                      <a:lnTo>
                        <a:pt x="80" y="48"/>
                      </a:lnTo>
                      <a:lnTo>
                        <a:pt x="80" y="48"/>
                      </a:lnTo>
                      <a:lnTo>
                        <a:pt x="80" y="48"/>
                      </a:lnTo>
                      <a:lnTo>
                        <a:pt x="80" y="48"/>
                      </a:lnTo>
                      <a:lnTo>
                        <a:pt x="76" y="48"/>
                      </a:lnTo>
                      <a:lnTo>
                        <a:pt x="76" y="48"/>
                      </a:lnTo>
                      <a:lnTo>
                        <a:pt x="76" y="48"/>
                      </a:lnTo>
                      <a:lnTo>
                        <a:pt x="72" y="48"/>
                      </a:lnTo>
                      <a:lnTo>
                        <a:pt x="72" y="48"/>
                      </a:lnTo>
                      <a:lnTo>
                        <a:pt x="72" y="48"/>
                      </a:lnTo>
                      <a:lnTo>
                        <a:pt x="72" y="48"/>
                      </a:lnTo>
                      <a:lnTo>
                        <a:pt x="68" y="48"/>
                      </a:lnTo>
                      <a:lnTo>
                        <a:pt x="68" y="48"/>
                      </a:lnTo>
                      <a:lnTo>
                        <a:pt x="68" y="48"/>
                      </a:lnTo>
                      <a:lnTo>
                        <a:pt x="68" y="48"/>
                      </a:lnTo>
                      <a:lnTo>
                        <a:pt x="68" y="48"/>
                      </a:lnTo>
                      <a:lnTo>
                        <a:pt x="64" y="48"/>
                      </a:lnTo>
                      <a:lnTo>
                        <a:pt x="64" y="48"/>
                      </a:lnTo>
                      <a:lnTo>
                        <a:pt x="60" y="44"/>
                      </a:lnTo>
                      <a:lnTo>
                        <a:pt x="60" y="44"/>
                      </a:lnTo>
                      <a:lnTo>
                        <a:pt x="58" y="40"/>
                      </a:lnTo>
                      <a:lnTo>
                        <a:pt x="58" y="40"/>
                      </a:lnTo>
                      <a:lnTo>
                        <a:pt x="58" y="40"/>
                      </a:lnTo>
                      <a:lnTo>
                        <a:pt x="58" y="40"/>
                      </a:lnTo>
                      <a:lnTo>
                        <a:pt x="54" y="40"/>
                      </a:lnTo>
                      <a:lnTo>
                        <a:pt x="54" y="40"/>
                      </a:lnTo>
                      <a:lnTo>
                        <a:pt x="54" y="36"/>
                      </a:lnTo>
                      <a:lnTo>
                        <a:pt x="50" y="36"/>
                      </a:lnTo>
                      <a:lnTo>
                        <a:pt x="50" y="36"/>
                      </a:lnTo>
                      <a:lnTo>
                        <a:pt x="50" y="36"/>
                      </a:lnTo>
                      <a:lnTo>
                        <a:pt x="50" y="36"/>
                      </a:lnTo>
                      <a:lnTo>
                        <a:pt x="50" y="40"/>
                      </a:lnTo>
                      <a:lnTo>
                        <a:pt x="50" y="40"/>
                      </a:lnTo>
                      <a:lnTo>
                        <a:pt x="50" y="36"/>
                      </a:lnTo>
                      <a:lnTo>
                        <a:pt x="50" y="36"/>
                      </a:lnTo>
                      <a:lnTo>
                        <a:pt x="50" y="36"/>
                      </a:lnTo>
                      <a:lnTo>
                        <a:pt x="50" y="36"/>
                      </a:lnTo>
                      <a:lnTo>
                        <a:pt x="46" y="36"/>
                      </a:lnTo>
                      <a:lnTo>
                        <a:pt x="46" y="36"/>
                      </a:lnTo>
                      <a:lnTo>
                        <a:pt x="46" y="36"/>
                      </a:lnTo>
                      <a:lnTo>
                        <a:pt x="46" y="36"/>
                      </a:lnTo>
                      <a:lnTo>
                        <a:pt x="46" y="36"/>
                      </a:lnTo>
                      <a:lnTo>
                        <a:pt x="42" y="40"/>
                      </a:lnTo>
                      <a:lnTo>
                        <a:pt x="38" y="40"/>
                      </a:lnTo>
                      <a:lnTo>
                        <a:pt x="38" y="40"/>
                      </a:lnTo>
                      <a:lnTo>
                        <a:pt x="38" y="40"/>
                      </a:lnTo>
                      <a:lnTo>
                        <a:pt x="38" y="40"/>
                      </a:lnTo>
                      <a:lnTo>
                        <a:pt x="34" y="40"/>
                      </a:lnTo>
                      <a:lnTo>
                        <a:pt x="34" y="40"/>
                      </a:lnTo>
                      <a:lnTo>
                        <a:pt x="34" y="40"/>
                      </a:lnTo>
                      <a:lnTo>
                        <a:pt x="34" y="40"/>
                      </a:lnTo>
                      <a:lnTo>
                        <a:pt x="34" y="40"/>
                      </a:lnTo>
                      <a:lnTo>
                        <a:pt x="38" y="40"/>
                      </a:lnTo>
                      <a:lnTo>
                        <a:pt x="38" y="36"/>
                      </a:lnTo>
                      <a:lnTo>
                        <a:pt x="38" y="36"/>
                      </a:lnTo>
                      <a:lnTo>
                        <a:pt x="38" y="36"/>
                      </a:lnTo>
                      <a:lnTo>
                        <a:pt x="38" y="36"/>
                      </a:lnTo>
                      <a:lnTo>
                        <a:pt x="38" y="36"/>
                      </a:lnTo>
                      <a:lnTo>
                        <a:pt x="38" y="34"/>
                      </a:lnTo>
                      <a:lnTo>
                        <a:pt x="38" y="34"/>
                      </a:lnTo>
                      <a:lnTo>
                        <a:pt x="38" y="34"/>
                      </a:lnTo>
                      <a:lnTo>
                        <a:pt x="38" y="34"/>
                      </a:lnTo>
                      <a:lnTo>
                        <a:pt x="38" y="34"/>
                      </a:lnTo>
                      <a:lnTo>
                        <a:pt x="38" y="34"/>
                      </a:lnTo>
                      <a:lnTo>
                        <a:pt x="38" y="30"/>
                      </a:lnTo>
                      <a:lnTo>
                        <a:pt x="38" y="30"/>
                      </a:lnTo>
                      <a:lnTo>
                        <a:pt x="38" y="30"/>
                      </a:lnTo>
                      <a:lnTo>
                        <a:pt x="38" y="30"/>
                      </a:lnTo>
                      <a:lnTo>
                        <a:pt x="34" y="30"/>
                      </a:lnTo>
                      <a:lnTo>
                        <a:pt x="34" y="30"/>
                      </a:lnTo>
                      <a:lnTo>
                        <a:pt x="34" y="30"/>
                      </a:lnTo>
                      <a:lnTo>
                        <a:pt x="34" y="34"/>
                      </a:lnTo>
                      <a:lnTo>
                        <a:pt x="34" y="34"/>
                      </a:ln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28" y="30"/>
                      </a:lnTo>
                      <a:lnTo>
                        <a:pt x="28" y="30"/>
                      </a:lnTo>
                      <a:lnTo>
                        <a:pt x="28" y="30"/>
                      </a:lnTo>
                      <a:lnTo>
                        <a:pt x="28" y="30"/>
                      </a:lnTo>
                      <a:lnTo>
                        <a:pt x="28" y="26"/>
                      </a:lnTo>
                      <a:lnTo>
                        <a:pt x="24" y="26"/>
                      </a:lnTo>
                      <a:lnTo>
                        <a:pt x="24" y="26"/>
                      </a:lnTo>
                      <a:lnTo>
                        <a:pt x="24" y="22"/>
                      </a:lnTo>
                      <a:lnTo>
                        <a:pt x="24" y="22"/>
                      </a:lnTo>
                      <a:lnTo>
                        <a:pt x="24" y="22"/>
                      </a:lnTo>
                      <a:lnTo>
                        <a:pt x="28" y="22"/>
                      </a:lnTo>
                      <a:lnTo>
                        <a:pt x="28" y="22"/>
                      </a:lnTo>
                      <a:lnTo>
                        <a:pt x="30" y="22"/>
                      </a:lnTo>
                      <a:lnTo>
                        <a:pt x="28" y="22"/>
                      </a:lnTo>
                      <a:lnTo>
                        <a:pt x="28" y="22"/>
                      </a:lnTo>
                      <a:lnTo>
                        <a:pt x="28" y="22"/>
                      </a:lnTo>
                      <a:lnTo>
                        <a:pt x="24" y="22"/>
                      </a:lnTo>
                      <a:lnTo>
                        <a:pt x="24" y="18"/>
                      </a:lnTo>
                      <a:lnTo>
                        <a:pt x="24" y="18"/>
                      </a:lnTo>
                      <a:lnTo>
                        <a:pt x="24" y="18"/>
                      </a:lnTo>
                      <a:lnTo>
                        <a:pt x="24" y="18"/>
                      </a:lnTo>
                      <a:lnTo>
                        <a:pt x="24" y="18"/>
                      </a:lnTo>
                      <a:lnTo>
                        <a:pt x="28" y="18"/>
                      </a:lnTo>
                      <a:lnTo>
                        <a:pt x="28" y="14"/>
                      </a:lnTo>
                      <a:lnTo>
                        <a:pt x="28" y="14"/>
                      </a:lnTo>
                      <a:lnTo>
                        <a:pt x="24" y="14"/>
                      </a:lnTo>
                      <a:lnTo>
                        <a:pt x="28" y="14"/>
                      </a:lnTo>
                      <a:lnTo>
                        <a:pt x="24" y="18"/>
                      </a:lnTo>
                      <a:lnTo>
                        <a:pt x="24" y="18"/>
                      </a:lnTo>
                      <a:lnTo>
                        <a:pt x="24" y="18"/>
                      </a:lnTo>
                      <a:lnTo>
                        <a:pt x="24" y="18"/>
                      </a:lnTo>
                      <a:lnTo>
                        <a:pt x="24" y="14"/>
                      </a:lnTo>
                      <a:lnTo>
                        <a:pt x="24" y="14"/>
                      </a:lnTo>
                      <a:lnTo>
                        <a:pt x="24" y="14"/>
                      </a:lnTo>
                      <a:lnTo>
                        <a:pt x="24" y="12"/>
                      </a:lnTo>
                      <a:lnTo>
                        <a:pt x="24" y="12"/>
                      </a:lnTo>
                      <a:lnTo>
                        <a:pt x="28" y="12"/>
                      </a:lnTo>
                      <a:lnTo>
                        <a:pt x="28" y="12"/>
                      </a:lnTo>
                      <a:lnTo>
                        <a:pt x="28" y="12"/>
                      </a:lnTo>
                      <a:lnTo>
                        <a:pt x="28" y="12"/>
                      </a:lnTo>
                      <a:lnTo>
                        <a:pt x="28" y="12"/>
                      </a:lnTo>
                      <a:lnTo>
                        <a:pt x="28" y="12"/>
                      </a:lnTo>
                      <a:lnTo>
                        <a:pt x="28" y="12"/>
                      </a:lnTo>
                      <a:lnTo>
                        <a:pt x="30" y="12"/>
                      </a:lnTo>
                      <a:lnTo>
                        <a:pt x="30" y="12"/>
                      </a:lnTo>
                      <a:lnTo>
                        <a:pt x="30" y="12"/>
                      </a:lnTo>
                      <a:lnTo>
                        <a:pt x="30" y="12"/>
                      </a:lnTo>
                      <a:lnTo>
                        <a:pt x="30" y="8"/>
                      </a:lnTo>
                      <a:lnTo>
                        <a:pt x="30" y="8"/>
                      </a:lnTo>
                      <a:lnTo>
                        <a:pt x="30" y="8"/>
                      </a:lnTo>
                      <a:lnTo>
                        <a:pt x="30" y="8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8" y="8"/>
                      </a:lnTo>
                      <a:lnTo>
                        <a:pt x="38" y="8"/>
                      </a:lnTo>
                      <a:lnTo>
                        <a:pt x="42" y="8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6" y="4"/>
                      </a:lnTo>
                      <a:lnTo>
                        <a:pt x="46" y="4"/>
                      </a:lnTo>
                      <a:lnTo>
                        <a:pt x="46" y="4"/>
                      </a:lnTo>
                      <a:lnTo>
                        <a:pt x="46" y="4"/>
                      </a:lnTo>
                      <a:lnTo>
                        <a:pt x="50" y="4"/>
                      </a:lnTo>
                      <a:lnTo>
                        <a:pt x="50" y="4"/>
                      </a:lnTo>
                      <a:lnTo>
                        <a:pt x="50" y="4"/>
                      </a:lnTo>
                      <a:lnTo>
                        <a:pt x="50" y="8"/>
                      </a:lnTo>
                      <a:lnTo>
                        <a:pt x="50" y="8"/>
                      </a:lnTo>
                      <a:lnTo>
                        <a:pt x="54" y="4"/>
                      </a:lnTo>
                      <a:lnTo>
                        <a:pt x="54" y="4"/>
                      </a:lnTo>
                      <a:lnTo>
                        <a:pt x="54" y="4"/>
                      </a:lnTo>
                      <a:lnTo>
                        <a:pt x="54" y="4"/>
                      </a:lnTo>
                      <a:lnTo>
                        <a:pt x="54" y="4"/>
                      </a:lnTo>
                      <a:lnTo>
                        <a:pt x="58" y="4"/>
                      </a:lnTo>
                      <a:lnTo>
                        <a:pt x="58" y="4"/>
                      </a:lnTo>
                      <a:lnTo>
                        <a:pt x="54" y="4"/>
                      </a:lnTo>
                      <a:lnTo>
                        <a:pt x="54" y="0"/>
                      </a:lnTo>
                      <a:lnTo>
                        <a:pt x="58" y="0"/>
                      </a:lnTo>
                      <a:lnTo>
                        <a:pt x="58" y="4"/>
                      </a:lnTo>
                      <a:lnTo>
                        <a:pt x="58" y="4"/>
                      </a:lnTo>
                      <a:lnTo>
                        <a:pt x="60" y="4"/>
                      </a:lnTo>
                      <a:lnTo>
                        <a:pt x="60" y="4"/>
                      </a:lnTo>
                      <a:lnTo>
                        <a:pt x="60" y="4"/>
                      </a:lnTo>
                      <a:lnTo>
                        <a:pt x="64" y="4"/>
                      </a:lnTo>
                      <a:lnTo>
                        <a:pt x="64" y="4"/>
                      </a:lnTo>
                      <a:lnTo>
                        <a:pt x="64" y="4"/>
                      </a:lnTo>
                      <a:lnTo>
                        <a:pt x="68" y="4"/>
                      </a:lnTo>
                      <a:lnTo>
                        <a:pt x="68" y="4"/>
                      </a:lnTo>
                      <a:lnTo>
                        <a:pt x="68" y="4"/>
                      </a:lnTo>
                      <a:lnTo>
                        <a:pt x="68" y="4"/>
                      </a:lnTo>
                      <a:lnTo>
                        <a:pt x="68" y="4"/>
                      </a:lnTo>
                      <a:lnTo>
                        <a:pt x="68" y="4"/>
                      </a:lnTo>
                      <a:lnTo>
                        <a:pt x="68" y="4"/>
                      </a:lnTo>
                      <a:lnTo>
                        <a:pt x="72" y="4"/>
                      </a:lnTo>
                      <a:lnTo>
                        <a:pt x="72" y="8"/>
                      </a:lnTo>
                      <a:lnTo>
                        <a:pt x="72" y="8"/>
                      </a:lnTo>
                      <a:lnTo>
                        <a:pt x="72" y="8"/>
                      </a:lnTo>
                      <a:lnTo>
                        <a:pt x="72" y="8"/>
                      </a:lnTo>
                      <a:lnTo>
                        <a:pt x="72" y="8"/>
                      </a:lnTo>
                      <a:lnTo>
                        <a:pt x="76" y="8"/>
                      </a:lnTo>
                      <a:lnTo>
                        <a:pt x="76" y="8"/>
                      </a:lnTo>
                      <a:lnTo>
                        <a:pt x="76" y="8"/>
                      </a:lnTo>
                      <a:lnTo>
                        <a:pt x="80" y="8"/>
                      </a:lnTo>
                      <a:lnTo>
                        <a:pt x="80" y="8"/>
                      </a:lnTo>
                      <a:lnTo>
                        <a:pt x="80" y="8"/>
                      </a:lnTo>
                      <a:lnTo>
                        <a:pt x="80" y="8"/>
                      </a:lnTo>
                      <a:lnTo>
                        <a:pt x="80" y="8"/>
                      </a:lnTo>
                      <a:lnTo>
                        <a:pt x="84" y="8"/>
                      </a:lnTo>
                      <a:lnTo>
                        <a:pt x="88" y="8"/>
                      </a:lnTo>
                      <a:lnTo>
                        <a:pt x="88" y="8"/>
                      </a:lnTo>
                      <a:lnTo>
                        <a:pt x="88" y="8"/>
                      </a:lnTo>
                      <a:lnTo>
                        <a:pt x="88" y="8"/>
                      </a:lnTo>
                      <a:lnTo>
                        <a:pt x="88" y="8"/>
                      </a:lnTo>
                      <a:lnTo>
                        <a:pt x="88" y="8"/>
                      </a:lnTo>
                      <a:lnTo>
                        <a:pt x="88" y="8"/>
                      </a:lnTo>
                      <a:lnTo>
                        <a:pt x="88" y="8"/>
                      </a:lnTo>
                      <a:lnTo>
                        <a:pt x="88" y="8"/>
                      </a:lnTo>
                      <a:close/>
                      <a:moveTo>
                        <a:pt x="12" y="22"/>
                      </a:move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8" y="14"/>
                      </a:lnTo>
                      <a:lnTo>
                        <a:pt x="12" y="14"/>
                      </a:lnTo>
                      <a:lnTo>
                        <a:pt x="12" y="14"/>
                      </a:lnTo>
                      <a:lnTo>
                        <a:pt x="12" y="14"/>
                      </a:lnTo>
                      <a:lnTo>
                        <a:pt x="12" y="14"/>
                      </a:lnTo>
                      <a:lnTo>
                        <a:pt x="12" y="18"/>
                      </a:lnTo>
                      <a:lnTo>
                        <a:pt x="12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2" y="22"/>
                      </a:lnTo>
                      <a:close/>
                      <a:moveTo>
                        <a:pt x="20" y="14"/>
                      </a:moveTo>
                      <a:lnTo>
                        <a:pt x="24" y="14"/>
                      </a:lnTo>
                      <a:lnTo>
                        <a:pt x="24" y="14"/>
                      </a:lnTo>
                      <a:lnTo>
                        <a:pt x="24" y="14"/>
                      </a:lnTo>
                      <a:lnTo>
                        <a:pt x="24" y="14"/>
                      </a:lnTo>
                      <a:lnTo>
                        <a:pt x="24" y="18"/>
                      </a:lnTo>
                      <a:lnTo>
                        <a:pt x="24" y="18"/>
                      </a:lnTo>
                      <a:lnTo>
                        <a:pt x="24" y="18"/>
                      </a:lnTo>
                      <a:lnTo>
                        <a:pt x="24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4"/>
                      </a:lnTo>
                      <a:lnTo>
                        <a:pt x="20" y="14"/>
                      </a:lnTo>
                      <a:lnTo>
                        <a:pt x="20" y="14"/>
                      </a:lnTo>
                      <a:lnTo>
                        <a:pt x="20" y="14"/>
                      </a:lnTo>
                      <a:lnTo>
                        <a:pt x="20" y="14"/>
                      </a:lnTo>
                      <a:lnTo>
                        <a:pt x="20" y="14"/>
                      </a:lnTo>
                      <a:lnTo>
                        <a:pt x="20" y="14"/>
                      </a:lnTo>
                      <a:lnTo>
                        <a:pt x="20" y="14"/>
                      </a:lnTo>
                      <a:lnTo>
                        <a:pt x="20" y="14"/>
                      </a:lnTo>
                      <a:close/>
                      <a:moveTo>
                        <a:pt x="20" y="22"/>
                      </a:moveTo>
                      <a:lnTo>
                        <a:pt x="20" y="26"/>
                      </a:lnTo>
                      <a:lnTo>
                        <a:pt x="20" y="26"/>
                      </a:lnTo>
                      <a:lnTo>
                        <a:pt x="24" y="26"/>
                      </a:lnTo>
                      <a:lnTo>
                        <a:pt x="24" y="26"/>
                      </a:lnTo>
                      <a:lnTo>
                        <a:pt x="24" y="26"/>
                      </a:lnTo>
                      <a:lnTo>
                        <a:pt x="24" y="26"/>
                      </a:lnTo>
                      <a:lnTo>
                        <a:pt x="24" y="26"/>
                      </a:lnTo>
                      <a:lnTo>
                        <a:pt x="20" y="26"/>
                      </a:lnTo>
                      <a:lnTo>
                        <a:pt x="20" y="26"/>
                      </a:lnTo>
                      <a:lnTo>
                        <a:pt x="20" y="26"/>
                      </a:lnTo>
                      <a:lnTo>
                        <a:pt x="20" y="26"/>
                      </a:lnTo>
                      <a:lnTo>
                        <a:pt x="20" y="26"/>
                      </a:lnTo>
                      <a:lnTo>
                        <a:pt x="20" y="26"/>
                      </a:lnTo>
                      <a:lnTo>
                        <a:pt x="20" y="26"/>
                      </a:lnTo>
                      <a:lnTo>
                        <a:pt x="20" y="26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close/>
                      <a:moveTo>
                        <a:pt x="4" y="40"/>
                      </a:moveTo>
                      <a:lnTo>
                        <a:pt x="4" y="4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4" y="36"/>
                      </a:lnTo>
                      <a:lnTo>
                        <a:pt x="4" y="36"/>
                      </a:lnTo>
                      <a:lnTo>
                        <a:pt x="4" y="36"/>
                      </a:lnTo>
                      <a:lnTo>
                        <a:pt x="4" y="36"/>
                      </a:lnTo>
                      <a:lnTo>
                        <a:pt x="4" y="36"/>
                      </a:lnTo>
                      <a:lnTo>
                        <a:pt x="4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4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4" y="30"/>
                      </a:lnTo>
                      <a:lnTo>
                        <a:pt x="4" y="26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6" y="26"/>
                      </a:lnTo>
                      <a:lnTo>
                        <a:pt x="16" y="26"/>
                      </a:lnTo>
                      <a:lnTo>
                        <a:pt x="16" y="26"/>
                      </a:lnTo>
                      <a:lnTo>
                        <a:pt x="16" y="26"/>
                      </a:lnTo>
                      <a:lnTo>
                        <a:pt x="20" y="26"/>
                      </a:lnTo>
                      <a:lnTo>
                        <a:pt x="20" y="30"/>
                      </a:lnTo>
                      <a:lnTo>
                        <a:pt x="20" y="30"/>
                      </a:lnTo>
                      <a:lnTo>
                        <a:pt x="24" y="30"/>
                      </a:lnTo>
                      <a:lnTo>
                        <a:pt x="20" y="30"/>
                      </a:lnTo>
                      <a:lnTo>
                        <a:pt x="20" y="30"/>
                      </a:lnTo>
                      <a:lnTo>
                        <a:pt x="20" y="30"/>
                      </a:lnTo>
                      <a:lnTo>
                        <a:pt x="20" y="30"/>
                      </a:lnTo>
                      <a:lnTo>
                        <a:pt x="20" y="30"/>
                      </a:lnTo>
                      <a:lnTo>
                        <a:pt x="20" y="30"/>
                      </a:lnTo>
                      <a:lnTo>
                        <a:pt x="16" y="30"/>
                      </a:lnTo>
                      <a:lnTo>
                        <a:pt x="12" y="34"/>
                      </a:lnTo>
                      <a:lnTo>
                        <a:pt x="12" y="34"/>
                      </a:lnTo>
                      <a:lnTo>
                        <a:pt x="12" y="34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8" y="36"/>
                      </a:lnTo>
                      <a:lnTo>
                        <a:pt x="4" y="36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4" y="40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56" name="Freeform 98"/>
                <p:cNvSpPr>
                  <a:spLocks noEditPoints="1"/>
                </p:cNvSpPr>
                <p:nvPr/>
              </p:nvSpPr>
              <p:spPr bwMode="auto">
                <a:xfrm>
                  <a:off x="4229100" y="2679768"/>
                  <a:ext cx="22225" cy="34925"/>
                </a:xfrm>
                <a:custGeom>
                  <a:avLst/>
                  <a:gdLst>
                    <a:gd name="T0" fmla="*/ 10 w 14"/>
                    <a:gd name="T1" fmla="*/ 12 h 22"/>
                    <a:gd name="T2" fmla="*/ 6 w 14"/>
                    <a:gd name="T3" fmla="*/ 12 h 22"/>
                    <a:gd name="T4" fmla="*/ 6 w 14"/>
                    <a:gd name="T5" fmla="*/ 12 h 22"/>
                    <a:gd name="T6" fmla="*/ 10 w 14"/>
                    <a:gd name="T7" fmla="*/ 12 h 22"/>
                    <a:gd name="T8" fmla="*/ 10 w 14"/>
                    <a:gd name="T9" fmla="*/ 12 h 22"/>
                    <a:gd name="T10" fmla="*/ 10 w 14"/>
                    <a:gd name="T11" fmla="*/ 14 h 22"/>
                    <a:gd name="T12" fmla="*/ 10 w 14"/>
                    <a:gd name="T13" fmla="*/ 14 h 22"/>
                    <a:gd name="T14" fmla="*/ 10 w 14"/>
                    <a:gd name="T15" fmla="*/ 4 h 22"/>
                    <a:gd name="T16" fmla="*/ 10 w 14"/>
                    <a:gd name="T17" fmla="*/ 4 h 22"/>
                    <a:gd name="T18" fmla="*/ 10 w 14"/>
                    <a:gd name="T19" fmla="*/ 4 h 22"/>
                    <a:gd name="T20" fmla="*/ 10 w 14"/>
                    <a:gd name="T21" fmla="*/ 4 h 22"/>
                    <a:gd name="T22" fmla="*/ 10 w 14"/>
                    <a:gd name="T23" fmla="*/ 0 h 22"/>
                    <a:gd name="T24" fmla="*/ 10 w 14"/>
                    <a:gd name="T25" fmla="*/ 0 h 22"/>
                    <a:gd name="T26" fmla="*/ 10 w 14"/>
                    <a:gd name="T27" fmla="*/ 0 h 22"/>
                    <a:gd name="T28" fmla="*/ 14 w 14"/>
                    <a:gd name="T29" fmla="*/ 0 h 22"/>
                    <a:gd name="T30" fmla="*/ 14 w 14"/>
                    <a:gd name="T31" fmla="*/ 4 h 22"/>
                    <a:gd name="T32" fmla="*/ 10 w 14"/>
                    <a:gd name="T33" fmla="*/ 4 h 22"/>
                    <a:gd name="T34" fmla="*/ 10 w 14"/>
                    <a:gd name="T35" fmla="*/ 8 h 22"/>
                    <a:gd name="T36" fmla="*/ 6 w 14"/>
                    <a:gd name="T37" fmla="*/ 8 h 22"/>
                    <a:gd name="T38" fmla="*/ 6 w 14"/>
                    <a:gd name="T39" fmla="*/ 4 h 22"/>
                    <a:gd name="T40" fmla="*/ 2 w 14"/>
                    <a:gd name="T41" fmla="*/ 4 h 22"/>
                    <a:gd name="T42" fmla="*/ 2 w 14"/>
                    <a:gd name="T43" fmla="*/ 0 h 22"/>
                    <a:gd name="T44" fmla="*/ 6 w 14"/>
                    <a:gd name="T45" fmla="*/ 0 h 22"/>
                    <a:gd name="T46" fmla="*/ 6 w 14"/>
                    <a:gd name="T47" fmla="*/ 0 h 22"/>
                    <a:gd name="T48" fmla="*/ 10 w 14"/>
                    <a:gd name="T49" fmla="*/ 4 h 22"/>
                    <a:gd name="T50" fmla="*/ 10 w 14"/>
                    <a:gd name="T51" fmla="*/ 4 h 22"/>
                    <a:gd name="T52" fmla="*/ 10 w 14"/>
                    <a:gd name="T53" fmla="*/ 8 h 22"/>
                    <a:gd name="T54" fmla="*/ 10 w 14"/>
                    <a:gd name="T55" fmla="*/ 12 h 22"/>
                    <a:gd name="T56" fmla="*/ 6 w 14"/>
                    <a:gd name="T57" fmla="*/ 8 h 22"/>
                    <a:gd name="T58" fmla="*/ 6 w 14"/>
                    <a:gd name="T59" fmla="*/ 8 h 22"/>
                    <a:gd name="T60" fmla="*/ 2 w 14"/>
                    <a:gd name="T61" fmla="*/ 4 h 22"/>
                    <a:gd name="T62" fmla="*/ 2 w 14"/>
                    <a:gd name="T63" fmla="*/ 4 h 22"/>
                    <a:gd name="T64" fmla="*/ 2 w 14"/>
                    <a:gd name="T65" fmla="*/ 0 h 22"/>
                    <a:gd name="T66" fmla="*/ 2 w 14"/>
                    <a:gd name="T67" fmla="*/ 0 h 22"/>
                    <a:gd name="T68" fmla="*/ 2 w 14"/>
                    <a:gd name="T69" fmla="*/ 0 h 22"/>
                    <a:gd name="T70" fmla="*/ 2 w 14"/>
                    <a:gd name="T71" fmla="*/ 4 h 22"/>
                    <a:gd name="T72" fmla="*/ 2 w 14"/>
                    <a:gd name="T73" fmla="*/ 4 h 22"/>
                    <a:gd name="T74" fmla="*/ 6 w 14"/>
                    <a:gd name="T75" fmla="*/ 4 h 22"/>
                    <a:gd name="T76" fmla="*/ 6 w 14"/>
                    <a:gd name="T77" fmla="*/ 4 h 22"/>
                    <a:gd name="T78" fmla="*/ 6 w 14"/>
                    <a:gd name="T79" fmla="*/ 8 h 22"/>
                    <a:gd name="T80" fmla="*/ 10 w 14"/>
                    <a:gd name="T81" fmla="*/ 8 h 22"/>
                    <a:gd name="T82" fmla="*/ 10 w 14"/>
                    <a:gd name="T83" fmla="*/ 12 h 22"/>
                    <a:gd name="T84" fmla="*/ 2 w 14"/>
                    <a:gd name="T85" fmla="*/ 8 h 22"/>
                    <a:gd name="T86" fmla="*/ 2 w 14"/>
                    <a:gd name="T87" fmla="*/ 8 h 22"/>
                    <a:gd name="T88" fmla="*/ 2 w 14"/>
                    <a:gd name="T89" fmla="*/ 8 h 22"/>
                    <a:gd name="T90" fmla="*/ 0 w 14"/>
                    <a:gd name="T91" fmla="*/ 8 h 22"/>
                    <a:gd name="T92" fmla="*/ 0 w 14"/>
                    <a:gd name="T93" fmla="*/ 4 h 22"/>
                    <a:gd name="T94" fmla="*/ 2 w 14"/>
                    <a:gd name="T95" fmla="*/ 4 h 22"/>
                    <a:gd name="T96" fmla="*/ 2 w 14"/>
                    <a:gd name="T97" fmla="*/ 4 h 22"/>
                    <a:gd name="T98" fmla="*/ 2 w 14"/>
                    <a:gd name="T99" fmla="*/ 8 h 22"/>
                    <a:gd name="T100" fmla="*/ 2 w 14"/>
                    <a:gd name="T101" fmla="*/ 8 h 22"/>
                    <a:gd name="T102" fmla="*/ 2 w 14"/>
                    <a:gd name="T103" fmla="*/ 8 h 22"/>
                    <a:gd name="T104" fmla="*/ 2 w 14"/>
                    <a:gd name="T105" fmla="*/ 8 h 22"/>
                    <a:gd name="T106" fmla="*/ 10 w 14"/>
                    <a:gd name="T107" fmla="*/ 22 h 22"/>
                    <a:gd name="T108" fmla="*/ 6 w 14"/>
                    <a:gd name="T109" fmla="*/ 18 h 22"/>
                    <a:gd name="T110" fmla="*/ 6 w 14"/>
                    <a:gd name="T111" fmla="*/ 14 h 22"/>
                    <a:gd name="T112" fmla="*/ 6 w 14"/>
                    <a:gd name="T113" fmla="*/ 14 h 22"/>
                    <a:gd name="T114" fmla="*/ 6 w 14"/>
                    <a:gd name="T115" fmla="*/ 14 h 22"/>
                    <a:gd name="T116" fmla="*/ 10 w 14"/>
                    <a:gd name="T117" fmla="*/ 18 h 22"/>
                    <a:gd name="T118" fmla="*/ 10 w 14"/>
                    <a:gd name="T119" fmla="*/ 22 h 22"/>
                    <a:gd name="T120" fmla="*/ 10 w 14"/>
                    <a:gd name="T121" fmla="*/ 22 h 22"/>
                    <a:gd name="T122" fmla="*/ 10 w 14"/>
                    <a:gd name="T123" fmla="*/ 22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4" h="22">
                      <a:moveTo>
                        <a:pt x="10" y="14"/>
                      </a:moveTo>
                      <a:lnTo>
                        <a:pt x="10" y="12"/>
                      </a:lnTo>
                      <a:lnTo>
                        <a:pt x="6" y="12"/>
                      </a:lnTo>
                      <a:lnTo>
                        <a:pt x="6" y="12"/>
                      </a:lnTo>
                      <a:lnTo>
                        <a:pt x="6" y="12"/>
                      </a:lnTo>
                      <a:lnTo>
                        <a:pt x="6" y="12"/>
                      </a:lnTo>
                      <a:lnTo>
                        <a:pt x="6" y="12"/>
                      </a:lnTo>
                      <a:lnTo>
                        <a:pt x="10" y="12"/>
                      </a:lnTo>
                      <a:lnTo>
                        <a:pt x="10" y="12"/>
                      </a:lnTo>
                      <a:lnTo>
                        <a:pt x="10" y="12"/>
                      </a:lnTo>
                      <a:lnTo>
                        <a:pt x="10" y="14"/>
                      </a:lnTo>
                      <a:lnTo>
                        <a:pt x="10" y="14"/>
                      </a:lnTo>
                      <a:lnTo>
                        <a:pt x="10" y="14"/>
                      </a:lnTo>
                      <a:lnTo>
                        <a:pt x="10" y="14"/>
                      </a:lnTo>
                      <a:lnTo>
                        <a:pt x="10" y="14"/>
                      </a:lnTo>
                      <a:close/>
                      <a:moveTo>
                        <a:pt x="10" y="4"/>
                      </a:move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close/>
                      <a:moveTo>
                        <a:pt x="10" y="8"/>
                      </a:moveTo>
                      <a:lnTo>
                        <a:pt x="10" y="8"/>
                      </a:lnTo>
                      <a:lnTo>
                        <a:pt x="6" y="8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close/>
                      <a:moveTo>
                        <a:pt x="10" y="12"/>
                      </a:moveTo>
                      <a:lnTo>
                        <a:pt x="6" y="12"/>
                      </a:lnTo>
                      <a:lnTo>
                        <a:pt x="6" y="8"/>
                      </a:lnTo>
                      <a:lnTo>
                        <a:pt x="6" y="8"/>
                      </a:lnTo>
                      <a:lnTo>
                        <a:pt x="6" y="8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6" y="8"/>
                      </a:lnTo>
                      <a:lnTo>
                        <a:pt x="6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12"/>
                      </a:lnTo>
                      <a:lnTo>
                        <a:pt x="10" y="12"/>
                      </a:lnTo>
                      <a:lnTo>
                        <a:pt x="10" y="12"/>
                      </a:lnTo>
                      <a:close/>
                      <a:moveTo>
                        <a:pt x="2" y="8"/>
                      </a:move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8"/>
                      </a:lnTo>
                      <a:close/>
                      <a:moveTo>
                        <a:pt x="10" y="22"/>
                      </a:move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6" y="18"/>
                      </a:lnTo>
                      <a:lnTo>
                        <a:pt x="6" y="18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8"/>
                      </a:lnTo>
                      <a:lnTo>
                        <a:pt x="10" y="18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10" y="2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57" name="Freeform 99"/>
                <p:cNvSpPr>
                  <a:spLocks noEditPoints="1"/>
                </p:cNvSpPr>
                <p:nvPr/>
              </p:nvSpPr>
              <p:spPr bwMode="auto">
                <a:xfrm>
                  <a:off x="4832350" y="2378143"/>
                  <a:ext cx="273050" cy="396875"/>
                </a:xfrm>
                <a:custGeom>
                  <a:avLst/>
                  <a:gdLst>
                    <a:gd name="T0" fmla="*/ 44 w 172"/>
                    <a:gd name="T1" fmla="*/ 238 h 250"/>
                    <a:gd name="T2" fmla="*/ 30 w 172"/>
                    <a:gd name="T3" fmla="*/ 232 h 250"/>
                    <a:gd name="T4" fmla="*/ 30 w 172"/>
                    <a:gd name="T5" fmla="*/ 212 h 250"/>
                    <a:gd name="T6" fmla="*/ 26 w 172"/>
                    <a:gd name="T7" fmla="*/ 202 h 250"/>
                    <a:gd name="T8" fmla="*/ 22 w 172"/>
                    <a:gd name="T9" fmla="*/ 180 h 250"/>
                    <a:gd name="T10" fmla="*/ 30 w 172"/>
                    <a:gd name="T11" fmla="*/ 172 h 250"/>
                    <a:gd name="T12" fmla="*/ 40 w 172"/>
                    <a:gd name="T13" fmla="*/ 164 h 250"/>
                    <a:gd name="T14" fmla="*/ 56 w 172"/>
                    <a:gd name="T15" fmla="*/ 154 h 250"/>
                    <a:gd name="T16" fmla="*/ 66 w 172"/>
                    <a:gd name="T17" fmla="*/ 138 h 250"/>
                    <a:gd name="T18" fmla="*/ 86 w 172"/>
                    <a:gd name="T19" fmla="*/ 128 h 250"/>
                    <a:gd name="T20" fmla="*/ 78 w 172"/>
                    <a:gd name="T21" fmla="*/ 116 h 250"/>
                    <a:gd name="T22" fmla="*/ 66 w 172"/>
                    <a:gd name="T23" fmla="*/ 108 h 250"/>
                    <a:gd name="T24" fmla="*/ 64 w 172"/>
                    <a:gd name="T25" fmla="*/ 86 h 250"/>
                    <a:gd name="T26" fmla="*/ 56 w 172"/>
                    <a:gd name="T27" fmla="*/ 64 h 250"/>
                    <a:gd name="T28" fmla="*/ 40 w 172"/>
                    <a:gd name="T29" fmla="*/ 42 h 250"/>
                    <a:gd name="T30" fmla="*/ 22 w 172"/>
                    <a:gd name="T31" fmla="*/ 34 h 250"/>
                    <a:gd name="T32" fmla="*/ 22 w 172"/>
                    <a:gd name="T33" fmla="*/ 22 h 250"/>
                    <a:gd name="T34" fmla="*/ 40 w 172"/>
                    <a:gd name="T35" fmla="*/ 38 h 250"/>
                    <a:gd name="T36" fmla="*/ 64 w 172"/>
                    <a:gd name="T37" fmla="*/ 34 h 250"/>
                    <a:gd name="T38" fmla="*/ 78 w 172"/>
                    <a:gd name="T39" fmla="*/ 34 h 250"/>
                    <a:gd name="T40" fmla="*/ 90 w 172"/>
                    <a:gd name="T41" fmla="*/ 26 h 250"/>
                    <a:gd name="T42" fmla="*/ 94 w 172"/>
                    <a:gd name="T43" fmla="*/ 12 h 250"/>
                    <a:gd name="T44" fmla="*/ 112 w 172"/>
                    <a:gd name="T45" fmla="*/ 4 h 250"/>
                    <a:gd name="T46" fmla="*/ 130 w 172"/>
                    <a:gd name="T47" fmla="*/ 12 h 250"/>
                    <a:gd name="T48" fmla="*/ 130 w 172"/>
                    <a:gd name="T49" fmla="*/ 22 h 250"/>
                    <a:gd name="T50" fmla="*/ 130 w 172"/>
                    <a:gd name="T51" fmla="*/ 34 h 250"/>
                    <a:gd name="T52" fmla="*/ 142 w 172"/>
                    <a:gd name="T53" fmla="*/ 56 h 250"/>
                    <a:gd name="T54" fmla="*/ 138 w 172"/>
                    <a:gd name="T55" fmla="*/ 78 h 250"/>
                    <a:gd name="T56" fmla="*/ 144 w 172"/>
                    <a:gd name="T57" fmla="*/ 98 h 250"/>
                    <a:gd name="T58" fmla="*/ 144 w 172"/>
                    <a:gd name="T59" fmla="*/ 116 h 250"/>
                    <a:gd name="T60" fmla="*/ 142 w 172"/>
                    <a:gd name="T61" fmla="*/ 132 h 250"/>
                    <a:gd name="T62" fmla="*/ 152 w 172"/>
                    <a:gd name="T63" fmla="*/ 142 h 250"/>
                    <a:gd name="T64" fmla="*/ 148 w 172"/>
                    <a:gd name="T65" fmla="*/ 158 h 250"/>
                    <a:gd name="T66" fmla="*/ 172 w 172"/>
                    <a:gd name="T67" fmla="*/ 176 h 250"/>
                    <a:gd name="T68" fmla="*/ 160 w 172"/>
                    <a:gd name="T69" fmla="*/ 194 h 250"/>
                    <a:gd name="T70" fmla="*/ 142 w 172"/>
                    <a:gd name="T71" fmla="*/ 212 h 250"/>
                    <a:gd name="T72" fmla="*/ 122 w 172"/>
                    <a:gd name="T73" fmla="*/ 224 h 250"/>
                    <a:gd name="T74" fmla="*/ 108 w 172"/>
                    <a:gd name="T75" fmla="*/ 232 h 250"/>
                    <a:gd name="T76" fmla="*/ 100 w 172"/>
                    <a:gd name="T77" fmla="*/ 228 h 250"/>
                    <a:gd name="T78" fmla="*/ 90 w 172"/>
                    <a:gd name="T79" fmla="*/ 236 h 250"/>
                    <a:gd name="T80" fmla="*/ 82 w 172"/>
                    <a:gd name="T81" fmla="*/ 238 h 250"/>
                    <a:gd name="T82" fmla="*/ 66 w 172"/>
                    <a:gd name="T83" fmla="*/ 242 h 250"/>
                    <a:gd name="T84" fmla="*/ 48 w 172"/>
                    <a:gd name="T85" fmla="*/ 250 h 250"/>
                    <a:gd name="T86" fmla="*/ 48 w 172"/>
                    <a:gd name="T87" fmla="*/ 242 h 250"/>
                    <a:gd name="T88" fmla="*/ 78 w 172"/>
                    <a:gd name="T89" fmla="*/ 128 h 250"/>
                    <a:gd name="T90" fmla="*/ 48 w 172"/>
                    <a:gd name="T91" fmla="*/ 158 h 250"/>
                    <a:gd name="T92" fmla="*/ 26 w 172"/>
                    <a:gd name="T93" fmla="*/ 172 h 250"/>
                    <a:gd name="T94" fmla="*/ 2 w 172"/>
                    <a:gd name="T95" fmla="*/ 236 h 250"/>
                    <a:gd name="T96" fmla="*/ 6 w 172"/>
                    <a:gd name="T97" fmla="*/ 242 h 250"/>
                    <a:gd name="T98" fmla="*/ 0 w 172"/>
                    <a:gd name="T99" fmla="*/ 242 h 250"/>
                    <a:gd name="T100" fmla="*/ 44 w 172"/>
                    <a:gd name="T101" fmla="*/ 242 h 250"/>
                    <a:gd name="T102" fmla="*/ 44 w 172"/>
                    <a:gd name="T103" fmla="*/ 246 h 250"/>
                    <a:gd name="T104" fmla="*/ 34 w 172"/>
                    <a:gd name="T105" fmla="*/ 242 h 250"/>
                    <a:gd name="T106" fmla="*/ 6 w 172"/>
                    <a:gd name="T107" fmla="*/ 242 h 250"/>
                    <a:gd name="T108" fmla="*/ 56 w 172"/>
                    <a:gd name="T109" fmla="*/ 246 h 2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72" h="250">
                      <a:moveTo>
                        <a:pt x="48" y="242"/>
                      </a:moveTo>
                      <a:lnTo>
                        <a:pt x="48" y="238"/>
                      </a:lnTo>
                      <a:lnTo>
                        <a:pt x="52" y="236"/>
                      </a:lnTo>
                      <a:lnTo>
                        <a:pt x="48" y="238"/>
                      </a:lnTo>
                      <a:lnTo>
                        <a:pt x="44" y="238"/>
                      </a:lnTo>
                      <a:lnTo>
                        <a:pt x="40" y="238"/>
                      </a:lnTo>
                      <a:lnTo>
                        <a:pt x="44" y="238"/>
                      </a:lnTo>
                      <a:lnTo>
                        <a:pt x="44" y="236"/>
                      </a:lnTo>
                      <a:lnTo>
                        <a:pt x="40" y="236"/>
                      </a:lnTo>
                      <a:lnTo>
                        <a:pt x="36" y="236"/>
                      </a:lnTo>
                      <a:lnTo>
                        <a:pt x="34" y="232"/>
                      </a:lnTo>
                      <a:lnTo>
                        <a:pt x="34" y="236"/>
                      </a:lnTo>
                      <a:lnTo>
                        <a:pt x="34" y="232"/>
                      </a:lnTo>
                      <a:lnTo>
                        <a:pt x="30" y="232"/>
                      </a:lnTo>
                      <a:lnTo>
                        <a:pt x="26" y="232"/>
                      </a:lnTo>
                      <a:lnTo>
                        <a:pt x="26" y="228"/>
                      </a:lnTo>
                      <a:lnTo>
                        <a:pt x="26" y="224"/>
                      </a:lnTo>
                      <a:lnTo>
                        <a:pt x="26" y="220"/>
                      </a:lnTo>
                      <a:lnTo>
                        <a:pt x="26" y="216"/>
                      </a:lnTo>
                      <a:lnTo>
                        <a:pt x="30" y="216"/>
                      </a:lnTo>
                      <a:lnTo>
                        <a:pt x="30" y="212"/>
                      </a:lnTo>
                      <a:lnTo>
                        <a:pt x="30" y="208"/>
                      </a:lnTo>
                      <a:lnTo>
                        <a:pt x="26" y="208"/>
                      </a:lnTo>
                      <a:lnTo>
                        <a:pt x="30" y="208"/>
                      </a:lnTo>
                      <a:lnTo>
                        <a:pt x="30" y="206"/>
                      </a:lnTo>
                      <a:lnTo>
                        <a:pt x="26" y="206"/>
                      </a:lnTo>
                      <a:lnTo>
                        <a:pt x="30" y="202"/>
                      </a:lnTo>
                      <a:lnTo>
                        <a:pt x="26" y="202"/>
                      </a:lnTo>
                      <a:lnTo>
                        <a:pt x="26" y="198"/>
                      </a:lnTo>
                      <a:lnTo>
                        <a:pt x="26" y="194"/>
                      </a:lnTo>
                      <a:lnTo>
                        <a:pt x="26" y="192"/>
                      </a:lnTo>
                      <a:lnTo>
                        <a:pt x="22" y="192"/>
                      </a:lnTo>
                      <a:lnTo>
                        <a:pt x="22" y="188"/>
                      </a:lnTo>
                      <a:lnTo>
                        <a:pt x="22" y="184"/>
                      </a:lnTo>
                      <a:lnTo>
                        <a:pt x="22" y="180"/>
                      </a:lnTo>
                      <a:lnTo>
                        <a:pt x="26" y="180"/>
                      </a:lnTo>
                      <a:lnTo>
                        <a:pt x="26" y="176"/>
                      </a:lnTo>
                      <a:lnTo>
                        <a:pt x="30" y="172"/>
                      </a:lnTo>
                      <a:lnTo>
                        <a:pt x="30" y="176"/>
                      </a:lnTo>
                      <a:lnTo>
                        <a:pt x="30" y="172"/>
                      </a:lnTo>
                      <a:lnTo>
                        <a:pt x="30" y="168"/>
                      </a:lnTo>
                      <a:lnTo>
                        <a:pt x="30" y="172"/>
                      </a:lnTo>
                      <a:lnTo>
                        <a:pt x="34" y="168"/>
                      </a:lnTo>
                      <a:lnTo>
                        <a:pt x="34" y="172"/>
                      </a:lnTo>
                      <a:lnTo>
                        <a:pt x="36" y="168"/>
                      </a:lnTo>
                      <a:lnTo>
                        <a:pt x="40" y="168"/>
                      </a:lnTo>
                      <a:lnTo>
                        <a:pt x="40" y="164"/>
                      </a:lnTo>
                      <a:lnTo>
                        <a:pt x="36" y="164"/>
                      </a:lnTo>
                      <a:lnTo>
                        <a:pt x="40" y="164"/>
                      </a:lnTo>
                      <a:lnTo>
                        <a:pt x="40" y="162"/>
                      </a:lnTo>
                      <a:lnTo>
                        <a:pt x="44" y="158"/>
                      </a:lnTo>
                      <a:lnTo>
                        <a:pt x="44" y="162"/>
                      </a:lnTo>
                      <a:lnTo>
                        <a:pt x="48" y="162"/>
                      </a:lnTo>
                      <a:lnTo>
                        <a:pt x="48" y="158"/>
                      </a:lnTo>
                      <a:lnTo>
                        <a:pt x="52" y="154"/>
                      </a:lnTo>
                      <a:lnTo>
                        <a:pt x="56" y="154"/>
                      </a:lnTo>
                      <a:lnTo>
                        <a:pt x="56" y="150"/>
                      </a:lnTo>
                      <a:lnTo>
                        <a:pt x="60" y="150"/>
                      </a:lnTo>
                      <a:lnTo>
                        <a:pt x="60" y="146"/>
                      </a:lnTo>
                      <a:lnTo>
                        <a:pt x="64" y="146"/>
                      </a:lnTo>
                      <a:lnTo>
                        <a:pt x="64" y="142"/>
                      </a:lnTo>
                      <a:lnTo>
                        <a:pt x="66" y="142"/>
                      </a:lnTo>
                      <a:lnTo>
                        <a:pt x="66" y="138"/>
                      </a:lnTo>
                      <a:lnTo>
                        <a:pt x="70" y="136"/>
                      </a:lnTo>
                      <a:lnTo>
                        <a:pt x="70" y="132"/>
                      </a:lnTo>
                      <a:lnTo>
                        <a:pt x="74" y="132"/>
                      </a:lnTo>
                      <a:lnTo>
                        <a:pt x="78" y="132"/>
                      </a:lnTo>
                      <a:lnTo>
                        <a:pt x="82" y="132"/>
                      </a:lnTo>
                      <a:lnTo>
                        <a:pt x="82" y="128"/>
                      </a:lnTo>
                      <a:lnTo>
                        <a:pt x="86" y="128"/>
                      </a:lnTo>
                      <a:lnTo>
                        <a:pt x="82" y="128"/>
                      </a:lnTo>
                      <a:lnTo>
                        <a:pt x="82" y="124"/>
                      </a:lnTo>
                      <a:lnTo>
                        <a:pt x="82" y="120"/>
                      </a:lnTo>
                      <a:lnTo>
                        <a:pt x="82" y="116"/>
                      </a:lnTo>
                      <a:lnTo>
                        <a:pt x="82" y="112"/>
                      </a:lnTo>
                      <a:lnTo>
                        <a:pt x="78" y="112"/>
                      </a:lnTo>
                      <a:lnTo>
                        <a:pt x="78" y="116"/>
                      </a:lnTo>
                      <a:lnTo>
                        <a:pt x="78" y="112"/>
                      </a:lnTo>
                      <a:lnTo>
                        <a:pt x="74" y="112"/>
                      </a:lnTo>
                      <a:lnTo>
                        <a:pt x="70" y="108"/>
                      </a:lnTo>
                      <a:lnTo>
                        <a:pt x="74" y="106"/>
                      </a:lnTo>
                      <a:lnTo>
                        <a:pt x="70" y="106"/>
                      </a:lnTo>
                      <a:lnTo>
                        <a:pt x="70" y="108"/>
                      </a:lnTo>
                      <a:lnTo>
                        <a:pt x="66" y="108"/>
                      </a:lnTo>
                      <a:lnTo>
                        <a:pt x="64" y="102"/>
                      </a:lnTo>
                      <a:lnTo>
                        <a:pt x="60" y="102"/>
                      </a:lnTo>
                      <a:lnTo>
                        <a:pt x="60" y="98"/>
                      </a:lnTo>
                      <a:lnTo>
                        <a:pt x="60" y="94"/>
                      </a:lnTo>
                      <a:lnTo>
                        <a:pt x="60" y="90"/>
                      </a:lnTo>
                      <a:lnTo>
                        <a:pt x="64" y="90"/>
                      </a:lnTo>
                      <a:lnTo>
                        <a:pt x="64" y="86"/>
                      </a:lnTo>
                      <a:lnTo>
                        <a:pt x="64" y="82"/>
                      </a:lnTo>
                      <a:lnTo>
                        <a:pt x="60" y="78"/>
                      </a:lnTo>
                      <a:lnTo>
                        <a:pt x="56" y="76"/>
                      </a:lnTo>
                      <a:lnTo>
                        <a:pt x="60" y="72"/>
                      </a:lnTo>
                      <a:lnTo>
                        <a:pt x="60" y="68"/>
                      </a:lnTo>
                      <a:lnTo>
                        <a:pt x="56" y="68"/>
                      </a:lnTo>
                      <a:lnTo>
                        <a:pt x="56" y="64"/>
                      </a:lnTo>
                      <a:lnTo>
                        <a:pt x="56" y="60"/>
                      </a:lnTo>
                      <a:lnTo>
                        <a:pt x="56" y="56"/>
                      </a:lnTo>
                      <a:lnTo>
                        <a:pt x="60" y="56"/>
                      </a:lnTo>
                      <a:lnTo>
                        <a:pt x="56" y="52"/>
                      </a:lnTo>
                      <a:lnTo>
                        <a:pt x="48" y="46"/>
                      </a:lnTo>
                      <a:lnTo>
                        <a:pt x="44" y="46"/>
                      </a:lnTo>
                      <a:lnTo>
                        <a:pt x="40" y="42"/>
                      </a:lnTo>
                      <a:lnTo>
                        <a:pt x="36" y="42"/>
                      </a:lnTo>
                      <a:lnTo>
                        <a:pt x="34" y="42"/>
                      </a:lnTo>
                      <a:lnTo>
                        <a:pt x="30" y="42"/>
                      </a:lnTo>
                      <a:lnTo>
                        <a:pt x="30" y="38"/>
                      </a:lnTo>
                      <a:lnTo>
                        <a:pt x="26" y="38"/>
                      </a:lnTo>
                      <a:lnTo>
                        <a:pt x="26" y="34"/>
                      </a:lnTo>
                      <a:lnTo>
                        <a:pt x="22" y="34"/>
                      </a:lnTo>
                      <a:lnTo>
                        <a:pt x="18" y="30"/>
                      </a:lnTo>
                      <a:lnTo>
                        <a:pt x="14" y="26"/>
                      </a:lnTo>
                      <a:lnTo>
                        <a:pt x="18" y="26"/>
                      </a:lnTo>
                      <a:lnTo>
                        <a:pt x="22" y="26"/>
                      </a:lnTo>
                      <a:lnTo>
                        <a:pt x="22" y="30"/>
                      </a:lnTo>
                      <a:lnTo>
                        <a:pt x="22" y="26"/>
                      </a:lnTo>
                      <a:lnTo>
                        <a:pt x="22" y="22"/>
                      </a:lnTo>
                      <a:lnTo>
                        <a:pt x="26" y="22"/>
                      </a:lnTo>
                      <a:lnTo>
                        <a:pt x="30" y="22"/>
                      </a:lnTo>
                      <a:lnTo>
                        <a:pt x="34" y="26"/>
                      </a:lnTo>
                      <a:lnTo>
                        <a:pt x="36" y="26"/>
                      </a:lnTo>
                      <a:lnTo>
                        <a:pt x="36" y="30"/>
                      </a:lnTo>
                      <a:lnTo>
                        <a:pt x="40" y="34"/>
                      </a:lnTo>
                      <a:lnTo>
                        <a:pt x="40" y="38"/>
                      </a:lnTo>
                      <a:lnTo>
                        <a:pt x="44" y="34"/>
                      </a:lnTo>
                      <a:lnTo>
                        <a:pt x="48" y="38"/>
                      </a:lnTo>
                      <a:lnTo>
                        <a:pt x="52" y="38"/>
                      </a:lnTo>
                      <a:lnTo>
                        <a:pt x="56" y="38"/>
                      </a:lnTo>
                      <a:lnTo>
                        <a:pt x="60" y="38"/>
                      </a:lnTo>
                      <a:lnTo>
                        <a:pt x="60" y="34"/>
                      </a:lnTo>
                      <a:lnTo>
                        <a:pt x="64" y="34"/>
                      </a:lnTo>
                      <a:lnTo>
                        <a:pt x="66" y="34"/>
                      </a:lnTo>
                      <a:lnTo>
                        <a:pt x="66" y="38"/>
                      </a:lnTo>
                      <a:lnTo>
                        <a:pt x="70" y="38"/>
                      </a:lnTo>
                      <a:lnTo>
                        <a:pt x="74" y="38"/>
                      </a:lnTo>
                      <a:lnTo>
                        <a:pt x="78" y="42"/>
                      </a:lnTo>
                      <a:lnTo>
                        <a:pt x="78" y="38"/>
                      </a:lnTo>
                      <a:lnTo>
                        <a:pt x="78" y="34"/>
                      </a:lnTo>
                      <a:lnTo>
                        <a:pt x="82" y="34"/>
                      </a:lnTo>
                      <a:lnTo>
                        <a:pt x="82" y="30"/>
                      </a:lnTo>
                      <a:lnTo>
                        <a:pt x="86" y="30"/>
                      </a:lnTo>
                      <a:lnTo>
                        <a:pt x="86" y="34"/>
                      </a:lnTo>
                      <a:lnTo>
                        <a:pt x="86" y="30"/>
                      </a:lnTo>
                      <a:lnTo>
                        <a:pt x="90" y="30"/>
                      </a:lnTo>
                      <a:lnTo>
                        <a:pt x="90" y="26"/>
                      </a:lnTo>
                      <a:lnTo>
                        <a:pt x="90" y="22"/>
                      </a:lnTo>
                      <a:lnTo>
                        <a:pt x="90" y="20"/>
                      </a:lnTo>
                      <a:lnTo>
                        <a:pt x="90" y="16"/>
                      </a:lnTo>
                      <a:lnTo>
                        <a:pt x="94" y="16"/>
                      </a:lnTo>
                      <a:lnTo>
                        <a:pt x="94" y="12"/>
                      </a:lnTo>
                      <a:lnTo>
                        <a:pt x="90" y="12"/>
                      </a:lnTo>
                      <a:lnTo>
                        <a:pt x="94" y="12"/>
                      </a:lnTo>
                      <a:lnTo>
                        <a:pt x="96" y="8"/>
                      </a:lnTo>
                      <a:lnTo>
                        <a:pt x="96" y="4"/>
                      </a:lnTo>
                      <a:lnTo>
                        <a:pt x="100" y="4"/>
                      </a:lnTo>
                      <a:lnTo>
                        <a:pt x="104" y="4"/>
                      </a:lnTo>
                      <a:lnTo>
                        <a:pt x="108" y="8"/>
                      </a:lnTo>
                      <a:lnTo>
                        <a:pt x="108" y="4"/>
                      </a:lnTo>
                      <a:lnTo>
                        <a:pt x="112" y="4"/>
                      </a:lnTo>
                      <a:lnTo>
                        <a:pt x="116" y="0"/>
                      </a:lnTo>
                      <a:lnTo>
                        <a:pt x="120" y="0"/>
                      </a:lnTo>
                      <a:lnTo>
                        <a:pt x="120" y="4"/>
                      </a:lnTo>
                      <a:lnTo>
                        <a:pt x="122" y="4"/>
                      </a:lnTo>
                      <a:lnTo>
                        <a:pt x="122" y="8"/>
                      </a:lnTo>
                      <a:lnTo>
                        <a:pt x="126" y="8"/>
                      </a:lnTo>
                      <a:lnTo>
                        <a:pt x="130" y="12"/>
                      </a:lnTo>
                      <a:lnTo>
                        <a:pt x="134" y="12"/>
                      </a:lnTo>
                      <a:lnTo>
                        <a:pt x="138" y="12"/>
                      </a:lnTo>
                      <a:lnTo>
                        <a:pt x="138" y="16"/>
                      </a:lnTo>
                      <a:lnTo>
                        <a:pt x="138" y="20"/>
                      </a:lnTo>
                      <a:lnTo>
                        <a:pt x="134" y="20"/>
                      </a:lnTo>
                      <a:lnTo>
                        <a:pt x="134" y="22"/>
                      </a:lnTo>
                      <a:lnTo>
                        <a:pt x="130" y="22"/>
                      </a:lnTo>
                      <a:lnTo>
                        <a:pt x="130" y="26"/>
                      </a:lnTo>
                      <a:lnTo>
                        <a:pt x="134" y="26"/>
                      </a:lnTo>
                      <a:lnTo>
                        <a:pt x="134" y="30"/>
                      </a:lnTo>
                      <a:lnTo>
                        <a:pt x="130" y="30"/>
                      </a:lnTo>
                      <a:lnTo>
                        <a:pt x="126" y="30"/>
                      </a:lnTo>
                      <a:lnTo>
                        <a:pt x="126" y="34"/>
                      </a:lnTo>
                      <a:lnTo>
                        <a:pt x="130" y="34"/>
                      </a:lnTo>
                      <a:lnTo>
                        <a:pt x="130" y="38"/>
                      </a:lnTo>
                      <a:lnTo>
                        <a:pt x="126" y="42"/>
                      </a:lnTo>
                      <a:lnTo>
                        <a:pt x="126" y="46"/>
                      </a:lnTo>
                      <a:lnTo>
                        <a:pt x="130" y="50"/>
                      </a:lnTo>
                      <a:lnTo>
                        <a:pt x="138" y="52"/>
                      </a:lnTo>
                      <a:lnTo>
                        <a:pt x="142" y="52"/>
                      </a:lnTo>
                      <a:lnTo>
                        <a:pt x="142" y="56"/>
                      </a:lnTo>
                      <a:lnTo>
                        <a:pt x="144" y="60"/>
                      </a:lnTo>
                      <a:lnTo>
                        <a:pt x="148" y="60"/>
                      </a:lnTo>
                      <a:lnTo>
                        <a:pt x="148" y="64"/>
                      </a:lnTo>
                      <a:lnTo>
                        <a:pt x="148" y="68"/>
                      </a:lnTo>
                      <a:lnTo>
                        <a:pt x="144" y="68"/>
                      </a:lnTo>
                      <a:lnTo>
                        <a:pt x="142" y="72"/>
                      </a:lnTo>
                      <a:lnTo>
                        <a:pt x="138" y="78"/>
                      </a:lnTo>
                      <a:lnTo>
                        <a:pt x="134" y="78"/>
                      </a:lnTo>
                      <a:lnTo>
                        <a:pt x="134" y="82"/>
                      </a:lnTo>
                      <a:lnTo>
                        <a:pt x="138" y="82"/>
                      </a:lnTo>
                      <a:lnTo>
                        <a:pt x="138" y="86"/>
                      </a:lnTo>
                      <a:lnTo>
                        <a:pt x="142" y="90"/>
                      </a:lnTo>
                      <a:lnTo>
                        <a:pt x="142" y="94"/>
                      </a:lnTo>
                      <a:lnTo>
                        <a:pt x="144" y="98"/>
                      </a:lnTo>
                      <a:lnTo>
                        <a:pt x="144" y="102"/>
                      </a:lnTo>
                      <a:lnTo>
                        <a:pt x="148" y="102"/>
                      </a:lnTo>
                      <a:lnTo>
                        <a:pt x="148" y="106"/>
                      </a:lnTo>
                      <a:lnTo>
                        <a:pt x="148" y="108"/>
                      </a:lnTo>
                      <a:lnTo>
                        <a:pt x="148" y="112"/>
                      </a:lnTo>
                      <a:lnTo>
                        <a:pt x="144" y="112"/>
                      </a:lnTo>
                      <a:lnTo>
                        <a:pt x="144" y="116"/>
                      </a:lnTo>
                      <a:lnTo>
                        <a:pt x="144" y="120"/>
                      </a:lnTo>
                      <a:lnTo>
                        <a:pt x="142" y="120"/>
                      </a:lnTo>
                      <a:lnTo>
                        <a:pt x="142" y="124"/>
                      </a:lnTo>
                      <a:lnTo>
                        <a:pt x="144" y="124"/>
                      </a:lnTo>
                      <a:lnTo>
                        <a:pt x="144" y="128"/>
                      </a:lnTo>
                      <a:lnTo>
                        <a:pt x="142" y="128"/>
                      </a:lnTo>
                      <a:lnTo>
                        <a:pt x="142" y="132"/>
                      </a:lnTo>
                      <a:lnTo>
                        <a:pt x="144" y="132"/>
                      </a:lnTo>
                      <a:lnTo>
                        <a:pt x="148" y="132"/>
                      </a:lnTo>
                      <a:lnTo>
                        <a:pt x="148" y="136"/>
                      </a:lnTo>
                      <a:lnTo>
                        <a:pt x="152" y="136"/>
                      </a:lnTo>
                      <a:lnTo>
                        <a:pt x="148" y="138"/>
                      </a:lnTo>
                      <a:lnTo>
                        <a:pt x="148" y="142"/>
                      </a:lnTo>
                      <a:lnTo>
                        <a:pt x="152" y="142"/>
                      </a:lnTo>
                      <a:lnTo>
                        <a:pt x="152" y="146"/>
                      </a:lnTo>
                      <a:lnTo>
                        <a:pt x="156" y="146"/>
                      </a:lnTo>
                      <a:lnTo>
                        <a:pt x="156" y="150"/>
                      </a:lnTo>
                      <a:lnTo>
                        <a:pt x="156" y="154"/>
                      </a:lnTo>
                      <a:lnTo>
                        <a:pt x="152" y="154"/>
                      </a:lnTo>
                      <a:lnTo>
                        <a:pt x="152" y="158"/>
                      </a:lnTo>
                      <a:lnTo>
                        <a:pt x="148" y="158"/>
                      </a:lnTo>
                      <a:lnTo>
                        <a:pt x="152" y="162"/>
                      </a:lnTo>
                      <a:lnTo>
                        <a:pt x="156" y="164"/>
                      </a:lnTo>
                      <a:lnTo>
                        <a:pt x="160" y="164"/>
                      </a:lnTo>
                      <a:lnTo>
                        <a:pt x="160" y="168"/>
                      </a:lnTo>
                      <a:lnTo>
                        <a:pt x="164" y="168"/>
                      </a:lnTo>
                      <a:lnTo>
                        <a:pt x="168" y="172"/>
                      </a:lnTo>
                      <a:lnTo>
                        <a:pt x="172" y="176"/>
                      </a:lnTo>
                      <a:lnTo>
                        <a:pt x="172" y="180"/>
                      </a:lnTo>
                      <a:lnTo>
                        <a:pt x="168" y="180"/>
                      </a:lnTo>
                      <a:lnTo>
                        <a:pt x="168" y="184"/>
                      </a:lnTo>
                      <a:lnTo>
                        <a:pt x="168" y="188"/>
                      </a:lnTo>
                      <a:lnTo>
                        <a:pt x="164" y="192"/>
                      </a:lnTo>
                      <a:lnTo>
                        <a:pt x="160" y="192"/>
                      </a:lnTo>
                      <a:lnTo>
                        <a:pt x="160" y="194"/>
                      </a:lnTo>
                      <a:lnTo>
                        <a:pt x="156" y="194"/>
                      </a:lnTo>
                      <a:lnTo>
                        <a:pt x="152" y="198"/>
                      </a:lnTo>
                      <a:lnTo>
                        <a:pt x="152" y="202"/>
                      </a:lnTo>
                      <a:lnTo>
                        <a:pt x="148" y="202"/>
                      </a:lnTo>
                      <a:lnTo>
                        <a:pt x="148" y="206"/>
                      </a:lnTo>
                      <a:lnTo>
                        <a:pt x="144" y="208"/>
                      </a:lnTo>
                      <a:lnTo>
                        <a:pt x="142" y="212"/>
                      </a:lnTo>
                      <a:lnTo>
                        <a:pt x="138" y="212"/>
                      </a:lnTo>
                      <a:lnTo>
                        <a:pt x="138" y="216"/>
                      </a:lnTo>
                      <a:lnTo>
                        <a:pt x="134" y="216"/>
                      </a:lnTo>
                      <a:lnTo>
                        <a:pt x="130" y="220"/>
                      </a:lnTo>
                      <a:lnTo>
                        <a:pt x="130" y="224"/>
                      </a:lnTo>
                      <a:lnTo>
                        <a:pt x="126" y="224"/>
                      </a:lnTo>
                      <a:lnTo>
                        <a:pt x="122" y="224"/>
                      </a:lnTo>
                      <a:lnTo>
                        <a:pt x="122" y="228"/>
                      </a:lnTo>
                      <a:lnTo>
                        <a:pt x="120" y="232"/>
                      </a:lnTo>
                      <a:lnTo>
                        <a:pt x="116" y="232"/>
                      </a:lnTo>
                      <a:lnTo>
                        <a:pt x="112" y="232"/>
                      </a:lnTo>
                      <a:lnTo>
                        <a:pt x="112" y="236"/>
                      </a:lnTo>
                      <a:lnTo>
                        <a:pt x="112" y="232"/>
                      </a:lnTo>
                      <a:lnTo>
                        <a:pt x="108" y="232"/>
                      </a:lnTo>
                      <a:lnTo>
                        <a:pt x="104" y="236"/>
                      </a:lnTo>
                      <a:lnTo>
                        <a:pt x="100" y="236"/>
                      </a:lnTo>
                      <a:lnTo>
                        <a:pt x="96" y="236"/>
                      </a:lnTo>
                      <a:lnTo>
                        <a:pt x="100" y="232"/>
                      </a:lnTo>
                      <a:lnTo>
                        <a:pt x="104" y="232"/>
                      </a:lnTo>
                      <a:lnTo>
                        <a:pt x="100" y="232"/>
                      </a:lnTo>
                      <a:lnTo>
                        <a:pt x="100" y="228"/>
                      </a:lnTo>
                      <a:lnTo>
                        <a:pt x="100" y="232"/>
                      </a:lnTo>
                      <a:lnTo>
                        <a:pt x="96" y="232"/>
                      </a:lnTo>
                      <a:lnTo>
                        <a:pt x="96" y="236"/>
                      </a:lnTo>
                      <a:lnTo>
                        <a:pt x="94" y="236"/>
                      </a:lnTo>
                      <a:lnTo>
                        <a:pt x="94" y="238"/>
                      </a:lnTo>
                      <a:lnTo>
                        <a:pt x="94" y="236"/>
                      </a:lnTo>
                      <a:lnTo>
                        <a:pt x="90" y="236"/>
                      </a:lnTo>
                      <a:lnTo>
                        <a:pt x="90" y="238"/>
                      </a:lnTo>
                      <a:lnTo>
                        <a:pt x="86" y="238"/>
                      </a:lnTo>
                      <a:lnTo>
                        <a:pt x="86" y="236"/>
                      </a:lnTo>
                      <a:lnTo>
                        <a:pt x="86" y="238"/>
                      </a:lnTo>
                      <a:lnTo>
                        <a:pt x="82" y="238"/>
                      </a:lnTo>
                      <a:lnTo>
                        <a:pt x="78" y="238"/>
                      </a:lnTo>
                      <a:lnTo>
                        <a:pt x="82" y="238"/>
                      </a:lnTo>
                      <a:lnTo>
                        <a:pt x="78" y="238"/>
                      </a:lnTo>
                      <a:lnTo>
                        <a:pt x="78" y="242"/>
                      </a:lnTo>
                      <a:lnTo>
                        <a:pt x="74" y="242"/>
                      </a:lnTo>
                      <a:lnTo>
                        <a:pt x="70" y="242"/>
                      </a:lnTo>
                      <a:lnTo>
                        <a:pt x="70" y="246"/>
                      </a:lnTo>
                      <a:lnTo>
                        <a:pt x="70" y="242"/>
                      </a:lnTo>
                      <a:lnTo>
                        <a:pt x="66" y="242"/>
                      </a:lnTo>
                      <a:lnTo>
                        <a:pt x="64" y="242"/>
                      </a:lnTo>
                      <a:lnTo>
                        <a:pt x="60" y="246"/>
                      </a:lnTo>
                      <a:lnTo>
                        <a:pt x="56" y="246"/>
                      </a:lnTo>
                      <a:lnTo>
                        <a:pt x="56" y="242"/>
                      </a:lnTo>
                      <a:lnTo>
                        <a:pt x="56" y="246"/>
                      </a:lnTo>
                      <a:lnTo>
                        <a:pt x="52" y="246"/>
                      </a:lnTo>
                      <a:lnTo>
                        <a:pt x="48" y="250"/>
                      </a:lnTo>
                      <a:lnTo>
                        <a:pt x="48" y="246"/>
                      </a:lnTo>
                      <a:lnTo>
                        <a:pt x="52" y="246"/>
                      </a:lnTo>
                      <a:lnTo>
                        <a:pt x="56" y="242"/>
                      </a:lnTo>
                      <a:lnTo>
                        <a:pt x="52" y="242"/>
                      </a:lnTo>
                      <a:lnTo>
                        <a:pt x="52" y="246"/>
                      </a:lnTo>
                      <a:lnTo>
                        <a:pt x="52" y="242"/>
                      </a:lnTo>
                      <a:lnTo>
                        <a:pt x="48" y="242"/>
                      </a:lnTo>
                      <a:lnTo>
                        <a:pt x="48" y="242"/>
                      </a:lnTo>
                      <a:lnTo>
                        <a:pt x="48" y="242"/>
                      </a:lnTo>
                      <a:close/>
                      <a:moveTo>
                        <a:pt x="78" y="128"/>
                      </a:moveTo>
                      <a:lnTo>
                        <a:pt x="74" y="128"/>
                      </a:lnTo>
                      <a:lnTo>
                        <a:pt x="70" y="128"/>
                      </a:lnTo>
                      <a:lnTo>
                        <a:pt x="74" y="128"/>
                      </a:lnTo>
                      <a:lnTo>
                        <a:pt x="78" y="128"/>
                      </a:lnTo>
                      <a:lnTo>
                        <a:pt x="78" y="128"/>
                      </a:lnTo>
                      <a:lnTo>
                        <a:pt x="78" y="128"/>
                      </a:lnTo>
                      <a:close/>
                      <a:moveTo>
                        <a:pt x="48" y="158"/>
                      </a:moveTo>
                      <a:lnTo>
                        <a:pt x="44" y="158"/>
                      </a:lnTo>
                      <a:lnTo>
                        <a:pt x="48" y="154"/>
                      </a:lnTo>
                      <a:lnTo>
                        <a:pt x="48" y="158"/>
                      </a:lnTo>
                      <a:lnTo>
                        <a:pt x="48" y="158"/>
                      </a:lnTo>
                      <a:lnTo>
                        <a:pt x="48" y="158"/>
                      </a:lnTo>
                      <a:close/>
                      <a:moveTo>
                        <a:pt x="26" y="172"/>
                      </a:moveTo>
                      <a:lnTo>
                        <a:pt x="22" y="172"/>
                      </a:lnTo>
                      <a:lnTo>
                        <a:pt x="22" y="168"/>
                      </a:lnTo>
                      <a:lnTo>
                        <a:pt x="26" y="168"/>
                      </a:lnTo>
                      <a:lnTo>
                        <a:pt x="26" y="172"/>
                      </a:lnTo>
                      <a:lnTo>
                        <a:pt x="26" y="172"/>
                      </a:lnTo>
                      <a:lnTo>
                        <a:pt x="26" y="172"/>
                      </a:lnTo>
                      <a:close/>
                      <a:moveTo>
                        <a:pt x="6" y="242"/>
                      </a:moveTo>
                      <a:lnTo>
                        <a:pt x="2" y="242"/>
                      </a:lnTo>
                      <a:lnTo>
                        <a:pt x="2" y="238"/>
                      </a:lnTo>
                      <a:lnTo>
                        <a:pt x="6" y="238"/>
                      </a:lnTo>
                      <a:lnTo>
                        <a:pt x="6" y="236"/>
                      </a:lnTo>
                      <a:lnTo>
                        <a:pt x="2" y="236"/>
                      </a:lnTo>
                      <a:lnTo>
                        <a:pt x="2" y="238"/>
                      </a:lnTo>
                      <a:lnTo>
                        <a:pt x="2" y="236"/>
                      </a:lnTo>
                      <a:lnTo>
                        <a:pt x="6" y="236"/>
                      </a:lnTo>
                      <a:lnTo>
                        <a:pt x="10" y="238"/>
                      </a:lnTo>
                      <a:lnTo>
                        <a:pt x="6" y="238"/>
                      </a:lnTo>
                      <a:lnTo>
                        <a:pt x="6" y="242"/>
                      </a:lnTo>
                      <a:lnTo>
                        <a:pt x="6" y="242"/>
                      </a:lnTo>
                      <a:lnTo>
                        <a:pt x="6" y="242"/>
                      </a:lnTo>
                      <a:close/>
                      <a:moveTo>
                        <a:pt x="36" y="238"/>
                      </a:moveTo>
                      <a:lnTo>
                        <a:pt x="40" y="238"/>
                      </a:lnTo>
                      <a:lnTo>
                        <a:pt x="36" y="238"/>
                      </a:lnTo>
                      <a:lnTo>
                        <a:pt x="36" y="238"/>
                      </a:lnTo>
                      <a:lnTo>
                        <a:pt x="36" y="238"/>
                      </a:lnTo>
                      <a:close/>
                      <a:moveTo>
                        <a:pt x="0" y="242"/>
                      </a:moveTo>
                      <a:lnTo>
                        <a:pt x="0" y="238"/>
                      </a:lnTo>
                      <a:lnTo>
                        <a:pt x="2" y="238"/>
                      </a:lnTo>
                      <a:lnTo>
                        <a:pt x="0" y="242"/>
                      </a:lnTo>
                      <a:lnTo>
                        <a:pt x="0" y="242"/>
                      </a:lnTo>
                      <a:lnTo>
                        <a:pt x="0" y="242"/>
                      </a:lnTo>
                      <a:close/>
                      <a:moveTo>
                        <a:pt x="44" y="246"/>
                      </a:moveTo>
                      <a:lnTo>
                        <a:pt x="44" y="242"/>
                      </a:lnTo>
                      <a:lnTo>
                        <a:pt x="40" y="242"/>
                      </a:lnTo>
                      <a:lnTo>
                        <a:pt x="40" y="238"/>
                      </a:lnTo>
                      <a:lnTo>
                        <a:pt x="44" y="238"/>
                      </a:lnTo>
                      <a:lnTo>
                        <a:pt x="48" y="238"/>
                      </a:lnTo>
                      <a:lnTo>
                        <a:pt x="48" y="242"/>
                      </a:lnTo>
                      <a:lnTo>
                        <a:pt x="44" y="242"/>
                      </a:lnTo>
                      <a:lnTo>
                        <a:pt x="44" y="246"/>
                      </a:lnTo>
                      <a:lnTo>
                        <a:pt x="44" y="246"/>
                      </a:lnTo>
                      <a:lnTo>
                        <a:pt x="44" y="246"/>
                      </a:lnTo>
                      <a:close/>
                      <a:moveTo>
                        <a:pt x="34" y="242"/>
                      </a:moveTo>
                      <a:lnTo>
                        <a:pt x="30" y="242"/>
                      </a:lnTo>
                      <a:lnTo>
                        <a:pt x="30" y="238"/>
                      </a:lnTo>
                      <a:lnTo>
                        <a:pt x="34" y="238"/>
                      </a:lnTo>
                      <a:lnTo>
                        <a:pt x="34" y="242"/>
                      </a:lnTo>
                      <a:lnTo>
                        <a:pt x="34" y="242"/>
                      </a:lnTo>
                      <a:lnTo>
                        <a:pt x="34" y="242"/>
                      </a:lnTo>
                      <a:close/>
                      <a:moveTo>
                        <a:pt x="6" y="242"/>
                      </a:moveTo>
                      <a:lnTo>
                        <a:pt x="10" y="242"/>
                      </a:lnTo>
                      <a:lnTo>
                        <a:pt x="10" y="246"/>
                      </a:lnTo>
                      <a:lnTo>
                        <a:pt x="6" y="242"/>
                      </a:lnTo>
                      <a:lnTo>
                        <a:pt x="6" y="242"/>
                      </a:lnTo>
                      <a:lnTo>
                        <a:pt x="6" y="242"/>
                      </a:lnTo>
                      <a:close/>
                      <a:moveTo>
                        <a:pt x="48" y="246"/>
                      </a:moveTo>
                      <a:lnTo>
                        <a:pt x="52" y="246"/>
                      </a:lnTo>
                      <a:lnTo>
                        <a:pt x="48" y="246"/>
                      </a:lnTo>
                      <a:lnTo>
                        <a:pt x="48" y="246"/>
                      </a:lnTo>
                      <a:lnTo>
                        <a:pt x="48" y="246"/>
                      </a:lnTo>
                      <a:close/>
                      <a:moveTo>
                        <a:pt x="56" y="246"/>
                      </a:moveTo>
                      <a:lnTo>
                        <a:pt x="60" y="246"/>
                      </a:lnTo>
                      <a:lnTo>
                        <a:pt x="56" y="246"/>
                      </a:lnTo>
                      <a:lnTo>
                        <a:pt x="56" y="246"/>
                      </a:lnTo>
                      <a:lnTo>
                        <a:pt x="56" y="246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58" name="Freeform 100"/>
                <p:cNvSpPr>
                  <a:spLocks noEditPoints="1"/>
                </p:cNvSpPr>
                <p:nvPr/>
              </p:nvSpPr>
              <p:spPr bwMode="auto">
                <a:xfrm>
                  <a:off x="4286250" y="3076643"/>
                  <a:ext cx="320675" cy="307975"/>
                </a:xfrm>
                <a:custGeom>
                  <a:avLst/>
                  <a:gdLst>
                    <a:gd name="T0" fmla="*/ 80 w 202"/>
                    <a:gd name="T1" fmla="*/ 168 h 194"/>
                    <a:gd name="T2" fmla="*/ 72 w 202"/>
                    <a:gd name="T3" fmla="*/ 168 h 194"/>
                    <a:gd name="T4" fmla="*/ 50 w 202"/>
                    <a:gd name="T5" fmla="*/ 162 h 194"/>
                    <a:gd name="T6" fmla="*/ 46 w 202"/>
                    <a:gd name="T7" fmla="*/ 158 h 194"/>
                    <a:gd name="T8" fmla="*/ 50 w 202"/>
                    <a:gd name="T9" fmla="*/ 138 h 194"/>
                    <a:gd name="T10" fmla="*/ 50 w 202"/>
                    <a:gd name="T11" fmla="*/ 128 h 194"/>
                    <a:gd name="T12" fmla="*/ 56 w 202"/>
                    <a:gd name="T13" fmla="*/ 116 h 194"/>
                    <a:gd name="T14" fmla="*/ 56 w 202"/>
                    <a:gd name="T15" fmla="*/ 116 h 194"/>
                    <a:gd name="T16" fmla="*/ 54 w 202"/>
                    <a:gd name="T17" fmla="*/ 106 h 194"/>
                    <a:gd name="T18" fmla="*/ 42 w 202"/>
                    <a:gd name="T19" fmla="*/ 94 h 194"/>
                    <a:gd name="T20" fmla="*/ 42 w 202"/>
                    <a:gd name="T21" fmla="*/ 78 h 194"/>
                    <a:gd name="T22" fmla="*/ 34 w 202"/>
                    <a:gd name="T23" fmla="*/ 72 h 194"/>
                    <a:gd name="T24" fmla="*/ 22 w 202"/>
                    <a:gd name="T25" fmla="*/ 72 h 194"/>
                    <a:gd name="T26" fmla="*/ 12 w 202"/>
                    <a:gd name="T27" fmla="*/ 64 h 194"/>
                    <a:gd name="T28" fmla="*/ 0 w 202"/>
                    <a:gd name="T29" fmla="*/ 64 h 194"/>
                    <a:gd name="T30" fmla="*/ 0 w 202"/>
                    <a:gd name="T31" fmla="*/ 56 h 194"/>
                    <a:gd name="T32" fmla="*/ 4 w 202"/>
                    <a:gd name="T33" fmla="*/ 52 h 194"/>
                    <a:gd name="T34" fmla="*/ 16 w 202"/>
                    <a:gd name="T35" fmla="*/ 48 h 194"/>
                    <a:gd name="T36" fmla="*/ 34 w 202"/>
                    <a:gd name="T37" fmla="*/ 48 h 194"/>
                    <a:gd name="T38" fmla="*/ 46 w 202"/>
                    <a:gd name="T39" fmla="*/ 48 h 194"/>
                    <a:gd name="T40" fmla="*/ 42 w 202"/>
                    <a:gd name="T41" fmla="*/ 34 h 194"/>
                    <a:gd name="T42" fmla="*/ 50 w 202"/>
                    <a:gd name="T43" fmla="*/ 26 h 194"/>
                    <a:gd name="T44" fmla="*/ 64 w 202"/>
                    <a:gd name="T45" fmla="*/ 34 h 194"/>
                    <a:gd name="T46" fmla="*/ 72 w 202"/>
                    <a:gd name="T47" fmla="*/ 34 h 194"/>
                    <a:gd name="T48" fmla="*/ 80 w 202"/>
                    <a:gd name="T49" fmla="*/ 22 h 194"/>
                    <a:gd name="T50" fmla="*/ 90 w 202"/>
                    <a:gd name="T51" fmla="*/ 12 h 194"/>
                    <a:gd name="T52" fmla="*/ 106 w 202"/>
                    <a:gd name="T53" fmla="*/ 0 h 194"/>
                    <a:gd name="T54" fmla="*/ 114 w 202"/>
                    <a:gd name="T55" fmla="*/ 8 h 194"/>
                    <a:gd name="T56" fmla="*/ 128 w 202"/>
                    <a:gd name="T57" fmla="*/ 16 h 194"/>
                    <a:gd name="T58" fmla="*/ 138 w 202"/>
                    <a:gd name="T59" fmla="*/ 18 h 194"/>
                    <a:gd name="T60" fmla="*/ 146 w 202"/>
                    <a:gd name="T61" fmla="*/ 30 h 194"/>
                    <a:gd name="T62" fmla="*/ 158 w 202"/>
                    <a:gd name="T63" fmla="*/ 34 h 194"/>
                    <a:gd name="T64" fmla="*/ 172 w 202"/>
                    <a:gd name="T65" fmla="*/ 42 h 194"/>
                    <a:gd name="T66" fmla="*/ 180 w 202"/>
                    <a:gd name="T67" fmla="*/ 48 h 194"/>
                    <a:gd name="T68" fmla="*/ 176 w 202"/>
                    <a:gd name="T69" fmla="*/ 68 h 194"/>
                    <a:gd name="T70" fmla="*/ 168 w 202"/>
                    <a:gd name="T71" fmla="*/ 76 h 194"/>
                    <a:gd name="T72" fmla="*/ 160 w 202"/>
                    <a:gd name="T73" fmla="*/ 86 h 194"/>
                    <a:gd name="T74" fmla="*/ 154 w 202"/>
                    <a:gd name="T75" fmla="*/ 98 h 194"/>
                    <a:gd name="T76" fmla="*/ 164 w 202"/>
                    <a:gd name="T77" fmla="*/ 94 h 194"/>
                    <a:gd name="T78" fmla="*/ 164 w 202"/>
                    <a:gd name="T79" fmla="*/ 112 h 194"/>
                    <a:gd name="T80" fmla="*/ 160 w 202"/>
                    <a:gd name="T81" fmla="*/ 124 h 194"/>
                    <a:gd name="T82" fmla="*/ 168 w 202"/>
                    <a:gd name="T83" fmla="*/ 138 h 194"/>
                    <a:gd name="T84" fmla="*/ 172 w 202"/>
                    <a:gd name="T85" fmla="*/ 146 h 194"/>
                    <a:gd name="T86" fmla="*/ 164 w 202"/>
                    <a:gd name="T87" fmla="*/ 154 h 194"/>
                    <a:gd name="T88" fmla="*/ 146 w 202"/>
                    <a:gd name="T89" fmla="*/ 162 h 194"/>
                    <a:gd name="T90" fmla="*/ 138 w 202"/>
                    <a:gd name="T91" fmla="*/ 154 h 194"/>
                    <a:gd name="T92" fmla="*/ 128 w 202"/>
                    <a:gd name="T93" fmla="*/ 154 h 194"/>
                    <a:gd name="T94" fmla="*/ 110 w 202"/>
                    <a:gd name="T95" fmla="*/ 164 h 194"/>
                    <a:gd name="T96" fmla="*/ 106 w 202"/>
                    <a:gd name="T97" fmla="*/ 176 h 194"/>
                    <a:gd name="T98" fmla="*/ 94 w 202"/>
                    <a:gd name="T99" fmla="*/ 172 h 194"/>
                    <a:gd name="T100" fmla="*/ 54 w 202"/>
                    <a:gd name="T101" fmla="*/ 108 h 194"/>
                    <a:gd name="T102" fmla="*/ 22 w 202"/>
                    <a:gd name="T103" fmla="*/ 78 h 194"/>
                    <a:gd name="T104" fmla="*/ 50 w 202"/>
                    <a:gd name="T105" fmla="*/ 102 h 194"/>
                    <a:gd name="T106" fmla="*/ 190 w 202"/>
                    <a:gd name="T107" fmla="*/ 172 h 194"/>
                    <a:gd name="T108" fmla="*/ 202 w 202"/>
                    <a:gd name="T109" fmla="*/ 168 h 194"/>
                    <a:gd name="T110" fmla="*/ 198 w 202"/>
                    <a:gd name="T111" fmla="*/ 190 h 194"/>
                    <a:gd name="T112" fmla="*/ 190 w 202"/>
                    <a:gd name="T113" fmla="*/ 186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02" h="194">
                      <a:moveTo>
                        <a:pt x="94" y="172"/>
                      </a:moveTo>
                      <a:lnTo>
                        <a:pt x="90" y="172"/>
                      </a:lnTo>
                      <a:lnTo>
                        <a:pt x="86" y="172"/>
                      </a:lnTo>
                      <a:lnTo>
                        <a:pt x="86" y="168"/>
                      </a:lnTo>
                      <a:lnTo>
                        <a:pt x="84" y="168"/>
                      </a:lnTo>
                      <a:lnTo>
                        <a:pt x="80" y="168"/>
                      </a:lnTo>
                      <a:lnTo>
                        <a:pt x="80" y="164"/>
                      </a:lnTo>
                      <a:lnTo>
                        <a:pt x="80" y="168"/>
                      </a:lnTo>
                      <a:lnTo>
                        <a:pt x="76" y="168"/>
                      </a:lnTo>
                      <a:lnTo>
                        <a:pt x="80" y="168"/>
                      </a:lnTo>
                      <a:lnTo>
                        <a:pt x="76" y="168"/>
                      </a:lnTo>
                      <a:lnTo>
                        <a:pt x="72" y="168"/>
                      </a:lnTo>
                      <a:lnTo>
                        <a:pt x="68" y="168"/>
                      </a:lnTo>
                      <a:lnTo>
                        <a:pt x="64" y="168"/>
                      </a:lnTo>
                      <a:lnTo>
                        <a:pt x="60" y="168"/>
                      </a:lnTo>
                      <a:lnTo>
                        <a:pt x="56" y="164"/>
                      </a:lnTo>
                      <a:lnTo>
                        <a:pt x="54" y="164"/>
                      </a:lnTo>
                      <a:lnTo>
                        <a:pt x="50" y="162"/>
                      </a:lnTo>
                      <a:lnTo>
                        <a:pt x="50" y="164"/>
                      </a:lnTo>
                      <a:lnTo>
                        <a:pt x="50" y="162"/>
                      </a:lnTo>
                      <a:lnTo>
                        <a:pt x="46" y="162"/>
                      </a:lnTo>
                      <a:lnTo>
                        <a:pt x="50" y="162"/>
                      </a:lnTo>
                      <a:lnTo>
                        <a:pt x="50" y="158"/>
                      </a:lnTo>
                      <a:lnTo>
                        <a:pt x="46" y="158"/>
                      </a:lnTo>
                      <a:lnTo>
                        <a:pt x="42" y="158"/>
                      </a:lnTo>
                      <a:lnTo>
                        <a:pt x="46" y="158"/>
                      </a:lnTo>
                      <a:lnTo>
                        <a:pt x="46" y="154"/>
                      </a:lnTo>
                      <a:lnTo>
                        <a:pt x="50" y="150"/>
                      </a:lnTo>
                      <a:lnTo>
                        <a:pt x="50" y="142"/>
                      </a:lnTo>
                      <a:lnTo>
                        <a:pt x="50" y="138"/>
                      </a:lnTo>
                      <a:lnTo>
                        <a:pt x="50" y="134"/>
                      </a:lnTo>
                      <a:lnTo>
                        <a:pt x="50" y="132"/>
                      </a:lnTo>
                      <a:lnTo>
                        <a:pt x="54" y="132"/>
                      </a:lnTo>
                      <a:lnTo>
                        <a:pt x="54" y="128"/>
                      </a:lnTo>
                      <a:lnTo>
                        <a:pt x="50" y="132"/>
                      </a:lnTo>
                      <a:lnTo>
                        <a:pt x="50" y="128"/>
                      </a:lnTo>
                      <a:lnTo>
                        <a:pt x="50" y="124"/>
                      </a:lnTo>
                      <a:lnTo>
                        <a:pt x="54" y="120"/>
                      </a:lnTo>
                      <a:lnTo>
                        <a:pt x="54" y="116"/>
                      </a:lnTo>
                      <a:lnTo>
                        <a:pt x="54" y="112"/>
                      </a:lnTo>
                      <a:lnTo>
                        <a:pt x="54" y="116"/>
                      </a:lnTo>
                      <a:lnTo>
                        <a:pt x="56" y="116"/>
                      </a:lnTo>
                      <a:lnTo>
                        <a:pt x="56" y="120"/>
                      </a:lnTo>
                      <a:lnTo>
                        <a:pt x="56" y="124"/>
                      </a:lnTo>
                      <a:lnTo>
                        <a:pt x="60" y="128"/>
                      </a:lnTo>
                      <a:lnTo>
                        <a:pt x="60" y="124"/>
                      </a:lnTo>
                      <a:lnTo>
                        <a:pt x="56" y="120"/>
                      </a:lnTo>
                      <a:lnTo>
                        <a:pt x="56" y="116"/>
                      </a:lnTo>
                      <a:lnTo>
                        <a:pt x="56" y="112"/>
                      </a:lnTo>
                      <a:lnTo>
                        <a:pt x="54" y="112"/>
                      </a:lnTo>
                      <a:lnTo>
                        <a:pt x="54" y="108"/>
                      </a:lnTo>
                      <a:lnTo>
                        <a:pt x="50" y="108"/>
                      </a:lnTo>
                      <a:lnTo>
                        <a:pt x="54" y="108"/>
                      </a:lnTo>
                      <a:lnTo>
                        <a:pt x="54" y="106"/>
                      </a:lnTo>
                      <a:lnTo>
                        <a:pt x="54" y="102"/>
                      </a:lnTo>
                      <a:lnTo>
                        <a:pt x="54" y="98"/>
                      </a:lnTo>
                      <a:lnTo>
                        <a:pt x="50" y="98"/>
                      </a:lnTo>
                      <a:lnTo>
                        <a:pt x="46" y="98"/>
                      </a:lnTo>
                      <a:lnTo>
                        <a:pt x="46" y="94"/>
                      </a:lnTo>
                      <a:lnTo>
                        <a:pt x="42" y="94"/>
                      </a:lnTo>
                      <a:lnTo>
                        <a:pt x="42" y="90"/>
                      </a:lnTo>
                      <a:lnTo>
                        <a:pt x="38" y="90"/>
                      </a:lnTo>
                      <a:lnTo>
                        <a:pt x="38" y="86"/>
                      </a:lnTo>
                      <a:lnTo>
                        <a:pt x="38" y="82"/>
                      </a:lnTo>
                      <a:lnTo>
                        <a:pt x="38" y="78"/>
                      </a:lnTo>
                      <a:lnTo>
                        <a:pt x="42" y="78"/>
                      </a:lnTo>
                      <a:lnTo>
                        <a:pt x="38" y="78"/>
                      </a:lnTo>
                      <a:lnTo>
                        <a:pt x="34" y="78"/>
                      </a:lnTo>
                      <a:lnTo>
                        <a:pt x="30" y="78"/>
                      </a:lnTo>
                      <a:lnTo>
                        <a:pt x="30" y="76"/>
                      </a:lnTo>
                      <a:lnTo>
                        <a:pt x="34" y="76"/>
                      </a:lnTo>
                      <a:lnTo>
                        <a:pt x="34" y="72"/>
                      </a:lnTo>
                      <a:lnTo>
                        <a:pt x="30" y="72"/>
                      </a:lnTo>
                      <a:lnTo>
                        <a:pt x="26" y="76"/>
                      </a:lnTo>
                      <a:lnTo>
                        <a:pt x="26" y="72"/>
                      </a:lnTo>
                      <a:lnTo>
                        <a:pt x="30" y="72"/>
                      </a:lnTo>
                      <a:lnTo>
                        <a:pt x="26" y="72"/>
                      </a:lnTo>
                      <a:lnTo>
                        <a:pt x="22" y="72"/>
                      </a:lnTo>
                      <a:lnTo>
                        <a:pt x="22" y="76"/>
                      </a:lnTo>
                      <a:lnTo>
                        <a:pt x="22" y="72"/>
                      </a:lnTo>
                      <a:lnTo>
                        <a:pt x="20" y="68"/>
                      </a:lnTo>
                      <a:lnTo>
                        <a:pt x="16" y="68"/>
                      </a:lnTo>
                      <a:lnTo>
                        <a:pt x="12" y="68"/>
                      </a:lnTo>
                      <a:lnTo>
                        <a:pt x="12" y="64"/>
                      </a:lnTo>
                      <a:lnTo>
                        <a:pt x="8" y="64"/>
                      </a:lnTo>
                      <a:lnTo>
                        <a:pt x="8" y="68"/>
                      </a:lnTo>
                      <a:lnTo>
                        <a:pt x="4" y="68"/>
                      </a:lnTo>
                      <a:lnTo>
                        <a:pt x="8" y="68"/>
                      </a:lnTo>
                      <a:lnTo>
                        <a:pt x="4" y="64"/>
                      </a:lnTo>
                      <a:lnTo>
                        <a:pt x="0" y="64"/>
                      </a:lnTo>
                      <a:lnTo>
                        <a:pt x="0" y="60"/>
                      </a:lnTo>
                      <a:lnTo>
                        <a:pt x="4" y="60"/>
                      </a:lnTo>
                      <a:lnTo>
                        <a:pt x="8" y="60"/>
                      </a:lnTo>
                      <a:lnTo>
                        <a:pt x="4" y="56"/>
                      </a:lnTo>
                      <a:lnTo>
                        <a:pt x="4" y="60"/>
                      </a:lnTo>
                      <a:lnTo>
                        <a:pt x="0" y="56"/>
                      </a:lnTo>
                      <a:lnTo>
                        <a:pt x="4" y="56"/>
                      </a:lnTo>
                      <a:lnTo>
                        <a:pt x="8" y="56"/>
                      </a:lnTo>
                      <a:lnTo>
                        <a:pt x="4" y="56"/>
                      </a:lnTo>
                      <a:lnTo>
                        <a:pt x="0" y="56"/>
                      </a:lnTo>
                      <a:lnTo>
                        <a:pt x="0" y="52"/>
                      </a:lnTo>
                      <a:lnTo>
                        <a:pt x="4" y="52"/>
                      </a:lnTo>
                      <a:lnTo>
                        <a:pt x="4" y="48"/>
                      </a:lnTo>
                      <a:lnTo>
                        <a:pt x="8" y="48"/>
                      </a:lnTo>
                      <a:lnTo>
                        <a:pt x="12" y="48"/>
                      </a:lnTo>
                      <a:lnTo>
                        <a:pt x="16" y="48"/>
                      </a:lnTo>
                      <a:lnTo>
                        <a:pt x="20" y="48"/>
                      </a:lnTo>
                      <a:lnTo>
                        <a:pt x="16" y="48"/>
                      </a:lnTo>
                      <a:lnTo>
                        <a:pt x="16" y="46"/>
                      </a:lnTo>
                      <a:lnTo>
                        <a:pt x="20" y="46"/>
                      </a:lnTo>
                      <a:lnTo>
                        <a:pt x="22" y="46"/>
                      </a:lnTo>
                      <a:lnTo>
                        <a:pt x="26" y="48"/>
                      </a:lnTo>
                      <a:lnTo>
                        <a:pt x="30" y="52"/>
                      </a:lnTo>
                      <a:lnTo>
                        <a:pt x="34" y="48"/>
                      </a:lnTo>
                      <a:lnTo>
                        <a:pt x="38" y="48"/>
                      </a:lnTo>
                      <a:lnTo>
                        <a:pt x="42" y="52"/>
                      </a:lnTo>
                      <a:lnTo>
                        <a:pt x="38" y="52"/>
                      </a:lnTo>
                      <a:lnTo>
                        <a:pt x="38" y="48"/>
                      </a:lnTo>
                      <a:lnTo>
                        <a:pt x="42" y="48"/>
                      </a:lnTo>
                      <a:lnTo>
                        <a:pt x="46" y="48"/>
                      </a:lnTo>
                      <a:lnTo>
                        <a:pt x="50" y="48"/>
                      </a:lnTo>
                      <a:lnTo>
                        <a:pt x="46" y="48"/>
                      </a:lnTo>
                      <a:lnTo>
                        <a:pt x="46" y="46"/>
                      </a:lnTo>
                      <a:lnTo>
                        <a:pt x="46" y="42"/>
                      </a:lnTo>
                      <a:lnTo>
                        <a:pt x="46" y="38"/>
                      </a:lnTo>
                      <a:lnTo>
                        <a:pt x="42" y="34"/>
                      </a:lnTo>
                      <a:lnTo>
                        <a:pt x="42" y="30"/>
                      </a:lnTo>
                      <a:lnTo>
                        <a:pt x="42" y="26"/>
                      </a:lnTo>
                      <a:lnTo>
                        <a:pt x="42" y="30"/>
                      </a:lnTo>
                      <a:lnTo>
                        <a:pt x="46" y="30"/>
                      </a:lnTo>
                      <a:lnTo>
                        <a:pt x="46" y="26"/>
                      </a:lnTo>
                      <a:lnTo>
                        <a:pt x="50" y="26"/>
                      </a:lnTo>
                      <a:lnTo>
                        <a:pt x="50" y="30"/>
                      </a:lnTo>
                      <a:lnTo>
                        <a:pt x="50" y="34"/>
                      </a:lnTo>
                      <a:lnTo>
                        <a:pt x="54" y="34"/>
                      </a:lnTo>
                      <a:lnTo>
                        <a:pt x="56" y="34"/>
                      </a:lnTo>
                      <a:lnTo>
                        <a:pt x="60" y="34"/>
                      </a:lnTo>
                      <a:lnTo>
                        <a:pt x="64" y="34"/>
                      </a:lnTo>
                      <a:lnTo>
                        <a:pt x="64" y="38"/>
                      </a:lnTo>
                      <a:lnTo>
                        <a:pt x="68" y="38"/>
                      </a:lnTo>
                      <a:lnTo>
                        <a:pt x="68" y="34"/>
                      </a:lnTo>
                      <a:lnTo>
                        <a:pt x="72" y="34"/>
                      </a:lnTo>
                      <a:lnTo>
                        <a:pt x="76" y="34"/>
                      </a:lnTo>
                      <a:lnTo>
                        <a:pt x="72" y="34"/>
                      </a:lnTo>
                      <a:lnTo>
                        <a:pt x="68" y="34"/>
                      </a:lnTo>
                      <a:lnTo>
                        <a:pt x="68" y="30"/>
                      </a:lnTo>
                      <a:lnTo>
                        <a:pt x="72" y="26"/>
                      </a:lnTo>
                      <a:lnTo>
                        <a:pt x="76" y="26"/>
                      </a:lnTo>
                      <a:lnTo>
                        <a:pt x="76" y="22"/>
                      </a:lnTo>
                      <a:lnTo>
                        <a:pt x="80" y="22"/>
                      </a:lnTo>
                      <a:lnTo>
                        <a:pt x="84" y="22"/>
                      </a:lnTo>
                      <a:lnTo>
                        <a:pt x="86" y="22"/>
                      </a:lnTo>
                      <a:lnTo>
                        <a:pt x="86" y="18"/>
                      </a:lnTo>
                      <a:lnTo>
                        <a:pt x="90" y="18"/>
                      </a:lnTo>
                      <a:lnTo>
                        <a:pt x="90" y="16"/>
                      </a:lnTo>
                      <a:lnTo>
                        <a:pt x="90" y="12"/>
                      </a:lnTo>
                      <a:lnTo>
                        <a:pt x="90" y="8"/>
                      </a:lnTo>
                      <a:lnTo>
                        <a:pt x="90" y="4"/>
                      </a:lnTo>
                      <a:lnTo>
                        <a:pt x="94" y="0"/>
                      </a:lnTo>
                      <a:lnTo>
                        <a:pt x="98" y="0"/>
                      </a:lnTo>
                      <a:lnTo>
                        <a:pt x="102" y="0"/>
                      </a:lnTo>
                      <a:lnTo>
                        <a:pt x="106" y="0"/>
                      </a:lnTo>
                      <a:lnTo>
                        <a:pt x="106" y="4"/>
                      </a:lnTo>
                      <a:lnTo>
                        <a:pt x="110" y="4"/>
                      </a:lnTo>
                      <a:lnTo>
                        <a:pt x="110" y="8"/>
                      </a:lnTo>
                      <a:lnTo>
                        <a:pt x="110" y="4"/>
                      </a:lnTo>
                      <a:lnTo>
                        <a:pt x="114" y="4"/>
                      </a:lnTo>
                      <a:lnTo>
                        <a:pt x="114" y="8"/>
                      </a:lnTo>
                      <a:lnTo>
                        <a:pt x="114" y="12"/>
                      </a:lnTo>
                      <a:lnTo>
                        <a:pt x="116" y="12"/>
                      </a:lnTo>
                      <a:lnTo>
                        <a:pt x="120" y="12"/>
                      </a:lnTo>
                      <a:lnTo>
                        <a:pt x="120" y="16"/>
                      </a:lnTo>
                      <a:lnTo>
                        <a:pt x="124" y="16"/>
                      </a:lnTo>
                      <a:lnTo>
                        <a:pt x="128" y="16"/>
                      </a:lnTo>
                      <a:lnTo>
                        <a:pt x="128" y="18"/>
                      </a:lnTo>
                      <a:lnTo>
                        <a:pt x="128" y="22"/>
                      </a:lnTo>
                      <a:lnTo>
                        <a:pt x="132" y="22"/>
                      </a:lnTo>
                      <a:lnTo>
                        <a:pt x="136" y="22"/>
                      </a:lnTo>
                      <a:lnTo>
                        <a:pt x="136" y="18"/>
                      </a:lnTo>
                      <a:lnTo>
                        <a:pt x="138" y="18"/>
                      </a:lnTo>
                      <a:lnTo>
                        <a:pt x="136" y="18"/>
                      </a:lnTo>
                      <a:lnTo>
                        <a:pt x="136" y="22"/>
                      </a:lnTo>
                      <a:lnTo>
                        <a:pt x="136" y="26"/>
                      </a:lnTo>
                      <a:lnTo>
                        <a:pt x="138" y="26"/>
                      </a:lnTo>
                      <a:lnTo>
                        <a:pt x="142" y="30"/>
                      </a:lnTo>
                      <a:lnTo>
                        <a:pt x="146" y="30"/>
                      </a:lnTo>
                      <a:lnTo>
                        <a:pt x="150" y="30"/>
                      </a:lnTo>
                      <a:lnTo>
                        <a:pt x="150" y="34"/>
                      </a:lnTo>
                      <a:lnTo>
                        <a:pt x="154" y="34"/>
                      </a:lnTo>
                      <a:lnTo>
                        <a:pt x="154" y="30"/>
                      </a:lnTo>
                      <a:lnTo>
                        <a:pt x="158" y="30"/>
                      </a:lnTo>
                      <a:lnTo>
                        <a:pt x="158" y="34"/>
                      </a:lnTo>
                      <a:lnTo>
                        <a:pt x="160" y="34"/>
                      </a:lnTo>
                      <a:lnTo>
                        <a:pt x="160" y="38"/>
                      </a:lnTo>
                      <a:lnTo>
                        <a:pt x="164" y="38"/>
                      </a:lnTo>
                      <a:lnTo>
                        <a:pt x="168" y="38"/>
                      </a:lnTo>
                      <a:lnTo>
                        <a:pt x="168" y="42"/>
                      </a:lnTo>
                      <a:lnTo>
                        <a:pt x="172" y="42"/>
                      </a:lnTo>
                      <a:lnTo>
                        <a:pt x="172" y="38"/>
                      </a:lnTo>
                      <a:lnTo>
                        <a:pt x="176" y="42"/>
                      </a:lnTo>
                      <a:lnTo>
                        <a:pt x="180" y="42"/>
                      </a:lnTo>
                      <a:lnTo>
                        <a:pt x="184" y="42"/>
                      </a:lnTo>
                      <a:lnTo>
                        <a:pt x="184" y="46"/>
                      </a:lnTo>
                      <a:lnTo>
                        <a:pt x="180" y="48"/>
                      </a:lnTo>
                      <a:lnTo>
                        <a:pt x="180" y="52"/>
                      </a:lnTo>
                      <a:lnTo>
                        <a:pt x="176" y="52"/>
                      </a:lnTo>
                      <a:lnTo>
                        <a:pt x="176" y="56"/>
                      </a:lnTo>
                      <a:lnTo>
                        <a:pt x="176" y="60"/>
                      </a:lnTo>
                      <a:lnTo>
                        <a:pt x="176" y="64"/>
                      </a:lnTo>
                      <a:lnTo>
                        <a:pt x="176" y="68"/>
                      </a:lnTo>
                      <a:lnTo>
                        <a:pt x="176" y="72"/>
                      </a:lnTo>
                      <a:lnTo>
                        <a:pt x="172" y="72"/>
                      </a:lnTo>
                      <a:lnTo>
                        <a:pt x="172" y="76"/>
                      </a:lnTo>
                      <a:lnTo>
                        <a:pt x="168" y="76"/>
                      </a:lnTo>
                      <a:lnTo>
                        <a:pt x="168" y="72"/>
                      </a:lnTo>
                      <a:lnTo>
                        <a:pt x="168" y="76"/>
                      </a:lnTo>
                      <a:lnTo>
                        <a:pt x="164" y="76"/>
                      </a:lnTo>
                      <a:lnTo>
                        <a:pt x="168" y="76"/>
                      </a:lnTo>
                      <a:lnTo>
                        <a:pt x="164" y="78"/>
                      </a:lnTo>
                      <a:lnTo>
                        <a:pt x="164" y="82"/>
                      </a:lnTo>
                      <a:lnTo>
                        <a:pt x="160" y="82"/>
                      </a:lnTo>
                      <a:lnTo>
                        <a:pt x="160" y="86"/>
                      </a:lnTo>
                      <a:lnTo>
                        <a:pt x="158" y="86"/>
                      </a:lnTo>
                      <a:lnTo>
                        <a:pt x="160" y="86"/>
                      </a:lnTo>
                      <a:lnTo>
                        <a:pt x="158" y="90"/>
                      </a:lnTo>
                      <a:lnTo>
                        <a:pt x="154" y="90"/>
                      </a:lnTo>
                      <a:lnTo>
                        <a:pt x="154" y="94"/>
                      </a:lnTo>
                      <a:lnTo>
                        <a:pt x="154" y="98"/>
                      </a:lnTo>
                      <a:lnTo>
                        <a:pt x="154" y="102"/>
                      </a:lnTo>
                      <a:lnTo>
                        <a:pt x="158" y="102"/>
                      </a:lnTo>
                      <a:lnTo>
                        <a:pt x="158" y="98"/>
                      </a:lnTo>
                      <a:lnTo>
                        <a:pt x="158" y="94"/>
                      </a:lnTo>
                      <a:lnTo>
                        <a:pt x="160" y="94"/>
                      </a:lnTo>
                      <a:lnTo>
                        <a:pt x="164" y="94"/>
                      </a:lnTo>
                      <a:lnTo>
                        <a:pt x="164" y="98"/>
                      </a:lnTo>
                      <a:lnTo>
                        <a:pt x="164" y="102"/>
                      </a:lnTo>
                      <a:lnTo>
                        <a:pt x="168" y="106"/>
                      </a:lnTo>
                      <a:lnTo>
                        <a:pt x="164" y="106"/>
                      </a:lnTo>
                      <a:lnTo>
                        <a:pt x="164" y="108"/>
                      </a:lnTo>
                      <a:lnTo>
                        <a:pt x="164" y="112"/>
                      </a:lnTo>
                      <a:lnTo>
                        <a:pt x="168" y="112"/>
                      </a:lnTo>
                      <a:lnTo>
                        <a:pt x="168" y="116"/>
                      </a:lnTo>
                      <a:lnTo>
                        <a:pt x="168" y="120"/>
                      </a:lnTo>
                      <a:lnTo>
                        <a:pt x="164" y="120"/>
                      </a:lnTo>
                      <a:lnTo>
                        <a:pt x="160" y="120"/>
                      </a:lnTo>
                      <a:lnTo>
                        <a:pt x="160" y="124"/>
                      </a:lnTo>
                      <a:lnTo>
                        <a:pt x="164" y="128"/>
                      </a:lnTo>
                      <a:lnTo>
                        <a:pt x="168" y="128"/>
                      </a:lnTo>
                      <a:lnTo>
                        <a:pt x="164" y="132"/>
                      </a:lnTo>
                      <a:lnTo>
                        <a:pt x="164" y="134"/>
                      </a:lnTo>
                      <a:lnTo>
                        <a:pt x="164" y="138"/>
                      </a:lnTo>
                      <a:lnTo>
                        <a:pt x="168" y="138"/>
                      </a:lnTo>
                      <a:lnTo>
                        <a:pt x="172" y="142"/>
                      </a:lnTo>
                      <a:lnTo>
                        <a:pt x="176" y="142"/>
                      </a:lnTo>
                      <a:lnTo>
                        <a:pt x="176" y="138"/>
                      </a:lnTo>
                      <a:lnTo>
                        <a:pt x="176" y="142"/>
                      </a:lnTo>
                      <a:lnTo>
                        <a:pt x="176" y="146"/>
                      </a:lnTo>
                      <a:lnTo>
                        <a:pt x="172" y="146"/>
                      </a:lnTo>
                      <a:lnTo>
                        <a:pt x="176" y="146"/>
                      </a:lnTo>
                      <a:lnTo>
                        <a:pt x="176" y="150"/>
                      </a:lnTo>
                      <a:lnTo>
                        <a:pt x="172" y="150"/>
                      </a:lnTo>
                      <a:lnTo>
                        <a:pt x="168" y="150"/>
                      </a:lnTo>
                      <a:lnTo>
                        <a:pt x="168" y="154"/>
                      </a:lnTo>
                      <a:lnTo>
                        <a:pt x="164" y="154"/>
                      </a:lnTo>
                      <a:lnTo>
                        <a:pt x="160" y="158"/>
                      </a:lnTo>
                      <a:lnTo>
                        <a:pt x="160" y="162"/>
                      </a:lnTo>
                      <a:lnTo>
                        <a:pt x="158" y="162"/>
                      </a:lnTo>
                      <a:lnTo>
                        <a:pt x="154" y="162"/>
                      </a:lnTo>
                      <a:lnTo>
                        <a:pt x="150" y="162"/>
                      </a:lnTo>
                      <a:lnTo>
                        <a:pt x="146" y="162"/>
                      </a:lnTo>
                      <a:lnTo>
                        <a:pt x="142" y="162"/>
                      </a:lnTo>
                      <a:lnTo>
                        <a:pt x="142" y="158"/>
                      </a:lnTo>
                      <a:lnTo>
                        <a:pt x="138" y="158"/>
                      </a:lnTo>
                      <a:lnTo>
                        <a:pt x="142" y="158"/>
                      </a:lnTo>
                      <a:lnTo>
                        <a:pt x="142" y="154"/>
                      </a:lnTo>
                      <a:lnTo>
                        <a:pt x="138" y="154"/>
                      </a:lnTo>
                      <a:lnTo>
                        <a:pt x="136" y="158"/>
                      </a:lnTo>
                      <a:lnTo>
                        <a:pt x="136" y="154"/>
                      </a:lnTo>
                      <a:lnTo>
                        <a:pt x="136" y="158"/>
                      </a:lnTo>
                      <a:lnTo>
                        <a:pt x="132" y="158"/>
                      </a:lnTo>
                      <a:lnTo>
                        <a:pt x="132" y="154"/>
                      </a:lnTo>
                      <a:lnTo>
                        <a:pt x="128" y="154"/>
                      </a:lnTo>
                      <a:lnTo>
                        <a:pt x="124" y="154"/>
                      </a:lnTo>
                      <a:lnTo>
                        <a:pt x="120" y="158"/>
                      </a:lnTo>
                      <a:lnTo>
                        <a:pt x="116" y="158"/>
                      </a:lnTo>
                      <a:lnTo>
                        <a:pt x="114" y="162"/>
                      </a:lnTo>
                      <a:lnTo>
                        <a:pt x="114" y="164"/>
                      </a:lnTo>
                      <a:lnTo>
                        <a:pt x="110" y="164"/>
                      </a:lnTo>
                      <a:lnTo>
                        <a:pt x="110" y="168"/>
                      </a:lnTo>
                      <a:lnTo>
                        <a:pt x="114" y="168"/>
                      </a:lnTo>
                      <a:lnTo>
                        <a:pt x="114" y="172"/>
                      </a:lnTo>
                      <a:lnTo>
                        <a:pt x="114" y="176"/>
                      </a:lnTo>
                      <a:lnTo>
                        <a:pt x="110" y="172"/>
                      </a:lnTo>
                      <a:lnTo>
                        <a:pt x="106" y="176"/>
                      </a:lnTo>
                      <a:lnTo>
                        <a:pt x="102" y="176"/>
                      </a:lnTo>
                      <a:lnTo>
                        <a:pt x="98" y="176"/>
                      </a:lnTo>
                      <a:lnTo>
                        <a:pt x="94" y="176"/>
                      </a:lnTo>
                      <a:lnTo>
                        <a:pt x="94" y="172"/>
                      </a:lnTo>
                      <a:lnTo>
                        <a:pt x="94" y="172"/>
                      </a:lnTo>
                      <a:lnTo>
                        <a:pt x="94" y="172"/>
                      </a:lnTo>
                      <a:close/>
                      <a:moveTo>
                        <a:pt x="50" y="108"/>
                      </a:moveTo>
                      <a:lnTo>
                        <a:pt x="50" y="106"/>
                      </a:lnTo>
                      <a:lnTo>
                        <a:pt x="50" y="102"/>
                      </a:lnTo>
                      <a:lnTo>
                        <a:pt x="50" y="106"/>
                      </a:lnTo>
                      <a:lnTo>
                        <a:pt x="54" y="106"/>
                      </a:lnTo>
                      <a:lnTo>
                        <a:pt x="54" y="108"/>
                      </a:lnTo>
                      <a:lnTo>
                        <a:pt x="50" y="108"/>
                      </a:lnTo>
                      <a:lnTo>
                        <a:pt x="50" y="108"/>
                      </a:lnTo>
                      <a:lnTo>
                        <a:pt x="50" y="108"/>
                      </a:lnTo>
                      <a:close/>
                      <a:moveTo>
                        <a:pt x="22" y="78"/>
                      </a:moveTo>
                      <a:lnTo>
                        <a:pt x="22" y="76"/>
                      </a:lnTo>
                      <a:lnTo>
                        <a:pt x="22" y="78"/>
                      </a:lnTo>
                      <a:lnTo>
                        <a:pt x="22" y="78"/>
                      </a:lnTo>
                      <a:lnTo>
                        <a:pt x="22" y="78"/>
                      </a:lnTo>
                      <a:close/>
                      <a:moveTo>
                        <a:pt x="50" y="102"/>
                      </a:moveTo>
                      <a:lnTo>
                        <a:pt x="46" y="102"/>
                      </a:lnTo>
                      <a:lnTo>
                        <a:pt x="46" y="98"/>
                      </a:lnTo>
                      <a:lnTo>
                        <a:pt x="50" y="102"/>
                      </a:lnTo>
                      <a:lnTo>
                        <a:pt x="50" y="102"/>
                      </a:lnTo>
                      <a:lnTo>
                        <a:pt x="50" y="102"/>
                      </a:lnTo>
                      <a:close/>
                      <a:moveTo>
                        <a:pt x="190" y="182"/>
                      </a:moveTo>
                      <a:lnTo>
                        <a:pt x="190" y="180"/>
                      </a:lnTo>
                      <a:lnTo>
                        <a:pt x="190" y="176"/>
                      </a:lnTo>
                      <a:lnTo>
                        <a:pt x="190" y="172"/>
                      </a:lnTo>
                      <a:lnTo>
                        <a:pt x="194" y="172"/>
                      </a:lnTo>
                      <a:lnTo>
                        <a:pt x="194" y="168"/>
                      </a:lnTo>
                      <a:lnTo>
                        <a:pt x="198" y="168"/>
                      </a:lnTo>
                      <a:lnTo>
                        <a:pt x="198" y="164"/>
                      </a:lnTo>
                      <a:lnTo>
                        <a:pt x="202" y="164"/>
                      </a:lnTo>
                      <a:lnTo>
                        <a:pt x="202" y="168"/>
                      </a:lnTo>
                      <a:lnTo>
                        <a:pt x="202" y="172"/>
                      </a:lnTo>
                      <a:lnTo>
                        <a:pt x="202" y="180"/>
                      </a:lnTo>
                      <a:lnTo>
                        <a:pt x="202" y="182"/>
                      </a:lnTo>
                      <a:lnTo>
                        <a:pt x="202" y="186"/>
                      </a:lnTo>
                      <a:lnTo>
                        <a:pt x="202" y="190"/>
                      </a:lnTo>
                      <a:lnTo>
                        <a:pt x="198" y="190"/>
                      </a:lnTo>
                      <a:lnTo>
                        <a:pt x="198" y="194"/>
                      </a:lnTo>
                      <a:lnTo>
                        <a:pt x="194" y="194"/>
                      </a:lnTo>
                      <a:lnTo>
                        <a:pt x="190" y="190"/>
                      </a:lnTo>
                      <a:lnTo>
                        <a:pt x="194" y="190"/>
                      </a:lnTo>
                      <a:lnTo>
                        <a:pt x="190" y="190"/>
                      </a:lnTo>
                      <a:lnTo>
                        <a:pt x="190" y="186"/>
                      </a:lnTo>
                      <a:lnTo>
                        <a:pt x="190" y="182"/>
                      </a:lnTo>
                      <a:lnTo>
                        <a:pt x="190" y="182"/>
                      </a:lnTo>
                      <a:lnTo>
                        <a:pt x="190" y="182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59" name="Freeform 102"/>
                <p:cNvSpPr>
                  <a:spLocks noEditPoints="1"/>
                </p:cNvSpPr>
                <p:nvPr/>
              </p:nvSpPr>
              <p:spPr bwMode="auto">
                <a:xfrm>
                  <a:off x="4838700" y="3371918"/>
                  <a:ext cx="187325" cy="206375"/>
                </a:xfrm>
                <a:custGeom>
                  <a:avLst/>
                  <a:gdLst>
                    <a:gd name="T0" fmla="*/ 6 w 118"/>
                    <a:gd name="T1" fmla="*/ 48 h 130"/>
                    <a:gd name="T2" fmla="*/ 6 w 118"/>
                    <a:gd name="T3" fmla="*/ 34 h 130"/>
                    <a:gd name="T4" fmla="*/ 26 w 118"/>
                    <a:gd name="T5" fmla="*/ 18 h 130"/>
                    <a:gd name="T6" fmla="*/ 44 w 118"/>
                    <a:gd name="T7" fmla="*/ 8 h 130"/>
                    <a:gd name="T8" fmla="*/ 66 w 118"/>
                    <a:gd name="T9" fmla="*/ 4 h 130"/>
                    <a:gd name="T10" fmla="*/ 86 w 118"/>
                    <a:gd name="T11" fmla="*/ 12 h 130"/>
                    <a:gd name="T12" fmla="*/ 96 w 118"/>
                    <a:gd name="T13" fmla="*/ 8 h 130"/>
                    <a:gd name="T14" fmla="*/ 86 w 118"/>
                    <a:gd name="T15" fmla="*/ 18 h 130"/>
                    <a:gd name="T16" fmla="*/ 62 w 118"/>
                    <a:gd name="T17" fmla="*/ 18 h 130"/>
                    <a:gd name="T18" fmla="*/ 62 w 118"/>
                    <a:gd name="T19" fmla="*/ 30 h 130"/>
                    <a:gd name="T20" fmla="*/ 60 w 118"/>
                    <a:gd name="T21" fmla="*/ 38 h 130"/>
                    <a:gd name="T22" fmla="*/ 52 w 118"/>
                    <a:gd name="T23" fmla="*/ 34 h 130"/>
                    <a:gd name="T24" fmla="*/ 40 w 118"/>
                    <a:gd name="T25" fmla="*/ 38 h 130"/>
                    <a:gd name="T26" fmla="*/ 44 w 118"/>
                    <a:gd name="T27" fmla="*/ 52 h 130"/>
                    <a:gd name="T28" fmla="*/ 36 w 118"/>
                    <a:gd name="T29" fmla="*/ 56 h 130"/>
                    <a:gd name="T30" fmla="*/ 48 w 118"/>
                    <a:gd name="T31" fmla="*/ 60 h 130"/>
                    <a:gd name="T32" fmla="*/ 60 w 118"/>
                    <a:gd name="T33" fmla="*/ 74 h 130"/>
                    <a:gd name="T34" fmla="*/ 48 w 118"/>
                    <a:gd name="T35" fmla="*/ 74 h 130"/>
                    <a:gd name="T36" fmla="*/ 44 w 118"/>
                    <a:gd name="T37" fmla="*/ 82 h 130"/>
                    <a:gd name="T38" fmla="*/ 44 w 118"/>
                    <a:gd name="T39" fmla="*/ 98 h 130"/>
                    <a:gd name="T40" fmla="*/ 36 w 118"/>
                    <a:gd name="T41" fmla="*/ 102 h 130"/>
                    <a:gd name="T42" fmla="*/ 26 w 118"/>
                    <a:gd name="T43" fmla="*/ 90 h 130"/>
                    <a:gd name="T44" fmla="*/ 22 w 118"/>
                    <a:gd name="T45" fmla="*/ 72 h 130"/>
                    <a:gd name="T46" fmla="*/ 40 w 118"/>
                    <a:gd name="T47" fmla="*/ 74 h 130"/>
                    <a:gd name="T48" fmla="*/ 36 w 118"/>
                    <a:gd name="T49" fmla="*/ 64 h 130"/>
                    <a:gd name="T50" fmla="*/ 18 w 118"/>
                    <a:gd name="T51" fmla="*/ 60 h 130"/>
                    <a:gd name="T52" fmla="*/ 66 w 118"/>
                    <a:gd name="T53" fmla="*/ 22 h 130"/>
                    <a:gd name="T54" fmla="*/ 82 w 118"/>
                    <a:gd name="T55" fmla="*/ 26 h 130"/>
                    <a:gd name="T56" fmla="*/ 74 w 118"/>
                    <a:gd name="T57" fmla="*/ 34 h 130"/>
                    <a:gd name="T58" fmla="*/ 2 w 118"/>
                    <a:gd name="T59" fmla="*/ 42 h 130"/>
                    <a:gd name="T60" fmla="*/ 0 w 118"/>
                    <a:gd name="T61" fmla="*/ 38 h 130"/>
                    <a:gd name="T62" fmla="*/ 92 w 118"/>
                    <a:gd name="T63" fmla="*/ 52 h 130"/>
                    <a:gd name="T64" fmla="*/ 60 w 118"/>
                    <a:gd name="T65" fmla="*/ 68 h 130"/>
                    <a:gd name="T66" fmla="*/ 48 w 118"/>
                    <a:gd name="T67" fmla="*/ 52 h 130"/>
                    <a:gd name="T68" fmla="*/ 62 w 118"/>
                    <a:gd name="T69" fmla="*/ 72 h 130"/>
                    <a:gd name="T70" fmla="*/ 60 w 118"/>
                    <a:gd name="T71" fmla="*/ 68 h 130"/>
                    <a:gd name="T72" fmla="*/ 14 w 118"/>
                    <a:gd name="T73" fmla="*/ 60 h 130"/>
                    <a:gd name="T74" fmla="*/ 90 w 118"/>
                    <a:gd name="T75" fmla="*/ 72 h 130"/>
                    <a:gd name="T76" fmla="*/ 90 w 118"/>
                    <a:gd name="T77" fmla="*/ 72 h 130"/>
                    <a:gd name="T78" fmla="*/ 14 w 118"/>
                    <a:gd name="T79" fmla="*/ 68 h 130"/>
                    <a:gd name="T80" fmla="*/ 10 w 118"/>
                    <a:gd name="T81" fmla="*/ 64 h 130"/>
                    <a:gd name="T82" fmla="*/ 74 w 118"/>
                    <a:gd name="T83" fmla="*/ 78 h 130"/>
                    <a:gd name="T84" fmla="*/ 18 w 118"/>
                    <a:gd name="T85" fmla="*/ 78 h 130"/>
                    <a:gd name="T86" fmla="*/ 100 w 118"/>
                    <a:gd name="T87" fmla="*/ 78 h 130"/>
                    <a:gd name="T88" fmla="*/ 92 w 118"/>
                    <a:gd name="T89" fmla="*/ 82 h 130"/>
                    <a:gd name="T90" fmla="*/ 62 w 118"/>
                    <a:gd name="T91" fmla="*/ 82 h 130"/>
                    <a:gd name="T92" fmla="*/ 74 w 118"/>
                    <a:gd name="T93" fmla="*/ 78 h 130"/>
                    <a:gd name="T94" fmla="*/ 66 w 118"/>
                    <a:gd name="T95" fmla="*/ 82 h 130"/>
                    <a:gd name="T96" fmla="*/ 74 w 118"/>
                    <a:gd name="T97" fmla="*/ 94 h 130"/>
                    <a:gd name="T98" fmla="*/ 100 w 118"/>
                    <a:gd name="T99" fmla="*/ 94 h 130"/>
                    <a:gd name="T100" fmla="*/ 104 w 118"/>
                    <a:gd name="T101" fmla="*/ 94 h 130"/>
                    <a:gd name="T102" fmla="*/ 78 w 118"/>
                    <a:gd name="T103" fmla="*/ 102 h 130"/>
                    <a:gd name="T104" fmla="*/ 66 w 118"/>
                    <a:gd name="T105" fmla="*/ 102 h 130"/>
                    <a:gd name="T106" fmla="*/ 112 w 118"/>
                    <a:gd name="T107" fmla="*/ 108 h 130"/>
                    <a:gd name="T108" fmla="*/ 44 w 118"/>
                    <a:gd name="T109" fmla="*/ 108 h 130"/>
                    <a:gd name="T110" fmla="*/ 104 w 118"/>
                    <a:gd name="T111" fmla="*/ 124 h 130"/>
                    <a:gd name="T112" fmla="*/ 62 w 118"/>
                    <a:gd name="T113" fmla="*/ 120 h 130"/>
                    <a:gd name="T114" fmla="*/ 82 w 118"/>
                    <a:gd name="T115" fmla="*/ 124 h 130"/>
                    <a:gd name="T116" fmla="*/ 78 w 118"/>
                    <a:gd name="T117" fmla="*/ 130 h 130"/>
                    <a:gd name="T118" fmla="*/ 56 w 118"/>
                    <a:gd name="T119" fmla="*/ 128 h 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18" h="130">
                      <a:moveTo>
                        <a:pt x="18" y="52"/>
                      </a:moveTo>
                      <a:lnTo>
                        <a:pt x="18" y="56"/>
                      </a:lnTo>
                      <a:lnTo>
                        <a:pt x="14" y="52"/>
                      </a:lnTo>
                      <a:lnTo>
                        <a:pt x="14" y="56"/>
                      </a:lnTo>
                      <a:lnTo>
                        <a:pt x="14" y="52"/>
                      </a:lnTo>
                      <a:lnTo>
                        <a:pt x="10" y="52"/>
                      </a:lnTo>
                      <a:lnTo>
                        <a:pt x="10" y="48"/>
                      </a:lnTo>
                      <a:lnTo>
                        <a:pt x="6" y="48"/>
                      </a:lnTo>
                      <a:lnTo>
                        <a:pt x="6" y="46"/>
                      </a:lnTo>
                      <a:lnTo>
                        <a:pt x="6" y="42"/>
                      </a:lnTo>
                      <a:lnTo>
                        <a:pt x="2" y="42"/>
                      </a:lnTo>
                      <a:lnTo>
                        <a:pt x="6" y="42"/>
                      </a:lnTo>
                      <a:lnTo>
                        <a:pt x="6" y="38"/>
                      </a:lnTo>
                      <a:lnTo>
                        <a:pt x="6" y="42"/>
                      </a:lnTo>
                      <a:lnTo>
                        <a:pt x="6" y="38"/>
                      </a:lnTo>
                      <a:lnTo>
                        <a:pt x="6" y="34"/>
                      </a:lnTo>
                      <a:lnTo>
                        <a:pt x="10" y="34"/>
                      </a:lnTo>
                      <a:lnTo>
                        <a:pt x="14" y="30"/>
                      </a:lnTo>
                      <a:lnTo>
                        <a:pt x="14" y="26"/>
                      </a:lnTo>
                      <a:lnTo>
                        <a:pt x="18" y="26"/>
                      </a:lnTo>
                      <a:lnTo>
                        <a:pt x="18" y="22"/>
                      </a:lnTo>
                      <a:lnTo>
                        <a:pt x="18" y="18"/>
                      </a:lnTo>
                      <a:lnTo>
                        <a:pt x="22" y="18"/>
                      </a:lnTo>
                      <a:lnTo>
                        <a:pt x="26" y="18"/>
                      </a:lnTo>
                      <a:lnTo>
                        <a:pt x="30" y="18"/>
                      </a:lnTo>
                      <a:lnTo>
                        <a:pt x="30" y="16"/>
                      </a:lnTo>
                      <a:lnTo>
                        <a:pt x="32" y="12"/>
                      </a:lnTo>
                      <a:lnTo>
                        <a:pt x="36" y="12"/>
                      </a:lnTo>
                      <a:lnTo>
                        <a:pt x="36" y="16"/>
                      </a:lnTo>
                      <a:lnTo>
                        <a:pt x="40" y="16"/>
                      </a:lnTo>
                      <a:lnTo>
                        <a:pt x="40" y="12"/>
                      </a:lnTo>
                      <a:lnTo>
                        <a:pt x="44" y="8"/>
                      </a:lnTo>
                      <a:lnTo>
                        <a:pt x="48" y="12"/>
                      </a:lnTo>
                      <a:lnTo>
                        <a:pt x="48" y="8"/>
                      </a:lnTo>
                      <a:lnTo>
                        <a:pt x="52" y="8"/>
                      </a:lnTo>
                      <a:lnTo>
                        <a:pt x="56" y="8"/>
                      </a:lnTo>
                      <a:lnTo>
                        <a:pt x="60" y="8"/>
                      </a:lnTo>
                      <a:lnTo>
                        <a:pt x="60" y="4"/>
                      </a:lnTo>
                      <a:lnTo>
                        <a:pt x="62" y="4"/>
                      </a:lnTo>
                      <a:lnTo>
                        <a:pt x="66" y="4"/>
                      </a:lnTo>
                      <a:lnTo>
                        <a:pt x="66" y="8"/>
                      </a:lnTo>
                      <a:lnTo>
                        <a:pt x="70" y="8"/>
                      </a:lnTo>
                      <a:lnTo>
                        <a:pt x="74" y="8"/>
                      </a:lnTo>
                      <a:lnTo>
                        <a:pt x="74" y="12"/>
                      </a:lnTo>
                      <a:lnTo>
                        <a:pt x="78" y="12"/>
                      </a:lnTo>
                      <a:lnTo>
                        <a:pt x="82" y="12"/>
                      </a:lnTo>
                      <a:lnTo>
                        <a:pt x="86" y="8"/>
                      </a:lnTo>
                      <a:lnTo>
                        <a:pt x="86" y="12"/>
                      </a:lnTo>
                      <a:lnTo>
                        <a:pt x="90" y="12"/>
                      </a:lnTo>
                      <a:lnTo>
                        <a:pt x="90" y="8"/>
                      </a:lnTo>
                      <a:lnTo>
                        <a:pt x="90" y="4"/>
                      </a:lnTo>
                      <a:lnTo>
                        <a:pt x="90" y="0"/>
                      </a:lnTo>
                      <a:lnTo>
                        <a:pt x="92" y="0"/>
                      </a:lnTo>
                      <a:lnTo>
                        <a:pt x="92" y="4"/>
                      </a:lnTo>
                      <a:lnTo>
                        <a:pt x="96" y="4"/>
                      </a:lnTo>
                      <a:lnTo>
                        <a:pt x="96" y="8"/>
                      </a:lnTo>
                      <a:lnTo>
                        <a:pt x="96" y="12"/>
                      </a:lnTo>
                      <a:lnTo>
                        <a:pt x="92" y="12"/>
                      </a:lnTo>
                      <a:lnTo>
                        <a:pt x="92" y="16"/>
                      </a:lnTo>
                      <a:lnTo>
                        <a:pt x="92" y="18"/>
                      </a:lnTo>
                      <a:lnTo>
                        <a:pt x="90" y="18"/>
                      </a:lnTo>
                      <a:lnTo>
                        <a:pt x="90" y="22"/>
                      </a:lnTo>
                      <a:lnTo>
                        <a:pt x="90" y="18"/>
                      </a:lnTo>
                      <a:lnTo>
                        <a:pt x="86" y="18"/>
                      </a:lnTo>
                      <a:lnTo>
                        <a:pt x="82" y="18"/>
                      </a:lnTo>
                      <a:lnTo>
                        <a:pt x="78" y="18"/>
                      </a:lnTo>
                      <a:lnTo>
                        <a:pt x="74" y="16"/>
                      </a:lnTo>
                      <a:lnTo>
                        <a:pt x="70" y="18"/>
                      </a:lnTo>
                      <a:lnTo>
                        <a:pt x="66" y="18"/>
                      </a:lnTo>
                      <a:lnTo>
                        <a:pt x="66" y="16"/>
                      </a:lnTo>
                      <a:lnTo>
                        <a:pt x="66" y="18"/>
                      </a:lnTo>
                      <a:lnTo>
                        <a:pt x="62" y="18"/>
                      </a:lnTo>
                      <a:lnTo>
                        <a:pt x="62" y="22"/>
                      </a:lnTo>
                      <a:lnTo>
                        <a:pt x="60" y="22"/>
                      </a:lnTo>
                      <a:lnTo>
                        <a:pt x="60" y="18"/>
                      </a:lnTo>
                      <a:lnTo>
                        <a:pt x="56" y="18"/>
                      </a:lnTo>
                      <a:lnTo>
                        <a:pt x="56" y="22"/>
                      </a:lnTo>
                      <a:lnTo>
                        <a:pt x="56" y="26"/>
                      </a:lnTo>
                      <a:lnTo>
                        <a:pt x="60" y="26"/>
                      </a:lnTo>
                      <a:lnTo>
                        <a:pt x="62" y="30"/>
                      </a:lnTo>
                      <a:lnTo>
                        <a:pt x="66" y="30"/>
                      </a:lnTo>
                      <a:lnTo>
                        <a:pt x="66" y="34"/>
                      </a:lnTo>
                      <a:lnTo>
                        <a:pt x="62" y="34"/>
                      </a:lnTo>
                      <a:lnTo>
                        <a:pt x="62" y="30"/>
                      </a:lnTo>
                      <a:lnTo>
                        <a:pt x="60" y="30"/>
                      </a:lnTo>
                      <a:lnTo>
                        <a:pt x="56" y="30"/>
                      </a:lnTo>
                      <a:lnTo>
                        <a:pt x="60" y="34"/>
                      </a:lnTo>
                      <a:lnTo>
                        <a:pt x="60" y="38"/>
                      </a:lnTo>
                      <a:lnTo>
                        <a:pt x="56" y="34"/>
                      </a:lnTo>
                      <a:lnTo>
                        <a:pt x="56" y="30"/>
                      </a:lnTo>
                      <a:lnTo>
                        <a:pt x="52" y="30"/>
                      </a:lnTo>
                      <a:lnTo>
                        <a:pt x="52" y="34"/>
                      </a:lnTo>
                      <a:lnTo>
                        <a:pt x="56" y="34"/>
                      </a:lnTo>
                      <a:lnTo>
                        <a:pt x="56" y="38"/>
                      </a:lnTo>
                      <a:lnTo>
                        <a:pt x="52" y="38"/>
                      </a:lnTo>
                      <a:lnTo>
                        <a:pt x="52" y="34"/>
                      </a:lnTo>
                      <a:lnTo>
                        <a:pt x="52" y="30"/>
                      </a:lnTo>
                      <a:lnTo>
                        <a:pt x="48" y="30"/>
                      </a:lnTo>
                      <a:lnTo>
                        <a:pt x="44" y="26"/>
                      </a:lnTo>
                      <a:lnTo>
                        <a:pt x="44" y="22"/>
                      </a:lnTo>
                      <a:lnTo>
                        <a:pt x="40" y="26"/>
                      </a:lnTo>
                      <a:lnTo>
                        <a:pt x="40" y="30"/>
                      </a:lnTo>
                      <a:lnTo>
                        <a:pt x="40" y="34"/>
                      </a:lnTo>
                      <a:lnTo>
                        <a:pt x="40" y="38"/>
                      </a:lnTo>
                      <a:lnTo>
                        <a:pt x="44" y="42"/>
                      </a:lnTo>
                      <a:lnTo>
                        <a:pt x="44" y="46"/>
                      </a:lnTo>
                      <a:lnTo>
                        <a:pt x="48" y="46"/>
                      </a:lnTo>
                      <a:lnTo>
                        <a:pt x="48" y="48"/>
                      </a:lnTo>
                      <a:lnTo>
                        <a:pt x="52" y="48"/>
                      </a:lnTo>
                      <a:lnTo>
                        <a:pt x="52" y="52"/>
                      </a:lnTo>
                      <a:lnTo>
                        <a:pt x="48" y="52"/>
                      </a:lnTo>
                      <a:lnTo>
                        <a:pt x="44" y="52"/>
                      </a:lnTo>
                      <a:lnTo>
                        <a:pt x="48" y="52"/>
                      </a:lnTo>
                      <a:lnTo>
                        <a:pt x="48" y="48"/>
                      </a:lnTo>
                      <a:lnTo>
                        <a:pt x="44" y="48"/>
                      </a:lnTo>
                      <a:lnTo>
                        <a:pt x="44" y="52"/>
                      </a:lnTo>
                      <a:lnTo>
                        <a:pt x="48" y="52"/>
                      </a:lnTo>
                      <a:lnTo>
                        <a:pt x="44" y="56"/>
                      </a:lnTo>
                      <a:lnTo>
                        <a:pt x="40" y="56"/>
                      </a:lnTo>
                      <a:lnTo>
                        <a:pt x="36" y="56"/>
                      </a:lnTo>
                      <a:lnTo>
                        <a:pt x="40" y="56"/>
                      </a:lnTo>
                      <a:lnTo>
                        <a:pt x="40" y="60"/>
                      </a:lnTo>
                      <a:lnTo>
                        <a:pt x="40" y="56"/>
                      </a:lnTo>
                      <a:lnTo>
                        <a:pt x="40" y="60"/>
                      </a:lnTo>
                      <a:lnTo>
                        <a:pt x="44" y="60"/>
                      </a:lnTo>
                      <a:lnTo>
                        <a:pt x="48" y="60"/>
                      </a:lnTo>
                      <a:lnTo>
                        <a:pt x="48" y="64"/>
                      </a:lnTo>
                      <a:lnTo>
                        <a:pt x="48" y="60"/>
                      </a:lnTo>
                      <a:lnTo>
                        <a:pt x="52" y="64"/>
                      </a:lnTo>
                      <a:lnTo>
                        <a:pt x="48" y="64"/>
                      </a:lnTo>
                      <a:lnTo>
                        <a:pt x="52" y="64"/>
                      </a:lnTo>
                      <a:lnTo>
                        <a:pt x="56" y="64"/>
                      </a:lnTo>
                      <a:lnTo>
                        <a:pt x="56" y="68"/>
                      </a:lnTo>
                      <a:lnTo>
                        <a:pt x="60" y="68"/>
                      </a:lnTo>
                      <a:lnTo>
                        <a:pt x="60" y="72"/>
                      </a:lnTo>
                      <a:lnTo>
                        <a:pt x="60" y="74"/>
                      </a:lnTo>
                      <a:lnTo>
                        <a:pt x="60" y="78"/>
                      </a:lnTo>
                      <a:lnTo>
                        <a:pt x="60" y="82"/>
                      </a:lnTo>
                      <a:lnTo>
                        <a:pt x="60" y="78"/>
                      </a:lnTo>
                      <a:lnTo>
                        <a:pt x="56" y="78"/>
                      </a:lnTo>
                      <a:lnTo>
                        <a:pt x="52" y="74"/>
                      </a:lnTo>
                      <a:lnTo>
                        <a:pt x="56" y="74"/>
                      </a:lnTo>
                      <a:lnTo>
                        <a:pt x="52" y="74"/>
                      </a:lnTo>
                      <a:lnTo>
                        <a:pt x="48" y="74"/>
                      </a:lnTo>
                      <a:lnTo>
                        <a:pt x="44" y="74"/>
                      </a:lnTo>
                      <a:lnTo>
                        <a:pt x="44" y="78"/>
                      </a:lnTo>
                      <a:lnTo>
                        <a:pt x="48" y="78"/>
                      </a:lnTo>
                      <a:lnTo>
                        <a:pt x="48" y="82"/>
                      </a:lnTo>
                      <a:lnTo>
                        <a:pt x="52" y="82"/>
                      </a:lnTo>
                      <a:lnTo>
                        <a:pt x="52" y="86"/>
                      </a:lnTo>
                      <a:lnTo>
                        <a:pt x="48" y="86"/>
                      </a:lnTo>
                      <a:lnTo>
                        <a:pt x="44" y="82"/>
                      </a:lnTo>
                      <a:lnTo>
                        <a:pt x="40" y="82"/>
                      </a:lnTo>
                      <a:lnTo>
                        <a:pt x="40" y="86"/>
                      </a:lnTo>
                      <a:lnTo>
                        <a:pt x="44" y="86"/>
                      </a:lnTo>
                      <a:lnTo>
                        <a:pt x="44" y="90"/>
                      </a:lnTo>
                      <a:lnTo>
                        <a:pt x="44" y="94"/>
                      </a:lnTo>
                      <a:lnTo>
                        <a:pt x="44" y="98"/>
                      </a:lnTo>
                      <a:lnTo>
                        <a:pt x="48" y="98"/>
                      </a:lnTo>
                      <a:lnTo>
                        <a:pt x="44" y="98"/>
                      </a:lnTo>
                      <a:lnTo>
                        <a:pt x="44" y="102"/>
                      </a:lnTo>
                      <a:lnTo>
                        <a:pt x="48" y="102"/>
                      </a:lnTo>
                      <a:lnTo>
                        <a:pt x="48" y="104"/>
                      </a:lnTo>
                      <a:lnTo>
                        <a:pt x="44" y="102"/>
                      </a:lnTo>
                      <a:lnTo>
                        <a:pt x="40" y="98"/>
                      </a:lnTo>
                      <a:lnTo>
                        <a:pt x="36" y="102"/>
                      </a:lnTo>
                      <a:lnTo>
                        <a:pt x="36" y="104"/>
                      </a:lnTo>
                      <a:lnTo>
                        <a:pt x="36" y="102"/>
                      </a:lnTo>
                      <a:lnTo>
                        <a:pt x="36" y="98"/>
                      </a:lnTo>
                      <a:lnTo>
                        <a:pt x="32" y="98"/>
                      </a:lnTo>
                      <a:lnTo>
                        <a:pt x="32" y="94"/>
                      </a:lnTo>
                      <a:lnTo>
                        <a:pt x="30" y="94"/>
                      </a:lnTo>
                      <a:lnTo>
                        <a:pt x="30" y="98"/>
                      </a:lnTo>
                      <a:lnTo>
                        <a:pt x="26" y="98"/>
                      </a:lnTo>
                      <a:lnTo>
                        <a:pt x="26" y="94"/>
                      </a:lnTo>
                      <a:lnTo>
                        <a:pt x="26" y="90"/>
                      </a:lnTo>
                      <a:lnTo>
                        <a:pt x="26" y="86"/>
                      </a:lnTo>
                      <a:lnTo>
                        <a:pt x="26" y="82"/>
                      </a:lnTo>
                      <a:lnTo>
                        <a:pt x="22" y="82"/>
                      </a:lnTo>
                      <a:lnTo>
                        <a:pt x="22" y="78"/>
                      </a:lnTo>
                      <a:lnTo>
                        <a:pt x="18" y="78"/>
                      </a:lnTo>
                      <a:lnTo>
                        <a:pt x="18" y="74"/>
                      </a:lnTo>
                      <a:lnTo>
                        <a:pt x="22" y="74"/>
                      </a:lnTo>
                      <a:lnTo>
                        <a:pt x="22" y="72"/>
                      </a:lnTo>
                      <a:lnTo>
                        <a:pt x="26" y="72"/>
                      </a:lnTo>
                      <a:lnTo>
                        <a:pt x="26" y="68"/>
                      </a:lnTo>
                      <a:lnTo>
                        <a:pt x="30" y="68"/>
                      </a:lnTo>
                      <a:lnTo>
                        <a:pt x="32" y="68"/>
                      </a:lnTo>
                      <a:lnTo>
                        <a:pt x="32" y="72"/>
                      </a:lnTo>
                      <a:lnTo>
                        <a:pt x="36" y="72"/>
                      </a:lnTo>
                      <a:lnTo>
                        <a:pt x="40" y="72"/>
                      </a:lnTo>
                      <a:lnTo>
                        <a:pt x="40" y="74"/>
                      </a:lnTo>
                      <a:lnTo>
                        <a:pt x="44" y="74"/>
                      </a:lnTo>
                      <a:lnTo>
                        <a:pt x="44" y="72"/>
                      </a:lnTo>
                      <a:lnTo>
                        <a:pt x="48" y="72"/>
                      </a:lnTo>
                      <a:lnTo>
                        <a:pt x="44" y="72"/>
                      </a:lnTo>
                      <a:lnTo>
                        <a:pt x="40" y="72"/>
                      </a:lnTo>
                      <a:lnTo>
                        <a:pt x="40" y="68"/>
                      </a:lnTo>
                      <a:lnTo>
                        <a:pt x="36" y="68"/>
                      </a:lnTo>
                      <a:lnTo>
                        <a:pt x="36" y="64"/>
                      </a:lnTo>
                      <a:lnTo>
                        <a:pt x="36" y="68"/>
                      </a:lnTo>
                      <a:lnTo>
                        <a:pt x="32" y="68"/>
                      </a:lnTo>
                      <a:lnTo>
                        <a:pt x="30" y="68"/>
                      </a:lnTo>
                      <a:lnTo>
                        <a:pt x="26" y="68"/>
                      </a:lnTo>
                      <a:lnTo>
                        <a:pt x="22" y="68"/>
                      </a:lnTo>
                      <a:lnTo>
                        <a:pt x="18" y="68"/>
                      </a:lnTo>
                      <a:lnTo>
                        <a:pt x="18" y="64"/>
                      </a:lnTo>
                      <a:lnTo>
                        <a:pt x="18" y="60"/>
                      </a:lnTo>
                      <a:lnTo>
                        <a:pt x="14" y="60"/>
                      </a:lnTo>
                      <a:lnTo>
                        <a:pt x="14" y="56"/>
                      </a:lnTo>
                      <a:lnTo>
                        <a:pt x="18" y="56"/>
                      </a:lnTo>
                      <a:lnTo>
                        <a:pt x="18" y="52"/>
                      </a:lnTo>
                      <a:lnTo>
                        <a:pt x="18" y="52"/>
                      </a:lnTo>
                      <a:lnTo>
                        <a:pt x="18" y="52"/>
                      </a:lnTo>
                      <a:close/>
                      <a:moveTo>
                        <a:pt x="70" y="22"/>
                      </a:moveTo>
                      <a:lnTo>
                        <a:pt x="66" y="22"/>
                      </a:lnTo>
                      <a:lnTo>
                        <a:pt x="66" y="18"/>
                      </a:lnTo>
                      <a:lnTo>
                        <a:pt x="70" y="18"/>
                      </a:lnTo>
                      <a:lnTo>
                        <a:pt x="70" y="22"/>
                      </a:lnTo>
                      <a:lnTo>
                        <a:pt x="70" y="22"/>
                      </a:lnTo>
                      <a:lnTo>
                        <a:pt x="70" y="22"/>
                      </a:lnTo>
                      <a:close/>
                      <a:moveTo>
                        <a:pt x="82" y="26"/>
                      </a:moveTo>
                      <a:lnTo>
                        <a:pt x="86" y="26"/>
                      </a:lnTo>
                      <a:lnTo>
                        <a:pt x="82" y="26"/>
                      </a:lnTo>
                      <a:lnTo>
                        <a:pt x="82" y="26"/>
                      </a:lnTo>
                      <a:lnTo>
                        <a:pt x="82" y="26"/>
                      </a:lnTo>
                      <a:close/>
                      <a:moveTo>
                        <a:pt x="82" y="34"/>
                      </a:moveTo>
                      <a:lnTo>
                        <a:pt x="78" y="38"/>
                      </a:lnTo>
                      <a:lnTo>
                        <a:pt x="78" y="42"/>
                      </a:lnTo>
                      <a:lnTo>
                        <a:pt x="78" y="38"/>
                      </a:lnTo>
                      <a:lnTo>
                        <a:pt x="74" y="38"/>
                      </a:lnTo>
                      <a:lnTo>
                        <a:pt x="74" y="34"/>
                      </a:lnTo>
                      <a:lnTo>
                        <a:pt x="78" y="34"/>
                      </a:lnTo>
                      <a:lnTo>
                        <a:pt x="78" y="38"/>
                      </a:lnTo>
                      <a:lnTo>
                        <a:pt x="78" y="34"/>
                      </a:lnTo>
                      <a:lnTo>
                        <a:pt x="82" y="34"/>
                      </a:lnTo>
                      <a:lnTo>
                        <a:pt x="82" y="34"/>
                      </a:lnTo>
                      <a:lnTo>
                        <a:pt x="82" y="34"/>
                      </a:lnTo>
                      <a:close/>
                      <a:moveTo>
                        <a:pt x="0" y="38"/>
                      </a:moveTo>
                      <a:lnTo>
                        <a:pt x="2" y="42"/>
                      </a:lnTo>
                      <a:lnTo>
                        <a:pt x="0" y="42"/>
                      </a:lnTo>
                      <a:lnTo>
                        <a:pt x="2" y="42"/>
                      </a:lnTo>
                      <a:lnTo>
                        <a:pt x="2" y="46"/>
                      </a:lnTo>
                      <a:lnTo>
                        <a:pt x="2" y="48"/>
                      </a:lnTo>
                      <a:lnTo>
                        <a:pt x="0" y="46"/>
                      </a:lnTo>
                      <a:lnTo>
                        <a:pt x="0" y="42"/>
                      </a:lnTo>
                      <a:lnTo>
                        <a:pt x="0" y="38"/>
                      </a:lnTo>
                      <a:lnTo>
                        <a:pt x="0" y="38"/>
                      </a:lnTo>
                      <a:lnTo>
                        <a:pt x="0" y="38"/>
                      </a:lnTo>
                      <a:close/>
                      <a:moveTo>
                        <a:pt x="92" y="48"/>
                      </a:moveTo>
                      <a:lnTo>
                        <a:pt x="96" y="52"/>
                      </a:lnTo>
                      <a:lnTo>
                        <a:pt x="96" y="56"/>
                      </a:lnTo>
                      <a:lnTo>
                        <a:pt x="92" y="56"/>
                      </a:lnTo>
                      <a:lnTo>
                        <a:pt x="90" y="56"/>
                      </a:lnTo>
                      <a:lnTo>
                        <a:pt x="90" y="52"/>
                      </a:lnTo>
                      <a:lnTo>
                        <a:pt x="92" y="52"/>
                      </a:lnTo>
                      <a:lnTo>
                        <a:pt x="90" y="52"/>
                      </a:lnTo>
                      <a:lnTo>
                        <a:pt x="86" y="52"/>
                      </a:lnTo>
                      <a:lnTo>
                        <a:pt x="86" y="48"/>
                      </a:lnTo>
                      <a:lnTo>
                        <a:pt x="90" y="48"/>
                      </a:lnTo>
                      <a:lnTo>
                        <a:pt x="92" y="48"/>
                      </a:lnTo>
                      <a:lnTo>
                        <a:pt x="92" y="48"/>
                      </a:lnTo>
                      <a:lnTo>
                        <a:pt x="92" y="48"/>
                      </a:lnTo>
                      <a:close/>
                      <a:moveTo>
                        <a:pt x="60" y="68"/>
                      </a:moveTo>
                      <a:lnTo>
                        <a:pt x="56" y="68"/>
                      </a:lnTo>
                      <a:lnTo>
                        <a:pt x="56" y="64"/>
                      </a:lnTo>
                      <a:lnTo>
                        <a:pt x="52" y="64"/>
                      </a:lnTo>
                      <a:lnTo>
                        <a:pt x="52" y="60"/>
                      </a:lnTo>
                      <a:lnTo>
                        <a:pt x="48" y="56"/>
                      </a:lnTo>
                      <a:lnTo>
                        <a:pt x="44" y="56"/>
                      </a:lnTo>
                      <a:lnTo>
                        <a:pt x="48" y="56"/>
                      </a:lnTo>
                      <a:lnTo>
                        <a:pt x="48" y="52"/>
                      </a:lnTo>
                      <a:lnTo>
                        <a:pt x="52" y="56"/>
                      </a:lnTo>
                      <a:lnTo>
                        <a:pt x="52" y="60"/>
                      </a:lnTo>
                      <a:lnTo>
                        <a:pt x="56" y="60"/>
                      </a:lnTo>
                      <a:lnTo>
                        <a:pt x="60" y="60"/>
                      </a:lnTo>
                      <a:lnTo>
                        <a:pt x="62" y="60"/>
                      </a:lnTo>
                      <a:lnTo>
                        <a:pt x="62" y="64"/>
                      </a:lnTo>
                      <a:lnTo>
                        <a:pt x="62" y="68"/>
                      </a:lnTo>
                      <a:lnTo>
                        <a:pt x="62" y="72"/>
                      </a:lnTo>
                      <a:lnTo>
                        <a:pt x="66" y="72"/>
                      </a:lnTo>
                      <a:lnTo>
                        <a:pt x="66" y="74"/>
                      </a:lnTo>
                      <a:lnTo>
                        <a:pt x="62" y="74"/>
                      </a:lnTo>
                      <a:lnTo>
                        <a:pt x="62" y="72"/>
                      </a:lnTo>
                      <a:lnTo>
                        <a:pt x="62" y="68"/>
                      </a:lnTo>
                      <a:lnTo>
                        <a:pt x="60" y="68"/>
                      </a:lnTo>
                      <a:lnTo>
                        <a:pt x="60" y="68"/>
                      </a:lnTo>
                      <a:lnTo>
                        <a:pt x="60" y="68"/>
                      </a:lnTo>
                      <a:close/>
                      <a:moveTo>
                        <a:pt x="66" y="60"/>
                      </a:moveTo>
                      <a:lnTo>
                        <a:pt x="66" y="56"/>
                      </a:lnTo>
                      <a:lnTo>
                        <a:pt x="70" y="60"/>
                      </a:lnTo>
                      <a:lnTo>
                        <a:pt x="66" y="60"/>
                      </a:lnTo>
                      <a:lnTo>
                        <a:pt x="66" y="60"/>
                      </a:lnTo>
                      <a:lnTo>
                        <a:pt x="66" y="60"/>
                      </a:lnTo>
                      <a:close/>
                      <a:moveTo>
                        <a:pt x="14" y="56"/>
                      </a:moveTo>
                      <a:lnTo>
                        <a:pt x="14" y="60"/>
                      </a:lnTo>
                      <a:lnTo>
                        <a:pt x="14" y="64"/>
                      </a:lnTo>
                      <a:lnTo>
                        <a:pt x="10" y="64"/>
                      </a:lnTo>
                      <a:lnTo>
                        <a:pt x="10" y="60"/>
                      </a:lnTo>
                      <a:lnTo>
                        <a:pt x="10" y="56"/>
                      </a:lnTo>
                      <a:lnTo>
                        <a:pt x="14" y="56"/>
                      </a:lnTo>
                      <a:lnTo>
                        <a:pt x="14" y="56"/>
                      </a:lnTo>
                      <a:lnTo>
                        <a:pt x="14" y="56"/>
                      </a:lnTo>
                      <a:close/>
                      <a:moveTo>
                        <a:pt x="90" y="72"/>
                      </a:moveTo>
                      <a:lnTo>
                        <a:pt x="86" y="72"/>
                      </a:lnTo>
                      <a:lnTo>
                        <a:pt x="86" y="68"/>
                      </a:lnTo>
                      <a:lnTo>
                        <a:pt x="90" y="68"/>
                      </a:lnTo>
                      <a:lnTo>
                        <a:pt x="86" y="64"/>
                      </a:lnTo>
                      <a:lnTo>
                        <a:pt x="90" y="64"/>
                      </a:lnTo>
                      <a:lnTo>
                        <a:pt x="90" y="68"/>
                      </a:lnTo>
                      <a:lnTo>
                        <a:pt x="90" y="72"/>
                      </a:lnTo>
                      <a:lnTo>
                        <a:pt x="90" y="72"/>
                      </a:lnTo>
                      <a:lnTo>
                        <a:pt x="90" y="72"/>
                      </a:lnTo>
                      <a:close/>
                      <a:moveTo>
                        <a:pt x="14" y="68"/>
                      </a:moveTo>
                      <a:lnTo>
                        <a:pt x="10" y="68"/>
                      </a:lnTo>
                      <a:lnTo>
                        <a:pt x="10" y="64"/>
                      </a:lnTo>
                      <a:lnTo>
                        <a:pt x="14" y="64"/>
                      </a:lnTo>
                      <a:lnTo>
                        <a:pt x="14" y="68"/>
                      </a:lnTo>
                      <a:lnTo>
                        <a:pt x="14" y="68"/>
                      </a:lnTo>
                      <a:lnTo>
                        <a:pt x="14" y="68"/>
                      </a:lnTo>
                      <a:close/>
                      <a:moveTo>
                        <a:pt x="10" y="64"/>
                      </a:moveTo>
                      <a:lnTo>
                        <a:pt x="10" y="68"/>
                      </a:lnTo>
                      <a:lnTo>
                        <a:pt x="14" y="72"/>
                      </a:lnTo>
                      <a:lnTo>
                        <a:pt x="10" y="72"/>
                      </a:lnTo>
                      <a:lnTo>
                        <a:pt x="6" y="72"/>
                      </a:lnTo>
                      <a:lnTo>
                        <a:pt x="6" y="68"/>
                      </a:lnTo>
                      <a:lnTo>
                        <a:pt x="10" y="68"/>
                      </a:lnTo>
                      <a:lnTo>
                        <a:pt x="10" y="64"/>
                      </a:lnTo>
                      <a:lnTo>
                        <a:pt x="10" y="64"/>
                      </a:lnTo>
                      <a:lnTo>
                        <a:pt x="10" y="64"/>
                      </a:lnTo>
                      <a:close/>
                      <a:moveTo>
                        <a:pt x="74" y="78"/>
                      </a:moveTo>
                      <a:lnTo>
                        <a:pt x="70" y="78"/>
                      </a:lnTo>
                      <a:lnTo>
                        <a:pt x="70" y="74"/>
                      </a:lnTo>
                      <a:lnTo>
                        <a:pt x="74" y="74"/>
                      </a:lnTo>
                      <a:lnTo>
                        <a:pt x="74" y="78"/>
                      </a:lnTo>
                      <a:lnTo>
                        <a:pt x="74" y="78"/>
                      </a:lnTo>
                      <a:lnTo>
                        <a:pt x="74" y="78"/>
                      </a:lnTo>
                      <a:close/>
                      <a:moveTo>
                        <a:pt x="14" y="82"/>
                      </a:moveTo>
                      <a:lnTo>
                        <a:pt x="14" y="78"/>
                      </a:lnTo>
                      <a:lnTo>
                        <a:pt x="10" y="78"/>
                      </a:lnTo>
                      <a:lnTo>
                        <a:pt x="10" y="74"/>
                      </a:lnTo>
                      <a:lnTo>
                        <a:pt x="14" y="74"/>
                      </a:lnTo>
                      <a:lnTo>
                        <a:pt x="14" y="78"/>
                      </a:lnTo>
                      <a:lnTo>
                        <a:pt x="18" y="78"/>
                      </a:lnTo>
                      <a:lnTo>
                        <a:pt x="14" y="78"/>
                      </a:lnTo>
                      <a:lnTo>
                        <a:pt x="14" y="82"/>
                      </a:lnTo>
                      <a:lnTo>
                        <a:pt x="14" y="82"/>
                      </a:lnTo>
                      <a:lnTo>
                        <a:pt x="14" y="82"/>
                      </a:lnTo>
                      <a:close/>
                      <a:moveTo>
                        <a:pt x="100" y="82"/>
                      </a:moveTo>
                      <a:lnTo>
                        <a:pt x="100" y="78"/>
                      </a:lnTo>
                      <a:lnTo>
                        <a:pt x="96" y="78"/>
                      </a:lnTo>
                      <a:lnTo>
                        <a:pt x="100" y="78"/>
                      </a:lnTo>
                      <a:lnTo>
                        <a:pt x="104" y="78"/>
                      </a:lnTo>
                      <a:lnTo>
                        <a:pt x="100" y="78"/>
                      </a:lnTo>
                      <a:lnTo>
                        <a:pt x="100" y="82"/>
                      </a:lnTo>
                      <a:lnTo>
                        <a:pt x="100" y="82"/>
                      </a:lnTo>
                      <a:lnTo>
                        <a:pt x="100" y="82"/>
                      </a:lnTo>
                      <a:close/>
                      <a:moveTo>
                        <a:pt x="90" y="82"/>
                      </a:moveTo>
                      <a:lnTo>
                        <a:pt x="92" y="78"/>
                      </a:lnTo>
                      <a:lnTo>
                        <a:pt x="92" y="82"/>
                      </a:lnTo>
                      <a:lnTo>
                        <a:pt x="90" y="82"/>
                      </a:lnTo>
                      <a:lnTo>
                        <a:pt x="90" y="82"/>
                      </a:lnTo>
                      <a:lnTo>
                        <a:pt x="90" y="82"/>
                      </a:lnTo>
                      <a:close/>
                      <a:moveTo>
                        <a:pt x="62" y="82"/>
                      </a:moveTo>
                      <a:lnTo>
                        <a:pt x="62" y="78"/>
                      </a:lnTo>
                      <a:lnTo>
                        <a:pt x="66" y="78"/>
                      </a:lnTo>
                      <a:lnTo>
                        <a:pt x="66" y="82"/>
                      </a:lnTo>
                      <a:lnTo>
                        <a:pt x="62" y="82"/>
                      </a:lnTo>
                      <a:lnTo>
                        <a:pt x="62" y="82"/>
                      </a:lnTo>
                      <a:lnTo>
                        <a:pt x="62" y="82"/>
                      </a:lnTo>
                      <a:close/>
                      <a:moveTo>
                        <a:pt x="74" y="78"/>
                      </a:moveTo>
                      <a:lnTo>
                        <a:pt x="74" y="82"/>
                      </a:lnTo>
                      <a:lnTo>
                        <a:pt x="78" y="82"/>
                      </a:lnTo>
                      <a:lnTo>
                        <a:pt x="74" y="82"/>
                      </a:lnTo>
                      <a:lnTo>
                        <a:pt x="74" y="78"/>
                      </a:lnTo>
                      <a:lnTo>
                        <a:pt x="74" y="78"/>
                      </a:lnTo>
                      <a:lnTo>
                        <a:pt x="74" y="78"/>
                      </a:lnTo>
                      <a:close/>
                      <a:moveTo>
                        <a:pt x="66" y="82"/>
                      </a:moveTo>
                      <a:lnTo>
                        <a:pt x="66" y="86"/>
                      </a:lnTo>
                      <a:lnTo>
                        <a:pt x="62" y="86"/>
                      </a:lnTo>
                      <a:lnTo>
                        <a:pt x="66" y="86"/>
                      </a:lnTo>
                      <a:lnTo>
                        <a:pt x="66" y="82"/>
                      </a:lnTo>
                      <a:lnTo>
                        <a:pt x="66" y="82"/>
                      </a:lnTo>
                      <a:lnTo>
                        <a:pt x="66" y="82"/>
                      </a:lnTo>
                      <a:close/>
                      <a:moveTo>
                        <a:pt x="82" y="94"/>
                      </a:moveTo>
                      <a:lnTo>
                        <a:pt x="78" y="90"/>
                      </a:lnTo>
                      <a:lnTo>
                        <a:pt x="82" y="90"/>
                      </a:lnTo>
                      <a:lnTo>
                        <a:pt x="82" y="94"/>
                      </a:lnTo>
                      <a:lnTo>
                        <a:pt x="82" y="94"/>
                      </a:lnTo>
                      <a:lnTo>
                        <a:pt x="82" y="94"/>
                      </a:lnTo>
                      <a:close/>
                      <a:moveTo>
                        <a:pt x="78" y="94"/>
                      </a:moveTo>
                      <a:lnTo>
                        <a:pt x="74" y="94"/>
                      </a:lnTo>
                      <a:lnTo>
                        <a:pt x="74" y="90"/>
                      </a:lnTo>
                      <a:lnTo>
                        <a:pt x="78" y="90"/>
                      </a:lnTo>
                      <a:lnTo>
                        <a:pt x="78" y="94"/>
                      </a:lnTo>
                      <a:lnTo>
                        <a:pt x="78" y="94"/>
                      </a:lnTo>
                      <a:lnTo>
                        <a:pt x="78" y="94"/>
                      </a:lnTo>
                      <a:close/>
                      <a:moveTo>
                        <a:pt x="100" y="94"/>
                      </a:moveTo>
                      <a:lnTo>
                        <a:pt x="100" y="90"/>
                      </a:lnTo>
                      <a:lnTo>
                        <a:pt x="100" y="94"/>
                      </a:lnTo>
                      <a:lnTo>
                        <a:pt x="104" y="94"/>
                      </a:lnTo>
                      <a:lnTo>
                        <a:pt x="100" y="94"/>
                      </a:lnTo>
                      <a:lnTo>
                        <a:pt x="100" y="94"/>
                      </a:lnTo>
                      <a:lnTo>
                        <a:pt x="100" y="94"/>
                      </a:lnTo>
                      <a:close/>
                      <a:moveTo>
                        <a:pt x="100" y="102"/>
                      </a:moveTo>
                      <a:lnTo>
                        <a:pt x="100" y="98"/>
                      </a:lnTo>
                      <a:lnTo>
                        <a:pt x="104" y="98"/>
                      </a:lnTo>
                      <a:lnTo>
                        <a:pt x="104" y="94"/>
                      </a:lnTo>
                      <a:lnTo>
                        <a:pt x="108" y="94"/>
                      </a:lnTo>
                      <a:lnTo>
                        <a:pt x="108" y="98"/>
                      </a:lnTo>
                      <a:lnTo>
                        <a:pt x="104" y="98"/>
                      </a:lnTo>
                      <a:lnTo>
                        <a:pt x="100" y="98"/>
                      </a:lnTo>
                      <a:lnTo>
                        <a:pt x="100" y="102"/>
                      </a:lnTo>
                      <a:lnTo>
                        <a:pt x="100" y="102"/>
                      </a:lnTo>
                      <a:lnTo>
                        <a:pt x="100" y="102"/>
                      </a:lnTo>
                      <a:close/>
                      <a:moveTo>
                        <a:pt x="78" y="102"/>
                      </a:moveTo>
                      <a:lnTo>
                        <a:pt x="78" y="98"/>
                      </a:lnTo>
                      <a:lnTo>
                        <a:pt x="78" y="102"/>
                      </a:lnTo>
                      <a:lnTo>
                        <a:pt x="78" y="102"/>
                      </a:lnTo>
                      <a:lnTo>
                        <a:pt x="78" y="102"/>
                      </a:lnTo>
                      <a:close/>
                      <a:moveTo>
                        <a:pt x="62" y="102"/>
                      </a:moveTo>
                      <a:lnTo>
                        <a:pt x="62" y="98"/>
                      </a:lnTo>
                      <a:lnTo>
                        <a:pt x="66" y="98"/>
                      </a:lnTo>
                      <a:lnTo>
                        <a:pt x="66" y="102"/>
                      </a:lnTo>
                      <a:lnTo>
                        <a:pt x="62" y="102"/>
                      </a:lnTo>
                      <a:lnTo>
                        <a:pt x="62" y="102"/>
                      </a:lnTo>
                      <a:lnTo>
                        <a:pt x="62" y="102"/>
                      </a:lnTo>
                      <a:close/>
                      <a:moveTo>
                        <a:pt x="118" y="104"/>
                      </a:moveTo>
                      <a:lnTo>
                        <a:pt x="118" y="108"/>
                      </a:lnTo>
                      <a:lnTo>
                        <a:pt x="116" y="112"/>
                      </a:lnTo>
                      <a:lnTo>
                        <a:pt x="112" y="112"/>
                      </a:lnTo>
                      <a:lnTo>
                        <a:pt x="112" y="108"/>
                      </a:lnTo>
                      <a:lnTo>
                        <a:pt x="116" y="108"/>
                      </a:lnTo>
                      <a:lnTo>
                        <a:pt x="116" y="104"/>
                      </a:lnTo>
                      <a:lnTo>
                        <a:pt x="118" y="104"/>
                      </a:lnTo>
                      <a:lnTo>
                        <a:pt x="118" y="104"/>
                      </a:lnTo>
                      <a:lnTo>
                        <a:pt x="118" y="104"/>
                      </a:lnTo>
                      <a:close/>
                      <a:moveTo>
                        <a:pt x="44" y="104"/>
                      </a:moveTo>
                      <a:lnTo>
                        <a:pt x="48" y="108"/>
                      </a:lnTo>
                      <a:lnTo>
                        <a:pt x="44" y="108"/>
                      </a:lnTo>
                      <a:lnTo>
                        <a:pt x="44" y="104"/>
                      </a:lnTo>
                      <a:lnTo>
                        <a:pt x="44" y="104"/>
                      </a:lnTo>
                      <a:lnTo>
                        <a:pt x="44" y="104"/>
                      </a:lnTo>
                      <a:close/>
                      <a:moveTo>
                        <a:pt x="104" y="124"/>
                      </a:moveTo>
                      <a:lnTo>
                        <a:pt x="104" y="120"/>
                      </a:lnTo>
                      <a:lnTo>
                        <a:pt x="104" y="116"/>
                      </a:lnTo>
                      <a:lnTo>
                        <a:pt x="104" y="120"/>
                      </a:lnTo>
                      <a:lnTo>
                        <a:pt x="104" y="124"/>
                      </a:lnTo>
                      <a:lnTo>
                        <a:pt x="104" y="124"/>
                      </a:lnTo>
                      <a:lnTo>
                        <a:pt x="104" y="124"/>
                      </a:lnTo>
                      <a:close/>
                      <a:moveTo>
                        <a:pt x="56" y="128"/>
                      </a:moveTo>
                      <a:lnTo>
                        <a:pt x="52" y="128"/>
                      </a:lnTo>
                      <a:lnTo>
                        <a:pt x="52" y="120"/>
                      </a:lnTo>
                      <a:lnTo>
                        <a:pt x="56" y="120"/>
                      </a:lnTo>
                      <a:lnTo>
                        <a:pt x="60" y="120"/>
                      </a:lnTo>
                      <a:lnTo>
                        <a:pt x="62" y="120"/>
                      </a:lnTo>
                      <a:lnTo>
                        <a:pt x="60" y="124"/>
                      </a:lnTo>
                      <a:lnTo>
                        <a:pt x="62" y="124"/>
                      </a:lnTo>
                      <a:lnTo>
                        <a:pt x="66" y="124"/>
                      </a:lnTo>
                      <a:lnTo>
                        <a:pt x="70" y="124"/>
                      </a:lnTo>
                      <a:lnTo>
                        <a:pt x="74" y="124"/>
                      </a:lnTo>
                      <a:lnTo>
                        <a:pt x="78" y="124"/>
                      </a:lnTo>
                      <a:lnTo>
                        <a:pt x="82" y="128"/>
                      </a:lnTo>
                      <a:lnTo>
                        <a:pt x="82" y="124"/>
                      </a:lnTo>
                      <a:lnTo>
                        <a:pt x="86" y="124"/>
                      </a:lnTo>
                      <a:lnTo>
                        <a:pt x="86" y="128"/>
                      </a:lnTo>
                      <a:lnTo>
                        <a:pt x="90" y="128"/>
                      </a:lnTo>
                      <a:lnTo>
                        <a:pt x="92" y="128"/>
                      </a:lnTo>
                      <a:lnTo>
                        <a:pt x="92" y="130"/>
                      </a:lnTo>
                      <a:lnTo>
                        <a:pt x="90" y="130"/>
                      </a:lnTo>
                      <a:lnTo>
                        <a:pt x="82" y="130"/>
                      </a:lnTo>
                      <a:lnTo>
                        <a:pt x="78" y="130"/>
                      </a:lnTo>
                      <a:lnTo>
                        <a:pt x="74" y="130"/>
                      </a:lnTo>
                      <a:lnTo>
                        <a:pt x="70" y="130"/>
                      </a:lnTo>
                      <a:lnTo>
                        <a:pt x="66" y="130"/>
                      </a:lnTo>
                      <a:lnTo>
                        <a:pt x="66" y="128"/>
                      </a:lnTo>
                      <a:lnTo>
                        <a:pt x="62" y="128"/>
                      </a:lnTo>
                      <a:lnTo>
                        <a:pt x="60" y="128"/>
                      </a:lnTo>
                      <a:lnTo>
                        <a:pt x="56" y="128"/>
                      </a:lnTo>
                      <a:lnTo>
                        <a:pt x="56" y="128"/>
                      </a:lnTo>
                      <a:lnTo>
                        <a:pt x="56" y="128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60" name="Freeform 103"/>
                <p:cNvSpPr>
                  <a:spLocks/>
                </p:cNvSpPr>
                <p:nvPr/>
              </p:nvSpPr>
              <p:spPr bwMode="auto">
                <a:xfrm>
                  <a:off x="4337050" y="3124268"/>
                  <a:ext cx="3175" cy="6350"/>
                </a:xfrm>
                <a:custGeom>
                  <a:avLst/>
                  <a:gdLst>
                    <a:gd name="T0" fmla="*/ 0 w 2"/>
                    <a:gd name="T1" fmla="*/ 4 h 4"/>
                    <a:gd name="T2" fmla="*/ 0 w 2"/>
                    <a:gd name="T3" fmla="*/ 4 h 4"/>
                    <a:gd name="T4" fmla="*/ 0 w 2"/>
                    <a:gd name="T5" fmla="*/ 4 h 4"/>
                    <a:gd name="T6" fmla="*/ 0 w 2"/>
                    <a:gd name="T7" fmla="*/ 4 h 4"/>
                    <a:gd name="T8" fmla="*/ 0 w 2"/>
                    <a:gd name="T9" fmla="*/ 4 h 4"/>
                    <a:gd name="T10" fmla="*/ 0 w 2"/>
                    <a:gd name="T11" fmla="*/ 4 h 4"/>
                    <a:gd name="T12" fmla="*/ 0 w 2"/>
                    <a:gd name="T13" fmla="*/ 0 h 4"/>
                    <a:gd name="T14" fmla="*/ 2 w 2"/>
                    <a:gd name="T15" fmla="*/ 0 h 4"/>
                    <a:gd name="T16" fmla="*/ 0 w 2"/>
                    <a:gd name="T17" fmla="*/ 4 h 4"/>
                    <a:gd name="T18" fmla="*/ 0 w 2"/>
                    <a:gd name="T19" fmla="*/ 4 h 4"/>
                    <a:gd name="T20" fmla="*/ 0 w 2"/>
                    <a:gd name="T21" fmla="*/ 4 h 4"/>
                    <a:gd name="T22" fmla="*/ 0 w 2"/>
                    <a:gd name="T23" fmla="*/ 4 h 4"/>
                    <a:gd name="T24" fmla="*/ 0 w 2"/>
                    <a:gd name="T25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" h="4">
                      <a:moveTo>
                        <a:pt x="0" y="4"/>
                      </a:move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61" name="Freeform 104"/>
                <p:cNvSpPr>
                  <a:spLocks/>
                </p:cNvSpPr>
                <p:nvPr/>
              </p:nvSpPr>
              <p:spPr bwMode="auto">
                <a:xfrm>
                  <a:off x="4756150" y="3159193"/>
                  <a:ext cx="152400" cy="88900"/>
                </a:xfrm>
                <a:custGeom>
                  <a:avLst/>
                  <a:gdLst>
                    <a:gd name="T0" fmla="*/ 74 w 96"/>
                    <a:gd name="T1" fmla="*/ 42 h 56"/>
                    <a:gd name="T2" fmla="*/ 70 w 96"/>
                    <a:gd name="T3" fmla="*/ 46 h 56"/>
                    <a:gd name="T4" fmla="*/ 66 w 96"/>
                    <a:gd name="T5" fmla="*/ 46 h 56"/>
                    <a:gd name="T6" fmla="*/ 66 w 96"/>
                    <a:gd name="T7" fmla="*/ 46 h 56"/>
                    <a:gd name="T8" fmla="*/ 62 w 96"/>
                    <a:gd name="T9" fmla="*/ 50 h 56"/>
                    <a:gd name="T10" fmla="*/ 58 w 96"/>
                    <a:gd name="T11" fmla="*/ 50 h 56"/>
                    <a:gd name="T12" fmla="*/ 56 w 96"/>
                    <a:gd name="T13" fmla="*/ 50 h 56"/>
                    <a:gd name="T14" fmla="*/ 52 w 96"/>
                    <a:gd name="T15" fmla="*/ 50 h 56"/>
                    <a:gd name="T16" fmla="*/ 44 w 96"/>
                    <a:gd name="T17" fmla="*/ 52 h 56"/>
                    <a:gd name="T18" fmla="*/ 40 w 96"/>
                    <a:gd name="T19" fmla="*/ 52 h 56"/>
                    <a:gd name="T20" fmla="*/ 36 w 96"/>
                    <a:gd name="T21" fmla="*/ 52 h 56"/>
                    <a:gd name="T22" fmla="*/ 32 w 96"/>
                    <a:gd name="T23" fmla="*/ 56 h 56"/>
                    <a:gd name="T24" fmla="*/ 30 w 96"/>
                    <a:gd name="T25" fmla="*/ 56 h 56"/>
                    <a:gd name="T26" fmla="*/ 22 w 96"/>
                    <a:gd name="T27" fmla="*/ 52 h 56"/>
                    <a:gd name="T28" fmla="*/ 18 w 96"/>
                    <a:gd name="T29" fmla="*/ 52 h 56"/>
                    <a:gd name="T30" fmla="*/ 14 w 96"/>
                    <a:gd name="T31" fmla="*/ 50 h 56"/>
                    <a:gd name="T32" fmla="*/ 10 w 96"/>
                    <a:gd name="T33" fmla="*/ 46 h 56"/>
                    <a:gd name="T34" fmla="*/ 10 w 96"/>
                    <a:gd name="T35" fmla="*/ 46 h 56"/>
                    <a:gd name="T36" fmla="*/ 6 w 96"/>
                    <a:gd name="T37" fmla="*/ 42 h 56"/>
                    <a:gd name="T38" fmla="*/ 2 w 96"/>
                    <a:gd name="T39" fmla="*/ 38 h 56"/>
                    <a:gd name="T40" fmla="*/ 2 w 96"/>
                    <a:gd name="T41" fmla="*/ 34 h 56"/>
                    <a:gd name="T42" fmla="*/ 0 w 96"/>
                    <a:gd name="T43" fmla="*/ 34 h 56"/>
                    <a:gd name="T44" fmla="*/ 2 w 96"/>
                    <a:gd name="T45" fmla="*/ 30 h 56"/>
                    <a:gd name="T46" fmla="*/ 2 w 96"/>
                    <a:gd name="T47" fmla="*/ 26 h 56"/>
                    <a:gd name="T48" fmla="*/ 2 w 96"/>
                    <a:gd name="T49" fmla="*/ 24 h 56"/>
                    <a:gd name="T50" fmla="*/ 6 w 96"/>
                    <a:gd name="T51" fmla="*/ 20 h 56"/>
                    <a:gd name="T52" fmla="*/ 6 w 96"/>
                    <a:gd name="T53" fmla="*/ 20 h 56"/>
                    <a:gd name="T54" fmla="*/ 6 w 96"/>
                    <a:gd name="T55" fmla="*/ 16 h 56"/>
                    <a:gd name="T56" fmla="*/ 10 w 96"/>
                    <a:gd name="T57" fmla="*/ 16 h 56"/>
                    <a:gd name="T58" fmla="*/ 14 w 96"/>
                    <a:gd name="T59" fmla="*/ 16 h 56"/>
                    <a:gd name="T60" fmla="*/ 14 w 96"/>
                    <a:gd name="T61" fmla="*/ 12 h 56"/>
                    <a:gd name="T62" fmla="*/ 18 w 96"/>
                    <a:gd name="T63" fmla="*/ 12 h 56"/>
                    <a:gd name="T64" fmla="*/ 18 w 96"/>
                    <a:gd name="T65" fmla="*/ 12 h 56"/>
                    <a:gd name="T66" fmla="*/ 26 w 96"/>
                    <a:gd name="T67" fmla="*/ 16 h 56"/>
                    <a:gd name="T68" fmla="*/ 32 w 96"/>
                    <a:gd name="T69" fmla="*/ 16 h 56"/>
                    <a:gd name="T70" fmla="*/ 36 w 96"/>
                    <a:gd name="T71" fmla="*/ 16 h 56"/>
                    <a:gd name="T72" fmla="*/ 36 w 96"/>
                    <a:gd name="T73" fmla="*/ 16 h 56"/>
                    <a:gd name="T74" fmla="*/ 36 w 96"/>
                    <a:gd name="T75" fmla="*/ 12 h 56"/>
                    <a:gd name="T76" fmla="*/ 40 w 96"/>
                    <a:gd name="T77" fmla="*/ 8 h 56"/>
                    <a:gd name="T78" fmla="*/ 44 w 96"/>
                    <a:gd name="T79" fmla="*/ 8 h 56"/>
                    <a:gd name="T80" fmla="*/ 48 w 96"/>
                    <a:gd name="T81" fmla="*/ 8 h 56"/>
                    <a:gd name="T82" fmla="*/ 56 w 96"/>
                    <a:gd name="T83" fmla="*/ 8 h 56"/>
                    <a:gd name="T84" fmla="*/ 56 w 96"/>
                    <a:gd name="T85" fmla="*/ 8 h 56"/>
                    <a:gd name="T86" fmla="*/ 58 w 96"/>
                    <a:gd name="T87" fmla="*/ 4 h 56"/>
                    <a:gd name="T88" fmla="*/ 62 w 96"/>
                    <a:gd name="T89" fmla="*/ 0 h 56"/>
                    <a:gd name="T90" fmla="*/ 66 w 96"/>
                    <a:gd name="T91" fmla="*/ 0 h 56"/>
                    <a:gd name="T92" fmla="*/ 70 w 96"/>
                    <a:gd name="T93" fmla="*/ 0 h 56"/>
                    <a:gd name="T94" fmla="*/ 78 w 96"/>
                    <a:gd name="T95" fmla="*/ 0 h 56"/>
                    <a:gd name="T96" fmla="*/ 82 w 96"/>
                    <a:gd name="T97" fmla="*/ 4 h 56"/>
                    <a:gd name="T98" fmla="*/ 84 w 96"/>
                    <a:gd name="T99" fmla="*/ 4 h 56"/>
                    <a:gd name="T100" fmla="*/ 84 w 96"/>
                    <a:gd name="T101" fmla="*/ 0 h 56"/>
                    <a:gd name="T102" fmla="*/ 88 w 96"/>
                    <a:gd name="T103" fmla="*/ 4 h 56"/>
                    <a:gd name="T104" fmla="*/ 92 w 96"/>
                    <a:gd name="T105" fmla="*/ 8 h 56"/>
                    <a:gd name="T106" fmla="*/ 96 w 96"/>
                    <a:gd name="T107" fmla="*/ 8 h 56"/>
                    <a:gd name="T108" fmla="*/ 92 w 96"/>
                    <a:gd name="T109" fmla="*/ 16 h 56"/>
                    <a:gd name="T110" fmla="*/ 88 w 96"/>
                    <a:gd name="T111" fmla="*/ 16 h 56"/>
                    <a:gd name="T112" fmla="*/ 84 w 96"/>
                    <a:gd name="T113" fmla="*/ 20 h 56"/>
                    <a:gd name="T114" fmla="*/ 84 w 96"/>
                    <a:gd name="T115" fmla="*/ 20 h 56"/>
                    <a:gd name="T116" fmla="*/ 84 w 96"/>
                    <a:gd name="T117" fmla="*/ 24 h 56"/>
                    <a:gd name="T118" fmla="*/ 82 w 96"/>
                    <a:gd name="T119" fmla="*/ 26 h 56"/>
                    <a:gd name="T120" fmla="*/ 78 w 96"/>
                    <a:gd name="T121" fmla="*/ 30 h 56"/>
                    <a:gd name="T122" fmla="*/ 78 w 96"/>
                    <a:gd name="T123" fmla="*/ 34 h 56"/>
                    <a:gd name="T124" fmla="*/ 78 w 96"/>
                    <a:gd name="T125" fmla="*/ 38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96" h="56">
                      <a:moveTo>
                        <a:pt x="78" y="38"/>
                      </a:moveTo>
                      <a:lnTo>
                        <a:pt x="74" y="38"/>
                      </a:lnTo>
                      <a:lnTo>
                        <a:pt x="74" y="38"/>
                      </a:lnTo>
                      <a:lnTo>
                        <a:pt x="74" y="38"/>
                      </a:lnTo>
                      <a:lnTo>
                        <a:pt x="74" y="42"/>
                      </a:lnTo>
                      <a:lnTo>
                        <a:pt x="74" y="42"/>
                      </a:lnTo>
                      <a:lnTo>
                        <a:pt x="74" y="42"/>
                      </a:lnTo>
                      <a:lnTo>
                        <a:pt x="70" y="46"/>
                      </a:lnTo>
                      <a:lnTo>
                        <a:pt x="70" y="46"/>
                      </a:lnTo>
                      <a:lnTo>
                        <a:pt x="70" y="46"/>
                      </a:lnTo>
                      <a:lnTo>
                        <a:pt x="70" y="46"/>
                      </a:lnTo>
                      <a:lnTo>
                        <a:pt x="70" y="46"/>
                      </a:lnTo>
                      <a:lnTo>
                        <a:pt x="70" y="46"/>
                      </a:lnTo>
                      <a:lnTo>
                        <a:pt x="70" y="46"/>
                      </a:lnTo>
                      <a:lnTo>
                        <a:pt x="66" y="46"/>
                      </a:lnTo>
                      <a:lnTo>
                        <a:pt x="66" y="46"/>
                      </a:lnTo>
                      <a:lnTo>
                        <a:pt x="66" y="46"/>
                      </a:lnTo>
                      <a:lnTo>
                        <a:pt x="66" y="46"/>
                      </a:lnTo>
                      <a:lnTo>
                        <a:pt x="66" y="46"/>
                      </a:lnTo>
                      <a:lnTo>
                        <a:pt x="66" y="46"/>
                      </a:lnTo>
                      <a:lnTo>
                        <a:pt x="66" y="50"/>
                      </a:lnTo>
                      <a:lnTo>
                        <a:pt x="66" y="50"/>
                      </a:lnTo>
                      <a:lnTo>
                        <a:pt x="66" y="50"/>
                      </a:lnTo>
                      <a:lnTo>
                        <a:pt x="66" y="50"/>
                      </a:lnTo>
                      <a:lnTo>
                        <a:pt x="62" y="50"/>
                      </a:lnTo>
                      <a:lnTo>
                        <a:pt x="62" y="50"/>
                      </a:lnTo>
                      <a:lnTo>
                        <a:pt x="62" y="50"/>
                      </a:lnTo>
                      <a:lnTo>
                        <a:pt x="62" y="50"/>
                      </a:lnTo>
                      <a:lnTo>
                        <a:pt x="62" y="50"/>
                      </a:lnTo>
                      <a:lnTo>
                        <a:pt x="58" y="50"/>
                      </a:lnTo>
                      <a:lnTo>
                        <a:pt x="58" y="50"/>
                      </a:lnTo>
                      <a:lnTo>
                        <a:pt x="58" y="50"/>
                      </a:lnTo>
                      <a:lnTo>
                        <a:pt x="58" y="50"/>
                      </a:lnTo>
                      <a:lnTo>
                        <a:pt x="58" y="50"/>
                      </a:lnTo>
                      <a:lnTo>
                        <a:pt x="56" y="50"/>
                      </a:lnTo>
                      <a:lnTo>
                        <a:pt x="56" y="50"/>
                      </a:lnTo>
                      <a:lnTo>
                        <a:pt x="52" y="50"/>
                      </a:lnTo>
                      <a:lnTo>
                        <a:pt x="52" y="50"/>
                      </a:lnTo>
                      <a:lnTo>
                        <a:pt x="52" y="50"/>
                      </a:lnTo>
                      <a:lnTo>
                        <a:pt x="52" y="50"/>
                      </a:lnTo>
                      <a:lnTo>
                        <a:pt x="48" y="50"/>
                      </a:lnTo>
                      <a:lnTo>
                        <a:pt x="48" y="50"/>
                      </a:lnTo>
                      <a:lnTo>
                        <a:pt x="48" y="50"/>
                      </a:lnTo>
                      <a:lnTo>
                        <a:pt x="48" y="50"/>
                      </a:lnTo>
                      <a:lnTo>
                        <a:pt x="44" y="52"/>
                      </a:lnTo>
                      <a:lnTo>
                        <a:pt x="44" y="52"/>
                      </a:lnTo>
                      <a:lnTo>
                        <a:pt x="44" y="52"/>
                      </a:lnTo>
                      <a:lnTo>
                        <a:pt x="40" y="52"/>
                      </a:lnTo>
                      <a:lnTo>
                        <a:pt x="40" y="52"/>
                      </a:lnTo>
                      <a:lnTo>
                        <a:pt x="40" y="52"/>
                      </a:lnTo>
                      <a:lnTo>
                        <a:pt x="36" y="52"/>
                      </a:lnTo>
                      <a:lnTo>
                        <a:pt x="36" y="52"/>
                      </a:lnTo>
                      <a:lnTo>
                        <a:pt x="36" y="52"/>
                      </a:lnTo>
                      <a:lnTo>
                        <a:pt x="36" y="52"/>
                      </a:lnTo>
                      <a:lnTo>
                        <a:pt x="36" y="52"/>
                      </a:lnTo>
                      <a:lnTo>
                        <a:pt x="36" y="52"/>
                      </a:lnTo>
                      <a:lnTo>
                        <a:pt x="36" y="56"/>
                      </a:lnTo>
                      <a:lnTo>
                        <a:pt x="32" y="56"/>
                      </a:lnTo>
                      <a:lnTo>
                        <a:pt x="32" y="56"/>
                      </a:lnTo>
                      <a:lnTo>
                        <a:pt x="32" y="56"/>
                      </a:lnTo>
                      <a:lnTo>
                        <a:pt x="32" y="56"/>
                      </a:lnTo>
                      <a:lnTo>
                        <a:pt x="30" y="56"/>
                      </a:lnTo>
                      <a:lnTo>
                        <a:pt x="30" y="56"/>
                      </a:lnTo>
                      <a:lnTo>
                        <a:pt x="30" y="56"/>
                      </a:lnTo>
                      <a:lnTo>
                        <a:pt x="30" y="56"/>
                      </a:lnTo>
                      <a:lnTo>
                        <a:pt x="26" y="56"/>
                      </a:lnTo>
                      <a:lnTo>
                        <a:pt x="26" y="56"/>
                      </a:lnTo>
                      <a:lnTo>
                        <a:pt x="22" y="56"/>
                      </a:lnTo>
                      <a:lnTo>
                        <a:pt x="22" y="52"/>
                      </a:lnTo>
                      <a:lnTo>
                        <a:pt x="22" y="52"/>
                      </a:lnTo>
                      <a:lnTo>
                        <a:pt x="22" y="52"/>
                      </a:lnTo>
                      <a:lnTo>
                        <a:pt x="22" y="52"/>
                      </a:lnTo>
                      <a:lnTo>
                        <a:pt x="18" y="52"/>
                      </a:lnTo>
                      <a:lnTo>
                        <a:pt x="18" y="52"/>
                      </a:lnTo>
                      <a:lnTo>
                        <a:pt x="18" y="52"/>
                      </a:lnTo>
                      <a:lnTo>
                        <a:pt x="18" y="52"/>
                      </a:lnTo>
                      <a:lnTo>
                        <a:pt x="18" y="52"/>
                      </a:lnTo>
                      <a:lnTo>
                        <a:pt x="14" y="52"/>
                      </a:lnTo>
                      <a:lnTo>
                        <a:pt x="14" y="50"/>
                      </a:lnTo>
                      <a:lnTo>
                        <a:pt x="14" y="50"/>
                      </a:lnTo>
                      <a:lnTo>
                        <a:pt x="14" y="50"/>
                      </a:lnTo>
                      <a:lnTo>
                        <a:pt x="14" y="50"/>
                      </a:lnTo>
                      <a:lnTo>
                        <a:pt x="14" y="50"/>
                      </a:lnTo>
                      <a:lnTo>
                        <a:pt x="10" y="46"/>
                      </a:lnTo>
                      <a:lnTo>
                        <a:pt x="10" y="46"/>
                      </a:lnTo>
                      <a:lnTo>
                        <a:pt x="10" y="46"/>
                      </a:lnTo>
                      <a:lnTo>
                        <a:pt x="10" y="46"/>
                      </a:lnTo>
                      <a:lnTo>
                        <a:pt x="10" y="46"/>
                      </a:lnTo>
                      <a:lnTo>
                        <a:pt x="10" y="46"/>
                      </a:lnTo>
                      <a:lnTo>
                        <a:pt x="10" y="46"/>
                      </a:lnTo>
                      <a:lnTo>
                        <a:pt x="10" y="46"/>
                      </a:lnTo>
                      <a:lnTo>
                        <a:pt x="10" y="46"/>
                      </a:lnTo>
                      <a:lnTo>
                        <a:pt x="6" y="42"/>
                      </a:lnTo>
                      <a:lnTo>
                        <a:pt x="6" y="42"/>
                      </a:lnTo>
                      <a:lnTo>
                        <a:pt x="6" y="42"/>
                      </a:lnTo>
                      <a:lnTo>
                        <a:pt x="6" y="42"/>
                      </a:lnTo>
                      <a:lnTo>
                        <a:pt x="2" y="38"/>
                      </a:lnTo>
                      <a:lnTo>
                        <a:pt x="2" y="38"/>
                      </a:lnTo>
                      <a:lnTo>
                        <a:pt x="2" y="38"/>
                      </a:lnTo>
                      <a:lnTo>
                        <a:pt x="2" y="38"/>
                      </a:lnTo>
                      <a:lnTo>
                        <a:pt x="2" y="38"/>
                      </a:lnTo>
                      <a:lnTo>
                        <a:pt x="2" y="34"/>
                      </a:lnTo>
                      <a:lnTo>
                        <a:pt x="2" y="34"/>
                      </a:lnTo>
                      <a:lnTo>
                        <a:pt x="2" y="34"/>
                      </a:lnTo>
                      <a:lnTo>
                        <a:pt x="2" y="34"/>
                      </a:lnTo>
                      <a:lnTo>
                        <a:pt x="2" y="34"/>
                      </a:lnTo>
                      <a:lnTo>
                        <a:pt x="2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2" y="30"/>
                      </a:lnTo>
                      <a:lnTo>
                        <a:pt x="2" y="30"/>
                      </a:lnTo>
                      <a:lnTo>
                        <a:pt x="2" y="30"/>
                      </a:lnTo>
                      <a:lnTo>
                        <a:pt x="2" y="30"/>
                      </a:lnTo>
                      <a:lnTo>
                        <a:pt x="2" y="30"/>
                      </a:lnTo>
                      <a:lnTo>
                        <a:pt x="2" y="30"/>
                      </a:lnTo>
                      <a:lnTo>
                        <a:pt x="6" y="30"/>
                      </a:lnTo>
                      <a:lnTo>
                        <a:pt x="6" y="30"/>
                      </a:lnTo>
                      <a:lnTo>
                        <a:pt x="2" y="26"/>
                      </a:lnTo>
                      <a:lnTo>
                        <a:pt x="2" y="26"/>
                      </a:lnTo>
                      <a:lnTo>
                        <a:pt x="2" y="26"/>
                      </a:lnTo>
                      <a:lnTo>
                        <a:pt x="6" y="26"/>
                      </a:lnTo>
                      <a:lnTo>
                        <a:pt x="6" y="26"/>
                      </a:lnTo>
                      <a:lnTo>
                        <a:pt x="2" y="24"/>
                      </a:lnTo>
                      <a:lnTo>
                        <a:pt x="2" y="24"/>
                      </a:lnTo>
                      <a:lnTo>
                        <a:pt x="6" y="24"/>
                      </a:lnTo>
                      <a:lnTo>
                        <a:pt x="6" y="24"/>
                      </a:lnTo>
                      <a:lnTo>
                        <a:pt x="6" y="24"/>
                      </a:lnTo>
                      <a:lnTo>
                        <a:pt x="6" y="20"/>
                      </a:lnTo>
                      <a:lnTo>
                        <a:pt x="6" y="20"/>
                      </a:lnTo>
                      <a:lnTo>
                        <a:pt x="6" y="20"/>
                      </a:lnTo>
                      <a:lnTo>
                        <a:pt x="6" y="20"/>
                      </a:lnTo>
                      <a:lnTo>
                        <a:pt x="6" y="20"/>
                      </a:lnTo>
                      <a:lnTo>
                        <a:pt x="6" y="20"/>
                      </a:lnTo>
                      <a:lnTo>
                        <a:pt x="2" y="20"/>
                      </a:lnTo>
                      <a:lnTo>
                        <a:pt x="2" y="16"/>
                      </a:lnTo>
                      <a:lnTo>
                        <a:pt x="6" y="16"/>
                      </a:lnTo>
                      <a:lnTo>
                        <a:pt x="6" y="16"/>
                      </a:lnTo>
                      <a:lnTo>
                        <a:pt x="6" y="16"/>
                      </a:lnTo>
                      <a:lnTo>
                        <a:pt x="6" y="16"/>
                      </a:lnTo>
                      <a:lnTo>
                        <a:pt x="10" y="16"/>
                      </a:lnTo>
                      <a:lnTo>
                        <a:pt x="10" y="20"/>
                      </a:lnTo>
                      <a:lnTo>
                        <a:pt x="10" y="20"/>
                      </a:lnTo>
                      <a:lnTo>
                        <a:pt x="10" y="16"/>
                      </a:lnTo>
                      <a:lnTo>
                        <a:pt x="10" y="16"/>
                      </a:lnTo>
                      <a:lnTo>
                        <a:pt x="14" y="16"/>
                      </a:lnTo>
                      <a:lnTo>
                        <a:pt x="14" y="16"/>
                      </a:lnTo>
                      <a:lnTo>
                        <a:pt x="14" y="16"/>
                      </a:lnTo>
                      <a:lnTo>
                        <a:pt x="14" y="16"/>
                      </a:lnTo>
                      <a:lnTo>
                        <a:pt x="14" y="16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8" y="12"/>
                      </a:lnTo>
                      <a:lnTo>
                        <a:pt x="18" y="12"/>
                      </a:lnTo>
                      <a:lnTo>
                        <a:pt x="18" y="12"/>
                      </a:lnTo>
                      <a:lnTo>
                        <a:pt x="18" y="12"/>
                      </a:lnTo>
                      <a:lnTo>
                        <a:pt x="18" y="12"/>
                      </a:lnTo>
                      <a:lnTo>
                        <a:pt x="18" y="12"/>
                      </a:lnTo>
                      <a:lnTo>
                        <a:pt x="18" y="12"/>
                      </a:lnTo>
                      <a:lnTo>
                        <a:pt x="22" y="16"/>
                      </a:lnTo>
                      <a:lnTo>
                        <a:pt x="26" y="16"/>
                      </a:lnTo>
                      <a:lnTo>
                        <a:pt x="26" y="16"/>
                      </a:lnTo>
                      <a:lnTo>
                        <a:pt x="26" y="16"/>
                      </a:lnTo>
                      <a:lnTo>
                        <a:pt x="26" y="16"/>
                      </a:lnTo>
                      <a:lnTo>
                        <a:pt x="30" y="16"/>
                      </a:lnTo>
                      <a:lnTo>
                        <a:pt x="30" y="16"/>
                      </a:lnTo>
                      <a:lnTo>
                        <a:pt x="30" y="16"/>
                      </a:lnTo>
                      <a:lnTo>
                        <a:pt x="30" y="16"/>
                      </a:lnTo>
                      <a:lnTo>
                        <a:pt x="32" y="16"/>
                      </a:lnTo>
                      <a:lnTo>
                        <a:pt x="32" y="16"/>
                      </a:lnTo>
                      <a:lnTo>
                        <a:pt x="32" y="16"/>
                      </a:lnTo>
                      <a:lnTo>
                        <a:pt x="32" y="16"/>
                      </a:lnTo>
                      <a:lnTo>
                        <a:pt x="32" y="16"/>
                      </a:lnTo>
                      <a:lnTo>
                        <a:pt x="36" y="16"/>
                      </a:lnTo>
                      <a:lnTo>
                        <a:pt x="36" y="16"/>
                      </a:lnTo>
                      <a:lnTo>
                        <a:pt x="36" y="16"/>
                      </a:lnTo>
                      <a:lnTo>
                        <a:pt x="36" y="16"/>
                      </a:lnTo>
                      <a:lnTo>
                        <a:pt x="36" y="16"/>
                      </a:lnTo>
                      <a:lnTo>
                        <a:pt x="36" y="16"/>
                      </a:lnTo>
                      <a:lnTo>
                        <a:pt x="36" y="16"/>
                      </a:lnTo>
                      <a:lnTo>
                        <a:pt x="40" y="16"/>
                      </a:lnTo>
                      <a:lnTo>
                        <a:pt x="40" y="16"/>
                      </a:lnTo>
                      <a:lnTo>
                        <a:pt x="36" y="16"/>
                      </a:lnTo>
                      <a:lnTo>
                        <a:pt x="36" y="12"/>
                      </a:lnTo>
                      <a:lnTo>
                        <a:pt x="36" y="12"/>
                      </a:lnTo>
                      <a:lnTo>
                        <a:pt x="36" y="12"/>
                      </a:lnTo>
                      <a:lnTo>
                        <a:pt x="36" y="12"/>
                      </a:lnTo>
                      <a:lnTo>
                        <a:pt x="40" y="12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8" y="8"/>
                      </a:lnTo>
                      <a:lnTo>
                        <a:pt x="48" y="8"/>
                      </a:lnTo>
                      <a:lnTo>
                        <a:pt x="48" y="8"/>
                      </a:lnTo>
                      <a:lnTo>
                        <a:pt x="48" y="8"/>
                      </a:lnTo>
                      <a:lnTo>
                        <a:pt x="48" y="8"/>
                      </a:lnTo>
                      <a:lnTo>
                        <a:pt x="52" y="8"/>
                      </a:lnTo>
                      <a:lnTo>
                        <a:pt x="52" y="8"/>
                      </a:lnTo>
                      <a:lnTo>
                        <a:pt x="52" y="8"/>
                      </a:lnTo>
                      <a:lnTo>
                        <a:pt x="56" y="8"/>
                      </a:lnTo>
                      <a:lnTo>
                        <a:pt x="56" y="8"/>
                      </a:lnTo>
                      <a:lnTo>
                        <a:pt x="56" y="8"/>
                      </a:lnTo>
                      <a:lnTo>
                        <a:pt x="56" y="8"/>
                      </a:lnTo>
                      <a:lnTo>
                        <a:pt x="56" y="8"/>
                      </a:lnTo>
                      <a:lnTo>
                        <a:pt x="56" y="8"/>
                      </a:lnTo>
                      <a:lnTo>
                        <a:pt x="56" y="8"/>
                      </a:lnTo>
                      <a:lnTo>
                        <a:pt x="58" y="4"/>
                      </a:lnTo>
                      <a:lnTo>
                        <a:pt x="58" y="4"/>
                      </a:lnTo>
                      <a:lnTo>
                        <a:pt x="58" y="4"/>
                      </a:lnTo>
                      <a:lnTo>
                        <a:pt x="58" y="4"/>
                      </a:lnTo>
                      <a:lnTo>
                        <a:pt x="58" y="4"/>
                      </a:lnTo>
                      <a:lnTo>
                        <a:pt x="58" y="4"/>
                      </a:lnTo>
                      <a:lnTo>
                        <a:pt x="58" y="4"/>
                      </a:lnTo>
                      <a:lnTo>
                        <a:pt x="62" y="0"/>
                      </a:lnTo>
                      <a:lnTo>
                        <a:pt x="62" y="0"/>
                      </a:lnTo>
                      <a:lnTo>
                        <a:pt x="62" y="0"/>
                      </a:lnTo>
                      <a:lnTo>
                        <a:pt x="62" y="0"/>
                      </a:lnTo>
                      <a:lnTo>
                        <a:pt x="62" y="0"/>
                      </a:lnTo>
                      <a:lnTo>
                        <a:pt x="62" y="0"/>
                      </a:lnTo>
                      <a:lnTo>
                        <a:pt x="66" y="0"/>
                      </a:lnTo>
                      <a:lnTo>
                        <a:pt x="66" y="0"/>
                      </a:lnTo>
                      <a:lnTo>
                        <a:pt x="66" y="0"/>
                      </a:lnTo>
                      <a:lnTo>
                        <a:pt x="66" y="0"/>
                      </a:lnTo>
                      <a:lnTo>
                        <a:pt x="66" y="0"/>
                      </a:lnTo>
                      <a:lnTo>
                        <a:pt x="70" y="0"/>
                      </a:lnTo>
                      <a:lnTo>
                        <a:pt x="70" y="0"/>
                      </a:lnTo>
                      <a:lnTo>
                        <a:pt x="74" y="0"/>
                      </a:lnTo>
                      <a:lnTo>
                        <a:pt x="74" y="0"/>
                      </a:lnTo>
                      <a:lnTo>
                        <a:pt x="74" y="0"/>
                      </a:lnTo>
                      <a:lnTo>
                        <a:pt x="78" y="0"/>
                      </a:lnTo>
                      <a:lnTo>
                        <a:pt x="78" y="0"/>
                      </a:lnTo>
                      <a:lnTo>
                        <a:pt x="78" y="0"/>
                      </a:lnTo>
                      <a:lnTo>
                        <a:pt x="78" y="4"/>
                      </a:lnTo>
                      <a:lnTo>
                        <a:pt x="82" y="4"/>
                      </a:lnTo>
                      <a:lnTo>
                        <a:pt x="82" y="4"/>
                      </a:lnTo>
                      <a:lnTo>
                        <a:pt x="82" y="4"/>
                      </a:lnTo>
                      <a:lnTo>
                        <a:pt x="82" y="4"/>
                      </a:lnTo>
                      <a:lnTo>
                        <a:pt x="82" y="4"/>
                      </a:lnTo>
                      <a:lnTo>
                        <a:pt x="84" y="4"/>
                      </a:lnTo>
                      <a:lnTo>
                        <a:pt x="84" y="4"/>
                      </a:lnTo>
                      <a:lnTo>
                        <a:pt x="84" y="4"/>
                      </a:lnTo>
                      <a:lnTo>
                        <a:pt x="84" y="4"/>
                      </a:lnTo>
                      <a:lnTo>
                        <a:pt x="84" y="4"/>
                      </a:lnTo>
                      <a:lnTo>
                        <a:pt x="84" y="4"/>
                      </a:lnTo>
                      <a:lnTo>
                        <a:pt x="84" y="0"/>
                      </a:lnTo>
                      <a:lnTo>
                        <a:pt x="88" y="4"/>
                      </a:lnTo>
                      <a:lnTo>
                        <a:pt x="88" y="4"/>
                      </a:lnTo>
                      <a:lnTo>
                        <a:pt x="88" y="4"/>
                      </a:lnTo>
                      <a:lnTo>
                        <a:pt x="88" y="4"/>
                      </a:lnTo>
                      <a:lnTo>
                        <a:pt x="88" y="4"/>
                      </a:lnTo>
                      <a:lnTo>
                        <a:pt x="88" y="4"/>
                      </a:lnTo>
                      <a:lnTo>
                        <a:pt x="92" y="8"/>
                      </a:lnTo>
                      <a:lnTo>
                        <a:pt x="92" y="8"/>
                      </a:lnTo>
                      <a:lnTo>
                        <a:pt x="92" y="8"/>
                      </a:lnTo>
                      <a:lnTo>
                        <a:pt x="92" y="8"/>
                      </a:lnTo>
                      <a:lnTo>
                        <a:pt x="92" y="8"/>
                      </a:lnTo>
                      <a:lnTo>
                        <a:pt x="92" y="8"/>
                      </a:lnTo>
                      <a:lnTo>
                        <a:pt x="92" y="8"/>
                      </a:lnTo>
                      <a:lnTo>
                        <a:pt x="92" y="8"/>
                      </a:lnTo>
                      <a:lnTo>
                        <a:pt x="96" y="8"/>
                      </a:lnTo>
                      <a:lnTo>
                        <a:pt x="96" y="12"/>
                      </a:lnTo>
                      <a:lnTo>
                        <a:pt x="96" y="12"/>
                      </a:lnTo>
                      <a:lnTo>
                        <a:pt x="96" y="12"/>
                      </a:lnTo>
                      <a:lnTo>
                        <a:pt x="92" y="16"/>
                      </a:lnTo>
                      <a:lnTo>
                        <a:pt x="92" y="16"/>
                      </a:lnTo>
                      <a:lnTo>
                        <a:pt x="92" y="16"/>
                      </a:lnTo>
                      <a:lnTo>
                        <a:pt x="92" y="16"/>
                      </a:lnTo>
                      <a:lnTo>
                        <a:pt x="92" y="16"/>
                      </a:lnTo>
                      <a:lnTo>
                        <a:pt x="88" y="16"/>
                      </a:lnTo>
                      <a:lnTo>
                        <a:pt x="88" y="16"/>
                      </a:lnTo>
                      <a:lnTo>
                        <a:pt x="88" y="16"/>
                      </a:lnTo>
                      <a:lnTo>
                        <a:pt x="88" y="16"/>
                      </a:lnTo>
                      <a:lnTo>
                        <a:pt x="88" y="16"/>
                      </a:lnTo>
                      <a:lnTo>
                        <a:pt x="84" y="20"/>
                      </a:lnTo>
                      <a:lnTo>
                        <a:pt x="84" y="20"/>
                      </a:lnTo>
                      <a:lnTo>
                        <a:pt x="84" y="20"/>
                      </a:lnTo>
                      <a:lnTo>
                        <a:pt x="84" y="20"/>
                      </a:lnTo>
                      <a:lnTo>
                        <a:pt x="84" y="20"/>
                      </a:lnTo>
                      <a:lnTo>
                        <a:pt x="84" y="20"/>
                      </a:lnTo>
                      <a:lnTo>
                        <a:pt x="84" y="20"/>
                      </a:lnTo>
                      <a:lnTo>
                        <a:pt x="84" y="20"/>
                      </a:lnTo>
                      <a:lnTo>
                        <a:pt x="84" y="24"/>
                      </a:lnTo>
                      <a:lnTo>
                        <a:pt x="84" y="24"/>
                      </a:lnTo>
                      <a:lnTo>
                        <a:pt x="84" y="24"/>
                      </a:lnTo>
                      <a:lnTo>
                        <a:pt x="84" y="24"/>
                      </a:lnTo>
                      <a:lnTo>
                        <a:pt x="82" y="24"/>
                      </a:lnTo>
                      <a:lnTo>
                        <a:pt x="82" y="24"/>
                      </a:lnTo>
                      <a:lnTo>
                        <a:pt x="82" y="24"/>
                      </a:lnTo>
                      <a:lnTo>
                        <a:pt x="82" y="26"/>
                      </a:lnTo>
                      <a:lnTo>
                        <a:pt x="82" y="26"/>
                      </a:lnTo>
                      <a:lnTo>
                        <a:pt x="82" y="26"/>
                      </a:lnTo>
                      <a:lnTo>
                        <a:pt x="82" y="30"/>
                      </a:lnTo>
                      <a:lnTo>
                        <a:pt x="82" y="30"/>
                      </a:lnTo>
                      <a:lnTo>
                        <a:pt x="78" y="30"/>
                      </a:lnTo>
                      <a:lnTo>
                        <a:pt x="78" y="30"/>
                      </a:lnTo>
                      <a:lnTo>
                        <a:pt x="78" y="30"/>
                      </a:lnTo>
                      <a:lnTo>
                        <a:pt x="78" y="30"/>
                      </a:lnTo>
                      <a:lnTo>
                        <a:pt x="78" y="30"/>
                      </a:lnTo>
                      <a:lnTo>
                        <a:pt x="78" y="34"/>
                      </a:lnTo>
                      <a:lnTo>
                        <a:pt x="78" y="34"/>
                      </a:lnTo>
                      <a:lnTo>
                        <a:pt x="78" y="38"/>
                      </a:lnTo>
                      <a:lnTo>
                        <a:pt x="78" y="38"/>
                      </a:lnTo>
                      <a:lnTo>
                        <a:pt x="78" y="38"/>
                      </a:lnTo>
                      <a:lnTo>
                        <a:pt x="78" y="38"/>
                      </a:lnTo>
                      <a:lnTo>
                        <a:pt x="78" y="38"/>
                      </a:lnTo>
                      <a:lnTo>
                        <a:pt x="78" y="38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62" name="Freeform 105"/>
                <p:cNvSpPr>
                  <a:spLocks/>
                </p:cNvSpPr>
                <p:nvPr/>
              </p:nvSpPr>
              <p:spPr bwMode="auto">
                <a:xfrm>
                  <a:off x="3844925" y="2521018"/>
                  <a:ext cx="247650" cy="117475"/>
                </a:xfrm>
                <a:custGeom>
                  <a:avLst/>
                  <a:gdLst>
                    <a:gd name="T0" fmla="*/ 36 w 156"/>
                    <a:gd name="T1" fmla="*/ 48 h 74"/>
                    <a:gd name="T2" fmla="*/ 30 w 156"/>
                    <a:gd name="T3" fmla="*/ 44 h 74"/>
                    <a:gd name="T4" fmla="*/ 14 w 156"/>
                    <a:gd name="T5" fmla="*/ 40 h 74"/>
                    <a:gd name="T6" fmla="*/ 14 w 156"/>
                    <a:gd name="T7" fmla="*/ 40 h 74"/>
                    <a:gd name="T8" fmla="*/ 30 w 156"/>
                    <a:gd name="T9" fmla="*/ 38 h 74"/>
                    <a:gd name="T10" fmla="*/ 32 w 156"/>
                    <a:gd name="T11" fmla="*/ 34 h 74"/>
                    <a:gd name="T12" fmla="*/ 32 w 156"/>
                    <a:gd name="T13" fmla="*/ 30 h 74"/>
                    <a:gd name="T14" fmla="*/ 32 w 156"/>
                    <a:gd name="T15" fmla="*/ 26 h 74"/>
                    <a:gd name="T16" fmla="*/ 30 w 156"/>
                    <a:gd name="T17" fmla="*/ 26 h 74"/>
                    <a:gd name="T18" fmla="*/ 18 w 156"/>
                    <a:gd name="T19" fmla="*/ 26 h 74"/>
                    <a:gd name="T20" fmla="*/ 0 w 156"/>
                    <a:gd name="T21" fmla="*/ 26 h 74"/>
                    <a:gd name="T22" fmla="*/ 6 w 156"/>
                    <a:gd name="T23" fmla="*/ 26 h 74"/>
                    <a:gd name="T24" fmla="*/ 6 w 156"/>
                    <a:gd name="T25" fmla="*/ 22 h 74"/>
                    <a:gd name="T26" fmla="*/ 10 w 156"/>
                    <a:gd name="T27" fmla="*/ 22 h 74"/>
                    <a:gd name="T28" fmla="*/ 10 w 156"/>
                    <a:gd name="T29" fmla="*/ 18 h 74"/>
                    <a:gd name="T30" fmla="*/ 14 w 156"/>
                    <a:gd name="T31" fmla="*/ 14 h 74"/>
                    <a:gd name="T32" fmla="*/ 14 w 156"/>
                    <a:gd name="T33" fmla="*/ 10 h 74"/>
                    <a:gd name="T34" fmla="*/ 18 w 156"/>
                    <a:gd name="T35" fmla="*/ 10 h 74"/>
                    <a:gd name="T36" fmla="*/ 26 w 156"/>
                    <a:gd name="T37" fmla="*/ 18 h 74"/>
                    <a:gd name="T38" fmla="*/ 30 w 156"/>
                    <a:gd name="T39" fmla="*/ 10 h 74"/>
                    <a:gd name="T40" fmla="*/ 30 w 156"/>
                    <a:gd name="T41" fmla="*/ 8 h 74"/>
                    <a:gd name="T42" fmla="*/ 22 w 156"/>
                    <a:gd name="T43" fmla="*/ 4 h 74"/>
                    <a:gd name="T44" fmla="*/ 32 w 156"/>
                    <a:gd name="T45" fmla="*/ 4 h 74"/>
                    <a:gd name="T46" fmla="*/ 44 w 156"/>
                    <a:gd name="T47" fmla="*/ 14 h 74"/>
                    <a:gd name="T48" fmla="*/ 40 w 156"/>
                    <a:gd name="T49" fmla="*/ 22 h 74"/>
                    <a:gd name="T50" fmla="*/ 44 w 156"/>
                    <a:gd name="T51" fmla="*/ 26 h 74"/>
                    <a:gd name="T52" fmla="*/ 52 w 156"/>
                    <a:gd name="T53" fmla="*/ 22 h 74"/>
                    <a:gd name="T54" fmla="*/ 60 w 156"/>
                    <a:gd name="T55" fmla="*/ 14 h 74"/>
                    <a:gd name="T56" fmla="*/ 66 w 156"/>
                    <a:gd name="T57" fmla="*/ 18 h 74"/>
                    <a:gd name="T58" fmla="*/ 78 w 156"/>
                    <a:gd name="T59" fmla="*/ 10 h 74"/>
                    <a:gd name="T60" fmla="*/ 84 w 156"/>
                    <a:gd name="T61" fmla="*/ 14 h 74"/>
                    <a:gd name="T62" fmla="*/ 88 w 156"/>
                    <a:gd name="T63" fmla="*/ 18 h 74"/>
                    <a:gd name="T64" fmla="*/ 92 w 156"/>
                    <a:gd name="T65" fmla="*/ 10 h 74"/>
                    <a:gd name="T66" fmla="*/ 104 w 156"/>
                    <a:gd name="T67" fmla="*/ 8 h 74"/>
                    <a:gd name="T68" fmla="*/ 114 w 156"/>
                    <a:gd name="T69" fmla="*/ 8 h 74"/>
                    <a:gd name="T70" fmla="*/ 122 w 156"/>
                    <a:gd name="T71" fmla="*/ 0 h 74"/>
                    <a:gd name="T72" fmla="*/ 130 w 156"/>
                    <a:gd name="T73" fmla="*/ 8 h 74"/>
                    <a:gd name="T74" fmla="*/ 134 w 156"/>
                    <a:gd name="T75" fmla="*/ 10 h 74"/>
                    <a:gd name="T76" fmla="*/ 136 w 156"/>
                    <a:gd name="T77" fmla="*/ 14 h 74"/>
                    <a:gd name="T78" fmla="*/ 140 w 156"/>
                    <a:gd name="T79" fmla="*/ 22 h 74"/>
                    <a:gd name="T80" fmla="*/ 152 w 156"/>
                    <a:gd name="T81" fmla="*/ 30 h 74"/>
                    <a:gd name="T82" fmla="*/ 156 w 156"/>
                    <a:gd name="T83" fmla="*/ 34 h 74"/>
                    <a:gd name="T84" fmla="*/ 152 w 156"/>
                    <a:gd name="T85" fmla="*/ 40 h 74"/>
                    <a:gd name="T86" fmla="*/ 144 w 156"/>
                    <a:gd name="T87" fmla="*/ 44 h 74"/>
                    <a:gd name="T88" fmla="*/ 140 w 156"/>
                    <a:gd name="T89" fmla="*/ 52 h 74"/>
                    <a:gd name="T90" fmla="*/ 130 w 156"/>
                    <a:gd name="T91" fmla="*/ 56 h 74"/>
                    <a:gd name="T92" fmla="*/ 118 w 156"/>
                    <a:gd name="T93" fmla="*/ 60 h 74"/>
                    <a:gd name="T94" fmla="*/ 106 w 156"/>
                    <a:gd name="T95" fmla="*/ 64 h 74"/>
                    <a:gd name="T96" fmla="*/ 92 w 156"/>
                    <a:gd name="T97" fmla="*/ 68 h 74"/>
                    <a:gd name="T98" fmla="*/ 82 w 156"/>
                    <a:gd name="T99" fmla="*/ 74 h 74"/>
                    <a:gd name="T100" fmla="*/ 62 w 156"/>
                    <a:gd name="T101" fmla="*/ 70 h 74"/>
                    <a:gd name="T102" fmla="*/ 56 w 156"/>
                    <a:gd name="T103" fmla="*/ 68 h 74"/>
                    <a:gd name="T104" fmla="*/ 48 w 156"/>
                    <a:gd name="T105" fmla="*/ 68 h 74"/>
                    <a:gd name="T106" fmla="*/ 36 w 156"/>
                    <a:gd name="T107" fmla="*/ 64 h 74"/>
                    <a:gd name="T108" fmla="*/ 26 w 156"/>
                    <a:gd name="T109" fmla="*/ 68 h 74"/>
                    <a:gd name="T110" fmla="*/ 30 w 156"/>
                    <a:gd name="T111" fmla="*/ 60 h 74"/>
                    <a:gd name="T112" fmla="*/ 36 w 156"/>
                    <a:gd name="T113" fmla="*/ 56 h 74"/>
                    <a:gd name="T114" fmla="*/ 44 w 156"/>
                    <a:gd name="T115" fmla="*/ 52 h 74"/>
                    <a:gd name="T116" fmla="*/ 32 w 156"/>
                    <a:gd name="T117" fmla="*/ 52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56" h="74">
                      <a:moveTo>
                        <a:pt x="32" y="52"/>
                      </a:moveTo>
                      <a:lnTo>
                        <a:pt x="36" y="48"/>
                      </a:lnTo>
                      <a:lnTo>
                        <a:pt x="40" y="48"/>
                      </a:lnTo>
                      <a:lnTo>
                        <a:pt x="40" y="44"/>
                      </a:lnTo>
                      <a:lnTo>
                        <a:pt x="36" y="48"/>
                      </a:lnTo>
                      <a:lnTo>
                        <a:pt x="32" y="48"/>
                      </a:lnTo>
                      <a:lnTo>
                        <a:pt x="32" y="52"/>
                      </a:lnTo>
                      <a:lnTo>
                        <a:pt x="32" y="48"/>
                      </a:lnTo>
                      <a:lnTo>
                        <a:pt x="30" y="48"/>
                      </a:lnTo>
                      <a:lnTo>
                        <a:pt x="30" y="44"/>
                      </a:lnTo>
                      <a:lnTo>
                        <a:pt x="30" y="40"/>
                      </a:lnTo>
                      <a:lnTo>
                        <a:pt x="26" y="40"/>
                      </a:lnTo>
                      <a:lnTo>
                        <a:pt x="22" y="40"/>
                      </a:lnTo>
                      <a:lnTo>
                        <a:pt x="18" y="40"/>
                      </a:lnTo>
                      <a:lnTo>
                        <a:pt x="14" y="40"/>
                      </a:lnTo>
                      <a:lnTo>
                        <a:pt x="10" y="44"/>
                      </a:lnTo>
                      <a:lnTo>
                        <a:pt x="6" y="44"/>
                      </a:lnTo>
                      <a:lnTo>
                        <a:pt x="6" y="40"/>
                      </a:lnTo>
                      <a:lnTo>
                        <a:pt x="10" y="40"/>
                      </a:lnTo>
                      <a:lnTo>
                        <a:pt x="14" y="40"/>
                      </a:lnTo>
                      <a:lnTo>
                        <a:pt x="14" y="38"/>
                      </a:lnTo>
                      <a:lnTo>
                        <a:pt x="18" y="38"/>
                      </a:lnTo>
                      <a:lnTo>
                        <a:pt x="22" y="38"/>
                      </a:lnTo>
                      <a:lnTo>
                        <a:pt x="26" y="38"/>
                      </a:lnTo>
                      <a:lnTo>
                        <a:pt x="30" y="38"/>
                      </a:lnTo>
                      <a:lnTo>
                        <a:pt x="32" y="38"/>
                      </a:lnTo>
                      <a:lnTo>
                        <a:pt x="36" y="38"/>
                      </a:lnTo>
                      <a:lnTo>
                        <a:pt x="40" y="34"/>
                      </a:lnTo>
                      <a:lnTo>
                        <a:pt x="36" y="34"/>
                      </a:lnTo>
                      <a:lnTo>
                        <a:pt x="32" y="34"/>
                      </a:lnTo>
                      <a:lnTo>
                        <a:pt x="30" y="34"/>
                      </a:lnTo>
                      <a:lnTo>
                        <a:pt x="26" y="34"/>
                      </a:lnTo>
                      <a:lnTo>
                        <a:pt x="30" y="34"/>
                      </a:lnTo>
                      <a:lnTo>
                        <a:pt x="30" y="30"/>
                      </a:lnTo>
                      <a:lnTo>
                        <a:pt x="32" y="30"/>
                      </a:lnTo>
                      <a:lnTo>
                        <a:pt x="36" y="30"/>
                      </a:lnTo>
                      <a:lnTo>
                        <a:pt x="36" y="26"/>
                      </a:lnTo>
                      <a:lnTo>
                        <a:pt x="40" y="26"/>
                      </a:lnTo>
                      <a:lnTo>
                        <a:pt x="36" y="26"/>
                      </a:lnTo>
                      <a:lnTo>
                        <a:pt x="32" y="26"/>
                      </a:lnTo>
                      <a:lnTo>
                        <a:pt x="30" y="26"/>
                      </a:lnTo>
                      <a:lnTo>
                        <a:pt x="32" y="26"/>
                      </a:lnTo>
                      <a:lnTo>
                        <a:pt x="32" y="22"/>
                      </a:lnTo>
                      <a:lnTo>
                        <a:pt x="32" y="26"/>
                      </a:lnTo>
                      <a:lnTo>
                        <a:pt x="30" y="26"/>
                      </a:lnTo>
                      <a:lnTo>
                        <a:pt x="26" y="26"/>
                      </a:lnTo>
                      <a:lnTo>
                        <a:pt x="22" y="26"/>
                      </a:lnTo>
                      <a:lnTo>
                        <a:pt x="22" y="22"/>
                      </a:lnTo>
                      <a:lnTo>
                        <a:pt x="22" y="26"/>
                      </a:lnTo>
                      <a:lnTo>
                        <a:pt x="18" y="26"/>
                      </a:lnTo>
                      <a:lnTo>
                        <a:pt x="14" y="26"/>
                      </a:lnTo>
                      <a:lnTo>
                        <a:pt x="10" y="26"/>
                      </a:lnTo>
                      <a:lnTo>
                        <a:pt x="6" y="26"/>
                      </a:lnTo>
                      <a:lnTo>
                        <a:pt x="2" y="26"/>
                      </a:lnTo>
                      <a:lnTo>
                        <a:pt x="0" y="26"/>
                      </a:lnTo>
                      <a:lnTo>
                        <a:pt x="2" y="22"/>
                      </a:lnTo>
                      <a:lnTo>
                        <a:pt x="0" y="22"/>
                      </a:lnTo>
                      <a:lnTo>
                        <a:pt x="2" y="22"/>
                      </a:lnTo>
                      <a:lnTo>
                        <a:pt x="6" y="22"/>
                      </a:lnTo>
                      <a:lnTo>
                        <a:pt x="6" y="26"/>
                      </a:lnTo>
                      <a:lnTo>
                        <a:pt x="10" y="26"/>
                      </a:lnTo>
                      <a:lnTo>
                        <a:pt x="6" y="26"/>
                      </a:lnTo>
                      <a:lnTo>
                        <a:pt x="6" y="22"/>
                      </a:lnTo>
                      <a:lnTo>
                        <a:pt x="10" y="22"/>
                      </a:lnTo>
                      <a:lnTo>
                        <a:pt x="6" y="22"/>
                      </a:lnTo>
                      <a:lnTo>
                        <a:pt x="6" y="18"/>
                      </a:lnTo>
                      <a:lnTo>
                        <a:pt x="2" y="18"/>
                      </a:lnTo>
                      <a:lnTo>
                        <a:pt x="6" y="18"/>
                      </a:lnTo>
                      <a:lnTo>
                        <a:pt x="10" y="18"/>
                      </a:lnTo>
                      <a:lnTo>
                        <a:pt x="10" y="22"/>
                      </a:lnTo>
                      <a:lnTo>
                        <a:pt x="14" y="22"/>
                      </a:lnTo>
                      <a:lnTo>
                        <a:pt x="14" y="18"/>
                      </a:lnTo>
                      <a:lnTo>
                        <a:pt x="18" y="18"/>
                      </a:lnTo>
                      <a:lnTo>
                        <a:pt x="14" y="18"/>
                      </a:lnTo>
                      <a:lnTo>
                        <a:pt x="10" y="18"/>
                      </a:lnTo>
                      <a:lnTo>
                        <a:pt x="6" y="14"/>
                      </a:lnTo>
                      <a:lnTo>
                        <a:pt x="10" y="14"/>
                      </a:lnTo>
                      <a:lnTo>
                        <a:pt x="14" y="14"/>
                      </a:lnTo>
                      <a:lnTo>
                        <a:pt x="18" y="18"/>
                      </a:lnTo>
                      <a:lnTo>
                        <a:pt x="14" y="14"/>
                      </a:lnTo>
                      <a:lnTo>
                        <a:pt x="10" y="14"/>
                      </a:lnTo>
                      <a:lnTo>
                        <a:pt x="10" y="10"/>
                      </a:lnTo>
                      <a:lnTo>
                        <a:pt x="14" y="10"/>
                      </a:lnTo>
                      <a:lnTo>
                        <a:pt x="14" y="14"/>
                      </a:lnTo>
                      <a:lnTo>
                        <a:pt x="14" y="10"/>
                      </a:lnTo>
                      <a:lnTo>
                        <a:pt x="10" y="10"/>
                      </a:lnTo>
                      <a:lnTo>
                        <a:pt x="14" y="10"/>
                      </a:lnTo>
                      <a:lnTo>
                        <a:pt x="14" y="8"/>
                      </a:lnTo>
                      <a:lnTo>
                        <a:pt x="18" y="8"/>
                      </a:lnTo>
                      <a:lnTo>
                        <a:pt x="18" y="10"/>
                      </a:lnTo>
                      <a:lnTo>
                        <a:pt x="22" y="10"/>
                      </a:lnTo>
                      <a:lnTo>
                        <a:pt x="22" y="14"/>
                      </a:lnTo>
                      <a:lnTo>
                        <a:pt x="26" y="10"/>
                      </a:lnTo>
                      <a:lnTo>
                        <a:pt x="26" y="14"/>
                      </a:lnTo>
                      <a:lnTo>
                        <a:pt x="26" y="18"/>
                      </a:lnTo>
                      <a:lnTo>
                        <a:pt x="26" y="14"/>
                      </a:lnTo>
                      <a:lnTo>
                        <a:pt x="30" y="14"/>
                      </a:lnTo>
                      <a:lnTo>
                        <a:pt x="30" y="18"/>
                      </a:lnTo>
                      <a:lnTo>
                        <a:pt x="30" y="14"/>
                      </a:lnTo>
                      <a:lnTo>
                        <a:pt x="30" y="10"/>
                      </a:lnTo>
                      <a:lnTo>
                        <a:pt x="26" y="10"/>
                      </a:lnTo>
                      <a:lnTo>
                        <a:pt x="22" y="10"/>
                      </a:lnTo>
                      <a:lnTo>
                        <a:pt x="22" y="8"/>
                      </a:lnTo>
                      <a:lnTo>
                        <a:pt x="26" y="8"/>
                      </a:lnTo>
                      <a:lnTo>
                        <a:pt x="30" y="8"/>
                      </a:lnTo>
                      <a:lnTo>
                        <a:pt x="26" y="8"/>
                      </a:lnTo>
                      <a:lnTo>
                        <a:pt x="22" y="8"/>
                      </a:lnTo>
                      <a:lnTo>
                        <a:pt x="18" y="8"/>
                      </a:lnTo>
                      <a:lnTo>
                        <a:pt x="18" y="4"/>
                      </a:lnTo>
                      <a:lnTo>
                        <a:pt x="22" y="4"/>
                      </a:lnTo>
                      <a:lnTo>
                        <a:pt x="18" y="4"/>
                      </a:lnTo>
                      <a:lnTo>
                        <a:pt x="22" y="4"/>
                      </a:lnTo>
                      <a:lnTo>
                        <a:pt x="26" y="4"/>
                      </a:lnTo>
                      <a:lnTo>
                        <a:pt x="30" y="4"/>
                      </a:lnTo>
                      <a:lnTo>
                        <a:pt x="32" y="4"/>
                      </a:lnTo>
                      <a:lnTo>
                        <a:pt x="32" y="8"/>
                      </a:lnTo>
                      <a:lnTo>
                        <a:pt x="36" y="8"/>
                      </a:lnTo>
                      <a:lnTo>
                        <a:pt x="40" y="10"/>
                      </a:lnTo>
                      <a:lnTo>
                        <a:pt x="44" y="10"/>
                      </a:lnTo>
                      <a:lnTo>
                        <a:pt x="44" y="14"/>
                      </a:lnTo>
                      <a:lnTo>
                        <a:pt x="40" y="14"/>
                      </a:lnTo>
                      <a:lnTo>
                        <a:pt x="44" y="14"/>
                      </a:lnTo>
                      <a:lnTo>
                        <a:pt x="44" y="18"/>
                      </a:lnTo>
                      <a:lnTo>
                        <a:pt x="44" y="22"/>
                      </a:lnTo>
                      <a:lnTo>
                        <a:pt x="40" y="22"/>
                      </a:lnTo>
                      <a:lnTo>
                        <a:pt x="40" y="18"/>
                      </a:lnTo>
                      <a:lnTo>
                        <a:pt x="36" y="18"/>
                      </a:lnTo>
                      <a:lnTo>
                        <a:pt x="40" y="22"/>
                      </a:lnTo>
                      <a:lnTo>
                        <a:pt x="44" y="22"/>
                      </a:lnTo>
                      <a:lnTo>
                        <a:pt x="44" y="26"/>
                      </a:lnTo>
                      <a:lnTo>
                        <a:pt x="48" y="26"/>
                      </a:lnTo>
                      <a:lnTo>
                        <a:pt x="48" y="30"/>
                      </a:lnTo>
                      <a:lnTo>
                        <a:pt x="48" y="34"/>
                      </a:lnTo>
                      <a:lnTo>
                        <a:pt x="48" y="26"/>
                      </a:lnTo>
                      <a:lnTo>
                        <a:pt x="52" y="22"/>
                      </a:lnTo>
                      <a:lnTo>
                        <a:pt x="56" y="22"/>
                      </a:lnTo>
                      <a:lnTo>
                        <a:pt x="56" y="26"/>
                      </a:lnTo>
                      <a:lnTo>
                        <a:pt x="60" y="22"/>
                      </a:lnTo>
                      <a:lnTo>
                        <a:pt x="60" y="18"/>
                      </a:lnTo>
                      <a:lnTo>
                        <a:pt x="60" y="14"/>
                      </a:lnTo>
                      <a:lnTo>
                        <a:pt x="60" y="10"/>
                      </a:lnTo>
                      <a:lnTo>
                        <a:pt x="62" y="10"/>
                      </a:lnTo>
                      <a:lnTo>
                        <a:pt x="62" y="14"/>
                      </a:lnTo>
                      <a:lnTo>
                        <a:pt x="66" y="14"/>
                      </a:lnTo>
                      <a:lnTo>
                        <a:pt x="66" y="18"/>
                      </a:lnTo>
                      <a:lnTo>
                        <a:pt x="70" y="18"/>
                      </a:lnTo>
                      <a:lnTo>
                        <a:pt x="70" y="14"/>
                      </a:lnTo>
                      <a:lnTo>
                        <a:pt x="70" y="10"/>
                      </a:lnTo>
                      <a:lnTo>
                        <a:pt x="74" y="10"/>
                      </a:lnTo>
                      <a:lnTo>
                        <a:pt x="78" y="10"/>
                      </a:lnTo>
                      <a:lnTo>
                        <a:pt x="78" y="8"/>
                      </a:lnTo>
                      <a:lnTo>
                        <a:pt x="82" y="8"/>
                      </a:lnTo>
                      <a:lnTo>
                        <a:pt x="82" y="10"/>
                      </a:lnTo>
                      <a:lnTo>
                        <a:pt x="84" y="10"/>
                      </a:lnTo>
                      <a:lnTo>
                        <a:pt x="84" y="14"/>
                      </a:lnTo>
                      <a:lnTo>
                        <a:pt x="88" y="14"/>
                      </a:lnTo>
                      <a:lnTo>
                        <a:pt x="88" y="18"/>
                      </a:lnTo>
                      <a:lnTo>
                        <a:pt x="88" y="22"/>
                      </a:lnTo>
                      <a:lnTo>
                        <a:pt x="92" y="22"/>
                      </a:lnTo>
                      <a:lnTo>
                        <a:pt x="88" y="18"/>
                      </a:lnTo>
                      <a:lnTo>
                        <a:pt x="88" y="14"/>
                      </a:lnTo>
                      <a:lnTo>
                        <a:pt x="84" y="10"/>
                      </a:lnTo>
                      <a:lnTo>
                        <a:pt x="88" y="8"/>
                      </a:lnTo>
                      <a:lnTo>
                        <a:pt x="88" y="10"/>
                      </a:lnTo>
                      <a:lnTo>
                        <a:pt x="92" y="10"/>
                      </a:lnTo>
                      <a:lnTo>
                        <a:pt x="96" y="10"/>
                      </a:lnTo>
                      <a:lnTo>
                        <a:pt x="96" y="14"/>
                      </a:lnTo>
                      <a:lnTo>
                        <a:pt x="100" y="14"/>
                      </a:lnTo>
                      <a:lnTo>
                        <a:pt x="100" y="10"/>
                      </a:lnTo>
                      <a:lnTo>
                        <a:pt x="104" y="8"/>
                      </a:lnTo>
                      <a:lnTo>
                        <a:pt x="106" y="8"/>
                      </a:lnTo>
                      <a:lnTo>
                        <a:pt x="106" y="10"/>
                      </a:lnTo>
                      <a:lnTo>
                        <a:pt x="110" y="10"/>
                      </a:lnTo>
                      <a:lnTo>
                        <a:pt x="110" y="8"/>
                      </a:lnTo>
                      <a:lnTo>
                        <a:pt x="114" y="8"/>
                      </a:lnTo>
                      <a:lnTo>
                        <a:pt x="110" y="4"/>
                      </a:lnTo>
                      <a:lnTo>
                        <a:pt x="110" y="0"/>
                      </a:lnTo>
                      <a:lnTo>
                        <a:pt x="114" y="0"/>
                      </a:lnTo>
                      <a:lnTo>
                        <a:pt x="118" y="0"/>
                      </a:lnTo>
                      <a:lnTo>
                        <a:pt x="122" y="0"/>
                      </a:lnTo>
                      <a:lnTo>
                        <a:pt x="122" y="4"/>
                      </a:lnTo>
                      <a:lnTo>
                        <a:pt x="122" y="8"/>
                      </a:lnTo>
                      <a:lnTo>
                        <a:pt x="126" y="8"/>
                      </a:lnTo>
                      <a:lnTo>
                        <a:pt x="130" y="10"/>
                      </a:lnTo>
                      <a:lnTo>
                        <a:pt x="130" y="8"/>
                      </a:lnTo>
                      <a:lnTo>
                        <a:pt x="134" y="8"/>
                      </a:lnTo>
                      <a:lnTo>
                        <a:pt x="134" y="4"/>
                      </a:lnTo>
                      <a:lnTo>
                        <a:pt x="136" y="4"/>
                      </a:lnTo>
                      <a:lnTo>
                        <a:pt x="134" y="8"/>
                      </a:lnTo>
                      <a:lnTo>
                        <a:pt x="134" y="10"/>
                      </a:lnTo>
                      <a:lnTo>
                        <a:pt x="130" y="10"/>
                      </a:lnTo>
                      <a:lnTo>
                        <a:pt x="134" y="10"/>
                      </a:lnTo>
                      <a:lnTo>
                        <a:pt x="136" y="10"/>
                      </a:lnTo>
                      <a:lnTo>
                        <a:pt x="140" y="14"/>
                      </a:lnTo>
                      <a:lnTo>
                        <a:pt x="136" y="14"/>
                      </a:lnTo>
                      <a:lnTo>
                        <a:pt x="136" y="18"/>
                      </a:lnTo>
                      <a:lnTo>
                        <a:pt x="140" y="18"/>
                      </a:lnTo>
                      <a:lnTo>
                        <a:pt x="144" y="18"/>
                      </a:lnTo>
                      <a:lnTo>
                        <a:pt x="144" y="22"/>
                      </a:lnTo>
                      <a:lnTo>
                        <a:pt x="140" y="22"/>
                      </a:lnTo>
                      <a:lnTo>
                        <a:pt x="140" y="26"/>
                      </a:lnTo>
                      <a:lnTo>
                        <a:pt x="144" y="22"/>
                      </a:lnTo>
                      <a:lnTo>
                        <a:pt x="148" y="22"/>
                      </a:lnTo>
                      <a:lnTo>
                        <a:pt x="152" y="26"/>
                      </a:lnTo>
                      <a:lnTo>
                        <a:pt x="152" y="30"/>
                      </a:lnTo>
                      <a:lnTo>
                        <a:pt x="156" y="30"/>
                      </a:lnTo>
                      <a:lnTo>
                        <a:pt x="152" y="34"/>
                      </a:lnTo>
                      <a:lnTo>
                        <a:pt x="148" y="34"/>
                      </a:lnTo>
                      <a:lnTo>
                        <a:pt x="152" y="34"/>
                      </a:lnTo>
                      <a:lnTo>
                        <a:pt x="156" y="34"/>
                      </a:lnTo>
                      <a:lnTo>
                        <a:pt x="156" y="38"/>
                      </a:lnTo>
                      <a:lnTo>
                        <a:pt x="152" y="38"/>
                      </a:lnTo>
                      <a:lnTo>
                        <a:pt x="148" y="38"/>
                      </a:lnTo>
                      <a:lnTo>
                        <a:pt x="152" y="38"/>
                      </a:lnTo>
                      <a:lnTo>
                        <a:pt x="152" y="40"/>
                      </a:lnTo>
                      <a:lnTo>
                        <a:pt x="148" y="40"/>
                      </a:lnTo>
                      <a:lnTo>
                        <a:pt x="152" y="40"/>
                      </a:lnTo>
                      <a:lnTo>
                        <a:pt x="148" y="40"/>
                      </a:lnTo>
                      <a:lnTo>
                        <a:pt x="148" y="44"/>
                      </a:lnTo>
                      <a:lnTo>
                        <a:pt x="144" y="44"/>
                      </a:lnTo>
                      <a:lnTo>
                        <a:pt x="140" y="44"/>
                      </a:lnTo>
                      <a:lnTo>
                        <a:pt x="140" y="40"/>
                      </a:lnTo>
                      <a:lnTo>
                        <a:pt x="140" y="44"/>
                      </a:lnTo>
                      <a:lnTo>
                        <a:pt x="140" y="48"/>
                      </a:lnTo>
                      <a:lnTo>
                        <a:pt x="140" y="52"/>
                      </a:lnTo>
                      <a:lnTo>
                        <a:pt x="136" y="52"/>
                      </a:lnTo>
                      <a:lnTo>
                        <a:pt x="134" y="56"/>
                      </a:lnTo>
                      <a:lnTo>
                        <a:pt x="136" y="56"/>
                      </a:lnTo>
                      <a:lnTo>
                        <a:pt x="134" y="56"/>
                      </a:lnTo>
                      <a:lnTo>
                        <a:pt x="130" y="56"/>
                      </a:lnTo>
                      <a:lnTo>
                        <a:pt x="130" y="52"/>
                      </a:lnTo>
                      <a:lnTo>
                        <a:pt x="130" y="56"/>
                      </a:lnTo>
                      <a:lnTo>
                        <a:pt x="126" y="56"/>
                      </a:lnTo>
                      <a:lnTo>
                        <a:pt x="122" y="56"/>
                      </a:lnTo>
                      <a:lnTo>
                        <a:pt x="118" y="60"/>
                      </a:lnTo>
                      <a:lnTo>
                        <a:pt x="114" y="60"/>
                      </a:lnTo>
                      <a:lnTo>
                        <a:pt x="114" y="64"/>
                      </a:lnTo>
                      <a:lnTo>
                        <a:pt x="110" y="64"/>
                      </a:lnTo>
                      <a:lnTo>
                        <a:pt x="106" y="68"/>
                      </a:lnTo>
                      <a:lnTo>
                        <a:pt x="106" y="64"/>
                      </a:lnTo>
                      <a:lnTo>
                        <a:pt x="104" y="64"/>
                      </a:lnTo>
                      <a:lnTo>
                        <a:pt x="104" y="68"/>
                      </a:lnTo>
                      <a:lnTo>
                        <a:pt x="100" y="68"/>
                      </a:lnTo>
                      <a:lnTo>
                        <a:pt x="96" y="68"/>
                      </a:lnTo>
                      <a:lnTo>
                        <a:pt x="92" y="68"/>
                      </a:lnTo>
                      <a:lnTo>
                        <a:pt x="92" y="70"/>
                      </a:lnTo>
                      <a:lnTo>
                        <a:pt x="92" y="74"/>
                      </a:lnTo>
                      <a:lnTo>
                        <a:pt x="88" y="74"/>
                      </a:lnTo>
                      <a:lnTo>
                        <a:pt x="84" y="74"/>
                      </a:lnTo>
                      <a:lnTo>
                        <a:pt x="82" y="74"/>
                      </a:lnTo>
                      <a:lnTo>
                        <a:pt x="78" y="74"/>
                      </a:lnTo>
                      <a:lnTo>
                        <a:pt x="74" y="74"/>
                      </a:lnTo>
                      <a:lnTo>
                        <a:pt x="70" y="74"/>
                      </a:lnTo>
                      <a:lnTo>
                        <a:pt x="66" y="70"/>
                      </a:lnTo>
                      <a:lnTo>
                        <a:pt x="62" y="70"/>
                      </a:lnTo>
                      <a:lnTo>
                        <a:pt x="60" y="70"/>
                      </a:lnTo>
                      <a:lnTo>
                        <a:pt x="56" y="70"/>
                      </a:lnTo>
                      <a:lnTo>
                        <a:pt x="56" y="68"/>
                      </a:lnTo>
                      <a:lnTo>
                        <a:pt x="60" y="68"/>
                      </a:lnTo>
                      <a:lnTo>
                        <a:pt x="56" y="68"/>
                      </a:lnTo>
                      <a:lnTo>
                        <a:pt x="52" y="68"/>
                      </a:lnTo>
                      <a:lnTo>
                        <a:pt x="56" y="68"/>
                      </a:lnTo>
                      <a:lnTo>
                        <a:pt x="56" y="64"/>
                      </a:lnTo>
                      <a:lnTo>
                        <a:pt x="52" y="68"/>
                      </a:lnTo>
                      <a:lnTo>
                        <a:pt x="48" y="68"/>
                      </a:lnTo>
                      <a:lnTo>
                        <a:pt x="48" y="64"/>
                      </a:lnTo>
                      <a:lnTo>
                        <a:pt x="44" y="64"/>
                      </a:lnTo>
                      <a:lnTo>
                        <a:pt x="40" y="68"/>
                      </a:lnTo>
                      <a:lnTo>
                        <a:pt x="40" y="64"/>
                      </a:lnTo>
                      <a:lnTo>
                        <a:pt x="36" y="64"/>
                      </a:lnTo>
                      <a:lnTo>
                        <a:pt x="36" y="68"/>
                      </a:lnTo>
                      <a:lnTo>
                        <a:pt x="32" y="68"/>
                      </a:lnTo>
                      <a:lnTo>
                        <a:pt x="32" y="64"/>
                      </a:lnTo>
                      <a:lnTo>
                        <a:pt x="30" y="64"/>
                      </a:lnTo>
                      <a:lnTo>
                        <a:pt x="26" y="68"/>
                      </a:lnTo>
                      <a:lnTo>
                        <a:pt x="26" y="64"/>
                      </a:lnTo>
                      <a:lnTo>
                        <a:pt x="26" y="60"/>
                      </a:lnTo>
                      <a:lnTo>
                        <a:pt x="26" y="64"/>
                      </a:lnTo>
                      <a:lnTo>
                        <a:pt x="30" y="64"/>
                      </a:lnTo>
                      <a:lnTo>
                        <a:pt x="30" y="60"/>
                      </a:lnTo>
                      <a:lnTo>
                        <a:pt x="32" y="60"/>
                      </a:lnTo>
                      <a:lnTo>
                        <a:pt x="36" y="60"/>
                      </a:lnTo>
                      <a:lnTo>
                        <a:pt x="36" y="56"/>
                      </a:lnTo>
                      <a:lnTo>
                        <a:pt x="36" y="60"/>
                      </a:lnTo>
                      <a:lnTo>
                        <a:pt x="36" y="56"/>
                      </a:lnTo>
                      <a:lnTo>
                        <a:pt x="40" y="56"/>
                      </a:lnTo>
                      <a:lnTo>
                        <a:pt x="36" y="56"/>
                      </a:lnTo>
                      <a:lnTo>
                        <a:pt x="36" y="52"/>
                      </a:lnTo>
                      <a:lnTo>
                        <a:pt x="40" y="52"/>
                      </a:lnTo>
                      <a:lnTo>
                        <a:pt x="44" y="52"/>
                      </a:lnTo>
                      <a:lnTo>
                        <a:pt x="40" y="52"/>
                      </a:lnTo>
                      <a:lnTo>
                        <a:pt x="36" y="52"/>
                      </a:lnTo>
                      <a:lnTo>
                        <a:pt x="36" y="56"/>
                      </a:lnTo>
                      <a:lnTo>
                        <a:pt x="32" y="56"/>
                      </a:lnTo>
                      <a:lnTo>
                        <a:pt x="32" y="52"/>
                      </a:lnTo>
                      <a:lnTo>
                        <a:pt x="32" y="52"/>
                      </a:lnTo>
                      <a:lnTo>
                        <a:pt x="32" y="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63" name="Freeform 106"/>
                <p:cNvSpPr>
                  <a:spLocks noEditPoints="1"/>
                </p:cNvSpPr>
                <p:nvPr/>
              </p:nvSpPr>
              <p:spPr bwMode="auto">
                <a:xfrm>
                  <a:off x="4156075" y="2927418"/>
                  <a:ext cx="101600" cy="136525"/>
                </a:xfrm>
                <a:custGeom>
                  <a:avLst/>
                  <a:gdLst>
                    <a:gd name="T0" fmla="*/ 20 w 64"/>
                    <a:gd name="T1" fmla="*/ 46 h 86"/>
                    <a:gd name="T2" fmla="*/ 16 w 64"/>
                    <a:gd name="T3" fmla="*/ 46 h 86"/>
                    <a:gd name="T4" fmla="*/ 12 w 64"/>
                    <a:gd name="T5" fmla="*/ 46 h 86"/>
                    <a:gd name="T6" fmla="*/ 12 w 64"/>
                    <a:gd name="T7" fmla="*/ 42 h 86"/>
                    <a:gd name="T8" fmla="*/ 8 w 64"/>
                    <a:gd name="T9" fmla="*/ 38 h 86"/>
                    <a:gd name="T10" fmla="*/ 8 w 64"/>
                    <a:gd name="T11" fmla="*/ 34 h 86"/>
                    <a:gd name="T12" fmla="*/ 12 w 64"/>
                    <a:gd name="T13" fmla="*/ 34 h 86"/>
                    <a:gd name="T14" fmla="*/ 12 w 64"/>
                    <a:gd name="T15" fmla="*/ 30 h 86"/>
                    <a:gd name="T16" fmla="*/ 8 w 64"/>
                    <a:gd name="T17" fmla="*/ 30 h 86"/>
                    <a:gd name="T18" fmla="*/ 8 w 64"/>
                    <a:gd name="T19" fmla="*/ 26 h 86"/>
                    <a:gd name="T20" fmla="*/ 12 w 64"/>
                    <a:gd name="T21" fmla="*/ 26 h 86"/>
                    <a:gd name="T22" fmla="*/ 20 w 64"/>
                    <a:gd name="T23" fmla="*/ 24 h 86"/>
                    <a:gd name="T24" fmla="*/ 26 w 64"/>
                    <a:gd name="T25" fmla="*/ 26 h 86"/>
                    <a:gd name="T26" fmla="*/ 30 w 64"/>
                    <a:gd name="T27" fmla="*/ 20 h 86"/>
                    <a:gd name="T28" fmla="*/ 30 w 64"/>
                    <a:gd name="T29" fmla="*/ 16 h 86"/>
                    <a:gd name="T30" fmla="*/ 30 w 64"/>
                    <a:gd name="T31" fmla="*/ 12 h 86"/>
                    <a:gd name="T32" fmla="*/ 38 w 64"/>
                    <a:gd name="T33" fmla="*/ 4 h 86"/>
                    <a:gd name="T34" fmla="*/ 42 w 64"/>
                    <a:gd name="T35" fmla="*/ 4 h 86"/>
                    <a:gd name="T36" fmla="*/ 42 w 64"/>
                    <a:gd name="T37" fmla="*/ 8 h 86"/>
                    <a:gd name="T38" fmla="*/ 46 w 64"/>
                    <a:gd name="T39" fmla="*/ 8 h 86"/>
                    <a:gd name="T40" fmla="*/ 46 w 64"/>
                    <a:gd name="T41" fmla="*/ 4 h 86"/>
                    <a:gd name="T42" fmla="*/ 50 w 64"/>
                    <a:gd name="T43" fmla="*/ 4 h 86"/>
                    <a:gd name="T44" fmla="*/ 50 w 64"/>
                    <a:gd name="T45" fmla="*/ 8 h 86"/>
                    <a:gd name="T46" fmla="*/ 42 w 64"/>
                    <a:gd name="T47" fmla="*/ 16 h 86"/>
                    <a:gd name="T48" fmla="*/ 38 w 64"/>
                    <a:gd name="T49" fmla="*/ 20 h 86"/>
                    <a:gd name="T50" fmla="*/ 38 w 64"/>
                    <a:gd name="T51" fmla="*/ 24 h 86"/>
                    <a:gd name="T52" fmla="*/ 46 w 64"/>
                    <a:gd name="T53" fmla="*/ 26 h 86"/>
                    <a:gd name="T54" fmla="*/ 54 w 64"/>
                    <a:gd name="T55" fmla="*/ 24 h 86"/>
                    <a:gd name="T56" fmla="*/ 60 w 64"/>
                    <a:gd name="T57" fmla="*/ 30 h 86"/>
                    <a:gd name="T58" fmla="*/ 64 w 64"/>
                    <a:gd name="T59" fmla="*/ 30 h 86"/>
                    <a:gd name="T60" fmla="*/ 60 w 64"/>
                    <a:gd name="T61" fmla="*/ 38 h 86"/>
                    <a:gd name="T62" fmla="*/ 64 w 64"/>
                    <a:gd name="T63" fmla="*/ 46 h 86"/>
                    <a:gd name="T64" fmla="*/ 64 w 64"/>
                    <a:gd name="T65" fmla="*/ 50 h 86"/>
                    <a:gd name="T66" fmla="*/ 60 w 64"/>
                    <a:gd name="T67" fmla="*/ 60 h 86"/>
                    <a:gd name="T68" fmla="*/ 60 w 64"/>
                    <a:gd name="T69" fmla="*/ 68 h 86"/>
                    <a:gd name="T70" fmla="*/ 54 w 64"/>
                    <a:gd name="T71" fmla="*/ 72 h 86"/>
                    <a:gd name="T72" fmla="*/ 54 w 64"/>
                    <a:gd name="T73" fmla="*/ 68 h 86"/>
                    <a:gd name="T74" fmla="*/ 46 w 64"/>
                    <a:gd name="T75" fmla="*/ 72 h 86"/>
                    <a:gd name="T76" fmla="*/ 38 w 64"/>
                    <a:gd name="T77" fmla="*/ 76 h 86"/>
                    <a:gd name="T78" fmla="*/ 30 w 64"/>
                    <a:gd name="T79" fmla="*/ 76 h 86"/>
                    <a:gd name="T80" fmla="*/ 30 w 64"/>
                    <a:gd name="T81" fmla="*/ 82 h 86"/>
                    <a:gd name="T82" fmla="*/ 20 w 64"/>
                    <a:gd name="T83" fmla="*/ 82 h 86"/>
                    <a:gd name="T84" fmla="*/ 12 w 64"/>
                    <a:gd name="T85" fmla="*/ 86 h 86"/>
                    <a:gd name="T86" fmla="*/ 12 w 64"/>
                    <a:gd name="T87" fmla="*/ 82 h 86"/>
                    <a:gd name="T88" fmla="*/ 8 w 64"/>
                    <a:gd name="T89" fmla="*/ 82 h 86"/>
                    <a:gd name="T90" fmla="*/ 16 w 64"/>
                    <a:gd name="T91" fmla="*/ 76 h 86"/>
                    <a:gd name="T92" fmla="*/ 4 w 64"/>
                    <a:gd name="T93" fmla="*/ 78 h 86"/>
                    <a:gd name="T94" fmla="*/ 4 w 64"/>
                    <a:gd name="T95" fmla="*/ 76 h 86"/>
                    <a:gd name="T96" fmla="*/ 8 w 64"/>
                    <a:gd name="T97" fmla="*/ 72 h 86"/>
                    <a:gd name="T98" fmla="*/ 0 w 64"/>
                    <a:gd name="T99" fmla="*/ 68 h 86"/>
                    <a:gd name="T100" fmla="*/ 12 w 64"/>
                    <a:gd name="T101" fmla="*/ 68 h 86"/>
                    <a:gd name="T102" fmla="*/ 16 w 64"/>
                    <a:gd name="T103" fmla="*/ 60 h 86"/>
                    <a:gd name="T104" fmla="*/ 26 w 64"/>
                    <a:gd name="T105" fmla="*/ 60 h 86"/>
                    <a:gd name="T106" fmla="*/ 24 w 64"/>
                    <a:gd name="T107" fmla="*/ 60 h 86"/>
                    <a:gd name="T108" fmla="*/ 12 w 64"/>
                    <a:gd name="T109" fmla="*/ 60 h 86"/>
                    <a:gd name="T110" fmla="*/ 16 w 64"/>
                    <a:gd name="T111" fmla="*/ 56 h 86"/>
                    <a:gd name="T112" fmla="*/ 24 w 64"/>
                    <a:gd name="T113" fmla="*/ 50 h 86"/>
                    <a:gd name="T114" fmla="*/ 8 w 64"/>
                    <a:gd name="T115" fmla="*/ 30 h 86"/>
                    <a:gd name="T116" fmla="*/ 4 w 64"/>
                    <a:gd name="T117" fmla="*/ 30 h 86"/>
                    <a:gd name="T118" fmla="*/ 8 w 64"/>
                    <a:gd name="T119" fmla="*/ 30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64" h="86">
                      <a:moveTo>
                        <a:pt x="24" y="50"/>
                      </a:moveTo>
                      <a:lnTo>
                        <a:pt x="24" y="46"/>
                      </a:lnTo>
                      <a:lnTo>
                        <a:pt x="20" y="46"/>
                      </a:lnTo>
                      <a:lnTo>
                        <a:pt x="16" y="46"/>
                      </a:lnTo>
                      <a:lnTo>
                        <a:pt x="16" y="50"/>
                      </a:lnTo>
                      <a:lnTo>
                        <a:pt x="16" y="46"/>
                      </a:lnTo>
                      <a:lnTo>
                        <a:pt x="12" y="46"/>
                      </a:lnTo>
                      <a:lnTo>
                        <a:pt x="16" y="46"/>
                      </a:lnTo>
                      <a:lnTo>
                        <a:pt x="12" y="46"/>
                      </a:lnTo>
                      <a:lnTo>
                        <a:pt x="8" y="46"/>
                      </a:lnTo>
                      <a:lnTo>
                        <a:pt x="12" y="46"/>
                      </a:lnTo>
                      <a:lnTo>
                        <a:pt x="12" y="42"/>
                      </a:lnTo>
                      <a:lnTo>
                        <a:pt x="8" y="46"/>
                      </a:lnTo>
                      <a:lnTo>
                        <a:pt x="4" y="42"/>
                      </a:lnTo>
                      <a:lnTo>
                        <a:pt x="8" y="38"/>
                      </a:lnTo>
                      <a:lnTo>
                        <a:pt x="12" y="38"/>
                      </a:lnTo>
                      <a:lnTo>
                        <a:pt x="8" y="38"/>
                      </a:lnTo>
                      <a:lnTo>
                        <a:pt x="8" y="34"/>
                      </a:lnTo>
                      <a:lnTo>
                        <a:pt x="12" y="34"/>
                      </a:lnTo>
                      <a:lnTo>
                        <a:pt x="16" y="34"/>
                      </a:lnTo>
                      <a:lnTo>
                        <a:pt x="12" y="34"/>
                      </a:lnTo>
                      <a:lnTo>
                        <a:pt x="8" y="34"/>
                      </a:lnTo>
                      <a:lnTo>
                        <a:pt x="8" y="30"/>
                      </a:lnTo>
                      <a:lnTo>
                        <a:pt x="12" y="30"/>
                      </a:lnTo>
                      <a:lnTo>
                        <a:pt x="12" y="34"/>
                      </a:lnTo>
                      <a:lnTo>
                        <a:pt x="12" y="30"/>
                      </a:lnTo>
                      <a:lnTo>
                        <a:pt x="8" y="30"/>
                      </a:lnTo>
                      <a:lnTo>
                        <a:pt x="8" y="26"/>
                      </a:lnTo>
                      <a:lnTo>
                        <a:pt x="8" y="30"/>
                      </a:lnTo>
                      <a:lnTo>
                        <a:pt x="8" y="26"/>
                      </a:lnTo>
                      <a:lnTo>
                        <a:pt x="8" y="24"/>
                      </a:lnTo>
                      <a:lnTo>
                        <a:pt x="8" y="26"/>
                      </a:lnTo>
                      <a:lnTo>
                        <a:pt x="12" y="26"/>
                      </a:lnTo>
                      <a:lnTo>
                        <a:pt x="12" y="24"/>
                      </a:lnTo>
                      <a:lnTo>
                        <a:pt x="16" y="24"/>
                      </a:lnTo>
                      <a:lnTo>
                        <a:pt x="20" y="24"/>
                      </a:lnTo>
                      <a:lnTo>
                        <a:pt x="20" y="26"/>
                      </a:lnTo>
                      <a:lnTo>
                        <a:pt x="24" y="24"/>
                      </a:lnTo>
                      <a:lnTo>
                        <a:pt x="26" y="26"/>
                      </a:lnTo>
                      <a:lnTo>
                        <a:pt x="30" y="24"/>
                      </a:lnTo>
                      <a:lnTo>
                        <a:pt x="26" y="24"/>
                      </a:lnTo>
                      <a:lnTo>
                        <a:pt x="30" y="20"/>
                      </a:lnTo>
                      <a:lnTo>
                        <a:pt x="34" y="20"/>
                      </a:lnTo>
                      <a:lnTo>
                        <a:pt x="34" y="16"/>
                      </a:lnTo>
                      <a:lnTo>
                        <a:pt x="30" y="16"/>
                      </a:lnTo>
                      <a:lnTo>
                        <a:pt x="26" y="20"/>
                      </a:lnTo>
                      <a:lnTo>
                        <a:pt x="26" y="16"/>
                      </a:lnTo>
                      <a:lnTo>
                        <a:pt x="30" y="12"/>
                      </a:lnTo>
                      <a:lnTo>
                        <a:pt x="30" y="8"/>
                      </a:lnTo>
                      <a:lnTo>
                        <a:pt x="34" y="4"/>
                      </a:lnTo>
                      <a:lnTo>
                        <a:pt x="38" y="4"/>
                      </a:lnTo>
                      <a:lnTo>
                        <a:pt x="42" y="4"/>
                      </a:lnTo>
                      <a:lnTo>
                        <a:pt x="42" y="8"/>
                      </a:lnTo>
                      <a:lnTo>
                        <a:pt x="42" y="4"/>
                      </a:lnTo>
                      <a:lnTo>
                        <a:pt x="38" y="4"/>
                      </a:lnTo>
                      <a:lnTo>
                        <a:pt x="42" y="4"/>
                      </a:lnTo>
                      <a:lnTo>
                        <a:pt x="42" y="8"/>
                      </a:lnTo>
                      <a:lnTo>
                        <a:pt x="42" y="12"/>
                      </a:lnTo>
                      <a:lnTo>
                        <a:pt x="42" y="8"/>
                      </a:lnTo>
                      <a:lnTo>
                        <a:pt x="46" y="8"/>
                      </a:lnTo>
                      <a:lnTo>
                        <a:pt x="46" y="4"/>
                      </a:lnTo>
                      <a:lnTo>
                        <a:pt x="42" y="4"/>
                      </a:lnTo>
                      <a:lnTo>
                        <a:pt x="46" y="4"/>
                      </a:lnTo>
                      <a:lnTo>
                        <a:pt x="46" y="0"/>
                      </a:lnTo>
                      <a:lnTo>
                        <a:pt x="50" y="0"/>
                      </a:lnTo>
                      <a:lnTo>
                        <a:pt x="50" y="4"/>
                      </a:lnTo>
                      <a:lnTo>
                        <a:pt x="54" y="4"/>
                      </a:lnTo>
                      <a:lnTo>
                        <a:pt x="50" y="4"/>
                      </a:lnTo>
                      <a:lnTo>
                        <a:pt x="50" y="8"/>
                      </a:lnTo>
                      <a:lnTo>
                        <a:pt x="46" y="8"/>
                      </a:lnTo>
                      <a:lnTo>
                        <a:pt x="46" y="12"/>
                      </a:lnTo>
                      <a:lnTo>
                        <a:pt x="42" y="16"/>
                      </a:lnTo>
                      <a:lnTo>
                        <a:pt x="38" y="16"/>
                      </a:lnTo>
                      <a:lnTo>
                        <a:pt x="42" y="20"/>
                      </a:lnTo>
                      <a:lnTo>
                        <a:pt x="38" y="20"/>
                      </a:lnTo>
                      <a:lnTo>
                        <a:pt x="34" y="20"/>
                      </a:lnTo>
                      <a:lnTo>
                        <a:pt x="34" y="24"/>
                      </a:lnTo>
                      <a:lnTo>
                        <a:pt x="38" y="24"/>
                      </a:lnTo>
                      <a:lnTo>
                        <a:pt x="38" y="26"/>
                      </a:lnTo>
                      <a:lnTo>
                        <a:pt x="42" y="26"/>
                      </a:lnTo>
                      <a:lnTo>
                        <a:pt x="46" y="26"/>
                      </a:lnTo>
                      <a:lnTo>
                        <a:pt x="50" y="26"/>
                      </a:lnTo>
                      <a:lnTo>
                        <a:pt x="50" y="24"/>
                      </a:lnTo>
                      <a:lnTo>
                        <a:pt x="54" y="24"/>
                      </a:lnTo>
                      <a:lnTo>
                        <a:pt x="54" y="26"/>
                      </a:lnTo>
                      <a:lnTo>
                        <a:pt x="56" y="30"/>
                      </a:lnTo>
                      <a:lnTo>
                        <a:pt x="60" y="30"/>
                      </a:lnTo>
                      <a:lnTo>
                        <a:pt x="60" y="26"/>
                      </a:lnTo>
                      <a:lnTo>
                        <a:pt x="60" y="30"/>
                      </a:lnTo>
                      <a:lnTo>
                        <a:pt x="64" y="30"/>
                      </a:lnTo>
                      <a:lnTo>
                        <a:pt x="60" y="30"/>
                      </a:lnTo>
                      <a:lnTo>
                        <a:pt x="60" y="34"/>
                      </a:lnTo>
                      <a:lnTo>
                        <a:pt x="60" y="38"/>
                      </a:lnTo>
                      <a:lnTo>
                        <a:pt x="64" y="38"/>
                      </a:lnTo>
                      <a:lnTo>
                        <a:pt x="64" y="42"/>
                      </a:lnTo>
                      <a:lnTo>
                        <a:pt x="64" y="46"/>
                      </a:lnTo>
                      <a:lnTo>
                        <a:pt x="60" y="46"/>
                      </a:lnTo>
                      <a:lnTo>
                        <a:pt x="64" y="46"/>
                      </a:lnTo>
                      <a:lnTo>
                        <a:pt x="64" y="50"/>
                      </a:lnTo>
                      <a:lnTo>
                        <a:pt x="64" y="52"/>
                      </a:lnTo>
                      <a:lnTo>
                        <a:pt x="64" y="56"/>
                      </a:lnTo>
                      <a:lnTo>
                        <a:pt x="60" y="60"/>
                      </a:lnTo>
                      <a:lnTo>
                        <a:pt x="60" y="64"/>
                      </a:lnTo>
                      <a:lnTo>
                        <a:pt x="56" y="64"/>
                      </a:lnTo>
                      <a:lnTo>
                        <a:pt x="60" y="68"/>
                      </a:lnTo>
                      <a:lnTo>
                        <a:pt x="56" y="68"/>
                      </a:lnTo>
                      <a:lnTo>
                        <a:pt x="54" y="68"/>
                      </a:lnTo>
                      <a:lnTo>
                        <a:pt x="54" y="72"/>
                      </a:lnTo>
                      <a:lnTo>
                        <a:pt x="54" y="68"/>
                      </a:lnTo>
                      <a:lnTo>
                        <a:pt x="50" y="68"/>
                      </a:lnTo>
                      <a:lnTo>
                        <a:pt x="54" y="68"/>
                      </a:lnTo>
                      <a:lnTo>
                        <a:pt x="54" y="72"/>
                      </a:lnTo>
                      <a:lnTo>
                        <a:pt x="50" y="72"/>
                      </a:lnTo>
                      <a:lnTo>
                        <a:pt x="46" y="72"/>
                      </a:lnTo>
                      <a:lnTo>
                        <a:pt x="42" y="72"/>
                      </a:lnTo>
                      <a:lnTo>
                        <a:pt x="42" y="76"/>
                      </a:lnTo>
                      <a:lnTo>
                        <a:pt x="38" y="76"/>
                      </a:lnTo>
                      <a:lnTo>
                        <a:pt x="34" y="78"/>
                      </a:lnTo>
                      <a:lnTo>
                        <a:pt x="34" y="76"/>
                      </a:lnTo>
                      <a:lnTo>
                        <a:pt x="30" y="76"/>
                      </a:lnTo>
                      <a:lnTo>
                        <a:pt x="34" y="78"/>
                      </a:lnTo>
                      <a:lnTo>
                        <a:pt x="30" y="78"/>
                      </a:lnTo>
                      <a:lnTo>
                        <a:pt x="30" y="82"/>
                      </a:lnTo>
                      <a:lnTo>
                        <a:pt x="26" y="82"/>
                      </a:lnTo>
                      <a:lnTo>
                        <a:pt x="24" y="82"/>
                      </a:lnTo>
                      <a:lnTo>
                        <a:pt x="20" y="82"/>
                      </a:lnTo>
                      <a:lnTo>
                        <a:pt x="16" y="82"/>
                      </a:lnTo>
                      <a:lnTo>
                        <a:pt x="12" y="82"/>
                      </a:lnTo>
                      <a:lnTo>
                        <a:pt x="12" y="86"/>
                      </a:lnTo>
                      <a:lnTo>
                        <a:pt x="12" y="82"/>
                      </a:lnTo>
                      <a:lnTo>
                        <a:pt x="16" y="82"/>
                      </a:lnTo>
                      <a:lnTo>
                        <a:pt x="12" y="82"/>
                      </a:lnTo>
                      <a:lnTo>
                        <a:pt x="16" y="78"/>
                      </a:lnTo>
                      <a:lnTo>
                        <a:pt x="12" y="78"/>
                      </a:lnTo>
                      <a:lnTo>
                        <a:pt x="8" y="82"/>
                      </a:lnTo>
                      <a:lnTo>
                        <a:pt x="8" y="78"/>
                      </a:lnTo>
                      <a:lnTo>
                        <a:pt x="12" y="78"/>
                      </a:lnTo>
                      <a:lnTo>
                        <a:pt x="16" y="76"/>
                      </a:lnTo>
                      <a:lnTo>
                        <a:pt x="12" y="76"/>
                      </a:lnTo>
                      <a:lnTo>
                        <a:pt x="8" y="78"/>
                      </a:lnTo>
                      <a:lnTo>
                        <a:pt x="4" y="78"/>
                      </a:lnTo>
                      <a:lnTo>
                        <a:pt x="4" y="76"/>
                      </a:lnTo>
                      <a:lnTo>
                        <a:pt x="4" y="78"/>
                      </a:lnTo>
                      <a:lnTo>
                        <a:pt x="4" y="76"/>
                      </a:lnTo>
                      <a:lnTo>
                        <a:pt x="8" y="72"/>
                      </a:lnTo>
                      <a:lnTo>
                        <a:pt x="12" y="72"/>
                      </a:lnTo>
                      <a:lnTo>
                        <a:pt x="8" y="72"/>
                      </a:lnTo>
                      <a:lnTo>
                        <a:pt x="4" y="72"/>
                      </a:lnTo>
                      <a:lnTo>
                        <a:pt x="0" y="72"/>
                      </a:lnTo>
                      <a:lnTo>
                        <a:pt x="0" y="68"/>
                      </a:lnTo>
                      <a:lnTo>
                        <a:pt x="4" y="68"/>
                      </a:lnTo>
                      <a:lnTo>
                        <a:pt x="8" y="68"/>
                      </a:lnTo>
                      <a:lnTo>
                        <a:pt x="12" y="68"/>
                      </a:lnTo>
                      <a:lnTo>
                        <a:pt x="12" y="64"/>
                      </a:lnTo>
                      <a:lnTo>
                        <a:pt x="12" y="60"/>
                      </a:lnTo>
                      <a:lnTo>
                        <a:pt x="16" y="60"/>
                      </a:lnTo>
                      <a:lnTo>
                        <a:pt x="20" y="60"/>
                      </a:lnTo>
                      <a:lnTo>
                        <a:pt x="24" y="60"/>
                      </a:lnTo>
                      <a:lnTo>
                        <a:pt x="26" y="60"/>
                      </a:lnTo>
                      <a:lnTo>
                        <a:pt x="24" y="60"/>
                      </a:lnTo>
                      <a:lnTo>
                        <a:pt x="24" y="56"/>
                      </a:lnTo>
                      <a:lnTo>
                        <a:pt x="24" y="60"/>
                      </a:lnTo>
                      <a:lnTo>
                        <a:pt x="20" y="60"/>
                      </a:lnTo>
                      <a:lnTo>
                        <a:pt x="16" y="60"/>
                      </a:lnTo>
                      <a:lnTo>
                        <a:pt x="12" y="60"/>
                      </a:lnTo>
                      <a:lnTo>
                        <a:pt x="8" y="60"/>
                      </a:lnTo>
                      <a:lnTo>
                        <a:pt x="12" y="60"/>
                      </a:lnTo>
                      <a:lnTo>
                        <a:pt x="16" y="56"/>
                      </a:lnTo>
                      <a:lnTo>
                        <a:pt x="16" y="52"/>
                      </a:lnTo>
                      <a:lnTo>
                        <a:pt x="20" y="50"/>
                      </a:lnTo>
                      <a:lnTo>
                        <a:pt x="24" y="50"/>
                      </a:lnTo>
                      <a:lnTo>
                        <a:pt x="24" y="50"/>
                      </a:lnTo>
                      <a:lnTo>
                        <a:pt x="24" y="50"/>
                      </a:lnTo>
                      <a:close/>
                      <a:moveTo>
                        <a:pt x="8" y="30"/>
                      </a:moveTo>
                      <a:lnTo>
                        <a:pt x="8" y="34"/>
                      </a:lnTo>
                      <a:lnTo>
                        <a:pt x="8" y="30"/>
                      </a:lnTo>
                      <a:lnTo>
                        <a:pt x="4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64" name="Freeform 107"/>
                <p:cNvSpPr>
                  <a:spLocks/>
                </p:cNvSpPr>
                <p:nvPr/>
              </p:nvSpPr>
              <p:spPr bwMode="auto">
                <a:xfrm>
                  <a:off x="4286250" y="2965518"/>
                  <a:ext cx="12700" cy="9525"/>
                </a:xfrm>
                <a:custGeom>
                  <a:avLst/>
                  <a:gdLst>
                    <a:gd name="T0" fmla="*/ 0 w 8"/>
                    <a:gd name="T1" fmla="*/ 6 h 6"/>
                    <a:gd name="T2" fmla="*/ 0 w 8"/>
                    <a:gd name="T3" fmla="*/ 6 h 6"/>
                    <a:gd name="T4" fmla="*/ 0 w 8"/>
                    <a:gd name="T5" fmla="*/ 2 h 6"/>
                    <a:gd name="T6" fmla="*/ 0 w 8"/>
                    <a:gd name="T7" fmla="*/ 2 h 6"/>
                    <a:gd name="T8" fmla="*/ 0 w 8"/>
                    <a:gd name="T9" fmla="*/ 2 h 6"/>
                    <a:gd name="T10" fmla="*/ 0 w 8"/>
                    <a:gd name="T11" fmla="*/ 2 h 6"/>
                    <a:gd name="T12" fmla="*/ 4 w 8"/>
                    <a:gd name="T13" fmla="*/ 0 h 6"/>
                    <a:gd name="T14" fmla="*/ 4 w 8"/>
                    <a:gd name="T15" fmla="*/ 0 h 6"/>
                    <a:gd name="T16" fmla="*/ 4 w 8"/>
                    <a:gd name="T17" fmla="*/ 0 h 6"/>
                    <a:gd name="T18" fmla="*/ 4 w 8"/>
                    <a:gd name="T19" fmla="*/ 0 h 6"/>
                    <a:gd name="T20" fmla="*/ 4 w 8"/>
                    <a:gd name="T21" fmla="*/ 0 h 6"/>
                    <a:gd name="T22" fmla="*/ 4 w 8"/>
                    <a:gd name="T23" fmla="*/ 0 h 6"/>
                    <a:gd name="T24" fmla="*/ 4 w 8"/>
                    <a:gd name="T25" fmla="*/ 0 h 6"/>
                    <a:gd name="T26" fmla="*/ 4 w 8"/>
                    <a:gd name="T27" fmla="*/ 0 h 6"/>
                    <a:gd name="T28" fmla="*/ 4 w 8"/>
                    <a:gd name="T29" fmla="*/ 0 h 6"/>
                    <a:gd name="T30" fmla="*/ 4 w 8"/>
                    <a:gd name="T31" fmla="*/ 0 h 6"/>
                    <a:gd name="T32" fmla="*/ 4 w 8"/>
                    <a:gd name="T33" fmla="*/ 0 h 6"/>
                    <a:gd name="T34" fmla="*/ 8 w 8"/>
                    <a:gd name="T35" fmla="*/ 0 h 6"/>
                    <a:gd name="T36" fmla="*/ 8 w 8"/>
                    <a:gd name="T37" fmla="*/ 0 h 6"/>
                    <a:gd name="T38" fmla="*/ 4 w 8"/>
                    <a:gd name="T39" fmla="*/ 2 h 6"/>
                    <a:gd name="T40" fmla="*/ 4 w 8"/>
                    <a:gd name="T41" fmla="*/ 2 h 6"/>
                    <a:gd name="T42" fmla="*/ 4 w 8"/>
                    <a:gd name="T43" fmla="*/ 2 h 6"/>
                    <a:gd name="T44" fmla="*/ 4 w 8"/>
                    <a:gd name="T45" fmla="*/ 2 h 6"/>
                    <a:gd name="T46" fmla="*/ 4 w 8"/>
                    <a:gd name="T47" fmla="*/ 2 h 6"/>
                    <a:gd name="T48" fmla="*/ 0 w 8"/>
                    <a:gd name="T49" fmla="*/ 6 h 6"/>
                    <a:gd name="T50" fmla="*/ 0 w 8"/>
                    <a:gd name="T51" fmla="*/ 6 h 6"/>
                    <a:gd name="T52" fmla="*/ 0 w 8"/>
                    <a:gd name="T53" fmla="*/ 6 h 6"/>
                    <a:gd name="T54" fmla="*/ 0 w 8"/>
                    <a:gd name="T55" fmla="*/ 6 h 6"/>
                    <a:gd name="T56" fmla="*/ 0 w 8"/>
                    <a:gd name="T57" fmla="*/ 6 h 6"/>
                    <a:gd name="T58" fmla="*/ 0 w 8"/>
                    <a:gd name="T59" fmla="*/ 6 h 6"/>
                    <a:gd name="T60" fmla="*/ 0 w 8"/>
                    <a:gd name="T6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8" h="6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65" name="Freeform 109"/>
                <p:cNvSpPr>
                  <a:spLocks/>
                </p:cNvSpPr>
                <p:nvPr/>
              </p:nvSpPr>
              <p:spPr bwMode="auto">
                <a:xfrm>
                  <a:off x="4187825" y="2336868"/>
                  <a:ext cx="28575" cy="12700"/>
                </a:xfrm>
                <a:custGeom>
                  <a:avLst/>
                  <a:gdLst>
                    <a:gd name="T0" fmla="*/ 2 w 18"/>
                    <a:gd name="T1" fmla="*/ 8 h 8"/>
                    <a:gd name="T2" fmla="*/ 2 w 18"/>
                    <a:gd name="T3" fmla="*/ 8 h 8"/>
                    <a:gd name="T4" fmla="*/ 2 w 18"/>
                    <a:gd name="T5" fmla="*/ 8 h 8"/>
                    <a:gd name="T6" fmla="*/ 0 w 18"/>
                    <a:gd name="T7" fmla="*/ 8 h 8"/>
                    <a:gd name="T8" fmla="*/ 0 w 18"/>
                    <a:gd name="T9" fmla="*/ 8 h 8"/>
                    <a:gd name="T10" fmla="*/ 2 w 18"/>
                    <a:gd name="T11" fmla="*/ 8 h 8"/>
                    <a:gd name="T12" fmla="*/ 2 w 18"/>
                    <a:gd name="T13" fmla="*/ 8 h 8"/>
                    <a:gd name="T14" fmla="*/ 2 w 18"/>
                    <a:gd name="T15" fmla="*/ 8 h 8"/>
                    <a:gd name="T16" fmla="*/ 6 w 18"/>
                    <a:gd name="T17" fmla="*/ 4 h 8"/>
                    <a:gd name="T18" fmla="*/ 6 w 18"/>
                    <a:gd name="T19" fmla="*/ 4 h 8"/>
                    <a:gd name="T20" fmla="*/ 10 w 18"/>
                    <a:gd name="T21" fmla="*/ 4 h 8"/>
                    <a:gd name="T22" fmla="*/ 10 w 18"/>
                    <a:gd name="T23" fmla="*/ 4 h 8"/>
                    <a:gd name="T24" fmla="*/ 10 w 18"/>
                    <a:gd name="T25" fmla="*/ 4 h 8"/>
                    <a:gd name="T26" fmla="*/ 10 w 18"/>
                    <a:gd name="T27" fmla="*/ 4 h 8"/>
                    <a:gd name="T28" fmla="*/ 10 w 18"/>
                    <a:gd name="T29" fmla="*/ 4 h 8"/>
                    <a:gd name="T30" fmla="*/ 10 w 18"/>
                    <a:gd name="T31" fmla="*/ 0 h 8"/>
                    <a:gd name="T32" fmla="*/ 10 w 18"/>
                    <a:gd name="T33" fmla="*/ 0 h 8"/>
                    <a:gd name="T34" fmla="*/ 10 w 18"/>
                    <a:gd name="T35" fmla="*/ 0 h 8"/>
                    <a:gd name="T36" fmla="*/ 10 w 18"/>
                    <a:gd name="T37" fmla="*/ 0 h 8"/>
                    <a:gd name="T38" fmla="*/ 14 w 18"/>
                    <a:gd name="T39" fmla="*/ 0 h 8"/>
                    <a:gd name="T40" fmla="*/ 14 w 18"/>
                    <a:gd name="T41" fmla="*/ 0 h 8"/>
                    <a:gd name="T42" fmla="*/ 18 w 18"/>
                    <a:gd name="T43" fmla="*/ 0 h 8"/>
                    <a:gd name="T44" fmla="*/ 18 w 18"/>
                    <a:gd name="T45" fmla="*/ 0 h 8"/>
                    <a:gd name="T46" fmla="*/ 18 w 18"/>
                    <a:gd name="T47" fmla="*/ 0 h 8"/>
                    <a:gd name="T48" fmla="*/ 18 w 18"/>
                    <a:gd name="T49" fmla="*/ 0 h 8"/>
                    <a:gd name="T50" fmla="*/ 18 w 18"/>
                    <a:gd name="T51" fmla="*/ 0 h 8"/>
                    <a:gd name="T52" fmla="*/ 18 w 18"/>
                    <a:gd name="T53" fmla="*/ 0 h 8"/>
                    <a:gd name="T54" fmla="*/ 18 w 18"/>
                    <a:gd name="T55" fmla="*/ 4 h 8"/>
                    <a:gd name="T56" fmla="*/ 18 w 18"/>
                    <a:gd name="T57" fmla="*/ 4 h 8"/>
                    <a:gd name="T58" fmla="*/ 18 w 18"/>
                    <a:gd name="T59" fmla="*/ 4 h 8"/>
                    <a:gd name="T60" fmla="*/ 14 w 18"/>
                    <a:gd name="T61" fmla="*/ 4 h 8"/>
                    <a:gd name="T62" fmla="*/ 14 w 18"/>
                    <a:gd name="T63" fmla="*/ 4 h 8"/>
                    <a:gd name="T64" fmla="*/ 10 w 18"/>
                    <a:gd name="T65" fmla="*/ 4 h 8"/>
                    <a:gd name="T66" fmla="*/ 10 w 18"/>
                    <a:gd name="T67" fmla="*/ 4 h 8"/>
                    <a:gd name="T68" fmla="*/ 10 w 18"/>
                    <a:gd name="T69" fmla="*/ 4 h 8"/>
                    <a:gd name="T70" fmla="*/ 10 w 18"/>
                    <a:gd name="T71" fmla="*/ 4 h 8"/>
                    <a:gd name="T72" fmla="*/ 10 w 18"/>
                    <a:gd name="T73" fmla="*/ 4 h 8"/>
                    <a:gd name="T74" fmla="*/ 10 w 18"/>
                    <a:gd name="T75" fmla="*/ 4 h 8"/>
                    <a:gd name="T76" fmla="*/ 6 w 18"/>
                    <a:gd name="T77" fmla="*/ 4 h 8"/>
                    <a:gd name="T78" fmla="*/ 6 w 18"/>
                    <a:gd name="T79" fmla="*/ 4 h 8"/>
                    <a:gd name="T80" fmla="*/ 6 w 18"/>
                    <a:gd name="T81" fmla="*/ 4 h 8"/>
                    <a:gd name="T82" fmla="*/ 2 w 18"/>
                    <a:gd name="T83" fmla="*/ 8 h 8"/>
                    <a:gd name="T84" fmla="*/ 2 w 18"/>
                    <a:gd name="T85" fmla="*/ 8 h 8"/>
                    <a:gd name="T86" fmla="*/ 2 w 18"/>
                    <a:gd name="T87" fmla="*/ 8 h 8"/>
                    <a:gd name="T88" fmla="*/ 2 w 18"/>
                    <a:gd name="T89" fmla="*/ 8 h 8"/>
                    <a:gd name="T90" fmla="*/ 2 w 18"/>
                    <a:gd name="T91" fmla="*/ 8 h 8"/>
                    <a:gd name="T92" fmla="*/ 2 w 18"/>
                    <a:gd name="T93" fmla="*/ 8 h 8"/>
                    <a:gd name="T94" fmla="*/ 2 w 18"/>
                    <a:gd name="T95" fmla="*/ 8 h 8"/>
                    <a:gd name="T96" fmla="*/ 2 w 18"/>
                    <a:gd name="T97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8" h="8">
                      <a:moveTo>
                        <a:pt x="2" y="8"/>
                      </a:move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66" name="Freeform 110"/>
                <p:cNvSpPr>
                  <a:spLocks/>
                </p:cNvSpPr>
                <p:nvPr/>
              </p:nvSpPr>
              <p:spPr bwMode="auto">
                <a:xfrm>
                  <a:off x="4867275" y="2835343"/>
                  <a:ext cx="158750" cy="82550"/>
                </a:xfrm>
                <a:custGeom>
                  <a:avLst/>
                  <a:gdLst>
                    <a:gd name="T0" fmla="*/ 48 w 100"/>
                    <a:gd name="T1" fmla="*/ 4 h 52"/>
                    <a:gd name="T2" fmla="*/ 56 w 100"/>
                    <a:gd name="T3" fmla="*/ 0 h 52"/>
                    <a:gd name="T4" fmla="*/ 60 w 100"/>
                    <a:gd name="T5" fmla="*/ 0 h 52"/>
                    <a:gd name="T6" fmla="*/ 60 w 100"/>
                    <a:gd name="T7" fmla="*/ 0 h 52"/>
                    <a:gd name="T8" fmla="*/ 64 w 100"/>
                    <a:gd name="T9" fmla="*/ 4 h 52"/>
                    <a:gd name="T10" fmla="*/ 68 w 100"/>
                    <a:gd name="T11" fmla="*/ 4 h 52"/>
                    <a:gd name="T12" fmla="*/ 78 w 100"/>
                    <a:gd name="T13" fmla="*/ 10 h 52"/>
                    <a:gd name="T14" fmla="*/ 82 w 100"/>
                    <a:gd name="T15" fmla="*/ 10 h 52"/>
                    <a:gd name="T16" fmla="*/ 86 w 100"/>
                    <a:gd name="T17" fmla="*/ 10 h 52"/>
                    <a:gd name="T18" fmla="*/ 90 w 100"/>
                    <a:gd name="T19" fmla="*/ 10 h 52"/>
                    <a:gd name="T20" fmla="*/ 94 w 100"/>
                    <a:gd name="T21" fmla="*/ 14 h 52"/>
                    <a:gd name="T22" fmla="*/ 98 w 100"/>
                    <a:gd name="T23" fmla="*/ 18 h 52"/>
                    <a:gd name="T24" fmla="*/ 94 w 100"/>
                    <a:gd name="T25" fmla="*/ 26 h 52"/>
                    <a:gd name="T26" fmla="*/ 98 w 100"/>
                    <a:gd name="T27" fmla="*/ 30 h 52"/>
                    <a:gd name="T28" fmla="*/ 100 w 100"/>
                    <a:gd name="T29" fmla="*/ 36 h 52"/>
                    <a:gd name="T30" fmla="*/ 100 w 100"/>
                    <a:gd name="T31" fmla="*/ 40 h 52"/>
                    <a:gd name="T32" fmla="*/ 94 w 100"/>
                    <a:gd name="T33" fmla="*/ 48 h 52"/>
                    <a:gd name="T34" fmla="*/ 94 w 100"/>
                    <a:gd name="T35" fmla="*/ 52 h 52"/>
                    <a:gd name="T36" fmla="*/ 82 w 100"/>
                    <a:gd name="T37" fmla="*/ 48 h 52"/>
                    <a:gd name="T38" fmla="*/ 78 w 100"/>
                    <a:gd name="T39" fmla="*/ 52 h 52"/>
                    <a:gd name="T40" fmla="*/ 78 w 100"/>
                    <a:gd name="T41" fmla="*/ 52 h 52"/>
                    <a:gd name="T42" fmla="*/ 74 w 100"/>
                    <a:gd name="T43" fmla="*/ 52 h 52"/>
                    <a:gd name="T44" fmla="*/ 72 w 100"/>
                    <a:gd name="T45" fmla="*/ 48 h 52"/>
                    <a:gd name="T46" fmla="*/ 68 w 100"/>
                    <a:gd name="T47" fmla="*/ 44 h 52"/>
                    <a:gd name="T48" fmla="*/ 60 w 100"/>
                    <a:gd name="T49" fmla="*/ 40 h 52"/>
                    <a:gd name="T50" fmla="*/ 56 w 100"/>
                    <a:gd name="T51" fmla="*/ 40 h 52"/>
                    <a:gd name="T52" fmla="*/ 56 w 100"/>
                    <a:gd name="T53" fmla="*/ 36 h 52"/>
                    <a:gd name="T54" fmla="*/ 48 w 100"/>
                    <a:gd name="T55" fmla="*/ 40 h 52"/>
                    <a:gd name="T56" fmla="*/ 46 w 100"/>
                    <a:gd name="T57" fmla="*/ 40 h 52"/>
                    <a:gd name="T58" fmla="*/ 42 w 100"/>
                    <a:gd name="T59" fmla="*/ 40 h 52"/>
                    <a:gd name="T60" fmla="*/ 34 w 100"/>
                    <a:gd name="T61" fmla="*/ 36 h 52"/>
                    <a:gd name="T62" fmla="*/ 34 w 100"/>
                    <a:gd name="T63" fmla="*/ 36 h 52"/>
                    <a:gd name="T64" fmla="*/ 30 w 100"/>
                    <a:gd name="T65" fmla="*/ 40 h 52"/>
                    <a:gd name="T66" fmla="*/ 26 w 100"/>
                    <a:gd name="T67" fmla="*/ 36 h 52"/>
                    <a:gd name="T68" fmla="*/ 22 w 100"/>
                    <a:gd name="T69" fmla="*/ 36 h 52"/>
                    <a:gd name="T70" fmla="*/ 22 w 100"/>
                    <a:gd name="T71" fmla="*/ 36 h 52"/>
                    <a:gd name="T72" fmla="*/ 16 w 100"/>
                    <a:gd name="T73" fmla="*/ 36 h 52"/>
                    <a:gd name="T74" fmla="*/ 4 w 100"/>
                    <a:gd name="T75" fmla="*/ 40 h 52"/>
                    <a:gd name="T76" fmla="*/ 4 w 100"/>
                    <a:gd name="T77" fmla="*/ 40 h 52"/>
                    <a:gd name="T78" fmla="*/ 0 w 100"/>
                    <a:gd name="T79" fmla="*/ 44 h 52"/>
                    <a:gd name="T80" fmla="*/ 0 w 100"/>
                    <a:gd name="T81" fmla="*/ 40 h 52"/>
                    <a:gd name="T82" fmla="*/ 0 w 100"/>
                    <a:gd name="T83" fmla="*/ 32 h 52"/>
                    <a:gd name="T84" fmla="*/ 0 w 100"/>
                    <a:gd name="T85" fmla="*/ 32 h 52"/>
                    <a:gd name="T86" fmla="*/ 0 w 100"/>
                    <a:gd name="T87" fmla="*/ 30 h 52"/>
                    <a:gd name="T88" fmla="*/ 4 w 100"/>
                    <a:gd name="T89" fmla="*/ 26 h 52"/>
                    <a:gd name="T90" fmla="*/ 4 w 100"/>
                    <a:gd name="T91" fmla="*/ 22 h 52"/>
                    <a:gd name="T92" fmla="*/ 4 w 100"/>
                    <a:gd name="T93" fmla="*/ 18 h 52"/>
                    <a:gd name="T94" fmla="*/ 8 w 100"/>
                    <a:gd name="T95" fmla="*/ 10 h 52"/>
                    <a:gd name="T96" fmla="*/ 12 w 100"/>
                    <a:gd name="T97" fmla="*/ 10 h 52"/>
                    <a:gd name="T98" fmla="*/ 16 w 100"/>
                    <a:gd name="T99" fmla="*/ 10 h 52"/>
                    <a:gd name="T100" fmla="*/ 22 w 100"/>
                    <a:gd name="T101" fmla="*/ 6 h 52"/>
                    <a:gd name="T102" fmla="*/ 26 w 100"/>
                    <a:gd name="T103" fmla="*/ 14 h 52"/>
                    <a:gd name="T104" fmla="*/ 30 w 100"/>
                    <a:gd name="T105" fmla="*/ 14 h 52"/>
                    <a:gd name="T106" fmla="*/ 30 w 100"/>
                    <a:gd name="T107" fmla="*/ 22 h 52"/>
                    <a:gd name="T108" fmla="*/ 38 w 100"/>
                    <a:gd name="T109" fmla="*/ 26 h 52"/>
                    <a:gd name="T110" fmla="*/ 42 w 100"/>
                    <a:gd name="T111" fmla="*/ 22 h 52"/>
                    <a:gd name="T112" fmla="*/ 48 w 100"/>
                    <a:gd name="T113" fmla="*/ 18 h 52"/>
                    <a:gd name="T114" fmla="*/ 46 w 100"/>
                    <a:gd name="T115" fmla="*/ 6 h 52"/>
                    <a:gd name="T116" fmla="*/ 46 w 100"/>
                    <a:gd name="T117" fmla="*/ 4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00" h="52">
                      <a:moveTo>
                        <a:pt x="46" y="4"/>
                      </a:moveTo>
                      <a:lnTo>
                        <a:pt x="46" y="4"/>
                      </a:lnTo>
                      <a:lnTo>
                        <a:pt x="46" y="4"/>
                      </a:lnTo>
                      <a:lnTo>
                        <a:pt x="48" y="4"/>
                      </a:lnTo>
                      <a:lnTo>
                        <a:pt x="48" y="4"/>
                      </a:lnTo>
                      <a:lnTo>
                        <a:pt x="48" y="4"/>
                      </a:lnTo>
                      <a:lnTo>
                        <a:pt x="48" y="4"/>
                      </a:lnTo>
                      <a:lnTo>
                        <a:pt x="52" y="4"/>
                      </a:lnTo>
                      <a:lnTo>
                        <a:pt x="56" y="0"/>
                      </a:lnTo>
                      <a:lnTo>
                        <a:pt x="56" y="0"/>
                      </a:lnTo>
                      <a:lnTo>
                        <a:pt x="56" y="0"/>
                      </a:lnTo>
                      <a:lnTo>
                        <a:pt x="56" y="0"/>
                      </a:lnTo>
                      <a:lnTo>
                        <a:pt x="56" y="0"/>
                      </a:lnTo>
                      <a:lnTo>
                        <a:pt x="60" y="0"/>
                      </a:lnTo>
                      <a:lnTo>
                        <a:pt x="60" y="0"/>
                      </a:lnTo>
                      <a:lnTo>
                        <a:pt x="60" y="0"/>
                      </a:lnTo>
                      <a:lnTo>
                        <a:pt x="60" y="0"/>
                      </a:lnTo>
                      <a:lnTo>
                        <a:pt x="60" y="4"/>
                      </a:lnTo>
                      <a:lnTo>
                        <a:pt x="60" y="4"/>
                      </a:lnTo>
                      <a:lnTo>
                        <a:pt x="60" y="0"/>
                      </a:lnTo>
                      <a:lnTo>
                        <a:pt x="60" y="0"/>
                      </a:lnTo>
                      <a:lnTo>
                        <a:pt x="60" y="0"/>
                      </a:lnTo>
                      <a:lnTo>
                        <a:pt x="60" y="0"/>
                      </a:lnTo>
                      <a:lnTo>
                        <a:pt x="64" y="0"/>
                      </a:lnTo>
                      <a:lnTo>
                        <a:pt x="64" y="4"/>
                      </a:lnTo>
                      <a:lnTo>
                        <a:pt x="64" y="4"/>
                      </a:lnTo>
                      <a:lnTo>
                        <a:pt x="68" y="4"/>
                      </a:lnTo>
                      <a:lnTo>
                        <a:pt x="68" y="4"/>
                      </a:lnTo>
                      <a:lnTo>
                        <a:pt x="68" y="4"/>
                      </a:lnTo>
                      <a:lnTo>
                        <a:pt x="68" y="4"/>
                      </a:lnTo>
                      <a:lnTo>
                        <a:pt x="72" y="6"/>
                      </a:lnTo>
                      <a:lnTo>
                        <a:pt x="72" y="6"/>
                      </a:lnTo>
                      <a:lnTo>
                        <a:pt x="74" y="10"/>
                      </a:lnTo>
                      <a:lnTo>
                        <a:pt x="74" y="10"/>
                      </a:lnTo>
                      <a:lnTo>
                        <a:pt x="78" y="10"/>
                      </a:lnTo>
                      <a:lnTo>
                        <a:pt x="78" y="10"/>
                      </a:lnTo>
                      <a:lnTo>
                        <a:pt x="78" y="10"/>
                      </a:lnTo>
                      <a:lnTo>
                        <a:pt x="78" y="10"/>
                      </a:lnTo>
                      <a:lnTo>
                        <a:pt x="78" y="10"/>
                      </a:lnTo>
                      <a:lnTo>
                        <a:pt x="82" y="10"/>
                      </a:lnTo>
                      <a:lnTo>
                        <a:pt x="82" y="10"/>
                      </a:lnTo>
                      <a:lnTo>
                        <a:pt x="82" y="10"/>
                      </a:lnTo>
                      <a:lnTo>
                        <a:pt x="82" y="10"/>
                      </a:lnTo>
                      <a:lnTo>
                        <a:pt x="86" y="10"/>
                      </a:lnTo>
                      <a:lnTo>
                        <a:pt x="86" y="10"/>
                      </a:lnTo>
                      <a:lnTo>
                        <a:pt x="86" y="10"/>
                      </a:lnTo>
                      <a:lnTo>
                        <a:pt x="90" y="10"/>
                      </a:lnTo>
                      <a:lnTo>
                        <a:pt x="90" y="10"/>
                      </a:lnTo>
                      <a:lnTo>
                        <a:pt x="90" y="10"/>
                      </a:lnTo>
                      <a:lnTo>
                        <a:pt x="90" y="10"/>
                      </a:lnTo>
                      <a:lnTo>
                        <a:pt x="90" y="10"/>
                      </a:lnTo>
                      <a:lnTo>
                        <a:pt x="94" y="10"/>
                      </a:lnTo>
                      <a:lnTo>
                        <a:pt x="94" y="14"/>
                      </a:lnTo>
                      <a:lnTo>
                        <a:pt x="90" y="14"/>
                      </a:lnTo>
                      <a:lnTo>
                        <a:pt x="94" y="14"/>
                      </a:lnTo>
                      <a:lnTo>
                        <a:pt x="94" y="14"/>
                      </a:lnTo>
                      <a:lnTo>
                        <a:pt x="94" y="14"/>
                      </a:lnTo>
                      <a:lnTo>
                        <a:pt x="98" y="18"/>
                      </a:lnTo>
                      <a:lnTo>
                        <a:pt x="98" y="18"/>
                      </a:lnTo>
                      <a:lnTo>
                        <a:pt x="98" y="18"/>
                      </a:lnTo>
                      <a:lnTo>
                        <a:pt x="98" y="18"/>
                      </a:lnTo>
                      <a:lnTo>
                        <a:pt x="94" y="22"/>
                      </a:lnTo>
                      <a:lnTo>
                        <a:pt x="94" y="26"/>
                      </a:lnTo>
                      <a:lnTo>
                        <a:pt x="94" y="26"/>
                      </a:lnTo>
                      <a:lnTo>
                        <a:pt x="94" y="26"/>
                      </a:lnTo>
                      <a:lnTo>
                        <a:pt x="98" y="26"/>
                      </a:lnTo>
                      <a:lnTo>
                        <a:pt x="98" y="26"/>
                      </a:lnTo>
                      <a:lnTo>
                        <a:pt x="98" y="26"/>
                      </a:lnTo>
                      <a:lnTo>
                        <a:pt x="98" y="30"/>
                      </a:lnTo>
                      <a:lnTo>
                        <a:pt x="98" y="30"/>
                      </a:lnTo>
                      <a:lnTo>
                        <a:pt x="98" y="30"/>
                      </a:lnTo>
                      <a:lnTo>
                        <a:pt x="98" y="32"/>
                      </a:lnTo>
                      <a:lnTo>
                        <a:pt x="100" y="32"/>
                      </a:lnTo>
                      <a:lnTo>
                        <a:pt x="100" y="36"/>
                      </a:lnTo>
                      <a:lnTo>
                        <a:pt x="100" y="36"/>
                      </a:lnTo>
                      <a:lnTo>
                        <a:pt x="100" y="40"/>
                      </a:lnTo>
                      <a:lnTo>
                        <a:pt x="100" y="40"/>
                      </a:lnTo>
                      <a:lnTo>
                        <a:pt x="100" y="40"/>
                      </a:lnTo>
                      <a:lnTo>
                        <a:pt x="100" y="44"/>
                      </a:lnTo>
                      <a:lnTo>
                        <a:pt x="100" y="40"/>
                      </a:lnTo>
                      <a:lnTo>
                        <a:pt x="100" y="40"/>
                      </a:lnTo>
                      <a:lnTo>
                        <a:pt x="98" y="44"/>
                      </a:lnTo>
                      <a:lnTo>
                        <a:pt x="98" y="44"/>
                      </a:lnTo>
                      <a:lnTo>
                        <a:pt x="94" y="44"/>
                      </a:lnTo>
                      <a:lnTo>
                        <a:pt x="94" y="48"/>
                      </a:lnTo>
                      <a:lnTo>
                        <a:pt x="94" y="48"/>
                      </a:lnTo>
                      <a:lnTo>
                        <a:pt x="94" y="48"/>
                      </a:lnTo>
                      <a:lnTo>
                        <a:pt x="94" y="48"/>
                      </a:lnTo>
                      <a:lnTo>
                        <a:pt x="94" y="52"/>
                      </a:lnTo>
                      <a:lnTo>
                        <a:pt x="94" y="52"/>
                      </a:lnTo>
                      <a:lnTo>
                        <a:pt x="90" y="52"/>
                      </a:lnTo>
                      <a:lnTo>
                        <a:pt x="90" y="52"/>
                      </a:lnTo>
                      <a:lnTo>
                        <a:pt x="86" y="48"/>
                      </a:lnTo>
                      <a:lnTo>
                        <a:pt x="86" y="48"/>
                      </a:lnTo>
                      <a:lnTo>
                        <a:pt x="82" y="48"/>
                      </a:lnTo>
                      <a:lnTo>
                        <a:pt x="82" y="52"/>
                      </a:lnTo>
                      <a:lnTo>
                        <a:pt x="82" y="52"/>
                      </a:lnTo>
                      <a:lnTo>
                        <a:pt x="82" y="52"/>
                      </a:lnTo>
                      <a:lnTo>
                        <a:pt x="82" y="52"/>
                      </a:lnTo>
                      <a:lnTo>
                        <a:pt x="78" y="52"/>
                      </a:lnTo>
                      <a:lnTo>
                        <a:pt x="78" y="52"/>
                      </a:lnTo>
                      <a:lnTo>
                        <a:pt x="78" y="52"/>
                      </a:lnTo>
                      <a:lnTo>
                        <a:pt x="78" y="52"/>
                      </a:lnTo>
                      <a:lnTo>
                        <a:pt x="78" y="52"/>
                      </a:lnTo>
                      <a:lnTo>
                        <a:pt x="78" y="52"/>
                      </a:lnTo>
                      <a:lnTo>
                        <a:pt x="78" y="52"/>
                      </a:lnTo>
                      <a:lnTo>
                        <a:pt x="78" y="52"/>
                      </a:lnTo>
                      <a:lnTo>
                        <a:pt x="78" y="52"/>
                      </a:lnTo>
                      <a:lnTo>
                        <a:pt x="74" y="52"/>
                      </a:lnTo>
                      <a:lnTo>
                        <a:pt x="74" y="52"/>
                      </a:lnTo>
                      <a:lnTo>
                        <a:pt x="74" y="52"/>
                      </a:lnTo>
                      <a:lnTo>
                        <a:pt x="74" y="52"/>
                      </a:lnTo>
                      <a:lnTo>
                        <a:pt x="74" y="48"/>
                      </a:lnTo>
                      <a:lnTo>
                        <a:pt x="72" y="48"/>
                      </a:lnTo>
                      <a:lnTo>
                        <a:pt x="72" y="48"/>
                      </a:lnTo>
                      <a:lnTo>
                        <a:pt x="72" y="48"/>
                      </a:lnTo>
                      <a:lnTo>
                        <a:pt x="72" y="48"/>
                      </a:lnTo>
                      <a:lnTo>
                        <a:pt x="68" y="48"/>
                      </a:lnTo>
                      <a:lnTo>
                        <a:pt x="68" y="44"/>
                      </a:lnTo>
                      <a:lnTo>
                        <a:pt x="68" y="44"/>
                      </a:lnTo>
                      <a:lnTo>
                        <a:pt x="64" y="44"/>
                      </a:lnTo>
                      <a:lnTo>
                        <a:pt x="64" y="40"/>
                      </a:lnTo>
                      <a:lnTo>
                        <a:pt x="60" y="40"/>
                      </a:lnTo>
                      <a:lnTo>
                        <a:pt x="60" y="40"/>
                      </a:lnTo>
                      <a:lnTo>
                        <a:pt x="60" y="40"/>
                      </a:lnTo>
                      <a:lnTo>
                        <a:pt x="56" y="40"/>
                      </a:lnTo>
                      <a:lnTo>
                        <a:pt x="56" y="40"/>
                      </a:lnTo>
                      <a:lnTo>
                        <a:pt x="56" y="40"/>
                      </a:lnTo>
                      <a:lnTo>
                        <a:pt x="56" y="40"/>
                      </a:lnTo>
                      <a:lnTo>
                        <a:pt x="56" y="40"/>
                      </a:lnTo>
                      <a:lnTo>
                        <a:pt x="56" y="36"/>
                      </a:lnTo>
                      <a:lnTo>
                        <a:pt x="56" y="36"/>
                      </a:lnTo>
                      <a:lnTo>
                        <a:pt x="56" y="36"/>
                      </a:lnTo>
                      <a:lnTo>
                        <a:pt x="56" y="36"/>
                      </a:lnTo>
                      <a:lnTo>
                        <a:pt x="56" y="36"/>
                      </a:lnTo>
                      <a:lnTo>
                        <a:pt x="52" y="36"/>
                      </a:lnTo>
                      <a:lnTo>
                        <a:pt x="52" y="36"/>
                      </a:lnTo>
                      <a:lnTo>
                        <a:pt x="48" y="36"/>
                      </a:lnTo>
                      <a:lnTo>
                        <a:pt x="48" y="40"/>
                      </a:lnTo>
                      <a:lnTo>
                        <a:pt x="48" y="40"/>
                      </a:lnTo>
                      <a:lnTo>
                        <a:pt x="48" y="40"/>
                      </a:lnTo>
                      <a:lnTo>
                        <a:pt x="48" y="40"/>
                      </a:lnTo>
                      <a:lnTo>
                        <a:pt x="48" y="40"/>
                      </a:lnTo>
                      <a:lnTo>
                        <a:pt x="46" y="40"/>
                      </a:lnTo>
                      <a:lnTo>
                        <a:pt x="46" y="40"/>
                      </a:lnTo>
                      <a:lnTo>
                        <a:pt x="46" y="40"/>
                      </a:lnTo>
                      <a:lnTo>
                        <a:pt x="46" y="40"/>
                      </a:lnTo>
                      <a:lnTo>
                        <a:pt x="46" y="40"/>
                      </a:lnTo>
                      <a:lnTo>
                        <a:pt x="42" y="40"/>
                      </a:lnTo>
                      <a:lnTo>
                        <a:pt x="42" y="40"/>
                      </a:lnTo>
                      <a:lnTo>
                        <a:pt x="42" y="36"/>
                      </a:lnTo>
                      <a:lnTo>
                        <a:pt x="42" y="36"/>
                      </a:lnTo>
                      <a:lnTo>
                        <a:pt x="38" y="36"/>
                      </a:lnTo>
                      <a:lnTo>
                        <a:pt x="38" y="36"/>
                      </a:lnTo>
                      <a:lnTo>
                        <a:pt x="34" y="36"/>
                      </a:lnTo>
                      <a:lnTo>
                        <a:pt x="34" y="36"/>
                      </a:lnTo>
                      <a:lnTo>
                        <a:pt x="34" y="36"/>
                      </a:lnTo>
                      <a:lnTo>
                        <a:pt x="34" y="36"/>
                      </a:lnTo>
                      <a:lnTo>
                        <a:pt x="34" y="36"/>
                      </a:lnTo>
                      <a:lnTo>
                        <a:pt x="34" y="36"/>
                      </a:lnTo>
                      <a:lnTo>
                        <a:pt x="30" y="36"/>
                      </a:lnTo>
                      <a:lnTo>
                        <a:pt x="30" y="36"/>
                      </a:lnTo>
                      <a:lnTo>
                        <a:pt x="30" y="40"/>
                      </a:lnTo>
                      <a:lnTo>
                        <a:pt x="30" y="40"/>
                      </a:lnTo>
                      <a:lnTo>
                        <a:pt x="30" y="40"/>
                      </a:lnTo>
                      <a:lnTo>
                        <a:pt x="26" y="36"/>
                      </a:lnTo>
                      <a:lnTo>
                        <a:pt x="26" y="36"/>
                      </a:lnTo>
                      <a:lnTo>
                        <a:pt x="26" y="36"/>
                      </a:lnTo>
                      <a:lnTo>
                        <a:pt x="26" y="36"/>
                      </a:lnTo>
                      <a:lnTo>
                        <a:pt x="26" y="36"/>
                      </a:lnTo>
                      <a:lnTo>
                        <a:pt x="26" y="36"/>
                      </a:lnTo>
                      <a:lnTo>
                        <a:pt x="26" y="36"/>
                      </a:lnTo>
                      <a:lnTo>
                        <a:pt x="26" y="36"/>
                      </a:lnTo>
                      <a:lnTo>
                        <a:pt x="26" y="36"/>
                      </a:lnTo>
                      <a:lnTo>
                        <a:pt x="22" y="36"/>
                      </a:lnTo>
                      <a:lnTo>
                        <a:pt x="22" y="36"/>
                      </a:lnTo>
                      <a:lnTo>
                        <a:pt x="22" y="36"/>
                      </a:lnTo>
                      <a:lnTo>
                        <a:pt x="22" y="36"/>
                      </a:lnTo>
                      <a:lnTo>
                        <a:pt x="22" y="36"/>
                      </a:lnTo>
                      <a:lnTo>
                        <a:pt x="22" y="36"/>
                      </a:lnTo>
                      <a:lnTo>
                        <a:pt x="18" y="36"/>
                      </a:lnTo>
                      <a:lnTo>
                        <a:pt x="18" y="36"/>
                      </a:lnTo>
                      <a:lnTo>
                        <a:pt x="18" y="36"/>
                      </a:lnTo>
                      <a:lnTo>
                        <a:pt x="16" y="36"/>
                      </a:lnTo>
                      <a:lnTo>
                        <a:pt x="16" y="36"/>
                      </a:lnTo>
                      <a:lnTo>
                        <a:pt x="16" y="36"/>
                      </a:lnTo>
                      <a:lnTo>
                        <a:pt x="12" y="36"/>
                      </a:lnTo>
                      <a:lnTo>
                        <a:pt x="8" y="36"/>
                      </a:lnTo>
                      <a:lnTo>
                        <a:pt x="8" y="40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4" y="44"/>
                      </a:lnTo>
                      <a:lnTo>
                        <a:pt x="4" y="44"/>
                      </a:lnTo>
                      <a:lnTo>
                        <a:pt x="0" y="44"/>
                      </a:lnTo>
                      <a:lnTo>
                        <a:pt x="0" y="44"/>
                      </a:lnTo>
                      <a:lnTo>
                        <a:pt x="0" y="44"/>
                      </a:lnTo>
                      <a:lnTo>
                        <a:pt x="0" y="44"/>
                      </a:lnTo>
                      <a:lnTo>
                        <a:pt x="0" y="44"/>
                      </a:lnTo>
                      <a:lnTo>
                        <a:pt x="0" y="44"/>
                      </a:lnTo>
                      <a:lnTo>
                        <a:pt x="0" y="44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0" y="36"/>
                      </a:lnTo>
                      <a:lnTo>
                        <a:pt x="0" y="32"/>
                      </a:lnTo>
                      <a:lnTo>
                        <a:pt x="0" y="32"/>
                      </a:lnTo>
                      <a:lnTo>
                        <a:pt x="0" y="36"/>
                      </a:lnTo>
                      <a:lnTo>
                        <a:pt x="0" y="36"/>
                      </a:lnTo>
                      <a:lnTo>
                        <a:pt x="0" y="32"/>
                      </a:lnTo>
                      <a:lnTo>
                        <a:pt x="0" y="32"/>
                      </a:lnTo>
                      <a:lnTo>
                        <a:pt x="0" y="32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8" y="18"/>
                      </a:lnTo>
                      <a:lnTo>
                        <a:pt x="8" y="14"/>
                      </a:lnTo>
                      <a:lnTo>
                        <a:pt x="8" y="14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12" y="10"/>
                      </a:lnTo>
                      <a:lnTo>
                        <a:pt x="12" y="10"/>
                      </a:lnTo>
                      <a:lnTo>
                        <a:pt x="12" y="10"/>
                      </a:lnTo>
                      <a:lnTo>
                        <a:pt x="12" y="10"/>
                      </a:lnTo>
                      <a:lnTo>
                        <a:pt x="12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22" y="6"/>
                      </a:lnTo>
                      <a:lnTo>
                        <a:pt x="22" y="6"/>
                      </a:lnTo>
                      <a:lnTo>
                        <a:pt x="22" y="6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6" y="14"/>
                      </a:lnTo>
                      <a:lnTo>
                        <a:pt x="26" y="14"/>
                      </a:lnTo>
                      <a:lnTo>
                        <a:pt x="26" y="14"/>
                      </a:lnTo>
                      <a:lnTo>
                        <a:pt x="26" y="14"/>
                      </a:lnTo>
                      <a:lnTo>
                        <a:pt x="30" y="14"/>
                      </a:lnTo>
                      <a:lnTo>
                        <a:pt x="30" y="14"/>
                      </a:lnTo>
                      <a:lnTo>
                        <a:pt x="30" y="14"/>
                      </a:lnTo>
                      <a:lnTo>
                        <a:pt x="30" y="18"/>
                      </a:lnTo>
                      <a:lnTo>
                        <a:pt x="30" y="18"/>
                      </a:lnTo>
                      <a:lnTo>
                        <a:pt x="30" y="22"/>
                      </a:lnTo>
                      <a:lnTo>
                        <a:pt x="30" y="22"/>
                      </a:lnTo>
                      <a:lnTo>
                        <a:pt x="30" y="22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8" y="26"/>
                      </a:lnTo>
                      <a:lnTo>
                        <a:pt x="38" y="26"/>
                      </a:lnTo>
                      <a:lnTo>
                        <a:pt x="38" y="26"/>
                      </a:lnTo>
                      <a:lnTo>
                        <a:pt x="38" y="26"/>
                      </a:lnTo>
                      <a:lnTo>
                        <a:pt x="42" y="26"/>
                      </a:lnTo>
                      <a:lnTo>
                        <a:pt x="42" y="26"/>
                      </a:lnTo>
                      <a:lnTo>
                        <a:pt x="42" y="22"/>
                      </a:lnTo>
                      <a:lnTo>
                        <a:pt x="42" y="22"/>
                      </a:lnTo>
                      <a:lnTo>
                        <a:pt x="46" y="22"/>
                      </a:lnTo>
                      <a:lnTo>
                        <a:pt x="46" y="22"/>
                      </a:lnTo>
                      <a:lnTo>
                        <a:pt x="46" y="18"/>
                      </a:lnTo>
                      <a:lnTo>
                        <a:pt x="48" y="18"/>
                      </a:lnTo>
                      <a:lnTo>
                        <a:pt x="48" y="18"/>
                      </a:lnTo>
                      <a:lnTo>
                        <a:pt x="48" y="14"/>
                      </a:lnTo>
                      <a:lnTo>
                        <a:pt x="46" y="10"/>
                      </a:lnTo>
                      <a:lnTo>
                        <a:pt x="46" y="6"/>
                      </a:lnTo>
                      <a:lnTo>
                        <a:pt x="46" y="6"/>
                      </a:lnTo>
                      <a:lnTo>
                        <a:pt x="46" y="6"/>
                      </a:lnTo>
                      <a:lnTo>
                        <a:pt x="46" y="6"/>
                      </a:lnTo>
                      <a:lnTo>
                        <a:pt x="46" y="4"/>
                      </a:lnTo>
                      <a:lnTo>
                        <a:pt x="46" y="4"/>
                      </a:lnTo>
                      <a:lnTo>
                        <a:pt x="46" y="4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67" name="Freeform 111"/>
                <p:cNvSpPr>
                  <a:spLocks noEditPoints="1"/>
                </p:cNvSpPr>
                <p:nvPr/>
              </p:nvSpPr>
              <p:spPr bwMode="auto">
                <a:xfrm>
                  <a:off x="4860925" y="2892493"/>
                  <a:ext cx="136525" cy="88900"/>
                </a:xfrm>
                <a:custGeom>
                  <a:avLst/>
                  <a:gdLst>
                    <a:gd name="T0" fmla="*/ 38 w 86"/>
                    <a:gd name="T1" fmla="*/ 50 h 56"/>
                    <a:gd name="T2" fmla="*/ 34 w 86"/>
                    <a:gd name="T3" fmla="*/ 46 h 56"/>
                    <a:gd name="T4" fmla="*/ 26 w 86"/>
                    <a:gd name="T5" fmla="*/ 46 h 56"/>
                    <a:gd name="T6" fmla="*/ 26 w 86"/>
                    <a:gd name="T7" fmla="*/ 42 h 56"/>
                    <a:gd name="T8" fmla="*/ 30 w 86"/>
                    <a:gd name="T9" fmla="*/ 38 h 56"/>
                    <a:gd name="T10" fmla="*/ 26 w 86"/>
                    <a:gd name="T11" fmla="*/ 30 h 56"/>
                    <a:gd name="T12" fmla="*/ 22 w 86"/>
                    <a:gd name="T13" fmla="*/ 30 h 56"/>
                    <a:gd name="T14" fmla="*/ 18 w 86"/>
                    <a:gd name="T15" fmla="*/ 30 h 56"/>
                    <a:gd name="T16" fmla="*/ 8 w 86"/>
                    <a:gd name="T17" fmla="*/ 26 h 56"/>
                    <a:gd name="T18" fmla="*/ 8 w 86"/>
                    <a:gd name="T19" fmla="*/ 26 h 56"/>
                    <a:gd name="T20" fmla="*/ 4 w 86"/>
                    <a:gd name="T21" fmla="*/ 16 h 56"/>
                    <a:gd name="T22" fmla="*/ 4 w 86"/>
                    <a:gd name="T23" fmla="*/ 12 h 56"/>
                    <a:gd name="T24" fmla="*/ 4 w 86"/>
                    <a:gd name="T25" fmla="*/ 8 h 56"/>
                    <a:gd name="T26" fmla="*/ 8 w 86"/>
                    <a:gd name="T27" fmla="*/ 8 h 56"/>
                    <a:gd name="T28" fmla="*/ 8 w 86"/>
                    <a:gd name="T29" fmla="*/ 4 h 56"/>
                    <a:gd name="T30" fmla="*/ 18 w 86"/>
                    <a:gd name="T31" fmla="*/ 0 h 56"/>
                    <a:gd name="T32" fmla="*/ 22 w 86"/>
                    <a:gd name="T33" fmla="*/ 0 h 56"/>
                    <a:gd name="T34" fmla="*/ 26 w 86"/>
                    <a:gd name="T35" fmla="*/ 0 h 56"/>
                    <a:gd name="T36" fmla="*/ 30 w 86"/>
                    <a:gd name="T37" fmla="*/ 0 h 56"/>
                    <a:gd name="T38" fmla="*/ 30 w 86"/>
                    <a:gd name="T39" fmla="*/ 0 h 56"/>
                    <a:gd name="T40" fmla="*/ 34 w 86"/>
                    <a:gd name="T41" fmla="*/ 0 h 56"/>
                    <a:gd name="T42" fmla="*/ 38 w 86"/>
                    <a:gd name="T43" fmla="*/ 0 h 56"/>
                    <a:gd name="T44" fmla="*/ 44 w 86"/>
                    <a:gd name="T45" fmla="*/ 0 h 56"/>
                    <a:gd name="T46" fmla="*/ 48 w 86"/>
                    <a:gd name="T47" fmla="*/ 4 h 56"/>
                    <a:gd name="T48" fmla="*/ 52 w 86"/>
                    <a:gd name="T49" fmla="*/ 4 h 56"/>
                    <a:gd name="T50" fmla="*/ 56 w 86"/>
                    <a:gd name="T51" fmla="*/ 0 h 56"/>
                    <a:gd name="T52" fmla="*/ 60 w 86"/>
                    <a:gd name="T53" fmla="*/ 0 h 56"/>
                    <a:gd name="T54" fmla="*/ 60 w 86"/>
                    <a:gd name="T55" fmla="*/ 4 h 56"/>
                    <a:gd name="T56" fmla="*/ 68 w 86"/>
                    <a:gd name="T57" fmla="*/ 8 h 56"/>
                    <a:gd name="T58" fmla="*/ 74 w 86"/>
                    <a:gd name="T59" fmla="*/ 12 h 56"/>
                    <a:gd name="T60" fmla="*/ 78 w 86"/>
                    <a:gd name="T61" fmla="*/ 16 h 56"/>
                    <a:gd name="T62" fmla="*/ 82 w 86"/>
                    <a:gd name="T63" fmla="*/ 16 h 56"/>
                    <a:gd name="T64" fmla="*/ 78 w 86"/>
                    <a:gd name="T65" fmla="*/ 24 h 56"/>
                    <a:gd name="T66" fmla="*/ 82 w 86"/>
                    <a:gd name="T67" fmla="*/ 24 h 56"/>
                    <a:gd name="T68" fmla="*/ 82 w 86"/>
                    <a:gd name="T69" fmla="*/ 26 h 56"/>
                    <a:gd name="T70" fmla="*/ 78 w 86"/>
                    <a:gd name="T71" fmla="*/ 30 h 56"/>
                    <a:gd name="T72" fmla="*/ 70 w 86"/>
                    <a:gd name="T73" fmla="*/ 34 h 56"/>
                    <a:gd name="T74" fmla="*/ 70 w 86"/>
                    <a:gd name="T75" fmla="*/ 38 h 56"/>
                    <a:gd name="T76" fmla="*/ 68 w 86"/>
                    <a:gd name="T77" fmla="*/ 42 h 56"/>
                    <a:gd name="T78" fmla="*/ 68 w 86"/>
                    <a:gd name="T79" fmla="*/ 46 h 56"/>
                    <a:gd name="T80" fmla="*/ 70 w 86"/>
                    <a:gd name="T81" fmla="*/ 50 h 56"/>
                    <a:gd name="T82" fmla="*/ 68 w 86"/>
                    <a:gd name="T83" fmla="*/ 50 h 56"/>
                    <a:gd name="T84" fmla="*/ 64 w 86"/>
                    <a:gd name="T85" fmla="*/ 50 h 56"/>
                    <a:gd name="T86" fmla="*/ 60 w 86"/>
                    <a:gd name="T87" fmla="*/ 50 h 56"/>
                    <a:gd name="T88" fmla="*/ 60 w 86"/>
                    <a:gd name="T89" fmla="*/ 50 h 56"/>
                    <a:gd name="T90" fmla="*/ 56 w 86"/>
                    <a:gd name="T91" fmla="*/ 52 h 56"/>
                    <a:gd name="T92" fmla="*/ 52 w 86"/>
                    <a:gd name="T93" fmla="*/ 52 h 56"/>
                    <a:gd name="T94" fmla="*/ 48 w 86"/>
                    <a:gd name="T95" fmla="*/ 52 h 56"/>
                    <a:gd name="T96" fmla="*/ 44 w 86"/>
                    <a:gd name="T97" fmla="*/ 52 h 56"/>
                    <a:gd name="T98" fmla="*/ 42 w 86"/>
                    <a:gd name="T99" fmla="*/ 52 h 56"/>
                    <a:gd name="T100" fmla="*/ 38 w 86"/>
                    <a:gd name="T101" fmla="*/ 52 h 56"/>
                    <a:gd name="T102" fmla="*/ 4 w 86"/>
                    <a:gd name="T103" fmla="*/ 24 h 56"/>
                    <a:gd name="T104" fmla="*/ 4 w 86"/>
                    <a:gd name="T105" fmla="*/ 20 h 56"/>
                    <a:gd name="T106" fmla="*/ 4 w 86"/>
                    <a:gd name="T107" fmla="*/ 16 h 56"/>
                    <a:gd name="T108" fmla="*/ 4 w 86"/>
                    <a:gd name="T109" fmla="*/ 2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86" h="56">
                      <a:moveTo>
                        <a:pt x="38" y="52"/>
                      </a:moveTo>
                      <a:lnTo>
                        <a:pt x="38" y="52"/>
                      </a:lnTo>
                      <a:lnTo>
                        <a:pt x="38" y="52"/>
                      </a:lnTo>
                      <a:lnTo>
                        <a:pt x="38" y="50"/>
                      </a:lnTo>
                      <a:lnTo>
                        <a:pt x="38" y="50"/>
                      </a:lnTo>
                      <a:lnTo>
                        <a:pt x="38" y="50"/>
                      </a:lnTo>
                      <a:lnTo>
                        <a:pt x="38" y="50"/>
                      </a:lnTo>
                      <a:lnTo>
                        <a:pt x="38" y="50"/>
                      </a:lnTo>
                      <a:lnTo>
                        <a:pt x="34" y="46"/>
                      </a:lnTo>
                      <a:lnTo>
                        <a:pt x="34" y="46"/>
                      </a:lnTo>
                      <a:lnTo>
                        <a:pt x="30" y="46"/>
                      </a:lnTo>
                      <a:lnTo>
                        <a:pt x="30" y="46"/>
                      </a:lnTo>
                      <a:lnTo>
                        <a:pt x="30" y="46"/>
                      </a:lnTo>
                      <a:lnTo>
                        <a:pt x="30" y="46"/>
                      </a:lnTo>
                      <a:lnTo>
                        <a:pt x="26" y="46"/>
                      </a:lnTo>
                      <a:lnTo>
                        <a:pt x="26" y="46"/>
                      </a:lnTo>
                      <a:lnTo>
                        <a:pt x="26" y="46"/>
                      </a:lnTo>
                      <a:lnTo>
                        <a:pt x="26" y="42"/>
                      </a:lnTo>
                      <a:lnTo>
                        <a:pt x="26" y="42"/>
                      </a:lnTo>
                      <a:lnTo>
                        <a:pt x="26" y="42"/>
                      </a:lnTo>
                      <a:lnTo>
                        <a:pt x="26" y="42"/>
                      </a:lnTo>
                      <a:lnTo>
                        <a:pt x="26" y="38"/>
                      </a:lnTo>
                      <a:lnTo>
                        <a:pt x="26" y="38"/>
                      </a:lnTo>
                      <a:lnTo>
                        <a:pt x="30" y="38"/>
                      </a:lnTo>
                      <a:lnTo>
                        <a:pt x="30" y="38"/>
                      </a:ln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2" y="30"/>
                      </a:lnTo>
                      <a:lnTo>
                        <a:pt x="22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24"/>
                      </a:lnTo>
                      <a:lnTo>
                        <a:pt x="4" y="20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12" y="4"/>
                      </a:lnTo>
                      <a:lnTo>
                        <a:pt x="12" y="0"/>
                      </a:lnTo>
                      <a:lnTo>
                        <a:pt x="16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0"/>
                      </a:lnTo>
                      <a:lnTo>
                        <a:pt x="34" y="0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42" y="0"/>
                      </a:lnTo>
                      <a:lnTo>
                        <a:pt x="42" y="0"/>
                      </a:lnTo>
                      <a:lnTo>
                        <a:pt x="44" y="0"/>
                      </a:lnTo>
                      <a:lnTo>
                        <a:pt x="44" y="0"/>
                      </a:lnTo>
                      <a:lnTo>
                        <a:pt x="44" y="4"/>
                      </a:lnTo>
                      <a:lnTo>
                        <a:pt x="44" y="4"/>
                      </a:lnTo>
                      <a:lnTo>
                        <a:pt x="48" y="4"/>
                      </a:lnTo>
                      <a:lnTo>
                        <a:pt x="48" y="4"/>
                      </a:lnTo>
                      <a:lnTo>
                        <a:pt x="48" y="4"/>
                      </a:lnTo>
                      <a:lnTo>
                        <a:pt x="48" y="4"/>
                      </a:lnTo>
                      <a:lnTo>
                        <a:pt x="48" y="4"/>
                      </a:lnTo>
                      <a:lnTo>
                        <a:pt x="52" y="4"/>
                      </a:lnTo>
                      <a:lnTo>
                        <a:pt x="52" y="4"/>
                      </a:lnTo>
                      <a:lnTo>
                        <a:pt x="52" y="4"/>
                      </a:lnTo>
                      <a:lnTo>
                        <a:pt x="52" y="4"/>
                      </a:lnTo>
                      <a:lnTo>
                        <a:pt x="52" y="4"/>
                      </a:lnTo>
                      <a:lnTo>
                        <a:pt x="52" y="0"/>
                      </a:lnTo>
                      <a:lnTo>
                        <a:pt x="56" y="0"/>
                      </a:lnTo>
                      <a:lnTo>
                        <a:pt x="56" y="0"/>
                      </a:lnTo>
                      <a:lnTo>
                        <a:pt x="60" y="0"/>
                      </a:lnTo>
                      <a:lnTo>
                        <a:pt x="60" y="0"/>
                      </a:lnTo>
                      <a:lnTo>
                        <a:pt x="60" y="0"/>
                      </a:lnTo>
                      <a:lnTo>
                        <a:pt x="60" y="0"/>
                      </a:lnTo>
                      <a:lnTo>
                        <a:pt x="60" y="0"/>
                      </a:lnTo>
                      <a:lnTo>
                        <a:pt x="60" y="4"/>
                      </a:lnTo>
                      <a:lnTo>
                        <a:pt x="60" y="4"/>
                      </a:lnTo>
                      <a:lnTo>
                        <a:pt x="60" y="4"/>
                      </a:lnTo>
                      <a:lnTo>
                        <a:pt x="60" y="4"/>
                      </a:lnTo>
                      <a:lnTo>
                        <a:pt x="60" y="4"/>
                      </a:lnTo>
                      <a:lnTo>
                        <a:pt x="64" y="4"/>
                      </a:lnTo>
                      <a:lnTo>
                        <a:pt x="64" y="4"/>
                      </a:lnTo>
                      <a:lnTo>
                        <a:pt x="64" y="4"/>
                      </a:lnTo>
                      <a:lnTo>
                        <a:pt x="68" y="4"/>
                      </a:lnTo>
                      <a:lnTo>
                        <a:pt x="68" y="8"/>
                      </a:lnTo>
                      <a:lnTo>
                        <a:pt x="70" y="8"/>
                      </a:lnTo>
                      <a:lnTo>
                        <a:pt x="70" y="8"/>
                      </a:lnTo>
                      <a:lnTo>
                        <a:pt x="70" y="12"/>
                      </a:lnTo>
                      <a:lnTo>
                        <a:pt x="74" y="12"/>
                      </a:lnTo>
                      <a:lnTo>
                        <a:pt x="74" y="12"/>
                      </a:lnTo>
                      <a:lnTo>
                        <a:pt x="74" y="12"/>
                      </a:lnTo>
                      <a:lnTo>
                        <a:pt x="74" y="12"/>
                      </a:lnTo>
                      <a:lnTo>
                        <a:pt x="78" y="12"/>
                      </a:lnTo>
                      <a:lnTo>
                        <a:pt x="78" y="16"/>
                      </a:lnTo>
                      <a:lnTo>
                        <a:pt x="78" y="16"/>
                      </a:lnTo>
                      <a:lnTo>
                        <a:pt x="78" y="16"/>
                      </a:lnTo>
                      <a:lnTo>
                        <a:pt x="78" y="16"/>
                      </a:lnTo>
                      <a:lnTo>
                        <a:pt x="82" y="16"/>
                      </a:lnTo>
                      <a:lnTo>
                        <a:pt x="82" y="16"/>
                      </a:lnTo>
                      <a:lnTo>
                        <a:pt x="82" y="16"/>
                      </a:lnTo>
                      <a:lnTo>
                        <a:pt x="82" y="16"/>
                      </a:lnTo>
                      <a:lnTo>
                        <a:pt x="82" y="16"/>
                      </a:lnTo>
                      <a:lnTo>
                        <a:pt x="82" y="20"/>
                      </a:lnTo>
                      <a:lnTo>
                        <a:pt x="82" y="24"/>
                      </a:lnTo>
                      <a:lnTo>
                        <a:pt x="78" y="24"/>
                      </a:lnTo>
                      <a:lnTo>
                        <a:pt x="82" y="24"/>
                      </a:lnTo>
                      <a:lnTo>
                        <a:pt x="82" y="24"/>
                      </a:lnTo>
                      <a:lnTo>
                        <a:pt x="82" y="24"/>
                      </a:lnTo>
                      <a:lnTo>
                        <a:pt x="82" y="24"/>
                      </a:lnTo>
                      <a:lnTo>
                        <a:pt x="82" y="24"/>
                      </a:lnTo>
                      <a:lnTo>
                        <a:pt x="86" y="24"/>
                      </a:lnTo>
                      <a:lnTo>
                        <a:pt x="86" y="26"/>
                      </a:lnTo>
                      <a:lnTo>
                        <a:pt x="86" y="26"/>
                      </a:lnTo>
                      <a:lnTo>
                        <a:pt x="86" y="26"/>
                      </a:lnTo>
                      <a:lnTo>
                        <a:pt x="82" y="26"/>
                      </a:lnTo>
                      <a:lnTo>
                        <a:pt x="82" y="26"/>
                      </a:lnTo>
                      <a:lnTo>
                        <a:pt x="78" y="26"/>
                      </a:lnTo>
                      <a:lnTo>
                        <a:pt x="78" y="26"/>
                      </a:lnTo>
                      <a:lnTo>
                        <a:pt x="78" y="30"/>
                      </a:lnTo>
                      <a:lnTo>
                        <a:pt x="78" y="30"/>
                      </a:lnTo>
                      <a:lnTo>
                        <a:pt x="74" y="30"/>
                      </a:lnTo>
                      <a:lnTo>
                        <a:pt x="74" y="30"/>
                      </a:lnTo>
                      <a:lnTo>
                        <a:pt x="74" y="30"/>
                      </a:lnTo>
                      <a:lnTo>
                        <a:pt x="70" y="34"/>
                      </a:lnTo>
                      <a:lnTo>
                        <a:pt x="70" y="34"/>
                      </a:lnTo>
                      <a:lnTo>
                        <a:pt x="70" y="34"/>
                      </a:lnTo>
                      <a:lnTo>
                        <a:pt x="70" y="34"/>
                      </a:lnTo>
                      <a:lnTo>
                        <a:pt x="70" y="34"/>
                      </a:lnTo>
                      <a:lnTo>
                        <a:pt x="70" y="38"/>
                      </a:lnTo>
                      <a:lnTo>
                        <a:pt x="70" y="38"/>
                      </a:lnTo>
                      <a:lnTo>
                        <a:pt x="70" y="38"/>
                      </a:lnTo>
                      <a:lnTo>
                        <a:pt x="70" y="42"/>
                      </a:lnTo>
                      <a:lnTo>
                        <a:pt x="70" y="42"/>
                      </a:lnTo>
                      <a:lnTo>
                        <a:pt x="70" y="42"/>
                      </a:lnTo>
                      <a:lnTo>
                        <a:pt x="68" y="42"/>
                      </a:lnTo>
                      <a:lnTo>
                        <a:pt x="68" y="46"/>
                      </a:lnTo>
                      <a:lnTo>
                        <a:pt x="68" y="46"/>
                      </a:lnTo>
                      <a:lnTo>
                        <a:pt x="68" y="46"/>
                      </a:lnTo>
                      <a:lnTo>
                        <a:pt x="68" y="46"/>
                      </a:lnTo>
                      <a:lnTo>
                        <a:pt x="68" y="46"/>
                      </a:lnTo>
                      <a:lnTo>
                        <a:pt x="68" y="46"/>
                      </a:lnTo>
                      <a:lnTo>
                        <a:pt x="70" y="46"/>
                      </a:lnTo>
                      <a:lnTo>
                        <a:pt x="70" y="50"/>
                      </a:lnTo>
                      <a:lnTo>
                        <a:pt x="70" y="50"/>
                      </a:lnTo>
                      <a:lnTo>
                        <a:pt x="70" y="50"/>
                      </a:lnTo>
                      <a:lnTo>
                        <a:pt x="68" y="50"/>
                      </a:lnTo>
                      <a:lnTo>
                        <a:pt x="68" y="50"/>
                      </a:lnTo>
                      <a:lnTo>
                        <a:pt x="68" y="50"/>
                      </a:lnTo>
                      <a:lnTo>
                        <a:pt x="68" y="50"/>
                      </a:lnTo>
                      <a:lnTo>
                        <a:pt x="68" y="50"/>
                      </a:lnTo>
                      <a:lnTo>
                        <a:pt x="68" y="46"/>
                      </a:lnTo>
                      <a:lnTo>
                        <a:pt x="68" y="46"/>
                      </a:lnTo>
                      <a:lnTo>
                        <a:pt x="68" y="46"/>
                      </a:lnTo>
                      <a:lnTo>
                        <a:pt x="64" y="46"/>
                      </a:lnTo>
                      <a:lnTo>
                        <a:pt x="64" y="50"/>
                      </a:lnTo>
                      <a:lnTo>
                        <a:pt x="64" y="50"/>
                      </a:lnTo>
                      <a:lnTo>
                        <a:pt x="64" y="50"/>
                      </a:lnTo>
                      <a:lnTo>
                        <a:pt x="64" y="50"/>
                      </a:lnTo>
                      <a:lnTo>
                        <a:pt x="64" y="50"/>
                      </a:lnTo>
                      <a:lnTo>
                        <a:pt x="60" y="50"/>
                      </a:lnTo>
                      <a:lnTo>
                        <a:pt x="60" y="50"/>
                      </a:lnTo>
                      <a:lnTo>
                        <a:pt x="60" y="50"/>
                      </a:lnTo>
                      <a:lnTo>
                        <a:pt x="60" y="50"/>
                      </a:lnTo>
                      <a:lnTo>
                        <a:pt x="60" y="50"/>
                      </a:lnTo>
                      <a:lnTo>
                        <a:pt x="60" y="50"/>
                      </a:lnTo>
                      <a:lnTo>
                        <a:pt x="56" y="50"/>
                      </a:lnTo>
                      <a:lnTo>
                        <a:pt x="56" y="50"/>
                      </a:lnTo>
                      <a:lnTo>
                        <a:pt x="56" y="52"/>
                      </a:lnTo>
                      <a:lnTo>
                        <a:pt x="56" y="52"/>
                      </a:lnTo>
                      <a:lnTo>
                        <a:pt x="56" y="52"/>
                      </a:lnTo>
                      <a:lnTo>
                        <a:pt x="56" y="52"/>
                      </a:lnTo>
                      <a:lnTo>
                        <a:pt x="56" y="52"/>
                      </a:lnTo>
                      <a:lnTo>
                        <a:pt x="56" y="52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2" y="56"/>
                      </a:lnTo>
                      <a:lnTo>
                        <a:pt x="48" y="56"/>
                      </a:lnTo>
                      <a:lnTo>
                        <a:pt x="48" y="52"/>
                      </a:lnTo>
                      <a:lnTo>
                        <a:pt x="48" y="52"/>
                      </a:lnTo>
                      <a:lnTo>
                        <a:pt x="48" y="52"/>
                      </a:lnTo>
                      <a:lnTo>
                        <a:pt x="48" y="52"/>
                      </a:lnTo>
                      <a:lnTo>
                        <a:pt x="48" y="52"/>
                      </a:lnTo>
                      <a:lnTo>
                        <a:pt x="48" y="52"/>
                      </a:lnTo>
                      <a:lnTo>
                        <a:pt x="44" y="52"/>
                      </a:lnTo>
                      <a:lnTo>
                        <a:pt x="44" y="52"/>
                      </a:lnTo>
                      <a:lnTo>
                        <a:pt x="44" y="52"/>
                      </a:lnTo>
                      <a:lnTo>
                        <a:pt x="44" y="52"/>
                      </a:lnTo>
                      <a:lnTo>
                        <a:pt x="42" y="52"/>
                      </a:lnTo>
                      <a:lnTo>
                        <a:pt x="42" y="52"/>
                      </a:lnTo>
                      <a:lnTo>
                        <a:pt x="42" y="52"/>
                      </a:lnTo>
                      <a:lnTo>
                        <a:pt x="38" y="52"/>
                      </a:lnTo>
                      <a:lnTo>
                        <a:pt x="38" y="52"/>
                      </a:lnTo>
                      <a:lnTo>
                        <a:pt x="38" y="52"/>
                      </a:lnTo>
                      <a:lnTo>
                        <a:pt x="38" y="52"/>
                      </a:lnTo>
                      <a:lnTo>
                        <a:pt x="38" y="52"/>
                      </a:lnTo>
                      <a:lnTo>
                        <a:pt x="38" y="52"/>
                      </a:lnTo>
                      <a:close/>
                      <a:moveTo>
                        <a:pt x="4" y="26"/>
                      </a:moveTo>
                      <a:lnTo>
                        <a:pt x="0" y="26"/>
                      </a:lnTo>
                      <a:lnTo>
                        <a:pt x="4" y="24"/>
                      </a:lnTo>
                      <a:lnTo>
                        <a:pt x="4" y="24"/>
                      </a:lnTo>
                      <a:lnTo>
                        <a:pt x="4" y="24"/>
                      </a:lnTo>
                      <a:lnTo>
                        <a:pt x="4" y="24"/>
                      </a:lnTo>
                      <a:lnTo>
                        <a:pt x="4" y="20"/>
                      </a:lnTo>
                      <a:lnTo>
                        <a:pt x="4" y="20"/>
                      </a:lnTo>
                      <a:lnTo>
                        <a:pt x="4" y="20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20"/>
                      </a:lnTo>
                      <a:lnTo>
                        <a:pt x="4" y="20"/>
                      </a:lnTo>
                      <a:lnTo>
                        <a:pt x="4" y="24"/>
                      </a:lnTo>
                      <a:lnTo>
                        <a:pt x="4" y="24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68" name="Freeform 112"/>
                <p:cNvSpPr>
                  <a:spLocks/>
                </p:cNvSpPr>
                <p:nvPr/>
              </p:nvSpPr>
              <p:spPr bwMode="auto">
                <a:xfrm>
                  <a:off x="4524375" y="3108393"/>
                  <a:ext cx="15875" cy="22225"/>
                </a:xfrm>
                <a:custGeom>
                  <a:avLst/>
                  <a:gdLst>
                    <a:gd name="T0" fmla="*/ 6 w 10"/>
                    <a:gd name="T1" fmla="*/ 10 h 14"/>
                    <a:gd name="T2" fmla="*/ 6 w 10"/>
                    <a:gd name="T3" fmla="*/ 14 h 14"/>
                    <a:gd name="T4" fmla="*/ 6 w 10"/>
                    <a:gd name="T5" fmla="*/ 14 h 14"/>
                    <a:gd name="T6" fmla="*/ 6 w 10"/>
                    <a:gd name="T7" fmla="*/ 14 h 14"/>
                    <a:gd name="T8" fmla="*/ 6 w 10"/>
                    <a:gd name="T9" fmla="*/ 14 h 14"/>
                    <a:gd name="T10" fmla="*/ 6 w 10"/>
                    <a:gd name="T11" fmla="*/ 10 h 14"/>
                    <a:gd name="T12" fmla="*/ 6 w 10"/>
                    <a:gd name="T13" fmla="*/ 10 h 14"/>
                    <a:gd name="T14" fmla="*/ 4 w 10"/>
                    <a:gd name="T15" fmla="*/ 10 h 14"/>
                    <a:gd name="T16" fmla="*/ 4 w 10"/>
                    <a:gd name="T17" fmla="*/ 14 h 14"/>
                    <a:gd name="T18" fmla="*/ 4 w 10"/>
                    <a:gd name="T19" fmla="*/ 14 h 14"/>
                    <a:gd name="T20" fmla="*/ 4 w 10"/>
                    <a:gd name="T21" fmla="*/ 14 h 14"/>
                    <a:gd name="T22" fmla="*/ 0 w 10"/>
                    <a:gd name="T23" fmla="*/ 14 h 14"/>
                    <a:gd name="T24" fmla="*/ 0 w 10"/>
                    <a:gd name="T25" fmla="*/ 10 h 14"/>
                    <a:gd name="T26" fmla="*/ 0 w 10"/>
                    <a:gd name="T27" fmla="*/ 10 h 14"/>
                    <a:gd name="T28" fmla="*/ 0 w 10"/>
                    <a:gd name="T29" fmla="*/ 10 h 14"/>
                    <a:gd name="T30" fmla="*/ 0 w 10"/>
                    <a:gd name="T31" fmla="*/ 10 h 14"/>
                    <a:gd name="T32" fmla="*/ 0 w 10"/>
                    <a:gd name="T33" fmla="*/ 10 h 14"/>
                    <a:gd name="T34" fmla="*/ 0 w 10"/>
                    <a:gd name="T35" fmla="*/ 10 h 14"/>
                    <a:gd name="T36" fmla="*/ 0 w 10"/>
                    <a:gd name="T37" fmla="*/ 10 h 14"/>
                    <a:gd name="T38" fmla="*/ 0 w 10"/>
                    <a:gd name="T39" fmla="*/ 6 h 14"/>
                    <a:gd name="T40" fmla="*/ 0 w 10"/>
                    <a:gd name="T41" fmla="*/ 6 h 14"/>
                    <a:gd name="T42" fmla="*/ 0 w 10"/>
                    <a:gd name="T43" fmla="*/ 6 h 14"/>
                    <a:gd name="T44" fmla="*/ 0 w 10"/>
                    <a:gd name="T45" fmla="*/ 6 h 14"/>
                    <a:gd name="T46" fmla="*/ 0 w 10"/>
                    <a:gd name="T47" fmla="*/ 6 h 14"/>
                    <a:gd name="T48" fmla="*/ 0 w 10"/>
                    <a:gd name="T49" fmla="*/ 2 h 14"/>
                    <a:gd name="T50" fmla="*/ 0 w 10"/>
                    <a:gd name="T51" fmla="*/ 2 h 14"/>
                    <a:gd name="T52" fmla="*/ 0 w 10"/>
                    <a:gd name="T53" fmla="*/ 2 h 14"/>
                    <a:gd name="T54" fmla="*/ 0 w 10"/>
                    <a:gd name="T55" fmla="*/ 0 h 14"/>
                    <a:gd name="T56" fmla="*/ 0 w 10"/>
                    <a:gd name="T57" fmla="*/ 0 h 14"/>
                    <a:gd name="T58" fmla="*/ 4 w 10"/>
                    <a:gd name="T59" fmla="*/ 0 h 14"/>
                    <a:gd name="T60" fmla="*/ 4 w 10"/>
                    <a:gd name="T61" fmla="*/ 0 h 14"/>
                    <a:gd name="T62" fmla="*/ 4 w 10"/>
                    <a:gd name="T63" fmla="*/ 0 h 14"/>
                    <a:gd name="T64" fmla="*/ 4 w 10"/>
                    <a:gd name="T65" fmla="*/ 0 h 14"/>
                    <a:gd name="T66" fmla="*/ 4 w 10"/>
                    <a:gd name="T67" fmla="*/ 0 h 14"/>
                    <a:gd name="T68" fmla="*/ 4 w 10"/>
                    <a:gd name="T69" fmla="*/ 0 h 14"/>
                    <a:gd name="T70" fmla="*/ 4 w 10"/>
                    <a:gd name="T71" fmla="*/ 0 h 14"/>
                    <a:gd name="T72" fmla="*/ 4 w 10"/>
                    <a:gd name="T73" fmla="*/ 0 h 14"/>
                    <a:gd name="T74" fmla="*/ 4 w 10"/>
                    <a:gd name="T75" fmla="*/ 0 h 14"/>
                    <a:gd name="T76" fmla="*/ 4 w 10"/>
                    <a:gd name="T77" fmla="*/ 2 h 14"/>
                    <a:gd name="T78" fmla="*/ 4 w 10"/>
                    <a:gd name="T79" fmla="*/ 2 h 14"/>
                    <a:gd name="T80" fmla="*/ 4 w 10"/>
                    <a:gd name="T81" fmla="*/ 2 h 14"/>
                    <a:gd name="T82" fmla="*/ 6 w 10"/>
                    <a:gd name="T83" fmla="*/ 2 h 14"/>
                    <a:gd name="T84" fmla="*/ 6 w 10"/>
                    <a:gd name="T85" fmla="*/ 2 h 14"/>
                    <a:gd name="T86" fmla="*/ 6 w 10"/>
                    <a:gd name="T87" fmla="*/ 6 h 14"/>
                    <a:gd name="T88" fmla="*/ 6 w 10"/>
                    <a:gd name="T89" fmla="*/ 6 h 14"/>
                    <a:gd name="T90" fmla="*/ 6 w 10"/>
                    <a:gd name="T91" fmla="*/ 6 h 14"/>
                    <a:gd name="T92" fmla="*/ 6 w 10"/>
                    <a:gd name="T93" fmla="*/ 6 h 14"/>
                    <a:gd name="T94" fmla="*/ 10 w 10"/>
                    <a:gd name="T95" fmla="*/ 6 h 14"/>
                    <a:gd name="T96" fmla="*/ 10 w 10"/>
                    <a:gd name="T97" fmla="*/ 6 h 14"/>
                    <a:gd name="T98" fmla="*/ 10 w 10"/>
                    <a:gd name="T99" fmla="*/ 6 h 14"/>
                    <a:gd name="T100" fmla="*/ 10 w 10"/>
                    <a:gd name="T101" fmla="*/ 6 h 14"/>
                    <a:gd name="T102" fmla="*/ 6 w 10"/>
                    <a:gd name="T103" fmla="*/ 10 h 14"/>
                    <a:gd name="T104" fmla="*/ 6 w 10"/>
                    <a:gd name="T105" fmla="*/ 10 h 14"/>
                    <a:gd name="T106" fmla="*/ 6 w 10"/>
                    <a:gd name="T107" fmla="*/ 10 h 14"/>
                    <a:gd name="T108" fmla="*/ 6 w 10"/>
                    <a:gd name="T109" fmla="*/ 1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0" h="14">
                      <a:moveTo>
                        <a:pt x="6" y="10"/>
                      </a:move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0"/>
                      </a:lnTo>
                      <a:lnTo>
                        <a:pt x="6" y="10"/>
                      </a:lnTo>
                      <a:lnTo>
                        <a:pt x="4" y="10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0" y="14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6" y="6"/>
                      </a:lnTo>
                      <a:lnTo>
                        <a:pt x="6" y="6"/>
                      </a:lnTo>
                      <a:lnTo>
                        <a:pt x="6" y="6"/>
                      </a:lnTo>
                      <a:lnTo>
                        <a:pt x="6" y="6"/>
                      </a:lnTo>
                      <a:lnTo>
                        <a:pt x="10" y="6"/>
                      </a:lnTo>
                      <a:lnTo>
                        <a:pt x="10" y="6"/>
                      </a:lnTo>
                      <a:lnTo>
                        <a:pt x="10" y="6"/>
                      </a:lnTo>
                      <a:lnTo>
                        <a:pt x="10" y="6"/>
                      </a:lnTo>
                      <a:lnTo>
                        <a:pt x="6" y="10"/>
                      </a:lnTo>
                      <a:lnTo>
                        <a:pt x="6" y="10"/>
                      </a:lnTo>
                      <a:lnTo>
                        <a:pt x="6" y="10"/>
                      </a:lnTo>
                      <a:lnTo>
                        <a:pt x="6" y="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69" name="Freeform 113"/>
                <p:cNvSpPr>
                  <a:spLocks/>
                </p:cNvSpPr>
                <p:nvPr/>
              </p:nvSpPr>
              <p:spPr bwMode="auto">
                <a:xfrm>
                  <a:off x="4854575" y="3352868"/>
                  <a:ext cx="53975" cy="47625"/>
                </a:xfrm>
                <a:custGeom>
                  <a:avLst/>
                  <a:gdLst>
                    <a:gd name="T0" fmla="*/ 0 w 34"/>
                    <a:gd name="T1" fmla="*/ 12 h 30"/>
                    <a:gd name="T2" fmla="*/ 4 w 34"/>
                    <a:gd name="T3" fmla="*/ 12 h 30"/>
                    <a:gd name="T4" fmla="*/ 4 w 34"/>
                    <a:gd name="T5" fmla="*/ 8 h 30"/>
                    <a:gd name="T6" fmla="*/ 4 w 34"/>
                    <a:gd name="T7" fmla="*/ 8 h 30"/>
                    <a:gd name="T8" fmla="*/ 4 w 34"/>
                    <a:gd name="T9" fmla="*/ 4 h 30"/>
                    <a:gd name="T10" fmla="*/ 8 w 34"/>
                    <a:gd name="T11" fmla="*/ 4 h 30"/>
                    <a:gd name="T12" fmla="*/ 12 w 34"/>
                    <a:gd name="T13" fmla="*/ 4 h 30"/>
                    <a:gd name="T14" fmla="*/ 12 w 34"/>
                    <a:gd name="T15" fmla="*/ 4 h 30"/>
                    <a:gd name="T16" fmla="*/ 16 w 34"/>
                    <a:gd name="T17" fmla="*/ 4 h 30"/>
                    <a:gd name="T18" fmla="*/ 16 w 34"/>
                    <a:gd name="T19" fmla="*/ 4 h 30"/>
                    <a:gd name="T20" fmla="*/ 20 w 34"/>
                    <a:gd name="T21" fmla="*/ 0 h 30"/>
                    <a:gd name="T22" fmla="*/ 22 w 34"/>
                    <a:gd name="T23" fmla="*/ 0 h 30"/>
                    <a:gd name="T24" fmla="*/ 22 w 34"/>
                    <a:gd name="T25" fmla="*/ 0 h 30"/>
                    <a:gd name="T26" fmla="*/ 26 w 34"/>
                    <a:gd name="T27" fmla="*/ 0 h 30"/>
                    <a:gd name="T28" fmla="*/ 26 w 34"/>
                    <a:gd name="T29" fmla="*/ 4 h 30"/>
                    <a:gd name="T30" fmla="*/ 30 w 34"/>
                    <a:gd name="T31" fmla="*/ 4 h 30"/>
                    <a:gd name="T32" fmla="*/ 34 w 34"/>
                    <a:gd name="T33" fmla="*/ 8 h 30"/>
                    <a:gd name="T34" fmla="*/ 34 w 34"/>
                    <a:gd name="T35" fmla="*/ 12 h 30"/>
                    <a:gd name="T36" fmla="*/ 34 w 34"/>
                    <a:gd name="T37" fmla="*/ 12 h 30"/>
                    <a:gd name="T38" fmla="*/ 34 w 34"/>
                    <a:gd name="T39" fmla="*/ 12 h 30"/>
                    <a:gd name="T40" fmla="*/ 34 w 34"/>
                    <a:gd name="T41" fmla="*/ 16 h 30"/>
                    <a:gd name="T42" fmla="*/ 34 w 34"/>
                    <a:gd name="T43" fmla="*/ 16 h 30"/>
                    <a:gd name="T44" fmla="*/ 34 w 34"/>
                    <a:gd name="T45" fmla="*/ 20 h 30"/>
                    <a:gd name="T46" fmla="*/ 34 w 34"/>
                    <a:gd name="T47" fmla="*/ 20 h 30"/>
                    <a:gd name="T48" fmla="*/ 34 w 34"/>
                    <a:gd name="T49" fmla="*/ 20 h 30"/>
                    <a:gd name="T50" fmla="*/ 30 w 34"/>
                    <a:gd name="T51" fmla="*/ 24 h 30"/>
                    <a:gd name="T52" fmla="*/ 30 w 34"/>
                    <a:gd name="T53" fmla="*/ 24 h 30"/>
                    <a:gd name="T54" fmla="*/ 30 w 34"/>
                    <a:gd name="T55" fmla="*/ 26 h 30"/>
                    <a:gd name="T56" fmla="*/ 26 w 34"/>
                    <a:gd name="T57" fmla="*/ 26 h 30"/>
                    <a:gd name="T58" fmla="*/ 26 w 34"/>
                    <a:gd name="T59" fmla="*/ 24 h 30"/>
                    <a:gd name="T60" fmla="*/ 22 w 34"/>
                    <a:gd name="T61" fmla="*/ 24 h 30"/>
                    <a:gd name="T62" fmla="*/ 20 w 34"/>
                    <a:gd name="T63" fmla="*/ 26 h 30"/>
                    <a:gd name="T64" fmla="*/ 20 w 34"/>
                    <a:gd name="T65" fmla="*/ 30 h 30"/>
                    <a:gd name="T66" fmla="*/ 16 w 34"/>
                    <a:gd name="T67" fmla="*/ 30 h 30"/>
                    <a:gd name="T68" fmla="*/ 16 w 34"/>
                    <a:gd name="T69" fmla="*/ 30 h 30"/>
                    <a:gd name="T70" fmla="*/ 12 w 34"/>
                    <a:gd name="T71" fmla="*/ 30 h 30"/>
                    <a:gd name="T72" fmla="*/ 12 w 34"/>
                    <a:gd name="T73" fmla="*/ 30 h 30"/>
                    <a:gd name="T74" fmla="*/ 8 w 34"/>
                    <a:gd name="T75" fmla="*/ 30 h 30"/>
                    <a:gd name="T76" fmla="*/ 8 w 34"/>
                    <a:gd name="T77" fmla="*/ 30 h 30"/>
                    <a:gd name="T78" fmla="*/ 4 w 34"/>
                    <a:gd name="T79" fmla="*/ 30 h 30"/>
                    <a:gd name="T80" fmla="*/ 4 w 34"/>
                    <a:gd name="T81" fmla="*/ 30 h 30"/>
                    <a:gd name="T82" fmla="*/ 4 w 34"/>
                    <a:gd name="T83" fmla="*/ 30 h 30"/>
                    <a:gd name="T84" fmla="*/ 0 w 34"/>
                    <a:gd name="T85" fmla="*/ 26 h 30"/>
                    <a:gd name="T86" fmla="*/ 0 w 34"/>
                    <a:gd name="T87" fmla="*/ 24 h 30"/>
                    <a:gd name="T88" fmla="*/ 0 w 34"/>
                    <a:gd name="T89" fmla="*/ 20 h 30"/>
                    <a:gd name="T90" fmla="*/ 0 w 34"/>
                    <a:gd name="T91" fmla="*/ 20 h 30"/>
                    <a:gd name="T92" fmla="*/ 0 w 34"/>
                    <a:gd name="T93" fmla="*/ 20 h 30"/>
                    <a:gd name="T94" fmla="*/ 0 w 34"/>
                    <a:gd name="T95" fmla="*/ 20 h 30"/>
                    <a:gd name="T96" fmla="*/ 0 w 34"/>
                    <a:gd name="T97" fmla="*/ 16 h 30"/>
                    <a:gd name="T98" fmla="*/ 0 w 34"/>
                    <a:gd name="T99" fmla="*/ 12 h 30"/>
                    <a:gd name="T100" fmla="*/ 0 w 34"/>
                    <a:gd name="T101" fmla="*/ 12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34" h="30">
                      <a:moveTo>
                        <a:pt x="0" y="12"/>
                      </a:move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20" y="4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30" y="4"/>
                      </a:lnTo>
                      <a:lnTo>
                        <a:pt x="30" y="8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4" y="16"/>
                      </a:lnTo>
                      <a:lnTo>
                        <a:pt x="34" y="16"/>
                      </a:lnTo>
                      <a:lnTo>
                        <a:pt x="34" y="16"/>
                      </a:lnTo>
                      <a:lnTo>
                        <a:pt x="34" y="16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0" y="24"/>
                      </a:lnTo>
                      <a:lnTo>
                        <a:pt x="30" y="24"/>
                      </a:lnTo>
                      <a:lnTo>
                        <a:pt x="30" y="24"/>
                      </a:lnTo>
                      <a:lnTo>
                        <a:pt x="30" y="24"/>
                      </a:lnTo>
                      <a:lnTo>
                        <a:pt x="30" y="24"/>
                      </a:lnTo>
                      <a:lnTo>
                        <a:pt x="30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4"/>
                      </a:lnTo>
                      <a:lnTo>
                        <a:pt x="22" y="24"/>
                      </a:lnTo>
                      <a:lnTo>
                        <a:pt x="22" y="24"/>
                      </a:lnTo>
                      <a:lnTo>
                        <a:pt x="20" y="26"/>
                      </a:lnTo>
                      <a:lnTo>
                        <a:pt x="20" y="26"/>
                      </a:lnTo>
                      <a:lnTo>
                        <a:pt x="20" y="26"/>
                      </a:lnTo>
                      <a:lnTo>
                        <a:pt x="20" y="30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70" name="Freeform 114"/>
                <p:cNvSpPr>
                  <a:spLocks/>
                </p:cNvSpPr>
                <p:nvPr/>
              </p:nvSpPr>
              <p:spPr bwMode="auto">
                <a:xfrm>
                  <a:off x="4991100" y="3159193"/>
                  <a:ext cx="76200" cy="101600"/>
                </a:xfrm>
                <a:custGeom>
                  <a:avLst/>
                  <a:gdLst>
                    <a:gd name="T0" fmla="*/ 22 w 48"/>
                    <a:gd name="T1" fmla="*/ 42 h 64"/>
                    <a:gd name="T2" fmla="*/ 22 w 48"/>
                    <a:gd name="T3" fmla="*/ 38 h 64"/>
                    <a:gd name="T4" fmla="*/ 22 w 48"/>
                    <a:gd name="T5" fmla="*/ 34 h 64"/>
                    <a:gd name="T6" fmla="*/ 20 w 48"/>
                    <a:gd name="T7" fmla="*/ 30 h 64"/>
                    <a:gd name="T8" fmla="*/ 16 w 48"/>
                    <a:gd name="T9" fmla="*/ 26 h 64"/>
                    <a:gd name="T10" fmla="*/ 16 w 48"/>
                    <a:gd name="T11" fmla="*/ 24 h 64"/>
                    <a:gd name="T12" fmla="*/ 12 w 48"/>
                    <a:gd name="T13" fmla="*/ 20 h 64"/>
                    <a:gd name="T14" fmla="*/ 8 w 48"/>
                    <a:gd name="T15" fmla="*/ 16 h 64"/>
                    <a:gd name="T16" fmla="*/ 4 w 48"/>
                    <a:gd name="T17" fmla="*/ 8 h 64"/>
                    <a:gd name="T18" fmla="*/ 0 w 48"/>
                    <a:gd name="T19" fmla="*/ 4 h 64"/>
                    <a:gd name="T20" fmla="*/ 4 w 48"/>
                    <a:gd name="T21" fmla="*/ 4 h 64"/>
                    <a:gd name="T22" fmla="*/ 16 w 48"/>
                    <a:gd name="T23" fmla="*/ 0 h 64"/>
                    <a:gd name="T24" fmla="*/ 20 w 48"/>
                    <a:gd name="T25" fmla="*/ 4 h 64"/>
                    <a:gd name="T26" fmla="*/ 20 w 48"/>
                    <a:gd name="T27" fmla="*/ 4 h 64"/>
                    <a:gd name="T28" fmla="*/ 22 w 48"/>
                    <a:gd name="T29" fmla="*/ 8 h 64"/>
                    <a:gd name="T30" fmla="*/ 26 w 48"/>
                    <a:gd name="T31" fmla="*/ 4 h 64"/>
                    <a:gd name="T32" fmla="*/ 26 w 48"/>
                    <a:gd name="T33" fmla="*/ 8 h 64"/>
                    <a:gd name="T34" fmla="*/ 30 w 48"/>
                    <a:gd name="T35" fmla="*/ 8 h 64"/>
                    <a:gd name="T36" fmla="*/ 34 w 48"/>
                    <a:gd name="T37" fmla="*/ 12 h 64"/>
                    <a:gd name="T38" fmla="*/ 34 w 48"/>
                    <a:gd name="T39" fmla="*/ 12 h 64"/>
                    <a:gd name="T40" fmla="*/ 34 w 48"/>
                    <a:gd name="T41" fmla="*/ 12 h 64"/>
                    <a:gd name="T42" fmla="*/ 36 w 48"/>
                    <a:gd name="T43" fmla="*/ 20 h 64"/>
                    <a:gd name="T44" fmla="*/ 36 w 48"/>
                    <a:gd name="T45" fmla="*/ 24 h 64"/>
                    <a:gd name="T46" fmla="*/ 36 w 48"/>
                    <a:gd name="T47" fmla="*/ 24 h 64"/>
                    <a:gd name="T48" fmla="*/ 40 w 48"/>
                    <a:gd name="T49" fmla="*/ 26 h 64"/>
                    <a:gd name="T50" fmla="*/ 40 w 48"/>
                    <a:gd name="T51" fmla="*/ 26 h 64"/>
                    <a:gd name="T52" fmla="*/ 40 w 48"/>
                    <a:gd name="T53" fmla="*/ 34 h 64"/>
                    <a:gd name="T54" fmla="*/ 48 w 48"/>
                    <a:gd name="T55" fmla="*/ 38 h 64"/>
                    <a:gd name="T56" fmla="*/ 48 w 48"/>
                    <a:gd name="T57" fmla="*/ 42 h 64"/>
                    <a:gd name="T58" fmla="*/ 48 w 48"/>
                    <a:gd name="T59" fmla="*/ 42 h 64"/>
                    <a:gd name="T60" fmla="*/ 48 w 48"/>
                    <a:gd name="T61" fmla="*/ 46 h 64"/>
                    <a:gd name="T62" fmla="*/ 44 w 48"/>
                    <a:gd name="T63" fmla="*/ 46 h 64"/>
                    <a:gd name="T64" fmla="*/ 40 w 48"/>
                    <a:gd name="T65" fmla="*/ 46 h 64"/>
                    <a:gd name="T66" fmla="*/ 36 w 48"/>
                    <a:gd name="T67" fmla="*/ 42 h 64"/>
                    <a:gd name="T68" fmla="*/ 36 w 48"/>
                    <a:gd name="T69" fmla="*/ 46 h 64"/>
                    <a:gd name="T70" fmla="*/ 36 w 48"/>
                    <a:gd name="T71" fmla="*/ 42 h 64"/>
                    <a:gd name="T72" fmla="*/ 34 w 48"/>
                    <a:gd name="T73" fmla="*/ 42 h 64"/>
                    <a:gd name="T74" fmla="*/ 34 w 48"/>
                    <a:gd name="T75" fmla="*/ 50 h 64"/>
                    <a:gd name="T76" fmla="*/ 30 w 48"/>
                    <a:gd name="T77" fmla="*/ 54 h 64"/>
                    <a:gd name="T78" fmla="*/ 30 w 48"/>
                    <a:gd name="T79" fmla="*/ 54 h 64"/>
                    <a:gd name="T80" fmla="*/ 26 w 48"/>
                    <a:gd name="T81" fmla="*/ 56 h 64"/>
                    <a:gd name="T82" fmla="*/ 26 w 48"/>
                    <a:gd name="T83" fmla="*/ 60 h 64"/>
                    <a:gd name="T84" fmla="*/ 22 w 48"/>
                    <a:gd name="T85" fmla="*/ 60 h 64"/>
                    <a:gd name="T86" fmla="*/ 22 w 48"/>
                    <a:gd name="T87" fmla="*/ 60 h 64"/>
                    <a:gd name="T88" fmla="*/ 22 w 48"/>
                    <a:gd name="T89" fmla="*/ 64 h 64"/>
                    <a:gd name="T90" fmla="*/ 22 w 48"/>
                    <a:gd name="T91" fmla="*/ 56 h 64"/>
                    <a:gd name="T92" fmla="*/ 22 w 48"/>
                    <a:gd name="T93" fmla="*/ 54 h 64"/>
                    <a:gd name="T94" fmla="*/ 22 w 48"/>
                    <a:gd name="T95" fmla="*/ 5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48" h="64">
                      <a:moveTo>
                        <a:pt x="22" y="50"/>
                      </a:moveTo>
                      <a:lnTo>
                        <a:pt x="22" y="50"/>
                      </a:lnTo>
                      <a:lnTo>
                        <a:pt x="22" y="46"/>
                      </a:lnTo>
                      <a:lnTo>
                        <a:pt x="22" y="42"/>
                      </a:lnTo>
                      <a:lnTo>
                        <a:pt x="22" y="38"/>
                      </a:lnTo>
                      <a:lnTo>
                        <a:pt x="22" y="38"/>
                      </a:lnTo>
                      <a:lnTo>
                        <a:pt x="22" y="38"/>
                      </a:lnTo>
                      <a:lnTo>
                        <a:pt x="22" y="38"/>
                      </a:lnTo>
                      <a:lnTo>
                        <a:pt x="22" y="34"/>
                      </a:lnTo>
                      <a:lnTo>
                        <a:pt x="22" y="34"/>
                      </a:lnTo>
                      <a:lnTo>
                        <a:pt x="22" y="34"/>
                      </a:lnTo>
                      <a:lnTo>
                        <a:pt x="22" y="34"/>
                      </a:lnTo>
                      <a:lnTo>
                        <a:pt x="22" y="30"/>
                      </a:lnTo>
                      <a:lnTo>
                        <a:pt x="20" y="30"/>
                      </a:lnTo>
                      <a:lnTo>
                        <a:pt x="20" y="30"/>
                      </a:lnTo>
                      <a:lnTo>
                        <a:pt x="20" y="30"/>
                      </a:lnTo>
                      <a:lnTo>
                        <a:pt x="20" y="30"/>
                      </a:lnTo>
                      <a:lnTo>
                        <a:pt x="16" y="26"/>
                      </a:lnTo>
                      <a:lnTo>
                        <a:pt x="16" y="26"/>
                      </a:lnTo>
                      <a:lnTo>
                        <a:pt x="16" y="26"/>
                      </a:lnTo>
                      <a:lnTo>
                        <a:pt x="16" y="26"/>
                      </a:lnTo>
                      <a:lnTo>
                        <a:pt x="16" y="26"/>
                      </a:lnTo>
                      <a:lnTo>
                        <a:pt x="16" y="26"/>
                      </a:lnTo>
                      <a:lnTo>
                        <a:pt x="16" y="24"/>
                      </a:lnTo>
                      <a:lnTo>
                        <a:pt x="12" y="24"/>
                      </a:lnTo>
                      <a:lnTo>
                        <a:pt x="12" y="20"/>
                      </a:lnTo>
                      <a:lnTo>
                        <a:pt x="12" y="20"/>
                      </a:lnTo>
                      <a:lnTo>
                        <a:pt x="12" y="20"/>
                      </a:lnTo>
                      <a:lnTo>
                        <a:pt x="12" y="20"/>
                      </a:lnTo>
                      <a:lnTo>
                        <a:pt x="12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2"/>
                      </a:lnTo>
                      <a:lnTo>
                        <a:pt x="8" y="12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8" y="4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20" y="4"/>
                      </a:lnTo>
                      <a:lnTo>
                        <a:pt x="20" y="4"/>
                      </a:lnTo>
                      <a:lnTo>
                        <a:pt x="20" y="4"/>
                      </a:lnTo>
                      <a:lnTo>
                        <a:pt x="20" y="4"/>
                      </a:lnTo>
                      <a:lnTo>
                        <a:pt x="20" y="4"/>
                      </a:lnTo>
                      <a:lnTo>
                        <a:pt x="20" y="4"/>
                      </a:lnTo>
                      <a:lnTo>
                        <a:pt x="20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8"/>
                      </a:lnTo>
                      <a:lnTo>
                        <a:pt x="22" y="8"/>
                      </a:lnTo>
                      <a:lnTo>
                        <a:pt x="22" y="8"/>
                      </a:lnTo>
                      <a:lnTo>
                        <a:pt x="22" y="4"/>
                      </a:lnTo>
                      <a:lnTo>
                        <a:pt x="26" y="4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30" y="8"/>
                      </a:lnTo>
                      <a:lnTo>
                        <a:pt x="30" y="8"/>
                      </a:lnTo>
                      <a:lnTo>
                        <a:pt x="30" y="8"/>
                      </a:lnTo>
                      <a:lnTo>
                        <a:pt x="30" y="8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6" y="12"/>
                      </a:lnTo>
                      <a:lnTo>
                        <a:pt x="36" y="12"/>
                      </a:lnTo>
                      <a:lnTo>
                        <a:pt x="36" y="16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40" y="24"/>
                      </a:lnTo>
                      <a:lnTo>
                        <a:pt x="36" y="24"/>
                      </a:lnTo>
                      <a:lnTo>
                        <a:pt x="40" y="26"/>
                      </a:lnTo>
                      <a:lnTo>
                        <a:pt x="40" y="26"/>
                      </a:lnTo>
                      <a:lnTo>
                        <a:pt x="40" y="24"/>
                      </a:lnTo>
                      <a:lnTo>
                        <a:pt x="40" y="24"/>
                      </a:lnTo>
                      <a:lnTo>
                        <a:pt x="40" y="24"/>
                      </a:lnTo>
                      <a:lnTo>
                        <a:pt x="40" y="26"/>
                      </a:lnTo>
                      <a:lnTo>
                        <a:pt x="40" y="26"/>
                      </a:lnTo>
                      <a:lnTo>
                        <a:pt x="40" y="26"/>
                      </a:lnTo>
                      <a:lnTo>
                        <a:pt x="40" y="30"/>
                      </a:lnTo>
                      <a:lnTo>
                        <a:pt x="40" y="34"/>
                      </a:lnTo>
                      <a:lnTo>
                        <a:pt x="44" y="34"/>
                      </a:lnTo>
                      <a:lnTo>
                        <a:pt x="44" y="34"/>
                      </a:lnTo>
                      <a:lnTo>
                        <a:pt x="48" y="34"/>
                      </a:lnTo>
                      <a:lnTo>
                        <a:pt x="48" y="38"/>
                      </a:lnTo>
                      <a:lnTo>
                        <a:pt x="48" y="42"/>
                      </a:lnTo>
                      <a:lnTo>
                        <a:pt x="48" y="42"/>
                      </a:lnTo>
                      <a:lnTo>
                        <a:pt x="44" y="42"/>
                      </a:lnTo>
                      <a:lnTo>
                        <a:pt x="48" y="42"/>
                      </a:lnTo>
                      <a:lnTo>
                        <a:pt x="48" y="42"/>
                      </a:lnTo>
                      <a:lnTo>
                        <a:pt x="48" y="42"/>
                      </a:lnTo>
                      <a:lnTo>
                        <a:pt x="48" y="42"/>
                      </a:lnTo>
                      <a:lnTo>
                        <a:pt x="48" y="42"/>
                      </a:lnTo>
                      <a:lnTo>
                        <a:pt x="48" y="42"/>
                      </a:lnTo>
                      <a:lnTo>
                        <a:pt x="48" y="42"/>
                      </a:lnTo>
                      <a:lnTo>
                        <a:pt x="48" y="46"/>
                      </a:lnTo>
                      <a:lnTo>
                        <a:pt x="48" y="46"/>
                      </a:lnTo>
                      <a:lnTo>
                        <a:pt x="48" y="46"/>
                      </a:lnTo>
                      <a:lnTo>
                        <a:pt x="48" y="46"/>
                      </a:lnTo>
                      <a:lnTo>
                        <a:pt x="48" y="46"/>
                      </a:lnTo>
                      <a:lnTo>
                        <a:pt x="44" y="46"/>
                      </a:lnTo>
                      <a:lnTo>
                        <a:pt x="44" y="46"/>
                      </a:lnTo>
                      <a:lnTo>
                        <a:pt x="44" y="42"/>
                      </a:lnTo>
                      <a:lnTo>
                        <a:pt x="44" y="46"/>
                      </a:lnTo>
                      <a:lnTo>
                        <a:pt x="40" y="46"/>
                      </a:lnTo>
                      <a:lnTo>
                        <a:pt x="40" y="46"/>
                      </a:lnTo>
                      <a:lnTo>
                        <a:pt x="40" y="42"/>
                      </a:lnTo>
                      <a:lnTo>
                        <a:pt x="40" y="42"/>
                      </a:lnTo>
                      <a:lnTo>
                        <a:pt x="36" y="42"/>
                      </a:lnTo>
                      <a:lnTo>
                        <a:pt x="36" y="42"/>
                      </a:lnTo>
                      <a:lnTo>
                        <a:pt x="36" y="42"/>
                      </a:lnTo>
                      <a:lnTo>
                        <a:pt x="36" y="46"/>
                      </a:lnTo>
                      <a:lnTo>
                        <a:pt x="36" y="46"/>
                      </a:lnTo>
                      <a:lnTo>
                        <a:pt x="36" y="46"/>
                      </a:lnTo>
                      <a:lnTo>
                        <a:pt x="36" y="42"/>
                      </a:lnTo>
                      <a:lnTo>
                        <a:pt x="36" y="42"/>
                      </a:lnTo>
                      <a:lnTo>
                        <a:pt x="36" y="42"/>
                      </a:lnTo>
                      <a:lnTo>
                        <a:pt x="36" y="42"/>
                      </a:lnTo>
                      <a:lnTo>
                        <a:pt x="36" y="42"/>
                      </a:lnTo>
                      <a:lnTo>
                        <a:pt x="34" y="42"/>
                      </a:lnTo>
                      <a:lnTo>
                        <a:pt x="34" y="42"/>
                      </a:lnTo>
                      <a:lnTo>
                        <a:pt x="34" y="42"/>
                      </a:lnTo>
                      <a:lnTo>
                        <a:pt x="34" y="42"/>
                      </a:lnTo>
                      <a:lnTo>
                        <a:pt x="34" y="46"/>
                      </a:lnTo>
                      <a:lnTo>
                        <a:pt x="34" y="50"/>
                      </a:lnTo>
                      <a:lnTo>
                        <a:pt x="34" y="50"/>
                      </a:lnTo>
                      <a:lnTo>
                        <a:pt x="34" y="54"/>
                      </a:lnTo>
                      <a:lnTo>
                        <a:pt x="34" y="54"/>
                      </a:lnTo>
                      <a:lnTo>
                        <a:pt x="30" y="54"/>
                      </a:lnTo>
                      <a:lnTo>
                        <a:pt x="30" y="54"/>
                      </a:lnTo>
                      <a:lnTo>
                        <a:pt x="30" y="54"/>
                      </a:lnTo>
                      <a:lnTo>
                        <a:pt x="30" y="54"/>
                      </a:lnTo>
                      <a:lnTo>
                        <a:pt x="30" y="54"/>
                      </a:lnTo>
                      <a:lnTo>
                        <a:pt x="30" y="56"/>
                      </a:lnTo>
                      <a:lnTo>
                        <a:pt x="30" y="56"/>
                      </a:lnTo>
                      <a:lnTo>
                        <a:pt x="26" y="56"/>
                      </a:lnTo>
                      <a:lnTo>
                        <a:pt x="26" y="56"/>
                      </a:lnTo>
                      <a:lnTo>
                        <a:pt x="26" y="60"/>
                      </a:lnTo>
                      <a:lnTo>
                        <a:pt x="26" y="60"/>
                      </a:lnTo>
                      <a:lnTo>
                        <a:pt x="26" y="60"/>
                      </a:lnTo>
                      <a:lnTo>
                        <a:pt x="26" y="60"/>
                      </a:lnTo>
                      <a:lnTo>
                        <a:pt x="26" y="60"/>
                      </a:lnTo>
                      <a:lnTo>
                        <a:pt x="26" y="60"/>
                      </a:lnTo>
                      <a:lnTo>
                        <a:pt x="26" y="60"/>
                      </a:lnTo>
                      <a:lnTo>
                        <a:pt x="22" y="60"/>
                      </a:lnTo>
                      <a:lnTo>
                        <a:pt x="22" y="60"/>
                      </a:lnTo>
                      <a:lnTo>
                        <a:pt x="22" y="60"/>
                      </a:lnTo>
                      <a:lnTo>
                        <a:pt x="22" y="60"/>
                      </a:lnTo>
                      <a:lnTo>
                        <a:pt x="22" y="60"/>
                      </a:lnTo>
                      <a:lnTo>
                        <a:pt x="22" y="64"/>
                      </a:lnTo>
                      <a:lnTo>
                        <a:pt x="22" y="64"/>
                      </a:lnTo>
                      <a:lnTo>
                        <a:pt x="22" y="64"/>
                      </a:lnTo>
                      <a:lnTo>
                        <a:pt x="22" y="64"/>
                      </a:lnTo>
                      <a:lnTo>
                        <a:pt x="22" y="60"/>
                      </a:lnTo>
                      <a:lnTo>
                        <a:pt x="22" y="60"/>
                      </a:lnTo>
                      <a:lnTo>
                        <a:pt x="22" y="60"/>
                      </a:lnTo>
                      <a:lnTo>
                        <a:pt x="22" y="56"/>
                      </a:lnTo>
                      <a:lnTo>
                        <a:pt x="22" y="56"/>
                      </a:lnTo>
                      <a:lnTo>
                        <a:pt x="22" y="54"/>
                      </a:lnTo>
                      <a:lnTo>
                        <a:pt x="22" y="54"/>
                      </a:lnTo>
                      <a:lnTo>
                        <a:pt x="22" y="54"/>
                      </a:lnTo>
                      <a:lnTo>
                        <a:pt x="22" y="50"/>
                      </a:lnTo>
                      <a:lnTo>
                        <a:pt x="22" y="50"/>
                      </a:lnTo>
                      <a:lnTo>
                        <a:pt x="22" y="50"/>
                      </a:lnTo>
                      <a:lnTo>
                        <a:pt x="22" y="5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71" name="Freeform 115"/>
                <p:cNvSpPr>
                  <a:spLocks noEditPoints="1"/>
                </p:cNvSpPr>
                <p:nvPr/>
              </p:nvSpPr>
              <p:spPr bwMode="auto">
                <a:xfrm>
                  <a:off x="4470400" y="2994093"/>
                  <a:ext cx="82550" cy="95250"/>
                </a:xfrm>
                <a:custGeom>
                  <a:avLst/>
                  <a:gdLst>
                    <a:gd name="T0" fmla="*/ 30 w 52"/>
                    <a:gd name="T1" fmla="*/ 26 h 60"/>
                    <a:gd name="T2" fmla="*/ 34 w 52"/>
                    <a:gd name="T3" fmla="*/ 22 h 60"/>
                    <a:gd name="T4" fmla="*/ 34 w 52"/>
                    <a:gd name="T5" fmla="*/ 16 h 60"/>
                    <a:gd name="T6" fmla="*/ 26 w 52"/>
                    <a:gd name="T7" fmla="*/ 8 h 60"/>
                    <a:gd name="T8" fmla="*/ 26 w 52"/>
                    <a:gd name="T9" fmla="*/ 16 h 60"/>
                    <a:gd name="T10" fmla="*/ 22 w 52"/>
                    <a:gd name="T11" fmla="*/ 18 h 60"/>
                    <a:gd name="T12" fmla="*/ 22 w 52"/>
                    <a:gd name="T13" fmla="*/ 22 h 60"/>
                    <a:gd name="T14" fmla="*/ 20 w 52"/>
                    <a:gd name="T15" fmla="*/ 18 h 60"/>
                    <a:gd name="T16" fmla="*/ 22 w 52"/>
                    <a:gd name="T17" fmla="*/ 12 h 60"/>
                    <a:gd name="T18" fmla="*/ 26 w 52"/>
                    <a:gd name="T19" fmla="*/ 8 h 60"/>
                    <a:gd name="T20" fmla="*/ 38 w 52"/>
                    <a:gd name="T21" fmla="*/ 0 h 60"/>
                    <a:gd name="T22" fmla="*/ 48 w 52"/>
                    <a:gd name="T23" fmla="*/ 0 h 60"/>
                    <a:gd name="T24" fmla="*/ 52 w 52"/>
                    <a:gd name="T25" fmla="*/ 12 h 60"/>
                    <a:gd name="T26" fmla="*/ 52 w 52"/>
                    <a:gd name="T27" fmla="*/ 18 h 60"/>
                    <a:gd name="T28" fmla="*/ 44 w 52"/>
                    <a:gd name="T29" fmla="*/ 18 h 60"/>
                    <a:gd name="T30" fmla="*/ 52 w 52"/>
                    <a:gd name="T31" fmla="*/ 26 h 60"/>
                    <a:gd name="T32" fmla="*/ 48 w 52"/>
                    <a:gd name="T33" fmla="*/ 30 h 60"/>
                    <a:gd name="T34" fmla="*/ 44 w 52"/>
                    <a:gd name="T35" fmla="*/ 34 h 60"/>
                    <a:gd name="T36" fmla="*/ 38 w 52"/>
                    <a:gd name="T37" fmla="*/ 42 h 60"/>
                    <a:gd name="T38" fmla="*/ 38 w 52"/>
                    <a:gd name="T39" fmla="*/ 48 h 60"/>
                    <a:gd name="T40" fmla="*/ 38 w 52"/>
                    <a:gd name="T41" fmla="*/ 56 h 60"/>
                    <a:gd name="T42" fmla="*/ 34 w 52"/>
                    <a:gd name="T43" fmla="*/ 56 h 60"/>
                    <a:gd name="T44" fmla="*/ 30 w 52"/>
                    <a:gd name="T45" fmla="*/ 56 h 60"/>
                    <a:gd name="T46" fmla="*/ 30 w 52"/>
                    <a:gd name="T47" fmla="*/ 48 h 60"/>
                    <a:gd name="T48" fmla="*/ 26 w 52"/>
                    <a:gd name="T49" fmla="*/ 44 h 60"/>
                    <a:gd name="T50" fmla="*/ 20 w 52"/>
                    <a:gd name="T51" fmla="*/ 44 h 60"/>
                    <a:gd name="T52" fmla="*/ 16 w 52"/>
                    <a:gd name="T53" fmla="*/ 44 h 60"/>
                    <a:gd name="T54" fmla="*/ 16 w 52"/>
                    <a:gd name="T55" fmla="*/ 44 h 60"/>
                    <a:gd name="T56" fmla="*/ 4 w 52"/>
                    <a:gd name="T57" fmla="*/ 44 h 60"/>
                    <a:gd name="T58" fmla="*/ 8 w 52"/>
                    <a:gd name="T59" fmla="*/ 42 h 60"/>
                    <a:gd name="T60" fmla="*/ 8 w 52"/>
                    <a:gd name="T61" fmla="*/ 42 h 60"/>
                    <a:gd name="T62" fmla="*/ 12 w 52"/>
                    <a:gd name="T63" fmla="*/ 42 h 60"/>
                    <a:gd name="T64" fmla="*/ 12 w 52"/>
                    <a:gd name="T65" fmla="*/ 42 h 60"/>
                    <a:gd name="T66" fmla="*/ 12 w 52"/>
                    <a:gd name="T67" fmla="*/ 38 h 60"/>
                    <a:gd name="T68" fmla="*/ 8 w 52"/>
                    <a:gd name="T69" fmla="*/ 38 h 60"/>
                    <a:gd name="T70" fmla="*/ 12 w 52"/>
                    <a:gd name="T71" fmla="*/ 34 h 60"/>
                    <a:gd name="T72" fmla="*/ 16 w 52"/>
                    <a:gd name="T73" fmla="*/ 22 h 60"/>
                    <a:gd name="T74" fmla="*/ 22 w 52"/>
                    <a:gd name="T75" fmla="*/ 26 h 60"/>
                    <a:gd name="T76" fmla="*/ 22 w 52"/>
                    <a:gd name="T77" fmla="*/ 18 h 60"/>
                    <a:gd name="T78" fmla="*/ 26 w 52"/>
                    <a:gd name="T79" fmla="*/ 18 h 60"/>
                    <a:gd name="T80" fmla="*/ 30 w 52"/>
                    <a:gd name="T81" fmla="*/ 22 h 60"/>
                    <a:gd name="T82" fmla="*/ 22 w 52"/>
                    <a:gd name="T83" fmla="*/ 22 h 60"/>
                    <a:gd name="T84" fmla="*/ 30 w 52"/>
                    <a:gd name="T85" fmla="*/ 26 h 60"/>
                    <a:gd name="T86" fmla="*/ 26 w 52"/>
                    <a:gd name="T87" fmla="*/ 26 h 60"/>
                    <a:gd name="T88" fmla="*/ 30 w 52"/>
                    <a:gd name="T89" fmla="*/ 22 h 60"/>
                    <a:gd name="T90" fmla="*/ 34 w 52"/>
                    <a:gd name="T91" fmla="*/ 22 h 60"/>
                    <a:gd name="T92" fmla="*/ 8 w 52"/>
                    <a:gd name="T93" fmla="*/ 38 h 60"/>
                    <a:gd name="T94" fmla="*/ 8 w 52"/>
                    <a:gd name="T95" fmla="*/ 42 h 60"/>
                    <a:gd name="T96" fmla="*/ 8 w 52"/>
                    <a:gd name="T97" fmla="*/ 38 h 60"/>
                    <a:gd name="T98" fmla="*/ 8 w 52"/>
                    <a:gd name="T99" fmla="*/ 44 h 60"/>
                    <a:gd name="T100" fmla="*/ 8 w 52"/>
                    <a:gd name="T101" fmla="*/ 48 h 60"/>
                    <a:gd name="T102" fmla="*/ 0 w 52"/>
                    <a:gd name="T103" fmla="*/ 48 h 60"/>
                    <a:gd name="T104" fmla="*/ 26 w 52"/>
                    <a:gd name="T105" fmla="*/ 4 h 60"/>
                    <a:gd name="T106" fmla="*/ 26 w 52"/>
                    <a:gd name="T107" fmla="*/ 4 h 60"/>
                    <a:gd name="T108" fmla="*/ 20 w 52"/>
                    <a:gd name="T109" fmla="*/ 12 h 60"/>
                    <a:gd name="T110" fmla="*/ 22 w 52"/>
                    <a:gd name="T111" fmla="*/ 8 h 60"/>
                    <a:gd name="T112" fmla="*/ 20 w 52"/>
                    <a:gd name="T113" fmla="*/ 12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52" h="60">
                      <a:moveTo>
                        <a:pt x="26" y="26"/>
                      </a:move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30" y="26"/>
                      </a:lnTo>
                      <a:lnTo>
                        <a:pt x="30" y="26"/>
                      </a:lnTo>
                      <a:lnTo>
                        <a:pt x="30" y="26"/>
                      </a:lnTo>
                      <a:lnTo>
                        <a:pt x="30" y="26"/>
                      </a:lnTo>
                      <a:lnTo>
                        <a:pt x="30" y="26"/>
                      </a:lnTo>
                      <a:lnTo>
                        <a:pt x="30" y="26"/>
                      </a:lnTo>
                      <a:lnTo>
                        <a:pt x="30" y="22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4" y="18"/>
                      </a:lnTo>
                      <a:lnTo>
                        <a:pt x="34" y="18"/>
                      </a:lnTo>
                      <a:lnTo>
                        <a:pt x="34" y="18"/>
                      </a:lnTo>
                      <a:lnTo>
                        <a:pt x="34" y="18"/>
                      </a:lnTo>
                      <a:lnTo>
                        <a:pt x="30" y="18"/>
                      </a:lnTo>
                      <a:lnTo>
                        <a:pt x="30" y="16"/>
                      </a:lnTo>
                      <a:lnTo>
                        <a:pt x="30" y="16"/>
                      </a:lnTo>
                      <a:lnTo>
                        <a:pt x="34" y="16"/>
                      </a:lnTo>
                      <a:lnTo>
                        <a:pt x="34" y="16"/>
                      </a:lnTo>
                      <a:lnTo>
                        <a:pt x="34" y="16"/>
                      </a:lnTo>
                      <a:lnTo>
                        <a:pt x="30" y="16"/>
                      </a:lnTo>
                      <a:lnTo>
                        <a:pt x="30" y="16"/>
                      </a:lnTo>
                      <a:lnTo>
                        <a:pt x="30" y="16"/>
                      </a:lnTo>
                      <a:lnTo>
                        <a:pt x="26" y="12"/>
                      </a:lnTo>
                      <a:lnTo>
                        <a:pt x="30" y="12"/>
                      </a:lnTo>
                      <a:lnTo>
                        <a:pt x="30" y="12"/>
                      </a:lnTo>
                      <a:lnTo>
                        <a:pt x="30" y="12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22" y="12"/>
                      </a:lnTo>
                      <a:lnTo>
                        <a:pt x="22" y="12"/>
                      </a:lnTo>
                      <a:lnTo>
                        <a:pt x="22" y="16"/>
                      </a:lnTo>
                      <a:lnTo>
                        <a:pt x="26" y="16"/>
                      </a:lnTo>
                      <a:lnTo>
                        <a:pt x="26" y="16"/>
                      </a:lnTo>
                      <a:lnTo>
                        <a:pt x="26" y="16"/>
                      </a:lnTo>
                      <a:lnTo>
                        <a:pt x="26" y="16"/>
                      </a:lnTo>
                      <a:lnTo>
                        <a:pt x="26" y="18"/>
                      </a:lnTo>
                      <a:lnTo>
                        <a:pt x="26" y="18"/>
                      </a:lnTo>
                      <a:lnTo>
                        <a:pt x="26" y="18"/>
                      </a:lnTo>
                      <a:lnTo>
                        <a:pt x="26" y="18"/>
                      </a:lnTo>
                      <a:lnTo>
                        <a:pt x="26" y="18"/>
                      </a:lnTo>
                      <a:lnTo>
                        <a:pt x="22" y="18"/>
                      </a:lnTo>
                      <a:lnTo>
                        <a:pt x="22" y="18"/>
                      </a:lnTo>
                      <a:lnTo>
                        <a:pt x="22" y="18"/>
                      </a:lnTo>
                      <a:lnTo>
                        <a:pt x="22" y="18"/>
                      </a:lnTo>
                      <a:lnTo>
                        <a:pt x="22" y="18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6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2" y="12"/>
                      </a:lnTo>
                      <a:lnTo>
                        <a:pt x="22" y="12"/>
                      </a:lnTo>
                      <a:lnTo>
                        <a:pt x="22" y="12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30" y="8"/>
                      </a:lnTo>
                      <a:lnTo>
                        <a:pt x="30" y="8"/>
                      </a:lnTo>
                      <a:lnTo>
                        <a:pt x="30" y="8"/>
                      </a:lnTo>
                      <a:lnTo>
                        <a:pt x="30" y="8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4" y="4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42" y="0"/>
                      </a:lnTo>
                      <a:lnTo>
                        <a:pt x="42" y="0"/>
                      </a:lnTo>
                      <a:lnTo>
                        <a:pt x="42" y="0"/>
                      </a:lnTo>
                      <a:lnTo>
                        <a:pt x="44" y="0"/>
                      </a:lnTo>
                      <a:lnTo>
                        <a:pt x="48" y="0"/>
                      </a:lnTo>
                      <a:lnTo>
                        <a:pt x="48" y="0"/>
                      </a:lnTo>
                      <a:lnTo>
                        <a:pt x="48" y="0"/>
                      </a:lnTo>
                      <a:lnTo>
                        <a:pt x="48" y="0"/>
                      </a:lnTo>
                      <a:lnTo>
                        <a:pt x="48" y="4"/>
                      </a:lnTo>
                      <a:lnTo>
                        <a:pt x="48" y="4"/>
                      </a:lnTo>
                      <a:lnTo>
                        <a:pt x="52" y="4"/>
                      </a:lnTo>
                      <a:lnTo>
                        <a:pt x="52" y="4"/>
                      </a:lnTo>
                      <a:lnTo>
                        <a:pt x="52" y="4"/>
                      </a:lnTo>
                      <a:lnTo>
                        <a:pt x="52" y="8"/>
                      </a:lnTo>
                      <a:lnTo>
                        <a:pt x="52" y="12"/>
                      </a:lnTo>
                      <a:lnTo>
                        <a:pt x="52" y="12"/>
                      </a:lnTo>
                      <a:lnTo>
                        <a:pt x="52" y="12"/>
                      </a:lnTo>
                      <a:lnTo>
                        <a:pt x="52" y="12"/>
                      </a:lnTo>
                      <a:lnTo>
                        <a:pt x="52" y="16"/>
                      </a:lnTo>
                      <a:lnTo>
                        <a:pt x="52" y="16"/>
                      </a:lnTo>
                      <a:lnTo>
                        <a:pt x="52" y="16"/>
                      </a:lnTo>
                      <a:lnTo>
                        <a:pt x="52" y="16"/>
                      </a:lnTo>
                      <a:lnTo>
                        <a:pt x="52" y="16"/>
                      </a:lnTo>
                      <a:lnTo>
                        <a:pt x="52" y="18"/>
                      </a:lnTo>
                      <a:lnTo>
                        <a:pt x="52" y="18"/>
                      </a:lnTo>
                      <a:lnTo>
                        <a:pt x="48" y="18"/>
                      </a:lnTo>
                      <a:lnTo>
                        <a:pt x="48" y="18"/>
                      </a:lnTo>
                      <a:lnTo>
                        <a:pt x="48" y="18"/>
                      </a:lnTo>
                      <a:lnTo>
                        <a:pt x="48" y="18"/>
                      </a:lnTo>
                      <a:lnTo>
                        <a:pt x="48" y="18"/>
                      </a:lnTo>
                      <a:lnTo>
                        <a:pt x="48" y="18"/>
                      </a:lnTo>
                      <a:lnTo>
                        <a:pt x="48" y="18"/>
                      </a:lnTo>
                      <a:lnTo>
                        <a:pt x="44" y="18"/>
                      </a:lnTo>
                      <a:lnTo>
                        <a:pt x="44" y="22"/>
                      </a:lnTo>
                      <a:lnTo>
                        <a:pt x="48" y="22"/>
                      </a:lnTo>
                      <a:lnTo>
                        <a:pt x="48" y="22"/>
                      </a:lnTo>
                      <a:lnTo>
                        <a:pt x="52" y="22"/>
                      </a:lnTo>
                      <a:lnTo>
                        <a:pt x="52" y="22"/>
                      </a:lnTo>
                      <a:lnTo>
                        <a:pt x="52" y="22"/>
                      </a:lnTo>
                      <a:lnTo>
                        <a:pt x="52" y="26"/>
                      </a:lnTo>
                      <a:lnTo>
                        <a:pt x="52" y="26"/>
                      </a:lnTo>
                      <a:lnTo>
                        <a:pt x="52" y="26"/>
                      </a:lnTo>
                      <a:lnTo>
                        <a:pt x="52" y="26"/>
                      </a:lnTo>
                      <a:lnTo>
                        <a:pt x="52" y="26"/>
                      </a:lnTo>
                      <a:lnTo>
                        <a:pt x="48" y="26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4"/>
                      </a:lnTo>
                      <a:lnTo>
                        <a:pt x="48" y="34"/>
                      </a:lnTo>
                      <a:lnTo>
                        <a:pt x="48" y="34"/>
                      </a:lnTo>
                      <a:lnTo>
                        <a:pt x="48" y="34"/>
                      </a:lnTo>
                      <a:lnTo>
                        <a:pt x="44" y="34"/>
                      </a:lnTo>
                      <a:lnTo>
                        <a:pt x="44" y="34"/>
                      </a:lnTo>
                      <a:lnTo>
                        <a:pt x="44" y="34"/>
                      </a:lnTo>
                      <a:lnTo>
                        <a:pt x="44" y="34"/>
                      </a:lnTo>
                      <a:lnTo>
                        <a:pt x="42" y="34"/>
                      </a:lnTo>
                      <a:lnTo>
                        <a:pt x="38" y="34"/>
                      </a:lnTo>
                      <a:lnTo>
                        <a:pt x="38" y="34"/>
                      </a:lnTo>
                      <a:lnTo>
                        <a:pt x="38" y="34"/>
                      </a:lnTo>
                      <a:lnTo>
                        <a:pt x="38" y="38"/>
                      </a:lnTo>
                      <a:lnTo>
                        <a:pt x="38" y="38"/>
                      </a:lnTo>
                      <a:lnTo>
                        <a:pt x="38" y="38"/>
                      </a:lnTo>
                      <a:lnTo>
                        <a:pt x="38" y="38"/>
                      </a:lnTo>
                      <a:lnTo>
                        <a:pt x="38" y="42"/>
                      </a:lnTo>
                      <a:lnTo>
                        <a:pt x="38" y="42"/>
                      </a:lnTo>
                      <a:lnTo>
                        <a:pt x="38" y="42"/>
                      </a:lnTo>
                      <a:lnTo>
                        <a:pt x="42" y="42"/>
                      </a:lnTo>
                      <a:lnTo>
                        <a:pt x="42" y="42"/>
                      </a:lnTo>
                      <a:lnTo>
                        <a:pt x="42" y="44"/>
                      </a:lnTo>
                      <a:lnTo>
                        <a:pt x="38" y="44"/>
                      </a:lnTo>
                      <a:lnTo>
                        <a:pt x="38" y="48"/>
                      </a:lnTo>
                      <a:lnTo>
                        <a:pt x="38" y="48"/>
                      </a:lnTo>
                      <a:lnTo>
                        <a:pt x="38" y="48"/>
                      </a:lnTo>
                      <a:lnTo>
                        <a:pt x="38" y="48"/>
                      </a:lnTo>
                      <a:lnTo>
                        <a:pt x="38" y="52"/>
                      </a:lnTo>
                      <a:lnTo>
                        <a:pt x="34" y="52"/>
                      </a:lnTo>
                      <a:lnTo>
                        <a:pt x="34" y="52"/>
                      </a:lnTo>
                      <a:lnTo>
                        <a:pt x="34" y="52"/>
                      </a:lnTo>
                      <a:lnTo>
                        <a:pt x="34" y="52"/>
                      </a:lnTo>
                      <a:lnTo>
                        <a:pt x="38" y="52"/>
                      </a:lnTo>
                      <a:lnTo>
                        <a:pt x="38" y="52"/>
                      </a:lnTo>
                      <a:lnTo>
                        <a:pt x="38" y="56"/>
                      </a:lnTo>
                      <a:lnTo>
                        <a:pt x="38" y="56"/>
                      </a:lnTo>
                      <a:lnTo>
                        <a:pt x="38" y="56"/>
                      </a:lnTo>
                      <a:lnTo>
                        <a:pt x="38" y="56"/>
                      </a:lnTo>
                      <a:lnTo>
                        <a:pt x="38" y="56"/>
                      </a:lnTo>
                      <a:lnTo>
                        <a:pt x="38" y="56"/>
                      </a:lnTo>
                      <a:lnTo>
                        <a:pt x="34" y="56"/>
                      </a:lnTo>
                      <a:lnTo>
                        <a:pt x="34" y="60"/>
                      </a:lnTo>
                      <a:lnTo>
                        <a:pt x="34" y="56"/>
                      </a:lnTo>
                      <a:lnTo>
                        <a:pt x="34" y="56"/>
                      </a:lnTo>
                      <a:lnTo>
                        <a:pt x="34" y="56"/>
                      </a:lnTo>
                      <a:lnTo>
                        <a:pt x="34" y="56"/>
                      </a:lnTo>
                      <a:lnTo>
                        <a:pt x="34" y="56"/>
                      </a:lnTo>
                      <a:lnTo>
                        <a:pt x="34" y="56"/>
                      </a:lnTo>
                      <a:lnTo>
                        <a:pt x="34" y="56"/>
                      </a:lnTo>
                      <a:lnTo>
                        <a:pt x="34" y="56"/>
                      </a:lnTo>
                      <a:lnTo>
                        <a:pt x="34" y="56"/>
                      </a:lnTo>
                      <a:lnTo>
                        <a:pt x="30" y="56"/>
                      </a:lnTo>
                      <a:lnTo>
                        <a:pt x="30" y="56"/>
                      </a:lnTo>
                      <a:lnTo>
                        <a:pt x="30" y="56"/>
                      </a:lnTo>
                      <a:lnTo>
                        <a:pt x="34" y="52"/>
                      </a:lnTo>
                      <a:lnTo>
                        <a:pt x="34" y="52"/>
                      </a:lnTo>
                      <a:lnTo>
                        <a:pt x="34" y="52"/>
                      </a:lnTo>
                      <a:lnTo>
                        <a:pt x="34" y="48"/>
                      </a:lnTo>
                      <a:lnTo>
                        <a:pt x="34" y="48"/>
                      </a:lnTo>
                      <a:lnTo>
                        <a:pt x="34" y="48"/>
                      </a:lnTo>
                      <a:lnTo>
                        <a:pt x="30" y="48"/>
                      </a:lnTo>
                      <a:lnTo>
                        <a:pt x="30" y="48"/>
                      </a:lnTo>
                      <a:lnTo>
                        <a:pt x="30" y="48"/>
                      </a:lnTo>
                      <a:lnTo>
                        <a:pt x="30" y="44"/>
                      </a:lnTo>
                      <a:lnTo>
                        <a:pt x="30" y="48"/>
                      </a:lnTo>
                      <a:lnTo>
                        <a:pt x="30" y="48"/>
                      </a:lnTo>
                      <a:lnTo>
                        <a:pt x="26" y="48"/>
                      </a:lnTo>
                      <a:lnTo>
                        <a:pt x="26" y="48"/>
                      </a:lnTo>
                      <a:lnTo>
                        <a:pt x="26" y="44"/>
                      </a:lnTo>
                      <a:lnTo>
                        <a:pt x="26" y="44"/>
                      </a:lnTo>
                      <a:lnTo>
                        <a:pt x="26" y="44"/>
                      </a:lnTo>
                      <a:lnTo>
                        <a:pt x="26" y="44"/>
                      </a:lnTo>
                      <a:lnTo>
                        <a:pt x="22" y="44"/>
                      </a:lnTo>
                      <a:lnTo>
                        <a:pt x="22" y="44"/>
                      </a:lnTo>
                      <a:lnTo>
                        <a:pt x="22" y="42"/>
                      </a:lnTo>
                      <a:lnTo>
                        <a:pt x="22" y="42"/>
                      </a:lnTo>
                      <a:lnTo>
                        <a:pt x="22" y="42"/>
                      </a:lnTo>
                      <a:lnTo>
                        <a:pt x="22" y="44"/>
                      </a:lnTo>
                      <a:lnTo>
                        <a:pt x="22" y="44"/>
                      </a:lnTo>
                      <a:lnTo>
                        <a:pt x="20" y="44"/>
                      </a:lnTo>
                      <a:lnTo>
                        <a:pt x="20" y="44"/>
                      </a:lnTo>
                      <a:lnTo>
                        <a:pt x="20" y="42"/>
                      </a:lnTo>
                      <a:lnTo>
                        <a:pt x="20" y="42"/>
                      </a:lnTo>
                      <a:lnTo>
                        <a:pt x="20" y="42"/>
                      </a:lnTo>
                      <a:lnTo>
                        <a:pt x="20" y="42"/>
                      </a:lnTo>
                      <a:lnTo>
                        <a:pt x="20" y="42"/>
                      </a:lnTo>
                      <a:lnTo>
                        <a:pt x="20" y="44"/>
                      </a:lnTo>
                      <a:lnTo>
                        <a:pt x="20" y="44"/>
                      </a:lnTo>
                      <a:lnTo>
                        <a:pt x="16" y="44"/>
                      </a:lnTo>
                      <a:lnTo>
                        <a:pt x="16" y="44"/>
                      </a:lnTo>
                      <a:lnTo>
                        <a:pt x="16" y="42"/>
                      </a:lnTo>
                      <a:lnTo>
                        <a:pt x="16" y="42"/>
                      </a:lnTo>
                      <a:lnTo>
                        <a:pt x="16" y="44"/>
                      </a:lnTo>
                      <a:lnTo>
                        <a:pt x="16" y="44"/>
                      </a:lnTo>
                      <a:lnTo>
                        <a:pt x="16" y="44"/>
                      </a:lnTo>
                      <a:lnTo>
                        <a:pt x="16" y="44"/>
                      </a:lnTo>
                      <a:lnTo>
                        <a:pt x="16" y="44"/>
                      </a:lnTo>
                      <a:lnTo>
                        <a:pt x="16" y="44"/>
                      </a:lnTo>
                      <a:lnTo>
                        <a:pt x="16" y="44"/>
                      </a:lnTo>
                      <a:lnTo>
                        <a:pt x="12" y="44"/>
                      </a:lnTo>
                      <a:lnTo>
                        <a:pt x="12" y="44"/>
                      </a:lnTo>
                      <a:lnTo>
                        <a:pt x="12" y="44"/>
                      </a:lnTo>
                      <a:lnTo>
                        <a:pt x="8" y="44"/>
                      </a:lnTo>
                      <a:lnTo>
                        <a:pt x="8" y="44"/>
                      </a:lnTo>
                      <a:lnTo>
                        <a:pt x="8" y="44"/>
                      </a:lnTo>
                      <a:lnTo>
                        <a:pt x="8" y="44"/>
                      </a:lnTo>
                      <a:lnTo>
                        <a:pt x="4" y="44"/>
                      </a:lnTo>
                      <a:lnTo>
                        <a:pt x="0" y="44"/>
                      </a:lnTo>
                      <a:lnTo>
                        <a:pt x="0" y="42"/>
                      </a:lnTo>
                      <a:lnTo>
                        <a:pt x="0" y="42"/>
                      </a:lnTo>
                      <a:lnTo>
                        <a:pt x="0" y="42"/>
                      </a:lnTo>
                      <a:lnTo>
                        <a:pt x="0" y="42"/>
                      </a:lnTo>
                      <a:lnTo>
                        <a:pt x="4" y="42"/>
                      </a:lnTo>
                      <a:lnTo>
                        <a:pt x="4" y="42"/>
                      </a:lnTo>
                      <a:lnTo>
                        <a:pt x="8" y="42"/>
                      </a:lnTo>
                      <a:lnTo>
                        <a:pt x="8" y="42"/>
                      </a:lnTo>
                      <a:lnTo>
                        <a:pt x="8" y="42"/>
                      </a:lnTo>
                      <a:lnTo>
                        <a:pt x="8" y="42"/>
                      </a:lnTo>
                      <a:lnTo>
                        <a:pt x="8" y="42"/>
                      </a:lnTo>
                      <a:lnTo>
                        <a:pt x="8" y="42"/>
                      </a:lnTo>
                      <a:lnTo>
                        <a:pt x="8" y="42"/>
                      </a:lnTo>
                      <a:lnTo>
                        <a:pt x="8" y="42"/>
                      </a:lnTo>
                      <a:lnTo>
                        <a:pt x="8" y="42"/>
                      </a:lnTo>
                      <a:lnTo>
                        <a:pt x="8" y="42"/>
                      </a:lnTo>
                      <a:lnTo>
                        <a:pt x="8" y="42"/>
                      </a:lnTo>
                      <a:lnTo>
                        <a:pt x="8" y="42"/>
                      </a:lnTo>
                      <a:lnTo>
                        <a:pt x="8" y="42"/>
                      </a:lnTo>
                      <a:lnTo>
                        <a:pt x="12" y="44"/>
                      </a:lnTo>
                      <a:lnTo>
                        <a:pt x="12" y="44"/>
                      </a:lnTo>
                      <a:lnTo>
                        <a:pt x="12" y="44"/>
                      </a:lnTo>
                      <a:lnTo>
                        <a:pt x="12" y="44"/>
                      </a:lnTo>
                      <a:lnTo>
                        <a:pt x="12" y="44"/>
                      </a:lnTo>
                      <a:lnTo>
                        <a:pt x="12" y="44"/>
                      </a:lnTo>
                      <a:lnTo>
                        <a:pt x="12" y="42"/>
                      </a:lnTo>
                      <a:lnTo>
                        <a:pt x="12" y="42"/>
                      </a:lnTo>
                      <a:lnTo>
                        <a:pt x="12" y="42"/>
                      </a:lnTo>
                      <a:lnTo>
                        <a:pt x="12" y="42"/>
                      </a:lnTo>
                      <a:lnTo>
                        <a:pt x="12" y="42"/>
                      </a:lnTo>
                      <a:lnTo>
                        <a:pt x="8" y="42"/>
                      </a:lnTo>
                      <a:lnTo>
                        <a:pt x="8" y="42"/>
                      </a:lnTo>
                      <a:lnTo>
                        <a:pt x="8" y="42"/>
                      </a:lnTo>
                      <a:lnTo>
                        <a:pt x="8" y="42"/>
                      </a:lnTo>
                      <a:lnTo>
                        <a:pt x="12" y="42"/>
                      </a:lnTo>
                      <a:lnTo>
                        <a:pt x="12" y="42"/>
                      </a:lnTo>
                      <a:lnTo>
                        <a:pt x="12" y="42"/>
                      </a:lnTo>
                      <a:lnTo>
                        <a:pt x="12" y="42"/>
                      </a:lnTo>
                      <a:lnTo>
                        <a:pt x="12" y="42"/>
                      </a:lnTo>
                      <a:lnTo>
                        <a:pt x="12" y="42"/>
                      </a:lnTo>
                      <a:lnTo>
                        <a:pt x="12" y="42"/>
                      </a:lnTo>
                      <a:lnTo>
                        <a:pt x="12" y="42"/>
                      </a:lnTo>
                      <a:lnTo>
                        <a:pt x="12" y="38"/>
                      </a:lnTo>
                      <a:lnTo>
                        <a:pt x="12" y="38"/>
                      </a:lnTo>
                      <a:lnTo>
                        <a:pt x="12" y="38"/>
                      </a:lnTo>
                      <a:lnTo>
                        <a:pt x="12" y="38"/>
                      </a:lnTo>
                      <a:lnTo>
                        <a:pt x="12" y="38"/>
                      </a:lnTo>
                      <a:lnTo>
                        <a:pt x="12" y="38"/>
                      </a:lnTo>
                      <a:lnTo>
                        <a:pt x="12" y="38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12" y="34"/>
                      </a:lnTo>
                      <a:lnTo>
                        <a:pt x="12" y="34"/>
                      </a:lnTo>
                      <a:lnTo>
                        <a:pt x="12" y="30"/>
                      </a:lnTo>
                      <a:lnTo>
                        <a:pt x="16" y="26"/>
                      </a:lnTo>
                      <a:lnTo>
                        <a:pt x="16" y="26"/>
                      </a:lnTo>
                      <a:lnTo>
                        <a:pt x="16" y="26"/>
                      </a:lnTo>
                      <a:lnTo>
                        <a:pt x="16" y="26"/>
                      </a:lnTo>
                      <a:lnTo>
                        <a:pt x="16" y="26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2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close/>
                      <a:moveTo>
                        <a:pt x="22" y="22"/>
                      </a:moveTo>
                      <a:lnTo>
                        <a:pt x="22" y="22"/>
                      </a:lnTo>
                      <a:lnTo>
                        <a:pt x="22" y="18"/>
                      </a:lnTo>
                      <a:lnTo>
                        <a:pt x="22" y="18"/>
                      </a:lnTo>
                      <a:lnTo>
                        <a:pt x="22" y="18"/>
                      </a:lnTo>
                      <a:lnTo>
                        <a:pt x="22" y="18"/>
                      </a:lnTo>
                      <a:lnTo>
                        <a:pt x="22" y="18"/>
                      </a:lnTo>
                      <a:lnTo>
                        <a:pt x="22" y="18"/>
                      </a:lnTo>
                      <a:lnTo>
                        <a:pt x="26" y="18"/>
                      </a:lnTo>
                      <a:lnTo>
                        <a:pt x="26" y="18"/>
                      </a:lnTo>
                      <a:lnTo>
                        <a:pt x="26" y="18"/>
                      </a:lnTo>
                      <a:lnTo>
                        <a:pt x="26" y="18"/>
                      </a:lnTo>
                      <a:lnTo>
                        <a:pt x="26" y="18"/>
                      </a:lnTo>
                      <a:lnTo>
                        <a:pt x="26" y="18"/>
                      </a:lnTo>
                      <a:lnTo>
                        <a:pt x="26" y="18"/>
                      </a:lnTo>
                      <a:lnTo>
                        <a:pt x="30" y="18"/>
                      </a:lnTo>
                      <a:lnTo>
                        <a:pt x="30" y="18"/>
                      </a:lnTo>
                      <a:lnTo>
                        <a:pt x="30" y="18"/>
                      </a:lnTo>
                      <a:lnTo>
                        <a:pt x="30" y="18"/>
                      </a:lnTo>
                      <a:lnTo>
                        <a:pt x="30" y="18"/>
                      </a:lnTo>
                      <a:lnTo>
                        <a:pt x="30" y="22"/>
                      </a:lnTo>
                      <a:lnTo>
                        <a:pt x="30" y="22"/>
                      </a:lnTo>
                      <a:lnTo>
                        <a:pt x="26" y="22"/>
                      </a:lnTo>
                      <a:lnTo>
                        <a:pt x="26" y="22"/>
                      </a:lnTo>
                      <a:lnTo>
                        <a:pt x="26" y="22"/>
                      </a:lnTo>
                      <a:lnTo>
                        <a:pt x="26" y="22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2" y="22"/>
                      </a:lnTo>
                      <a:close/>
                      <a:moveTo>
                        <a:pt x="30" y="22"/>
                      </a:moveTo>
                      <a:lnTo>
                        <a:pt x="30" y="22"/>
                      </a:lnTo>
                      <a:lnTo>
                        <a:pt x="30" y="26"/>
                      </a:lnTo>
                      <a:lnTo>
                        <a:pt x="30" y="26"/>
                      </a:lnTo>
                      <a:lnTo>
                        <a:pt x="30" y="26"/>
                      </a:lnTo>
                      <a:lnTo>
                        <a:pt x="30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2" y="22"/>
                      </a:lnTo>
                      <a:lnTo>
                        <a:pt x="26" y="22"/>
                      </a:lnTo>
                      <a:lnTo>
                        <a:pt x="26" y="22"/>
                      </a:lnTo>
                      <a:lnTo>
                        <a:pt x="26" y="22"/>
                      </a:lnTo>
                      <a:lnTo>
                        <a:pt x="26" y="22"/>
                      </a:lnTo>
                      <a:lnTo>
                        <a:pt x="30" y="22"/>
                      </a:lnTo>
                      <a:lnTo>
                        <a:pt x="30" y="22"/>
                      </a:lnTo>
                      <a:lnTo>
                        <a:pt x="30" y="22"/>
                      </a:lnTo>
                      <a:lnTo>
                        <a:pt x="30" y="18"/>
                      </a:lnTo>
                      <a:lnTo>
                        <a:pt x="30" y="18"/>
                      </a:lnTo>
                      <a:lnTo>
                        <a:pt x="30" y="18"/>
                      </a:lnTo>
                      <a:lnTo>
                        <a:pt x="34" y="18"/>
                      </a:lnTo>
                      <a:lnTo>
                        <a:pt x="34" y="18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0" y="22"/>
                      </a:lnTo>
                      <a:lnTo>
                        <a:pt x="30" y="22"/>
                      </a:lnTo>
                      <a:lnTo>
                        <a:pt x="30" y="22"/>
                      </a:lnTo>
                      <a:lnTo>
                        <a:pt x="30" y="22"/>
                      </a:lnTo>
                      <a:close/>
                      <a:moveTo>
                        <a:pt x="8" y="38"/>
                      </a:move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12" y="38"/>
                      </a:lnTo>
                      <a:lnTo>
                        <a:pt x="12" y="38"/>
                      </a:lnTo>
                      <a:lnTo>
                        <a:pt x="12" y="42"/>
                      </a:lnTo>
                      <a:lnTo>
                        <a:pt x="8" y="42"/>
                      </a:lnTo>
                      <a:lnTo>
                        <a:pt x="8" y="42"/>
                      </a:lnTo>
                      <a:lnTo>
                        <a:pt x="8" y="42"/>
                      </a:lnTo>
                      <a:lnTo>
                        <a:pt x="8" y="42"/>
                      </a:lnTo>
                      <a:lnTo>
                        <a:pt x="4" y="38"/>
                      </a:lnTo>
                      <a:lnTo>
                        <a:pt x="4" y="38"/>
                      </a:lnTo>
                      <a:lnTo>
                        <a:pt x="4" y="38"/>
                      </a:lnTo>
                      <a:lnTo>
                        <a:pt x="4" y="38"/>
                      </a:lnTo>
                      <a:lnTo>
                        <a:pt x="4" y="38"/>
                      </a:lnTo>
                      <a:lnTo>
                        <a:pt x="4" y="38"/>
                      </a:lnTo>
                      <a:lnTo>
                        <a:pt x="4" y="38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8" y="38"/>
                      </a:lnTo>
                      <a:close/>
                      <a:moveTo>
                        <a:pt x="0" y="44"/>
                      </a:moveTo>
                      <a:lnTo>
                        <a:pt x="0" y="44"/>
                      </a:lnTo>
                      <a:lnTo>
                        <a:pt x="0" y="44"/>
                      </a:lnTo>
                      <a:lnTo>
                        <a:pt x="0" y="44"/>
                      </a:lnTo>
                      <a:lnTo>
                        <a:pt x="4" y="44"/>
                      </a:lnTo>
                      <a:lnTo>
                        <a:pt x="4" y="44"/>
                      </a:lnTo>
                      <a:lnTo>
                        <a:pt x="4" y="44"/>
                      </a:lnTo>
                      <a:lnTo>
                        <a:pt x="8" y="44"/>
                      </a:lnTo>
                      <a:lnTo>
                        <a:pt x="8" y="44"/>
                      </a:lnTo>
                      <a:lnTo>
                        <a:pt x="12" y="44"/>
                      </a:lnTo>
                      <a:lnTo>
                        <a:pt x="12" y="44"/>
                      </a:lnTo>
                      <a:lnTo>
                        <a:pt x="12" y="44"/>
                      </a:lnTo>
                      <a:lnTo>
                        <a:pt x="12" y="44"/>
                      </a:lnTo>
                      <a:lnTo>
                        <a:pt x="12" y="48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4" y="48"/>
                      </a:lnTo>
                      <a:lnTo>
                        <a:pt x="4" y="48"/>
                      </a:lnTo>
                      <a:lnTo>
                        <a:pt x="4" y="44"/>
                      </a:lnTo>
                      <a:lnTo>
                        <a:pt x="4" y="44"/>
                      </a:lnTo>
                      <a:lnTo>
                        <a:pt x="0" y="48"/>
                      </a:lnTo>
                      <a:lnTo>
                        <a:pt x="0" y="48"/>
                      </a:lnTo>
                      <a:lnTo>
                        <a:pt x="0" y="48"/>
                      </a:lnTo>
                      <a:lnTo>
                        <a:pt x="0" y="48"/>
                      </a:lnTo>
                      <a:lnTo>
                        <a:pt x="0" y="48"/>
                      </a:lnTo>
                      <a:lnTo>
                        <a:pt x="0" y="48"/>
                      </a:lnTo>
                      <a:lnTo>
                        <a:pt x="0" y="44"/>
                      </a:lnTo>
                      <a:lnTo>
                        <a:pt x="0" y="44"/>
                      </a:lnTo>
                      <a:lnTo>
                        <a:pt x="0" y="44"/>
                      </a:lnTo>
                      <a:lnTo>
                        <a:pt x="0" y="44"/>
                      </a:lnTo>
                      <a:close/>
                      <a:moveTo>
                        <a:pt x="26" y="4"/>
                      </a:move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close/>
                      <a:moveTo>
                        <a:pt x="20" y="12"/>
                      </a:move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2" y="8"/>
                      </a:lnTo>
                      <a:lnTo>
                        <a:pt x="22" y="8"/>
                      </a:lnTo>
                      <a:lnTo>
                        <a:pt x="22" y="8"/>
                      </a:lnTo>
                      <a:lnTo>
                        <a:pt x="22" y="8"/>
                      </a:lnTo>
                      <a:lnTo>
                        <a:pt x="22" y="8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72" name="Freeform 116"/>
                <p:cNvSpPr>
                  <a:spLocks noEditPoints="1"/>
                </p:cNvSpPr>
                <p:nvPr/>
              </p:nvSpPr>
              <p:spPr bwMode="auto">
                <a:xfrm>
                  <a:off x="4498975" y="2336868"/>
                  <a:ext cx="593725" cy="504825"/>
                </a:xfrm>
                <a:custGeom>
                  <a:avLst/>
                  <a:gdLst>
                    <a:gd name="T0" fmla="*/ 104 w 374"/>
                    <a:gd name="T1" fmla="*/ 154 h 318"/>
                    <a:gd name="T2" fmla="*/ 120 w 374"/>
                    <a:gd name="T3" fmla="*/ 132 h 318"/>
                    <a:gd name="T4" fmla="*/ 120 w 374"/>
                    <a:gd name="T5" fmla="*/ 116 h 318"/>
                    <a:gd name="T6" fmla="*/ 142 w 374"/>
                    <a:gd name="T7" fmla="*/ 102 h 318"/>
                    <a:gd name="T8" fmla="*/ 150 w 374"/>
                    <a:gd name="T9" fmla="*/ 94 h 318"/>
                    <a:gd name="T10" fmla="*/ 146 w 374"/>
                    <a:gd name="T11" fmla="*/ 82 h 318"/>
                    <a:gd name="T12" fmla="*/ 164 w 374"/>
                    <a:gd name="T13" fmla="*/ 82 h 318"/>
                    <a:gd name="T14" fmla="*/ 184 w 374"/>
                    <a:gd name="T15" fmla="*/ 72 h 318"/>
                    <a:gd name="T16" fmla="*/ 180 w 374"/>
                    <a:gd name="T17" fmla="*/ 56 h 318"/>
                    <a:gd name="T18" fmla="*/ 202 w 374"/>
                    <a:gd name="T19" fmla="*/ 42 h 318"/>
                    <a:gd name="T20" fmla="*/ 232 w 374"/>
                    <a:gd name="T21" fmla="*/ 30 h 318"/>
                    <a:gd name="T22" fmla="*/ 254 w 374"/>
                    <a:gd name="T23" fmla="*/ 22 h 318"/>
                    <a:gd name="T24" fmla="*/ 276 w 374"/>
                    <a:gd name="T25" fmla="*/ 8 h 318"/>
                    <a:gd name="T26" fmla="*/ 296 w 374"/>
                    <a:gd name="T27" fmla="*/ 22 h 318"/>
                    <a:gd name="T28" fmla="*/ 318 w 374"/>
                    <a:gd name="T29" fmla="*/ 8 h 318"/>
                    <a:gd name="T30" fmla="*/ 332 w 374"/>
                    <a:gd name="T31" fmla="*/ 22 h 318"/>
                    <a:gd name="T32" fmla="*/ 374 w 374"/>
                    <a:gd name="T33" fmla="*/ 22 h 318"/>
                    <a:gd name="T34" fmla="*/ 358 w 374"/>
                    <a:gd name="T35" fmla="*/ 34 h 318"/>
                    <a:gd name="T36" fmla="*/ 348 w 374"/>
                    <a:gd name="T37" fmla="*/ 38 h 318"/>
                    <a:gd name="T38" fmla="*/ 296 w 374"/>
                    <a:gd name="T39" fmla="*/ 56 h 318"/>
                    <a:gd name="T40" fmla="*/ 232 w 374"/>
                    <a:gd name="T41" fmla="*/ 52 h 318"/>
                    <a:gd name="T42" fmla="*/ 168 w 374"/>
                    <a:gd name="T43" fmla="*/ 90 h 318"/>
                    <a:gd name="T44" fmla="*/ 128 w 374"/>
                    <a:gd name="T45" fmla="*/ 162 h 318"/>
                    <a:gd name="T46" fmla="*/ 112 w 374"/>
                    <a:gd name="T47" fmla="*/ 236 h 318"/>
                    <a:gd name="T48" fmla="*/ 90 w 374"/>
                    <a:gd name="T49" fmla="*/ 292 h 318"/>
                    <a:gd name="T50" fmla="*/ 72 w 374"/>
                    <a:gd name="T51" fmla="*/ 294 h 318"/>
                    <a:gd name="T52" fmla="*/ 12 w 374"/>
                    <a:gd name="T53" fmla="*/ 292 h 318"/>
                    <a:gd name="T54" fmla="*/ 14 w 374"/>
                    <a:gd name="T55" fmla="*/ 284 h 318"/>
                    <a:gd name="T56" fmla="*/ 30 w 374"/>
                    <a:gd name="T57" fmla="*/ 262 h 318"/>
                    <a:gd name="T58" fmla="*/ 14 w 374"/>
                    <a:gd name="T59" fmla="*/ 258 h 318"/>
                    <a:gd name="T60" fmla="*/ 34 w 374"/>
                    <a:gd name="T61" fmla="*/ 246 h 318"/>
                    <a:gd name="T62" fmla="*/ 8 w 374"/>
                    <a:gd name="T63" fmla="*/ 238 h 318"/>
                    <a:gd name="T64" fmla="*/ 8 w 374"/>
                    <a:gd name="T65" fmla="*/ 228 h 318"/>
                    <a:gd name="T66" fmla="*/ 30 w 374"/>
                    <a:gd name="T67" fmla="*/ 224 h 318"/>
                    <a:gd name="T68" fmla="*/ 44 w 374"/>
                    <a:gd name="T69" fmla="*/ 210 h 318"/>
                    <a:gd name="T70" fmla="*/ 52 w 374"/>
                    <a:gd name="T71" fmla="*/ 206 h 318"/>
                    <a:gd name="T72" fmla="*/ 64 w 374"/>
                    <a:gd name="T73" fmla="*/ 192 h 318"/>
                    <a:gd name="T74" fmla="*/ 86 w 374"/>
                    <a:gd name="T75" fmla="*/ 180 h 318"/>
                    <a:gd name="T76" fmla="*/ 284 w 374"/>
                    <a:gd name="T77" fmla="*/ 4 h 318"/>
                    <a:gd name="T78" fmla="*/ 206 w 374"/>
                    <a:gd name="T79" fmla="*/ 26 h 318"/>
                    <a:gd name="T80" fmla="*/ 354 w 374"/>
                    <a:gd name="T81" fmla="*/ 38 h 318"/>
                    <a:gd name="T82" fmla="*/ 176 w 374"/>
                    <a:gd name="T83" fmla="*/ 60 h 318"/>
                    <a:gd name="T84" fmla="*/ 124 w 374"/>
                    <a:gd name="T85" fmla="*/ 76 h 318"/>
                    <a:gd name="T86" fmla="*/ 130 w 374"/>
                    <a:gd name="T87" fmla="*/ 106 h 318"/>
                    <a:gd name="T88" fmla="*/ 104 w 374"/>
                    <a:gd name="T89" fmla="*/ 154 h 318"/>
                    <a:gd name="T90" fmla="*/ 52 w 374"/>
                    <a:gd name="T91" fmla="*/ 194 h 318"/>
                    <a:gd name="T92" fmla="*/ 42 w 374"/>
                    <a:gd name="T93" fmla="*/ 202 h 318"/>
                    <a:gd name="T94" fmla="*/ 12 w 374"/>
                    <a:gd name="T95" fmla="*/ 222 h 318"/>
                    <a:gd name="T96" fmla="*/ 12 w 374"/>
                    <a:gd name="T97" fmla="*/ 262 h 318"/>
                    <a:gd name="T98" fmla="*/ 248 w 374"/>
                    <a:gd name="T99" fmla="*/ 16 h 318"/>
                    <a:gd name="T100" fmla="*/ 270 w 374"/>
                    <a:gd name="T101" fmla="*/ 16 h 318"/>
                    <a:gd name="T102" fmla="*/ 228 w 374"/>
                    <a:gd name="T103" fmla="*/ 30 h 318"/>
                    <a:gd name="T104" fmla="*/ 194 w 374"/>
                    <a:gd name="T105" fmla="*/ 38 h 318"/>
                    <a:gd name="T106" fmla="*/ 176 w 374"/>
                    <a:gd name="T107" fmla="*/ 42 h 318"/>
                    <a:gd name="T108" fmla="*/ 154 w 374"/>
                    <a:gd name="T109" fmla="*/ 56 h 318"/>
                    <a:gd name="T110" fmla="*/ 146 w 374"/>
                    <a:gd name="T111" fmla="*/ 60 h 318"/>
                    <a:gd name="T112" fmla="*/ 158 w 374"/>
                    <a:gd name="T113" fmla="*/ 56 h 318"/>
                    <a:gd name="T114" fmla="*/ 134 w 374"/>
                    <a:gd name="T115" fmla="*/ 76 h 318"/>
                    <a:gd name="T116" fmla="*/ 108 w 374"/>
                    <a:gd name="T117" fmla="*/ 132 h 318"/>
                    <a:gd name="T118" fmla="*/ 44 w 374"/>
                    <a:gd name="T119" fmla="*/ 194 h 318"/>
                    <a:gd name="T120" fmla="*/ 8 w 374"/>
                    <a:gd name="T121" fmla="*/ 262 h 318"/>
                    <a:gd name="T122" fmla="*/ 8 w 374"/>
                    <a:gd name="T123" fmla="*/ 280 h 3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374" h="318">
                      <a:moveTo>
                        <a:pt x="82" y="168"/>
                      </a:moveTo>
                      <a:lnTo>
                        <a:pt x="86" y="168"/>
                      </a:lnTo>
                      <a:lnTo>
                        <a:pt x="82" y="168"/>
                      </a:lnTo>
                      <a:lnTo>
                        <a:pt x="86" y="164"/>
                      </a:lnTo>
                      <a:lnTo>
                        <a:pt x="90" y="164"/>
                      </a:lnTo>
                      <a:lnTo>
                        <a:pt x="94" y="168"/>
                      </a:lnTo>
                      <a:lnTo>
                        <a:pt x="94" y="164"/>
                      </a:lnTo>
                      <a:lnTo>
                        <a:pt x="98" y="164"/>
                      </a:lnTo>
                      <a:lnTo>
                        <a:pt x="102" y="164"/>
                      </a:lnTo>
                      <a:lnTo>
                        <a:pt x="98" y="164"/>
                      </a:lnTo>
                      <a:lnTo>
                        <a:pt x="94" y="164"/>
                      </a:lnTo>
                      <a:lnTo>
                        <a:pt x="94" y="162"/>
                      </a:lnTo>
                      <a:lnTo>
                        <a:pt x="98" y="162"/>
                      </a:lnTo>
                      <a:lnTo>
                        <a:pt x="102" y="162"/>
                      </a:lnTo>
                      <a:lnTo>
                        <a:pt x="102" y="158"/>
                      </a:lnTo>
                      <a:lnTo>
                        <a:pt x="98" y="158"/>
                      </a:lnTo>
                      <a:lnTo>
                        <a:pt x="102" y="158"/>
                      </a:lnTo>
                      <a:lnTo>
                        <a:pt x="104" y="154"/>
                      </a:lnTo>
                      <a:lnTo>
                        <a:pt x="102" y="154"/>
                      </a:lnTo>
                      <a:lnTo>
                        <a:pt x="102" y="158"/>
                      </a:lnTo>
                      <a:lnTo>
                        <a:pt x="94" y="162"/>
                      </a:lnTo>
                      <a:lnTo>
                        <a:pt x="94" y="158"/>
                      </a:lnTo>
                      <a:lnTo>
                        <a:pt x="98" y="158"/>
                      </a:lnTo>
                      <a:lnTo>
                        <a:pt x="94" y="158"/>
                      </a:lnTo>
                      <a:lnTo>
                        <a:pt x="98" y="154"/>
                      </a:lnTo>
                      <a:lnTo>
                        <a:pt x="102" y="154"/>
                      </a:lnTo>
                      <a:lnTo>
                        <a:pt x="104" y="154"/>
                      </a:lnTo>
                      <a:lnTo>
                        <a:pt x="108" y="154"/>
                      </a:lnTo>
                      <a:lnTo>
                        <a:pt x="112" y="150"/>
                      </a:lnTo>
                      <a:lnTo>
                        <a:pt x="116" y="146"/>
                      </a:lnTo>
                      <a:lnTo>
                        <a:pt x="112" y="150"/>
                      </a:lnTo>
                      <a:lnTo>
                        <a:pt x="108" y="150"/>
                      </a:lnTo>
                      <a:lnTo>
                        <a:pt x="112" y="150"/>
                      </a:lnTo>
                      <a:lnTo>
                        <a:pt x="112" y="146"/>
                      </a:lnTo>
                      <a:lnTo>
                        <a:pt x="108" y="146"/>
                      </a:lnTo>
                      <a:lnTo>
                        <a:pt x="108" y="150"/>
                      </a:lnTo>
                      <a:lnTo>
                        <a:pt x="104" y="150"/>
                      </a:lnTo>
                      <a:lnTo>
                        <a:pt x="108" y="146"/>
                      </a:lnTo>
                      <a:lnTo>
                        <a:pt x="112" y="146"/>
                      </a:lnTo>
                      <a:lnTo>
                        <a:pt x="108" y="142"/>
                      </a:lnTo>
                      <a:lnTo>
                        <a:pt x="112" y="142"/>
                      </a:lnTo>
                      <a:lnTo>
                        <a:pt x="108" y="142"/>
                      </a:lnTo>
                      <a:lnTo>
                        <a:pt x="108" y="138"/>
                      </a:lnTo>
                      <a:lnTo>
                        <a:pt x="108" y="136"/>
                      </a:lnTo>
                      <a:lnTo>
                        <a:pt x="112" y="136"/>
                      </a:lnTo>
                      <a:lnTo>
                        <a:pt x="112" y="138"/>
                      </a:lnTo>
                      <a:lnTo>
                        <a:pt x="116" y="138"/>
                      </a:lnTo>
                      <a:lnTo>
                        <a:pt x="112" y="138"/>
                      </a:lnTo>
                      <a:lnTo>
                        <a:pt x="112" y="136"/>
                      </a:lnTo>
                      <a:lnTo>
                        <a:pt x="112" y="132"/>
                      </a:lnTo>
                      <a:lnTo>
                        <a:pt x="116" y="132"/>
                      </a:lnTo>
                      <a:lnTo>
                        <a:pt x="120" y="132"/>
                      </a:lnTo>
                      <a:lnTo>
                        <a:pt x="120" y="136"/>
                      </a:lnTo>
                      <a:lnTo>
                        <a:pt x="120" y="132"/>
                      </a:lnTo>
                      <a:lnTo>
                        <a:pt x="116" y="132"/>
                      </a:lnTo>
                      <a:lnTo>
                        <a:pt x="116" y="128"/>
                      </a:lnTo>
                      <a:lnTo>
                        <a:pt x="112" y="128"/>
                      </a:lnTo>
                      <a:lnTo>
                        <a:pt x="116" y="128"/>
                      </a:lnTo>
                      <a:lnTo>
                        <a:pt x="120" y="128"/>
                      </a:lnTo>
                      <a:lnTo>
                        <a:pt x="120" y="124"/>
                      </a:lnTo>
                      <a:lnTo>
                        <a:pt x="124" y="124"/>
                      </a:lnTo>
                      <a:lnTo>
                        <a:pt x="128" y="124"/>
                      </a:lnTo>
                      <a:lnTo>
                        <a:pt x="124" y="124"/>
                      </a:lnTo>
                      <a:lnTo>
                        <a:pt x="124" y="128"/>
                      </a:lnTo>
                      <a:lnTo>
                        <a:pt x="128" y="124"/>
                      </a:lnTo>
                      <a:lnTo>
                        <a:pt x="130" y="124"/>
                      </a:lnTo>
                      <a:lnTo>
                        <a:pt x="134" y="124"/>
                      </a:lnTo>
                      <a:lnTo>
                        <a:pt x="134" y="120"/>
                      </a:lnTo>
                      <a:lnTo>
                        <a:pt x="130" y="124"/>
                      </a:lnTo>
                      <a:lnTo>
                        <a:pt x="128" y="124"/>
                      </a:lnTo>
                      <a:lnTo>
                        <a:pt x="124" y="124"/>
                      </a:lnTo>
                      <a:lnTo>
                        <a:pt x="120" y="124"/>
                      </a:lnTo>
                      <a:lnTo>
                        <a:pt x="116" y="124"/>
                      </a:lnTo>
                      <a:lnTo>
                        <a:pt x="120" y="124"/>
                      </a:lnTo>
                      <a:lnTo>
                        <a:pt x="124" y="124"/>
                      </a:lnTo>
                      <a:lnTo>
                        <a:pt x="120" y="124"/>
                      </a:lnTo>
                      <a:lnTo>
                        <a:pt x="116" y="120"/>
                      </a:lnTo>
                      <a:lnTo>
                        <a:pt x="120" y="120"/>
                      </a:lnTo>
                      <a:lnTo>
                        <a:pt x="120" y="116"/>
                      </a:lnTo>
                      <a:lnTo>
                        <a:pt x="116" y="116"/>
                      </a:lnTo>
                      <a:lnTo>
                        <a:pt x="120" y="116"/>
                      </a:lnTo>
                      <a:lnTo>
                        <a:pt x="124" y="116"/>
                      </a:lnTo>
                      <a:lnTo>
                        <a:pt x="128" y="116"/>
                      </a:lnTo>
                      <a:lnTo>
                        <a:pt x="124" y="116"/>
                      </a:lnTo>
                      <a:lnTo>
                        <a:pt x="120" y="116"/>
                      </a:lnTo>
                      <a:lnTo>
                        <a:pt x="120" y="112"/>
                      </a:lnTo>
                      <a:lnTo>
                        <a:pt x="124" y="112"/>
                      </a:lnTo>
                      <a:lnTo>
                        <a:pt x="120" y="112"/>
                      </a:lnTo>
                      <a:lnTo>
                        <a:pt x="124" y="112"/>
                      </a:lnTo>
                      <a:lnTo>
                        <a:pt x="128" y="112"/>
                      </a:lnTo>
                      <a:lnTo>
                        <a:pt x="130" y="112"/>
                      </a:lnTo>
                      <a:lnTo>
                        <a:pt x="128" y="112"/>
                      </a:lnTo>
                      <a:lnTo>
                        <a:pt x="124" y="112"/>
                      </a:lnTo>
                      <a:lnTo>
                        <a:pt x="128" y="112"/>
                      </a:lnTo>
                      <a:lnTo>
                        <a:pt x="124" y="112"/>
                      </a:lnTo>
                      <a:lnTo>
                        <a:pt x="124" y="108"/>
                      </a:lnTo>
                      <a:lnTo>
                        <a:pt x="128" y="108"/>
                      </a:lnTo>
                      <a:lnTo>
                        <a:pt x="130" y="108"/>
                      </a:lnTo>
                      <a:lnTo>
                        <a:pt x="128" y="108"/>
                      </a:lnTo>
                      <a:lnTo>
                        <a:pt x="124" y="108"/>
                      </a:lnTo>
                      <a:lnTo>
                        <a:pt x="128" y="106"/>
                      </a:lnTo>
                      <a:lnTo>
                        <a:pt x="130" y="108"/>
                      </a:lnTo>
                      <a:lnTo>
                        <a:pt x="134" y="106"/>
                      </a:lnTo>
                      <a:lnTo>
                        <a:pt x="138" y="106"/>
                      </a:lnTo>
                      <a:lnTo>
                        <a:pt x="134" y="106"/>
                      </a:lnTo>
                      <a:lnTo>
                        <a:pt x="134" y="102"/>
                      </a:lnTo>
                      <a:lnTo>
                        <a:pt x="138" y="102"/>
                      </a:lnTo>
                      <a:lnTo>
                        <a:pt x="142" y="102"/>
                      </a:lnTo>
                      <a:lnTo>
                        <a:pt x="138" y="102"/>
                      </a:lnTo>
                      <a:lnTo>
                        <a:pt x="142" y="102"/>
                      </a:lnTo>
                      <a:lnTo>
                        <a:pt x="146" y="102"/>
                      </a:lnTo>
                      <a:lnTo>
                        <a:pt x="150" y="102"/>
                      </a:lnTo>
                      <a:lnTo>
                        <a:pt x="154" y="106"/>
                      </a:lnTo>
                      <a:lnTo>
                        <a:pt x="154" y="102"/>
                      </a:lnTo>
                      <a:lnTo>
                        <a:pt x="150" y="102"/>
                      </a:lnTo>
                      <a:lnTo>
                        <a:pt x="154" y="102"/>
                      </a:lnTo>
                      <a:lnTo>
                        <a:pt x="158" y="102"/>
                      </a:lnTo>
                      <a:lnTo>
                        <a:pt x="150" y="102"/>
                      </a:lnTo>
                      <a:lnTo>
                        <a:pt x="150" y="98"/>
                      </a:lnTo>
                      <a:lnTo>
                        <a:pt x="150" y="102"/>
                      </a:lnTo>
                      <a:lnTo>
                        <a:pt x="146" y="98"/>
                      </a:lnTo>
                      <a:lnTo>
                        <a:pt x="150" y="98"/>
                      </a:lnTo>
                      <a:lnTo>
                        <a:pt x="146" y="98"/>
                      </a:lnTo>
                      <a:lnTo>
                        <a:pt x="142" y="98"/>
                      </a:lnTo>
                      <a:lnTo>
                        <a:pt x="142" y="102"/>
                      </a:lnTo>
                      <a:lnTo>
                        <a:pt x="138" y="98"/>
                      </a:lnTo>
                      <a:lnTo>
                        <a:pt x="134" y="98"/>
                      </a:lnTo>
                      <a:lnTo>
                        <a:pt x="138" y="98"/>
                      </a:lnTo>
                      <a:lnTo>
                        <a:pt x="138" y="94"/>
                      </a:lnTo>
                      <a:lnTo>
                        <a:pt x="142" y="94"/>
                      </a:lnTo>
                      <a:lnTo>
                        <a:pt x="146" y="94"/>
                      </a:lnTo>
                      <a:lnTo>
                        <a:pt x="142" y="94"/>
                      </a:lnTo>
                      <a:lnTo>
                        <a:pt x="146" y="90"/>
                      </a:lnTo>
                      <a:lnTo>
                        <a:pt x="146" y="94"/>
                      </a:lnTo>
                      <a:lnTo>
                        <a:pt x="150" y="94"/>
                      </a:lnTo>
                      <a:lnTo>
                        <a:pt x="154" y="94"/>
                      </a:lnTo>
                      <a:lnTo>
                        <a:pt x="154" y="98"/>
                      </a:lnTo>
                      <a:lnTo>
                        <a:pt x="158" y="98"/>
                      </a:lnTo>
                      <a:lnTo>
                        <a:pt x="154" y="98"/>
                      </a:lnTo>
                      <a:lnTo>
                        <a:pt x="154" y="94"/>
                      </a:lnTo>
                      <a:lnTo>
                        <a:pt x="158" y="94"/>
                      </a:lnTo>
                      <a:lnTo>
                        <a:pt x="158" y="90"/>
                      </a:lnTo>
                      <a:lnTo>
                        <a:pt x="154" y="90"/>
                      </a:lnTo>
                      <a:lnTo>
                        <a:pt x="154" y="94"/>
                      </a:lnTo>
                      <a:lnTo>
                        <a:pt x="150" y="94"/>
                      </a:lnTo>
                      <a:lnTo>
                        <a:pt x="150" y="90"/>
                      </a:lnTo>
                      <a:lnTo>
                        <a:pt x="150" y="86"/>
                      </a:lnTo>
                      <a:lnTo>
                        <a:pt x="154" y="90"/>
                      </a:lnTo>
                      <a:lnTo>
                        <a:pt x="154" y="86"/>
                      </a:lnTo>
                      <a:lnTo>
                        <a:pt x="150" y="86"/>
                      </a:lnTo>
                      <a:lnTo>
                        <a:pt x="154" y="86"/>
                      </a:lnTo>
                      <a:lnTo>
                        <a:pt x="158" y="90"/>
                      </a:lnTo>
                      <a:lnTo>
                        <a:pt x="158" y="86"/>
                      </a:lnTo>
                      <a:lnTo>
                        <a:pt x="154" y="86"/>
                      </a:lnTo>
                      <a:lnTo>
                        <a:pt x="150" y="86"/>
                      </a:lnTo>
                      <a:lnTo>
                        <a:pt x="146" y="90"/>
                      </a:lnTo>
                      <a:lnTo>
                        <a:pt x="142" y="90"/>
                      </a:lnTo>
                      <a:lnTo>
                        <a:pt x="142" y="86"/>
                      </a:lnTo>
                      <a:lnTo>
                        <a:pt x="146" y="86"/>
                      </a:lnTo>
                      <a:lnTo>
                        <a:pt x="142" y="86"/>
                      </a:lnTo>
                      <a:lnTo>
                        <a:pt x="146" y="86"/>
                      </a:lnTo>
                      <a:lnTo>
                        <a:pt x="146" y="82"/>
                      </a:lnTo>
                      <a:lnTo>
                        <a:pt x="142" y="86"/>
                      </a:lnTo>
                      <a:lnTo>
                        <a:pt x="142" y="82"/>
                      </a:lnTo>
                      <a:lnTo>
                        <a:pt x="146" y="82"/>
                      </a:lnTo>
                      <a:lnTo>
                        <a:pt x="150" y="82"/>
                      </a:lnTo>
                      <a:lnTo>
                        <a:pt x="154" y="82"/>
                      </a:lnTo>
                      <a:lnTo>
                        <a:pt x="158" y="82"/>
                      </a:lnTo>
                      <a:lnTo>
                        <a:pt x="160" y="78"/>
                      </a:lnTo>
                      <a:lnTo>
                        <a:pt x="158" y="78"/>
                      </a:lnTo>
                      <a:lnTo>
                        <a:pt x="154" y="78"/>
                      </a:lnTo>
                      <a:lnTo>
                        <a:pt x="150" y="82"/>
                      </a:lnTo>
                      <a:lnTo>
                        <a:pt x="150" y="78"/>
                      </a:lnTo>
                      <a:lnTo>
                        <a:pt x="154" y="78"/>
                      </a:lnTo>
                      <a:lnTo>
                        <a:pt x="154" y="76"/>
                      </a:lnTo>
                      <a:lnTo>
                        <a:pt x="158" y="76"/>
                      </a:lnTo>
                      <a:lnTo>
                        <a:pt x="158" y="78"/>
                      </a:lnTo>
                      <a:lnTo>
                        <a:pt x="154" y="78"/>
                      </a:lnTo>
                      <a:lnTo>
                        <a:pt x="158" y="78"/>
                      </a:lnTo>
                      <a:lnTo>
                        <a:pt x="158" y="76"/>
                      </a:lnTo>
                      <a:lnTo>
                        <a:pt x="160" y="76"/>
                      </a:lnTo>
                      <a:lnTo>
                        <a:pt x="160" y="78"/>
                      </a:lnTo>
                      <a:lnTo>
                        <a:pt x="160" y="82"/>
                      </a:lnTo>
                      <a:lnTo>
                        <a:pt x="164" y="82"/>
                      </a:lnTo>
                      <a:lnTo>
                        <a:pt x="164" y="86"/>
                      </a:lnTo>
                      <a:lnTo>
                        <a:pt x="168" y="86"/>
                      </a:lnTo>
                      <a:lnTo>
                        <a:pt x="164" y="82"/>
                      </a:lnTo>
                      <a:lnTo>
                        <a:pt x="164" y="78"/>
                      </a:lnTo>
                      <a:lnTo>
                        <a:pt x="164" y="82"/>
                      </a:lnTo>
                      <a:lnTo>
                        <a:pt x="168" y="82"/>
                      </a:lnTo>
                      <a:lnTo>
                        <a:pt x="168" y="78"/>
                      </a:lnTo>
                      <a:lnTo>
                        <a:pt x="164" y="78"/>
                      </a:lnTo>
                      <a:lnTo>
                        <a:pt x="168" y="78"/>
                      </a:lnTo>
                      <a:lnTo>
                        <a:pt x="164" y="78"/>
                      </a:lnTo>
                      <a:lnTo>
                        <a:pt x="164" y="76"/>
                      </a:lnTo>
                      <a:lnTo>
                        <a:pt x="168" y="76"/>
                      </a:lnTo>
                      <a:lnTo>
                        <a:pt x="164" y="76"/>
                      </a:lnTo>
                      <a:lnTo>
                        <a:pt x="160" y="76"/>
                      </a:lnTo>
                      <a:lnTo>
                        <a:pt x="164" y="76"/>
                      </a:lnTo>
                      <a:lnTo>
                        <a:pt x="160" y="76"/>
                      </a:lnTo>
                      <a:lnTo>
                        <a:pt x="160" y="72"/>
                      </a:lnTo>
                      <a:lnTo>
                        <a:pt x="168" y="76"/>
                      </a:lnTo>
                      <a:lnTo>
                        <a:pt x="172" y="78"/>
                      </a:lnTo>
                      <a:lnTo>
                        <a:pt x="172" y="76"/>
                      </a:lnTo>
                      <a:lnTo>
                        <a:pt x="168" y="76"/>
                      </a:lnTo>
                      <a:lnTo>
                        <a:pt x="164" y="72"/>
                      </a:lnTo>
                      <a:lnTo>
                        <a:pt x="168" y="72"/>
                      </a:lnTo>
                      <a:lnTo>
                        <a:pt x="172" y="72"/>
                      </a:lnTo>
                      <a:lnTo>
                        <a:pt x="176" y="72"/>
                      </a:lnTo>
                      <a:lnTo>
                        <a:pt x="180" y="76"/>
                      </a:lnTo>
                      <a:lnTo>
                        <a:pt x="180" y="72"/>
                      </a:lnTo>
                      <a:lnTo>
                        <a:pt x="176" y="72"/>
                      </a:lnTo>
                      <a:lnTo>
                        <a:pt x="180" y="72"/>
                      </a:lnTo>
                      <a:lnTo>
                        <a:pt x="184" y="72"/>
                      </a:lnTo>
                      <a:lnTo>
                        <a:pt x="180" y="72"/>
                      </a:lnTo>
                      <a:lnTo>
                        <a:pt x="184" y="72"/>
                      </a:lnTo>
                      <a:lnTo>
                        <a:pt x="184" y="68"/>
                      </a:lnTo>
                      <a:lnTo>
                        <a:pt x="180" y="68"/>
                      </a:lnTo>
                      <a:lnTo>
                        <a:pt x="176" y="68"/>
                      </a:lnTo>
                      <a:lnTo>
                        <a:pt x="176" y="72"/>
                      </a:lnTo>
                      <a:lnTo>
                        <a:pt x="176" y="68"/>
                      </a:lnTo>
                      <a:lnTo>
                        <a:pt x="172" y="68"/>
                      </a:lnTo>
                      <a:lnTo>
                        <a:pt x="168" y="72"/>
                      </a:lnTo>
                      <a:lnTo>
                        <a:pt x="164" y="68"/>
                      </a:lnTo>
                      <a:lnTo>
                        <a:pt x="168" y="68"/>
                      </a:lnTo>
                      <a:lnTo>
                        <a:pt x="168" y="64"/>
                      </a:lnTo>
                      <a:lnTo>
                        <a:pt x="172" y="64"/>
                      </a:lnTo>
                      <a:lnTo>
                        <a:pt x="176" y="64"/>
                      </a:lnTo>
                      <a:lnTo>
                        <a:pt x="180" y="64"/>
                      </a:lnTo>
                      <a:lnTo>
                        <a:pt x="184" y="64"/>
                      </a:lnTo>
                      <a:lnTo>
                        <a:pt x="180" y="64"/>
                      </a:lnTo>
                      <a:lnTo>
                        <a:pt x="176" y="60"/>
                      </a:lnTo>
                      <a:lnTo>
                        <a:pt x="180" y="60"/>
                      </a:lnTo>
                      <a:lnTo>
                        <a:pt x="184" y="60"/>
                      </a:lnTo>
                      <a:lnTo>
                        <a:pt x="188" y="60"/>
                      </a:lnTo>
                      <a:lnTo>
                        <a:pt x="184" y="60"/>
                      </a:lnTo>
                      <a:lnTo>
                        <a:pt x="180" y="60"/>
                      </a:lnTo>
                      <a:lnTo>
                        <a:pt x="184" y="60"/>
                      </a:lnTo>
                      <a:lnTo>
                        <a:pt x="184" y="56"/>
                      </a:lnTo>
                      <a:lnTo>
                        <a:pt x="184" y="60"/>
                      </a:lnTo>
                      <a:lnTo>
                        <a:pt x="188" y="60"/>
                      </a:lnTo>
                      <a:lnTo>
                        <a:pt x="184" y="56"/>
                      </a:lnTo>
                      <a:lnTo>
                        <a:pt x="180" y="56"/>
                      </a:lnTo>
                      <a:lnTo>
                        <a:pt x="184" y="52"/>
                      </a:lnTo>
                      <a:lnTo>
                        <a:pt x="188" y="52"/>
                      </a:lnTo>
                      <a:lnTo>
                        <a:pt x="190" y="52"/>
                      </a:lnTo>
                      <a:lnTo>
                        <a:pt x="188" y="50"/>
                      </a:lnTo>
                      <a:lnTo>
                        <a:pt x="190" y="50"/>
                      </a:lnTo>
                      <a:lnTo>
                        <a:pt x="190" y="46"/>
                      </a:lnTo>
                      <a:lnTo>
                        <a:pt x="190" y="42"/>
                      </a:lnTo>
                      <a:lnTo>
                        <a:pt x="194" y="46"/>
                      </a:lnTo>
                      <a:lnTo>
                        <a:pt x="194" y="50"/>
                      </a:lnTo>
                      <a:lnTo>
                        <a:pt x="198" y="50"/>
                      </a:lnTo>
                      <a:lnTo>
                        <a:pt x="202" y="50"/>
                      </a:lnTo>
                      <a:lnTo>
                        <a:pt x="198" y="46"/>
                      </a:lnTo>
                      <a:lnTo>
                        <a:pt x="194" y="46"/>
                      </a:lnTo>
                      <a:lnTo>
                        <a:pt x="194" y="42"/>
                      </a:lnTo>
                      <a:lnTo>
                        <a:pt x="198" y="42"/>
                      </a:lnTo>
                      <a:lnTo>
                        <a:pt x="202" y="42"/>
                      </a:lnTo>
                      <a:lnTo>
                        <a:pt x="202" y="46"/>
                      </a:lnTo>
                      <a:lnTo>
                        <a:pt x="206" y="46"/>
                      </a:lnTo>
                      <a:lnTo>
                        <a:pt x="210" y="50"/>
                      </a:lnTo>
                      <a:lnTo>
                        <a:pt x="206" y="50"/>
                      </a:lnTo>
                      <a:lnTo>
                        <a:pt x="210" y="50"/>
                      </a:lnTo>
                      <a:lnTo>
                        <a:pt x="210" y="46"/>
                      </a:lnTo>
                      <a:lnTo>
                        <a:pt x="206" y="46"/>
                      </a:lnTo>
                      <a:lnTo>
                        <a:pt x="202" y="46"/>
                      </a:lnTo>
                      <a:lnTo>
                        <a:pt x="202" y="42"/>
                      </a:lnTo>
                      <a:lnTo>
                        <a:pt x="206" y="42"/>
                      </a:lnTo>
                      <a:lnTo>
                        <a:pt x="202" y="42"/>
                      </a:lnTo>
                      <a:lnTo>
                        <a:pt x="202" y="38"/>
                      </a:lnTo>
                      <a:lnTo>
                        <a:pt x="206" y="38"/>
                      </a:lnTo>
                      <a:lnTo>
                        <a:pt x="206" y="34"/>
                      </a:lnTo>
                      <a:lnTo>
                        <a:pt x="214" y="34"/>
                      </a:lnTo>
                      <a:lnTo>
                        <a:pt x="214" y="38"/>
                      </a:lnTo>
                      <a:lnTo>
                        <a:pt x="214" y="42"/>
                      </a:lnTo>
                      <a:lnTo>
                        <a:pt x="210" y="42"/>
                      </a:lnTo>
                      <a:lnTo>
                        <a:pt x="210" y="46"/>
                      </a:lnTo>
                      <a:lnTo>
                        <a:pt x="214" y="46"/>
                      </a:lnTo>
                      <a:lnTo>
                        <a:pt x="214" y="42"/>
                      </a:lnTo>
                      <a:lnTo>
                        <a:pt x="214" y="38"/>
                      </a:lnTo>
                      <a:lnTo>
                        <a:pt x="218" y="34"/>
                      </a:lnTo>
                      <a:lnTo>
                        <a:pt x="218" y="30"/>
                      </a:lnTo>
                      <a:lnTo>
                        <a:pt x="220" y="30"/>
                      </a:lnTo>
                      <a:lnTo>
                        <a:pt x="220" y="34"/>
                      </a:lnTo>
                      <a:lnTo>
                        <a:pt x="220" y="38"/>
                      </a:lnTo>
                      <a:lnTo>
                        <a:pt x="220" y="42"/>
                      </a:lnTo>
                      <a:lnTo>
                        <a:pt x="220" y="46"/>
                      </a:lnTo>
                      <a:lnTo>
                        <a:pt x="218" y="46"/>
                      </a:lnTo>
                      <a:lnTo>
                        <a:pt x="218" y="50"/>
                      </a:lnTo>
                      <a:lnTo>
                        <a:pt x="220" y="46"/>
                      </a:lnTo>
                      <a:lnTo>
                        <a:pt x="224" y="42"/>
                      </a:lnTo>
                      <a:lnTo>
                        <a:pt x="228" y="42"/>
                      </a:lnTo>
                      <a:lnTo>
                        <a:pt x="224" y="42"/>
                      </a:lnTo>
                      <a:lnTo>
                        <a:pt x="224" y="38"/>
                      </a:lnTo>
                      <a:lnTo>
                        <a:pt x="228" y="34"/>
                      </a:lnTo>
                      <a:lnTo>
                        <a:pt x="232" y="30"/>
                      </a:lnTo>
                      <a:lnTo>
                        <a:pt x="232" y="34"/>
                      </a:lnTo>
                      <a:lnTo>
                        <a:pt x="228" y="34"/>
                      </a:lnTo>
                      <a:lnTo>
                        <a:pt x="232" y="34"/>
                      </a:lnTo>
                      <a:lnTo>
                        <a:pt x="236" y="30"/>
                      </a:lnTo>
                      <a:lnTo>
                        <a:pt x="240" y="30"/>
                      </a:lnTo>
                      <a:lnTo>
                        <a:pt x="240" y="34"/>
                      </a:lnTo>
                      <a:lnTo>
                        <a:pt x="244" y="34"/>
                      </a:lnTo>
                      <a:lnTo>
                        <a:pt x="244" y="38"/>
                      </a:lnTo>
                      <a:lnTo>
                        <a:pt x="248" y="38"/>
                      </a:lnTo>
                      <a:lnTo>
                        <a:pt x="248" y="34"/>
                      </a:lnTo>
                      <a:lnTo>
                        <a:pt x="244" y="30"/>
                      </a:lnTo>
                      <a:lnTo>
                        <a:pt x="248" y="30"/>
                      </a:lnTo>
                      <a:lnTo>
                        <a:pt x="248" y="26"/>
                      </a:lnTo>
                      <a:lnTo>
                        <a:pt x="244" y="26"/>
                      </a:lnTo>
                      <a:lnTo>
                        <a:pt x="244" y="30"/>
                      </a:lnTo>
                      <a:lnTo>
                        <a:pt x="240" y="30"/>
                      </a:lnTo>
                      <a:lnTo>
                        <a:pt x="236" y="26"/>
                      </a:lnTo>
                      <a:lnTo>
                        <a:pt x="236" y="22"/>
                      </a:lnTo>
                      <a:lnTo>
                        <a:pt x="240" y="22"/>
                      </a:lnTo>
                      <a:lnTo>
                        <a:pt x="244" y="22"/>
                      </a:lnTo>
                      <a:lnTo>
                        <a:pt x="248" y="22"/>
                      </a:lnTo>
                      <a:lnTo>
                        <a:pt x="250" y="22"/>
                      </a:lnTo>
                      <a:lnTo>
                        <a:pt x="250" y="26"/>
                      </a:lnTo>
                      <a:lnTo>
                        <a:pt x="254" y="26"/>
                      </a:lnTo>
                      <a:lnTo>
                        <a:pt x="250" y="26"/>
                      </a:lnTo>
                      <a:lnTo>
                        <a:pt x="250" y="22"/>
                      </a:lnTo>
                      <a:lnTo>
                        <a:pt x="254" y="22"/>
                      </a:lnTo>
                      <a:lnTo>
                        <a:pt x="258" y="26"/>
                      </a:lnTo>
                      <a:lnTo>
                        <a:pt x="254" y="26"/>
                      </a:lnTo>
                      <a:lnTo>
                        <a:pt x="250" y="26"/>
                      </a:lnTo>
                      <a:lnTo>
                        <a:pt x="250" y="30"/>
                      </a:lnTo>
                      <a:lnTo>
                        <a:pt x="250" y="26"/>
                      </a:lnTo>
                      <a:lnTo>
                        <a:pt x="254" y="26"/>
                      </a:lnTo>
                      <a:lnTo>
                        <a:pt x="258" y="26"/>
                      </a:lnTo>
                      <a:lnTo>
                        <a:pt x="258" y="30"/>
                      </a:lnTo>
                      <a:lnTo>
                        <a:pt x="262" y="30"/>
                      </a:lnTo>
                      <a:lnTo>
                        <a:pt x="266" y="30"/>
                      </a:lnTo>
                      <a:lnTo>
                        <a:pt x="262" y="30"/>
                      </a:lnTo>
                      <a:lnTo>
                        <a:pt x="262" y="26"/>
                      </a:lnTo>
                      <a:lnTo>
                        <a:pt x="266" y="26"/>
                      </a:lnTo>
                      <a:lnTo>
                        <a:pt x="266" y="22"/>
                      </a:lnTo>
                      <a:lnTo>
                        <a:pt x="270" y="20"/>
                      </a:lnTo>
                      <a:lnTo>
                        <a:pt x="274" y="20"/>
                      </a:lnTo>
                      <a:lnTo>
                        <a:pt x="274" y="16"/>
                      </a:lnTo>
                      <a:lnTo>
                        <a:pt x="276" y="20"/>
                      </a:lnTo>
                      <a:lnTo>
                        <a:pt x="276" y="16"/>
                      </a:lnTo>
                      <a:lnTo>
                        <a:pt x="276" y="12"/>
                      </a:lnTo>
                      <a:lnTo>
                        <a:pt x="280" y="12"/>
                      </a:lnTo>
                      <a:lnTo>
                        <a:pt x="280" y="16"/>
                      </a:lnTo>
                      <a:lnTo>
                        <a:pt x="284" y="16"/>
                      </a:lnTo>
                      <a:lnTo>
                        <a:pt x="284" y="12"/>
                      </a:lnTo>
                      <a:lnTo>
                        <a:pt x="280" y="12"/>
                      </a:lnTo>
                      <a:lnTo>
                        <a:pt x="276" y="12"/>
                      </a:lnTo>
                      <a:lnTo>
                        <a:pt x="276" y="8"/>
                      </a:lnTo>
                      <a:lnTo>
                        <a:pt x="280" y="8"/>
                      </a:lnTo>
                      <a:lnTo>
                        <a:pt x="280" y="12"/>
                      </a:lnTo>
                      <a:lnTo>
                        <a:pt x="284" y="8"/>
                      </a:lnTo>
                      <a:lnTo>
                        <a:pt x="280" y="8"/>
                      </a:lnTo>
                      <a:lnTo>
                        <a:pt x="280" y="4"/>
                      </a:lnTo>
                      <a:lnTo>
                        <a:pt x="284" y="4"/>
                      </a:lnTo>
                      <a:lnTo>
                        <a:pt x="284" y="8"/>
                      </a:lnTo>
                      <a:lnTo>
                        <a:pt x="288" y="8"/>
                      </a:lnTo>
                      <a:lnTo>
                        <a:pt x="288" y="4"/>
                      </a:lnTo>
                      <a:lnTo>
                        <a:pt x="288" y="8"/>
                      </a:lnTo>
                      <a:lnTo>
                        <a:pt x="292" y="8"/>
                      </a:lnTo>
                      <a:lnTo>
                        <a:pt x="292" y="4"/>
                      </a:lnTo>
                      <a:lnTo>
                        <a:pt x="296" y="4"/>
                      </a:lnTo>
                      <a:lnTo>
                        <a:pt x="296" y="8"/>
                      </a:lnTo>
                      <a:lnTo>
                        <a:pt x="300" y="8"/>
                      </a:lnTo>
                      <a:lnTo>
                        <a:pt x="296" y="12"/>
                      </a:lnTo>
                      <a:lnTo>
                        <a:pt x="292" y="16"/>
                      </a:lnTo>
                      <a:lnTo>
                        <a:pt x="288" y="16"/>
                      </a:lnTo>
                      <a:lnTo>
                        <a:pt x="292" y="16"/>
                      </a:lnTo>
                      <a:lnTo>
                        <a:pt x="292" y="20"/>
                      </a:lnTo>
                      <a:lnTo>
                        <a:pt x="288" y="20"/>
                      </a:lnTo>
                      <a:lnTo>
                        <a:pt x="288" y="22"/>
                      </a:lnTo>
                      <a:lnTo>
                        <a:pt x="288" y="26"/>
                      </a:lnTo>
                      <a:lnTo>
                        <a:pt x="288" y="30"/>
                      </a:lnTo>
                      <a:lnTo>
                        <a:pt x="288" y="26"/>
                      </a:lnTo>
                      <a:lnTo>
                        <a:pt x="292" y="26"/>
                      </a:lnTo>
                      <a:lnTo>
                        <a:pt x="296" y="22"/>
                      </a:lnTo>
                      <a:lnTo>
                        <a:pt x="296" y="20"/>
                      </a:lnTo>
                      <a:lnTo>
                        <a:pt x="300" y="16"/>
                      </a:lnTo>
                      <a:lnTo>
                        <a:pt x="304" y="16"/>
                      </a:lnTo>
                      <a:lnTo>
                        <a:pt x="306" y="12"/>
                      </a:lnTo>
                      <a:lnTo>
                        <a:pt x="306" y="8"/>
                      </a:lnTo>
                      <a:lnTo>
                        <a:pt x="310" y="8"/>
                      </a:lnTo>
                      <a:lnTo>
                        <a:pt x="310" y="4"/>
                      </a:lnTo>
                      <a:lnTo>
                        <a:pt x="310" y="8"/>
                      </a:lnTo>
                      <a:lnTo>
                        <a:pt x="310" y="12"/>
                      </a:lnTo>
                      <a:lnTo>
                        <a:pt x="306" y="12"/>
                      </a:lnTo>
                      <a:lnTo>
                        <a:pt x="306" y="16"/>
                      </a:lnTo>
                      <a:lnTo>
                        <a:pt x="306" y="12"/>
                      </a:lnTo>
                      <a:lnTo>
                        <a:pt x="310" y="12"/>
                      </a:lnTo>
                      <a:lnTo>
                        <a:pt x="310" y="16"/>
                      </a:lnTo>
                      <a:lnTo>
                        <a:pt x="310" y="20"/>
                      </a:lnTo>
                      <a:lnTo>
                        <a:pt x="310" y="22"/>
                      </a:lnTo>
                      <a:lnTo>
                        <a:pt x="310" y="20"/>
                      </a:lnTo>
                      <a:lnTo>
                        <a:pt x="314" y="20"/>
                      </a:lnTo>
                      <a:lnTo>
                        <a:pt x="318" y="20"/>
                      </a:lnTo>
                      <a:lnTo>
                        <a:pt x="314" y="16"/>
                      </a:lnTo>
                      <a:lnTo>
                        <a:pt x="318" y="16"/>
                      </a:lnTo>
                      <a:lnTo>
                        <a:pt x="318" y="12"/>
                      </a:lnTo>
                      <a:lnTo>
                        <a:pt x="322" y="12"/>
                      </a:lnTo>
                      <a:lnTo>
                        <a:pt x="322" y="8"/>
                      </a:lnTo>
                      <a:lnTo>
                        <a:pt x="326" y="8"/>
                      </a:lnTo>
                      <a:lnTo>
                        <a:pt x="322" y="8"/>
                      </a:lnTo>
                      <a:lnTo>
                        <a:pt x="318" y="8"/>
                      </a:lnTo>
                      <a:lnTo>
                        <a:pt x="318" y="4"/>
                      </a:lnTo>
                      <a:lnTo>
                        <a:pt x="322" y="4"/>
                      </a:lnTo>
                      <a:lnTo>
                        <a:pt x="326" y="0"/>
                      </a:lnTo>
                      <a:lnTo>
                        <a:pt x="326" y="4"/>
                      </a:lnTo>
                      <a:lnTo>
                        <a:pt x="330" y="4"/>
                      </a:lnTo>
                      <a:lnTo>
                        <a:pt x="332" y="4"/>
                      </a:lnTo>
                      <a:lnTo>
                        <a:pt x="336" y="4"/>
                      </a:lnTo>
                      <a:lnTo>
                        <a:pt x="336" y="8"/>
                      </a:lnTo>
                      <a:lnTo>
                        <a:pt x="332" y="12"/>
                      </a:lnTo>
                      <a:lnTo>
                        <a:pt x="330" y="12"/>
                      </a:lnTo>
                      <a:lnTo>
                        <a:pt x="326" y="12"/>
                      </a:lnTo>
                      <a:lnTo>
                        <a:pt x="330" y="12"/>
                      </a:lnTo>
                      <a:lnTo>
                        <a:pt x="332" y="12"/>
                      </a:lnTo>
                      <a:lnTo>
                        <a:pt x="330" y="12"/>
                      </a:lnTo>
                      <a:lnTo>
                        <a:pt x="326" y="16"/>
                      </a:lnTo>
                      <a:lnTo>
                        <a:pt x="330" y="16"/>
                      </a:lnTo>
                      <a:lnTo>
                        <a:pt x="332" y="12"/>
                      </a:lnTo>
                      <a:lnTo>
                        <a:pt x="332" y="16"/>
                      </a:lnTo>
                      <a:lnTo>
                        <a:pt x="330" y="16"/>
                      </a:lnTo>
                      <a:lnTo>
                        <a:pt x="330" y="20"/>
                      </a:lnTo>
                      <a:lnTo>
                        <a:pt x="332" y="20"/>
                      </a:lnTo>
                      <a:lnTo>
                        <a:pt x="330" y="20"/>
                      </a:lnTo>
                      <a:lnTo>
                        <a:pt x="332" y="20"/>
                      </a:lnTo>
                      <a:lnTo>
                        <a:pt x="332" y="16"/>
                      </a:lnTo>
                      <a:lnTo>
                        <a:pt x="336" y="20"/>
                      </a:lnTo>
                      <a:lnTo>
                        <a:pt x="332" y="20"/>
                      </a:lnTo>
                      <a:lnTo>
                        <a:pt x="332" y="22"/>
                      </a:lnTo>
                      <a:lnTo>
                        <a:pt x="332" y="26"/>
                      </a:lnTo>
                      <a:lnTo>
                        <a:pt x="330" y="30"/>
                      </a:lnTo>
                      <a:lnTo>
                        <a:pt x="332" y="30"/>
                      </a:lnTo>
                      <a:lnTo>
                        <a:pt x="332" y="26"/>
                      </a:lnTo>
                      <a:lnTo>
                        <a:pt x="332" y="22"/>
                      </a:lnTo>
                      <a:lnTo>
                        <a:pt x="332" y="20"/>
                      </a:lnTo>
                      <a:lnTo>
                        <a:pt x="336" y="20"/>
                      </a:lnTo>
                      <a:lnTo>
                        <a:pt x="336" y="16"/>
                      </a:lnTo>
                      <a:lnTo>
                        <a:pt x="336" y="12"/>
                      </a:lnTo>
                      <a:lnTo>
                        <a:pt x="340" y="8"/>
                      </a:lnTo>
                      <a:lnTo>
                        <a:pt x="344" y="8"/>
                      </a:lnTo>
                      <a:lnTo>
                        <a:pt x="348" y="8"/>
                      </a:lnTo>
                      <a:lnTo>
                        <a:pt x="348" y="12"/>
                      </a:lnTo>
                      <a:lnTo>
                        <a:pt x="350" y="12"/>
                      </a:lnTo>
                      <a:lnTo>
                        <a:pt x="354" y="12"/>
                      </a:lnTo>
                      <a:lnTo>
                        <a:pt x="354" y="16"/>
                      </a:lnTo>
                      <a:lnTo>
                        <a:pt x="354" y="12"/>
                      </a:lnTo>
                      <a:lnTo>
                        <a:pt x="358" y="12"/>
                      </a:lnTo>
                      <a:lnTo>
                        <a:pt x="362" y="12"/>
                      </a:lnTo>
                      <a:lnTo>
                        <a:pt x="362" y="16"/>
                      </a:lnTo>
                      <a:lnTo>
                        <a:pt x="358" y="16"/>
                      </a:lnTo>
                      <a:lnTo>
                        <a:pt x="362" y="16"/>
                      </a:lnTo>
                      <a:lnTo>
                        <a:pt x="366" y="16"/>
                      </a:lnTo>
                      <a:lnTo>
                        <a:pt x="366" y="20"/>
                      </a:lnTo>
                      <a:lnTo>
                        <a:pt x="370" y="20"/>
                      </a:lnTo>
                      <a:lnTo>
                        <a:pt x="374" y="20"/>
                      </a:lnTo>
                      <a:lnTo>
                        <a:pt x="374" y="22"/>
                      </a:lnTo>
                      <a:lnTo>
                        <a:pt x="370" y="22"/>
                      </a:lnTo>
                      <a:lnTo>
                        <a:pt x="366" y="22"/>
                      </a:lnTo>
                      <a:lnTo>
                        <a:pt x="362" y="26"/>
                      </a:lnTo>
                      <a:lnTo>
                        <a:pt x="358" y="26"/>
                      </a:lnTo>
                      <a:lnTo>
                        <a:pt x="358" y="30"/>
                      </a:lnTo>
                      <a:lnTo>
                        <a:pt x="354" y="30"/>
                      </a:lnTo>
                      <a:lnTo>
                        <a:pt x="354" y="26"/>
                      </a:lnTo>
                      <a:lnTo>
                        <a:pt x="350" y="26"/>
                      </a:lnTo>
                      <a:lnTo>
                        <a:pt x="348" y="26"/>
                      </a:lnTo>
                      <a:lnTo>
                        <a:pt x="344" y="26"/>
                      </a:lnTo>
                      <a:lnTo>
                        <a:pt x="340" y="26"/>
                      </a:lnTo>
                      <a:lnTo>
                        <a:pt x="344" y="30"/>
                      </a:lnTo>
                      <a:lnTo>
                        <a:pt x="348" y="30"/>
                      </a:lnTo>
                      <a:lnTo>
                        <a:pt x="350" y="30"/>
                      </a:lnTo>
                      <a:lnTo>
                        <a:pt x="354" y="30"/>
                      </a:lnTo>
                      <a:lnTo>
                        <a:pt x="350" y="30"/>
                      </a:lnTo>
                      <a:lnTo>
                        <a:pt x="350" y="34"/>
                      </a:lnTo>
                      <a:lnTo>
                        <a:pt x="348" y="34"/>
                      </a:lnTo>
                      <a:lnTo>
                        <a:pt x="350" y="34"/>
                      </a:lnTo>
                      <a:lnTo>
                        <a:pt x="354" y="34"/>
                      </a:lnTo>
                      <a:lnTo>
                        <a:pt x="350" y="38"/>
                      </a:lnTo>
                      <a:lnTo>
                        <a:pt x="354" y="38"/>
                      </a:lnTo>
                      <a:lnTo>
                        <a:pt x="358" y="38"/>
                      </a:lnTo>
                      <a:lnTo>
                        <a:pt x="362" y="38"/>
                      </a:lnTo>
                      <a:lnTo>
                        <a:pt x="358" y="38"/>
                      </a:lnTo>
                      <a:lnTo>
                        <a:pt x="362" y="38"/>
                      </a:lnTo>
                      <a:lnTo>
                        <a:pt x="358" y="34"/>
                      </a:lnTo>
                      <a:lnTo>
                        <a:pt x="362" y="34"/>
                      </a:lnTo>
                      <a:lnTo>
                        <a:pt x="362" y="38"/>
                      </a:lnTo>
                      <a:lnTo>
                        <a:pt x="366" y="38"/>
                      </a:lnTo>
                      <a:lnTo>
                        <a:pt x="366" y="34"/>
                      </a:lnTo>
                      <a:lnTo>
                        <a:pt x="370" y="34"/>
                      </a:lnTo>
                      <a:lnTo>
                        <a:pt x="370" y="38"/>
                      </a:lnTo>
                      <a:lnTo>
                        <a:pt x="370" y="42"/>
                      </a:lnTo>
                      <a:lnTo>
                        <a:pt x="366" y="42"/>
                      </a:lnTo>
                      <a:lnTo>
                        <a:pt x="362" y="42"/>
                      </a:lnTo>
                      <a:lnTo>
                        <a:pt x="362" y="38"/>
                      </a:lnTo>
                      <a:lnTo>
                        <a:pt x="358" y="38"/>
                      </a:lnTo>
                      <a:lnTo>
                        <a:pt x="362" y="42"/>
                      </a:lnTo>
                      <a:lnTo>
                        <a:pt x="358" y="42"/>
                      </a:lnTo>
                      <a:lnTo>
                        <a:pt x="354" y="46"/>
                      </a:lnTo>
                      <a:lnTo>
                        <a:pt x="350" y="46"/>
                      </a:lnTo>
                      <a:lnTo>
                        <a:pt x="348" y="50"/>
                      </a:lnTo>
                      <a:lnTo>
                        <a:pt x="348" y="52"/>
                      </a:lnTo>
                      <a:lnTo>
                        <a:pt x="344" y="52"/>
                      </a:lnTo>
                      <a:lnTo>
                        <a:pt x="344" y="56"/>
                      </a:lnTo>
                      <a:lnTo>
                        <a:pt x="344" y="52"/>
                      </a:lnTo>
                      <a:lnTo>
                        <a:pt x="340" y="52"/>
                      </a:lnTo>
                      <a:lnTo>
                        <a:pt x="340" y="50"/>
                      </a:lnTo>
                      <a:lnTo>
                        <a:pt x="344" y="50"/>
                      </a:lnTo>
                      <a:lnTo>
                        <a:pt x="344" y="46"/>
                      </a:lnTo>
                      <a:lnTo>
                        <a:pt x="348" y="46"/>
                      </a:lnTo>
                      <a:lnTo>
                        <a:pt x="348" y="42"/>
                      </a:lnTo>
                      <a:lnTo>
                        <a:pt x="348" y="38"/>
                      </a:lnTo>
                      <a:lnTo>
                        <a:pt x="344" y="38"/>
                      </a:lnTo>
                      <a:lnTo>
                        <a:pt x="340" y="38"/>
                      </a:lnTo>
                      <a:lnTo>
                        <a:pt x="336" y="34"/>
                      </a:lnTo>
                      <a:lnTo>
                        <a:pt x="332" y="34"/>
                      </a:lnTo>
                      <a:lnTo>
                        <a:pt x="332" y="30"/>
                      </a:lnTo>
                      <a:lnTo>
                        <a:pt x="330" y="30"/>
                      </a:lnTo>
                      <a:lnTo>
                        <a:pt x="330" y="26"/>
                      </a:lnTo>
                      <a:lnTo>
                        <a:pt x="326" y="26"/>
                      </a:lnTo>
                      <a:lnTo>
                        <a:pt x="322" y="30"/>
                      </a:lnTo>
                      <a:lnTo>
                        <a:pt x="318" y="30"/>
                      </a:lnTo>
                      <a:lnTo>
                        <a:pt x="318" y="34"/>
                      </a:lnTo>
                      <a:lnTo>
                        <a:pt x="314" y="30"/>
                      </a:lnTo>
                      <a:lnTo>
                        <a:pt x="310" y="30"/>
                      </a:lnTo>
                      <a:lnTo>
                        <a:pt x="306" y="30"/>
                      </a:lnTo>
                      <a:lnTo>
                        <a:pt x="306" y="34"/>
                      </a:lnTo>
                      <a:lnTo>
                        <a:pt x="304" y="38"/>
                      </a:lnTo>
                      <a:lnTo>
                        <a:pt x="300" y="38"/>
                      </a:lnTo>
                      <a:lnTo>
                        <a:pt x="304" y="38"/>
                      </a:lnTo>
                      <a:lnTo>
                        <a:pt x="304" y="42"/>
                      </a:lnTo>
                      <a:lnTo>
                        <a:pt x="300" y="42"/>
                      </a:lnTo>
                      <a:lnTo>
                        <a:pt x="300" y="46"/>
                      </a:lnTo>
                      <a:lnTo>
                        <a:pt x="300" y="50"/>
                      </a:lnTo>
                      <a:lnTo>
                        <a:pt x="300" y="52"/>
                      </a:lnTo>
                      <a:lnTo>
                        <a:pt x="300" y="56"/>
                      </a:lnTo>
                      <a:lnTo>
                        <a:pt x="296" y="56"/>
                      </a:lnTo>
                      <a:lnTo>
                        <a:pt x="296" y="60"/>
                      </a:lnTo>
                      <a:lnTo>
                        <a:pt x="296" y="56"/>
                      </a:lnTo>
                      <a:lnTo>
                        <a:pt x="292" y="56"/>
                      </a:lnTo>
                      <a:lnTo>
                        <a:pt x="292" y="60"/>
                      </a:lnTo>
                      <a:lnTo>
                        <a:pt x="288" y="60"/>
                      </a:lnTo>
                      <a:lnTo>
                        <a:pt x="288" y="64"/>
                      </a:lnTo>
                      <a:lnTo>
                        <a:pt x="288" y="68"/>
                      </a:lnTo>
                      <a:lnTo>
                        <a:pt x="284" y="64"/>
                      </a:lnTo>
                      <a:lnTo>
                        <a:pt x="280" y="64"/>
                      </a:lnTo>
                      <a:lnTo>
                        <a:pt x="276" y="64"/>
                      </a:lnTo>
                      <a:lnTo>
                        <a:pt x="276" y="60"/>
                      </a:lnTo>
                      <a:lnTo>
                        <a:pt x="274" y="60"/>
                      </a:lnTo>
                      <a:lnTo>
                        <a:pt x="270" y="60"/>
                      </a:lnTo>
                      <a:lnTo>
                        <a:pt x="270" y="64"/>
                      </a:lnTo>
                      <a:lnTo>
                        <a:pt x="266" y="64"/>
                      </a:lnTo>
                      <a:lnTo>
                        <a:pt x="262" y="64"/>
                      </a:lnTo>
                      <a:lnTo>
                        <a:pt x="258" y="64"/>
                      </a:lnTo>
                      <a:lnTo>
                        <a:pt x="254" y="60"/>
                      </a:lnTo>
                      <a:lnTo>
                        <a:pt x="250" y="64"/>
                      </a:lnTo>
                      <a:lnTo>
                        <a:pt x="250" y="60"/>
                      </a:lnTo>
                      <a:lnTo>
                        <a:pt x="248" y="56"/>
                      </a:lnTo>
                      <a:lnTo>
                        <a:pt x="248" y="52"/>
                      </a:lnTo>
                      <a:lnTo>
                        <a:pt x="244" y="52"/>
                      </a:lnTo>
                      <a:lnTo>
                        <a:pt x="240" y="50"/>
                      </a:lnTo>
                      <a:lnTo>
                        <a:pt x="236" y="50"/>
                      </a:lnTo>
                      <a:lnTo>
                        <a:pt x="232" y="50"/>
                      </a:lnTo>
                      <a:lnTo>
                        <a:pt x="232" y="52"/>
                      </a:lnTo>
                      <a:lnTo>
                        <a:pt x="232" y="56"/>
                      </a:lnTo>
                      <a:lnTo>
                        <a:pt x="232" y="52"/>
                      </a:lnTo>
                      <a:lnTo>
                        <a:pt x="228" y="52"/>
                      </a:lnTo>
                      <a:lnTo>
                        <a:pt x="224" y="52"/>
                      </a:lnTo>
                      <a:lnTo>
                        <a:pt x="218" y="52"/>
                      </a:lnTo>
                      <a:lnTo>
                        <a:pt x="220" y="56"/>
                      </a:lnTo>
                      <a:lnTo>
                        <a:pt x="220" y="60"/>
                      </a:lnTo>
                      <a:lnTo>
                        <a:pt x="220" y="64"/>
                      </a:lnTo>
                      <a:lnTo>
                        <a:pt x="218" y="68"/>
                      </a:lnTo>
                      <a:lnTo>
                        <a:pt x="220" y="68"/>
                      </a:lnTo>
                      <a:lnTo>
                        <a:pt x="218" y="72"/>
                      </a:lnTo>
                      <a:lnTo>
                        <a:pt x="214" y="72"/>
                      </a:lnTo>
                      <a:lnTo>
                        <a:pt x="210" y="72"/>
                      </a:lnTo>
                      <a:lnTo>
                        <a:pt x="202" y="68"/>
                      </a:lnTo>
                      <a:lnTo>
                        <a:pt x="198" y="68"/>
                      </a:lnTo>
                      <a:lnTo>
                        <a:pt x="194" y="68"/>
                      </a:lnTo>
                      <a:lnTo>
                        <a:pt x="190" y="68"/>
                      </a:lnTo>
                      <a:lnTo>
                        <a:pt x="188" y="72"/>
                      </a:lnTo>
                      <a:lnTo>
                        <a:pt x="190" y="72"/>
                      </a:lnTo>
                      <a:lnTo>
                        <a:pt x="190" y="76"/>
                      </a:lnTo>
                      <a:lnTo>
                        <a:pt x="188" y="78"/>
                      </a:lnTo>
                      <a:lnTo>
                        <a:pt x="188" y="82"/>
                      </a:lnTo>
                      <a:lnTo>
                        <a:pt x="184" y="82"/>
                      </a:lnTo>
                      <a:lnTo>
                        <a:pt x="184" y="78"/>
                      </a:lnTo>
                      <a:lnTo>
                        <a:pt x="180" y="78"/>
                      </a:lnTo>
                      <a:lnTo>
                        <a:pt x="176" y="78"/>
                      </a:lnTo>
                      <a:lnTo>
                        <a:pt x="168" y="82"/>
                      </a:lnTo>
                      <a:lnTo>
                        <a:pt x="168" y="86"/>
                      </a:lnTo>
                      <a:lnTo>
                        <a:pt x="168" y="90"/>
                      </a:lnTo>
                      <a:lnTo>
                        <a:pt x="164" y="94"/>
                      </a:lnTo>
                      <a:lnTo>
                        <a:pt x="160" y="94"/>
                      </a:lnTo>
                      <a:lnTo>
                        <a:pt x="160" y="98"/>
                      </a:lnTo>
                      <a:lnTo>
                        <a:pt x="164" y="98"/>
                      </a:lnTo>
                      <a:lnTo>
                        <a:pt x="164" y="102"/>
                      </a:lnTo>
                      <a:lnTo>
                        <a:pt x="164" y="106"/>
                      </a:lnTo>
                      <a:lnTo>
                        <a:pt x="160" y="108"/>
                      </a:lnTo>
                      <a:lnTo>
                        <a:pt x="158" y="112"/>
                      </a:lnTo>
                      <a:lnTo>
                        <a:pt x="154" y="116"/>
                      </a:lnTo>
                      <a:lnTo>
                        <a:pt x="150" y="116"/>
                      </a:lnTo>
                      <a:lnTo>
                        <a:pt x="150" y="120"/>
                      </a:lnTo>
                      <a:lnTo>
                        <a:pt x="154" y="124"/>
                      </a:lnTo>
                      <a:lnTo>
                        <a:pt x="146" y="128"/>
                      </a:lnTo>
                      <a:lnTo>
                        <a:pt x="142" y="128"/>
                      </a:lnTo>
                      <a:lnTo>
                        <a:pt x="138" y="128"/>
                      </a:lnTo>
                      <a:lnTo>
                        <a:pt x="138" y="132"/>
                      </a:lnTo>
                      <a:lnTo>
                        <a:pt x="142" y="136"/>
                      </a:lnTo>
                      <a:lnTo>
                        <a:pt x="138" y="136"/>
                      </a:lnTo>
                      <a:lnTo>
                        <a:pt x="138" y="138"/>
                      </a:lnTo>
                      <a:lnTo>
                        <a:pt x="138" y="142"/>
                      </a:lnTo>
                      <a:lnTo>
                        <a:pt x="138" y="146"/>
                      </a:lnTo>
                      <a:lnTo>
                        <a:pt x="134" y="150"/>
                      </a:lnTo>
                      <a:lnTo>
                        <a:pt x="134" y="154"/>
                      </a:lnTo>
                      <a:lnTo>
                        <a:pt x="130" y="154"/>
                      </a:lnTo>
                      <a:lnTo>
                        <a:pt x="130" y="158"/>
                      </a:lnTo>
                      <a:lnTo>
                        <a:pt x="130" y="162"/>
                      </a:lnTo>
                      <a:lnTo>
                        <a:pt x="128" y="162"/>
                      </a:lnTo>
                      <a:lnTo>
                        <a:pt x="128" y="164"/>
                      </a:lnTo>
                      <a:lnTo>
                        <a:pt x="130" y="164"/>
                      </a:lnTo>
                      <a:lnTo>
                        <a:pt x="134" y="164"/>
                      </a:lnTo>
                      <a:lnTo>
                        <a:pt x="134" y="168"/>
                      </a:lnTo>
                      <a:lnTo>
                        <a:pt x="134" y="172"/>
                      </a:lnTo>
                      <a:lnTo>
                        <a:pt x="130" y="176"/>
                      </a:lnTo>
                      <a:lnTo>
                        <a:pt x="120" y="176"/>
                      </a:lnTo>
                      <a:lnTo>
                        <a:pt x="116" y="176"/>
                      </a:lnTo>
                      <a:lnTo>
                        <a:pt x="112" y="180"/>
                      </a:lnTo>
                      <a:lnTo>
                        <a:pt x="108" y="184"/>
                      </a:lnTo>
                      <a:lnTo>
                        <a:pt x="104" y="188"/>
                      </a:lnTo>
                      <a:lnTo>
                        <a:pt x="104" y="192"/>
                      </a:lnTo>
                      <a:lnTo>
                        <a:pt x="104" y="194"/>
                      </a:lnTo>
                      <a:lnTo>
                        <a:pt x="102" y="194"/>
                      </a:lnTo>
                      <a:lnTo>
                        <a:pt x="104" y="198"/>
                      </a:lnTo>
                      <a:lnTo>
                        <a:pt x="104" y="202"/>
                      </a:lnTo>
                      <a:lnTo>
                        <a:pt x="104" y="206"/>
                      </a:lnTo>
                      <a:lnTo>
                        <a:pt x="104" y="210"/>
                      </a:lnTo>
                      <a:lnTo>
                        <a:pt x="104" y="214"/>
                      </a:lnTo>
                      <a:lnTo>
                        <a:pt x="104" y="218"/>
                      </a:lnTo>
                      <a:lnTo>
                        <a:pt x="108" y="218"/>
                      </a:lnTo>
                      <a:lnTo>
                        <a:pt x="108" y="222"/>
                      </a:lnTo>
                      <a:lnTo>
                        <a:pt x="104" y="224"/>
                      </a:lnTo>
                      <a:lnTo>
                        <a:pt x="104" y="228"/>
                      </a:lnTo>
                      <a:lnTo>
                        <a:pt x="104" y="232"/>
                      </a:lnTo>
                      <a:lnTo>
                        <a:pt x="108" y="236"/>
                      </a:lnTo>
                      <a:lnTo>
                        <a:pt x="112" y="236"/>
                      </a:lnTo>
                      <a:lnTo>
                        <a:pt x="112" y="238"/>
                      </a:lnTo>
                      <a:lnTo>
                        <a:pt x="116" y="238"/>
                      </a:lnTo>
                      <a:lnTo>
                        <a:pt x="116" y="242"/>
                      </a:lnTo>
                      <a:lnTo>
                        <a:pt x="112" y="242"/>
                      </a:lnTo>
                      <a:lnTo>
                        <a:pt x="112" y="246"/>
                      </a:lnTo>
                      <a:lnTo>
                        <a:pt x="108" y="246"/>
                      </a:lnTo>
                      <a:lnTo>
                        <a:pt x="104" y="246"/>
                      </a:lnTo>
                      <a:lnTo>
                        <a:pt x="108" y="250"/>
                      </a:lnTo>
                      <a:lnTo>
                        <a:pt x="108" y="254"/>
                      </a:lnTo>
                      <a:lnTo>
                        <a:pt x="108" y="258"/>
                      </a:lnTo>
                      <a:lnTo>
                        <a:pt x="112" y="258"/>
                      </a:lnTo>
                      <a:lnTo>
                        <a:pt x="112" y="262"/>
                      </a:lnTo>
                      <a:lnTo>
                        <a:pt x="108" y="264"/>
                      </a:lnTo>
                      <a:lnTo>
                        <a:pt x="108" y="268"/>
                      </a:lnTo>
                      <a:lnTo>
                        <a:pt x="108" y="272"/>
                      </a:lnTo>
                      <a:lnTo>
                        <a:pt x="104" y="272"/>
                      </a:lnTo>
                      <a:lnTo>
                        <a:pt x="102" y="272"/>
                      </a:lnTo>
                      <a:lnTo>
                        <a:pt x="102" y="276"/>
                      </a:lnTo>
                      <a:lnTo>
                        <a:pt x="102" y="280"/>
                      </a:lnTo>
                      <a:lnTo>
                        <a:pt x="98" y="280"/>
                      </a:lnTo>
                      <a:lnTo>
                        <a:pt x="102" y="284"/>
                      </a:lnTo>
                      <a:lnTo>
                        <a:pt x="102" y="288"/>
                      </a:lnTo>
                      <a:lnTo>
                        <a:pt x="102" y="292"/>
                      </a:lnTo>
                      <a:lnTo>
                        <a:pt x="98" y="294"/>
                      </a:lnTo>
                      <a:lnTo>
                        <a:pt x="94" y="294"/>
                      </a:lnTo>
                      <a:lnTo>
                        <a:pt x="94" y="292"/>
                      </a:lnTo>
                      <a:lnTo>
                        <a:pt x="90" y="292"/>
                      </a:lnTo>
                      <a:lnTo>
                        <a:pt x="86" y="292"/>
                      </a:lnTo>
                      <a:lnTo>
                        <a:pt x="86" y="288"/>
                      </a:lnTo>
                      <a:lnTo>
                        <a:pt x="82" y="284"/>
                      </a:lnTo>
                      <a:lnTo>
                        <a:pt x="86" y="284"/>
                      </a:lnTo>
                      <a:lnTo>
                        <a:pt x="82" y="280"/>
                      </a:lnTo>
                      <a:lnTo>
                        <a:pt x="82" y="276"/>
                      </a:lnTo>
                      <a:lnTo>
                        <a:pt x="82" y="272"/>
                      </a:lnTo>
                      <a:lnTo>
                        <a:pt x="86" y="276"/>
                      </a:lnTo>
                      <a:lnTo>
                        <a:pt x="86" y="272"/>
                      </a:lnTo>
                      <a:lnTo>
                        <a:pt x="82" y="272"/>
                      </a:lnTo>
                      <a:lnTo>
                        <a:pt x="82" y="276"/>
                      </a:lnTo>
                      <a:lnTo>
                        <a:pt x="82" y="280"/>
                      </a:lnTo>
                      <a:lnTo>
                        <a:pt x="82" y="276"/>
                      </a:lnTo>
                      <a:lnTo>
                        <a:pt x="78" y="276"/>
                      </a:lnTo>
                      <a:lnTo>
                        <a:pt x="78" y="280"/>
                      </a:lnTo>
                      <a:lnTo>
                        <a:pt x="78" y="284"/>
                      </a:lnTo>
                      <a:lnTo>
                        <a:pt x="82" y="284"/>
                      </a:lnTo>
                      <a:lnTo>
                        <a:pt x="82" y="288"/>
                      </a:lnTo>
                      <a:lnTo>
                        <a:pt x="78" y="288"/>
                      </a:lnTo>
                      <a:lnTo>
                        <a:pt x="78" y="292"/>
                      </a:lnTo>
                      <a:lnTo>
                        <a:pt x="74" y="292"/>
                      </a:lnTo>
                      <a:lnTo>
                        <a:pt x="74" y="294"/>
                      </a:lnTo>
                      <a:lnTo>
                        <a:pt x="72" y="294"/>
                      </a:lnTo>
                      <a:lnTo>
                        <a:pt x="72" y="292"/>
                      </a:lnTo>
                      <a:lnTo>
                        <a:pt x="68" y="292"/>
                      </a:lnTo>
                      <a:lnTo>
                        <a:pt x="72" y="292"/>
                      </a:lnTo>
                      <a:lnTo>
                        <a:pt x="72" y="294"/>
                      </a:lnTo>
                      <a:lnTo>
                        <a:pt x="68" y="294"/>
                      </a:lnTo>
                      <a:lnTo>
                        <a:pt x="64" y="298"/>
                      </a:lnTo>
                      <a:lnTo>
                        <a:pt x="64" y="302"/>
                      </a:lnTo>
                      <a:lnTo>
                        <a:pt x="60" y="302"/>
                      </a:lnTo>
                      <a:lnTo>
                        <a:pt x="60" y="306"/>
                      </a:lnTo>
                      <a:lnTo>
                        <a:pt x="56" y="306"/>
                      </a:lnTo>
                      <a:lnTo>
                        <a:pt x="52" y="310"/>
                      </a:lnTo>
                      <a:lnTo>
                        <a:pt x="48" y="310"/>
                      </a:lnTo>
                      <a:lnTo>
                        <a:pt x="48" y="314"/>
                      </a:lnTo>
                      <a:lnTo>
                        <a:pt x="44" y="314"/>
                      </a:lnTo>
                      <a:lnTo>
                        <a:pt x="42" y="314"/>
                      </a:lnTo>
                      <a:lnTo>
                        <a:pt x="38" y="314"/>
                      </a:lnTo>
                      <a:lnTo>
                        <a:pt x="34" y="314"/>
                      </a:lnTo>
                      <a:lnTo>
                        <a:pt x="34" y="318"/>
                      </a:lnTo>
                      <a:lnTo>
                        <a:pt x="30" y="314"/>
                      </a:lnTo>
                      <a:lnTo>
                        <a:pt x="26" y="314"/>
                      </a:lnTo>
                      <a:lnTo>
                        <a:pt x="26" y="310"/>
                      </a:lnTo>
                      <a:lnTo>
                        <a:pt x="30" y="310"/>
                      </a:lnTo>
                      <a:lnTo>
                        <a:pt x="26" y="310"/>
                      </a:lnTo>
                      <a:lnTo>
                        <a:pt x="22" y="310"/>
                      </a:lnTo>
                      <a:lnTo>
                        <a:pt x="18" y="310"/>
                      </a:lnTo>
                      <a:lnTo>
                        <a:pt x="18" y="306"/>
                      </a:lnTo>
                      <a:lnTo>
                        <a:pt x="14" y="306"/>
                      </a:lnTo>
                      <a:lnTo>
                        <a:pt x="12" y="302"/>
                      </a:lnTo>
                      <a:lnTo>
                        <a:pt x="12" y="298"/>
                      </a:lnTo>
                      <a:lnTo>
                        <a:pt x="12" y="294"/>
                      </a:lnTo>
                      <a:lnTo>
                        <a:pt x="12" y="292"/>
                      </a:lnTo>
                      <a:lnTo>
                        <a:pt x="14" y="294"/>
                      </a:lnTo>
                      <a:lnTo>
                        <a:pt x="18" y="294"/>
                      </a:lnTo>
                      <a:lnTo>
                        <a:pt x="18" y="298"/>
                      </a:lnTo>
                      <a:lnTo>
                        <a:pt x="22" y="294"/>
                      </a:lnTo>
                      <a:lnTo>
                        <a:pt x="18" y="294"/>
                      </a:lnTo>
                      <a:lnTo>
                        <a:pt x="22" y="294"/>
                      </a:lnTo>
                      <a:lnTo>
                        <a:pt x="22" y="292"/>
                      </a:lnTo>
                      <a:lnTo>
                        <a:pt x="26" y="292"/>
                      </a:lnTo>
                      <a:lnTo>
                        <a:pt x="22" y="292"/>
                      </a:lnTo>
                      <a:lnTo>
                        <a:pt x="18" y="294"/>
                      </a:lnTo>
                      <a:lnTo>
                        <a:pt x="18" y="292"/>
                      </a:lnTo>
                      <a:lnTo>
                        <a:pt x="14" y="292"/>
                      </a:lnTo>
                      <a:lnTo>
                        <a:pt x="18" y="292"/>
                      </a:lnTo>
                      <a:lnTo>
                        <a:pt x="18" y="288"/>
                      </a:lnTo>
                      <a:lnTo>
                        <a:pt x="22" y="288"/>
                      </a:lnTo>
                      <a:lnTo>
                        <a:pt x="26" y="288"/>
                      </a:lnTo>
                      <a:lnTo>
                        <a:pt x="22" y="288"/>
                      </a:lnTo>
                      <a:lnTo>
                        <a:pt x="18" y="288"/>
                      </a:lnTo>
                      <a:lnTo>
                        <a:pt x="18" y="284"/>
                      </a:lnTo>
                      <a:lnTo>
                        <a:pt x="22" y="284"/>
                      </a:lnTo>
                      <a:lnTo>
                        <a:pt x="22" y="280"/>
                      </a:lnTo>
                      <a:lnTo>
                        <a:pt x="26" y="280"/>
                      </a:lnTo>
                      <a:lnTo>
                        <a:pt x="22" y="280"/>
                      </a:lnTo>
                      <a:lnTo>
                        <a:pt x="18" y="284"/>
                      </a:lnTo>
                      <a:lnTo>
                        <a:pt x="14" y="284"/>
                      </a:lnTo>
                      <a:lnTo>
                        <a:pt x="18" y="284"/>
                      </a:lnTo>
                      <a:lnTo>
                        <a:pt x="14" y="284"/>
                      </a:lnTo>
                      <a:lnTo>
                        <a:pt x="14" y="288"/>
                      </a:lnTo>
                      <a:lnTo>
                        <a:pt x="12" y="288"/>
                      </a:lnTo>
                      <a:lnTo>
                        <a:pt x="12" y="284"/>
                      </a:lnTo>
                      <a:lnTo>
                        <a:pt x="12" y="288"/>
                      </a:lnTo>
                      <a:lnTo>
                        <a:pt x="8" y="288"/>
                      </a:lnTo>
                      <a:lnTo>
                        <a:pt x="8" y="284"/>
                      </a:lnTo>
                      <a:lnTo>
                        <a:pt x="8" y="280"/>
                      </a:lnTo>
                      <a:lnTo>
                        <a:pt x="12" y="276"/>
                      </a:lnTo>
                      <a:lnTo>
                        <a:pt x="12" y="280"/>
                      </a:lnTo>
                      <a:lnTo>
                        <a:pt x="12" y="276"/>
                      </a:lnTo>
                      <a:lnTo>
                        <a:pt x="14" y="276"/>
                      </a:lnTo>
                      <a:lnTo>
                        <a:pt x="18" y="276"/>
                      </a:lnTo>
                      <a:lnTo>
                        <a:pt x="22" y="272"/>
                      </a:lnTo>
                      <a:lnTo>
                        <a:pt x="18" y="276"/>
                      </a:lnTo>
                      <a:lnTo>
                        <a:pt x="14" y="276"/>
                      </a:lnTo>
                      <a:lnTo>
                        <a:pt x="14" y="272"/>
                      </a:lnTo>
                      <a:lnTo>
                        <a:pt x="18" y="272"/>
                      </a:lnTo>
                      <a:lnTo>
                        <a:pt x="18" y="268"/>
                      </a:lnTo>
                      <a:lnTo>
                        <a:pt x="18" y="264"/>
                      </a:lnTo>
                      <a:lnTo>
                        <a:pt x="22" y="264"/>
                      </a:lnTo>
                      <a:lnTo>
                        <a:pt x="22" y="262"/>
                      </a:lnTo>
                      <a:lnTo>
                        <a:pt x="26" y="262"/>
                      </a:lnTo>
                      <a:lnTo>
                        <a:pt x="26" y="264"/>
                      </a:lnTo>
                      <a:lnTo>
                        <a:pt x="26" y="268"/>
                      </a:lnTo>
                      <a:lnTo>
                        <a:pt x="26" y="264"/>
                      </a:lnTo>
                      <a:lnTo>
                        <a:pt x="26" y="262"/>
                      </a:lnTo>
                      <a:lnTo>
                        <a:pt x="30" y="262"/>
                      </a:lnTo>
                      <a:lnTo>
                        <a:pt x="30" y="258"/>
                      </a:lnTo>
                      <a:lnTo>
                        <a:pt x="34" y="262"/>
                      </a:lnTo>
                      <a:lnTo>
                        <a:pt x="34" y="258"/>
                      </a:lnTo>
                      <a:lnTo>
                        <a:pt x="30" y="258"/>
                      </a:lnTo>
                      <a:lnTo>
                        <a:pt x="34" y="258"/>
                      </a:lnTo>
                      <a:lnTo>
                        <a:pt x="30" y="258"/>
                      </a:lnTo>
                      <a:lnTo>
                        <a:pt x="26" y="262"/>
                      </a:lnTo>
                      <a:lnTo>
                        <a:pt x="22" y="262"/>
                      </a:lnTo>
                      <a:lnTo>
                        <a:pt x="18" y="262"/>
                      </a:lnTo>
                      <a:lnTo>
                        <a:pt x="18" y="264"/>
                      </a:lnTo>
                      <a:lnTo>
                        <a:pt x="14" y="268"/>
                      </a:lnTo>
                      <a:lnTo>
                        <a:pt x="14" y="272"/>
                      </a:lnTo>
                      <a:lnTo>
                        <a:pt x="14" y="268"/>
                      </a:lnTo>
                      <a:lnTo>
                        <a:pt x="12" y="268"/>
                      </a:lnTo>
                      <a:lnTo>
                        <a:pt x="12" y="264"/>
                      </a:lnTo>
                      <a:lnTo>
                        <a:pt x="14" y="262"/>
                      </a:lnTo>
                      <a:lnTo>
                        <a:pt x="12" y="262"/>
                      </a:lnTo>
                      <a:lnTo>
                        <a:pt x="12" y="264"/>
                      </a:lnTo>
                      <a:lnTo>
                        <a:pt x="12" y="268"/>
                      </a:lnTo>
                      <a:lnTo>
                        <a:pt x="8" y="268"/>
                      </a:lnTo>
                      <a:lnTo>
                        <a:pt x="8" y="264"/>
                      </a:lnTo>
                      <a:lnTo>
                        <a:pt x="8" y="262"/>
                      </a:lnTo>
                      <a:lnTo>
                        <a:pt x="8" y="258"/>
                      </a:lnTo>
                      <a:lnTo>
                        <a:pt x="8" y="262"/>
                      </a:lnTo>
                      <a:lnTo>
                        <a:pt x="12" y="262"/>
                      </a:lnTo>
                      <a:lnTo>
                        <a:pt x="14" y="262"/>
                      </a:lnTo>
                      <a:lnTo>
                        <a:pt x="14" y="258"/>
                      </a:lnTo>
                      <a:lnTo>
                        <a:pt x="14" y="254"/>
                      </a:lnTo>
                      <a:lnTo>
                        <a:pt x="12" y="254"/>
                      </a:lnTo>
                      <a:lnTo>
                        <a:pt x="12" y="258"/>
                      </a:lnTo>
                      <a:lnTo>
                        <a:pt x="8" y="258"/>
                      </a:lnTo>
                      <a:lnTo>
                        <a:pt x="4" y="254"/>
                      </a:lnTo>
                      <a:lnTo>
                        <a:pt x="8" y="258"/>
                      </a:lnTo>
                      <a:lnTo>
                        <a:pt x="4" y="254"/>
                      </a:lnTo>
                      <a:lnTo>
                        <a:pt x="8" y="254"/>
                      </a:lnTo>
                      <a:lnTo>
                        <a:pt x="8" y="258"/>
                      </a:lnTo>
                      <a:lnTo>
                        <a:pt x="12" y="258"/>
                      </a:lnTo>
                      <a:lnTo>
                        <a:pt x="12" y="254"/>
                      </a:lnTo>
                      <a:lnTo>
                        <a:pt x="8" y="254"/>
                      </a:lnTo>
                      <a:lnTo>
                        <a:pt x="8" y="250"/>
                      </a:lnTo>
                      <a:lnTo>
                        <a:pt x="12" y="250"/>
                      </a:lnTo>
                      <a:lnTo>
                        <a:pt x="8" y="250"/>
                      </a:lnTo>
                      <a:lnTo>
                        <a:pt x="4" y="250"/>
                      </a:lnTo>
                      <a:lnTo>
                        <a:pt x="4" y="246"/>
                      </a:lnTo>
                      <a:lnTo>
                        <a:pt x="8" y="246"/>
                      </a:lnTo>
                      <a:lnTo>
                        <a:pt x="12" y="246"/>
                      </a:lnTo>
                      <a:lnTo>
                        <a:pt x="14" y="246"/>
                      </a:lnTo>
                      <a:lnTo>
                        <a:pt x="18" y="246"/>
                      </a:lnTo>
                      <a:lnTo>
                        <a:pt x="22" y="246"/>
                      </a:lnTo>
                      <a:lnTo>
                        <a:pt x="26" y="246"/>
                      </a:lnTo>
                      <a:lnTo>
                        <a:pt x="26" y="242"/>
                      </a:lnTo>
                      <a:lnTo>
                        <a:pt x="30" y="242"/>
                      </a:lnTo>
                      <a:lnTo>
                        <a:pt x="30" y="246"/>
                      </a:lnTo>
                      <a:lnTo>
                        <a:pt x="34" y="246"/>
                      </a:lnTo>
                      <a:lnTo>
                        <a:pt x="34" y="250"/>
                      </a:lnTo>
                      <a:lnTo>
                        <a:pt x="34" y="246"/>
                      </a:lnTo>
                      <a:lnTo>
                        <a:pt x="38" y="246"/>
                      </a:lnTo>
                      <a:lnTo>
                        <a:pt x="38" y="242"/>
                      </a:lnTo>
                      <a:lnTo>
                        <a:pt x="38" y="238"/>
                      </a:lnTo>
                      <a:lnTo>
                        <a:pt x="42" y="238"/>
                      </a:lnTo>
                      <a:lnTo>
                        <a:pt x="42" y="236"/>
                      </a:lnTo>
                      <a:lnTo>
                        <a:pt x="38" y="238"/>
                      </a:lnTo>
                      <a:lnTo>
                        <a:pt x="38" y="242"/>
                      </a:lnTo>
                      <a:lnTo>
                        <a:pt x="34" y="242"/>
                      </a:lnTo>
                      <a:lnTo>
                        <a:pt x="30" y="246"/>
                      </a:lnTo>
                      <a:lnTo>
                        <a:pt x="30" y="242"/>
                      </a:lnTo>
                      <a:lnTo>
                        <a:pt x="26" y="242"/>
                      </a:lnTo>
                      <a:lnTo>
                        <a:pt x="26" y="238"/>
                      </a:lnTo>
                      <a:lnTo>
                        <a:pt x="26" y="242"/>
                      </a:lnTo>
                      <a:lnTo>
                        <a:pt x="22" y="246"/>
                      </a:lnTo>
                      <a:lnTo>
                        <a:pt x="22" y="242"/>
                      </a:lnTo>
                      <a:lnTo>
                        <a:pt x="18" y="242"/>
                      </a:lnTo>
                      <a:lnTo>
                        <a:pt x="14" y="242"/>
                      </a:lnTo>
                      <a:lnTo>
                        <a:pt x="12" y="242"/>
                      </a:lnTo>
                      <a:lnTo>
                        <a:pt x="12" y="246"/>
                      </a:lnTo>
                      <a:lnTo>
                        <a:pt x="8" y="246"/>
                      </a:lnTo>
                      <a:lnTo>
                        <a:pt x="8" y="242"/>
                      </a:lnTo>
                      <a:lnTo>
                        <a:pt x="4" y="242"/>
                      </a:lnTo>
                      <a:lnTo>
                        <a:pt x="8" y="242"/>
                      </a:lnTo>
                      <a:lnTo>
                        <a:pt x="4" y="242"/>
                      </a:lnTo>
                      <a:lnTo>
                        <a:pt x="8" y="238"/>
                      </a:lnTo>
                      <a:lnTo>
                        <a:pt x="12" y="238"/>
                      </a:lnTo>
                      <a:lnTo>
                        <a:pt x="8" y="238"/>
                      </a:lnTo>
                      <a:lnTo>
                        <a:pt x="4" y="238"/>
                      </a:lnTo>
                      <a:lnTo>
                        <a:pt x="8" y="236"/>
                      </a:lnTo>
                      <a:lnTo>
                        <a:pt x="8" y="238"/>
                      </a:lnTo>
                      <a:lnTo>
                        <a:pt x="12" y="238"/>
                      </a:lnTo>
                      <a:lnTo>
                        <a:pt x="14" y="238"/>
                      </a:lnTo>
                      <a:lnTo>
                        <a:pt x="14" y="236"/>
                      </a:lnTo>
                      <a:lnTo>
                        <a:pt x="12" y="236"/>
                      </a:lnTo>
                      <a:lnTo>
                        <a:pt x="12" y="238"/>
                      </a:lnTo>
                      <a:lnTo>
                        <a:pt x="8" y="236"/>
                      </a:lnTo>
                      <a:lnTo>
                        <a:pt x="4" y="236"/>
                      </a:lnTo>
                      <a:lnTo>
                        <a:pt x="8" y="232"/>
                      </a:lnTo>
                      <a:lnTo>
                        <a:pt x="4" y="232"/>
                      </a:lnTo>
                      <a:lnTo>
                        <a:pt x="8" y="228"/>
                      </a:lnTo>
                      <a:lnTo>
                        <a:pt x="12" y="228"/>
                      </a:lnTo>
                      <a:lnTo>
                        <a:pt x="14" y="228"/>
                      </a:lnTo>
                      <a:lnTo>
                        <a:pt x="18" y="228"/>
                      </a:lnTo>
                      <a:lnTo>
                        <a:pt x="22" y="228"/>
                      </a:lnTo>
                      <a:lnTo>
                        <a:pt x="26" y="228"/>
                      </a:lnTo>
                      <a:lnTo>
                        <a:pt x="30" y="228"/>
                      </a:lnTo>
                      <a:lnTo>
                        <a:pt x="26" y="228"/>
                      </a:lnTo>
                      <a:lnTo>
                        <a:pt x="22" y="228"/>
                      </a:lnTo>
                      <a:lnTo>
                        <a:pt x="18" y="228"/>
                      </a:lnTo>
                      <a:lnTo>
                        <a:pt x="14" y="228"/>
                      </a:lnTo>
                      <a:lnTo>
                        <a:pt x="12" y="228"/>
                      </a:lnTo>
                      <a:lnTo>
                        <a:pt x="8" y="228"/>
                      </a:lnTo>
                      <a:lnTo>
                        <a:pt x="4" y="228"/>
                      </a:lnTo>
                      <a:lnTo>
                        <a:pt x="8" y="224"/>
                      </a:lnTo>
                      <a:lnTo>
                        <a:pt x="8" y="222"/>
                      </a:lnTo>
                      <a:lnTo>
                        <a:pt x="4" y="222"/>
                      </a:lnTo>
                      <a:lnTo>
                        <a:pt x="8" y="222"/>
                      </a:lnTo>
                      <a:lnTo>
                        <a:pt x="12" y="224"/>
                      </a:lnTo>
                      <a:lnTo>
                        <a:pt x="12" y="222"/>
                      </a:lnTo>
                      <a:lnTo>
                        <a:pt x="8" y="222"/>
                      </a:lnTo>
                      <a:lnTo>
                        <a:pt x="12" y="222"/>
                      </a:lnTo>
                      <a:lnTo>
                        <a:pt x="14" y="222"/>
                      </a:lnTo>
                      <a:lnTo>
                        <a:pt x="18" y="222"/>
                      </a:lnTo>
                      <a:lnTo>
                        <a:pt x="22" y="224"/>
                      </a:lnTo>
                      <a:lnTo>
                        <a:pt x="18" y="224"/>
                      </a:lnTo>
                      <a:lnTo>
                        <a:pt x="18" y="222"/>
                      </a:lnTo>
                      <a:lnTo>
                        <a:pt x="14" y="222"/>
                      </a:lnTo>
                      <a:lnTo>
                        <a:pt x="18" y="222"/>
                      </a:lnTo>
                      <a:lnTo>
                        <a:pt x="18" y="218"/>
                      </a:lnTo>
                      <a:lnTo>
                        <a:pt x="22" y="218"/>
                      </a:lnTo>
                      <a:lnTo>
                        <a:pt x="26" y="222"/>
                      </a:lnTo>
                      <a:lnTo>
                        <a:pt x="26" y="218"/>
                      </a:lnTo>
                      <a:lnTo>
                        <a:pt x="22" y="218"/>
                      </a:lnTo>
                      <a:lnTo>
                        <a:pt x="26" y="214"/>
                      </a:lnTo>
                      <a:lnTo>
                        <a:pt x="30" y="218"/>
                      </a:lnTo>
                      <a:lnTo>
                        <a:pt x="34" y="218"/>
                      </a:lnTo>
                      <a:lnTo>
                        <a:pt x="34" y="222"/>
                      </a:lnTo>
                      <a:lnTo>
                        <a:pt x="30" y="222"/>
                      </a:lnTo>
                      <a:lnTo>
                        <a:pt x="30" y="224"/>
                      </a:lnTo>
                      <a:lnTo>
                        <a:pt x="34" y="224"/>
                      </a:lnTo>
                      <a:lnTo>
                        <a:pt x="34" y="222"/>
                      </a:lnTo>
                      <a:lnTo>
                        <a:pt x="30" y="222"/>
                      </a:lnTo>
                      <a:lnTo>
                        <a:pt x="34" y="222"/>
                      </a:lnTo>
                      <a:lnTo>
                        <a:pt x="34" y="218"/>
                      </a:lnTo>
                      <a:lnTo>
                        <a:pt x="38" y="218"/>
                      </a:lnTo>
                      <a:lnTo>
                        <a:pt x="38" y="222"/>
                      </a:lnTo>
                      <a:lnTo>
                        <a:pt x="38" y="218"/>
                      </a:lnTo>
                      <a:lnTo>
                        <a:pt x="34" y="218"/>
                      </a:lnTo>
                      <a:lnTo>
                        <a:pt x="30" y="218"/>
                      </a:lnTo>
                      <a:lnTo>
                        <a:pt x="30" y="214"/>
                      </a:lnTo>
                      <a:lnTo>
                        <a:pt x="26" y="214"/>
                      </a:lnTo>
                      <a:lnTo>
                        <a:pt x="22" y="214"/>
                      </a:lnTo>
                      <a:lnTo>
                        <a:pt x="26" y="214"/>
                      </a:lnTo>
                      <a:lnTo>
                        <a:pt x="22" y="214"/>
                      </a:lnTo>
                      <a:lnTo>
                        <a:pt x="22" y="210"/>
                      </a:lnTo>
                      <a:lnTo>
                        <a:pt x="26" y="210"/>
                      </a:lnTo>
                      <a:lnTo>
                        <a:pt x="30" y="210"/>
                      </a:lnTo>
                      <a:lnTo>
                        <a:pt x="34" y="210"/>
                      </a:lnTo>
                      <a:lnTo>
                        <a:pt x="38" y="210"/>
                      </a:lnTo>
                      <a:lnTo>
                        <a:pt x="42" y="214"/>
                      </a:lnTo>
                      <a:lnTo>
                        <a:pt x="42" y="210"/>
                      </a:lnTo>
                      <a:lnTo>
                        <a:pt x="42" y="214"/>
                      </a:lnTo>
                      <a:lnTo>
                        <a:pt x="38" y="214"/>
                      </a:lnTo>
                      <a:lnTo>
                        <a:pt x="38" y="210"/>
                      </a:lnTo>
                      <a:lnTo>
                        <a:pt x="42" y="210"/>
                      </a:lnTo>
                      <a:lnTo>
                        <a:pt x="44" y="210"/>
                      </a:lnTo>
                      <a:lnTo>
                        <a:pt x="44" y="206"/>
                      </a:lnTo>
                      <a:lnTo>
                        <a:pt x="48" y="210"/>
                      </a:lnTo>
                      <a:lnTo>
                        <a:pt x="48" y="206"/>
                      </a:lnTo>
                      <a:lnTo>
                        <a:pt x="44" y="206"/>
                      </a:lnTo>
                      <a:lnTo>
                        <a:pt x="42" y="210"/>
                      </a:lnTo>
                      <a:lnTo>
                        <a:pt x="38" y="210"/>
                      </a:lnTo>
                      <a:lnTo>
                        <a:pt x="38" y="206"/>
                      </a:lnTo>
                      <a:lnTo>
                        <a:pt x="42" y="206"/>
                      </a:lnTo>
                      <a:lnTo>
                        <a:pt x="38" y="206"/>
                      </a:lnTo>
                      <a:lnTo>
                        <a:pt x="34" y="206"/>
                      </a:lnTo>
                      <a:lnTo>
                        <a:pt x="30" y="210"/>
                      </a:lnTo>
                      <a:lnTo>
                        <a:pt x="30" y="206"/>
                      </a:lnTo>
                      <a:lnTo>
                        <a:pt x="34" y="206"/>
                      </a:lnTo>
                      <a:lnTo>
                        <a:pt x="30" y="202"/>
                      </a:lnTo>
                      <a:lnTo>
                        <a:pt x="34" y="202"/>
                      </a:lnTo>
                      <a:lnTo>
                        <a:pt x="38" y="202"/>
                      </a:lnTo>
                      <a:lnTo>
                        <a:pt x="42" y="202"/>
                      </a:lnTo>
                      <a:lnTo>
                        <a:pt x="44" y="202"/>
                      </a:lnTo>
                      <a:lnTo>
                        <a:pt x="42" y="202"/>
                      </a:lnTo>
                      <a:lnTo>
                        <a:pt x="44" y="202"/>
                      </a:lnTo>
                      <a:lnTo>
                        <a:pt x="48" y="202"/>
                      </a:lnTo>
                      <a:lnTo>
                        <a:pt x="48" y="206"/>
                      </a:lnTo>
                      <a:lnTo>
                        <a:pt x="52" y="206"/>
                      </a:lnTo>
                      <a:lnTo>
                        <a:pt x="52" y="210"/>
                      </a:lnTo>
                      <a:lnTo>
                        <a:pt x="56" y="210"/>
                      </a:lnTo>
                      <a:lnTo>
                        <a:pt x="52" y="210"/>
                      </a:lnTo>
                      <a:lnTo>
                        <a:pt x="52" y="206"/>
                      </a:lnTo>
                      <a:lnTo>
                        <a:pt x="48" y="206"/>
                      </a:lnTo>
                      <a:lnTo>
                        <a:pt x="48" y="202"/>
                      </a:lnTo>
                      <a:lnTo>
                        <a:pt x="44" y="202"/>
                      </a:lnTo>
                      <a:lnTo>
                        <a:pt x="44" y="198"/>
                      </a:lnTo>
                      <a:lnTo>
                        <a:pt x="48" y="198"/>
                      </a:lnTo>
                      <a:lnTo>
                        <a:pt x="48" y="202"/>
                      </a:lnTo>
                      <a:lnTo>
                        <a:pt x="52" y="202"/>
                      </a:lnTo>
                      <a:lnTo>
                        <a:pt x="52" y="206"/>
                      </a:lnTo>
                      <a:lnTo>
                        <a:pt x="52" y="202"/>
                      </a:lnTo>
                      <a:lnTo>
                        <a:pt x="56" y="202"/>
                      </a:lnTo>
                      <a:lnTo>
                        <a:pt x="52" y="202"/>
                      </a:lnTo>
                      <a:lnTo>
                        <a:pt x="48" y="202"/>
                      </a:lnTo>
                      <a:lnTo>
                        <a:pt x="48" y="198"/>
                      </a:lnTo>
                      <a:lnTo>
                        <a:pt x="52" y="198"/>
                      </a:lnTo>
                      <a:lnTo>
                        <a:pt x="56" y="198"/>
                      </a:lnTo>
                      <a:lnTo>
                        <a:pt x="60" y="198"/>
                      </a:lnTo>
                      <a:lnTo>
                        <a:pt x="56" y="198"/>
                      </a:lnTo>
                      <a:lnTo>
                        <a:pt x="52" y="194"/>
                      </a:lnTo>
                      <a:lnTo>
                        <a:pt x="56" y="194"/>
                      </a:lnTo>
                      <a:lnTo>
                        <a:pt x="56" y="192"/>
                      </a:lnTo>
                      <a:lnTo>
                        <a:pt x="60" y="192"/>
                      </a:lnTo>
                      <a:lnTo>
                        <a:pt x="64" y="192"/>
                      </a:lnTo>
                      <a:lnTo>
                        <a:pt x="64" y="194"/>
                      </a:lnTo>
                      <a:lnTo>
                        <a:pt x="68" y="194"/>
                      </a:lnTo>
                      <a:lnTo>
                        <a:pt x="68" y="192"/>
                      </a:lnTo>
                      <a:lnTo>
                        <a:pt x="64" y="194"/>
                      </a:lnTo>
                      <a:lnTo>
                        <a:pt x="64" y="192"/>
                      </a:lnTo>
                      <a:lnTo>
                        <a:pt x="64" y="188"/>
                      </a:lnTo>
                      <a:lnTo>
                        <a:pt x="68" y="188"/>
                      </a:lnTo>
                      <a:lnTo>
                        <a:pt x="72" y="188"/>
                      </a:lnTo>
                      <a:lnTo>
                        <a:pt x="74" y="192"/>
                      </a:lnTo>
                      <a:lnTo>
                        <a:pt x="74" y="194"/>
                      </a:lnTo>
                      <a:lnTo>
                        <a:pt x="78" y="194"/>
                      </a:lnTo>
                      <a:lnTo>
                        <a:pt x="74" y="194"/>
                      </a:lnTo>
                      <a:lnTo>
                        <a:pt x="74" y="192"/>
                      </a:lnTo>
                      <a:lnTo>
                        <a:pt x="78" y="192"/>
                      </a:lnTo>
                      <a:lnTo>
                        <a:pt x="82" y="192"/>
                      </a:lnTo>
                      <a:lnTo>
                        <a:pt x="86" y="192"/>
                      </a:lnTo>
                      <a:lnTo>
                        <a:pt x="86" y="188"/>
                      </a:lnTo>
                      <a:lnTo>
                        <a:pt x="82" y="188"/>
                      </a:lnTo>
                      <a:lnTo>
                        <a:pt x="86" y="188"/>
                      </a:lnTo>
                      <a:lnTo>
                        <a:pt x="86" y="184"/>
                      </a:lnTo>
                      <a:lnTo>
                        <a:pt x="90" y="184"/>
                      </a:lnTo>
                      <a:lnTo>
                        <a:pt x="94" y="184"/>
                      </a:lnTo>
                      <a:lnTo>
                        <a:pt x="94" y="180"/>
                      </a:lnTo>
                      <a:lnTo>
                        <a:pt x="90" y="180"/>
                      </a:lnTo>
                      <a:lnTo>
                        <a:pt x="94" y="180"/>
                      </a:lnTo>
                      <a:lnTo>
                        <a:pt x="98" y="176"/>
                      </a:lnTo>
                      <a:lnTo>
                        <a:pt x="94" y="176"/>
                      </a:lnTo>
                      <a:lnTo>
                        <a:pt x="90" y="176"/>
                      </a:lnTo>
                      <a:lnTo>
                        <a:pt x="90" y="180"/>
                      </a:lnTo>
                      <a:lnTo>
                        <a:pt x="86" y="180"/>
                      </a:lnTo>
                      <a:lnTo>
                        <a:pt x="82" y="184"/>
                      </a:lnTo>
                      <a:lnTo>
                        <a:pt x="86" y="180"/>
                      </a:lnTo>
                      <a:lnTo>
                        <a:pt x="90" y="180"/>
                      </a:lnTo>
                      <a:lnTo>
                        <a:pt x="90" y="184"/>
                      </a:lnTo>
                      <a:lnTo>
                        <a:pt x="86" y="184"/>
                      </a:lnTo>
                      <a:lnTo>
                        <a:pt x="82" y="188"/>
                      </a:lnTo>
                      <a:lnTo>
                        <a:pt x="78" y="188"/>
                      </a:lnTo>
                      <a:lnTo>
                        <a:pt x="74" y="192"/>
                      </a:lnTo>
                      <a:lnTo>
                        <a:pt x="72" y="188"/>
                      </a:lnTo>
                      <a:lnTo>
                        <a:pt x="72" y="184"/>
                      </a:lnTo>
                      <a:lnTo>
                        <a:pt x="74" y="184"/>
                      </a:lnTo>
                      <a:lnTo>
                        <a:pt x="72" y="184"/>
                      </a:lnTo>
                      <a:lnTo>
                        <a:pt x="68" y="188"/>
                      </a:lnTo>
                      <a:lnTo>
                        <a:pt x="68" y="184"/>
                      </a:lnTo>
                      <a:lnTo>
                        <a:pt x="72" y="184"/>
                      </a:lnTo>
                      <a:lnTo>
                        <a:pt x="72" y="180"/>
                      </a:lnTo>
                      <a:lnTo>
                        <a:pt x="74" y="180"/>
                      </a:lnTo>
                      <a:lnTo>
                        <a:pt x="78" y="180"/>
                      </a:lnTo>
                      <a:lnTo>
                        <a:pt x="74" y="180"/>
                      </a:lnTo>
                      <a:lnTo>
                        <a:pt x="74" y="176"/>
                      </a:lnTo>
                      <a:lnTo>
                        <a:pt x="78" y="172"/>
                      </a:lnTo>
                      <a:lnTo>
                        <a:pt x="82" y="168"/>
                      </a:lnTo>
                      <a:lnTo>
                        <a:pt x="82" y="168"/>
                      </a:lnTo>
                      <a:lnTo>
                        <a:pt x="82" y="168"/>
                      </a:lnTo>
                      <a:close/>
                      <a:moveTo>
                        <a:pt x="284" y="4"/>
                      </a:moveTo>
                      <a:lnTo>
                        <a:pt x="284" y="0"/>
                      </a:lnTo>
                      <a:lnTo>
                        <a:pt x="284" y="4"/>
                      </a:lnTo>
                      <a:lnTo>
                        <a:pt x="284" y="4"/>
                      </a:lnTo>
                      <a:lnTo>
                        <a:pt x="284" y="4"/>
                      </a:lnTo>
                      <a:close/>
                      <a:moveTo>
                        <a:pt x="270" y="16"/>
                      </a:moveTo>
                      <a:lnTo>
                        <a:pt x="270" y="12"/>
                      </a:lnTo>
                      <a:lnTo>
                        <a:pt x="274" y="12"/>
                      </a:lnTo>
                      <a:lnTo>
                        <a:pt x="276" y="16"/>
                      </a:lnTo>
                      <a:lnTo>
                        <a:pt x="274" y="16"/>
                      </a:lnTo>
                      <a:lnTo>
                        <a:pt x="270" y="16"/>
                      </a:lnTo>
                      <a:lnTo>
                        <a:pt x="270" y="16"/>
                      </a:lnTo>
                      <a:lnTo>
                        <a:pt x="270" y="16"/>
                      </a:lnTo>
                      <a:close/>
                      <a:moveTo>
                        <a:pt x="258" y="22"/>
                      </a:moveTo>
                      <a:lnTo>
                        <a:pt x="254" y="22"/>
                      </a:lnTo>
                      <a:lnTo>
                        <a:pt x="250" y="22"/>
                      </a:lnTo>
                      <a:lnTo>
                        <a:pt x="250" y="20"/>
                      </a:lnTo>
                      <a:lnTo>
                        <a:pt x="254" y="20"/>
                      </a:lnTo>
                      <a:lnTo>
                        <a:pt x="258" y="22"/>
                      </a:lnTo>
                      <a:lnTo>
                        <a:pt x="258" y="22"/>
                      </a:lnTo>
                      <a:lnTo>
                        <a:pt x="258" y="22"/>
                      </a:lnTo>
                      <a:close/>
                      <a:moveTo>
                        <a:pt x="244" y="22"/>
                      </a:moveTo>
                      <a:lnTo>
                        <a:pt x="240" y="22"/>
                      </a:lnTo>
                      <a:lnTo>
                        <a:pt x="240" y="20"/>
                      </a:lnTo>
                      <a:lnTo>
                        <a:pt x="244" y="20"/>
                      </a:lnTo>
                      <a:lnTo>
                        <a:pt x="244" y="22"/>
                      </a:lnTo>
                      <a:lnTo>
                        <a:pt x="244" y="22"/>
                      </a:lnTo>
                      <a:lnTo>
                        <a:pt x="244" y="22"/>
                      </a:lnTo>
                      <a:close/>
                      <a:moveTo>
                        <a:pt x="206" y="26"/>
                      </a:moveTo>
                      <a:lnTo>
                        <a:pt x="202" y="26"/>
                      </a:lnTo>
                      <a:lnTo>
                        <a:pt x="206" y="22"/>
                      </a:lnTo>
                      <a:lnTo>
                        <a:pt x="206" y="26"/>
                      </a:lnTo>
                      <a:lnTo>
                        <a:pt x="206" y="26"/>
                      </a:lnTo>
                      <a:lnTo>
                        <a:pt x="206" y="26"/>
                      </a:lnTo>
                      <a:close/>
                      <a:moveTo>
                        <a:pt x="198" y="30"/>
                      </a:moveTo>
                      <a:lnTo>
                        <a:pt x="198" y="26"/>
                      </a:lnTo>
                      <a:lnTo>
                        <a:pt x="202" y="26"/>
                      </a:lnTo>
                      <a:lnTo>
                        <a:pt x="202" y="30"/>
                      </a:lnTo>
                      <a:lnTo>
                        <a:pt x="198" y="30"/>
                      </a:lnTo>
                      <a:lnTo>
                        <a:pt x="198" y="30"/>
                      </a:lnTo>
                      <a:lnTo>
                        <a:pt x="198" y="30"/>
                      </a:lnTo>
                      <a:close/>
                      <a:moveTo>
                        <a:pt x="228" y="30"/>
                      </a:moveTo>
                      <a:lnTo>
                        <a:pt x="232" y="30"/>
                      </a:lnTo>
                      <a:lnTo>
                        <a:pt x="228" y="30"/>
                      </a:lnTo>
                      <a:lnTo>
                        <a:pt x="228" y="30"/>
                      </a:lnTo>
                      <a:lnTo>
                        <a:pt x="228" y="30"/>
                      </a:lnTo>
                      <a:close/>
                      <a:moveTo>
                        <a:pt x="210" y="34"/>
                      </a:moveTo>
                      <a:lnTo>
                        <a:pt x="214" y="30"/>
                      </a:lnTo>
                      <a:lnTo>
                        <a:pt x="218" y="30"/>
                      </a:lnTo>
                      <a:lnTo>
                        <a:pt x="214" y="34"/>
                      </a:lnTo>
                      <a:lnTo>
                        <a:pt x="210" y="34"/>
                      </a:lnTo>
                      <a:lnTo>
                        <a:pt x="210" y="34"/>
                      </a:lnTo>
                      <a:lnTo>
                        <a:pt x="210" y="34"/>
                      </a:lnTo>
                      <a:close/>
                      <a:moveTo>
                        <a:pt x="354" y="38"/>
                      </a:moveTo>
                      <a:lnTo>
                        <a:pt x="354" y="34"/>
                      </a:lnTo>
                      <a:lnTo>
                        <a:pt x="358" y="34"/>
                      </a:lnTo>
                      <a:lnTo>
                        <a:pt x="354" y="38"/>
                      </a:lnTo>
                      <a:lnTo>
                        <a:pt x="354" y="38"/>
                      </a:lnTo>
                      <a:lnTo>
                        <a:pt x="354" y="38"/>
                      </a:lnTo>
                      <a:close/>
                      <a:moveTo>
                        <a:pt x="224" y="34"/>
                      </a:moveTo>
                      <a:lnTo>
                        <a:pt x="228" y="34"/>
                      </a:lnTo>
                      <a:lnTo>
                        <a:pt x="224" y="34"/>
                      </a:lnTo>
                      <a:lnTo>
                        <a:pt x="224" y="34"/>
                      </a:lnTo>
                      <a:lnTo>
                        <a:pt x="224" y="34"/>
                      </a:lnTo>
                      <a:close/>
                      <a:moveTo>
                        <a:pt x="202" y="42"/>
                      </a:moveTo>
                      <a:lnTo>
                        <a:pt x="202" y="38"/>
                      </a:lnTo>
                      <a:lnTo>
                        <a:pt x="202" y="42"/>
                      </a:lnTo>
                      <a:lnTo>
                        <a:pt x="202" y="42"/>
                      </a:lnTo>
                      <a:lnTo>
                        <a:pt x="202" y="42"/>
                      </a:lnTo>
                      <a:close/>
                      <a:moveTo>
                        <a:pt x="180" y="56"/>
                      </a:moveTo>
                      <a:lnTo>
                        <a:pt x="180" y="52"/>
                      </a:lnTo>
                      <a:lnTo>
                        <a:pt x="184" y="52"/>
                      </a:lnTo>
                      <a:lnTo>
                        <a:pt x="180" y="56"/>
                      </a:lnTo>
                      <a:lnTo>
                        <a:pt x="180" y="56"/>
                      </a:lnTo>
                      <a:lnTo>
                        <a:pt x="180" y="56"/>
                      </a:lnTo>
                      <a:close/>
                      <a:moveTo>
                        <a:pt x="168" y="60"/>
                      </a:moveTo>
                      <a:lnTo>
                        <a:pt x="164" y="56"/>
                      </a:lnTo>
                      <a:lnTo>
                        <a:pt x="168" y="56"/>
                      </a:lnTo>
                      <a:lnTo>
                        <a:pt x="168" y="60"/>
                      </a:lnTo>
                      <a:lnTo>
                        <a:pt x="168" y="60"/>
                      </a:lnTo>
                      <a:lnTo>
                        <a:pt x="168" y="60"/>
                      </a:lnTo>
                      <a:close/>
                      <a:moveTo>
                        <a:pt x="176" y="60"/>
                      </a:moveTo>
                      <a:lnTo>
                        <a:pt x="176" y="56"/>
                      </a:lnTo>
                      <a:lnTo>
                        <a:pt x="180" y="56"/>
                      </a:lnTo>
                      <a:lnTo>
                        <a:pt x="180" y="60"/>
                      </a:lnTo>
                      <a:lnTo>
                        <a:pt x="176" y="60"/>
                      </a:lnTo>
                      <a:lnTo>
                        <a:pt x="176" y="60"/>
                      </a:lnTo>
                      <a:lnTo>
                        <a:pt x="176" y="60"/>
                      </a:lnTo>
                      <a:close/>
                      <a:moveTo>
                        <a:pt x="172" y="64"/>
                      </a:moveTo>
                      <a:lnTo>
                        <a:pt x="172" y="60"/>
                      </a:lnTo>
                      <a:lnTo>
                        <a:pt x="176" y="60"/>
                      </a:lnTo>
                      <a:lnTo>
                        <a:pt x="172" y="60"/>
                      </a:lnTo>
                      <a:lnTo>
                        <a:pt x="172" y="64"/>
                      </a:lnTo>
                      <a:lnTo>
                        <a:pt x="172" y="64"/>
                      </a:lnTo>
                      <a:lnTo>
                        <a:pt x="172" y="64"/>
                      </a:lnTo>
                      <a:close/>
                      <a:moveTo>
                        <a:pt x="160" y="72"/>
                      </a:moveTo>
                      <a:lnTo>
                        <a:pt x="160" y="68"/>
                      </a:lnTo>
                      <a:lnTo>
                        <a:pt x="164" y="68"/>
                      </a:lnTo>
                      <a:lnTo>
                        <a:pt x="164" y="72"/>
                      </a:lnTo>
                      <a:lnTo>
                        <a:pt x="160" y="72"/>
                      </a:lnTo>
                      <a:lnTo>
                        <a:pt x="160" y="72"/>
                      </a:lnTo>
                      <a:lnTo>
                        <a:pt x="160" y="72"/>
                      </a:lnTo>
                      <a:close/>
                      <a:moveTo>
                        <a:pt x="134" y="76"/>
                      </a:moveTo>
                      <a:lnTo>
                        <a:pt x="130" y="76"/>
                      </a:lnTo>
                      <a:lnTo>
                        <a:pt x="130" y="72"/>
                      </a:lnTo>
                      <a:lnTo>
                        <a:pt x="134" y="72"/>
                      </a:lnTo>
                      <a:lnTo>
                        <a:pt x="134" y="76"/>
                      </a:lnTo>
                      <a:lnTo>
                        <a:pt x="134" y="76"/>
                      </a:lnTo>
                      <a:lnTo>
                        <a:pt x="134" y="76"/>
                      </a:lnTo>
                      <a:close/>
                      <a:moveTo>
                        <a:pt x="120" y="82"/>
                      </a:moveTo>
                      <a:lnTo>
                        <a:pt x="120" y="78"/>
                      </a:lnTo>
                      <a:lnTo>
                        <a:pt x="120" y="76"/>
                      </a:lnTo>
                      <a:lnTo>
                        <a:pt x="124" y="76"/>
                      </a:lnTo>
                      <a:lnTo>
                        <a:pt x="124" y="78"/>
                      </a:lnTo>
                      <a:lnTo>
                        <a:pt x="120" y="82"/>
                      </a:lnTo>
                      <a:lnTo>
                        <a:pt x="120" y="82"/>
                      </a:lnTo>
                      <a:lnTo>
                        <a:pt x="120" y="82"/>
                      </a:lnTo>
                      <a:close/>
                      <a:moveTo>
                        <a:pt x="116" y="86"/>
                      </a:moveTo>
                      <a:lnTo>
                        <a:pt x="116" y="82"/>
                      </a:lnTo>
                      <a:lnTo>
                        <a:pt x="116" y="78"/>
                      </a:lnTo>
                      <a:lnTo>
                        <a:pt x="120" y="78"/>
                      </a:lnTo>
                      <a:lnTo>
                        <a:pt x="120" y="82"/>
                      </a:lnTo>
                      <a:lnTo>
                        <a:pt x="116" y="82"/>
                      </a:lnTo>
                      <a:lnTo>
                        <a:pt x="116" y="86"/>
                      </a:lnTo>
                      <a:lnTo>
                        <a:pt x="116" y="86"/>
                      </a:lnTo>
                      <a:lnTo>
                        <a:pt x="116" y="86"/>
                      </a:lnTo>
                      <a:close/>
                      <a:moveTo>
                        <a:pt x="154" y="82"/>
                      </a:moveTo>
                      <a:lnTo>
                        <a:pt x="154" y="78"/>
                      </a:lnTo>
                      <a:lnTo>
                        <a:pt x="158" y="78"/>
                      </a:lnTo>
                      <a:lnTo>
                        <a:pt x="158" y="82"/>
                      </a:lnTo>
                      <a:lnTo>
                        <a:pt x="154" y="82"/>
                      </a:lnTo>
                      <a:lnTo>
                        <a:pt x="154" y="82"/>
                      </a:lnTo>
                      <a:lnTo>
                        <a:pt x="154" y="82"/>
                      </a:lnTo>
                      <a:close/>
                      <a:moveTo>
                        <a:pt x="146" y="82"/>
                      </a:moveTo>
                      <a:lnTo>
                        <a:pt x="150" y="82"/>
                      </a:lnTo>
                      <a:lnTo>
                        <a:pt x="146" y="82"/>
                      </a:lnTo>
                      <a:lnTo>
                        <a:pt x="146" y="82"/>
                      </a:lnTo>
                      <a:lnTo>
                        <a:pt x="146" y="82"/>
                      </a:lnTo>
                      <a:close/>
                      <a:moveTo>
                        <a:pt x="134" y="106"/>
                      </a:moveTo>
                      <a:lnTo>
                        <a:pt x="130" y="106"/>
                      </a:lnTo>
                      <a:lnTo>
                        <a:pt x="130" y="102"/>
                      </a:lnTo>
                      <a:lnTo>
                        <a:pt x="134" y="102"/>
                      </a:lnTo>
                      <a:lnTo>
                        <a:pt x="134" y="106"/>
                      </a:lnTo>
                      <a:lnTo>
                        <a:pt x="134" y="106"/>
                      </a:lnTo>
                      <a:lnTo>
                        <a:pt x="134" y="106"/>
                      </a:lnTo>
                      <a:close/>
                      <a:moveTo>
                        <a:pt x="102" y="138"/>
                      </a:moveTo>
                      <a:lnTo>
                        <a:pt x="104" y="138"/>
                      </a:lnTo>
                      <a:lnTo>
                        <a:pt x="102" y="138"/>
                      </a:lnTo>
                      <a:lnTo>
                        <a:pt x="102" y="138"/>
                      </a:lnTo>
                      <a:lnTo>
                        <a:pt x="102" y="138"/>
                      </a:lnTo>
                      <a:close/>
                      <a:moveTo>
                        <a:pt x="104" y="150"/>
                      </a:moveTo>
                      <a:lnTo>
                        <a:pt x="104" y="146"/>
                      </a:lnTo>
                      <a:lnTo>
                        <a:pt x="104" y="142"/>
                      </a:lnTo>
                      <a:lnTo>
                        <a:pt x="104" y="138"/>
                      </a:lnTo>
                      <a:lnTo>
                        <a:pt x="108" y="138"/>
                      </a:lnTo>
                      <a:lnTo>
                        <a:pt x="108" y="142"/>
                      </a:lnTo>
                      <a:lnTo>
                        <a:pt x="108" y="146"/>
                      </a:lnTo>
                      <a:lnTo>
                        <a:pt x="104" y="146"/>
                      </a:lnTo>
                      <a:lnTo>
                        <a:pt x="104" y="150"/>
                      </a:lnTo>
                      <a:lnTo>
                        <a:pt x="104" y="150"/>
                      </a:lnTo>
                      <a:lnTo>
                        <a:pt x="104" y="150"/>
                      </a:lnTo>
                      <a:close/>
                      <a:moveTo>
                        <a:pt x="104" y="154"/>
                      </a:moveTo>
                      <a:lnTo>
                        <a:pt x="102" y="154"/>
                      </a:lnTo>
                      <a:lnTo>
                        <a:pt x="104" y="150"/>
                      </a:lnTo>
                      <a:lnTo>
                        <a:pt x="108" y="150"/>
                      </a:lnTo>
                      <a:lnTo>
                        <a:pt x="108" y="154"/>
                      </a:lnTo>
                      <a:lnTo>
                        <a:pt x="104" y="154"/>
                      </a:lnTo>
                      <a:lnTo>
                        <a:pt x="104" y="154"/>
                      </a:lnTo>
                      <a:lnTo>
                        <a:pt x="104" y="154"/>
                      </a:lnTo>
                      <a:close/>
                      <a:moveTo>
                        <a:pt x="86" y="158"/>
                      </a:moveTo>
                      <a:lnTo>
                        <a:pt x="90" y="154"/>
                      </a:lnTo>
                      <a:lnTo>
                        <a:pt x="86" y="158"/>
                      </a:lnTo>
                      <a:lnTo>
                        <a:pt x="86" y="158"/>
                      </a:lnTo>
                      <a:lnTo>
                        <a:pt x="86" y="158"/>
                      </a:lnTo>
                      <a:close/>
                      <a:moveTo>
                        <a:pt x="90" y="158"/>
                      </a:moveTo>
                      <a:lnTo>
                        <a:pt x="86" y="158"/>
                      </a:lnTo>
                      <a:lnTo>
                        <a:pt x="90" y="154"/>
                      </a:lnTo>
                      <a:lnTo>
                        <a:pt x="94" y="158"/>
                      </a:lnTo>
                      <a:lnTo>
                        <a:pt x="90" y="158"/>
                      </a:lnTo>
                      <a:lnTo>
                        <a:pt x="90" y="158"/>
                      </a:lnTo>
                      <a:lnTo>
                        <a:pt x="90" y="158"/>
                      </a:lnTo>
                      <a:close/>
                      <a:moveTo>
                        <a:pt x="94" y="164"/>
                      </a:moveTo>
                      <a:lnTo>
                        <a:pt x="90" y="164"/>
                      </a:lnTo>
                      <a:lnTo>
                        <a:pt x="90" y="162"/>
                      </a:lnTo>
                      <a:lnTo>
                        <a:pt x="94" y="164"/>
                      </a:lnTo>
                      <a:lnTo>
                        <a:pt x="94" y="164"/>
                      </a:lnTo>
                      <a:lnTo>
                        <a:pt x="94" y="164"/>
                      </a:lnTo>
                      <a:close/>
                      <a:moveTo>
                        <a:pt x="52" y="194"/>
                      </a:moveTo>
                      <a:lnTo>
                        <a:pt x="52" y="192"/>
                      </a:lnTo>
                      <a:lnTo>
                        <a:pt x="56" y="192"/>
                      </a:lnTo>
                      <a:lnTo>
                        <a:pt x="56" y="194"/>
                      </a:lnTo>
                      <a:lnTo>
                        <a:pt x="52" y="194"/>
                      </a:lnTo>
                      <a:lnTo>
                        <a:pt x="52" y="194"/>
                      </a:lnTo>
                      <a:lnTo>
                        <a:pt x="52" y="194"/>
                      </a:lnTo>
                      <a:close/>
                      <a:moveTo>
                        <a:pt x="52" y="198"/>
                      </a:moveTo>
                      <a:lnTo>
                        <a:pt x="48" y="194"/>
                      </a:lnTo>
                      <a:lnTo>
                        <a:pt x="52" y="194"/>
                      </a:lnTo>
                      <a:lnTo>
                        <a:pt x="56" y="198"/>
                      </a:lnTo>
                      <a:lnTo>
                        <a:pt x="52" y="198"/>
                      </a:lnTo>
                      <a:lnTo>
                        <a:pt x="52" y="198"/>
                      </a:lnTo>
                      <a:lnTo>
                        <a:pt x="52" y="198"/>
                      </a:lnTo>
                      <a:close/>
                      <a:moveTo>
                        <a:pt x="44" y="198"/>
                      </a:moveTo>
                      <a:lnTo>
                        <a:pt x="48" y="194"/>
                      </a:lnTo>
                      <a:lnTo>
                        <a:pt x="48" y="198"/>
                      </a:lnTo>
                      <a:lnTo>
                        <a:pt x="44" y="198"/>
                      </a:lnTo>
                      <a:lnTo>
                        <a:pt x="44" y="198"/>
                      </a:lnTo>
                      <a:lnTo>
                        <a:pt x="44" y="198"/>
                      </a:lnTo>
                      <a:close/>
                      <a:moveTo>
                        <a:pt x="44" y="202"/>
                      </a:moveTo>
                      <a:lnTo>
                        <a:pt x="42" y="202"/>
                      </a:lnTo>
                      <a:lnTo>
                        <a:pt x="42" y="198"/>
                      </a:lnTo>
                      <a:lnTo>
                        <a:pt x="44" y="198"/>
                      </a:lnTo>
                      <a:lnTo>
                        <a:pt x="44" y="202"/>
                      </a:lnTo>
                      <a:lnTo>
                        <a:pt x="44" y="202"/>
                      </a:lnTo>
                      <a:lnTo>
                        <a:pt x="44" y="202"/>
                      </a:lnTo>
                      <a:close/>
                      <a:moveTo>
                        <a:pt x="42" y="202"/>
                      </a:moveTo>
                      <a:lnTo>
                        <a:pt x="38" y="202"/>
                      </a:lnTo>
                      <a:lnTo>
                        <a:pt x="38" y="198"/>
                      </a:lnTo>
                      <a:lnTo>
                        <a:pt x="42" y="198"/>
                      </a:lnTo>
                      <a:lnTo>
                        <a:pt x="42" y="202"/>
                      </a:lnTo>
                      <a:lnTo>
                        <a:pt x="42" y="202"/>
                      </a:lnTo>
                      <a:lnTo>
                        <a:pt x="42" y="202"/>
                      </a:lnTo>
                      <a:close/>
                      <a:moveTo>
                        <a:pt x="26" y="210"/>
                      </a:moveTo>
                      <a:lnTo>
                        <a:pt x="30" y="206"/>
                      </a:lnTo>
                      <a:lnTo>
                        <a:pt x="30" y="210"/>
                      </a:lnTo>
                      <a:lnTo>
                        <a:pt x="26" y="210"/>
                      </a:lnTo>
                      <a:lnTo>
                        <a:pt x="26" y="210"/>
                      </a:lnTo>
                      <a:lnTo>
                        <a:pt x="26" y="210"/>
                      </a:lnTo>
                      <a:close/>
                      <a:moveTo>
                        <a:pt x="22" y="218"/>
                      </a:moveTo>
                      <a:lnTo>
                        <a:pt x="18" y="218"/>
                      </a:lnTo>
                      <a:lnTo>
                        <a:pt x="18" y="214"/>
                      </a:lnTo>
                      <a:lnTo>
                        <a:pt x="22" y="214"/>
                      </a:lnTo>
                      <a:lnTo>
                        <a:pt x="22" y="218"/>
                      </a:lnTo>
                      <a:lnTo>
                        <a:pt x="22" y="218"/>
                      </a:lnTo>
                      <a:lnTo>
                        <a:pt x="22" y="218"/>
                      </a:lnTo>
                      <a:close/>
                      <a:moveTo>
                        <a:pt x="14" y="222"/>
                      </a:moveTo>
                      <a:lnTo>
                        <a:pt x="14" y="218"/>
                      </a:lnTo>
                      <a:lnTo>
                        <a:pt x="14" y="214"/>
                      </a:lnTo>
                      <a:lnTo>
                        <a:pt x="18" y="214"/>
                      </a:lnTo>
                      <a:lnTo>
                        <a:pt x="18" y="218"/>
                      </a:lnTo>
                      <a:lnTo>
                        <a:pt x="14" y="218"/>
                      </a:lnTo>
                      <a:lnTo>
                        <a:pt x="14" y="222"/>
                      </a:lnTo>
                      <a:lnTo>
                        <a:pt x="14" y="222"/>
                      </a:lnTo>
                      <a:lnTo>
                        <a:pt x="14" y="222"/>
                      </a:lnTo>
                      <a:close/>
                      <a:moveTo>
                        <a:pt x="12" y="222"/>
                      </a:moveTo>
                      <a:lnTo>
                        <a:pt x="12" y="218"/>
                      </a:lnTo>
                      <a:lnTo>
                        <a:pt x="14" y="218"/>
                      </a:lnTo>
                      <a:lnTo>
                        <a:pt x="14" y="222"/>
                      </a:lnTo>
                      <a:lnTo>
                        <a:pt x="12" y="222"/>
                      </a:lnTo>
                      <a:lnTo>
                        <a:pt x="12" y="222"/>
                      </a:lnTo>
                      <a:lnTo>
                        <a:pt x="12" y="222"/>
                      </a:lnTo>
                      <a:close/>
                      <a:moveTo>
                        <a:pt x="4" y="232"/>
                      </a:moveTo>
                      <a:lnTo>
                        <a:pt x="4" y="228"/>
                      </a:lnTo>
                      <a:lnTo>
                        <a:pt x="0" y="228"/>
                      </a:lnTo>
                      <a:lnTo>
                        <a:pt x="4" y="228"/>
                      </a:lnTo>
                      <a:lnTo>
                        <a:pt x="8" y="228"/>
                      </a:lnTo>
                      <a:lnTo>
                        <a:pt x="4" y="228"/>
                      </a:lnTo>
                      <a:lnTo>
                        <a:pt x="4" y="232"/>
                      </a:lnTo>
                      <a:lnTo>
                        <a:pt x="4" y="232"/>
                      </a:lnTo>
                      <a:lnTo>
                        <a:pt x="4" y="232"/>
                      </a:lnTo>
                      <a:close/>
                      <a:moveTo>
                        <a:pt x="0" y="246"/>
                      </a:moveTo>
                      <a:lnTo>
                        <a:pt x="0" y="242"/>
                      </a:lnTo>
                      <a:lnTo>
                        <a:pt x="4" y="242"/>
                      </a:lnTo>
                      <a:lnTo>
                        <a:pt x="4" y="246"/>
                      </a:lnTo>
                      <a:lnTo>
                        <a:pt x="0" y="246"/>
                      </a:lnTo>
                      <a:lnTo>
                        <a:pt x="0" y="246"/>
                      </a:lnTo>
                      <a:lnTo>
                        <a:pt x="0" y="246"/>
                      </a:lnTo>
                      <a:close/>
                      <a:moveTo>
                        <a:pt x="12" y="262"/>
                      </a:moveTo>
                      <a:lnTo>
                        <a:pt x="8" y="258"/>
                      </a:lnTo>
                      <a:lnTo>
                        <a:pt x="12" y="258"/>
                      </a:lnTo>
                      <a:lnTo>
                        <a:pt x="12" y="254"/>
                      </a:lnTo>
                      <a:lnTo>
                        <a:pt x="14" y="254"/>
                      </a:lnTo>
                      <a:lnTo>
                        <a:pt x="14" y="262"/>
                      </a:lnTo>
                      <a:lnTo>
                        <a:pt x="12" y="262"/>
                      </a:lnTo>
                      <a:lnTo>
                        <a:pt x="12" y="262"/>
                      </a:lnTo>
                      <a:lnTo>
                        <a:pt x="12" y="262"/>
                      </a:lnTo>
                      <a:close/>
                      <a:moveTo>
                        <a:pt x="296" y="8"/>
                      </a:moveTo>
                      <a:lnTo>
                        <a:pt x="292" y="4"/>
                      </a:lnTo>
                      <a:lnTo>
                        <a:pt x="296" y="4"/>
                      </a:lnTo>
                      <a:lnTo>
                        <a:pt x="292" y="4"/>
                      </a:lnTo>
                      <a:lnTo>
                        <a:pt x="296" y="0"/>
                      </a:lnTo>
                      <a:lnTo>
                        <a:pt x="300" y="0"/>
                      </a:lnTo>
                      <a:lnTo>
                        <a:pt x="304" y="0"/>
                      </a:lnTo>
                      <a:lnTo>
                        <a:pt x="304" y="4"/>
                      </a:lnTo>
                      <a:lnTo>
                        <a:pt x="300" y="4"/>
                      </a:lnTo>
                      <a:lnTo>
                        <a:pt x="304" y="4"/>
                      </a:lnTo>
                      <a:lnTo>
                        <a:pt x="300" y="4"/>
                      </a:lnTo>
                      <a:lnTo>
                        <a:pt x="296" y="8"/>
                      </a:lnTo>
                      <a:lnTo>
                        <a:pt x="296" y="8"/>
                      </a:lnTo>
                      <a:lnTo>
                        <a:pt x="296" y="8"/>
                      </a:lnTo>
                      <a:close/>
                      <a:moveTo>
                        <a:pt x="274" y="8"/>
                      </a:moveTo>
                      <a:lnTo>
                        <a:pt x="274" y="4"/>
                      </a:lnTo>
                      <a:lnTo>
                        <a:pt x="276" y="4"/>
                      </a:lnTo>
                      <a:lnTo>
                        <a:pt x="276" y="8"/>
                      </a:lnTo>
                      <a:lnTo>
                        <a:pt x="274" y="8"/>
                      </a:lnTo>
                      <a:lnTo>
                        <a:pt x="274" y="8"/>
                      </a:lnTo>
                      <a:lnTo>
                        <a:pt x="274" y="8"/>
                      </a:lnTo>
                      <a:close/>
                      <a:moveTo>
                        <a:pt x="248" y="20"/>
                      </a:moveTo>
                      <a:lnTo>
                        <a:pt x="248" y="16"/>
                      </a:lnTo>
                      <a:lnTo>
                        <a:pt x="244" y="16"/>
                      </a:lnTo>
                      <a:lnTo>
                        <a:pt x="244" y="12"/>
                      </a:lnTo>
                      <a:lnTo>
                        <a:pt x="248" y="12"/>
                      </a:lnTo>
                      <a:lnTo>
                        <a:pt x="248" y="16"/>
                      </a:lnTo>
                      <a:lnTo>
                        <a:pt x="250" y="12"/>
                      </a:lnTo>
                      <a:lnTo>
                        <a:pt x="254" y="12"/>
                      </a:lnTo>
                      <a:lnTo>
                        <a:pt x="254" y="16"/>
                      </a:lnTo>
                      <a:lnTo>
                        <a:pt x="258" y="16"/>
                      </a:lnTo>
                      <a:lnTo>
                        <a:pt x="258" y="12"/>
                      </a:lnTo>
                      <a:lnTo>
                        <a:pt x="254" y="12"/>
                      </a:lnTo>
                      <a:lnTo>
                        <a:pt x="258" y="12"/>
                      </a:lnTo>
                      <a:lnTo>
                        <a:pt x="262" y="12"/>
                      </a:lnTo>
                      <a:lnTo>
                        <a:pt x="266" y="12"/>
                      </a:lnTo>
                      <a:lnTo>
                        <a:pt x="266" y="8"/>
                      </a:lnTo>
                      <a:lnTo>
                        <a:pt x="262" y="8"/>
                      </a:lnTo>
                      <a:lnTo>
                        <a:pt x="266" y="8"/>
                      </a:lnTo>
                      <a:lnTo>
                        <a:pt x="266" y="12"/>
                      </a:lnTo>
                      <a:lnTo>
                        <a:pt x="262" y="12"/>
                      </a:lnTo>
                      <a:lnTo>
                        <a:pt x="262" y="16"/>
                      </a:lnTo>
                      <a:lnTo>
                        <a:pt x="258" y="16"/>
                      </a:lnTo>
                      <a:lnTo>
                        <a:pt x="254" y="16"/>
                      </a:lnTo>
                      <a:lnTo>
                        <a:pt x="250" y="20"/>
                      </a:lnTo>
                      <a:lnTo>
                        <a:pt x="248" y="16"/>
                      </a:lnTo>
                      <a:lnTo>
                        <a:pt x="248" y="20"/>
                      </a:lnTo>
                      <a:lnTo>
                        <a:pt x="248" y="20"/>
                      </a:lnTo>
                      <a:lnTo>
                        <a:pt x="248" y="20"/>
                      </a:lnTo>
                      <a:close/>
                      <a:moveTo>
                        <a:pt x="262" y="22"/>
                      </a:moveTo>
                      <a:lnTo>
                        <a:pt x="258" y="20"/>
                      </a:lnTo>
                      <a:lnTo>
                        <a:pt x="262" y="16"/>
                      </a:lnTo>
                      <a:lnTo>
                        <a:pt x="266" y="16"/>
                      </a:lnTo>
                      <a:lnTo>
                        <a:pt x="270" y="16"/>
                      </a:lnTo>
                      <a:lnTo>
                        <a:pt x="270" y="20"/>
                      </a:lnTo>
                      <a:lnTo>
                        <a:pt x="266" y="20"/>
                      </a:lnTo>
                      <a:lnTo>
                        <a:pt x="266" y="22"/>
                      </a:lnTo>
                      <a:lnTo>
                        <a:pt x="262" y="22"/>
                      </a:lnTo>
                      <a:lnTo>
                        <a:pt x="262" y="22"/>
                      </a:lnTo>
                      <a:lnTo>
                        <a:pt x="262" y="22"/>
                      </a:lnTo>
                      <a:close/>
                      <a:moveTo>
                        <a:pt x="218" y="30"/>
                      </a:moveTo>
                      <a:lnTo>
                        <a:pt x="214" y="30"/>
                      </a:lnTo>
                      <a:lnTo>
                        <a:pt x="214" y="26"/>
                      </a:lnTo>
                      <a:lnTo>
                        <a:pt x="214" y="22"/>
                      </a:lnTo>
                      <a:lnTo>
                        <a:pt x="210" y="22"/>
                      </a:lnTo>
                      <a:lnTo>
                        <a:pt x="214" y="22"/>
                      </a:lnTo>
                      <a:lnTo>
                        <a:pt x="214" y="26"/>
                      </a:lnTo>
                      <a:lnTo>
                        <a:pt x="218" y="26"/>
                      </a:lnTo>
                      <a:lnTo>
                        <a:pt x="218" y="30"/>
                      </a:lnTo>
                      <a:lnTo>
                        <a:pt x="218" y="30"/>
                      </a:lnTo>
                      <a:lnTo>
                        <a:pt x="218" y="30"/>
                      </a:lnTo>
                      <a:close/>
                      <a:moveTo>
                        <a:pt x="224" y="30"/>
                      </a:moveTo>
                      <a:lnTo>
                        <a:pt x="224" y="26"/>
                      </a:lnTo>
                      <a:lnTo>
                        <a:pt x="224" y="30"/>
                      </a:lnTo>
                      <a:lnTo>
                        <a:pt x="224" y="26"/>
                      </a:lnTo>
                      <a:lnTo>
                        <a:pt x="220" y="26"/>
                      </a:lnTo>
                      <a:lnTo>
                        <a:pt x="224" y="26"/>
                      </a:lnTo>
                      <a:lnTo>
                        <a:pt x="224" y="22"/>
                      </a:lnTo>
                      <a:lnTo>
                        <a:pt x="228" y="22"/>
                      </a:lnTo>
                      <a:lnTo>
                        <a:pt x="228" y="26"/>
                      </a:lnTo>
                      <a:lnTo>
                        <a:pt x="228" y="30"/>
                      </a:lnTo>
                      <a:lnTo>
                        <a:pt x="224" y="30"/>
                      </a:lnTo>
                      <a:lnTo>
                        <a:pt x="224" y="30"/>
                      </a:lnTo>
                      <a:lnTo>
                        <a:pt x="224" y="30"/>
                      </a:lnTo>
                      <a:close/>
                      <a:moveTo>
                        <a:pt x="210" y="26"/>
                      </a:moveTo>
                      <a:lnTo>
                        <a:pt x="206" y="26"/>
                      </a:lnTo>
                      <a:lnTo>
                        <a:pt x="210" y="26"/>
                      </a:lnTo>
                      <a:lnTo>
                        <a:pt x="210" y="26"/>
                      </a:lnTo>
                      <a:lnTo>
                        <a:pt x="210" y="26"/>
                      </a:lnTo>
                      <a:close/>
                      <a:moveTo>
                        <a:pt x="206" y="34"/>
                      </a:moveTo>
                      <a:lnTo>
                        <a:pt x="202" y="34"/>
                      </a:lnTo>
                      <a:lnTo>
                        <a:pt x="198" y="34"/>
                      </a:lnTo>
                      <a:lnTo>
                        <a:pt x="198" y="30"/>
                      </a:lnTo>
                      <a:lnTo>
                        <a:pt x="202" y="30"/>
                      </a:lnTo>
                      <a:lnTo>
                        <a:pt x="206" y="30"/>
                      </a:lnTo>
                      <a:lnTo>
                        <a:pt x="206" y="26"/>
                      </a:lnTo>
                      <a:lnTo>
                        <a:pt x="206" y="30"/>
                      </a:lnTo>
                      <a:lnTo>
                        <a:pt x="210" y="30"/>
                      </a:lnTo>
                      <a:lnTo>
                        <a:pt x="214" y="30"/>
                      </a:lnTo>
                      <a:lnTo>
                        <a:pt x="210" y="34"/>
                      </a:lnTo>
                      <a:lnTo>
                        <a:pt x="206" y="34"/>
                      </a:lnTo>
                      <a:lnTo>
                        <a:pt x="206" y="34"/>
                      </a:lnTo>
                      <a:lnTo>
                        <a:pt x="206" y="34"/>
                      </a:lnTo>
                      <a:close/>
                      <a:moveTo>
                        <a:pt x="194" y="38"/>
                      </a:moveTo>
                      <a:lnTo>
                        <a:pt x="198" y="38"/>
                      </a:lnTo>
                      <a:lnTo>
                        <a:pt x="194" y="38"/>
                      </a:lnTo>
                      <a:lnTo>
                        <a:pt x="194" y="34"/>
                      </a:lnTo>
                      <a:lnTo>
                        <a:pt x="194" y="38"/>
                      </a:lnTo>
                      <a:lnTo>
                        <a:pt x="198" y="38"/>
                      </a:lnTo>
                      <a:lnTo>
                        <a:pt x="198" y="34"/>
                      </a:lnTo>
                      <a:lnTo>
                        <a:pt x="202" y="34"/>
                      </a:lnTo>
                      <a:lnTo>
                        <a:pt x="202" y="38"/>
                      </a:lnTo>
                      <a:lnTo>
                        <a:pt x="198" y="38"/>
                      </a:lnTo>
                      <a:lnTo>
                        <a:pt x="198" y="42"/>
                      </a:lnTo>
                      <a:lnTo>
                        <a:pt x="202" y="42"/>
                      </a:lnTo>
                      <a:lnTo>
                        <a:pt x="198" y="42"/>
                      </a:lnTo>
                      <a:lnTo>
                        <a:pt x="194" y="42"/>
                      </a:lnTo>
                      <a:lnTo>
                        <a:pt x="190" y="42"/>
                      </a:lnTo>
                      <a:lnTo>
                        <a:pt x="188" y="42"/>
                      </a:lnTo>
                      <a:lnTo>
                        <a:pt x="190" y="38"/>
                      </a:lnTo>
                      <a:lnTo>
                        <a:pt x="190" y="42"/>
                      </a:lnTo>
                      <a:lnTo>
                        <a:pt x="190" y="38"/>
                      </a:lnTo>
                      <a:lnTo>
                        <a:pt x="194" y="38"/>
                      </a:lnTo>
                      <a:lnTo>
                        <a:pt x="194" y="38"/>
                      </a:lnTo>
                      <a:lnTo>
                        <a:pt x="194" y="38"/>
                      </a:lnTo>
                      <a:close/>
                      <a:moveTo>
                        <a:pt x="172" y="50"/>
                      </a:moveTo>
                      <a:lnTo>
                        <a:pt x="176" y="50"/>
                      </a:lnTo>
                      <a:lnTo>
                        <a:pt x="172" y="50"/>
                      </a:lnTo>
                      <a:lnTo>
                        <a:pt x="176" y="50"/>
                      </a:lnTo>
                      <a:lnTo>
                        <a:pt x="176" y="46"/>
                      </a:lnTo>
                      <a:lnTo>
                        <a:pt x="172" y="46"/>
                      </a:lnTo>
                      <a:lnTo>
                        <a:pt x="176" y="46"/>
                      </a:lnTo>
                      <a:lnTo>
                        <a:pt x="180" y="46"/>
                      </a:lnTo>
                      <a:lnTo>
                        <a:pt x="176" y="46"/>
                      </a:lnTo>
                      <a:lnTo>
                        <a:pt x="176" y="42"/>
                      </a:lnTo>
                      <a:lnTo>
                        <a:pt x="180" y="46"/>
                      </a:lnTo>
                      <a:lnTo>
                        <a:pt x="180" y="42"/>
                      </a:lnTo>
                      <a:lnTo>
                        <a:pt x="184" y="42"/>
                      </a:lnTo>
                      <a:lnTo>
                        <a:pt x="184" y="46"/>
                      </a:lnTo>
                      <a:lnTo>
                        <a:pt x="184" y="42"/>
                      </a:lnTo>
                      <a:lnTo>
                        <a:pt x="180" y="42"/>
                      </a:lnTo>
                      <a:lnTo>
                        <a:pt x="184" y="42"/>
                      </a:lnTo>
                      <a:lnTo>
                        <a:pt x="188" y="42"/>
                      </a:lnTo>
                      <a:lnTo>
                        <a:pt x="190" y="46"/>
                      </a:lnTo>
                      <a:lnTo>
                        <a:pt x="188" y="46"/>
                      </a:lnTo>
                      <a:lnTo>
                        <a:pt x="188" y="50"/>
                      </a:lnTo>
                      <a:lnTo>
                        <a:pt x="188" y="52"/>
                      </a:lnTo>
                      <a:lnTo>
                        <a:pt x="184" y="52"/>
                      </a:lnTo>
                      <a:lnTo>
                        <a:pt x="180" y="50"/>
                      </a:lnTo>
                      <a:lnTo>
                        <a:pt x="180" y="52"/>
                      </a:lnTo>
                      <a:lnTo>
                        <a:pt x="176" y="52"/>
                      </a:lnTo>
                      <a:lnTo>
                        <a:pt x="176" y="56"/>
                      </a:lnTo>
                      <a:lnTo>
                        <a:pt x="176" y="52"/>
                      </a:lnTo>
                      <a:lnTo>
                        <a:pt x="172" y="52"/>
                      </a:lnTo>
                      <a:lnTo>
                        <a:pt x="176" y="52"/>
                      </a:lnTo>
                      <a:lnTo>
                        <a:pt x="176" y="50"/>
                      </a:lnTo>
                      <a:lnTo>
                        <a:pt x="176" y="52"/>
                      </a:lnTo>
                      <a:lnTo>
                        <a:pt x="172" y="50"/>
                      </a:lnTo>
                      <a:lnTo>
                        <a:pt x="172" y="50"/>
                      </a:lnTo>
                      <a:lnTo>
                        <a:pt x="172" y="50"/>
                      </a:lnTo>
                      <a:close/>
                      <a:moveTo>
                        <a:pt x="154" y="60"/>
                      </a:moveTo>
                      <a:lnTo>
                        <a:pt x="154" y="56"/>
                      </a:lnTo>
                      <a:lnTo>
                        <a:pt x="154" y="52"/>
                      </a:lnTo>
                      <a:lnTo>
                        <a:pt x="158" y="52"/>
                      </a:lnTo>
                      <a:lnTo>
                        <a:pt x="158" y="50"/>
                      </a:lnTo>
                      <a:lnTo>
                        <a:pt x="160" y="50"/>
                      </a:lnTo>
                      <a:lnTo>
                        <a:pt x="160" y="52"/>
                      </a:lnTo>
                      <a:lnTo>
                        <a:pt x="158" y="52"/>
                      </a:lnTo>
                      <a:lnTo>
                        <a:pt x="158" y="56"/>
                      </a:lnTo>
                      <a:lnTo>
                        <a:pt x="154" y="56"/>
                      </a:lnTo>
                      <a:lnTo>
                        <a:pt x="154" y="60"/>
                      </a:lnTo>
                      <a:lnTo>
                        <a:pt x="154" y="60"/>
                      </a:lnTo>
                      <a:lnTo>
                        <a:pt x="154" y="60"/>
                      </a:lnTo>
                      <a:close/>
                      <a:moveTo>
                        <a:pt x="138" y="64"/>
                      </a:moveTo>
                      <a:lnTo>
                        <a:pt x="138" y="60"/>
                      </a:lnTo>
                      <a:lnTo>
                        <a:pt x="142" y="60"/>
                      </a:lnTo>
                      <a:lnTo>
                        <a:pt x="146" y="60"/>
                      </a:lnTo>
                      <a:lnTo>
                        <a:pt x="150" y="60"/>
                      </a:lnTo>
                      <a:lnTo>
                        <a:pt x="146" y="60"/>
                      </a:lnTo>
                      <a:lnTo>
                        <a:pt x="146" y="56"/>
                      </a:lnTo>
                      <a:lnTo>
                        <a:pt x="150" y="56"/>
                      </a:lnTo>
                      <a:lnTo>
                        <a:pt x="150" y="60"/>
                      </a:lnTo>
                      <a:lnTo>
                        <a:pt x="150" y="64"/>
                      </a:lnTo>
                      <a:lnTo>
                        <a:pt x="146" y="68"/>
                      </a:lnTo>
                      <a:lnTo>
                        <a:pt x="142" y="68"/>
                      </a:lnTo>
                      <a:lnTo>
                        <a:pt x="142" y="64"/>
                      </a:lnTo>
                      <a:lnTo>
                        <a:pt x="146" y="64"/>
                      </a:lnTo>
                      <a:lnTo>
                        <a:pt x="150" y="64"/>
                      </a:lnTo>
                      <a:lnTo>
                        <a:pt x="146" y="60"/>
                      </a:lnTo>
                      <a:lnTo>
                        <a:pt x="146" y="64"/>
                      </a:lnTo>
                      <a:lnTo>
                        <a:pt x="142" y="64"/>
                      </a:lnTo>
                      <a:lnTo>
                        <a:pt x="138" y="64"/>
                      </a:lnTo>
                      <a:lnTo>
                        <a:pt x="138" y="64"/>
                      </a:lnTo>
                      <a:lnTo>
                        <a:pt x="138" y="64"/>
                      </a:lnTo>
                      <a:close/>
                      <a:moveTo>
                        <a:pt x="168" y="68"/>
                      </a:moveTo>
                      <a:lnTo>
                        <a:pt x="164" y="68"/>
                      </a:lnTo>
                      <a:lnTo>
                        <a:pt x="160" y="68"/>
                      </a:lnTo>
                      <a:lnTo>
                        <a:pt x="160" y="72"/>
                      </a:lnTo>
                      <a:lnTo>
                        <a:pt x="158" y="72"/>
                      </a:lnTo>
                      <a:lnTo>
                        <a:pt x="154" y="72"/>
                      </a:lnTo>
                      <a:lnTo>
                        <a:pt x="150" y="72"/>
                      </a:lnTo>
                      <a:lnTo>
                        <a:pt x="154" y="72"/>
                      </a:lnTo>
                      <a:lnTo>
                        <a:pt x="154" y="68"/>
                      </a:lnTo>
                      <a:lnTo>
                        <a:pt x="154" y="72"/>
                      </a:lnTo>
                      <a:lnTo>
                        <a:pt x="150" y="72"/>
                      </a:lnTo>
                      <a:lnTo>
                        <a:pt x="146" y="76"/>
                      </a:lnTo>
                      <a:lnTo>
                        <a:pt x="146" y="72"/>
                      </a:lnTo>
                      <a:lnTo>
                        <a:pt x="150" y="68"/>
                      </a:lnTo>
                      <a:lnTo>
                        <a:pt x="154" y="64"/>
                      </a:lnTo>
                      <a:lnTo>
                        <a:pt x="158" y="64"/>
                      </a:lnTo>
                      <a:lnTo>
                        <a:pt x="154" y="64"/>
                      </a:lnTo>
                      <a:lnTo>
                        <a:pt x="154" y="60"/>
                      </a:lnTo>
                      <a:lnTo>
                        <a:pt x="154" y="64"/>
                      </a:lnTo>
                      <a:lnTo>
                        <a:pt x="154" y="60"/>
                      </a:lnTo>
                      <a:lnTo>
                        <a:pt x="154" y="56"/>
                      </a:lnTo>
                      <a:lnTo>
                        <a:pt x="158" y="56"/>
                      </a:lnTo>
                      <a:lnTo>
                        <a:pt x="158" y="60"/>
                      </a:lnTo>
                      <a:lnTo>
                        <a:pt x="160" y="60"/>
                      </a:lnTo>
                      <a:lnTo>
                        <a:pt x="160" y="64"/>
                      </a:lnTo>
                      <a:lnTo>
                        <a:pt x="158" y="64"/>
                      </a:lnTo>
                      <a:lnTo>
                        <a:pt x="158" y="68"/>
                      </a:lnTo>
                      <a:lnTo>
                        <a:pt x="158" y="64"/>
                      </a:lnTo>
                      <a:lnTo>
                        <a:pt x="160" y="64"/>
                      </a:lnTo>
                      <a:lnTo>
                        <a:pt x="160" y="60"/>
                      </a:lnTo>
                      <a:lnTo>
                        <a:pt x="164" y="60"/>
                      </a:lnTo>
                      <a:lnTo>
                        <a:pt x="168" y="60"/>
                      </a:lnTo>
                      <a:lnTo>
                        <a:pt x="168" y="64"/>
                      </a:lnTo>
                      <a:lnTo>
                        <a:pt x="168" y="68"/>
                      </a:lnTo>
                      <a:lnTo>
                        <a:pt x="168" y="68"/>
                      </a:lnTo>
                      <a:lnTo>
                        <a:pt x="168" y="68"/>
                      </a:lnTo>
                      <a:close/>
                      <a:moveTo>
                        <a:pt x="134" y="76"/>
                      </a:moveTo>
                      <a:lnTo>
                        <a:pt x="134" y="72"/>
                      </a:lnTo>
                      <a:lnTo>
                        <a:pt x="138" y="72"/>
                      </a:lnTo>
                      <a:lnTo>
                        <a:pt x="142" y="72"/>
                      </a:lnTo>
                      <a:lnTo>
                        <a:pt x="146" y="72"/>
                      </a:lnTo>
                      <a:lnTo>
                        <a:pt x="146" y="68"/>
                      </a:lnTo>
                      <a:lnTo>
                        <a:pt x="150" y="68"/>
                      </a:lnTo>
                      <a:lnTo>
                        <a:pt x="146" y="72"/>
                      </a:lnTo>
                      <a:lnTo>
                        <a:pt x="142" y="76"/>
                      </a:lnTo>
                      <a:lnTo>
                        <a:pt x="138" y="76"/>
                      </a:lnTo>
                      <a:lnTo>
                        <a:pt x="134" y="76"/>
                      </a:lnTo>
                      <a:lnTo>
                        <a:pt x="134" y="76"/>
                      </a:lnTo>
                      <a:lnTo>
                        <a:pt x="134" y="76"/>
                      </a:lnTo>
                      <a:close/>
                      <a:moveTo>
                        <a:pt x="124" y="78"/>
                      </a:moveTo>
                      <a:lnTo>
                        <a:pt x="124" y="76"/>
                      </a:lnTo>
                      <a:lnTo>
                        <a:pt x="128" y="76"/>
                      </a:lnTo>
                      <a:lnTo>
                        <a:pt x="130" y="76"/>
                      </a:lnTo>
                      <a:lnTo>
                        <a:pt x="134" y="76"/>
                      </a:lnTo>
                      <a:lnTo>
                        <a:pt x="130" y="76"/>
                      </a:lnTo>
                      <a:lnTo>
                        <a:pt x="130" y="78"/>
                      </a:lnTo>
                      <a:lnTo>
                        <a:pt x="128" y="78"/>
                      </a:lnTo>
                      <a:lnTo>
                        <a:pt x="124" y="78"/>
                      </a:lnTo>
                      <a:lnTo>
                        <a:pt x="124" y="78"/>
                      </a:lnTo>
                      <a:lnTo>
                        <a:pt x="124" y="78"/>
                      </a:lnTo>
                      <a:close/>
                      <a:moveTo>
                        <a:pt x="108" y="132"/>
                      </a:moveTo>
                      <a:lnTo>
                        <a:pt x="108" y="128"/>
                      </a:lnTo>
                      <a:lnTo>
                        <a:pt x="108" y="124"/>
                      </a:lnTo>
                      <a:lnTo>
                        <a:pt x="112" y="124"/>
                      </a:lnTo>
                      <a:lnTo>
                        <a:pt x="112" y="128"/>
                      </a:lnTo>
                      <a:lnTo>
                        <a:pt x="108" y="128"/>
                      </a:lnTo>
                      <a:lnTo>
                        <a:pt x="108" y="132"/>
                      </a:lnTo>
                      <a:lnTo>
                        <a:pt x="108" y="132"/>
                      </a:lnTo>
                      <a:lnTo>
                        <a:pt x="108" y="132"/>
                      </a:lnTo>
                      <a:close/>
                      <a:moveTo>
                        <a:pt x="108" y="132"/>
                      </a:moveTo>
                      <a:lnTo>
                        <a:pt x="112" y="132"/>
                      </a:lnTo>
                      <a:lnTo>
                        <a:pt x="112" y="128"/>
                      </a:lnTo>
                      <a:lnTo>
                        <a:pt x="116" y="128"/>
                      </a:lnTo>
                      <a:lnTo>
                        <a:pt x="116" y="132"/>
                      </a:lnTo>
                      <a:lnTo>
                        <a:pt x="112" y="132"/>
                      </a:lnTo>
                      <a:lnTo>
                        <a:pt x="108" y="132"/>
                      </a:lnTo>
                      <a:lnTo>
                        <a:pt x="108" y="132"/>
                      </a:lnTo>
                      <a:lnTo>
                        <a:pt x="108" y="132"/>
                      </a:lnTo>
                      <a:close/>
                      <a:moveTo>
                        <a:pt x="52" y="188"/>
                      </a:moveTo>
                      <a:lnTo>
                        <a:pt x="48" y="188"/>
                      </a:lnTo>
                      <a:lnTo>
                        <a:pt x="48" y="184"/>
                      </a:lnTo>
                      <a:lnTo>
                        <a:pt x="52" y="184"/>
                      </a:lnTo>
                      <a:lnTo>
                        <a:pt x="56" y="184"/>
                      </a:lnTo>
                      <a:lnTo>
                        <a:pt x="60" y="184"/>
                      </a:lnTo>
                      <a:lnTo>
                        <a:pt x="56" y="184"/>
                      </a:lnTo>
                      <a:lnTo>
                        <a:pt x="56" y="188"/>
                      </a:lnTo>
                      <a:lnTo>
                        <a:pt x="52" y="188"/>
                      </a:lnTo>
                      <a:lnTo>
                        <a:pt x="52" y="188"/>
                      </a:lnTo>
                      <a:lnTo>
                        <a:pt x="52" y="188"/>
                      </a:lnTo>
                      <a:close/>
                      <a:moveTo>
                        <a:pt x="52" y="192"/>
                      </a:moveTo>
                      <a:lnTo>
                        <a:pt x="48" y="192"/>
                      </a:lnTo>
                      <a:lnTo>
                        <a:pt x="52" y="192"/>
                      </a:lnTo>
                      <a:lnTo>
                        <a:pt x="52" y="188"/>
                      </a:lnTo>
                      <a:lnTo>
                        <a:pt x="56" y="188"/>
                      </a:lnTo>
                      <a:lnTo>
                        <a:pt x="60" y="188"/>
                      </a:lnTo>
                      <a:lnTo>
                        <a:pt x="64" y="188"/>
                      </a:lnTo>
                      <a:lnTo>
                        <a:pt x="60" y="188"/>
                      </a:lnTo>
                      <a:lnTo>
                        <a:pt x="60" y="192"/>
                      </a:lnTo>
                      <a:lnTo>
                        <a:pt x="56" y="192"/>
                      </a:lnTo>
                      <a:lnTo>
                        <a:pt x="52" y="192"/>
                      </a:lnTo>
                      <a:lnTo>
                        <a:pt x="52" y="192"/>
                      </a:lnTo>
                      <a:lnTo>
                        <a:pt x="52" y="192"/>
                      </a:lnTo>
                      <a:close/>
                      <a:moveTo>
                        <a:pt x="44" y="194"/>
                      </a:moveTo>
                      <a:lnTo>
                        <a:pt x="44" y="192"/>
                      </a:lnTo>
                      <a:lnTo>
                        <a:pt x="48" y="192"/>
                      </a:lnTo>
                      <a:lnTo>
                        <a:pt x="48" y="194"/>
                      </a:lnTo>
                      <a:lnTo>
                        <a:pt x="44" y="194"/>
                      </a:lnTo>
                      <a:lnTo>
                        <a:pt x="44" y="194"/>
                      </a:lnTo>
                      <a:lnTo>
                        <a:pt x="44" y="194"/>
                      </a:lnTo>
                      <a:close/>
                      <a:moveTo>
                        <a:pt x="8" y="258"/>
                      </a:moveTo>
                      <a:lnTo>
                        <a:pt x="4" y="258"/>
                      </a:lnTo>
                      <a:lnTo>
                        <a:pt x="4" y="254"/>
                      </a:lnTo>
                      <a:lnTo>
                        <a:pt x="0" y="254"/>
                      </a:lnTo>
                      <a:lnTo>
                        <a:pt x="4" y="254"/>
                      </a:lnTo>
                      <a:lnTo>
                        <a:pt x="4" y="258"/>
                      </a:lnTo>
                      <a:lnTo>
                        <a:pt x="8" y="258"/>
                      </a:lnTo>
                      <a:lnTo>
                        <a:pt x="8" y="258"/>
                      </a:lnTo>
                      <a:lnTo>
                        <a:pt x="8" y="258"/>
                      </a:lnTo>
                      <a:close/>
                      <a:moveTo>
                        <a:pt x="8" y="258"/>
                      </a:moveTo>
                      <a:lnTo>
                        <a:pt x="4" y="258"/>
                      </a:lnTo>
                      <a:lnTo>
                        <a:pt x="8" y="258"/>
                      </a:lnTo>
                      <a:lnTo>
                        <a:pt x="8" y="258"/>
                      </a:lnTo>
                      <a:lnTo>
                        <a:pt x="8" y="258"/>
                      </a:lnTo>
                      <a:close/>
                      <a:moveTo>
                        <a:pt x="8" y="262"/>
                      </a:moveTo>
                      <a:lnTo>
                        <a:pt x="4" y="262"/>
                      </a:lnTo>
                      <a:lnTo>
                        <a:pt x="4" y="258"/>
                      </a:lnTo>
                      <a:lnTo>
                        <a:pt x="8" y="258"/>
                      </a:lnTo>
                      <a:lnTo>
                        <a:pt x="8" y="262"/>
                      </a:lnTo>
                      <a:lnTo>
                        <a:pt x="8" y="262"/>
                      </a:lnTo>
                      <a:lnTo>
                        <a:pt x="8" y="262"/>
                      </a:lnTo>
                      <a:close/>
                      <a:moveTo>
                        <a:pt x="4" y="264"/>
                      </a:moveTo>
                      <a:lnTo>
                        <a:pt x="4" y="262"/>
                      </a:lnTo>
                      <a:lnTo>
                        <a:pt x="4" y="264"/>
                      </a:lnTo>
                      <a:lnTo>
                        <a:pt x="4" y="264"/>
                      </a:lnTo>
                      <a:lnTo>
                        <a:pt x="4" y="264"/>
                      </a:lnTo>
                      <a:close/>
                      <a:moveTo>
                        <a:pt x="12" y="272"/>
                      </a:moveTo>
                      <a:lnTo>
                        <a:pt x="8" y="272"/>
                      </a:lnTo>
                      <a:lnTo>
                        <a:pt x="12" y="268"/>
                      </a:lnTo>
                      <a:lnTo>
                        <a:pt x="12" y="272"/>
                      </a:lnTo>
                      <a:lnTo>
                        <a:pt x="12" y="272"/>
                      </a:lnTo>
                      <a:lnTo>
                        <a:pt x="12" y="272"/>
                      </a:lnTo>
                      <a:close/>
                      <a:moveTo>
                        <a:pt x="8" y="276"/>
                      </a:moveTo>
                      <a:lnTo>
                        <a:pt x="8" y="272"/>
                      </a:lnTo>
                      <a:lnTo>
                        <a:pt x="12" y="272"/>
                      </a:lnTo>
                      <a:lnTo>
                        <a:pt x="12" y="276"/>
                      </a:lnTo>
                      <a:lnTo>
                        <a:pt x="8" y="276"/>
                      </a:lnTo>
                      <a:lnTo>
                        <a:pt x="8" y="276"/>
                      </a:lnTo>
                      <a:lnTo>
                        <a:pt x="8" y="276"/>
                      </a:lnTo>
                      <a:close/>
                      <a:moveTo>
                        <a:pt x="8" y="280"/>
                      </a:moveTo>
                      <a:lnTo>
                        <a:pt x="4" y="280"/>
                      </a:lnTo>
                      <a:lnTo>
                        <a:pt x="4" y="276"/>
                      </a:lnTo>
                      <a:lnTo>
                        <a:pt x="4" y="272"/>
                      </a:lnTo>
                      <a:lnTo>
                        <a:pt x="8" y="272"/>
                      </a:lnTo>
                      <a:lnTo>
                        <a:pt x="8" y="276"/>
                      </a:lnTo>
                      <a:lnTo>
                        <a:pt x="8" y="280"/>
                      </a:lnTo>
                      <a:lnTo>
                        <a:pt x="8" y="280"/>
                      </a:lnTo>
                      <a:lnTo>
                        <a:pt x="8" y="280"/>
                      </a:lnTo>
                      <a:close/>
                      <a:moveTo>
                        <a:pt x="8" y="292"/>
                      </a:moveTo>
                      <a:lnTo>
                        <a:pt x="4" y="288"/>
                      </a:lnTo>
                      <a:lnTo>
                        <a:pt x="8" y="288"/>
                      </a:lnTo>
                      <a:lnTo>
                        <a:pt x="8" y="284"/>
                      </a:lnTo>
                      <a:lnTo>
                        <a:pt x="8" y="288"/>
                      </a:lnTo>
                      <a:lnTo>
                        <a:pt x="8" y="292"/>
                      </a:lnTo>
                      <a:lnTo>
                        <a:pt x="8" y="292"/>
                      </a:lnTo>
                      <a:lnTo>
                        <a:pt x="8" y="292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73" name="Freeform 117"/>
                <p:cNvSpPr>
                  <a:spLocks/>
                </p:cNvSpPr>
                <p:nvPr/>
              </p:nvSpPr>
              <p:spPr bwMode="auto">
                <a:xfrm>
                  <a:off x="4714875" y="2946468"/>
                  <a:ext cx="225425" cy="196850"/>
                </a:xfrm>
                <a:custGeom>
                  <a:avLst/>
                  <a:gdLst>
                    <a:gd name="T0" fmla="*/ 118 w 142"/>
                    <a:gd name="T1" fmla="*/ 120 h 124"/>
                    <a:gd name="T2" fmla="*/ 116 w 142"/>
                    <a:gd name="T3" fmla="*/ 124 h 124"/>
                    <a:gd name="T4" fmla="*/ 104 w 142"/>
                    <a:gd name="T5" fmla="*/ 116 h 124"/>
                    <a:gd name="T6" fmla="*/ 96 w 142"/>
                    <a:gd name="T7" fmla="*/ 120 h 124"/>
                    <a:gd name="T8" fmla="*/ 90 w 142"/>
                    <a:gd name="T9" fmla="*/ 116 h 124"/>
                    <a:gd name="T10" fmla="*/ 78 w 142"/>
                    <a:gd name="T11" fmla="*/ 120 h 124"/>
                    <a:gd name="T12" fmla="*/ 74 w 142"/>
                    <a:gd name="T13" fmla="*/ 112 h 124"/>
                    <a:gd name="T14" fmla="*/ 66 w 142"/>
                    <a:gd name="T15" fmla="*/ 116 h 124"/>
                    <a:gd name="T16" fmla="*/ 62 w 142"/>
                    <a:gd name="T17" fmla="*/ 108 h 124"/>
                    <a:gd name="T18" fmla="*/ 56 w 142"/>
                    <a:gd name="T19" fmla="*/ 104 h 124"/>
                    <a:gd name="T20" fmla="*/ 48 w 142"/>
                    <a:gd name="T21" fmla="*/ 102 h 124"/>
                    <a:gd name="T22" fmla="*/ 40 w 142"/>
                    <a:gd name="T23" fmla="*/ 98 h 124"/>
                    <a:gd name="T24" fmla="*/ 36 w 142"/>
                    <a:gd name="T25" fmla="*/ 98 h 124"/>
                    <a:gd name="T26" fmla="*/ 36 w 142"/>
                    <a:gd name="T27" fmla="*/ 102 h 124"/>
                    <a:gd name="T28" fmla="*/ 30 w 142"/>
                    <a:gd name="T29" fmla="*/ 98 h 124"/>
                    <a:gd name="T30" fmla="*/ 26 w 142"/>
                    <a:gd name="T31" fmla="*/ 90 h 124"/>
                    <a:gd name="T32" fmla="*/ 14 w 142"/>
                    <a:gd name="T33" fmla="*/ 86 h 124"/>
                    <a:gd name="T34" fmla="*/ 10 w 142"/>
                    <a:gd name="T35" fmla="*/ 86 h 124"/>
                    <a:gd name="T36" fmla="*/ 10 w 142"/>
                    <a:gd name="T37" fmla="*/ 78 h 124"/>
                    <a:gd name="T38" fmla="*/ 6 w 142"/>
                    <a:gd name="T39" fmla="*/ 72 h 124"/>
                    <a:gd name="T40" fmla="*/ 6 w 142"/>
                    <a:gd name="T41" fmla="*/ 64 h 124"/>
                    <a:gd name="T42" fmla="*/ 4 w 142"/>
                    <a:gd name="T43" fmla="*/ 56 h 124"/>
                    <a:gd name="T44" fmla="*/ 6 w 142"/>
                    <a:gd name="T45" fmla="*/ 48 h 124"/>
                    <a:gd name="T46" fmla="*/ 0 w 142"/>
                    <a:gd name="T47" fmla="*/ 46 h 124"/>
                    <a:gd name="T48" fmla="*/ 4 w 142"/>
                    <a:gd name="T49" fmla="*/ 34 h 124"/>
                    <a:gd name="T50" fmla="*/ 4 w 142"/>
                    <a:gd name="T51" fmla="*/ 26 h 124"/>
                    <a:gd name="T52" fmla="*/ 0 w 142"/>
                    <a:gd name="T53" fmla="*/ 20 h 124"/>
                    <a:gd name="T54" fmla="*/ 4 w 142"/>
                    <a:gd name="T55" fmla="*/ 20 h 124"/>
                    <a:gd name="T56" fmla="*/ 14 w 142"/>
                    <a:gd name="T57" fmla="*/ 16 h 124"/>
                    <a:gd name="T58" fmla="*/ 26 w 142"/>
                    <a:gd name="T59" fmla="*/ 16 h 124"/>
                    <a:gd name="T60" fmla="*/ 32 w 142"/>
                    <a:gd name="T61" fmla="*/ 8 h 124"/>
                    <a:gd name="T62" fmla="*/ 44 w 142"/>
                    <a:gd name="T63" fmla="*/ 4 h 124"/>
                    <a:gd name="T64" fmla="*/ 52 w 142"/>
                    <a:gd name="T65" fmla="*/ 0 h 124"/>
                    <a:gd name="T66" fmla="*/ 62 w 142"/>
                    <a:gd name="T67" fmla="*/ 4 h 124"/>
                    <a:gd name="T68" fmla="*/ 60 w 142"/>
                    <a:gd name="T69" fmla="*/ 4 h 124"/>
                    <a:gd name="T70" fmla="*/ 66 w 142"/>
                    <a:gd name="T71" fmla="*/ 12 h 124"/>
                    <a:gd name="T72" fmla="*/ 74 w 142"/>
                    <a:gd name="T73" fmla="*/ 8 h 124"/>
                    <a:gd name="T74" fmla="*/ 74 w 142"/>
                    <a:gd name="T75" fmla="*/ 12 h 124"/>
                    <a:gd name="T76" fmla="*/ 78 w 142"/>
                    <a:gd name="T77" fmla="*/ 12 h 124"/>
                    <a:gd name="T78" fmla="*/ 90 w 142"/>
                    <a:gd name="T79" fmla="*/ 12 h 124"/>
                    <a:gd name="T80" fmla="*/ 100 w 142"/>
                    <a:gd name="T81" fmla="*/ 12 h 124"/>
                    <a:gd name="T82" fmla="*/ 112 w 142"/>
                    <a:gd name="T83" fmla="*/ 12 h 124"/>
                    <a:gd name="T84" fmla="*/ 122 w 142"/>
                    <a:gd name="T85" fmla="*/ 12 h 124"/>
                    <a:gd name="T86" fmla="*/ 130 w 142"/>
                    <a:gd name="T87" fmla="*/ 20 h 124"/>
                    <a:gd name="T88" fmla="*/ 134 w 142"/>
                    <a:gd name="T89" fmla="*/ 26 h 124"/>
                    <a:gd name="T90" fmla="*/ 138 w 142"/>
                    <a:gd name="T91" fmla="*/ 38 h 124"/>
                    <a:gd name="T92" fmla="*/ 138 w 142"/>
                    <a:gd name="T93" fmla="*/ 48 h 124"/>
                    <a:gd name="T94" fmla="*/ 130 w 142"/>
                    <a:gd name="T95" fmla="*/ 52 h 124"/>
                    <a:gd name="T96" fmla="*/ 130 w 142"/>
                    <a:gd name="T97" fmla="*/ 56 h 124"/>
                    <a:gd name="T98" fmla="*/ 130 w 142"/>
                    <a:gd name="T99" fmla="*/ 68 h 124"/>
                    <a:gd name="T100" fmla="*/ 134 w 142"/>
                    <a:gd name="T101" fmla="*/ 74 h 124"/>
                    <a:gd name="T102" fmla="*/ 138 w 142"/>
                    <a:gd name="T103" fmla="*/ 86 h 124"/>
                    <a:gd name="T104" fmla="*/ 138 w 142"/>
                    <a:gd name="T105" fmla="*/ 90 h 124"/>
                    <a:gd name="T106" fmla="*/ 134 w 142"/>
                    <a:gd name="T107" fmla="*/ 94 h 124"/>
                    <a:gd name="T108" fmla="*/ 130 w 142"/>
                    <a:gd name="T109" fmla="*/ 102 h 124"/>
                    <a:gd name="T110" fmla="*/ 118 w 142"/>
                    <a:gd name="T111" fmla="*/ 112 h 1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42" h="124">
                      <a:moveTo>
                        <a:pt x="118" y="112"/>
                      </a:moveTo>
                      <a:lnTo>
                        <a:pt x="118" y="116"/>
                      </a:lnTo>
                      <a:lnTo>
                        <a:pt x="118" y="120"/>
                      </a:lnTo>
                      <a:lnTo>
                        <a:pt x="122" y="124"/>
                      </a:lnTo>
                      <a:lnTo>
                        <a:pt x="118" y="124"/>
                      </a:lnTo>
                      <a:lnTo>
                        <a:pt x="116" y="124"/>
                      </a:lnTo>
                      <a:lnTo>
                        <a:pt x="112" y="120"/>
                      </a:lnTo>
                      <a:lnTo>
                        <a:pt x="108" y="116"/>
                      </a:lnTo>
                      <a:lnTo>
                        <a:pt x="104" y="116"/>
                      </a:lnTo>
                      <a:lnTo>
                        <a:pt x="100" y="116"/>
                      </a:lnTo>
                      <a:lnTo>
                        <a:pt x="96" y="116"/>
                      </a:lnTo>
                      <a:lnTo>
                        <a:pt x="96" y="120"/>
                      </a:lnTo>
                      <a:lnTo>
                        <a:pt x="92" y="120"/>
                      </a:lnTo>
                      <a:lnTo>
                        <a:pt x="92" y="116"/>
                      </a:lnTo>
                      <a:lnTo>
                        <a:pt x="90" y="116"/>
                      </a:lnTo>
                      <a:lnTo>
                        <a:pt x="86" y="116"/>
                      </a:lnTo>
                      <a:lnTo>
                        <a:pt x="82" y="120"/>
                      </a:lnTo>
                      <a:lnTo>
                        <a:pt x="78" y="120"/>
                      </a:lnTo>
                      <a:lnTo>
                        <a:pt x="78" y="116"/>
                      </a:lnTo>
                      <a:lnTo>
                        <a:pt x="74" y="116"/>
                      </a:lnTo>
                      <a:lnTo>
                        <a:pt x="74" y="112"/>
                      </a:lnTo>
                      <a:lnTo>
                        <a:pt x="70" y="112"/>
                      </a:lnTo>
                      <a:lnTo>
                        <a:pt x="70" y="116"/>
                      </a:lnTo>
                      <a:lnTo>
                        <a:pt x="66" y="116"/>
                      </a:lnTo>
                      <a:lnTo>
                        <a:pt x="66" y="112"/>
                      </a:lnTo>
                      <a:lnTo>
                        <a:pt x="62" y="112"/>
                      </a:lnTo>
                      <a:lnTo>
                        <a:pt x="62" y="108"/>
                      </a:lnTo>
                      <a:lnTo>
                        <a:pt x="62" y="104"/>
                      </a:lnTo>
                      <a:lnTo>
                        <a:pt x="60" y="104"/>
                      </a:lnTo>
                      <a:lnTo>
                        <a:pt x="56" y="104"/>
                      </a:lnTo>
                      <a:lnTo>
                        <a:pt x="56" y="102"/>
                      </a:lnTo>
                      <a:lnTo>
                        <a:pt x="52" y="104"/>
                      </a:lnTo>
                      <a:lnTo>
                        <a:pt x="48" y="102"/>
                      </a:lnTo>
                      <a:lnTo>
                        <a:pt x="48" y="98"/>
                      </a:lnTo>
                      <a:lnTo>
                        <a:pt x="44" y="98"/>
                      </a:lnTo>
                      <a:lnTo>
                        <a:pt x="40" y="98"/>
                      </a:lnTo>
                      <a:lnTo>
                        <a:pt x="40" y="94"/>
                      </a:lnTo>
                      <a:lnTo>
                        <a:pt x="36" y="94"/>
                      </a:lnTo>
                      <a:lnTo>
                        <a:pt x="36" y="98"/>
                      </a:lnTo>
                      <a:lnTo>
                        <a:pt x="40" y="102"/>
                      </a:lnTo>
                      <a:lnTo>
                        <a:pt x="36" y="98"/>
                      </a:lnTo>
                      <a:lnTo>
                        <a:pt x="36" y="102"/>
                      </a:lnTo>
                      <a:lnTo>
                        <a:pt x="32" y="102"/>
                      </a:lnTo>
                      <a:lnTo>
                        <a:pt x="32" y="98"/>
                      </a:lnTo>
                      <a:lnTo>
                        <a:pt x="30" y="98"/>
                      </a:lnTo>
                      <a:lnTo>
                        <a:pt x="30" y="94"/>
                      </a:lnTo>
                      <a:lnTo>
                        <a:pt x="30" y="90"/>
                      </a:lnTo>
                      <a:lnTo>
                        <a:pt x="26" y="90"/>
                      </a:lnTo>
                      <a:lnTo>
                        <a:pt x="22" y="90"/>
                      </a:lnTo>
                      <a:lnTo>
                        <a:pt x="18" y="86"/>
                      </a:lnTo>
                      <a:lnTo>
                        <a:pt x="14" y="86"/>
                      </a:lnTo>
                      <a:lnTo>
                        <a:pt x="14" y="82"/>
                      </a:lnTo>
                      <a:lnTo>
                        <a:pt x="10" y="82"/>
                      </a:lnTo>
                      <a:lnTo>
                        <a:pt x="10" y="86"/>
                      </a:lnTo>
                      <a:lnTo>
                        <a:pt x="6" y="86"/>
                      </a:lnTo>
                      <a:lnTo>
                        <a:pt x="10" y="82"/>
                      </a:lnTo>
                      <a:lnTo>
                        <a:pt x="10" y="78"/>
                      </a:lnTo>
                      <a:lnTo>
                        <a:pt x="10" y="74"/>
                      </a:lnTo>
                      <a:lnTo>
                        <a:pt x="10" y="72"/>
                      </a:lnTo>
                      <a:lnTo>
                        <a:pt x="6" y="72"/>
                      </a:lnTo>
                      <a:lnTo>
                        <a:pt x="6" y="68"/>
                      </a:lnTo>
                      <a:lnTo>
                        <a:pt x="4" y="64"/>
                      </a:lnTo>
                      <a:lnTo>
                        <a:pt x="6" y="64"/>
                      </a:lnTo>
                      <a:lnTo>
                        <a:pt x="6" y="60"/>
                      </a:lnTo>
                      <a:lnTo>
                        <a:pt x="6" y="56"/>
                      </a:lnTo>
                      <a:lnTo>
                        <a:pt x="4" y="56"/>
                      </a:lnTo>
                      <a:lnTo>
                        <a:pt x="4" y="52"/>
                      </a:lnTo>
                      <a:lnTo>
                        <a:pt x="6" y="52"/>
                      </a:lnTo>
                      <a:lnTo>
                        <a:pt x="6" y="48"/>
                      </a:lnTo>
                      <a:lnTo>
                        <a:pt x="4" y="48"/>
                      </a:lnTo>
                      <a:lnTo>
                        <a:pt x="4" y="46"/>
                      </a:lnTo>
                      <a:lnTo>
                        <a:pt x="0" y="46"/>
                      </a:lnTo>
                      <a:lnTo>
                        <a:pt x="0" y="42"/>
                      </a:lnTo>
                      <a:lnTo>
                        <a:pt x="4" y="38"/>
                      </a:lnTo>
                      <a:lnTo>
                        <a:pt x="4" y="34"/>
                      </a:lnTo>
                      <a:lnTo>
                        <a:pt x="0" y="30"/>
                      </a:lnTo>
                      <a:lnTo>
                        <a:pt x="0" y="26"/>
                      </a:lnTo>
                      <a:lnTo>
                        <a:pt x="4" y="26"/>
                      </a:lnTo>
                      <a:lnTo>
                        <a:pt x="4" y="22"/>
                      </a:lnTo>
                      <a:lnTo>
                        <a:pt x="0" y="22"/>
                      </a:lnTo>
                      <a:lnTo>
                        <a:pt x="0" y="20"/>
                      </a:lnTo>
                      <a:lnTo>
                        <a:pt x="0" y="22"/>
                      </a:lnTo>
                      <a:lnTo>
                        <a:pt x="4" y="22"/>
                      </a:lnTo>
                      <a:lnTo>
                        <a:pt x="4" y="20"/>
                      </a:lnTo>
                      <a:lnTo>
                        <a:pt x="6" y="20"/>
                      </a:lnTo>
                      <a:lnTo>
                        <a:pt x="10" y="20"/>
                      </a:lnTo>
                      <a:lnTo>
                        <a:pt x="14" y="16"/>
                      </a:lnTo>
                      <a:lnTo>
                        <a:pt x="18" y="16"/>
                      </a:lnTo>
                      <a:lnTo>
                        <a:pt x="22" y="16"/>
                      </a:lnTo>
                      <a:lnTo>
                        <a:pt x="26" y="16"/>
                      </a:lnTo>
                      <a:lnTo>
                        <a:pt x="30" y="12"/>
                      </a:lnTo>
                      <a:lnTo>
                        <a:pt x="30" y="8"/>
                      </a:lnTo>
                      <a:lnTo>
                        <a:pt x="32" y="8"/>
                      </a:lnTo>
                      <a:lnTo>
                        <a:pt x="36" y="8"/>
                      </a:lnTo>
                      <a:lnTo>
                        <a:pt x="40" y="4"/>
                      </a:lnTo>
                      <a:lnTo>
                        <a:pt x="44" y="4"/>
                      </a:lnTo>
                      <a:lnTo>
                        <a:pt x="48" y="4"/>
                      </a:lnTo>
                      <a:lnTo>
                        <a:pt x="48" y="0"/>
                      </a:lnTo>
                      <a:lnTo>
                        <a:pt x="52" y="0"/>
                      </a:lnTo>
                      <a:lnTo>
                        <a:pt x="60" y="0"/>
                      </a:lnTo>
                      <a:lnTo>
                        <a:pt x="60" y="4"/>
                      </a:lnTo>
                      <a:lnTo>
                        <a:pt x="62" y="4"/>
                      </a:lnTo>
                      <a:lnTo>
                        <a:pt x="62" y="8"/>
                      </a:lnTo>
                      <a:lnTo>
                        <a:pt x="62" y="4"/>
                      </a:lnTo>
                      <a:lnTo>
                        <a:pt x="60" y="4"/>
                      </a:lnTo>
                      <a:lnTo>
                        <a:pt x="60" y="8"/>
                      </a:lnTo>
                      <a:lnTo>
                        <a:pt x="62" y="12"/>
                      </a:lnTo>
                      <a:lnTo>
                        <a:pt x="66" y="12"/>
                      </a:lnTo>
                      <a:lnTo>
                        <a:pt x="70" y="12"/>
                      </a:lnTo>
                      <a:lnTo>
                        <a:pt x="74" y="12"/>
                      </a:lnTo>
                      <a:lnTo>
                        <a:pt x="74" y="8"/>
                      </a:lnTo>
                      <a:lnTo>
                        <a:pt x="78" y="8"/>
                      </a:lnTo>
                      <a:lnTo>
                        <a:pt x="74" y="8"/>
                      </a:lnTo>
                      <a:lnTo>
                        <a:pt x="74" y="12"/>
                      </a:lnTo>
                      <a:lnTo>
                        <a:pt x="70" y="12"/>
                      </a:lnTo>
                      <a:lnTo>
                        <a:pt x="74" y="12"/>
                      </a:lnTo>
                      <a:lnTo>
                        <a:pt x="78" y="12"/>
                      </a:lnTo>
                      <a:lnTo>
                        <a:pt x="82" y="12"/>
                      </a:lnTo>
                      <a:lnTo>
                        <a:pt x="86" y="12"/>
                      </a:lnTo>
                      <a:lnTo>
                        <a:pt x="90" y="12"/>
                      </a:lnTo>
                      <a:lnTo>
                        <a:pt x="92" y="12"/>
                      </a:lnTo>
                      <a:lnTo>
                        <a:pt x="96" y="12"/>
                      </a:lnTo>
                      <a:lnTo>
                        <a:pt x="100" y="12"/>
                      </a:lnTo>
                      <a:lnTo>
                        <a:pt x="104" y="12"/>
                      </a:lnTo>
                      <a:lnTo>
                        <a:pt x="108" y="12"/>
                      </a:lnTo>
                      <a:lnTo>
                        <a:pt x="112" y="12"/>
                      </a:lnTo>
                      <a:lnTo>
                        <a:pt x="116" y="12"/>
                      </a:lnTo>
                      <a:lnTo>
                        <a:pt x="118" y="12"/>
                      </a:lnTo>
                      <a:lnTo>
                        <a:pt x="122" y="12"/>
                      </a:lnTo>
                      <a:lnTo>
                        <a:pt x="126" y="12"/>
                      </a:lnTo>
                      <a:lnTo>
                        <a:pt x="130" y="16"/>
                      </a:lnTo>
                      <a:lnTo>
                        <a:pt x="130" y="20"/>
                      </a:lnTo>
                      <a:lnTo>
                        <a:pt x="130" y="22"/>
                      </a:lnTo>
                      <a:lnTo>
                        <a:pt x="130" y="26"/>
                      </a:lnTo>
                      <a:lnTo>
                        <a:pt x="134" y="26"/>
                      </a:lnTo>
                      <a:lnTo>
                        <a:pt x="134" y="30"/>
                      </a:lnTo>
                      <a:lnTo>
                        <a:pt x="134" y="34"/>
                      </a:lnTo>
                      <a:lnTo>
                        <a:pt x="138" y="38"/>
                      </a:lnTo>
                      <a:lnTo>
                        <a:pt x="138" y="42"/>
                      </a:lnTo>
                      <a:lnTo>
                        <a:pt x="138" y="46"/>
                      </a:lnTo>
                      <a:lnTo>
                        <a:pt x="138" y="48"/>
                      </a:lnTo>
                      <a:lnTo>
                        <a:pt x="134" y="48"/>
                      </a:lnTo>
                      <a:lnTo>
                        <a:pt x="130" y="48"/>
                      </a:lnTo>
                      <a:lnTo>
                        <a:pt x="130" y="52"/>
                      </a:lnTo>
                      <a:lnTo>
                        <a:pt x="126" y="52"/>
                      </a:lnTo>
                      <a:lnTo>
                        <a:pt x="126" y="56"/>
                      </a:lnTo>
                      <a:lnTo>
                        <a:pt x="130" y="56"/>
                      </a:lnTo>
                      <a:lnTo>
                        <a:pt x="134" y="60"/>
                      </a:lnTo>
                      <a:lnTo>
                        <a:pt x="134" y="64"/>
                      </a:lnTo>
                      <a:lnTo>
                        <a:pt x="130" y="68"/>
                      </a:lnTo>
                      <a:lnTo>
                        <a:pt x="130" y="72"/>
                      </a:lnTo>
                      <a:lnTo>
                        <a:pt x="134" y="72"/>
                      </a:lnTo>
                      <a:lnTo>
                        <a:pt x="134" y="74"/>
                      </a:lnTo>
                      <a:lnTo>
                        <a:pt x="134" y="78"/>
                      </a:lnTo>
                      <a:lnTo>
                        <a:pt x="138" y="82"/>
                      </a:lnTo>
                      <a:lnTo>
                        <a:pt x="138" y="86"/>
                      </a:lnTo>
                      <a:lnTo>
                        <a:pt x="142" y="86"/>
                      </a:lnTo>
                      <a:lnTo>
                        <a:pt x="138" y="86"/>
                      </a:lnTo>
                      <a:lnTo>
                        <a:pt x="138" y="90"/>
                      </a:lnTo>
                      <a:lnTo>
                        <a:pt x="142" y="94"/>
                      </a:lnTo>
                      <a:lnTo>
                        <a:pt x="138" y="94"/>
                      </a:lnTo>
                      <a:lnTo>
                        <a:pt x="134" y="94"/>
                      </a:lnTo>
                      <a:lnTo>
                        <a:pt x="134" y="98"/>
                      </a:lnTo>
                      <a:lnTo>
                        <a:pt x="130" y="98"/>
                      </a:lnTo>
                      <a:lnTo>
                        <a:pt x="130" y="102"/>
                      </a:lnTo>
                      <a:lnTo>
                        <a:pt x="126" y="102"/>
                      </a:lnTo>
                      <a:lnTo>
                        <a:pt x="126" y="104"/>
                      </a:lnTo>
                      <a:lnTo>
                        <a:pt x="118" y="112"/>
                      </a:lnTo>
                      <a:lnTo>
                        <a:pt x="118" y="112"/>
                      </a:lnTo>
                      <a:lnTo>
                        <a:pt x="118" y="112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74" name="Freeform 119"/>
                <p:cNvSpPr>
                  <a:spLocks/>
                </p:cNvSpPr>
                <p:nvPr/>
              </p:nvSpPr>
              <p:spPr bwMode="auto">
                <a:xfrm>
                  <a:off x="4806950" y="3235393"/>
                  <a:ext cx="101600" cy="136525"/>
                </a:xfrm>
                <a:custGeom>
                  <a:avLst/>
                  <a:gdLst>
                    <a:gd name="T0" fmla="*/ 0 w 64"/>
                    <a:gd name="T1" fmla="*/ 68 h 86"/>
                    <a:gd name="T2" fmla="*/ 0 w 64"/>
                    <a:gd name="T3" fmla="*/ 64 h 86"/>
                    <a:gd name="T4" fmla="*/ 4 w 64"/>
                    <a:gd name="T5" fmla="*/ 60 h 86"/>
                    <a:gd name="T6" fmla="*/ 8 w 64"/>
                    <a:gd name="T7" fmla="*/ 58 h 86"/>
                    <a:gd name="T8" fmla="*/ 8 w 64"/>
                    <a:gd name="T9" fmla="*/ 54 h 86"/>
                    <a:gd name="T10" fmla="*/ 12 w 64"/>
                    <a:gd name="T11" fmla="*/ 54 h 86"/>
                    <a:gd name="T12" fmla="*/ 16 w 64"/>
                    <a:gd name="T13" fmla="*/ 50 h 86"/>
                    <a:gd name="T14" fmla="*/ 12 w 64"/>
                    <a:gd name="T15" fmla="*/ 46 h 86"/>
                    <a:gd name="T16" fmla="*/ 16 w 64"/>
                    <a:gd name="T17" fmla="*/ 46 h 86"/>
                    <a:gd name="T18" fmla="*/ 12 w 64"/>
                    <a:gd name="T19" fmla="*/ 38 h 86"/>
                    <a:gd name="T20" fmla="*/ 12 w 64"/>
                    <a:gd name="T21" fmla="*/ 30 h 86"/>
                    <a:gd name="T22" fmla="*/ 12 w 64"/>
                    <a:gd name="T23" fmla="*/ 28 h 86"/>
                    <a:gd name="T24" fmla="*/ 8 w 64"/>
                    <a:gd name="T25" fmla="*/ 24 h 86"/>
                    <a:gd name="T26" fmla="*/ 12 w 64"/>
                    <a:gd name="T27" fmla="*/ 20 h 86"/>
                    <a:gd name="T28" fmla="*/ 12 w 64"/>
                    <a:gd name="T29" fmla="*/ 20 h 86"/>
                    <a:gd name="T30" fmla="*/ 12 w 64"/>
                    <a:gd name="T31" fmla="*/ 16 h 86"/>
                    <a:gd name="T32" fmla="*/ 8 w 64"/>
                    <a:gd name="T33" fmla="*/ 12 h 86"/>
                    <a:gd name="T34" fmla="*/ 8 w 64"/>
                    <a:gd name="T35" fmla="*/ 12 h 86"/>
                    <a:gd name="T36" fmla="*/ 4 w 64"/>
                    <a:gd name="T37" fmla="*/ 4 h 86"/>
                    <a:gd name="T38" fmla="*/ 12 w 64"/>
                    <a:gd name="T39" fmla="*/ 4 h 86"/>
                    <a:gd name="T40" fmla="*/ 16 w 64"/>
                    <a:gd name="T41" fmla="*/ 0 h 86"/>
                    <a:gd name="T42" fmla="*/ 24 w 64"/>
                    <a:gd name="T43" fmla="*/ 0 h 86"/>
                    <a:gd name="T44" fmla="*/ 26 w 64"/>
                    <a:gd name="T45" fmla="*/ 4 h 86"/>
                    <a:gd name="T46" fmla="*/ 34 w 64"/>
                    <a:gd name="T47" fmla="*/ 8 h 86"/>
                    <a:gd name="T48" fmla="*/ 34 w 64"/>
                    <a:gd name="T49" fmla="*/ 12 h 86"/>
                    <a:gd name="T50" fmla="*/ 42 w 64"/>
                    <a:gd name="T51" fmla="*/ 20 h 86"/>
                    <a:gd name="T52" fmla="*/ 42 w 64"/>
                    <a:gd name="T53" fmla="*/ 24 h 86"/>
                    <a:gd name="T54" fmla="*/ 46 w 64"/>
                    <a:gd name="T55" fmla="*/ 28 h 86"/>
                    <a:gd name="T56" fmla="*/ 42 w 64"/>
                    <a:gd name="T57" fmla="*/ 28 h 86"/>
                    <a:gd name="T58" fmla="*/ 46 w 64"/>
                    <a:gd name="T59" fmla="*/ 28 h 86"/>
                    <a:gd name="T60" fmla="*/ 50 w 64"/>
                    <a:gd name="T61" fmla="*/ 30 h 86"/>
                    <a:gd name="T62" fmla="*/ 52 w 64"/>
                    <a:gd name="T63" fmla="*/ 34 h 86"/>
                    <a:gd name="T64" fmla="*/ 56 w 64"/>
                    <a:gd name="T65" fmla="*/ 30 h 86"/>
                    <a:gd name="T66" fmla="*/ 60 w 64"/>
                    <a:gd name="T67" fmla="*/ 30 h 86"/>
                    <a:gd name="T68" fmla="*/ 60 w 64"/>
                    <a:gd name="T69" fmla="*/ 34 h 86"/>
                    <a:gd name="T70" fmla="*/ 56 w 64"/>
                    <a:gd name="T71" fmla="*/ 34 h 86"/>
                    <a:gd name="T72" fmla="*/ 60 w 64"/>
                    <a:gd name="T73" fmla="*/ 38 h 86"/>
                    <a:gd name="T74" fmla="*/ 60 w 64"/>
                    <a:gd name="T75" fmla="*/ 42 h 86"/>
                    <a:gd name="T76" fmla="*/ 60 w 64"/>
                    <a:gd name="T77" fmla="*/ 54 h 86"/>
                    <a:gd name="T78" fmla="*/ 64 w 64"/>
                    <a:gd name="T79" fmla="*/ 58 h 86"/>
                    <a:gd name="T80" fmla="*/ 60 w 64"/>
                    <a:gd name="T81" fmla="*/ 64 h 86"/>
                    <a:gd name="T82" fmla="*/ 56 w 64"/>
                    <a:gd name="T83" fmla="*/ 72 h 86"/>
                    <a:gd name="T84" fmla="*/ 56 w 64"/>
                    <a:gd name="T85" fmla="*/ 76 h 86"/>
                    <a:gd name="T86" fmla="*/ 52 w 64"/>
                    <a:gd name="T87" fmla="*/ 76 h 86"/>
                    <a:gd name="T88" fmla="*/ 46 w 64"/>
                    <a:gd name="T89" fmla="*/ 78 h 86"/>
                    <a:gd name="T90" fmla="*/ 42 w 64"/>
                    <a:gd name="T91" fmla="*/ 78 h 86"/>
                    <a:gd name="T92" fmla="*/ 34 w 64"/>
                    <a:gd name="T93" fmla="*/ 82 h 86"/>
                    <a:gd name="T94" fmla="*/ 30 w 64"/>
                    <a:gd name="T95" fmla="*/ 86 h 86"/>
                    <a:gd name="T96" fmla="*/ 30 w 64"/>
                    <a:gd name="T97" fmla="*/ 78 h 86"/>
                    <a:gd name="T98" fmla="*/ 26 w 64"/>
                    <a:gd name="T99" fmla="*/ 76 h 86"/>
                    <a:gd name="T100" fmla="*/ 20 w 64"/>
                    <a:gd name="T101" fmla="*/ 76 h 86"/>
                    <a:gd name="T102" fmla="*/ 20 w 64"/>
                    <a:gd name="T103" fmla="*/ 72 h 86"/>
                    <a:gd name="T104" fmla="*/ 12 w 64"/>
                    <a:gd name="T105" fmla="*/ 78 h 86"/>
                    <a:gd name="T106" fmla="*/ 12 w 64"/>
                    <a:gd name="T107" fmla="*/ 82 h 86"/>
                    <a:gd name="T108" fmla="*/ 12 w 64"/>
                    <a:gd name="T109" fmla="*/ 82 h 86"/>
                    <a:gd name="T110" fmla="*/ 8 w 64"/>
                    <a:gd name="T111" fmla="*/ 78 h 86"/>
                    <a:gd name="T112" fmla="*/ 4 w 64"/>
                    <a:gd name="T113" fmla="*/ 76 h 86"/>
                    <a:gd name="T114" fmla="*/ 4 w 64"/>
                    <a:gd name="T115" fmla="*/ 76 h 86"/>
                    <a:gd name="T116" fmla="*/ 0 w 64"/>
                    <a:gd name="T117" fmla="*/ 72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64" h="86">
                      <a:moveTo>
                        <a:pt x="0" y="72"/>
                      </a:moveTo>
                      <a:lnTo>
                        <a:pt x="0" y="72"/>
                      </a:lnTo>
                      <a:lnTo>
                        <a:pt x="0" y="72"/>
                      </a:lnTo>
                      <a:lnTo>
                        <a:pt x="0" y="72"/>
                      </a:lnTo>
                      <a:lnTo>
                        <a:pt x="0" y="72"/>
                      </a:lnTo>
                      <a:lnTo>
                        <a:pt x="0" y="68"/>
                      </a:lnTo>
                      <a:lnTo>
                        <a:pt x="0" y="68"/>
                      </a:lnTo>
                      <a:lnTo>
                        <a:pt x="0" y="68"/>
                      </a:lnTo>
                      <a:lnTo>
                        <a:pt x="0" y="68"/>
                      </a:lnTo>
                      <a:lnTo>
                        <a:pt x="0" y="64"/>
                      </a:lnTo>
                      <a:lnTo>
                        <a:pt x="0" y="64"/>
                      </a:lnTo>
                      <a:lnTo>
                        <a:pt x="0" y="64"/>
                      </a:lnTo>
                      <a:lnTo>
                        <a:pt x="0" y="64"/>
                      </a:lnTo>
                      <a:lnTo>
                        <a:pt x="4" y="64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58"/>
                      </a:lnTo>
                      <a:lnTo>
                        <a:pt x="4" y="58"/>
                      </a:lnTo>
                      <a:lnTo>
                        <a:pt x="8" y="58"/>
                      </a:lnTo>
                      <a:lnTo>
                        <a:pt x="8" y="58"/>
                      </a:lnTo>
                      <a:lnTo>
                        <a:pt x="8" y="58"/>
                      </a:lnTo>
                      <a:lnTo>
                        <a:pt x="8" y="58"/>
                      </a:lnTo>
                      <a:lnTo>
                        <a:pt x="8" y="58"/>
                      </a:lnTo>
                      <a:lnTo>
                        <a:pt x="8" y="58"/>
                      </a:lnTo>
                      <a:lnTo>
                        <a:pt x="8" y="58"/>
                      </a:lnTo>
                      <a:lnTo>
                        <a:pt x="8" y="58"/>
                      </a:lnTo>
                      <a:lnTo>
                        <a:pt x="8" y="54"/>
                      </a:lnTo>
                      <a:lnTo>
                        <a:pt x="8" y="54"/>
                      </a:lnTo>
                      <a:lnTo>
                        <a:pt x="8" y="54"/>
                      </a:lnTo>
                      <a:lnTo>
                        <a:pt x="8" y="54"/>
                      </a:lnTo>
                      <a:lnTo>
                        <a:pt x="8" y="54"/>
                      </a:lnTo>
                      <a:lnTo>
                        <a:pt x="8" y="54"/>
                      </a:lnTo>
                      <a:lnTo>
                        <a:pt x="12" y="54"/>
                      </a:lnTo>
                      <a:lnTo>
                        <a:pt x="12" y="54"/>
                      </a:lnTo>
                      <a:lnTo>
                        <a:pt x="12" y="54"/>
                      </a:lnTo>
                      <a:lnTo>
                        <a:pt x="16" y="54"/>
                      </a:lnTo>
                      <a:lnTo>
                        <a:pt x="16" y="54"/>
                      </a:lnTo>
                      <a:lnTo>
                        <a:pt x="16" y="54"/>
                      </a:lnTo>
                      <a:lnTo>
                        <a:pt x="16" y="50"/>
                      </a:lnTo>
                      <a:lnTo>
                        <a:pt x="16" y="50"/>
                      </a:lnTo>
                      <a:lnTo>
                        <a:pt x="16" y="50"/>
                      </a:lnTo>
                      <a:lnTo>
                        <a:pt x="16" y="50"/>
                      </a:lnTo>
                      <a:lnTo>
                        <a:pt x="16" y="50"/>
                      </a:lnTo>
                      <a:lnTo>
                        <a:pt x="16" y="46"/>
                      </a:lnTo>
                      <a:lnTo>
                        <a:pt x="12" y="46"/>
                      </a:lnTo>
                      <a:lnTo>
                        <a:pt x="12" y="46"/>
                      </a:lnTo>
                      <a:lnTo>
                        <a:pt x="12" y="42"/>
                      </a:lnTo>
                      <a:lnTo>
                        <a:pt x="12" y="42"/>
                      </a:lnTo>
                      <a:lnTo>
                        <a:pt x="12" y="46"/>
                      </a:lnTo>
                      <a:lnTo>
                        <a:pt x="16" y="46"/>
                      </a:lnTo>
                      <a:lnTo>
                        <a:pt x="16" y="46"/>
                      </a:lnTo>
                      <a:lnTo>
                        <a:pt x="16" y="46"/>
                      </a:lnTo>
                      <a:lnTo>
                        <a:pt x="16" y="42"/>
                      </a:lnTo>
                      <a:lnTo>
                        <a:pt x="16" y="42"/>
                      </a:lnTo>
                      <a:lnTo>
                        <a:pt x="16" y="42"/>
                      </a:lnTo>
                      <a:lnTo>
                        <a:pt x="16" y="42"/>
                      </a:lnTo>
                      <a:lnTo>
                        <a:pt x="12" y="38"/>
                      </a:lnTo>
                      <a:lnTo>
                        <a:pt x="12" y="38"/>
                      </a:lnTo>
                      <a:lnTo>
                        <a:pt x="12" y="38"/>
                      </a:lnTo>
                      <a:lnTo>
                        <a:pt x="12" y="38"/>
                      </a:lnTo>
                      <a:lnTo>
                        <a:pt x="12" y="38"/>
                      </a:lnTo>
                      <a:lnTo>
                        <a:pt x="12" y="34"/>
                      </a:lnTo>
                      <a:lnTo>
                        <a:pt x="12" y="34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2" y="28"/>
                      </a:lnTo>
                      <a:lnTo>
                        <a:pt x="12" y="28"/>
                      </a:lnTo>
                      <a:lnTo>
                        <a:pt x="16" y="28"/>
                      </a:lnTo>
                      <a:lnTo>
                        <a:pt x="16" y="28"/>
                      </a:lnTo>
                      <a:lnTo>
                        <a:pt x="12" y="28"/>
                      </a:lnTo>
                      <a:lnTo>
                        <a:pt x="12" y="24"/>
                      </a:lnTo>
                      <a:lnTo>
                        <a:pt x="12" y="28"/>
                      </a:lnTo>
                      <a:lnTo>
                        <a:pt x="8" y="28"/>
                      </a:lnTo>
                      <a:lnTo>
                        <a:pt x="8" y="28"/>
                      </a:lnTo>
                      <a:lnTo>
                        <a:pt x="8" y="28"/>
                      </a:lnTo>
                      <a:lnTo>
                        <a:pt x="8" y="24"/>
                      </a:ln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12" y="20"/>
                      </a:lnTo>
                      <a:lnTo>
                        <a:pt x="12" y="20"/>
                      </a:lnTo>
                      <a:lnTo>
                        <a:pt x="12" y="20"/>
                      </a:lnTo>
                      <a:lnTo>
                        <a:pt x="12" y="20"/>
                      </a:lnTo>
                      <a:lnTo>
                        <a:pt x="12" y="20"/>
                      </a:lnTo>
                      <a:lnTo>
                        <a:pt x="16" y="20"/>
                      </a:lnTo>
                      <a:lnTo>
                        <a:pt x="16" y="20"/>
                      </a:lnTo>
                      <a:lnTo>
                        <a:pt x="16" y="20"/>
                      </a:lnTo>
                      <a:lnTo>
                        <a:pt x="16" y="20"/>
                      </a:lnTo>
                      <a:lnTo>
                        <a:pt x="12" y="20"/>
                      </a:lnTo>
                      <a:lnTo>
                        <a:pt x="12" y="20"/>
                      </a:lnTo>
                      <a:lnTo>
                        <a:pt x="12" y="20"/>
                      </a:lnTo>
                      <a:lnTo>
                        <a:pt x="12" y="20"/>
                      </a:lnTo>
                      <a:lnTo>
                        <a:pt x="12" y="20"/>
                      </a:lnTo>
                      <a:lnTo>
                        <a:pt x="12" y="20"/>
                      </a:lnTo>
                      <a:lnTo>
                        <a:pt x="12" y="16"/>
                      </a:lnTo>
                      <a:lnTo>
                        <a:pt x="8" y="16"/>
                      </a:lnTo>
                      <a:lnTo>
                        <a:pt x="8" y="12"/>
                      </a:lnTo>
                      <a:lnTo>
                        <a:pt x="8" y="12"/>
                      </a:lnTo>
                      <a:lnTo>
                        <a:pt x="8" y="12"/>
                      </a:lnTo>
                      <a:lnTo>
                        <a:pt x="8" y="12"/>
                      </a:lnTo>
                      <a:lnTo>
                        <a:pt x="8" y="12"/>
                      </a:lnTo>
                      <a:lnTo>
                        <a:pt x="8" y="12"/>
                      </a:lnTo>
                      <a:lnTo>
                        <a:pt x="8" y="12"/>
                      </a:lnTo>
                      <a:lnTo>
                        <a:pt x="8" y="12"/>
                      </a:lnTo>
                      <a:lnTo>
                        <a:pt x="8" y="12"/>
                      </a:lnTo>
                      <a:lnTo>
                        <a:pt x="8" y="12"/>
                      </a:lnTo>
                      <a:lnTo>
                        <a:pt x="8" y="12"/>
                      </a:lnTo>
                      <a:lnTo>
                        <a:pt x="8" y="12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8"/>
                      </a:lnTo>
                      <a:lnTo>
                        <a:pt x="30" y="8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8" y="16"/>
                      </a:lnTo>
                      <a:lnTo>
                        <a:pt x="38" y="16"/>
                      </a:lnTo>
                      <a:lnTo>
                        <a:pt x="42" y="20"/>
                      </a:lnTo>
                      <a:lnTo>
                        <a:pt x="42" y="20"/>
                      </a:lnTo>
                      <a:lnTo>
                        <a:pt x="42" y="20"/>
                      </a:lnTo>
                      <a:lnTo>
                        <a:pt x="42" y="20"/>
                      </a:lnTo>
                      <a:lnTo>
                        <a:pt x="46" y="20"/>
                      </a:lnTo>
                      <a:lnTo>
                        <a:pt x="46" y="20"/>
                      </a:lnTo>
                      <a:lnTo>
                        <a:pt x="42" y="24"/>
                      </a:lnTo>
                      <a:lnTo>
                        <a:pt x="42" y="24"/>
                      </a:lnTo>
                      <a:lnTo>
                        <a:pt x="42" y="24"/>
                      </a:lnTo>
                      <a:lnTo>
                        <a:pt x="42" y="24"/>
                      </a:lnTo>
                      <a:lnTo>
                        <a:pt x="42" y="24"/>
                      </a:lnTo>
                      <a:lnTo>
                        <a:pt x="42" y="24"/>
                      </a:lnTo>
                      <a:lnTo>
                        <a:pt x="46" y="24"/>
                      </a:lnTo>
                      <a:lnTo>
                        <a:pt x="46" y="28"/>
                      </a:lnTo>
                      <a:lnTo>
                        <a:pt x="46" y="28"/>
                      </a:lnTo>
                      <a:lnTo>
                        <a:pt x="46" y="28"/>
                      </a:lnTo>
                      <a:lnTo>
                        <a:pt x="46" y="28"/>
                      </a:lnTo>
                      <a:lnTo>
                        <a:pt x="42" y="28"/>
                      </a:lnTo>
                      <a:lnTo>
                        <a:pt x="42" y="28"/>
                      </a:lnTo>
                      <a:lnTo>
                        <a:pt x="42" y="28"/>
                      </a:lnTo>
                      <a:lnTo>
                        <a:pt x="42" y="28"/>
                      </a:lnTo>
                      <a:lnTo>
                        <a:pt x="42" y="28"/>
                      </a:lnTo>
                      <a:lnTo>
                        <a:pt x="42" y="28"/>
                      </a:lnTo>
                      <a:lnTo>
                        <a:pt x="42" y="28"/>
                      </a:lnTo>
                      <a:lnTo>
                        <a:pt x="46" y="28"/>
                      </a:lnTo>
                      <a:lnTo>
                        <a:pt x="46" y="28"/>
                      </a:lnTo>
                      <a:lnTo>
                        <a:pt x="46" y="28"/>
                      </a:lnTo>
                      <a:lnTo>
                        <a:pt x="46" y="30"/>
                      </a:lnTo>
                      <a:lnTo>
                        <a:pt x="46" y="30"/>
                      </a:lnTo>
                      <a:lnTo>
                        <a:pt x="46" y="30"/>
                      </a:lnTo>
                      <a:lnTo>
                        <a:pt x="46" y="30"/>
                      </a:lnTo>
                      <a:lnTo>
                        <a:pt x="50" y="30"/>
                      </a:lnTo>
                      <a:lnTo>
                        <a:pt x="50" y="30"/>
                      </a:lnTo>
                      <a:lnTo>
                        <a:pt x="50" y="30"/>
                      </a:lnTo>
                      <a:lnTo>
                        <a:pt x="52" y="30"/>
                      </a:lnTo>
                      <a:lnTo>
                        <a:pt x="52" y="30"/>
                      </a:lnTo>
                      <a:lnTo>
                        <a:pt x="52" y="30"/>
                      </a:lnTo>
                      <a:lnTo>
                        <a:pt x="52" y="34"/>
                      </a:lnTo>
                      <a:lnTo>
                        <a:pt x="52" y="34"/>
                      </a:lnTo>
                      <a:lnTo>
                        <a:pt x="52" y="34"/>
                      </a:lnTo>
                      <a:lnTo>
                        <a:pt x="52" y="30"/>
                      </a:lnTo>
                      <a:lnTo>
                        <a:pt x="56" y="30"/>
                      </a:lnTo>
                      <a:lnTo>
                        <a:pt x="56" y="30"/>
                      </a:lnTo>
                      <a:lnTo>
                        <a:pt x="56" y="30"/>
                      </a:lnTo>
                      <a:lnTo>
                        <a:pt x="56" y="30"/>
                      </a:lnTo>
                      <a:lnTo>
                        <a:pt x="56" y="30"/>
                      </a:lnTo>
                      <a:lnTo>
                        <a:pt x="56" y="30"/>
                      </a:lnTo>
                      <a:lnTo>
                        <a:pt x="56" y="30"/>
                      </a:lnTo>
                      <a:lnTo>
                        <a:pt x="60" y="30"/>
                      </a:lnTo>
                      <a:lnTo>
                        <a:pt x="60" y="30"/>
                      </a:lnTo>
                      <a:lnTo>
                        <a:pt x="60" y="30"/>
                      </a:lnTo>
                      <a:lnTo>
                        <a:pt x="60" y="30"/>
                      </a:lnTo>
                      <a:lnTo>
                        <a:pt x="60" y="30"/>
                      </a:lnTo>
                      <a:lnTo>
                        <a:pt x="60" y="30"/>
                      </a:lnTo>
                      <a:lnTo>
                        <a:pt x="60" y="30"/>
                      </a:lnTo>
                      <a:lnTo>
                        <a:pt x="60" y="34"/>
                      </a:lnTo>
                      <a:lnTo>
                        <a:pt x="60" y="34"/>
                      </a:lnTo>
                      <a:lnTo>
                        <a:pt x="60" y="34"/>
                      </a:lnTo>
                      <a:lnTo>
                        <a:pt x="60" y="34"/>
                      </a:lnTo>
                      <a:lnTo>
                        <a:pt x="60" y="30"/>
                      </a:lnTo>
                      <a:lnTo>
                        <a:pt x="60" y="30"/>
                      </a:lnTo>
                      <a:lnTo>
                        <a:pt x="56" y="34"/>
                      </a:lnTo>
                      <a:lnTo>
                        <a:pt x="56" y="34"/>
                      </a:lnTo>
                      <a:lnTo>
                        <a:pt x="60" y="38"/>
                      </a:lnTo>
                      <a:lnTo>
                        <a:pt x="60" y="38"/>
                      </a:lnTo>
                      <a:lnTo>
                        <a:pt x="60" y="38"/>
                      </a:lnTo>
                      <a:lnTo>
                        <a:pt x="60" y="38"/>
                      </a:lnTo>
                      <a:lnTo>
                        <a:pt x="60" y="38"/>
                      </a:lnTo>
                      <a:lnTo>
                        <a:pt x="60" y="38"/>
                      </a:lnTo>
                      <a:lnTo>
                        <a:pt x="60" y="38"/>
                      </a:lnTo>
                      <a:lnTo>
                        <a:pt x="60" y="38"/>
                      </a:lnTo>
                      <a:lnTo>
                        <a:pt x="60" y="38"/>
                      </a:lnTo>
                      <a:lnTo>
                        <a:pt x="60" y="38"/>
                      </a:lnTo>
                      <a:lnTo>
                        <a:pt x="60" y="42"/>
                      </a:lnTo>
                      <a:lnTo>
                        <a:pt x="60" y="42"/>
                      </a:lnTo>
                      <a:lnTo>
                        <a:pt x="60" y="42"/>
                      </a:lnTo>
                      <a:lnTo>
                        <a:pt x="56" y="42"/>
                      </a:lnTo>
                      <a:lnTo>
                        <a:pt x="56" y="46"/>
                      </a:lnTo>
                      <a:lnTo>
                        <a:pt x="56" y="50"/>
                      </a:lnTo>
                      <a:lnTo>
                        <a:pt x="60" y="54"/>
                      </a:lnTo>
                      <a:lnTo>
                        <a:pt x="60" y="54"/>
                      </a:lnTo>
                      <a:lnTo>
                        <a:pt x="60" y="58"/>
                      </a:lnTo>
                      <a:lnTo>
                        <a:pt x="60" y="58"/>
                      </a:lnTo>
                      <a:lnTo>
                        <a:pt x="60" y="58"/>
                      </a:lnTo>
                      <a:lnTo>
                        <a:pt x="64" y="58"/>
                      </a:lnTo>
                      <a:lnTo>
                        <a:pt x="64" y="58"/>
                      </a:lnTo>
                      <a:lnTo>
                        <a:pt x="64" y="60"/>
                      </a:lnTo>
                      <a:lnTo>
                        <a:pt x="64" y="60"/>
                      </a:lnTo>
                      <a:lnTo>
                        <a:pt x="64" y="60"/>
                      </a:lnTo>
                      <a:lnTo>
                        <a:pt x="64" y="60"/>
                      </a:lnTo>
                      <a:lnTo>
                        <a:pt x="64" y="60"/>
                      </a:lnTo>
                      <a:lnTo>
                        <a:pt x="60" y="64"/>
                      </a:lnTo>
                      <a:lnTo>
                        <a:pt x="60" y="64"/>
                      </a:lnTo>
                      <a:lnTo>
                        <a:pt x="60" y="64"/>
                      </a:lnTo>
                      <a:lnTo>
                        <a:pt x="60" y="64"/>
                      </a:lnTo>
                      <a:lnTo>
                        <a:pt x="56" y="64"/>
                      </a:lnTo>
                      <a:lnTo>
                        <a:pt x="56" y="68"/>
                      </a:lnTo>
                      <a:lnTo>
                        <a:pt x="56" y="72"/>
                      </a:lnTo>
                      <a:lnTo>
                        <a:pt x="56" y="72"/>
                      </a:lnTo>
                      <a:lnTo>
                        <a:pt x="56" y="72"/>
                      </a:lnTo>
                      <a:lnTo>
                        <a:pt x="60" y="72"/>
                      </a:lnTo>
                      <a:lnTo>
                        <a:pt x="60" y="72"/>
                      </a:lnTo>
                      <a:lnTo>
                        <a:pt x="60" y="76"/>
                      </a:lnTo>
                      <a:lnTo>
                        <a:pt x="56" y="76"/>
                      </a:lnTo>
                      <a:lnTo>
                        <a:pt x="56" y="76"/>
                      </a:lnTo>
                      <a:lnTo>
                        <a:pt x="56" y="76"/>
                      </a:lnTo>
                      <a:lnTo>
                        <a:pt x="56" y="76"/>
                      </a:lnTo>
                      <a:lnTo>
                        <a:pt x="56" y="76"/>
                      </a:lnTo>
                      <a:lnTo>
                        <a:pt x="52" y="76"/>
                      </a:lnTo>
                      <a:lnTo>
                        <a:pt x="52" y="76"/>
                      </a:lnTo>
                      <a:lnTo>
                        <a:pt x="52" y="76"/>
                      </a:lnTo>
                      <a:lnTo>
                        <a:pt x="52" y="76"/>
                      </a:lnTo>
                      <a:lnTo>
                        <a:pt x="50" y="76"/>
                      </a:lnTo>
                      <a:lnTo>
                        <a:pt x="50" y="76"/>
                      </a:lnTo>
                      <a:lnTo>
                        <a:pt x="50" y="78"/>
                      </a:lnTo>
                      <a:lnTo>
                        <a:pt x="46" y="78"/>
                      </a:lnTo>
                      <a:lnTo>
                        <a:pt x="46" y="78"/>
                      </a:lnTo>
                      <a:lnTo>
                        <a:pt x="46" y="78"/>
                      </a:lnTo>
                      <a:lnTo>
                        <a:pt x="46" y="78"/>
                      </a:lnTo>
                      <a:lnTo>
                        <a:pt x="42" y="78"/>
                      </a:lnTo>
                      <a:lnTo>
                        <a:pt x="42" y="78"/>
                      </a:lnTo>
                      <a:lnTo>
                        <a:pt x="42" y="78"/>
                      </a:lnTo>
                      <a:lnTo>
                        <a:pt x="42" y="78"/>
                      </a:lnTo>
                      <a:lnTo>
                        <a:pt x="38" y="78"/>
                      </a:lnTo>
                      <a:lnTo>
                        <a:pt x="38" y="78"/>
                      </a:lnTo>
                      <a:lnTo>
                        <a:pt x="34" y="78"/>
                      </a:lnTo>
                      <a:lnTo>
                        <a:pt x="34" y="82"/>
                      </a:lnTo>
                      <a:lnTo>
                        <a:pt x="34" y="82"/>
                      </a:lnTo>
                      <a:lnTo>
                        <a:pt x="34" y="82"/>
                      </a:lnTo>
                      <a:lnTo>
                        <a:pt x="34" y="82"/>
                      </a:lnTo>
                      <a:lnTo>
                        <a:pt x="34" y="86"/>
                      </a:lnTo>
                      <a:lnTo>
                        <a:pt x="34" y="86"/>
                      </a:lnTo>
                      <a:lnTo>
                        <a:pt x="30" y="86"/>
                      </a:lnTo>
                      <a:lnTo>
                        <a:pt x="30" y="86"/>
                      </a:lnTo>
                      <a:lnTo>
                        <a:pt x="30" y="82"/>
                      </a:lnTo>
                      <a:lnTo>
                        <a:pt x="30" y="82"/>
                      </a:lnTo>
                      <a:lnTo>
                        <a:pt x="30" y="82"/>
                      </a:lnTo>
                      <a:lnTo>
                        <a:pt x="30" y="82"/>
                      </a:lnTo>
                      <a:lnTo>
                        <a:pt x="30" y="78"/>
                      </a:lnTo>
                      <a:lnTo>
                        <a:pt x="30" y="78"/>
                      </a:lnTo>
                      <a:lnTo>
                        <a:pt x="30" y="78"/>
                      </a:lnTo>
                      <a:lnTo>
                        <a:pt x="26" y="76"/>
                      </a:lnTo>
                      <a:lnTo>
                        <a:pt x="26" y="76"/>
                      </a:lnTo>
                      <a:lnTo>
                        <a:pt x="26" y="76"/>
                      </a:lnTo>
                      <a:lnTo>
                        <a:pt x="26" y="76"/>
                      </a:lnTo>
                      <a:lnTo>
                        <a:pt x="26" y="76"/>
                      </a:lnTo>
                      <a:lnTo>
                        <a:pt x="26" y="72"/>
                      </a:lnTo>
                      <a:lnTo>
                        <a:pt x="24" y="72"/>
                      </a:lnTo>
                      <a:lnTo>
                        <a:pt x="24" y="72"/>
                      </a:lnTo>
                      <a:lnTo>
                        <a:pt x="24" y="72"/>
                      </a:lnTo>
                      <a:lnTo>
                        <a:pt x="24" y="72"/>
                      </a:lnTo>
                      <a:lnTo>
                        <a:pt x="20" y="76"/>
                      </a:lnTo>
                      <a:lnTo>
                        <a:pt x="20" y="72"/>
                      </a:lnTo>
                      <a:lnTo>
                        <a:pt x="20" y="72"/>
                      </a:lnTo>
                      <a:lnTo>
                        <a:pt x="20" y="72"/>
                      </a:lnTo>
                      <a:lnTo>
                        <a:pt x="20" y="72"/>
                      </a:lnTo>
                      <a:lnTo>
                        <a:pt x="20" y="72"/>
                      </a:lnTo>
                      <a:lnTo>
                        <a:pt x="20" y="72"/>
                      </a:lnTo>
                      <a:lnTo>
                        <a:pt x="20" y="72"/>
                      </a:lnTo>
                      <a:lnTo>
                        <a:pt x="20" y="72"/>
                      </a:lnTo>
                      <a:lnTo>
                        <a:pt x="16" y="72"/>
                      </a:lnTo>
                      <a:lnTo>
                        <a:pt x="16" y="72"/>
                      </a:lnTo>
                      <a:lnTo>
                        <a:pt x="16" y="76"/>
                      </a:lnTo>
                      <a:lnTo>
                        <a:pt x="12" y="78"/>
                      </a:lnTo>
                      <a:lnTo>
                        <a:pt x="12" y="78"/>
                      </a:lnTo>
                      <a:lnTo>
                        <a:pt x="16" y="78"/>
                      </a:lnTo>
                      <a:lnTo>
                        <a:pt x="16" y="78"/>
                      </a:lnTo>
                      <a:lnTo>
                        <a:pt x="16" y="82"/>
                      </a:lnTo>
                      <a:lnTo>
                        <a:pt x="12" y="82"/>
                      </a:lnTo>
                      <a:lnTo>
                        <a:pt x="12" y="82"/>
                      </a:lnTo>
                      <a:lnTo>
                        <a:pt x="16" y="86"/>
                      </a:lnTo>
                      <a:lnTo>
                        <a:pt x="12" y="86"/>
                      </a:lnTo>
                      <a:lnTo>
                        <a:pt x="12" y="86"/>
                      </a:lnTo>
                      <a:lnTo>
                        <a:pt x="12" y="82"/>
                      </a:lnTo>
                      <a:lnTo>
                        <a:pt x="12" y="82"/>
                      </a:lnTo>
                      <a:lnTo>
                        <a:pt x="12" y="82"/>
                      </a:lnTo>
                      <a:lnTo>
                        <a:pt x="12" y="82"/>
                      </a:lnTo>
                      <a:lnTo>
                        <a:pt x="12" y="82"/>
                      </a:lnTo>
                      <a:lnTo>
                        <a:pt x="12" y="82"/>
                      </a:lnTo>
                      <a:lnTo>
                        <a:pt x="8" y="78"/>
                      </a:lnTo>
                      <a:lnTo>
                        <a:pt x="8" y="78"/>
                      </a:lnTo>
                      <a:lnTo>
                        <a:pt x="8" y="78"/>
                      </a:lnTo>
                      <a:lnTo>
                        <a:pt x="8" y="78"/>
                      </a:lnTo>
                      <a:lnTo>
                        <a:pt x="8" y="78"/>
                      </a:lnTo>
                      <a:lnTo>
                        <a:pt x="8" y="76"/>
                      </a:lnTo>
                      <a:lnTo>
                        <a:pt x="4" y="78"/>
                      </a:lnTo>
                      <a:lnTo>
                        <a:pt x="4" y="76"/>
                      </a:lnTo>
                      <a:lnTo>
                        <a:pt x="4" y="76"/>
                      </a:lnTo>
                      <a:lnTo>
                        <a:pt x="4" y="76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76"/>
                      </a:lnTo>
                      <a:lnTo>
                        <a:pt x="4" y="76"/>
                      </a:lnTo>
                      <a:lnTo>
                        <a:pt x="4" y="76"/>
                      </a:lnTo>
                      <a:lnTo>
                        <a:pt x="4" y="76"/>
                      </a:lnTo>
                      <a:lnTo>
                        <a:pt x="0" y="76"/>
                      </a:lnTo>
                      <a:lnTo>
                        <a:pt x="0" y="76"/>
                      </a:lnTo>
                      <a:lnTo>
                        <a:pt x="0" y="76"/>
                      </a:lnTo>
                      <a:lnTo>
                        <a:pt x="0" y="76"/>
                      </a:lnTo>
                      <a:lnTo>
                        <a:pt x="0" y="72"/>
                      </a:lnTo>
                      <a:lnTo>
                        <a:pt x="0" y="72"/>
                      </a:lnTo>
                      <a:lnTo>
                        <a:pt x="0" y="72"/>
                      </a:lnTo>
                      <a:lnTo>
                        <a:pt x="0" y="72"/>
                      </a:lnTo>
                      <a:lnTo>
                        <a:pt x="0" y="72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75" name="Freeform 120"/>
                <p:cNvSpPr>
                  <a:spLocks/>
                </p:cNvSpPr>
                <p:nvPr/>
              </p:nvSpPr>
              <p:spPr bwMode="auto">
                <a:xfrm>
                  <a:off x="4772025" y="3124268"/>
                  <a:ext cx="130175" cy="60325"/>
                </a:xfrm>
                <a:custGeom>
                  <a:avLst/>
                  <a:gdLst>
                    <a:gd name="T0" fmla="*/ 30 w 82"/>
                    <a:gd name="T1" fmla="*/ 30 h 38"/>
                    <a:gd name="T2" fmla="*/ 26 w 82"/>
                    <a:gd name="T3" fmla="*/ 34 h 38"/>
                    <a:gd name="T4" fmla="*/ 30 w 82"/>
                    <a:gd name="T5" fmla="*/ 38 h 38"/>
                    <a:gd name="T6" fmla="*/ 26 w 82"/>
                    <a:gd name="T7" fmla="*/ 38 h 38"/>
                    <a:gd name="T8" fmla="*/ 22 w 82"/>
                    <a:gd name="T9" fmla="*/ 38 h 38"/>
                    <a:gd name="T10" fmla="*/ 22 w 82"/>
                    <a:gd name="T11" fmla="*/ 38 h 38"/>
                    <a:gd name="T12" fmla="*/ 20 w 82"/>
                    <a:gd name="T13" fmla="*/ 38 h 38"/>
                    <a:gd name="T14" fmla="*/ 16 w 82"/>
                    <a:gd name="T15" fmla="*/ 38 h 38"/>
                    <a:gd name="T16" fmla="*/ 8 w 82"/>
                    <a:gd name="T17" fmla="*/ 34 h 38"/>
                    <a:gd name="T18" fmla="*/ 8 w 82"/>
                    <a:gd name="T19" fmla="*/ 34 h 38"/>
                    <a:gd name="T20" fmla="*/ 4 w 82"/>
                    <a:gd name="T21" fmla="*/ 34 h 38"/>
                    <a:gd name="T22" fmla="*/ 4 w 82"/>
                    <a:gd name="T23" fmla="*/ 30 h 38"/>
                    <a:gd name="T24" fmla="*/ 0 w 82"/>
                    <a:gd name="T25" fmla="*/ 26 h 38"/>
                    <a:gd name="T26" fmla="*/ 0 w 82"/>
                    <a:gd name="T27" fmla="*/ 22 h 38"/>
                    <a:gd name="T28" fmla="*/ 0 w 82"/>
                    <a:gd name="T29" fmla="*/ 18 h 38"/>
                    <a:gd name="T30" fmla="*/ 4 w 82"/>
                    <a:gd name="T31" fmla="*/ 14 h 38"/>
                    <a:gd name="T32" fmla="*/ 8 w 82"/>
                    <a:gd name="T33" fmla="*/ 14 h 38"/>
                    <a:gd name="T34" fmla="*/ 12 w 82"/>
                    <a:gd name="T35" fmla="*/ 14 h 38"/>
                    <a:gd name="T36" fmla="*/ 16 w 82"/>
                    <a:gd name="T37" fmla="*/ 12 h 38"/>
                    <a:gd name="T38" fmla="*/ 20 w 82"/>
                    <a:gd name="T39" fmla="*/ 8 h 38"/>
                    <a:gd name="T40" fmla="*/ 20 w 82"/>
                    <a:gd name="T41" fmla="*/ 8 h 38"/>
                    <a:gd name="T42" fmla="*/ 22 w 82"/>
                    <a:gd name="T43" fmla="*/ 4 h 38"/>
                    <a:gd name="T44" fmla="*/ 30 w 82"/>
                    <a:gd name="T45" fmla="*/ 0 h 38"/>
                    <a:gd name="T46" fmla="*/ 30 w 82"/>
                    <a:gd name="T47" fmla="*/ 4 h 38"/>
                    <a:gd name="T48" fmla="*/ 34 w 82"/>
                    <a:gd name="T49" fmla="*/ 0 h 38"/>
                    <a:gd name="T50" fmla="*/ 38 w 82"/>
                    <a:gd name="T51" fmla="*/ 0 h 38"/>
                    <a:gd name="T52" fmla="*/ 42 w 82"/>
                    <a:gd name="T53" fmla="*/ 4 h 38"/>
                    <a:gd name="T54" fmla="*/ 42 w 82"/>
                    <a:gd name="T55" fmla="*/ 8 h 38"/>
                    <a:gd name="T56" fmla="*/ 42 w 82"/>
                    <a:gd name="T57" fmla="*/ 8 h 38"/>
                    <a:gd name="T58" fmla="*/ 46 w 82"/>
                    <a:gd name="T59" fmla="*/ 8 h 38"/>
                    <a:gd name="T60" fmla="*/ 46 w 82"/>
                    <a:gd name="T61" fmla="*/ 8 h 38"/>
                    <a:gd name="T62" fmla="*/ 48 w 82"/>
                    <a:gd name="T63" fmla="*/ 4 h 38"/>
                    <a:gd name="T64" fmla="*/ 56 w 82"/>
                    <a:gd name="T65" fmla="*/ 4 h 38"/>
                    <a:gd name="T66" fmla="*/ 60 w 82"/>
                    <a:gd name="T67" fmla="*/ 8 h 38"/>
                    <a:gd name="T68" fmla="*/ 64 w 82"/>
                    <a:gd name="T69" fmla="*/ 4 h 38"/>
                    <a:gd name="T70" fmla="*/ 68 w 82"/>
                    <a:gd name="T71" fmla="*/ 4 h 38"/>
                    <a:gd name="T72" fmla="*/ 72 w 82"/>
                    <a:gd name="T73" fmla="*/ 4 h 38"/>
                    <a:gd name="T74" fmla="*/ 74 w 82"/>
                    <a:gd name="T75" fmla="*/ 8 h 38"/>
                    <a:gd name="T76" fmla="*/ 82 w 82"/>
                    <a:gd name="T77" fmla="*/ 12 h 38"/>
                    <a:gd name="T78" fmla="*/ 78 w 82"/>
                    <a:gd name="T79" fmla="*/ 14 h 38"/>
                    <a:gd name="T80" fmla="*/ 74 w 82"/>
                    <a:gd name="T81" fmla="*/ 22 h 38"/>
                    <a:gd name="T82" fmla="*/ 74 w 82"/>
                    <a:gd name="T83" fmla="*/ 26 h 38"/>
                    <a:gd name="T84" fmla="*/ 72 w 82"/>
                    <a:gd name="T85" fmla="*/ 26 h 38"/>
                    <a:gd name="T86" fmla="*/ 68 w 82"/>
                    <a:gd name="T87" fmla="*/ 26 h 38"/>
                    <a:gd name="T88" fmla="*/ 64 w 82"/>
                    <a:gd name="T89" fmla="*/ 22 h 38"/>
                    <a:gd name="T90" fmla="*/ 60 w 82"/>
                    <a:gd name="T91" fmla="*/ 22 h 38"/>
                    <a:gd name="T92" fmla="*/ 56 w 82"/>
                    <a:gd name="T93" fmla="*/ 22 h 38"/>
                    <a:gd name="T94" fmla="*/ 52 w 82"/>
                    <a:gd name="T95" fmla="*/ 22 h 38"/>
                    <a:gd name="T96" fmla="*/ 48 w 82"/>
                    <a:gd name="T97" fmla="*/ 26 h 38"/>
                    <a:gd name="T98" fmla="*/ 48 w 82"/>
                    <a:gd name="T99" fmla="*/ 26 h 38"/>
                    <a:gd name="T100" fmla="*/ 46 w 82"/>
                    <a:gd name="T101" fmla="*/ 30 h 38"/>
                    <a:gd name="T102" fmla="*/ 46 w 82"/>
                    <a:gd name="T103" fmla="*/ 30 h 38"/>
                    <a:gd name="T104" fmla="*/ 42 w 82"/>
                    <a:gd name="T105" fmla="*/ 30 h 38"/>
                    <a:gd name="T106" fmla="*/ 38 w 82"/>
                    <a:gd name="T107" fmla="*/ 30 h 38"/>
                    <a:gd name="T108" fmla="*/ 30 w 82"/>
                    <a:gd name="T109" fmla="*/ 30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82" h="38">
                      <a:moveTo>
                        <a:pt x="30" y="30"/>
                      </a:moveTo>
                      <a:lnTo>
                        <a:pt x="30" y="30"/>
                      </a:lnTo>
                      <a:lnTo>
                        <a:pt x="30" y="30"/>
                      </a:lnTo>
                      <a:lnTo>
                        <a:pt x="30" y="30"/>
                      </a:lnTo>
                      <a:lnTo>
                        <a:pt x="30" y="34"/>
                      </a:lnTo>
                      <a:lnTo>
                        <a:pt x="26" y="34"/>
                      </a:lnTo>
                      <a:lnTo>
                        <a:pt x="26" y="34"/>
                      </a:lnTo>
                      <a:lnTo>
                        <a:pt x="26" y="34"/>
                      </a:lnTo>
                      <a:lnTo>
                        <a:pt x="26" y="34"/>
                      </a:lnTo>
                      <a:lnTo>
                        <a:pt x="26" y="38"/>
                      </a:lnTo>
                      <a:lnTo>
                        <a:pt x="30" y="38"/>
                      </a:lnTo>
                      <a:lnTo>
                        <a:pt x="30" y="38"/>
                      </a:lnTo>
                      <a:lnTo>
                        <a:pt x="26" y="38"/>
                      </a:lnTo>
                      <a:lnTo>
                        <a:pt x="26" y="38"/>
                      </a:lnTo>
                      <a:lnTo>
                        <a:pt x="26" y="38"/>
                      </a:lnTo>
                      <a:lnTo>
                        <a:pt x="26" y="38"/>
                      </a:lnTo>
                      <a:lnTo>
                        <a:pt x="26" y="38"/>
                      </a:lnTo>
                      <a:lnTo>
                        <a:pt x="26" y="38"/>
                      </a:lnTo>
                      <a:lnTo>
                        <a:pt x="26" y="38"/>
                      </a:lnTo>
                      <a:lnTo>
                        <a:pt x="22" y="38"/>
                      </a:lnTo>
                      <a:lnTo>
                        <a:pt x="22" y="38"/>
                      </a:lnTo>
                      <a:lnTo>
                        <a:pt x="22" y="38"/>
                      </a:lnTo>
                      <a:lnTo>
                        <a:pt x="22" y="38"/>
                      </a:lnTo>
                      <a:lnTo>
                        <a:pt x="22" y="38"/>
                      </a:lnTo>
                      <a:lnTo>
                        <a:pt x="20" y="38"/>
                      </a:lnTo>
                      <a:lnTo>
                        <a:pt x="20" y="38"/>
                      </a:lnTo>
                      <a:lnTo>
                        <a:pt x="20" y="38"/>
                      </a:lnTo>
                      <a:lnTo>
                        <a:pt x="20" y="38"/>
                      </a:lnTo>
                      <a:lnTo>
                        <a:pt x="16" y="38"/>
                      </a:lnTo>
                      <a:lnTo>
                        <a:pt x="16" y="38"/>
                      </a:lnTo>
                      <a:lnTo>
                        <a:pt x="16" y="38"/>
                      </a:lnTo>
                      <a:lnTo>
                        <a:pt x="16" y="38"/>
                      </a:lnTo>
                      <a:lnTo>
                        <a:pt x="12" y="38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0" y="30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8" y="14"/>
                      </a:lnTo>
                      <a:lnTo>
                        <a:pt x="8" y="14"/>
                      </a:lnTo>
                      <a:lnTo>
                        <a:pt x="8" y="14"/>
                      </a:lnTo>
                      <a:lnTo>
                        <a:pt x="8" y="14"/>
                      </a:lnTo>
                      <a:lnTo>
                        <a:pt x="12" y="14"/>
                      </a:lnTo>
                      <a:lnTo>
                        <a:pt x="12" y="14"/>
                      </a:lnTo>
                      <a:lnTo>
                        <a:pt x="12" y="14"/>
                      </a:lnTo>
                      <a:lnTo>
                        <a:pt x="12" y="14"/>
                      </a:lnTo>
                      <a:lnTo>
                        <a:pt x="16" y="14"/>
                      </a:lnTo>
                      <a:lnTo>
                        <a:pt x="16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30" y="0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0"/>
                      </a:lnTo>
                      <a:lnTo>
                        <a:pt x="34" y="0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38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8" y="4"/>
                      </a:lnTo>
                      <a:lnTo>
                        <a:pt x="48" y="4"/>
                      </a:lnTo>
                      <a:lnTo>
                        <a:pt x="48" y="4"/>
                      </a:lnTo>
                      <a:lnTo>
                        <a:pt x="52" y="4"/>
                      </a:lnTo>
                      <a:lnTo>
                        <a:pt x="56" y="4"/>
                      </a:lnTo>
                      <a:lnTo>
                        <a:pt x="56" y="4"/>
                      </a:lnTo>
                      <a:lnTo>
                        <a:pt x="56" y="8"/>
                      </a:lnTo>
                      <a:lnTo>
                        <a:pt x="60" y="8"/>
                      </a:lnTo>
                      <a:lnTo>
                        <a:pt x="60" y="8"/>
                      </a:lnTo>
                      <a:lnTo>
                        <a:pt x="60" y="4"/>
                      </a:lnTo>
                      <a:lnTo>
                        <a:pt x="60" y="4"/>
                      </a:lnTo>
                      <a:lnTo>
                        <a:pt x="60" y="4"/>
                      </a:lnTo>
                      <a:lnTo>
                        <a:pt x="64" y="4"/>
                      </a:lnTo>
                      <a:lnTo>
                        <a:pt x="64" y="4"/>
                      </a:lnTo>
                      <a:lnTo>
                        <a:pt x="64" y="4"/>
                      </a:lnTo>
                      <a:lnTo>
                        <a:pt x="64" y="4"/>
                      </a:lnTo>
                      <a:lnTo>
                        <a:pt x="68" y="4"/>
                      </a:lnTo>
                      <a:lnTo>
                        <a:pt x="68" y="4"/>
                      </a:lnTo>
                      <a:lnTo>
                        <a:pt x="68" y="4"/>
                      </a:lnTo>
                      <a:lnTo>
                        <a:pt x="72" y="4"/>
                      </a:lnTo>
                      <a:lnTo>
                        <a:pt x="72" y="4"/>
                      </a:lnTo>
                      <a:lnTo>
                        <a:pt x="74" y="8"/>
                      </a:lnTo>
                      <a:lnTo>
                        <a:pt x="74" y="8"/>
                      </a:lnTo>
                      <a:lnTo>
                        <a:pt x="74" y="8"/>
                      </a:lnTo>
                      <a:lnTo>
                        <a:pt x="74" y="8"/>
                      </a:lnTo>
                      <a:lnTo>
                        <a:pt x="78" y="12"/>
                      </a:lnTo>
                      <a:lnTo>
                        <a:pt x="78" y="12"/>
                      </a:lnTo>
                      <a:lnTo>
                        <a:pt x="82" y="12"/>
                      </a:lnTo>
                      <a:lnTo>
                        <a:pt x="82" y="12"/>
                      </a:lnTo>
                      <a:lnTo>
                        <a:pt x="82" y="12"/>
                      </a:lnTo>
                      <a:lnTo>
                        <a:pt x="82" y="12"/>
                      </a:lnTo>
                      <a:lnTo>
                        <a:pt x="78" y="14"/>
                      </a:lnTo>
                      <a:lnTo>
                        <a:pt x="78" y="14"/>
                      </a:lnTo>
                      <a:lnTo>
                        <a:pt x="78" y="14"/>
                      </a:lnTo>
                      <a:lnTo>
                        <a:pt x="78" y="18"/>
                      </a:lnTo>
                      <a:lnTo>
                        <a:pt x="74" y="18"/>
                      </a:lnTo>
                      <a:lnTo>
                        <a:pt x="74" y="22"/>
                      </a:lnTo>
                      <a:lnTo>
                        <a:pt x="74" y="22"/>
                      </a:lnTo>
                      <a:lnTo>
                        <a:pt x="74" y="26"/>
                      </a:lnTo>
                      <a:lnTo>
                        <a:pt x="74" y="26"/>
                      </a:lnTo>
                      <a:lnTo>
                        <a:pt x="74" y="26"/>
                      </a:lnTo>
                      <a:lnTo>
                        <a:pt x="74" y="26"/>
                      </a:lnTo>
                      <a:lnTo>
                        <a:pt x="74" y="26"/>
                      </a:lnTo>
                      <a:lnTo>
                        <a:pt x="72" y="26"/>
                      </a:lnTo>
                      <a:lnTo>
                        <a:pt x="72" y="26"/>
                      </a:lnTo>
                      <a:lnTo>
                        <a:pt x="72" y="26"/>
                      </a:lnTo>
                      <a:lnTo>
                        <a:pt x="72" y="26"/>
                      </a:lnTo>
                      <a:lnTo>
                        <a:pt x="72" y="26"/>
                      </a:lnTo>
                      <a:lnTo>
                        <a:pt x="68" y="26"/>
                      </a:lnTo>
                      <a:lnTo>
                        <a:pt x="68" y="22"/>
                      </a:lnTo>
                      <a:lnTo>
                        <a:pt x="68" y="22"/>
                      </a:lnTo>
                      <a:lnTo>
                        <a:pt x="68" y="22"/>
                      </a:lnTo>
                      <a:lnTo>
                        <a:pt x="64" y="22"/>
                      </a:lnTo>
                      <a:lnTo>
                        <a:pt x="64" y="22"/>
                      </a:lnTo>
                      <a:lnTo>
                        <a:pt x="64" y="22"/>
                      </a:lnTo>
                      <a:lnTo>
                        <a:pt x="60" y="22"/>
                      </a:lnTo>
                      <a:lnTo>
                        <a:pt x="60" y="22"/>
                      </a:lnTo>
                      <a:lnTo>
                        <a:pt x="56" y="22"/>
                      </a:lnTo>
                      <a:lnTo>
                        <a:pt x="56" y="22"/>
                      </a:lnTo>
                      <a:lnTo>
                        <a:pt x="56" y="22"/>
                      </a:lnTo>
                      <a:lnTo>
                        <a:pt x="56" y="22"/>
                      </a:lnTo>
                      <a:lnTo>
                        <a:pt x="56" y="22"/>
                      </a:lnTo>
                      <a:lnTo>
                        <a:pt x="52" y="22"/>
                      </a:lnTo>
                      <a:lnTo>
                        <a:pt x="52" y="22"/>
                      </a:lnTo>
                      <a:lnTo>
                        <a:pt x="52" y="22"/>
                      </a:lnTo>
                      <a:lnTo>
                        <a:pt x="52" y="22"/>
                      </a:lnTo>
                      <a:lnTo>
                        <a:pt x="52" y="22"/>
                      </a:lnTo>
                      <a:lnTo>
                        <a:pt x="52" y="22"/>
                      </a:lnTo>
                      <a:lnTo>
                        <a:pt x="48" y="26"/>
                      </a:lnTo>
                      <a:lnTo>
                        <a:pt x="48" y="26"/>
                      </a:lnTo>
                      <a:lnTo>
                        <a:pt x="48" y="26"/>
                      </a:lnTo>
                      <a:lnTo>
                        <a:pt x="48" y="26"/>
                      </a:lnTo>
                      <a:lnTo>
                        <a:pt x="48" y="26"/>
                      </a:lnTo>
                      <a:lnTo>
                        <a:pt x="48" y="26"/>
                      </a:lnTo>
                      <a:lnTo>
                        <a:pt x="48" y="26"/>
                      </a:lnTo>
                      <a:lnTo>
                        <a:pt x="46" y="30"/>
                      </a:lnTo>
                      <a:lnTo>
                        <a:pt x="46" y="30"/>
                      </a:lnTo>
                      <a:lnTo>
                        <a:pt x="46" y="30"/>
                      </a:lnTo>
                      <a:lnTo>
                        <a:pt x="46" y="30"/>
                      </a:lnTo>
                      <a:lnTo>
                        <a:pt x="46" y="30"/>
                      </a:lnTo>
                      <a:lnTo>
                        <a:pt x="46" y="30"/>
                      </a:lnTo>
                      <a:lnTo>
                        <a:pt x="46" y="30"/>
                      </a:lnTo>
                      <a:lnTo>
                        <a:pt x="42" y="30"/>
                      </a:lnTo>
                      <a:lnTo>
                        <a:pt x="42" y="30"/>
                      </a:lnTo>
                      <a:lnTo>
                        <a:pt x="42" y="30"/>
                      </a:lnTo>
                      <a:lnTo>
                        <a:pt x="38" y="30"/>
                      </a:lnTo>
                      <a:lnTo>
                        <a:pt x="38" y="30"/>
                      </a:lnTo>
                      <a:lnTo>
                        <a:pt x="38" y="30"/>
                      </a:lnTo>
                      <a:lnTo>
                        <a:pt x="38" y="30"/>
                      </a:lnTo>
                      <a:lnTo>
                        <a:pt x="38" y="30"/>
                      </a:lnTo>
                      <a:lnTo>
                        <a:pt x="34" y="30"/>
                      </a:lnTo>
                      <a:lnTo>
                        <a:pt x="34" y="30"/>
                      </a:lnTo>
                      <a:lnTo>
                        <a:pt x="30" y="30"/>
                      </a:lnTo>
                      <a:lnTo>
                        <a:pt x="30" y="30"/>
                      </a:lnTo>
                      <a:lnTo>
                        <a:pt x="30" y="30"/>
                      </a:lnTo>
                      <a:lnTo>
                        <a:pt x="30" y="30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76" name="Freeform 121"/>
                <p:cNvSpPr>
                  <a:spLocks/>
                </p:cNvSpPr>
                <p:nvPr/>
              </p:nvSpPr>
              <p:spPr bwMode="auto">
                <a:xfrm>
                  <a:off x="4695825" y="3213168"/>
                  <a:ext cx="69850" cy="47625"/>
                </a:xfrm>
                <a:custGeom>
                  <a:avLst/>
                  <a:gdLst>
                    <a:gd name="T0" fmla="*/ 26 w 44"/>
                    <a:gd name="T1" fmla="*/ 26 h 30"/>
                    <a:gd name="T2" fmla="*/ 26 w 44"/>
                    <a:gd name="T3" fmla="*/ 30 h 30"/>
                    <a:gd name="T4" fmla="*/ 22 w 44"/>
                    <a:gd name="T5" fmla="*/ 26 h 30"/>
                    <a:gd name="T6" fmla="*/ 18 w 44"/>
                    <a:gd name="T7" fmla="*/ 26 h 30"/>
                    <a:gd name="T8" fmla="*/ 14 w 44"/>
                    <a:gd name="T9" fmla="*/ 22 h 30"/>
                    <a:gd name="T10" fmla="*/ 14 w 44"/>
                    <a:gd name="T11" fmla="*/ 26 h 30"/>
                    <a:gd name="T12" fmla="*/ 12 w 44"/>
                    <a:gd name="T13" fmla="*/ 30 h 30"/>
                    <a:gd name="T14" fmla="*/ 8 w 44"/>
                    <a:gd name="T15" fmla="*/ 30 h 30"/>
                    <a:gd name="T16" fmla="*/ 4 w 44"/>
                    <a:gd name="T17" fmla="*/ 30 h 30"/>
                    <a:gd name="T18" fmla="*/ 4 w 44"/>
                    <a:gd name="T19" fmla="*/ 26 h 30"/>
                    <a:gd name="T20" fmla="*/ 4 w 44"/>
                    <a:gd name="T21" fmla="*/ 26 h 30"/>
                    <a:gd name="T22" fmla="*/ 8 w 44"/>
                    <a:gd name="T23" fmla="*/ 26 h 30"/>
                    <a:gd name="T24" fmla="*/ 4 w 44"/>
                    <a:gd name="T25" fmla="*/ 22 h 30"/>
                    <a:gd name="T26" fmla="*/ 4 w 44"/>
                    <a:gd name="T27" fmla="*/ 20 h 30"/>
                    <a:gd name="T28" fmla="*/ 4 w 44"/>
                    <a:gd name="T29" fmla="*/ 20 h 30"/>
                    <a:gd name="T30" fmla="*/ 0 w 44"/>
                    <a:gd name="T31" fmla="*/ 20 h 30"/>
                    <a:gd name="T32" fmla="*/ 0 w 44"/>
                    <a:gd name="T33" fmla="*/ 20 h 30"/>
                    <a:gd name="T34" fmla="*/ 0 w 44"/>
                    <a:gd name="T35" fmla="*/ 16 h 30"/>
                    <a:gd name="T36" fmla="*/ 4 w 44"/>
                    <a:gd name="T37" fmla="*/ 16 h 30"/>
                    <a:gd name="T38" fmla="*/ 0 w 44"/>
                    <a:gd name="T39" fmla="*/ 12 h 30"/>
                    <a:gd name="T40" fmla="*/ 0 w 44"/>
                    <a:gd name="T41" fmla="*/ 12 h 30"/>
                    <a:gd name="T42" fmla="*/ 4 w 44"/>
                    <a:gd name="T43" fmla="*/ 8 h 30"/>
                    <a:gd name="T44" fmla="*/ 4 w 44"/>
                    <a:gd name="T45" fmla="*/ 8 h 30"/>
                    <a:gd name="T46" fmla="*/ 8 w 44"/>
                    <a:gd name="T47" fmla="*/ 8 h 30"/>
                    <a:gd name="T48" fmla="*/ 12 w 44"/>
                    <a:gd name="T49" fmla="*/ 8 h 30"/>
                    <a:gd name="T50" fmla="*/ 14 w 44"/>
                    <a:gd name="T51" fmla="*/ 8 h 30"/>
                    <a:gd name="T52" fmla="*/ 18 w 44"/>
                    <a:gd name="T53" fmla="*/ 8 h 30"/>
                    <a:gd name="T54" fmla="*/ 22 w 44"/>
                    <a:gd name="T55" fmla="*/ 4 h 30"/>
                    <a:gd name="T56" fmla="*/ 26 w 44"/>
                    <a:gd name="T57" fmla="*/ 4 h 30"/>
                    <a:gd name="T58" fmla="*/ 34 w 44"/>
                    <a:gd name="T59" fmla="*/ 4 h 30"/>
                    <a:gd name="T60" fmla="*/ 38 w 44"/>
                    <a:gd name="T61" fmla="*/ 0 h 30"/>
                    <a:gd name="T62" fmla="*/ 38 w 44"/>
                    <a:gd name="T63" fmla="*/ 0 h 30"/>
                    <a:gd name="T64" fmla="*/ 42 w 44"/>
                    <a:gd name="T65" fmla="*/ 0 h 30"/>
                    <a:gd name="T66" fmla="*/ 42 w 44"/>
                    <a:gd name="T67" fmla="*/ 0 h 30"/>
                    <a:gd name="T68" fmla="*/ 42 w 44"/>
                    <a:gd name="T69" fmla="*/ 4 h 30"/>
                    <a:gd name="T70" fmla="*/ 42 w 44"/>
                    <a:gd name="T71" fmla="*/ 4 h 30"/>
                    <a:gd name="T72" fmla="*/ 44 w 44"/>
                    <a:gd name="T73" fmla="*/ 8 h 30"/>
                    <a:gd name="T74" fmla="*/ 44 w 44"/>
                    <a:gd name="T75" fmla="*/ 8 h 30"/>
                    <a:gd name="T76" fmla="*/ 42 w 44"/>
                    <a:gd name="T77" fmla="*/ 8 h 30"/>
                    <a:gd name="T78" fmla="*/ 42 w 44"/>
                    <a:gd name="T79" fmla="*/ 8 h 30"/>
                    <a:gd name="T80" fmla="*/ 38 w 44"/>
                    <a:gd name="T81" fmla="*/ 12 h 30"/>
                    <a:gd name="T82" fmla="*/ 38 w 44"/>
                    <a:gd name="T83" fmla="*/ 12 h 30"/>
                    <a:gd name="T84" fmla="*/ 30 w 44"/>
                    <a:gd name="T85" fmla="*/ 12 h 30"/>
                    <a:gd name="T86" fmla="*/ 30 w 44"/>
                    <a:gd name="T87" fmla="*/ 16 h 30"/>
                    <a:gd name="T88" fmla="*/ 34 w 44"/>
                    <a:gd name="T89" fmla="*/ 16 h 30"/>
                    <a:gd name="T90" fmla="*/ 30 w 44"/>
                    <a:gd name="T91" fmla="*/ 22 h 30"/>
                    <a:gd name="T92" fmla="*/ 30 w 44"/>
                    <a:gd name="T93" fmla="*/ 22 h 30"/>
                    <a:gd name="T94" fmla="*/ 26 w 44"/>
                    <a:gd name="T95" fmla="*/ 22 h 30"/>
                    <a:gd name="T96" fmla="*/ 26 w 44"/>
                    <a:gd name="T97" fmla="*/ 26 h 30"/>
                    <a:gd name="T98" fmla="*/ 26 w 44"/>
                    <a:gd name="T99" fmla="*/ 26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44" h="30">
                      <a:moveTo>
                        <a:pt x="26" y="26"/>
                      </a:move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2" y="30"/>
                      </a:lnTo>
                      <a:lnTo>
                        <a:pt x="22" y="26"/>
                      </a:lnTo>
                      <a:lnTo>
                        <a:pt x="22" y="26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2"/>
                      </a:lnTo>
                      <a:lnTo>
                        <a:pt x="14" y="22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2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0"/>
                      </a:lnTo>
                      <a:lnTo>
                        <a:pt x="4" y="20"/>
                      </a:lnTo>
                      <a:lnTo>
                        <a:pt x="4" y="20"/>
                      </a:lnTo>
                      <a:lnTo>
                        <a:pt x="4" y="20"/>
                      </a:lnTo>
                      <a:lnTo>
                        <a:pt x="4" y="20"/>
                      </a:lnTo>
                      <a:lnTo>
                        <a:pt x="4" y="20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0" y="16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6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12" y="8"/>
                      </a:lnTo>
                      <a:lnTo>
                        <a:pt x="12" y="8"/>
                      </a:lnTo>
                      <a:lnTo>
                        <a:pt x="12" y="8"/>
                      </a:lnTo>
                      <a:lnTo>
                        <a:pt x="14" y="8"/>
                      </a:lnTo>
                      <a:lnTo>
                        <a:pt x="14" y="8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8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6" y="4"/>
                      </a:lnTo>
                      <a:lnTo>
                        <a:pt x="30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8" y="4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42" y="0"/>
                      </a:lnTo>
                      <a:lnTo>
                        <a:pt x="42" y="0"/>
                      </a:lnTo>
                      <a:lnTo>
                        <a:pt x="42" y="0"/>
                      </a:lnTo>
                      <a:lnTo>
                        <a:pt x="42" y="0"/>
                      </a:lnTo>
                      <a:lnTo>
                        <a:pt x="42" y="0"/>
                      </a:lnTo>
                      <a:lnTo>
                        <a:pt x="42" y="0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38" y="8"/>
                      </a:lnTo>
                      <a:lnTo>
                        <a:pt x="38" y="12"/>
                      </a:lnTo>
                      <a:lnTo>
                        <a:pt x="38" y="12"/>
                      </a:lnTo>
                      <a:lnTo>
                        <a:pt x="38" y="12"/>
                      </a:lnTo>
                      <a:lnTo>
                        <a:pt x="38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0" y="12"/>
                      </a:lnTo>
                      <a:lnTo>
                        <a:pt x="30" y="16"/>
                      </a:lnTo>
                      <a:lnTo>
                        <a:pt x="30" y="16"/>
                      </a:lnTo>
                      <a:lnTo>
                        <a:pt x="30" y="16"/>
                      </a:lnTo>
                      <a:lnTo>
                        <a:pt x="30" y="16"/>
                      </a:lnTo>
                      <a:lnTo>
                        <a:pt x="30" y="16"/>
                      </a:lnTo>
                      <a:lnTo>
                        <a:pt x="34" y="16"/>
                      </a:lnTo>
                      <a:lnTo>
                        <a:pt x="34" y="20"/>
                      </a:lnTo>
                      <a:lnTo>
                        <a:pt x="34" y="22"/>
                      </a:lnTo>
                      <a:lnTo>
                        <a:pt x="30" y="22"/>
                      </a:lnTo>
                      <a:lnTo>
                        <a:pt x="30" y="22"/>
                      </a:lnTo>
                      <a:lnTo>
                        <a:pt x="30" y="22"/>
                      </a:lnTo>
                      <a:lnTo>
                        <a:pt x="30" y="22"/>
                      </a:lnTo>
                      <a:lnTo>
                        <a:pt x="26" y="22"/>
                      </a:lnTo>
                      <a:lnTo>
                        <a:pt x="26" y="22"/>
                      </a:lnTo>
                      <a:lnTo>
                        <a:pt x="26" y="22"/>
                      </a:lnTo>
                      <a:lnTo>
                        <a:pt x="26" y="22"/>
                      </a:lnTo>
                      <a:lnTo>
                        <a:pt x="26" y="22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77" name="Freeform 122"/>
                <p:cNvSpPr>
                  <a:spLocks noEditPoints="1"/>
                </p:cNvSpPr>
                <p:nvPr/>
              </p:nvSpPr>
              <p:spPr bwMode="auto">
                <a:xfrm>
                  <a:off x="4629150" y="1917768"/>
                  <a:ext cx="520700" cy="282575"/>
                </a:xfrm>
                <a:custGeom>
                  <a:avLst/>
                  <a:gdLst>
                    <a:gd name="T0" fmla="*/ 154 w 328"/>
                    <a:gd name="T1" fmla="*/ 4 h 178"/>
                    <a:gd name="T2" fmla="*/ 198 w 328"/>
                    <a:gd name="T3" fmla="*/ 10 h 178"/>
                    <a:gd name="T4" fmla="*/ 112 w 328"/>
                    <a:gd name="T5" fmla="*/ 14 h 178"/>
                    <a:gd name="T6" fmla="*/ 328 w 328"/>
                    <a:gd name="T7" fmla="*/ 14 h 178"/>
                    <a:gd name="T8" fmla="*/ 250 w 328"/>
                    <a:gd name="T9" fmla="*/ 18 h 178"/>
                    <a:gd name="T10" fmla="*/ 8 w 328"/>
                    <a:gd name="T11" fmla="*/ 30 h 178"/>
                    <a:gd name="T12" fmla="*/ 136 w 328"/>
                    <a:gd name="T13" fmla="*/ 40 h 178"/>
                    <a:gd name="T14" fmla="*/ 142 w 328"/>
                    <a:gd name="T15" fmla="*/ 52 h 178"/>
                    <a:gd name="T16" fmla="*/ 268 w 328"/>
                    <a:gd name="T17" fmla="*/ 56 h 178"/>
                    <a:gd name="T18" fmla="*/ 228 w 328"/>
                    <a:gd name="T19" fmla="*/ 64 h 178"/>
                    <a:gd name="T20" fmla="*/ 228 w 328"/>
                    <a:gd name="T21" fmla="*/ 64 h 178"/>
                    <a:gd name="T22" fmla="*/ 120 w 328"/>
                    <a:gd name="T23" fmla="*/ 174 h 178"/>
                    <a:gd name="T24" fmla="*/ 222 w 328"/>
                    <a:gd name="T25" fmla="*/ 34 h 178"/>
                    <a:gd name="T26" fmla="*/ 196 w 328"/>
                    <a:gd name="T27" fmla="*/ 44 h 178"/>
                    <a:gd name="T28" fmla="*/ 162 w 328"/>
                    <a:gd name="T29" fmla="*/ 40 h 178"/>
                    <a:gd name="T30" fmla="*/ 138 w 328"/>
                    <a:gd name="T31" fmla="*/ 34 h 178"/>
                    <a:gd name="T32" fmla="*/ 166 w 328"/>
                    <a:gd name="T33" fmla="*/ 30 h 178"/>
                    <a:gd name="T34" fmla="*/ 128 w 328"/>
                    <a:gd name="T35" fmla="*/ 30 h 178"/>
                    <a:gd name="T36" fmla="*/ 108 w 328"/>
                    <a:gd name="T37" fmla="*/ 18 h 178"/>
                    <a:gd name="T38" fmla="*/ 124 w 328"/>
                    <a:gd name="T39" fmla="*/ 10 h 178"/>
                    <a:gd name="T40" fmla="*/ 142 w 328"/>
                    <a:gd name="T41" fmla="*/ 10 h 178"/>
                    <a:gd name="T42" fmla="*/ 168 w 328"/>
                    <a:gd name="T43" fmla="*/ 22 h 178"/>
                    <a:gd name="T44" fmla="*/ 184 w 328"/>
                    <a:gd name="T45" fmla="*/ 10 h 178"/>
                    <a:gd name="T46" fmla="*/ 196 w 328"/>
                    <a:gd name="T47" fmla="*/ 14 h 178"/>
                    <a:gd name="T48" fmla="*/ 218 w 328"/>
                    <a:gd name="T49" fmla="*/ 18 h 178"/>
                    <a:gd name="T50" fmla="*/ 50 w 328"/>
                    <a:gd name="T51" fmla="*/ 96 h 178"/>
                    <a:gd name="T52" fmla="*/ 82 w 328"/>
                    <a:gd name="T53" fmla="*/ 92 h 178"/>
                    <a:gd name="T54" fmla="*/ 82 w 328"/>
                    <a:gd name="T55" fmla="*/ 86 h 178"/>
                    <a:gd name="T56" fmla="*/ 68 w 328"/>
                    <a:gd name="T57" fmla="*/ 82 h 178"/>
                    <a:gd name="T58" fmla="*/ 52 w 328"/>
                    <a:gd name="T59" fmla="*/ 78 h 178"/>
                    <a:gd name="T60" fmla="*/ 76 w 328"/>
                    <a:gd name="T61" fmla="*/ 70 h 178"/>
                    <a:gd name="T62" fmla="*/ 82 w 328"/>
                    <a:gd name="T63" fmla="*/ 66 h 178"/>
                    <a:gd name="T64" fmla="*/ 68 w 328"/>
                    <a:gd name="T65" fmla="*/ 66 h 178"/>
                    <a:gd name="T66" fmla="*/ 56 w 328"/>
                    <a:gd name="T67" fmla="*/ 66 h 178"/>
                    <a:gd name="T68" fmla="*/ 38 w 328"/>
                    <a:gd name="T69" fmla="*/ 74 h 178"/>
                    <a:gd name="T70" fmla="*/ 26 w 328"/>
                    <a:gd name="T71" fmla="*/ 64 h 178"/>
                    <a:gd name="T72" fmla="*/ 26 w 328"/>
                    <a:gd name="T73" fmla="*/ 52 h 178"/>
                    <a:gd name="T74" fmla="*/ 12 w 328"/>
                    <a:gd name="T75" fmla="*/ 48 h 178"/>
                    <a:gd name="T76" fmla="*/ 12 w 328"/>
                    <a:gd name="T77" fmla="*/ 30 h 178"/>
                    <a:gd name="T78" fmla="*/ 22 w 328"/>
                    <a:gd name="T79" fmla="*/ 26 h 178"/>
                    <a:gd name="T80" fmla="*/ 38 w 328"/>
                    <a:gd name="T81" fmla="*/ 30 h 178"/>
                    <a:gd name="T82" fmla="*/ 42 w 328"/>
                    <a:gd name="T83" fmla="*/ 36 h 178"/>
                    <a:gd name="T84" fmla="*/ 64 w 328"/>
                    <a:gd name="T85" fmla="*/ 34 h 178"/>
                    <a:gd name="T86" fmla="*/ 82 w 328"/>
                    <a:gd name="T87" fmla="*/ 52 h 178"/>
                    <a:gd name="T88" fmla="*/ 80 w 328"/>
                    <a:gd name="T89" fmla="*/ 26 h 178"/>
                    <a:gd name="T90" fmla="*/ 108 w 328"/>
                    <a:gd name="T91" fmla="*/ 30 h 178"/>
                    <a:gd name="T92" fmla="*/ 120 w 328"/>
                    <a:gd name="T93" fmla="*/ 40 h 178"/>
                    <a:gd name="T94" fmla="*/ 154 w 328"/>
                    <a:gd name="T95" fmla="*/ 56 h 178"/>
                    <a:gd name="T96" fmla="*/ 128 w 328"/>
                    <a:gd name="T97" fmla="*/ 64 h 178"/>
                    <a:gd name="T98" fmla="*/ 112 w 328"/>
                    <a:gd name="T99" fmla="*/ 86 h 178"/>
                    <a:gd name="T100" fmla="*/ 90 w 328"/>
                    <a:gd name="T101" fmla="*/ 110 h 178"/>
                    <a:gd name="T102" fmla="*/ 76 w 328"/>
                    <a:gd name="T103" fmla="*/ 110 h 178"/>
                    <a:gd name="T104" fmla="*/ 64 w 328"/>
                    <a:gd name="T105" fmla="*/ 104 h 178"/>
                    <a:gd name="T106" fmla="*/ 8 w 328"/>
                    <a:gd name="T107" fmla="*/ 64 h 178"/>
                    <a:gd name="T108" fmla="*/ 22 w 328"/>
                    <a:gd name="T109" fmla="*/ 70 h 178"/>
                    <a:gd name="T110" fmla="*/ 166 w 328"/>
                    <a:gd name="T111" fmla="*/ 64 h 178"/>
                    <a:gd name="T112" fmla="*/ 146 w 328"/>
                    <a:gd name="T113" fmla="*/ 74 h 178"/>
                    <a:gd name="T114" fmla="*/ 168 w 328"/>
                    <a:gd name="T115" fmla="*/ 92 h 178"/>
                    <a:gd name="T116" fmla="*/ 154 w 328"/>
                    <a:gd name="T117" fmla="*/ 86 h 178"/>
                    <a:gd name="T118" fmla="*/ 176 w 328"/>
                    <a:gd name="T119" fmla="*/ 74 h 178"/>
                    <a:gd name="T120" fmla="*/ 192 w 328"/>
                    <a:gd name="T121" fmla="*/ 82 h 178"/>
                    <a:gd name="T122" fmla="*/ 180 w 328"/>
                    <a:gd name="T123" fmla="*/ 96 h 1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328" h="178">
                      <a:moveTo>
                        <a:pt x="146" y="4"/>
                      </a:moveTo>
                      <a:lnTo>
                        <a:pt x="146" y="0"/>
                      </a:lnTo>
                      <a:lnTo>
                        <a:pt x="142" y="0"/>
                      </a:lnTo>
                      <a:lnTo>
                        <a:pt x="146" y="0"/>
                      </a:lnTo>
                      <a:lnTo>
                        <a:pt x="150" y="0"/>
                      </a:lnTo>
                      <a:lnTo>
                        <a:pt x="150" y="4"/>
                      </a:lnTo>
                      <a:lnTo>
                        <a:pt x="146" y="4"/>
                      </a:lnTo>
                      <a:lnTo>
                        <a:pt x="146" y="4"/>
                      </a:lnTo>
                      <a:lnTo>
                        <a:pt x="146" y="4"/>
                      </a:lnTo>
                      <a:close/>
                      <a:moveTo>
                        <a:pt x="150" y="4"/>
                      </a:moveTo>
                      <a:lnTo>
                        <a:pt x="154" y="0"/>
                      </a:lnTo>
                      <a:lnTo>
                        <a:pt x="154" y="4"/>
                      </a:lnTo>
                      <a:lnTo>
                        <a:pt x="150" y="4"/>
                      </a:lnTo>
                      <a:lnTo>
                        <a:pt x="150" y="4"/>
                      </a:lnTo>
                      <a:lnTo>
                        <a:pt x="150" y="4"/>
                      </a:lnTo>
                      <a:close/>
                      <a:moveTo>
                        <a:pt x="136" y="6"/>
                      </a:moveTo>
                      <a:lnTo>
                        <a:pt x="132" y="6"/>
                      </a:lnTo>
                      <a:lnTo>
                        <a:pt x="136" y="6"/>
                      </a:lnTo>
                      <a:lnTo>
                        <a:pt x="136" y="6"/>
                      </a:lnTo>
                      <a:lnTo>
                        <a:pt x="136" y="6"/>
                      </a:lnTo>
                      <a:close/>
                      <a:moveTo>
                        <a:pt x="196" y="10"/>
                      </a:moveTo>
                      <a:lnTo>
                        <a:pt x="196" y="6"/>
                      </a:lnTo>
                      <a:lnTo>
                        <a:pt x="196" y="10"/>
                      </a:lnTo>
                      <a:lnTo>
                        <a:pt x="198" y="10"/>
                      </a:lnTo>
                      <a:lnTo>
                        <a:pt x="196" y="10"/>
                      </a:lnTo>
                      <a:lnTo>
                        <a:pt x="196" y="10"/>
                      </a:lnTo>
                      <a:lnTo>
                        <a:pt x="196" y="10"/>
                      </a:lnTo>
                      <a:close/>
                      <a:moveTo>
                        <a:pt x="112" y="14"/>
                      </a:moveTo>
                      <a:lnTo>
                        <a:pt x="108" y="14"/>
                      </a:lnTo>
                      <a:lnTo>
                        <a:pt x="108" y="10"/>
                      </a:lnTo>
                      <a:lnTo>
                        <a:pt x="112" y="10"/>
                      </a:lnTo>
                      <a:lnTo>
                        <a:pt x="116" y="10"/>
                      </a:lnTo>
                      <a:lnTo>
                        <a:pt x="116" y="14"/>
                      </a:lnTo>
                      <a:lnTo>
                        <a:pt x="112" y="14"/>
                      </a:lnTo>
                      <a:lnTo>
                        <a:pt x="112" y="14"/>
                      </a:lnTo>
                      <a:lnTo>
                        <a:pt x="112" y="14"/>
                      </a:lnTo>
                      <a:close/>
                      <a:moveTo>
                        <a:pt x="298" y="18"/>
                      </a:moveTo>
                      <a:lnTo>
                        <a:pt x="296" y="18"/>
                      </a:lnTo>
                      <a:lnTo>
                        <a:pt x="298" y="18"/>
                      </a:lnTo>
                      <a:lnTo>
                        <a:pt x="302" y="18"/>
                      </a:lnTo>
                      <a:lnTo>
                        <a:pt x="306" y="18"/>
                      </a:lnTo>
                      <a:lnTo>
                        <a:pt x="310" y="18"/>
                      </a:lnTo>
                      <a:lnTo>
                        <a:pt x="314" y="18"/>
                      </a:lnTo>
                      <a:lnTo>
                        <a:pt x="318" y="18"/>
                      </a:lnTo>
                      <a:lnTo>
                        <a:pt x="318" y="14"/>
                      </a:lnTo>
                      <a:lnTo>
                        <a:pt x="322" y="14"/>
                      </a:lnTo>
                      <a:lnTo>
                        <a:pt x="326" y="14"/>
                      </a:lnTo>
                      <a:lnTo>
                        <a:pt x="328" y="14"/>
                      </a:lnTo>
                      <a:lnTo>
                        <a:pt x="326" y="14"/>
                      </a:lnTo>
                      <a:lnTo>
                        <a:pt x="326" y="18"/>
                      </a:lnTo>
                      <a:lnTo>
                        <a:pt x="322" y="18"/>
                      </a:lnTo>
                      <a:lnTo>
                        <a:pt x="318" y="18"/>
                      </a:lnTo>
                      <a:lnTo>
                        <a:pt x="314" y="18"/>
                      </a:lnTo>
                      <a:lnTo>
                        <a:pt x="310" y="18"/>
                      </a:lnTo>
                      <a:lnTo>
                        <a:pt x="306" y="18"/>
                      </a:lnTo>
                      <a:lnTo>
                        <a:pt x="298" y="18"/>
                      </a:lnTo>
                      <a:lnTo>
                        <a:pt x="298" y="18"/>
                      </a:lnTo>
                      <a:lnTo>
                        <a:pt x="298" y="18"/>
                      </a:lnTo>
                      <a:close/>
                      <a:moveTo>
                        <a:pt x="248" y="18"/>
                      </a:moveTo>
                      <a:lnTo>
                        <a:pt x="250" y="18"/>
                      </a:lnTo>
                      <a:lnTo>
                        <a:pt x="248" y="18"/>
                      </a:lnTo>
                      <a:lnTo>
                        <a:pt x="244" y="18"/>
                      </a:lnTo>
                      <a:lnTo>
                        <a:pt x="248" y="18"/>
                      </a:lnTo>
                      <a:lnTo>
                        <a:pt x="248" y="18"/>
                      </a:lnTo>
                      <a:lnTo>
                        <a:pt x="248" y="18"/>
                      </a:lnTo>
                      <a:close/>
                      <a:moveTo>
                        <a:pt x="8" y="30"/>
                      </a:moveTo>
                      <a:lnTo>
                        <a:pt x="4" y="30"/>
                      </a:lnTo>
                      <a:lnTo>
                        <a:pt x="0" y="30"/>
                      </a:lnTo>
                      <a:lnTo>
                        <a:pt x="4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close/>
                      <a:moveTo>
                        <a:pt x="4" y="34"/>
                      </a:moveTo>
                      <a:lnTo>
                        <a:pt x="4" y="30"/>
                      </a:lnTo>
                      <a:lnTo>
                        <a:pt x="8" y="30"/>
                      </a:lnTo>
                      <a:lnTo>
                        <a:pt x="8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close/>
                      <a:moveTo>
                        <a:pt x="136" y="40"/>
                      </a:moveTo>
                      <a:lnTo>
                        <a:pt x="132" y="40"/>
                      </a:lnTo>
                      <a:lnTo>
                        <a:pt x="128" y="40"/>
                      </a:lnTo>
                      <a:lnTo>
                        <a:pt x="132" y="40"/>
                      </a:lnTo>
                      <a:lnTo>
                        <a:pt x="136" y="40"/>
                      </a:lnTo>
                      <a:lnTo>
                        <a:pt x="138" y="40"/>
                      </a:lnTo>
                      <a:lnTo>
                        <a:pt x="136" y="40"/>
                      </a:lnTo>
                      <a:lnTo>
                        <a:pt x="136" y="40"/>
                      </a:lnTo>
                      <a:lnTo>
                        <a:pt x="136" y="40"/>
                      </a:lnTo>
                      <a:close/>
                      <a:moveTo>
                        <a:pt x="138" y="52"/>
                      </a:moveTo>
                      <a:lnTo>
                        <a:pt x="136" y="52"/>
                      </a:lnTo>
                      <a:lnTo>
                        <a:pt x="136" y="48"/>
                      </a:lnTo>
                      <a:lnTo>
                        <a:pt x="138" y="48"/>
                      </a:lnTo>
                      <a:lnTo>
                        <a:pt x="142" y="48"/>
                      </a:lnTo>
                      <a:lnTo>
                        <a:pt x="146" y="48"/>
                      </a:lnTo>
                      <a:lnTo>
                        <a:pt x="146" y="52"/>
                      </a:lnTo>
                      <a:lnTo>
                        <a:pt x="142" y="52"/>
                      </a:lnTo>
                      <a:lnTo>
                        <a:pt x="138" y="52"/>
                      </a:lnTo>
                      <a:lnTo>
                        <a:pt x="138" y="52"/>
                      </a:lnTo>
                      <a:lnTo>
                        <a:pt x="138" y="52"/>
                      </a:lnTo>
                      <a:close/>
                      <a:moveTo>
                        <a:pt x="250" y="56"/>
                      </a:moveTo>
                      <a:lnTo>
                        <a:pt x="248" y="56"/>
                      </a:lnTo>
                      <a:lnTo>
                        <a:pt x="250" y="52"/>
                      </a:lnTo>
                      <a:lnTo>
                        <a:pt x="254" y="52"/>
                      </a:lnTo>
                      <a:lnTo>
                        <a:pt x="258" y="52"/>
                      </a:lnTo>
                      <a:lnTo>
                        <a:pt x="262" y="52"/>
                      </a:lnTo>
                      <a:lnTo>
                        <a:pt x="262" y="56"/>
                      </a:lnTo>
                      <a:lnTo>
                        <a:pt x="266" y="56"/>
                      </a:lnTo>
                      <a:lnTo>
                        <a:pt x="268" y="56"/>
                      </a:lnTo>
                      <a:lnTo>
                        <a:pt x="268" y="52"/>
                      </a:lnTo>
                      <a:lnTo>
                        <a:pt x="272" y="52"/>
                      </a:lnTo>
                      <a:lnTo>
                        <a:pt x="272" y="56"/>
                      </a:lnTo>
                      <a:lnTo>
                        <a:pt x="268" y="56"/>
                      </a:lnTo>
                      <a:lnTo>
                        <a:pt x="266" y="56"/>
                      </a:lnTo>
                      <a:lnTo>
                        <a:pt x="262" y="56"/>
                      </a:lnTo>
                      <a:lnTo>
                        <a:pt x="258" y="56"/>
                      </a:lnTo>
                      <a:lnTo>
                        <a:pt x="254" y="56"/>
                      </a:lnTo>
                      <a:lnTo>
                        <a:pt x="250" y="56"/>
                      </a:lnTo>
                      <a:lnTo>
                        <a:pt x="250" y="56"/>
                      </a:lnTo>
                      <a:lnTo>
                        <a:pt x="250" y="56"/>
                      </a:lnTo>
                      <a:close/>
                      <a:moveTo>
                        <a:pt x="228" y="64"/>
                      </a:moveTo>
                      <a:lnTo>
                        <a:pt x="228" y="60"/>
                      </a:lnTo>
                      <a:lnTo>
                        <a:pt x="224" y="60"/>
                      </a:lnTo>
                      <a:lnTo>
                        <a:pt x="224" y="56"/>
                      </a:lnTo>
                      <a:lnTo>
                        <a:pt x="228" y="56"/>
                      </a:lnTo>
                      <a:lnTo>
                        <a:pt x="228" y="60"/>
                      </a:lnTo>
                      <a:lnTo>
                        <a:pt x="232" y="60"/>
                      </a:lnTo>
                      <a:lnTo>
                        <a:pt x="236" y="60"/>
                      </a:lnTo>
                      <a:lnTo>
                        <a:pt x="232" y="60"/>
                      </a:lnTo>
                      <a:lnTo>
                        <a:pt x="232" y="64"/>
                      </a:lnTo>
                      <a:lnTo>
                        <a:pt x="228" y="64"/>
                      </a:lnTo>
                      <a:lnTo>
                        <a:pt x="228" y="64"/>
                      </a:lnTo>
                      <a:lnTo>
                        <a:pt x="228" y="64"/>
                      </a:lnTo>
                      <a:close/>
                      <a:moveTo>
                        <a:pt x="206" y="122"/>
                      </a:moveTo>
                      <a:lnTo>
                        <a:pt x="206" y="118"/>
                      </a:lnTo>
                      <a:lnTo>
                        <a:pt x="210" y="118"/>
                      </a:lnTo>
                      <a:lnTo>
                        <a:pt x="210" y="114"/>
                      </a:lnTo>
                      <a:lnTo>
                        <a:pt x="214" y="114"/>
                      </a:lnTo>
                      <a:lnTo>
                        <a:pt x="210" y="118"/>
                      </a:lnTo>
                      <a:lnTo>
                        <a:pt x="206" y="122"/>
                      </a:lnTo>
                      <a:lnTo>
                        <a:pt x="206" y="122"/>
                      </a:lnTo>
                      <a:lnTo>
                        <a:pt x="206" y="122"/>
                      </a:lnTo>
                      <a:close/>
                      <a:moveTo>
                        <a:pt x="120" y="178"/>
                      </a:moveTo>
                      <a:lnTo>
                        <a:pt x="116" y="174"/>
                      </a:lnTo>
                      <a:lnTo>
                        <a:pt x="120" y="174"/>
                      </a:lnTo>
                      <a:lnTo>
                        <a:pt x="124" y="174"/>
                      </a:lnTo>
                      <a:lnTo>
                        <a:pt x="124" y="178"/>
                      </a:lnTo>
                      <a:lnTo>
                        <a:pt x="120" y="178"/>
                      </a:lnTo>
                      <a:lnTo>
                        <a:pt x="120" y="178"/>
                      </a:lnTo>
                      <a:lnTo>
                        <a:pt x="120" y="178"/>
                      </a:lnTo>
                      <a:close/>
                      <a:moveTo>
                        <a:pt x="236" y="22"/>
                      </a:moveTo>
                      <a:lnTo>
                        <a:pt x="236" y="26"/>
                      </a:lnTo>
                      <a:lnTo>
                        <a:pt x="232" y="26"/>
                      </a:lnTo>
                      <a:lnTo>
                        <a:pt x="232" y="30"/>
                      </a:lnTo>
                      <a:lnTo>
                        <a:pt x="228" y="30"/>
                      </a:lnTo>
                      <a:lnTo>
                        <a:pt x="224" y="30"/>
                      </a:lnTo>
                      <a:lnTo>
                        <a:pt x="222" y="34"/>
                      </a:lnTo>
                      <a:lnTo>
                        <a:pt x="218" y="34"/>
                      </a:lnTo>
                      <a:lnTo>
                        <a:pt x="218" y="36"/>
                      </a:lnTo>
                      <a:lnTo>
                        <a:pt x="222" y="36"/>
                      </a:lnTo>
                      <a:lnTo>
                        <a:pt x="218" y="36"/>
                      </a:lnTo>
                      <a:lnTo>
                        <a:pt x="218" y="40"/>
                      </a:lnTo>
                      <a:lnTo>
                        <a:pt x="214" y="40"/>
                      </a:lnTo>
                      <a:lnTo>
                        <a:pt x="210" y="40"/>
                      </a:lnTo>
                      <a:lnTo>
                        <a:pt x="206" y="40"/>
                      </a:lnTo>
                      <a:lnTo>
                        <a:pt x="202" y="40"/>
                      </a:lnTo>
                      <a:lnTo>
                        <a:pt x="198" y="40"/>
                      </a:lnTo>
                      <a:lnTo>
                        <a:pt x="196" y="40"/>
                      </a:lnTo>
                      <a:lnTo>
                        <a:pt x="196" y="44"/>
                      </a:lnTo>
                      <a:lnTo>
                        <a:pt x="192" y="44"/>
                      </a:lnTo>
                      <a:lnTo>
                        <a:pt x="188" y="44"/>
                      </a:lnTo>
                      <a:lnTo>
                        <a:pt x="184" y="44"/>
                      </a:lnTo>
                      <a:lnTo>
                        <a:pt x="180" y="44"/>
                      </a:lnTo>
                      <a:lnTo>
                        <a:pt x="176" y="44"/>
                      </a:lnTo>
                      <a:lnTo>
                        <a:pt x="172" y="44"/>
                      </a:lnTo>
                      <a:lnTo>
                        <a:pt x="172" y="40"/>
                      </a:lnTo>
                      <a:lnTo>
                        <a:pt x="176" y="40"/>
                      </a:lnTo>
                      <a:lnTo>
                        <a:pt x="172" y="40"/>
                      </a:lnTo>
                      <a:lnTo>
                        <a:pt x="168" y="40"/>
                      </a:lnTo>
                      <a:lnTo>
                        <a:pt x="166" y="40"/>
                      </a:lnTo>
                      <a:lnTo>
                        <a:pt x="162" y="40"/>
                      </a:lnTo>
                      <a:lnTo>
                        <a:pt x="158" y="40"/>
                      </a:lnTo>
                      <a:lnTo>
                        <a:pt x="154" y="40"/>
                      </a:lnTo>
                      <a:lnTo>
                        <a:pt x="150" y="40"/>
                      </a:lnTo>
                      <a:lnTo>
                        <a:pt x="146" y="40"/>
                      </a:lnTo>
                      <a:lnTo>
                        <a:pt x="146" y="36"/>
                      </a:lnTo>
                      <a:lnTo>
                        <a:pt x="142" y="36"/>
                      </a:lnTo>
                      <a:lnTo>
                        <a:pt x="138" y="36"/>
                      </a:lnTo>
                      <a:lnTo>
                        <a:pt x="136" y="36"/>
                      </a:lnTo>
                      <a:lnTo>
                        <a:pt x="132" y="36"/>
                      </a:lnTo>
                      <a:lnTo>
                        <a:pt x="132" y="34"/>
                      </a:lnTo>
                      <a:lnTo>
                        <a:pt x="136" y="34"/>
                      </a:lnTo>
                      <a:lnTo>
                        <a:pt x="138" y="34"/>
                      </a:lnTo>
                      <a:lnTo>
                        <a:pt x="142" y="34"/>
                      </a:lnTo>
                      <a:lnTo>
                        <a:pt x="146" y="34"/>
                      </a:lnTo>
                      <a:lnTo>
                        <a:pt x="150" y="34"/>
                      </a:lnTo>
                      <a:lnTo>
                        <a:pt x="146" y="34"/>
                      </a:lnTo>
                      <a:lnTo>
                        <a:pt x="142" y="34"/>
                      </a:lnTo>
                      <a:lnTo>
                        <a:pt x="150" y="30"/>
                      </a:lnTo>
                      <a:lnTo>
                        <a:pt x="154" y="30"/>
                      </a:lnTo>
                      <a:lnTo>
                        <a:pt x="158" y="30"/>
                      </a:lnTo>
                      <a:lnTo>
                        <a:pt x="162" y="30"/>
                      </a:lnTo>
                      <a:lnTo>
                        <a:pt x="166" y="30"/>
                      </a:lnTo>
                      <a:lnTo>
                        <a:pt x="168" y="30"/>
                      </a:lnTo>
                      <a:lnTo>
                        <a:pt x="166" y="30"/>
                      </a:lnTo>
                      <a:lnTo>
                        <a:pt x="162" y="30"/>
                      </a:lnTo>
                      <a:lnTo>
                        <a:pt x="158" y="30"/>
                      </a:lnTo>
                      <a:lnTo>
                        <a:pt x="162" y="30"/>
                      </a:lnTo>
                      <a:lnTo>
                        <a:pt x="162" y="26"/>
                      </a:lnTo>
                      <a:lnTo>
                        <a:pt x="158" y="26"/>
                      </a:lnTo>
                      <a:lnTo>
                        <a:pt x="154" y="26"/>
                      </a:lnTo>
                      <a:lnTo>
                        <a:pt x="150" y="26"/>
                      </a:lnTo>
                      <a:lnTo>
                        <a:pt x="146" y="30"/>
                      </a:lnTo>
                      <a:lnTo>
                        <a:pt x="142" y="30"/>
                      </a:lnTo>
                      <a:lnTo>
                        <a:pt x="138" y="30"/>
                      </a:lnTo>
                      <a:lnTo>
                        <a:pt x="136" y="30"/>
                      </a:lnTo>
                      <a:lnTo>
                        <a:pt x="128" y="30"/>
                      </a:lnTo>
                      <a:lnTo>
                        <a:pt x="120" y="30"/>
                      </a:lnTo>
                      <a:lnTo>
                        <a:pt x="116" y="30"/>
                      </a:lnTo>
                      <a:lnTo>
                        <a:pt x="112" y="30"/>
                      </a:lnTo>
                      <a:lnTo>
                        <a:pt x="108" y="26"/>
                      </a:lnTo>
                      <a:lnTo>
                        <a:pt x="112" y="22"/>
                      </a:lnTo>
                      <a:lnTo>
                        <a:pt x="116" y="22"/>
                      </a:lnTo>
                      <a:lnTo>
                        <a:pt x="112" y="22"/>
                      </a:lnTo>
                      <a:lnTo>
                        <a:pt x="108" y="22"/>
                      </a:lnTo>
                      <a:lnTo>
                        <a:pt x="108" y="18"/>
                      </a:lnTo>
                      <a:lnTo>
                        <a:pt x="108" y="22"/>
                      </a:lnTo>
                      <a:lnTo>
                        <a:pt x="112" y="18"/>
                      </a:lnTo>
                      <a:lnTo>
                        <a:pt x="108" y="18"/>
                      </a:lnTo>
                      <a:lnTo>
                        <a:pt x="106" y="18"/>
                      </a:lnTo>
                      <a:lnTo>
                        <a:pt x="108" y="18"/>
                      </a:lnTo>
                      <a:lnTo>
                        <a:pt x="112" y="18"/>
                      </a:lnTo>
                      <a:lnTo>
                        <a:pt x="116" y="18"/>
                      </a:lnTo>
                      <a:lnTo>
                        <a:pt x="120" y="18"/>
                      </a:lnTo>
                      <a:lnTo>
                        <a:pt x="124" y="18"/>
                      </a:lnTo>
                      <a:lnTo>
                        <a:pt x="128" y="18"/>
                      </a:lnTo>
                      <a:lnTo>
                        <a:pt x="124" y="18"/>
                      </a:lnTo>
                      <a:lnTo>
                        <a:pt x="124" y="14"/>
                      </a:lnTo>
                      <a:lnTo>
                        <a:pt x="120" y="14"/>
                      </a:lnTo>
                      <a:lnTo>
                        <a:pt x="120" y="10"/>
                      </a:lnTo>
                      <a:lnTo>
                        <a:pt x="124" y="10"/>
                      </a:lnTo>
                      <a:lnTo>
                        <a:pt x="128" y="14"/>
                      </a:lnTo>
                      <a:lnTo>
                        <a:pt x="132" y="14"/>
                      </a:lnTo>
                      <a:lnTo>
                        <a:pt x="132" y="10"/>
                      </a:lnTo>
                      <a:lnTo>
                        <a:pt x="136" y="10"/>
                      </a:lnTo>
                      <a:lnTo>
                        <a:pt x="132" y="10"/>
                      </a:lnTo>
                      <a:lnTo>
                        <a:pt x="128" y="10"/>
                      </a:lnTo>
                      <a:lnTo>
                        <a:pt x="128" y="6"/>
                      </a:lnTo>
                      <a:lnTo>
                        <a:pt x="132" y="6"/>
                      </a:lnTo>
                      <a:lnTo>
                        <a:pt x="136" y="6"/>
                      </a:lnTo>
                      <a:lnTo>
                        <a:pt x="136" y="10"/>
                      </a:lnTo>
                      <a:lnTo>
                        <a:pt x="138" y="10"/>
                      </a:lnTo>
                      <a:lnTo>
                        <a:pt x="142" y="10"/>
                      </a:lnTo>
                      <a:lnTo>
                        <a:pt x="142" y="14"/>
                      </a:lnTo>
                      <a:lnTo>
                        <a:pt x="146" y="14"/>
                      </a:lnTo>
                      <a:lnTo>
                        <a:pt x="150" y="14"/>
                      </a:lnTo>
                      <a:lnTo>
                        <a:pt x="154" y="14"/>
                      </a:lnTo>
                      <a:lnTo>
                        <a:pt x="158" y="14"/>
                      </a:lnTo>
                      <a:lnTo>
                        <a:pt x="162" y="14"/>
                      </a:lnTo>
                      <a:lnTo>
                        <a:pt x="162" y="18"/>
                      </a:lnTo>
                      <a:lnTo>
                        <a:pt x="158" y="18"/>
                      </a:lnTo>
                      <a:lnTo>
                        <a:pt x="162" y="18"/>
                      </a:lnTo>
                      <a:lnTo>
                        <a:pt x="166" y="18"/>
                      </a:lnTo>
                      <a:lnTo>
                        <a:pt x="166" y="22"/>
                      </a:lnTo>
                      <a:lnTo>
                        <a:pt x="168" y="22"/>
                      </a:lnTo>
                      <a:lnTo>
                        <a:pt x="168" y="18"/>
                      </a:lnTo>
                      <a:lnTo>
                        <a:pt x="168" y="14"/>
                      </a:lnTo>
                      <a:lnTo>
                        <a:pt x="172" y="14"/>
                      </a:lnTo>
                      <a:lnTo>
                        <a:pt x="168" y="14"/>
                      </a:lnTo>
                      <a:lnTo>
                        <a:pt x="168" y="10"/>
                      </a:lnTo>
                      <a:lnTo>
                        <a:pt x="172" y="10"/>
                      </a:lnTo>
                      <a:lnTo>
                        <a:pt x="172" y="14"/>
                      </a:lnTo>
                      <a:lnTo>
                        <a:pt x="176" y="10"/>
                      </a:lnTo>
                      <a:lnTo>
                        <a:pt x="176" y="6"/>
                      </a:lnTo>
                      <a:lnTo>
                        <a:pt x="180" y="6"/>
                      </a:lnTo>
                      <a:lnTo>
                        <a:pt x="180" y="10"/>
                      </a:lnTo>
                      <a:lnTo>
                        <a:pt x="184" y="10"/>
                      </a:lnTo>
                      <a:lnTo>
                        <a:pt x="180" y="10"/>
                      </a:lnTo>
                      <a:lnTo>
                        <a:pt x="184" y="10"/>
                      </a:lnTo>
                      <a:lnTo>
                        <a:pt x="180" y="14"/>
                      </a:lnTo>
                      <a:lnTo>
                        <a:pt x="176" y="14"/>
                      </a:lnTo>
                      <a:lnTo>
                        <a:pt x="176" y="18"/>
                      </a:lnTo>
                      <a:lnTo>
                        <a:pt x="180" y="18"/>
                      </a:lnTo>
                      <a:lnTo>
                        <a:pt x="184" y="14"/>
                      </a:lnTo>
                      <a:lnTo>
                        <a:pt x="184" y="18"/>
                      </a:lnTo>
                      <a:lnTo>
                        <a:pt x="188" y="18"/>
                      </a:lnTo>
                      <a:lnTo>
                        <a:pt x="188" y="14"/>
                      </a:lnTo>
                      <a:lnTo>
                        <a:pt x="192" y="14"/>
                      </a:lnTo>
                      <a:lnTo>
                        <a:pt x="196" y="14"/>
                      </a:lnTo>
                      <a:lnTo>
                        <a:pt x="198" y="14"/>
                      </a:lnTo>
                      <a:lnTo>
                        <a:pt x="196" y="10"/>
                      </a:lnTo>
                      <a:lnTo>
                        <a:pt x="198" y="10"/>
                      </a:lnTo>
                      <a:lnTo>
                        <a:pt x="198" y="14"/>
                      </a:lnTo>
                      <a:lnTo>
                        <a:pt x="202" y="14"/>
                      </a:lnTo>
                      <a:lnTo>
                        <a:pt x="202" y="10"/>
                      </a:lnTo>
                      <a:lnTo>
                        <a:pt x="202" y="14"/>
                      </a:lnTo>
                      <a:lnTo>
                        <a:pt x="206" y="14"/>
                      </a:lnTo>
                      <a:lnTo>
                        <a:pt x="210" y="14"/>
                      </a:lnTo>
                      <a:lnTo>
                        <a:pt x="214" y="14"/>
                      </a:lnTo>
                      <a:lnTo>
                        <a:pt x="218" y="14"/>
                      </a:lnTo>
                      <a:lnTo>
                        <a:pt x="218" y="18"/>
                      </a:lnTo>
                      <a:lnTo>
                        <a:pt x="222" y="18"/>
                      </a:lnTo>
                      <a:lnTo>
                        <a:pt x="224" y="18"/>
                      </a:lnTo>
                      <a:lnTo>
                        <a:pt x="228" y="18"/>
                      </a:lnTo>
                      <a:lnTo>
                        <a:pt x="232" y="18"/>
                      </a:lnTo>
                      <a:lnTo>
                        <a:pt x="236" y="18"/>
                      </a:lnTo>
                      <a:lnTo>
                        <a:pt x="236" y="22"/>
                      </a:lnTo>
                      <a:lnTo>
                        <a:pt x="236" y="22"/>
                      </a:lnTo>
                      <a:lnTo>
                        <a:pt x="236" y="22"/>
                      </a:lnTo>
                      <a:close/>
                      <a:moveTo>
                        <a:pt x="56" y="104"/>
                      </a:moveTo>
                      <a:lnTo>
                        <a:pt x="52" y="100"/>
                      </a:lnTo>
                      <a:lnTo>
                        <a:pt x="52" y="96"/>
                      </a:lnTo>
                      <a:lnTo>
                        <a:pt x="50" y="96"/>
                      </a:lnTo>
                      <a:lnTo>
                        <a:pt x="50" y="92"/>
                      </a:lnTo>
                      <a:lnTo>
                        <a:pt x="52" y="92"/>
                      </a:lnTo>
                      <a:lnTo>
                        <a:pt x="56" y="92"/>
                      </a:lnTo>
                      <a:lnTo>
                        <a:pt x="60" y="92"/>
                      </a:lnTo>
                      <a:lnTo>
                        <a:pt x="64" y="92"/>
                      </a:lnTo>
                      <a:lnTo>
                        <a:pt x="68" y="92"/>
                      </a:lnTo>
                      <a:lnTo>
                        <a:pt x="72" y="92"/>
                      </a:lnTo>
                      <a:lnTo>
                        <a:pt x="76" y="92"/>
                      </a:lnTo>
                      <a:lnTo>
                        <a:pt x="80" y="92"/>
                      </a:lnTo>
                      <a:lnTo>
                        <a:pt x="80" y="96"/>
                      </a:lnTo>
                      <a:lnTo>
                        <a:pt x="82" y="96"/>
                      </a:lnTo>
                      <a:lnTo>
                        <a:pt x="82" y="92"/>
                      </a:lnTo>
                      <a:lnTo>
                        <a:pt x="80" y="92"/>
                      </a:lnTo>
                      <a:lnTo>
                        <a:pt x="76" y="92"/>
                      </a:lnTo>
                      <a:lnTo>
                        <a:pt x="72" y="92"/>
                      </a:lnTo>
                      <a:lnTo>
                        <a:pt x="68" y="88"/>
                      </a:lnTo>
                      <a:lnTo>
                        <a:pt x="64" y="88"/>
                      </a:lnTo>
                      <a:lnTo>
                        <a:pt x="60" y="88"/>
                      </a:lnTo>
                      <a:lnTo>
                        <a:pt x="64" y="88"/>
                      </a:lnTo>
                      <a:lnTo>
                        <a:pt x="68" y="88"/>
                      </a:lnTo>
                      <a:lnTo>
                        <a:pt x="72" y="86"/>
                      </a:lnTo>
                      <a:lnTo>
                        <a:pt x="76" y="86"/>
                      </a:lnTo>
                      <a:lnTo>
                        <a:pt x="80" y="86"/>
                      </a:lnTo>
                      <a:lnTo>
                        <a:pt x="82" y="86"/>
                      </a:lnTo>
                      <a:lnTo>
                        <a:pt x="86" y="86"/>
                      </a:lnTo>
                      <a:lnTo>
                        <a:pt x="90" y="86"/>
                      </a:lnTo>
                      <a:lnTo>
                        <a:pt x="90" y="82"/>
                      </a:lnTo>
                      <a:lnTo>
                        <a:pt x="94" y="82"/>
                      </a:lnTo>
                      <a:lnTo>
                        <a:pt x="90" y="82"/>
                      </a:lnTo>
                      <a:lnTo>
                        <a:pt x="86" y="82"/>
                      </a:lnTo>
                      <a:lnTo>
                        <a:pt x="86" y="86"/>
                      </a:lnTo>
                      <a:lnTo>
                        <a:pt x="82" y="86"/>
                      </a:lnTo>
                      <a:lnTo>
                        <a:pt x="80" y="86"/>
                      </a:lnTo>
                      <a:lnTo>
                        <a:pt x="76" y="86"/>
                      </a:lnTo>
                      <a:lnTo>
                        <a:pt x="72" y="82"/>
                      </a:lnTo>
                      <a:lnTo>
                        <a:pt x="68" y="82"/>
                      </a:lnTo>
                      <a:lnTo>
                        <a:pt x="68" y="86"/>
                      </a:lnTo>
                      <a:lnTo>
                        <a:pt x="64" y="86"/>
                      </a:lnTo>
                      <a:lnTo>
                        <a:pt x="60" y="86"/>
                      </a:lnTo>
                      <a:lnTo>
                        <a:pt x="56" y="86"/>
                      </a:lnTo>
                      <a:lnTo>
                        <a:pt x="52" y="86"/>
                      </a:lnTo>
                      <a:lnTo>
                        <a:pt x="50" y="86"/>
                      </a:lnTo>
                      <a:lnTo>
                        <a:pt x="50" y="88"/>
                      </a:lnTo>
                      <a:lnTo>
                        <a:pt x="46" y="86"/>
                      </a:lnTo>
                      <a:lnTo>
                        <a:pt x="46" y="82"/>
                      </a:lnTo>
                      <a:lnTo>
                        <a:pt x="46" y="78"/>
                      </a:lnTo>
                      <a:lnTo>
                        <a:pt x="50" y="78"/>
                      </a:lnTo>
                      <a:lnTo>
                        <a:pt x="52" y="78"/>
                      </a:lnTo>
                      <a:lnTo>
                        <a:pt x="52" y="82"/>
                      </a:lnTo>
                      <a:lnTo>
                        <a:pt x="56" y="82"/>
                      </a:lnTo>
                      <a:lnTo>
                        <a:pt x="52" y="78"/>
                      </a:lnTo>
                      <a:lnTo>
                        <a:pt x="56" y="78"/>
                      </a:lnTo>
                      <a:lnTo>
                        <a:pt x="60" y="78"/>
                      </a:lnTo>
                      <a:lnTo>
                        <a:pt x="64" y="78"/>
                      </a:lnTo>
                      <a:lnTo>
                        <a:pt x="64" y="74"/>
                      </a:lnTo>
                      <a:lnTo>
                        <a:pt x="68" y="74"/>
                      </a:lnTo>
                      <a:lnTo>
                        <a:pt x="72" y="74"/>
                      </a:lnTo>
                      <a:lnTo>
                        <a:pt x="76" y="74"/>
                      </a:lnTo>
                      <a:lnTo>
                        <a:pt x="72" y="70"/>
                      </a:lnTo>
                      <a:lnTo>
                        <a:pt x="76" y="70"/>
                      </a:lnTo>
                      <a:lnTo>
                        <a:pt x="80" y="70"/>
                      </a:lnTo>
                      <a:lnTo>
                        <a:pt x="82" y="70"/>
                      </a:lnTo>
                      <a:lnTo>
                        <a:pt x="86" y="70"/>
                      </a:lnTo>
                      <a:lnTo>
                        <a:pt x="90" y="70"/>
                      </a:lnTo>
                      <a:lnTo>
                        <a:pt x="94" y="70"/>
                      </a:lnTo>
                      <a:lnTo>
                        <a:pt x="98" y="66"/>
                      </a:lnTo>
                      <a:lnTo>
                        <a:pt x="94" y="66"/>
                      </a:lnTo>
                      <a:lnTo>
                        <a:pt x="90" y="66"/>
                      </a:lnTo>
                      <a:lnTo>
                        <a:pt x="90" y="70"/>
                      </a:lnTo>
                      <a:lnTo>
                        <a:pt x="90" y="66"/>
                      </a:lnTo>
                      <a:lnTo>
                        <a:pt x="86" y="66"/>
                      </a:lnTo>
                      <a:lnTo>
                        <a:pt x="82" y="66"/>
                      </a:lnTo>
                      <a:lnTo>
                        <a:pt x="82" y="64"/>
                      </a:lnTo>
                      <a:lnTo>
                        <a:pt x="86" y="64"/>
                      </a:lnTo>
                      <a:lnTo>
                        <a:pt x="90" y="64"/>
                      </a:lnTo>
                      <a:lnTo>
                        <a:pt x="90" y="60"/>
                      </a:lnTo>
                      <a:lnTo>
                        <a:pt x="86" y="60"/>
                      </a:lnTo>
                      <a:lnTo>
                        <a:pt x="82" y="60"/>
                      </a:lnTo>
                      <a:lnTo>
                        <a:pt x="82" y="64"/>
                      </a:lnTo>
                      <a:lnTo>
                        <a:pt x="80" y="64"/>
                      </a:lnTo>
                      <a:lnTo>
                        <a:pt x="80" y="66"/>
                      </a:lnTo>
                      <a:lnTo>
                        <a:pt x="76" y="66"/>
                      </a:lnTo>
                      <a:lnTo>
                        <a:pt x="72" y="66"/>
                      </a:lnTo>
                      <a:lnTo>
                        <a:pt x="68" y="66"/>
                      </a:lnTo>
                      <a:lnTo>
                        <a:pt x="68" y="64"/>
                      </a:lnTo>
                      <a:lnTo>
                        <a:pt x="72" y="64"/>
                      </a:lnTo>
                      <a:lnTo>
                        <a:pt x="72" y="60"/>
                      </a:lnTo>
                      <a:lnTo>
                        <a:pt x="72" y="56"/>
                      </a:lnTo>
                      <a:lnTo>
                        <a:pt x="68" y="56"/>
                      </a:lnTo>
                      <a:lnTo>
                        <a:pt x="68" y="60"/>
                      </a:lnTo>
                      <a:lnTo>
                        <a:pt x="64" y="64"/>
                      </a:lnTo>
                      <a:lnTo>
                        <a:pt x="60" y="64"/>
                      </a:lnTo>
                      <a:lnTo>
                        <a:pt x="60" y="60"/>
                      </a:lnTo>
                      <a:lnTo>
                        <a:pt x="56" y="60"/>
                      </a:lnTo>
                      <a:lnTo>
                        <a:pt x="56" y="64"/>
                      </a:lnTo>
                      <a:lnTo>
                        <a:pt x="56" y="66"/>
                      </a:lnTo>
                      <a:lnTo>
                        <a:pt x="60" y="66"/>
                      </a:lnTo>
                      <a:lnTo>
                        <a:pt x="60" y="70"/>
                      </a:lnTo>
                      <a:lnTo>
                        <a:pt x="56" y="70"/>
                      </a:lnTo>
                      <a:lnTo>
                        <a:pt x="56" y="66"/>
                      </a:lnTo>
                      <a:lnTo>
                        <a:pt x="52" y="70"/>
                      </a:lnTo>
                      <a:lnTo>
                        <a:pt x="50" y="70"/>
                      </a:lnTo>
                      <a:lnTo>
                        <a:pt x="46" y="70"/>
                      </a:lnTo>
                      <a:lnTo>
                        <a:pt x="46" y="74"/>
                      </a:lnTo>
                      <a:lnTo>
                        <a:pt x="50" y="74"/>
                      </a:lnTo>
                      <a:lnTo>
                        <a:pt x="46" y="74"/>
                      </a:lnTo>
                      <a:lnTo>
                        <a:pt x="42" y="74"/>
                      </a:lnTo>
                      <a:lnTo>
                        <a:pt x="38" y="74"/>
                      </a:lnTo>
                      <a:lnTo>
                        <a:pt x="34" y="74"/>
                      </a:lnTo>
                      <a:lnTo>
                        <a:pt x="34" y="70"/>
                      </a:lnTo>
                      <a:lnTo>
                        <a:pt x="30" y="70"/>
                      </a:lnTo>
                      <a:lnTo>
                        <a:pt x="30" y="66"/>
                      </a:lnTo>
                      <a:lnTo>
                        <a:pt x="26" y="66"/>
                      </a:lnTo>
                      <a:lnTo>
                        <a:pt x="30" y="66"/>
                      </a:lnTo>
                      <a:lnTo>
                        <a:pt x="34" y="66"/>
                      </a:lnTo>
                      <a:lnTo>
                        <a:pt x="38" y="66"/>
                      </a:lnTo>
                      <a:lnTo>
                        <a:pt x="38" y="64"/>
                      </a:lnTo>
                      <a:lnTo>
                        <a:pt x="34" y="64"/>
                      </a:lnTo>
                      <a:lnTo>
                        <a:pt x="30" y="64"/>
                      </a:lnTo>
                      <a:lnTo>
                        <a:pt x="26" y="64"/>
                      </a:lnTo>
                      <a:lnTo>
                        <a:pt x="22" y="64"/>
                      </a:lnTo>
                      <a:lnTo>
                        <a:pt x="20" y="64"/>
                      </a:lnTo>
                      <a:lnTo>
                        <a:pt x="16" y="60"/>
                      </a:lnTo>
                      <a:lnTo>
                        <a:pt x="16" y="56"/>
                      </a:lnTo>
                      <a:lnTo>
                        <a:pt x="20" y="56"/>
                      </a:lnTo>
                      <a:lnTo>
                        <a:pt x="16" y="56"/>
                      </a:lnTo>
                      <a:lnTo>
                        <a:pt x="12" y="52"/>
                      </a:lnTo>
                      <a:lnTo>
                        <a:pt x="16" y="52"/>
                      </a:lnTo>
                      <a:lnTo>
                        <a:pt x="20" y="52"/>
                      </a:lnTo>
                      <a:lnTo>
                        <a:pt x="22" y="56"/>
                      </a:lnTo>
                      <a:lnTo>
                        <a:pt x="26" y="56"/>
                      </a:lnTo>
                      <a:lnTo>
                        <a:pt x="26" y="52"/>
                      </a:lnTo>
                      <a:lnTo>
                        <a:pt x="22" y="52"/>
                      </a:lnTo>
                      <a:lnTo>
                        <a:pt x="20" y="52"/>
                      </a:lnTo>
                      <a:lnTo>
                        <a:pt x="20" y="48"/>
                      </a:lnTo>
                      <a:lnTo>
                        <a:pt x="20" y="44"/>
                      </a:lnTo>
                      <a:lnTo>
                        <a:pt x="22" y="44"/>
                      </a:lnTo>
                      <a:lnTo>
                        <a:pt x="22" y="40"/>
                      </a:lnTo>
                      <a:lnTo>
                        <a:pt x="20" y="44"/>
                      </a:lnTo>
                      <a:lnTo>
                        <a:pt x="16" y="44"/>
                      </a:lnTo>
                      <a:lnTo>
                        <a:pt x="16" y="40"/>
                      </a:lnTo>
                      <a:lnTo>
                        <a:pt x="16" y="44"/>
                      </a:lnTo>
                      <a:lnTo>
                        <a:pt x="16" y="48"/>
                      </a:lnTo>
                      <a:lnTo>
                        <a:pt x="12" y="48"/>
                      </a:lnTo>
                      <a:lnTo>
                        <a:pt x="8" y="48"/>
                      </a:lnTo>
                      <a:lnTo>
                        <a:pt x="8" y="44"/>
                      </a:lnTo>
                      <a:lnTo>
                        <a:pt x="4" y="40"/>
                      </a:lnTo>
                      <a:lnTo>
                        <a:pt x="4" y="36"/>
                      </a:lnTo>
                      <a:lnTo>
                        <a:pt x="4" y="34"/>
                      </a:lnTo>
                      <a:lnTo>
                        <a:pt x="8" y="34"/>
                      </a:lnTo>
                      <a:lnTo>
                        <a:pt x="8" y="36"/>
                      </a:lnTo>
                      <a:lnTo>
                        <a:pt x="8" y="34"/>
                      </a:lnTo>
                      <a:lnTo>
                        <a:pt x="4" y="34"/>
                      </a:lnTo>
                      <a:lnTo>
                        <a:pt x="8" y="34"/>
                      </a:lnTo>
                      <a:lnTo>
                        <a:pt x="12" y="34"/>
                      </a:lnTo>
                      <a:lnTo>
                        <a:pt x="12" y="30"/>
                      </a:lnTo>
                      <a:lnTo>
                        <a:pt x="8" y="30"/>
                      </a:lnTo>
                      <a:lnTo>
                        <a:pt x="12" y="30"/>
                      </a:lnTo>
                      <a:lnTo>
                        <a:pt x="16" y="30"/>
                      </a:lnTo>
                      <a:lnTo>
                        <a:pt x="16" y="26"/>
                      </a:lnTo>
                      <a:lnTo>
                        <a:pt x="20" y="26"/>
                      </a:lnTo>
                      <a:lnTo>
                        <a:pt x="20" y="30"/>
                      </a:lnTo>
                      <a:lnTo>
                        <a:pt x="22" y="30"/>
                      </a:lnTo>
                      <a:lnTo>
                        <a:pt x="22" y="34"/>
                      </a:lnTo>
                      <a:lnTo>
                        <a:pt x="26" y="34"/>
                      </a:lnTo>
                      <a:lnTo>
                        <a:pt x="26" y="30"/>
                      </a:lnTo>
                      <a:lnTo>
                        <a:pt x="22" y="30"/>
                      </a:lnTo>
                      <a:lnTo>
                        <a:pt x="22" y="26"/>
                      </a:lnTo>
                      <a:lnTo>
                        <a:pt x="26" y="26"/>
                      </a:lnTo>
                      <a:lnTo>
                        <a:pt x="26" y="30"/>
                      </a:lnTo>
                      <a:lnTo>
                        <a:pt x="30" y="30"/>
                      </a:lnTo>
                      <a:lnTo>
                        <a:pt x="34" y="30"/>
                      </a:lnTo>
                      <a:lnTo>
                        <a:pt x="34" y="26"/>
                      </a:lnTo>
                      <a:lnTo>
                        <a:pt x="42" y="26"/>
                      </a:lnTo>
                      <a:lnTo>
                        <a:pt x="46" y="26"/>
                      </a:lnTo>
                      <a:lnTo>
                        <a:pt x="50" y="26"/>
                      </a:lnTo>
                      <a:lnTo>
                        <a:pt x="50" y="30"/>
                      </a:lnTo>
                      <a:lnTo>
                        <a:pt x="46" y="30"/>
                      </a:lnTo>
                      <a:lnTo>
                        <a:pt x="42" y="30"/>
                      </a:lnTo>
                      <a:lnTo>
                        <a:pt x="38" y="30"/>
                      </a:lnTo>
                      <a:lnTo>
                        <a:pt x="34" y="30"/>
                      </a:lnTo>
                      <a:lnTo>
                        <a:pt x="34" y="34"/>
                      </a:lnTo>
                      <a:lnTo>
                        <a:pt x="30" y="34"/>
                      </a:lnTo>
                      <a:lnTo>
                        <a:pt x="26" y="34"/>
                      </a:lnTo>
                      <a:lnTo>
                        <a:pt x="26" y="36"/>
                      </a:lnTo>
                      <a:lnTo>
                        <a:pt x="30" y="36"/>
                      </a:lnTo>
                      <a:lnTo>
                        <a:pt x="34" y="34"/>
                      </a:lnTo>
                      <a:lnTo>
                        <a:pt x="38" y="34"/>
                      </a:lnTo>
                      <a:lnTo>
                        <a:pt x="42" y="34"/>
                      </a:lnTo>
                      <a:lnTo>
                        <a:pt x="42" y="36"/>
                      </a:lnTo>
                      <a:lnTo>
                        <a:pt x="38" y="36"/>
                      </a:lnTo>
                      <a:lnTo>
                        <a:pt x="42" y="36"/>
                      </a:lnTo>
                      <a:lnTo>
                        <a:pt x="46" y="36"/>
                      </a:lnTo>
                      <a:lnTo>
                        <a:pt x="50" y="40"/>
                      </a:lnTo>
                      <a:lnTo>
                        <a:pt x="50" y="44"/>
                      </a:lnTo>
                      <a:lnTo>
                        <a:pt x="52" y="44"/>
                      </a:lnTo>
                      <a:lnTo>
                        <a:pt x="52" y="40"/>
                      </a:lnTo>
                      <a:lnTo>
                        <a:pt x="50" y="36"/>
                      </a:lnTo>
                      <a:lnTo>
                        <a:pt x="50" y="34"/>
                      </a:lnTo>
                      <a:lnTo>
                        <a:pt x="52" y="34"/>
                      </a:lnTo>
                      <a:lnTo>
                        <a:pt x="56" y="30"/>
                      </a:lnTo>
                      <a:lnTo>
                        <a:pt x="60" y="30"/>
                      </a:lnTo>
                      <a:lnTo>
                        <a:pt x="64" y="30"/>
                      </a:lnTo>
                      <a:lnTo>
                        <a:pt x="64" y="34"/>
                      </a:lnTo>
                      <a:lnTo>
                        <a:pt x="68" y="34"/>
                      </a:lnTo>
                      <a:lnTo>
                        <a:pt x="68" y="36"/>
                      </a:lnTo>
                      <a:lnTo>
                        <a:pt x="72" y="40"/>
                      </a:lnTo>
                      <a:lnTo>
                        <a:pt x="72" y="44"/>
                      </a:lnTo>
                      <a:lnTo>
                        <a:pt x="76" y="44"/>
                      </a:lnTo>
                      <a:lnTo>
                        <a:pt x="76" y="48"/>
                      </a:lnTo>
                      <a:lnTo>
                        <a:pt x="80" y="48"/>
                      </a:lnTo>
                      <a:lnTo>
                        <a:pt x="80" y="52"/>
                      </a:lnTo>
                      <a:lnTo>
                        <a:pt x="82" y="52"/>
                      </a:lnTo>
                      <a:lnTo>
                        <a:pt x="82" y="56"/>
                      </a:lnTo>
                      <a:lnTo>
                        <a:pt x="86" y="52"/>
                      </a:lnTo>
                      <a:lnTo>
                        <a:pt x="82" y="52"/>
                      </a:lnTo>
                      <a:lnTo>
                        <a:pt x="82" y="48"/>
                      </a:lnTo>
                      <a:lnTo>
                        <a:pt x="80" y="48"/>
                      </a:lnTo>
                      <a:lnTo>
                        <a:pt x="80" y="44"/>
                      </a:lnTo>
                      <a:lnTo>
                        <a:pt x="80" y="40"/>
                      </a:lnTo>
                      <a:lnTo>
                        <a:pt x="76" y="40"/>
                      </a:lnTo>
                      <a:lnTo>
                        <a:pt x="76" y="36"/>
                      </a:lnTo>
                      <a:lnTo>
                        <a:pt x="76" y="34"/>
                      </a:lnTo>
                      <a:lnTo>
                        <a:pt x="76" y="30"/>
                      </a:lnTo>
                      <a:lnTo>
                        <a:pt x="72" y="30"/>
                      </a:lnTo>
                      <a:lnTo>
                        <a:pt x="72" y="26"/>
                      </a:lnTo>
                      <a:lnTo>
                        <a:pt x="76" y="26"/>
                      </a:lnTo>
                      <a:lnTo>
                        <a:pt x="80" y="26"/>
                      </a:lnTo>
                      <a:lnTo>
                        <a:pt x="80" y="22"/>
                      </a:lnTo>
                      <a:lnTo>
                        <a:pt x="82" y="22"/>
                      </a:lnTo>
                      <a:lnTo>
                        <a:pt x="86" y="22"/>
                      </a:lnTo>
                      <a:lnTo>
                        <a:pt x="86" y="26"/>
                      </a:lnTo>
                      <a:lnTo>
                        <a:pt x="90" y="26"/>
                      </a:lnTo>
                      <a:lnTo>
                        <a:pt x="90" y="22"/>
                      </a:lnTo>
                      <a:lnTo>
                        <a:pt x="94" y="22"/>
                      </a:lnTo>
                      <a:lnTo>
                        <a:pt x="94" y="26"/>
                      </a:lnTo>
                      <a:lnTo>
                        <a:pt x="98" y="26"/>
                      </a:lnTo>
                      <a:lnTo>
                        <a:pt x="102" y="26"/>
                      </a:lnTo>
                      <a:lnTo>
                        <a:pt x="106" y="30"/>
                      </a:lnTo>
                      <a:lnTo>
                        <a:pt x="108" y="30"/>
                      </a:lnTo>
                      <a:lnTo>
                        <a:pt x="106" y="30"/>
                      </a:lnTo>
                      <a:lnTo>
                        <a:pt x="106" y="34"/>
                      </a:lnTo>
                      <a:lnTo>
                        <a:pt x="102" y="36"/>
                      </a:lnTo>
                      <a:lnTo>
                        <a:pt x="102" y="40"/>
                      </a:lnTo>
                      <a:lnTo>
                        <a:pt x="106" y="40"/>
                      </a:lnTo>
                      <a:lnTo>
                        <a:pt x="106" y="36"/>
                      </a:lnTo>
                      <a:lnTo>
                        <a:pt x="108" y="34"/>
                      </a:lnTo>
                      <a:lnTo>
                        <a:pt x="112" y="34"/>
                      </a:lnTo>
                      <a:lnTo>
                        <a:pt x="116" y="34"/>
                      </a:lnTo>
                      <a:lnTo>
                        <a:pt x="116" y="36"/>
                      </a:lnTo>
                      <a:lnTo>
                        <a:pt x="120" y="36"/>
                      </a:lnTo>
                      <a:lnTo>
                        <a:pt x="120" y="40"/>
                      </a:lnTo>
                      <a:lnTo>
                        <a:pt x="120" y="44"/>
                      </a:lnTo>
                      <a:lnTo>
                        <a:pt x="120" y="48"/>
                      </a:lnTo>
                      <a:lnTo>
                        <a:pt x="124" y="48"/>
                      </a:lnTo>
                      <a:lnTo>
                        <a:pt x="124" y="44"/>
                      </a:lnTo>
                      <a:lnTo>
                        <a:pt x="132" y="48"/>
                      </a:lnTo>
                      <a:lnTo>
                        <a:pt x="136" y="52"/>
                      </a:lnTo>
                      <a:lnTo>
                        <a:pt x="138" y="52"/>
                      </a:lnTo>
                      <a:lnTo>
                        <a:pt x="142" y="52"/>
                      </a:lnTo>
                      <a:lnTo>
                        <a:pt x="146" y="52"/>
                      </a:lnTo>
                      <a:lnTo>
                        <a:pt x="150" y="52"/>
                      </a:lnTo>
                      <a:lnTo>
                        <a:pt x="150" y="56"/>
                      </a:lnTo>
                      <a:lnTo>
                        <a:pt x="154" y="56"/>
                      </a:lnTo>
                      <a:lnTo>
                        <a:pt x="158" y="56"/>
                      </a:lnTo>
                      <a:lnTo>
                        <a:pt x="158" y="60"/>
                      </a:lnTo>
                      <a:lnTo>
                        <a:pt x="154" y="60"/>
                      </a:lnTo>
                      <a:lnTo>
                        <a:pt x="150" y="60"/>
                      </a:lnTo>
                      <a:lnTo>
                        <a:pt x="150" y="64"/>
                      </a:lnTo>
                      <a:lnTo>
                        <a:pt x="146" y="60"/>
                      </a:lnTo>
                      <a:lnTo>
                        <a:pt x="142" y="60"/>
                      </a:lnTo>
                      <a:lnTo>
                        <a:pt x="142" y="64"/>
                      </a:lnTo>
                      <a:lnTo>
                        <a:pt x="138" y="64"/>
                      </a:lnTo>
                      <a:lnTo>
                        <a:pt x="136" y="64"/>
                      </a:lnTo>
                      <a:lnTo>
                        <a:pt x="132" y="64"/>
                      </a:lnTo>
                      <a:lnTo>
                        <a:pt x="128" y="64"/>
                      </a:lnTo>
                      <a:lnTo>
                        <a:pt x="132" y="64"/>
                      </a:lnTo>
                      <a:lnTo>
                        <a:pt x="132" y="66"/>
                      </a:lnTo>
                      <a:lnTo>
                        <a:pt x="128" y="66"/>
                      </a:lnTo>
                      <a:lnTo>
                        <a:pt x="124" y="66"/>
                      </a:lnTo>
                      <a:lnTo>
                        <a:pt x="120" y="66"/>
                      </a:lnTo>
                      <a:lnTo>
                        <a:pt x="120" y="70"/>
                      </a:lnTo>
                      <a:lnTo>
                        <a:pt x="120" y="74"/>
                      </a:lnTo>
                      <a:lnTo>
                        <a:pt x="120" y="78"/>
                      </a:lnTo>
                      <a:lnTo>
                        <a:pt x="116" y="78"/>
                      </a:lnTo>
                      <a:lnTo>
                        <a:pt x="112" y="78"/>
                      </a:lnTo>
                      <a:lnTo>
                        <a:pt x="112" y="82"/>
                      </a:lnTo>
                      <a:lnTo>
                        <a:pt x="112" y="86"/>
                      </a:lnTo>
                      <a:lnTo>
                        <a:pt x="112" y="88"/>
                      </a:lnTo>
                      <a:lnTo>
                        <a:pt x="108" y="92"/>
                      </a:lnTo>
                      <a:lnTo>
                        <a:pt x="106" y="92"/>
                      </a:lnTo>
                      <a:lnTo>
                        <a:pt x="102" y="92"/>
                      </a:lnTo>
                      <a:lnTo>
                        <a:pt x="102" y="96"/>
                      </a:lnTo>
                      <a:lnTo>
                        <a:pt x="98" y="100"/>
                      </a:lnTo>
                      <a:lnTo>
                        <a:pt x="98" y="104"/>
                      </a:lnTo>
                      <a:lnTo>
                        <a:pt x="98" y="108"/>
                      </a:lnTo>
                      <a:lnTo>
                        <a:pt x="94" y="108"/>
                      </a:lnTo>
                      <a:lnTo>
                        <a:pt x="98" y="108"/>
                      </a:lnTo>
                      <a:lnTo>
                        <a:pt x="94" y="110"/>
                      </a:lnTo>
                      <a:lnTo>
                        <a:pt x="90" y="110"/>
                      </a:lnTo>
                      <a:lnTo>
                        <a:pt x="90" y="114"/>
                      </a:lnTo>
                      <a:lnTo>
                        <a:pt x="94" y="114"/>
                      </a:lnTo>
                      <a:lnTo>
                        <a:pt x="94" y="118"/>
                      </a:lnTo>
                      <a:lnTo>
                        <a:pt x="90" y="118"/>
                      </a:lnTo>
                      <a:lnTo>
                        <a:pt x="86" y="118"/>
                      </a:lnTo>
                      <a:lnTo>
                        <a:pt x="82" y="118"/>
                      </a:lnTo>
                      <a:lnTo>
                        <a:pt x="82" y="114"/>
                      </a:lnTo>
                      <a:lnTo>
                        <a:pt x="80" y="114"/>
                      </a:lnTo>
                      <a:lnTo>
                        <a:pt x="76" y="114"/>
                      </a:lnTo>
                      <a:lnTo>
                        <a:pt x="76" y="110"/>
                      </a:lnTo>
                      <a:lnTo>
                        <a:pt x="72" y="110"/>
                      </a:lnTo>
                      <a:lnTo>
                        <a:pt x="76" y="110"/>
                      </a:lnTo>
                      <a:lnTo>
                        <a:pt x="76" y="108"/>
                      </a:lnTo>
                      <a:lnTo>
                        <a:pt x="80" y="108"/>
                      </a:lnTo>
                      <a:lnTo>
                        <a:pt x="82" y="108"/>
                      </a:lnTo>
                      <a:lnTo>
                        <a:pt x="86" y="108"/>
                      </a:lnTo>
                      <a:lnTo>
                        <a:pt x="82" y="108"/>
                      </a:lnTo>
                      <a:lnTo>
                        <a:pt x="80" y="108"/>
                      </a:lnTo>
                      <a:lnTo>
                        <a:pt x="80" y="104"/>
                      </a:lnTo>
                      <a:lnTo>
                        <a:pt x="76" y="108"/>
                      </a:lnTo>
                      <a:lnTo>
                        <a:pt x="72" y="108"/>
                      </a:lnTo>
                      <a:lnTo>
                        <a:pt x="68" y="108"/>
                      </a:lnTo>
                      <a:lnTo>
                        <a:pt x="64" y="108"/>
                      </a:lnTo>
                      <a:lnTo>
                        <a:pt x="64" y="104"/>
                      </a:lnTo>
                      <a:lnTo>
                        <a:pt x="60" y="104"/>
                      </a:lnTo>
                      <a:lnTo>
                        <a:pt x="56" y="104"/>
                      </a:lnTo>
                      <a:lnTo>
                        <a:pt x="56" y="104"/>
                      </a:lnTo>
                      <a:lnTo>
                        <a:pt x="56" y="104"/>
                      </a:lnTo>
                      <a:close/>
                      <a:moveTo>
                        <a:pt x="22" y="74"/>
                      </a:moveTo>
                      <a:lnTo>
                        <a:pt x="20" y="74"/>
                      </a:lnTo>
                      <a:lnTo>
                        <a:pt x="20" y="70"/>
                      </a:lnTo>
                      <a:lnTo>
                        <a:pt x="16" y="70"/>
                      </a:lnTo>
                      <a:lnTo>
                        <a:pt x="16" y="66"/>
                      </a:lnTo>
                      <a:lnTo>
                        <a:pt x="12" y="66"/>
                      </a:lnTo>
                      <a:lnTo>
                        <a:pt x="8" y="66"/>
                      </a:lnTo>
                      <a:lnTo>
                        <a:pt x="8" y="64"/>
                      </a:lnTo>
                      <a:lnTo>
                        <a:pt x="4" y="64"/>
                      </a:lnTo>
                      <a:lnTo>
                        <a:pt x="4" y="60"/>
                      </a:lnTo>
                      <a:lnTo>
                        <a:pt x="0" y="60"/>
                      </a:lnTo>
                      <a:lnTo>
                        <a:pt x="0" y="56"/>
                      </a:lnTo>
                      <a:lnTo>
                        <a:pt x="4" y="56"/>
                      </a:lnTo>
                      <a:lnTo>
                        <a:pt x="8" y="56"/>
                      </a:lnTo>
                      <a:lnTo>
                        <a:pt x="8" y="60"/>
                      </a:lnTo>
                      <a:lnTo>
                        <a:pt x="12" y="64"/>
                      </a:lnTo>
                      <a:lnTo>
                        <a:pt x="16" y="64"/>
                      </a:lnTo>
                      <a:lnTo>
                        <a:pt x="16" y="66"/>
                      </a:lnTo>
                      <a:lnTo>
                        <a:pt x="20" y="66"/>
                      </a:lnTo>
                      <a:lnTo>
                        <a:pt x="22" y="70"/>
                      </a:lnTo>
                      <a:lnTo>
                        <a:pt x="22" y="74"/>
                      </a:lnTo>
                      <a:lnTo>
                        <a:pt x="22" y="74"/>
                      </a:lnTo>
                      <a:lnTo>
                        <a:pt x="22" y="74"/>
                      </a:lnTo>
                      <a:close/>
                      <a:moveTo>
                        <a:pt x="136" y="66"/>
                      </a:moveTo>
                      <a:lnTo>
                        <a:pt x="138" y="66"/>
                      </a:lnTo>
                      <a:lnTo>
                        <a:pt x="142" y="64"/>
                      </a:lnTo>
                      <a:lnTo>
                        <a:pt x="146" y="64"/>
                      </a:lnTo>
                      <a:lnTo>
                        <a:pt x="150" y="64"/>
                      </a:lnTo>
                      <a:lnTo>
                        <a:pt x="154" y="64"/>
                      </a:lnTo>
                      <a:lnTo>
                        <a:pt x="158" y="64"/>
                      </a:lnTo>
                      <a:lnTo>
                        <a:pt x="162" y="64"/>
                      </a:lnTo>
                      <a:lnTo>
                        <a:pt x="166" y="64"/>
                      </a:lnTo>
                      <a:lnTo>
                        <a:pt x="166" y="66"/>
                      </a:lnTo>
                      <a:lnTo>
                        <a:pt x="166" y="70"/>
                      </a:lnTo>
                      <a:lnTo>
                        <a:pt x="168" y="70"/>
                      </a:lnTo>
                      <a:lnTo>
                        <a:pt x="166" y="74"/>
                      </a:lnTo>
                      <a:lnTo>
                        <a:pt x="162" y="74"/>
                      </a:lnTo>
                      <a:lnTo>
                        <a:pt x="162" y="70"/>
                      </a:lnTo>
                      <a:lnTo>
                        <a:pt x="158" y="74"/>
                      </a:lnTo>
                      <a:lnTo>
                        <a:pt x="154" y="74"/>
                      </a:lnTo>
                      <a:lnTo>
                        <a:pt x="150" y="74"/>
                      </a:lnTo>
                      <a:lnTo>
                        <a:pt x="146" y="74"/>
                      </a:lnTo>
                      <a:lnTo>
                        <a:pt x="142" y="74"/>
                      </a:lnTo>
                      <a:lnTo>
                        <a:pt x="146" y="74"/>
                      </a:lnTo>
                      <a:lnTo>
                        <a:pt x="146" y="70"/>
                      </a:lnTo>
                      <a:lnTo>
                        <a:pt x="142" y="70"/>
                      </a:lnTo>
                      <a:lnTo>
                        <a:pt x="142" y="66"/>
                      </a:lnTo>
                      <a:lnTo>
                        <a:pt x="138" y="66"/>
                      </a:lnTo>
                      <a:lnTo>
                        <a:pt x="136" y="66"/>
                      </a:lnTo>
                      <a:lnTo>
                        <a:pt x="136" y="66"/>
                      </a:lnTo>
                      <a:lnTo>
                        <a:pt x="136" y="66"/>
                      </a:lnTo>
                      <a:close/>
                      <a:moveTo>
                        <a:pt x="172" y="100"/>
                      </a:moveTo>
                      <a:lnTo>
                        <a:pt x="168" y="100"/>
                      </a:lnTo>
                      <a:lnTo>
                        <a:pt x="168" y="96"/>
                      </a:lnTo>
                      <a:lnTo>
                        <a:pt x="172" y="92"/>
                      </a:lnTo>
                      <a:lnTo>
                        <a:pt x="168" y="92"/>
                      </a:lnTo>
                      <a:lnTo>
                        <a:pt x="166" y="92"/>
                      </a:lnTo>
                      <a:lnTo>
                        <a:pt x="162" y="92"/>
                      </a:lnTo>
                      <a:lnTo>
                        <a:pt x="158" y="92"/>
                      </a:lnTo>
                      <a:lnTo>
                        <a:pt x="154" y="92"/>
                      </a:lnTo>
                      <a:lnTo>
                        <a:pt x="154" y="96"/>
                      </a:lnTo>
                      <a:lnTo>
                        <a:pt x="150" y="96"/>
                      </a:lnTo>
                      <a:lnTo>
                        <a:pt x="146" y="96"/>
                      </a:lnTo>
                      <a:lnTo>
                        <a:pt x="146" y="92"/>
                      </a:lnTo>
                      <a:lnTo>
                        <a:pt x="150" y="92"/>
                      </a:lnTo>
                      <a:lnTo>
                        <a:pt x="150" y="88"/>
                      </a:lnTo>
                      <a:lnTo>
                        <a:pt x="154" y="88"/>
                      </a:lnTo>
                      <a:lnTo>
                        <a:pt x="154" y="86"/>
                      </a:lnTo>
                      <a:lnTo>
                        <a:pt x="158" y="82"/>
                      </a:lnTo>
                      <a:lnTo>
                        <a:pt x="154" y="82"/>
                      </a:lnTo>
                      <a:lnTo>
                        <a:pt x="150" y="78"/>
                      </a:lnTo>
                      <a:lnTo>
                        <a:pt x="146" y="78"/>
                      </a:lnTo>
                      <a:lnTo>
                        <a:pt x="146" y="74"/>
                      </a:lnTo>
                      <a:lnTo>
                        <a:pt x="150" y="74"/>
                      </a:lnTo>
                      <a:lnTo>
                        <a:pt x="154" y="74"/>
                      </a:lnTo>
                      <a:lnTo>
                        <a:pt x="158" y="74"/>
                      </a:lnTo>
                      <a:lnTo>
                        <a:pt x="162" y="74"/>
                      </a:lnTo>
                      <a:lnTo>
                        <a:pt x="166" y="74"/>
                      </a:lnTo>
                      <a:lnTo>
                        <a:pt x="168" y="74"/>
                      </a:lnTo>
                      <a:lnTo>
                        <a:pt x="176" y="74"/>
                      </a:lnTo>
                      <a:lnTo>
                        <a:pt x="180" y="74"/>
                      </a:lnTo>
                      <a:lnTo>
                        <a:pt x="184" y="74"/>
                      </a:lnTo>
                      <a:lnTo>
                        <a:pt x="184" y="78"/>
                      </a:lnTo>
                      <a:lnTo>
                        <a:pt x="180" y="78"/>
                      </a:lnTo>
                      <a:lnTo>
                        <a:pt x="176" y="78"/>
                      </a:lnTo>
                      <a:lnTo>
                        <a:pt x="180" y="78"/>
                      </a:lnTo>
                      <a:lnTo>
                        <a:pt x="180" y="82"/>
                      </a:lnTo>
                      <a:lnTo>
                        <a:pt x="184" y="82"/>
                      </a:lnTo>
                      <a:lnTo>
                        <a:pt x="188" y="82"/>
                      </a:lnTo>
                      <a:lnTo>
                        <a:pt x="188" y="86"/>
                      </a:lnTo>
                      <a:lnTo>
                        <a:pt x="192" y="86"/>
                      </a:lnTo>
                      <a:lnTo>
                        <a:pt x="192" y="82"/>
                      </a:lnTo>
                      <a:lnTo>
                        <a:pt x="196" y="82"/>
                      </a:lnTo>
                      <a:lnTo>
                        <a:pt x="198" y="86"/>
                      </a:lnTo>
                      <a:lnTo>
                        <a:pt x="202" y="86"/>
                      </a:lnTo>
                      <a:lnTo>
                        <a:pt x="206" y="86"/>
                      </a:lnTo>
                      <a:lnTo>
                        <a:pt x="202" y="86"/>
                      </a:lnTo>
                      <a:lnTo>
                        <a:pt x="198" y="88"/>
                      </a:lnTo>
                      <a:lnTo>
                        <a:pt x="196" y="88"/>
                      </a:lnTo>
                      <a:lnTo>
                        <a:pt x="192" y="88"/>
                      </a:lnTo>
                      <a:lnTo>
                        <a:pt x="192" y="92"/>
                      </a:lnTo>
                      <a:lnTo>
                        <a:pt x="188" y="96"/>
                      </a:lnTo>
                      <a:lnTo>
                        <a:pt x="184" y="96"/>
                      </a:lnTo>
                      <a:lnTo>
                        <a:pt x="180" y="96"/>
                      </a:lnTo>
                      <a:lnTo>
                        <a:pt x="176" y="96"/>
                      </a:lnTo>
                      <a:lnTo>
                        <a:pt x="176" y="100"/>
                      </a:lnTo>
                      <a:lnTo>
                        <a:pt x="172" y="100"/>
                      </a:lnTo>
                      <a:lnTo>
                        <a:pt x="172" y="100"/>
                      </a:lnTo>
                      <a:lnTo>
                        <a:pt x="172" y="10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78" name="Freeform 123"/>
                <p:cNvSpPr>
                  <a:spLocks noEditPoints="1"/>
                </p:cNvSpPr>
                <p:nvPr/>
              </p:nvSpPr>
              <p:spPr bwMode="auto">
                <a:xfrm>
                  <a:off x="4641850" y="2419418"/>
                  <a:ext cx="298450" cy="508000"/>
                </a:xfrm>
                <a:custGeom>
                  <a:avLst/>
                  <a:gdLst>
                    <a:gd name="T0" fmla="*/ 106 w 188"/>
                    <a:gd name="T1" fmla="*/ 232 h 320"/>
                    <a:gd name="T2" fmla="*/ 98 w 188"/>
                    <a:gd name="T3" fmla="*/ 238 h 320"/>
                    <a:gd name="T4" fmla="*/ 78 w 188"/>
                    <a:gd name="T5" fmla="*/ 250 h 320"/>
                    <a:gd name="T6" fmla="*/ 76 w 188"/>
                    <a:gd name="T7" fmla="*/ 254 h 320"/>
                    <a:gd name="T8" fmla="*/ 82 w 188"/>
                    <a:gd name="T9" fmla="*/ 264 h 320"/>
                    <a:gd name="T10" fmla="*/ 76 w 188"/>
                    <a:gd name="T11" fmla="*/ 280 h 320"/>
                    <a:gd name="T12" fmla="*/ 64 w 188"/>
                    <a:gd name="T13" fmla="*/ 302 h 320"/>
                    <a:gd name="T14" fmla="*/ 46 w 188"/>
                    <a:gd name="T15" fmla="*/ 314 h 320"/>
                    <a:gd name="T16" fmla="*/ 30 w 188"/>
                    <a:gd name="T17" fmla="*/ 320 h 320"/>
                    <a:gd name="T18" fmla="*/ 26 w 188"/>
                    <a:gd name="T19" fmla="*/ 302 h 320"/>
                    <a:gd name="T20" fmla="*/ 18 w 188"/>
                    <a:gd name="T21" fmla="*/ 284 h 320"/>
                    <a:gd name="T22" fmla="*/ 8 w 188"/>
                    <a:gd name="T23" fmla="*/ 264 h 320"/>
                    <a:gd name="T24" fmla="*/ 4 w 188"/>
                    <a:gd name="T25" fmla="*/ 246 h 320"/>
                    <a:gd name="T26" fmla="*/ 8 w 188"/>
                    <a:gd name="T27" fmla="*/ 242 h 320"/>
                    <a:gd name="T28" fmla="*/ 16 w 188"/>
                    <a:gd name="T29" fmla="*/ 220 h 320"/>
                    <a:gd name="T30" fmla="*/ 18 w 188"/>
                    <a:gd name="T31" fmla="*/ 198 h 320"/>
                    <a:gd name="T32" fmla="*/ 22 w 188"/>
                    <a:gd name="T33" fmla="*/ 182 h 320"/>
                    <a:gd name="T34" fmla="*/ 16 w 188"/>
                    <a:gd name="T35" fmla="*/ 162 h 320"/>
                    <a:gd name="T36" fmla="*/ 16 w 188"/>
                    <a:gd name="T37" fmla="*/ 134 h 320"/>
                    <a:gd name="T38" fmla="*/ 46 w 188"/>
                    <a:gd name="T39" fmla="*/ 112 h 320"/>
                    <a:gd name="T40" fmla="*/ 46 w 188"/>
                    <a:gd name="T41" fmla="*/ 98 h 320"/>
                    <a:gd name="T42" fmla="*/ 52 w 188"/>
                    <a:gd name="T43" fmla="*/ 76 h 320"/>
                    <a:gd name="T44" fmla="*/ 76 w 188"/>
                    <a:gd name="T45" fmla="*/ 52 h 320"/>
                    <a:gd name="T46" fmla="*/ 78 w 188"/>
                    <a:gd name="T47" fmla="*/ 30 h 320"/>
                    <a:gd name="T48" fmla="*/ 102 w 188"/>
                    <a:gd name="T49" fmla="*/ 20 h 320"/>
                    <a:gd name="T50" fmla="*/ 128 w 188"/>
                    <a:gd name="T51" fmla="*/ 20 h 320"/>
                    <a:gd name="T52" fmla="*/ 138 w 188"/>
                    <a:gd name="T53" fmla="*/ 4 h 320"/>
                    <a:gd name="T54" fmla="*/ 162 w 188"/>
                    <a:gd name="T55" fmla="*/ 16 h 320"/>
                    <a:gd name="T56" fmla="*/ 176 w 188"/>
                    <a:gd name="T57" fmla="*/ 42 h 320"/>
                    <a:gd name="T58" fmla="*/ 180 w 188"/>
                    <a:gd name="T59" fmla="*/ 64 h 320"/>
                    <a:gd name="T60" fmla="*/ 176 w 188"/>
                    <a:gd name="T61" fmla="*/ 82 h 320"/>
                    <a:gd name="T62" fmla="*/ 158 w 188"/>
                    <a:gd name="T63" fmla="*/ 86 h 320"/>
                    <a:gd name="T64" fmla="*/ 158 w 188"/>
                    <a:gd name="T65" fmla="*/ 90 h 320"/>
                    <a:gd name="T66" fmla="*/ 150 w 188"/>
                    <a:gd name="T67" fmla="*/ 98 h 320"/>
                    <a:gd name="T68" fmla="*/ 142 w 188"/>
                    <a:gd name="T69" fmla="*/ 108 h 320"/>
                    <a:gd name="T70" fmla="*/ 146 w 188"/>
                    <a:gd name="T71" fmla="*/ 120 h 320"/>
                    <a:gd name="T72" fmla="*/ 124 w 188"/>
                    <a:gd name="T73" fmla="*/ 134 h 320"/>
                    <a:gd name="T74" fmla="*/ 116 w 188"/>
                    <a:gd name="T75" fmla="*/ 142 h 320"/>
                    <a:gd name="T76" fmla="*/ 106 w 188"/>
                    <a:gd name="T77" fmla="*/ 150 h 320"/>
                    <a:gd name="T78" fmla="*/ 98 w 188"/>
                    <a:gd name="T79" fmla="*/ 150 h 320"/>
                    <a:gd name="T80" fmla="*/ 90 w 188"/>
                    <a:gd name="T81" fmla="*/ 168 h 320"/>
                    <a:gd name="T82" fmla="*/ 86 w 188"/>
                    <a:gd name="T83" fmla="*/ 178 h 320"/>
                    <a:gd name="T84" fmla="*/ 90 w 188"/>
                    <a:gd name="T85" fmla="*/ 206 h 320"/>
                    <a:gd name="T86" fmla="*/ 108 w 188"/>
                    <a:gd name="T87" fmla="*/ 212 h 320"/>
                    <a:gd name="T88" fmla="*/ 106 w 188"/>
                    <a:gd name="T89" fmla="*/ 232 h 320"/>
                    <a:gd name="T90" fmla="*/ 94 w 188"/>
                    <a:gd name="T91" fmla="*/ 224 h 320"/>
                    <a:gd name="T92" fmla="*/ 94 w 188"/>
                    <a:gd name="T93" fmla="*/ 228 h 320"/>
                    <a:gd name="T94" fmla="*/ 78 w 188"/>
                    <a:gd name="T95" fmla="*/ 228 h 320"/>
                    <a:gd name="T96" fmla="*/ 86 w 188"/>
                    <a:gd name="T97" fmla="*/ 232 h 320"/>
                    <a:gd name="T98" fmla="*/ 90 w 188"/>
                    <a:gd name="T99" fmla="*/ 162 h 320"/>
                    <a:gd name="T100" fmla="*/ 86 w 188"/>
                    <a:gd name="T101" fmla="*/ 232 h 320"/>
                    <a:gd name="T102" fmla="*/ 94 w 188"/>
                    <a:gd name="T103" fmla="*/ 234 h 320"/>
                    <a:gd name="T104" fmla="*/ 106 w 188"/>
                    <a:gd name="T105" fmla="*/ 206 h 320"/>
                    <a:gd name="T106" fmla="*/ 12 w 188"/>
                    <a:gd name="T107" fmla="*/ 258 h 320"/>
                    <a:gd name="T108" fmla="*/ 12 w 188"/>
                    <a:gd name="T109" fmla="*/ 264 h 320"/>
                    <a:gd name="T110" fmla="*/ 108 w 188"/>
                    <a:gd name="T111" fmla="*/ 276 h 320"/>
                    <a:gd name="T112" fmla="*/ 102 w 188"/>
                    <a:gd name="T113" fmla="*/ 272 h 320"/>
                    <a:gd name="T114" fmla="*/ 76 w 188"/>
                    <a:gd name="T115" fmla="*/ 294 h 320"/>
                    <a:gd name="T116" fmla="*/ 86 w 188"/>
                    <a:gd name="T117" fmla="*/ 284 h 320"/>
                    <a:gd name="T118" fmla="*/ 76 w 188"/>
                    <a:gd name="T119" fmla="*/ 302 h 3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88" h="320">
                      <a:moveTo>
                        <a:pt x="90" y="234"/>
                      </a:moveTo>
                      <a:lnTo>
                        <a:pt x="94" y="234"/>
                      </a:lnTo>
                      <a:lnTo>
                        <a:pt x="98" y="234"/>
                      </a:lnTo>
                      <a:lnTo>
                        <a:pt x="98" y="232"/>
                      </a:lnTo>
                      <a:lnTo>
                        <a:pt x="98" y="234"/>
                      </a:lnTo>
                      <a:lnTo>
                        <a:pt x="102" y="234"/>
                      </a:lnTo>
                      <a:lnTo>
                        <a:pt x="102" y="232"/>
                      </a:lnTo>
                      <a:lnTo>
                        <a:pt x="106" y="232"/>
                      </a:lnTo>
                      <a:lnTo>
                        <a:pt x="106" y="234"/>
                      </a:lnTo>
                      <a:lnTo>
                        <a:pt x="106" y="232"/>
                      </a:lnTo>
                      <a:lnTo>
                        <a:pt x="108" y="232"/>
                      </a:lnTo>
                      <a:lnTo>
                        <a:pt x="108" y="234"/>
                      </a:lnTo>
                      <a:lnTo>
                        <a:pt x="106" y="234"/>
                      </a:lnTo>
                      <a:lnTo>
                        <a:pt x="102" y="234"/>
                      </a:lnTo>
                      <a:lnTo>
                        <a:pt x="102" y="238"/>
                      </a:lnTo>
                      <a:lnTo>
                        <a:pt x="98" y="238"/>
                      </a:lnTo>
                      <a:lnTo>
                        <a:pt x="98" y="242"/>
                      </a:lnTo>
                      <a:lnTo>
                        <a:pt x="94" y="238"/>
                      </a:lnTo>
                      <a:lnTo>
                        <a:pt x="94" y="242"/>
                      </a:lnTo>
                      <a:lnTo>
                        <a:pt x="90" y="246"/>
                      </a:lnTo>
                      <a:lnTo>
                        <a:pt x="86" y="246"/>
                      </a:lnTo>
                      <a:lnTo>
                        <a:pt x="86" y="250"/>
                      </a:lnTo>
                      <a:lnTo>
                        <a:pt x="82" y="250"/>
                      </a:lnTo>
                      <a:lnTo>
                        <a:pt x="78" y="250"/>
                      </a:lnTo>
                      <a:lnTo>
                        <a:pt x="76" y="250"/>
                      </a:lnTo>
                      <a:lnTo>
                        <a:pt x="72" y="250"/>
                      </a:lnTo>
                      <a:lnTo>
                        <a:pt x="76" y="250"/>
                      </a:lnTo>
                      <a:lnTo>
                        <a:pt x="78" y="250"/>
                      </a:lnTo>
                      <a:lnTo>
                        <a:pt x="82" y="250"/>
                      </a:lnTo>
                      <a:lnTo>
                        <a:pt x="82" y="254"/>
                      </a:lnTo>
                      <a:lnTo>
                        <a:pt x="78" y="254"/>
                      </a:lnTo>
                      <a:lnTo>
                        <a:pt x="76" y="254"/>
                      </a:lnTo>
                      <a:lnTo>
                        <a:pt x="78" y="254"/>
                      </a:lnTo>
                      <a:lnTo>
                        <a:pt x="82" y="254"/>
                      </a:lnTo>
                      <a:lnTo>
                        <a:pt x="82" y="258"/>
                      </a:lnTo>
                      <a:lnTo>
                        <a:pt x="82" y="262"/>
                      </a:lnTo>
                      <a:lnTo>
                        <a:pt x="78" y="262"/>
                      </a:lnTo>
                      <a:lnTo>
                        <a:pt x="82" y="262"/>
                      </a:lnTo>
                      <a:lnTo>
                        <a:pt x="78" y="264"/>
                      </a:lnTo>
                      <a:lnTo>
                        <a:pt x="82" y="264"/>
                      </a:lnTo>
                      <a:lnTo>
                        <a:pt x="78" y="264"/>
                      </a:lnTo>
                      <a:lnTo>
                        <a:pt x="78" y="268"/>
                      </a:lnTo>
                      <a:lnTo>
                        <a:pt x="76" y="264"/>
                      </a:lnTo>
                      <a:lnTo>
                        <a:pt x="78" y="268"/>
                      </a:lnTo>
                      <a:lnTo>
                        <a:pt x="78" y="272"/>
                      </a:lnTo>
                      <a:lnTo>
                        <a:pt x="78" y="276"/>
                      </a:lnTo>
                      <a:lnTo>
                        <a:pt x="78" y="280"/>
                      </a:lnTo>
                      <a:lnTo>
                        <a:pt x="76" y="280"/>
                      </a:lnTo>
                      <a:lnTo>
                        <a:pt x="78" y="284"/>
                      </a:lnTo>
                      <a:lnTo>
                        <a:pt x="76" y="288"/>
                      </a:lnTo>
                      <a:lnTo>
                        <a:pt x="76" y="292"/>
                      </a:lnTo>
                      <a:lnTo>
                        <a:pt x="76" y="294"/>
                      </a:lnTo>
                      <a:lnTo>
                        <a:pt x="72" y="298"/>
                      </a:lnTo>
                      <a:lnTo>
                        <a:pt x="72" y="302"/>
                      </a:lnTo>
                      <a:lnTo>
                        <a:pt x="68" y="306"/>
                      </a:lnTo>
                      <a:lnTo>
                        <a:pt x="64" y="302"/>
                      </a:lnTo>
                      <a:lnTo>
                        <a:pt x="60" y="306"/>
                      </a:lnTo>
                      <a:lnTo>
                        <a:pt x="56" y="302"/>
                      </a:lnTo>
                      <a:lnTo>
                        <a:pt x="52" y="302"/>
                      </a:lnTo>
                      <a:lnTo>
                        <a:pt x="52" y="306"/>
                      </a:lnTo>
                      <a:lnTo>
                        <a:pt x="48" y="306"/>
                      </a:lnTo>
                      <a:lnTo>
                        <a:pt x="48" y="310"/>
                      </a:lnTo>
                      <a:lnTo>
                        <a:pt x="46" y="310"/>
                      </a:lnTo>
                      <a:lnTo>
                        <a:pt x="46" y="314"/>
                      </a:lnTo>
                      <a:lnTo>
                        <a:pt x="46" y="318"/>
                      </a:lnTo>
                      <a:lnTo>
                        <a:pt x="48" y="318"/>
                      </a:lnTo>
                      <a:lnTo>
                        <a:pt x="46" y="318"/>
                      </a:lnTo>
                      <a:lnTo>
                        <a:pt x="46" y="320"/>
                      </a:lnTo>
                      <a:lnTo>
                        <a:pt x="42" y="320"/>
                      </a:lnTo>
                      <a:lnTo>
                        <a:pt x="38" y="320"/>
                      </a:lnTo>
                      <a:lnTo>
                        <a:pt x="34" y="320"/>
                      </a:lnTo>
                      <a:lnTo>
                        <a:pt x="30" y="320"/>
                      </a:lnTo>
                      <a:lnTo>
                        <a:pt x="26" y="320"/>
                      </a:lnTo>
                      <a:lnTo>
                        <a:pt x="26" y="318"/>
                      </a:lnTo>
                      <a:lnTo>
                        <a:pt x="30" y="314"/>
                      </a:lnTo>
                      <a:lnTo>
                        <a:pt x="26" y="310"/>
                      </a:lnTo>
                      <a:lnTo>
                        <a:pt x="22" y="306"/>
                      </a:lnTo>
                      <a:lnTo>
                        <a:pt x="18" y="302"/>
                      </a:lnTo>
                      <a:lnTo>
                        <a:pt x="22" y="302"/>
                      </a:lnTo>
                      <a:lnTo>
                        <a:pt x="26" y="302"/>
                      </a:lnTo>
                      <a:lnTo>
                        <a:pt x="22" y="298"/>
                      </a:lnTo>
                      <a:lnTo>
                        <a:pt x="26" y="298"/>
                      </a:lnTo>
                      <a:lnTo>
                        <a:pt x="26" y="294"/>
                      </a:lnTo>
                      <a:lnTo>
                        <a:pt x="22" y="294"/>
                      </a:lnTo>
                      <a:lnTo>
                        <a:pt x="22" y="292"/>
                      </a:lnTo>
                      <a:lnTo>
                        <a:pt x="22" y="288"/>
                      </a:lnTo>
                      <a:lnTo>
                        <a:pt x="18" y="288"/>
                      </a:lnTo>
                      <a:lnTo>
                        <a:pt x="18" y="284"/>
                      </a:lnTo>
                      <a:lnTo>
                        <a:pt x="16" y="284"/>
                      </a:lnTo>
                      <a:lnTo>
                        <a:pt x="16" y="280"/>
                      </a:lnTo>
                      <a:lnTo>
                        <a:pt x="16" y="276"/>
                      </a:lnTo>
                      <a:lnTo>
                        <a:pt x="12" y="276"/>
                      </a:lnTo>
                      <a:lnTo>
                        <a:pt x="12" y="272"/>
                      </a:lnTo>
                      <a:lnTo>
                        <a:pt x="12" y="268"/>
                      </a:lnTo>
                      <a:lnTo>
                        <a:pt x="8" y="268"/>
                      </a:lnTo>
                      <a:lnTo>
                        <a:pt x="8" y="264"/>
                      </a:lnTo>
                      <a:lnTo>
                        <a:pt x="12" y="264"/>
                      </a:lnTo>
                      <a:lnTo>
                        <a:pt x="12" y="262"/>
                      </a:lnTo>
                      <a:lnTo>
                        <a:pt x="12" y="258"/>
                      </a:lnTo>
                      <a:lnTo>
                        <a:pt x="8" y="258"/>
                      </a:lnTo>
                      <a:lnTo>
                        <a:pt x="4" y="258"/>
                      </a:lnTo>
                      <a:lnTo>
                        <a:pt x="4" y="254"/>
                      </a:lnTo>
                      <a:lnTo>
                        <a:pt x="4" y="250"/>
                      </a:lnTo>
                      <a:lnTo>
                        <a:pt x="4" y="246"/>
                      </a:lnTo>
                      <a:lnTo>
                        <a:pt x="0" y="246"/>
                      </a:lnTo>
                      <a:lnTo>
                        <a:pt x="4" y="246"/>
                      </a:lnTo>
                      <a:lnTo>
                        <a:pt x="4" y="242"/>
                      </a:lnTo>
                      <a:lnTo>
                        <a:pt x="0" y="242"/>
                      </a:lnTo>
                      <a:lnTo>
                        <a:pt x="0" y="238"/>
                      </a:lnTo>
                      <a:lnTo>
                        <a:pt x="4" y="238"/>
                      </a:lnTo>
                      <a:lnTo>
                        <a:pt x="4" y="242"/>
                      </a:lnTo>
                      <a:lnTo>
                        <a:pt x="8" y="242"/>
                      </a:lnTo>
                      <a:lnTo>
                        <a:pt x="12" y="238"/>
                      </a:lnTo>
                      <a:lnTo>
                        <a:pt x="12" y="234"/>
                      </a:lnTo>
                      <a:lnTo>
                        <a:pt x="12" y="232"/>
                      </a:lnTo>
                      <a:lnTo>
                        <a:pt x="8" y="228"/>
                      </a:lnTo>
                      <a:lnTo>
                        <a:pt x="12" y="228"/>
                      </a:lnTo>
                      <a:lnTo>
                        <a:pt x="12" y="224"/>
                      </a:lnTo>
                      <a:lnTo>
                        <a:pt x="12" y="220"/>
                      </a:lnTo>
                      <a:lnTo>
                        <a:pt x="16" y="220"/>
                      </a:lnTo>
                      <a:lnTo>
                        <a:pt x="18" y="220"/>
                      </a:lnTo>
                      <a:lnTo>
                        <a:pt x="18" y="216"/>
                      </a:lnTo>
                      <a:lnTo>
                        <a:pt x="18" y="212"/>
                      </a:lnTo>
                      <a:lnTo>
                        <a:pt x="22" y="208"/>
                      </a:lnTo>
                      <a:lnTo>
                        <a:pt x="22" y="206"/>
                      </a:lnTo>
                      <a:lnTo>
                        <a:pt x="18" y="206"/>
                      </a:lnTo>
                      <a:lnTo>
                        <a:pt x="18" y="202"/>
                      </a:lnTo>
                      <a:lnTo>
                        <a:pt x="18" y="198"/>
                      </a:lnTo>
                      <a:lnTo>
                        <a:pt x="16" y="194"/>
                      </a:lnTo>
                      <a:lnTo>
                        <a:pt x="18" y="194"/>
                      </a:lnTo>
                      <a:lnTo>
                        <a:pt x="22" y="194"/>
                      </a:lnTo>
                      <a:lnTo>
                        <a:pt x="22" y="190"/>
                      </a:lnTo>
                      <a:lnTo>
                        <a:pt x="26" y="190"/>
                      </a:lnTo>
                      <a:lnTo>
                        <a:pt x="26" y="186"/>
                      </a:lnTo>
                      <a:lnTo>
                        <a:pt x="22" y="186"/>
                      </a:lnTo>
                      <a:lnTo>
                        <a:pt x="22" y="182"/>
                      </a:lnTo>
                      <a:lnTo>
                        <a:pt x="18" y="182"/>
                      </a:lnTo>
                      <a:lnTo>
                        <a:pt x="16" y="178"/>
                      </a:lnTo>
                      <a:lnTo>
                        <a:pt x="16" y="176"/>
                      </a:lnTo>
                      <a:lnTo>
                        <a:pt x="16" y="172"/>
                      </a:lnTo>
                      <a:lnTo>
                        <a:pt x="18" y="168"/>
                      </a:lnTo>
                      <a:lnTo>
                        <a:pt x="18" y="164"/>
                      </a:lnTo>
                      <a:lnTo>
                        <a:pt x="16" y="164"/>
                      </a:lnTo>
                      <a:lnTo>
                        <a:pt x="16" y="162"/>
                      </a:lnTo>
                      <a:lnTo>
                        <a:pt x="16" y="158"/>
                      </a:lnTo>
                      <a:lnTo>
                        <a:pt x="16" y="154"/>
                      </a:lnTo>
                      <a:lnTo>
                        <a:pt x="16" y="150"/>
                      </a:lnTo>
                      <a:lnTo>
                        <a:pt x="16" y="146"/>
                      </a:lnTo>
                      <a:lnTo>
                        <a:pt x="12" y="142"/>
                      </a:lnTo>
                      <a:lnTo>
                        <a:pt x="16" y="142"/>
                      </a:lnTo>
                      <a:lnTo>
                        <a:pt x="16" y="138"/>
                      </a:lnTo>
                      <a:lnTo>
                        <a:pt x="16" y="134"/>
                      </a:lnTo>
                      <a:lnTo>
                        <a:pt x="18" y="132"/>
                      </a:lnTo>
                      <a:lnTo>
                        <a:pt x="22" y="128"/>
                      </a:lnTo>
                      <a:lnTo>
                        <a:pt x="26" y="124"/>
                      </a:lnTo>
                      <a:lnTo>
                        <a:pt x="30" y="124"/>
                      </a:lnTo>
                      <a:lnTo>
                        <a:pt x="42" y="124"/>
                      </a:lnTo>
                      <a:lnTo>
                        <a:pt x="46" y="120"/>
                      </a:lnTo>
                      <a:lnTo>
                        <a:pt x="46" y="116"/>
                      </a:lnTo>
                      <a:lnTo>
                        <a:pt x="46" y="112"/>
                      </a:lnTo>
                      <a:lnTo>
                        <a:pt x="42" y="112"/>
                      </a:lnTo>
                      <a:lnTo>
                        <a:pt x="38" y="112"/>
                      </a:lnTo>
                      <a:lnTo>
                        <a:pt x="38" y="108"/>
                      </a:lnTo>
                      <a:lnTo>
                        <a:pt x="42" y="108"/>
                      </a:lnTo>
                      <a:lnTo>
                        <a:pt x="42" y="106"/>
                      </a:lnTo>
                      <a:lnTo>
                        <a:pt x="42" y="102"/>
                      </a:lnTo>
                      <a:lnTo>
                        <a:pt x="46" y="102"/>
                      </a:lnTo>
                      <a:lnTo>
                        <a:pt x="46" y="98"/>
                      </a:lnTo>
                      <a:lnTo>
                        <a:pt x="48" y="94"/>
                      </a:lnTo>
                      <a:lnTo>
                        <a:pt x="48" y="90"/>
                      </a:lnTo>
                      <a:lnTo>
                        <a:pt x="48" y="86"/>
                      </a:lnTo>
                      <a:lnTo>
                        <a:pt x="48" y="82"/>
                      </a:lnTo>
                      <a:lnTo>
                        <a:pt x="52" y="82"/>
                      </a:lnTo>
                      <a:lnTo>
                        <a:pt x="48" y="78"/>
                      </a:lnTo>
                      <a:lnTo>
                        <a:pt x="48" y="76"/>
                      </a:lnTo>
                      <a:lnTo>
                        <a:pt x="52" y="76"/>
                      </a:lnTo>
                      <a:lnTo>
                        <a:pt x="56" y="76"/>
                      </a:lnTo>
                      <a:lnTo>
                        <a:pt x="64" y="72"/>
                      </a:lnTo>
                      <a:lnTo>
                        <a:pt x="60" y="68"/>
                      </a:lnTo>
                      <a:lnTo>
                        <a:pt x="60" y="64"/>
                      </a:lnTo>
                      <a:lnTo>
                        <a:pt x="64" y="64"/>
                      </a:lnTo>
                      <a:lnTo>
                        <a:pt x="68" y="60"/>
                      </a:lnTo>
                      <a:lnTo>
                        <a:pt x="72" y="56"/>
                      </a:lnTo>
                      <a:lnTo>
                        <a:pt x="76" y="52"/>
                      </a:lnTo>
                      <a:lnTo>
                        <a:pt x="76" y="48"/>
                      </a:lnTo>
                      <a:lnTo>
                        <a:pt x="76" y="46"/>
                      </a:lnTo>
                      <a:lnTo>
                        <a:pt x="72" y="46"/>
                      </a:lnTo>
                      <a:lnTo>
                        <a:pt x="72" y="42"/>
                      </a:lnTo>
                      <a:lnTo>
                        <a:pt x="76" y="42"/>
                      </a:lnTo>
                      <a:lnTo>
                        <a:pt x="78" y="38"/>
                      </a:lnTo>
                      <a:lnTo>
                        <a:pt x="78" y="34"/>
                      </a:lnTo>
                      <a:lnTo>
                        <a:pt x="78" y="30"/>
                      </a:lnTo>
                      <a:lnTo>
                        <a:pt x="86" y="26"/>
                      </a:lnTo>
                      <a:lnTo>
                        <a:pt x="90" y="26"/>
                      </a:lnTo>
                      <a:lnTo>
                        <a:pt x="94" y="26"/>
                      </a:lnTo>
                      <a:lnTo>
                        <a:pt x="94" y="30"/>
                      </a:lnTo>
                      <a:lnTo>
                        <a:pt x="98" y="30"/>
                      </a:lnTo>
                      <a:lnTo>
                        <a:pt x="98" y="26"/>
                      </a:lnTo>
                      <a:lnTo>
                        <a:pt x="102" y="22"/>
                      </a:lnTo>
                      <a:lnTo>
                        <a:pt x="102" y="20"/>
                      </a:lnTo>
                      <a:lnTo>
                        <a:pt x="98" y="20"/>
                      </a:lnTo>
                      <a:lnTo>
                        <a:pt x="102" y="16"/>
                      </a:lnTo>
                      <a:lnTo>
                        <a:pt x="106" y="16"/>
                      </a:lnTo>
                      <a:lnTo>
                        <a:pt x="108" y="16"/>
                      </a:lnTo>
                      <a:lnTo>
                        <a:pt x="112" y="16"/>
                      </a:lnTo>
                      <a:lnTo>
                        <a:pt x="120" y="20"/>
                      </a:lnTo>
                      <a:lnTo>
                        <a:pt x="124" y="20"/>
                      </a:lnTo>
                      <a:lnTo>
                        <a:pt x="128" y="20"/>
                      </a:lnTo>
                      <a:lnTo>
                        <a:pt x="132" y="16"/>
                      </a:lnTo>
                      <a:lnTo>
                        <a:pt x="128" y="16"/>
                      </a:lnTo>
                      <a:lnTo>
                        <a:pt x="132" y="12"/>
                      </a:lnTo>
                      <a:lnTo>
                        <a:pt x="132" y="8"/>
                      </a:lnTo>
                      <a:lnTo>
                        <a:pt x="132" y="4"/>
                      </a:lnTo>
                      <a:lnTo>
                        <a:pt x="128" y="0"/>
                      </a:lnTo>
                      <a:lnTo>
                        <a:pt x="134" y="0"/>
                      </a:lnTo>
                      <a:lnTo>
                        <a:pt x="138" y="4"/>
                      </a:lnTo>
                      <a:lnTo>
                        <a:pt x="142" y="8"/>
                      </a:lnTo>
                      <a:lnTo>
                        <a:pt x="146" y="8"/>
                      </a:lnTo>
                      <a:lnTo>
                        <a:pt x="146" y="12"/>
                      </a:lnTo>
                      <a:lnTo>
                        <a:pt x="150" y="12"/>
                      </a:lnTo>
                      <a:lnTo>
                        <a:pt x="150" y="16"/>
                      </a:lnTo>
                      <a:lnTo>
                        <a:pt x="154" y="16"/>
                      </a:lnTo>
                      <a:lnTo>
                        <a:pt x="158" y="16"/>
                      </a:lnTo>
                      <a:lnTo>
                        <a:pt x="162" y="16"/>
                      </a:lnTo>
                      <a:lnTo>
                        <a:pt x="164" y="20"/>
                      </a:lnTo>
                      <a:lnTo>
                        <a:pt x="168" y="20"/>
                      </a:lnTo>
                      <a:lnTo>
                        <a:pt x="176" y="26"/>
                      </a:lnTo>
                      <a:lnTo>
                        <a:pt x="180" y="30"/>
                      </a:lnTo>
                      <a:lnTo>
                        <a:pt x="176" y="30"/>
                      </a:lnTo>
                      <a:lnTo>
                        <a:pt x="176" y="34"/>
                      </a:lnTo>
                      <a:lnTo>
                        <a:pt x="176" y="38"/>
                      </a:lnTo>
                      <a:lnTo>
                        <a:pt x="176" y="42"/>
                      </a:lnTo>
                      <a:lnTo>
                        <a:pt x="180" y="42"/>
                      </a:lnTo>
                      <a:lnTo>
                        <a:pt x="180" y="46"/>
                      </a:lnTo>
                      <a:lnTo>
                        <a:pt x="176" y="48"/>
                      </a:lnTo>
                      <a:lnTo>
                        <a:pt x="180" y="52"/>
                      </a:lnTo>
                      <a:lnTo>
                        <a:pt x="184" y="56"/>
                      </a:lnTo>
                      <a:lnTo>
                        <a:pt x="184" y="60"/>
                      </a:lnTo>
                      <a:lnTo>
                        <a:pt x="184" y="64"/>
                      </a:lnTo>
                      <a:lnTo>
                        <a:pt x="180" y="64"/>
                      </a:lnTo>
                      <a:lnTo>
                        <a:pt x="180" y="68"/>
                      </a:lnTo>
                      <a:lnTo>
                        <a:pt x="180" y="72"/>
                      </a:lnTo>
                      <a:lnTo>
                        <a:pt x="180" y="76"/>
                      </a:lnTo>
                      <a:lnTo>
                        <a:pt x="184" y="76"/>
                      </a:lnTo>
                      <a:lnTo>
                        <a:pt x="188" y="82"/>
                      </a:lnTo>
                      <a:lnTo>
                        <a:pt x="184" y="82"/>
                      </a:lnTo>
                      <a:lnTo>
                        <a:pt x="180" y="82"/>
                      </a:lnTo>
                      <a:lnTo>
                        <a:pt x="176" y="82"/>
                      </a:lnTo>
                      <a:lnTo>
                        <a:pt x="172" y="82"/>
                      </a:lnTo>
                      <a:lnTo>
                        <a:pt x="172" y="86"/>
                      </a:lnTo>
                      <a:lnTo>
                        <a:pt x="168" y="82"/>
                      </a:lnTo>
                      <a:lnTo>
                        <a:pt x="164" y="82"/>
                      </a:lnTo>
                      <a:lnTo>
                        <a:pt x="164" y="78"/>
                      </a:lnTo>
                      <a:lnTo>
                        <a:pt x="164" y="82"/>
                      </a:lnTo>
                      <a:lnTo>
                        <a:pt x="162" y="82"/>
                      </a:lnTo>
                      <a:lnTo>
                        <a:pt x="158" y="86"/>
                      </a:lnTo>
                      <a:lnTo>
                        <a:pt x="162" y="86"/>
                      </a:lnTo>
                      <a:lnTo>
                        <a:pt x="162" y="90"/>
                      </a:lnTo>
                      <a:lnTo>
                        <a:pt x="158" y="86"/>
                      </a:lnTo>
                      <a:lnTo>
                        <a:pt x="154" y="86"/>
                      </a:lnTo>
                      <a:lnTo>
                        <a:pt x="154" y="82"/>
                      </a:lnTo>
                      <a:lnTo>
                        <a:pt x="154" y="86"/>
                      </a:lnTo>
                      <a:lnTo>
                        <a:pt x="158" y="86"/>
                      </a:lnTo>
                      <a:lnTo>
                        <a:pt x="158" y="90"/>
                      </a:lnTo>
                      <a:lnTo>
                        <a:pt x="154" y="90"/>
                      </a:lnTo>
                      <a:lnTo>
                        <a:pt x="158" y="90"/>
                      </a:lnTo>
                      <a:lnTo>
                        <a:pt x="154" y="94"/>
                      </a:lnTo>
                      <a:lnTo>
                        <a:pt x="150" y="94"/>
                      </a:lnTo>
                      <a:lnTo>
                        <a:pt x="150" y="90"/>
                      </a:lnTo>
                      <a:lnTo>
                        <a:pt x="146" y="94"/>
                      </a:lnTo>
                      <a:lnTo>
                        <a:pt x="150" y="94"/>
                      </a:lnTo>
                      <a:lnTo>
                        <a:pt x="150" y="98"/>
                      </a:lnTo>
                      <a:lnTo>
                        <a:pt x="150" y="94"/>
                      </a:lnTo>
                      <a:lnTo>
                        <a:pt x="146" y="94"/>
                      </a:lnTo>
                      <a:lnTo>
                        <a:pt x="150" y="94"/>
                      </a:lnTo>
                      <a:lnTo>
                        <a:pt x="150" y="98"/>
                      </a:lnTo>
                      <a:lnTo>
                        <a:pt x="150" y="102"/>
                      </a:lnTo>
                      <a:lnTo>
                        <a:pt x="146" y="102"/>
                      </a:lnTo>
                      <a:lnTo>
                        <a:pt x="142" y="106"/>
                      </a:lnTo>
                      <a:lnTo>
                        <a:pt x="142" y="108"/>
                      </a:lnTo>
                      <a:lnTo>
                        <a:pt x="146" y="106"/>
                      </a:lnTo>
                      <a:lnTo>
                        <a:pt x="146" y="108"/>
                      </a:lnTo>
                      <a:lnTo>
                        <a:pt x="142" y="108"/>
                      </a:lnTo>
                      <a:lnTo>
                        <a:pt x="146" y="112"/>
                      </a:lnTo>
                      <a:lnTo>
                        <a:pt x="150" y="112"/>
                      </a:lnTo>
                      <a:lnTo>
                        <a:pt x="150" y="116"/>
                      </a:lnTo>
                      <a:lnTo>
                        <a:pt x="146" y="116"/>
                      </a:lnTo>
                      <a:lnTo>
                        <a:pt x="146" y="120"/>
                      </a:lnTo>
                      <a:lnTo>
                        <a:pt x="142" y="124"/>
                      </a:lnTo>
                      <a:lnTo>
                        <a:pt x="138" y="124"/>
                      </a:lnTo>
                      <a:lnTo>
                        <a:pt x="138" y="128"/>
                      </a:lnTo>
                      <a:lnTo>
                        <a:pt x="134" y="132"/>
                      </a:lnTo>
                      <a:lnTo>
                        <a:pt x="132" y="132"/>
                      </a:lnTo>
                      <a:lnTo>
                        <a:pt x="132" y="134"/>
                      </a:lnTo>
                      <a:lnTo>
                        <a:pt x="128" y="134"/>
                      </a:lnTo>
                      <a:lnTo>
                        <a:pt x="124" y="134"/>
                      </a:lnTo>
                      <a:lnTo>
                        <a:pt x="124" y="138"/>
                      </a:lnTo>
                      <a:lnTo>
                        <a:pt x="120" y="138"/>
                      </a:lnTo>
                      <a:lnTo>
                        <a:pt x="120" y="134"/>
                      </a:lnTo>
                      <a:lnTo>
                        <a:pt x="120" y="138"/>
                      </a:lnTo>
                      <a:lnTo>
                        <a:pt x="116" y="138"/>
                      </a:lnTo>
                      <a:lnTo>
                        <a:pt x="116" y="142"/>
                      </a:lnTo>
                      <a:lnTo>
                        <a:pt x="112" y="142"/>
                      </a:lnTo>
                      <a:lnTo>
                        <a:pt x="116" y="142"/>
                      </a:lnTo>
                      <a:lnTo>
                        <a:pt x="112" y="146"/>
                      </a:lnTo>
                      <a:lnTo>
                        <a:pt x="112" y="142"/>
                      </a:lnTo>
                      <a:lnTo>
                        <a:pt x="108" y="142"/>
                      </a:lnTo>
                      <a:lnTo>
                        <a:pt x="112" y="142"/>
                      </a:lnTo>
                      <a:lnTo>
                        <a:pt x="112" y="146"/>
                      </a:lnTo>
                      <a:lnTo>
                        <a:pt x="108" y="146"/>
                      </a:lnTo>
                      <a:lnTo>
                        <a:pt x="106" y="146"/>
                      </a:lnTo>
                      <a:lnTo>
                        <a:pt x="106" y="150"/>
                      </a:lnTo>
                      <a:lnTo>
                        <a:pt x="102" y="150"/>
                      </a:lnTo>
                      <a:lnTo>
                        <a:pt x="106" y="150"/>
                      </a:lnTo>
                      <a:lnTo>
                        <a:pt x="106" y="154"/>
                      </a:lnTo>
                      <a:lnTo>
                        <a:pt x="102" y="154"/>
                      </a:lnTo>
                      <a:lnTo>
                        <a:pt x="98" y="154"/>
                      </a:lnTo>
                      <a:lnTo>
                        <a:pt x="98" y="150"/>
                      </a:lnTo>
                      <a:lnTo>
                        <a:pt x="94" y="150"/>
                      </a:lnTo>
                      <a:lnTo>
                        <a:pt x="98" y="150"/>
                      </a:lnTo>
                      <a:lnTo>
                        <a:pt x="98" y="154"/>
                      </a:lnTo>
                      <a:lnTo>
                        <a:pt x="98" y="158"/>
                      </a:lnTo>
                      <a:lnTo>
                        <a:pt x="98" y="162"/>
                      </a:lnTo>
                      <a:lnTo>
                        <a:pt x="94" y="162"/>
                      </a:lnTo>
                      <a:lnTo>
                        <a:pt x="90" y="162"/>
                      </a:lnTo>
                      <a:lnTo>
                        <a:pt x="90" y="164"/>
                      </a:lnTo>
                      <a:lnTo>
                        <a:pt x="94" y="168"/>
                      </a:lnTo>
                      <a:lnTo>
                        <a:pt x="90" y="168"/>
                      </a:lnTo>
                      <a:lnTo>
                        <a:pt x="90" y="172"/>
                      </a:lnTo>
                      <a:lnTo>
                        <a:pt x="90" y="176"/>
                      </a:lnTo>
                      <a:lnTo>
                        <a:pt x="90" y="178"/>
                      </a:lnTo>
                      <a:lnTo>
                        <a:pt x="94" y="178"/>
                      </a:lnTo>
                      <a:lnTo>
                        <a:pt x="90" y="178"/>
                      </a:lnTo>
                      <a:lnTo>
                        <a:pt x="86" y="178"/>
                      </a:lnTo>
                      <a:lnTo>
                        <a:pt x="90" y="178"/>
                      </a:lnTo>
                      <a:lnTo>
                        <a:pt x="86" y="178"/>
                      </a:lnTo>
                      <a:lnTo>
                        <a:pt x="86" y="182"/>
                      </a:lnTo>
                      <a:lnTo>
                        <a:pt x="86" y="186"/>
                      </a:lnTo>
                      <a:lnTo>
                        <a:pt x="86" y="190"/>
                      </a:lnTo>
                      <a:lnTo>
                        <a:pt x="86" y="194"/>
                      </a:lnTo>
                      <a:lnTo>
                        <a:pt x="86" y="198"/>
                      </a:lnTo>
                      <a:lnTo>
                        <a:pt x="90" y="198"/>
                      </a:lnTo>
                      <a:lnTo>
                        <a:pt x="90" y="202"/>
                      </a:lnTo>
                      <a:lnTo>
                        <a:pt x="90" y="206"/>
                      </a:lnTo>
                      <a:lnTo>
                        <a:pt x="90" y="202"/>
                      </a:lnTo>
                      <a:lnTo>
                        <a:pt x="94" y="202"/>
                      </a:lnTo>
                      <a:lnTo>
                        <a:pt x="94" y="206"/>
                      </a:lnTo>
                      <a:lnTo>
                        <a:pt x="98" y="206"/>
                      </a:lnTo>
                      <a:lnTo>
                        <a:pt x="102" y="208"/>
                      </a:lnTo>
                      <a:lnTo>
                        <a:pt x="106" y="208"/>
                      </a:lnTo>
                      <a:lnTo>
                        <a:pt x="106" y="212"/>
                      </a:lnTo>
                      <a:lnTo>
                        <a:pt x="108" y="212"/>
                      </a:lnTo>
                      <a:lnTo>
                        <a:pt x="106" y="212"/>
                      </a:lnTo>
                      <a:lnTo>
                        <a:pt x="106" y="216"/>
                      </a:lnTo>
                      <a:lnTo>
                        <a:pt x="108" y="216"/>
                      </a:lnTo>
                      <a:lnTo>
                        <a:pt x="112" y="220"/>
                      </a:lnTo>
                      <a:lnTo>
                        <a:pt x="112" y="224"/>
                      </a:lnTo>
                      <a:lnTo>
                        <a:pt x="108" y="224"/>
                      </a:lnTo>
                      <a:lnTo>
                        <a:pt x="108" y="228"/>
                      </a:lnTo>
                      <a:lnTo>
                        <a:pt x="106" y="232"/>
                      </a:lnTo>
                      <a:lnTo>
                        <a:pt x="102" y="232"/>
                      </a:lnTo>
                      <a:lnTo>
                        <a:pt x="106" y="232"/>
                      </a:lnTo>
                      <a:lnTo>
                        <a:pt x="102" y="232"/>
                      </a:lnTo>
                      <a:lnTo>
                        <a:pt x="98" y="232"/>
                      </a:lnTo>
                      <a:lnTo>
                        <a:pt x="94" y="232"/>
                      </a:lnTo>
                      <a:lnTo>
                        <a:pt x="98" y="228"/>
                      </a:lnTo>
                      <a:lnTo>
                        <a:pt x="94" y="228"/>
                      </a:lnTo>
                      <a:lnTo>
                        <a:pt x="94" y="224"/>
                      </a:lnTo>
                      <a:lnTo>
                        <a:pt x="94" y="228"/>
                      </a:lnTo>
                      <a:lnTo>
                        <a:pt x="94" y="224"/>
                      </a:lnTo>
                      <a:lnTo>
                        <a:pt x="90" y="224"/>
                      </a:lnTo>
                      <a:lnTo>
                        <a:pt x="94" y="228"/>
                      </a:lnTo>
                      <a:lnTo>
                        <a:pt x="90" y="228"/>
                      </a:lnTo>
                      <a:lnTo>
                        <a:pt x="90" y="224"/>
                      </a:lnTo>
                      <a:lnTo>
                        <a:pt x="94" y="224"/>
                      </a:lnTo>
                      <a:lnTo>
                        <a:pt x="94" y="228"/>
                      </a:lnTo>
                      <a:lnTo>
                        <a:pt x="94" y="232"/>
                      </a:lnTo>
                      <a:lnTo>
                        <a:pt x="90" y="228"/>
                      </a:lnTo>
                      <a:lnTo>
                        <a:pt x="94" y="228"/>
                      </a:lnTo>
                      <a:lnTo>
                        <a:pt x="90" y="228"/>
                      </a:lnTo>
                      <a:lnTo>
                        <a:pt x="90" y="232"/>
                      </a:lnTo>
                      <a:lnTo>
                        <a:pt x="86" y="228"/>
                      </a:lnTo>
                      <a:lnTo>
                        <a:pt x="82" y="228"/>
                      </a:lnTo>
                      <a:lnTo>
                        <a:pt x="78" y="228"/>
                      </a:lnTo>
                      <a:lnTo>
                        <a:pt x="76" y="232"/>
                      </a:lnTo>
                      <a:lnTo>
                        <a:pt x="72" y="232"/>
                      </a:lnTo>
                      <a:lnTo>
                        <a:pt x="76" y="232"/>
                      </a:lnTo>
                      <a:lnTo>
                        <a:pt x="78" y="232"/>
                      </a:lnTo>
                      <a:lnTo>
                        <a:pt x="82" y="232"/>
                      </a:lnTo>
                      <a:lnTo>
                        <a:pt x="78" y="232"/>
                      </a:lnTo>
                      <a:lnTo>
                        <a:pt x="82" y="232"/>
                      </a:lnTo>
                      <a:lnTo>
                        <a:pt x="86" y="232"/>
                      </a:lnTo>
                      <a:lnTo>
                        <a:pt x="90" y="232"/>
                      </a:lnTo>
                      <a:lnTo>
                        <a:pt x="90" y="234"/>
                      </a:lnTo>
                      <a:lnTo>
                        <a:pt x="86" y="234"/>
                      </a:lnTo>
                      <a:lnTo>
                        <a:pt x="90" y="234"/>
                      </a:lnTo>
                      <a:lnTo>
                        <a:pt x="90" y="234"/>
                      </a:lnTo>
                      <a:lnTo>
                        <a:pt x="90" y="234"/>
                      </a:lnTo>
                      <a:close/>
                      <a:moveTo>
                        <a:pt x="90" y="164"/>
                      </a:moveTo>
                      <a:lnTo>
                        <a:pt x="90" y="162"/>
                      </a:lnTo>
                      <a:lnTo>
                        <a:pt x="90" y="164"/>
                      </a:lnTo>
                      <a:lnTo>
                        <a:pt x="94" y="164"/>
                      </a:lnTo>
                      <a:lnTo>
                        <a:pt x="90" y="164"/>
                      </a:lnTo>
                      <a:lnTo>
                        <a:pt x="90" y="164"/>
                      </a:lnTo>
                      <a:lnTo>
                        <a:pt x="90" y="164"/>
                      </a:lnTo>
                      <a:close/>
                      <a:moveTo>
                        <a:pt x="86" y="232"/>
                      </a:moveTo>
                      <a:lnTo>
                        <a:pt x="90" y="232"/>
                      </a:lnTo>
                      <a:lnTo>
                        <a:pt x="86" y="232"/>
                      </a:lnTo>
                      <a:lnTo>
                        <a:pt x="86" y="232"/>
                      </a:lnTo>
                      <a:lnTo>
                        <a:pt x="86" y="232"/>
                      </a:lnTo>
                      <a:close/>
                      <a:moveTo>
                        <a:pt x="94" y="234"/>
                      </a:moveTo>
                      <a:lnTo>
                        <a:pt x="94" y="232"/>
                      </a:lnTo>
                      <a:lnTo>
                        <a:pt x="98" y="234"/>
                      </a:lnTo>
                      <a:lnTo>
                        <a:pt x="94" y="234"/>
                      </a:lnTo>
                      <a:lnTo>
                        <a:pt x="94" y="234"/>
                      </a:lnTo>
                      <a:lnTo>
                        <a:pt x="94" y="234"/>
                      </a:lnTo>
                      <a:close/>
                      <a:moveTo>
                        <a:pt x="116" y="264"/>
                      </a:moveTo>
                      <a:lnTo>
                        <a:pt x="112" y="264"/>
                      </a:lnTo>
                      <a:lnTo>
                        <a:pt x="116" y="264"/>
                      </a:lnTo>
                      <a:lnTo>
                        <a:pt x="116" y="264"/>
                      </a:lnTo>
                      <a:lnTo>
                        <a:pt x="116" y="264"/>
                      </a:lnTo>
                      <a:close/>
                      <a:moveTo>
                        <a:pt x="106" y="212"/>
                      </a:moveTo>
                      <a:lnTo>
                        <a:pt x="106" y="208"/>
                      </a:lnTo>
                      <a:lnTo>
                        <a:pt x="106" y="206"/>
                      </a:lnTo>
                      <a:lnTo>
                        <a:pt x="106" y="208"/>
                      </a:lnTo>
                      <a:lnTo>
                        <a:pt x="106" y="212"/>
                      </a:lnTo>
                      <a:lnTo>
                        <a:pt x="106" y="212"/>
                      </a:lnTo>
                      <a:lnTo>
                        <a:pt x="106" y="212"/>
                      </a:lnTo>
                      <a:close/>
                      <a:moveTo>
                        <a:pt x="8" y="262"/>
                      </a:moveTo>
                      <a:lnTo>
                        <a:pt x="4" y="262"/>
                      </a:lnTo>
                      <a:lnTo>
                        <a:pt x="8" y="258"/>
                      </a:lnTo>
                      <a:lnTo>
                        <a:pt x="12" y="258"/>
                      </a:lnTo>
                      <a:lnTo>
                        <a:pt x="12" y="262"/>
                      </a:lnTo>
                      <a:lnTo>
                        <a:pt x="8" y="262"/>
                      </a:lnTo>
                      <a:lnTo>
                        <a:pt x="8" y="262"/>
                      </a:lnTo>
                      <a:lnTo>
                        <a:pt x="8" y="262"/>
                      </a:lnTo>
                      <a:close/>
                      <a:moveTo>
                        <a:pt x="8" y="264"/>
                      </a:moveTo>
                      <a:lnTo>
                        <a:pt x="8" y="262"/>
                      </a:lnTo>
                      <a:lnTo>
                        <a:pt x="12" y="262"/>
                      </a:lnTo>
                      <a:lnTo>
                        <a:pt x="12" y="264"/>
                      </a:lnTo>
                      <a:lnTo>
                        <a:pt x="8" y="264"/>
                      </a:lnTo>
                      <a:lnTo>
                        <a:pt x="8" y="264"/>
                      </a:lnTo>
                      <a:lnTo>
                        <a:pt x="8" y="264"/>
                      </a:lnTo>
                      <a:close/>
                      <a:moveTo>
                        <a:pt x="112" y="264"/>
                      </a:moveTo>
                      <a:lnTo>
                        <a:pt x="112" y="268"/>
                      </a:lnTo>
                      <a:lnTo>
                        <a:pt x="108" y="268"/>
                      </a:lnTo>
                      <a:lnTo>
                        <a:pt x="108" y="272"/>
                      </a:lnTo>
                      <a:lnTo>
                        <a:pt x="108" y="276"/>
                      </a:lnTo>
                      <a:lnTo>
                        <a:pt x="108" y="280"/>
                      </a:lnTo>
                      <a:lnTo>
                        <a:pt x="106" y="280"/>
                      </a:lnTo>
                      <a:lnTo>
                        <a:pt x="106" y="284"/>
                      </a:lnTo>
                      <a:lnTo>
                        <a:pt x="102" y="288"/>
                      </a:lnTo>
                      <a:lnTo>
                        <a:pt x="102" y="284"/>
                      </a:lnTo>
                      <a:lnTo>
                        <a:pt x="102" y="280"/>
                      </a:lnTo>
                      <a:lnTo>
                        <a:pt x="102" y="276"/>
                      </a:lnTo>
                      <a:lnTo>
                        <a:pt x="102" y="272"/>
                      </a:lnTo>
                      <a:lnTo>
                        <a:pt x="106" y="268"/>
                      </a:lnTo>
                      <a:lnTo>
                        <a:pt x="108" y="264"/>
                      </a:lnTo>
                      <a:lnTo>
                        <a:pt x="112" y="264"/>
                      </a:lnTo>
                      <a:lnTo>
                        <a:pt x="112" y="264"/>
                      </a:lnTo>
                      <a:lnTo>
                        <a:pt x="112" y="264"/>
                      </a:lnTo>
                      <a:close/>
                      <a:moveTo>
                        <a:pt x="76" y="302"/>
                      </a:moveTo>
                      <a:lnTo>
                        <a:pt x="76" y="298"/>
                      </a:lnTo>
                      <a:lnTo>
                        <a:pt x="76" y="294"/>
                      </a:lnTo>
                      <a:lnTo>
                        <a:pt x="78" y="292"/>
                      </a:lnTo>
                      <a:lnTo>
                        <a:pt x="78" y="288"/>
                      </a:lnTo>
                      <a:lnTo>
                        <a:pt x="82" y="288"/>
                      </a:lnTo>
                      <a:lnTo>
                        <a:pt x="82" y="284"/>
                      </a:lnTo>
                      <a:lnTo>
                        <a:pt x="82" y="280"/>
                      </a:lnTo>
                      <a:lnTo>
                        <a:pt x="86" y="276"/>
                      </a:lnTo>
                      <a:lnTo>
                        <a:pt x="86" y="280"/>
                      </a:lnTo>
                      <a:lnTo>
                        <a:pt x="86" y="284"/>
                      </a:lnTo>
                      <a:lnTo>
                        <a:pt x="82" y="284"/>
                      </a:lnTo>
                      <a:lnTo>
                        <a:pt x="82" y="288"/>
                      </a:lnTo>
                      <a:lnTo>
                        <a:pt x="82" y="292"/>
                      </a:lnTo>
                      <a:lnTo>
                        <a:pt x="78" y="292"/>
                      </a:lnTo>
                      <a:lnTo>
                        <a:pt x="78" y="294"/>
                      </a:lnTo>
                      <a:lnTo>
                        <a:pt x="78" y="298"/>
                      </a:lnTo>
                      <a:lnTo>
                        <a:pt x="78" y="302"/>
                      </a:lnTo>
                      <a:lnTo>
                        <a:pt x="76" y="302"/>
                      </a:lnTo>
                      <a:lnTo>
                        <a:pt x="76" y="302"/>
                      </a:lnTo>
                      <a:lnTo>
                        <a:pt x="76" y="302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79" name="Freeform 124"/>
                <p:cNvSpPr>
                  <a:spLocks noEditPoints="1"/>
                </p:cNvSpPr>
                <p:nvPr/>
              </p:nvSpPr>
              <p:spPr bwMode="auto">
                <a:xfrm>
                  <a:off x="4530725" y="3184593"/>
                  <a:ext cx="98425" cy="63500"/>
                </a:xfrm>
                <a:custGeom>
                  <a:avLst/>
                  <a:gdLst>
                    <a:gd name="T0" fmla="*/ 6 w 62"/>
                    <a:gd name="T1" fmla="*/ 14 h 40"/>
                    <a:gd name="T2" fmla="*/ 10 w 62"/>
                    <a:gd name="T3" fmla="*/ 10 h 40"/>
                    <a:gd name="T4" fmla="*/ 10 w 62"/>
                    <a:gd name="T5" fmla="*/ 6 h 40"/>
                    <a:gd name="T6" fmla="*/ 18 w 62"/>
                    <a:gd name="T7" fmla="*/ 6 h 40"/>
                    <a:gd name="T8" fmla="*/ 18 w 62"/>
                    <a:gd name="T9" fmla="*/ 6 h 40"/>
                    <a:gd name="T10" fmla="*/ 18 w 62"/>
                    <a:gd name="T11" fmla="*/ 6 h 40"/>
                    <a:gd name="T12" fmla="*/ 22 w 62"/>
                    <a:gd name="T13" fmla="*/ 4 h 40"/>
                    <a:gd name="T14" fmla="*/ 22 w 62"/>
                    <a:gd name="T15" fmla="*/ 4 h 40"/>
                    <a:gd name="T16" fmla="*/ 26 w 62"/>
                    <a:gd name="T17" fmla="*/ 4 h 40"/>
                    <a:gd name="T18" fmla="*/ 28 w 62"/>
                    <a:gd name="T19" fmla="*/ 4 h 40"/>
                    <a:gd name="T20" fmla="*/ 32 w 62"/>
                    <a:gd name="T21" fmla="*/ 4 h 40"/>
                    <a:gd name="T22" fmla="*/ 36 w 62"/>
                    <a:gd name="T23" fmla="*/ 4 h 40"/>
                    <a:gd name="T24" fmla="*/ 32 w 62"/>
                    <a:gd name="T25" fmla="*/ 4 h 40"/>
                    <a:gd name="T26" fmla="*/ 36 w 62"/>
                    <a:gd name="T27" fmla="*/ 0 h 40"/>
                    <a:gd name="T28" fmla="*/ 36 w 62"/>
                    <a:gd name="T29" fmla="*/ 0 h 40"/>
                    <a:gd name="T30" fmla="*/ 40 w 62"/>
                    <a:gd name="T31" fmla="*/ 0 h 40"/>
                    <a:gd name="T32" fmla="*/ 40 w 62"/>
                    <a:gd name="T33" fmla="*/ 4 h 40"/>
                    <a:gd name="T34" fmla="*/ 48 w 62"/>
                    <a:gd name="T35" fmla="*/ 4 h 40"/>
                    <a:gd name="T36" fmla="*/ 52 w 62"/>
                    <a:gd name="T37" fmla="*/ 6 h 40"/>
                    <a:gd name="T38" fmla="*/ 48 w 62"/>
                    <a:gd name="T39" fmla="*/ 10 h 40"/>
                    <a:gd name="T40" fmla="*/ 48 w 62"/>
                    <a:gd name="T41" fmla="*/ 14 h 40"/>
                    <a:gd name="T42" fmla="*/ 52 w 62"/>
                    <a:gd name="T43" fmla="*/ 14 h 40"/>
                    <a:gd name="T44" fmla="*/ 52 w 62"/>
                    <a:gd name="T45" fmla="*/ 18 h 40"/>
                    <a:gd name="T46" fmla="*/ 56 w 62"/>
                    <a:gd name="T47" fmla="*/ 18 h 40"/>
                    <a:gd name="T48" fmla="*/ 58 w 62"/>
                    <a:gd name="T49" fmla="*/ 14 h 40"/>
                    <a:gd name="T50" fmla="*/ 62 w 62"/>
                    <a:gd name="T51" fmla="*/ 22 h 40"/>
                    <a:gd name="T52" fmla="*/ 62 w 62"/>
                    <a:gd name="T53" fmla="*/ 26 h 40"/>
                    <a:gd name="T54" fmla="*/ 58 w 62"/>
                    <a:gd name="T55" fmla="*/ 22 h 40"/>
                    <a:gd name="T56" fmla="*/ 56 w 62"/>
                    <a:gd name="T57" fmla="*/ 26 h 40"/>
                    <a:gd name="T58" fmla="*/ 56 w 62"/>
                    <a:gd name="T59" fmla="*/ 30 h 40"/>
                    <a:gd name="T60" fmla="*/ 56 w 62"/>
                    <a:gd name="T61" fmla="*/ 30 h 40"/>
                    <a:gd name="T62" fmla="*/ 52 w 62"/>
                    <a:gd name="T63" fmla="*/ 30 h 40"/>
                    <a:gd name="T64" fmla="*/ 48 w 62"/>
                    <a:gd name="T65" fmla="*/ 30 h 40"/>
                    <a:gd name="T66" fmla="*/ 44 w 62"/>
                    <a:gd name="T67" fmla="*/ 26 h 40"/>
                    <a:gd name="T68" fmla="*/ 44 w 62"/>
                    <a:gd name="T69" fmla="*/ 30 h 40"/>
                    <a:gd name="T70" fmla="*/ 40 w 62"/>
                    <a:gd name="T71" fmla="*/ 34 h 40"/>
                    <a:gd name="T72" fmla="*/ 40 w 62"/>
                    <a:gd name="T73" fmla="*/ 36 h 40"/>
                    <a:gd name="T74" fmla="*/ 40 w 62"/>
                    <a:gd name="T75" fmla="*/ 36 h 40"/>
                    <a:gd name="T76" fmla="*/ 40 w 62"/>
                    <a:gd name="T77" fmla="*/ 34 h 40"/>
                    <a:gd name="T78" fmla="*/ 36 w 62"/>
                    <a:gd name="T79" fmla="*/ 34 h 40"/>
                    <a:gd name="T80" fmla="*/ 32 w 62"/>
                    <a:gd name="T81" fmla="*/ 30 h 40"/>
                    <a:gd name="T82" fmla="*/ 32 w 62"/>
                    <a:gd name="T83" fmla="*/ 26 h 40"/>
                    <a:gd name="T84" fmla="*/ 26 w 62"/>
                    <a:gd name="T85" fmla="*/ 36 h 40"/>
                    <a:gd name="T86" fmla="*/ 26 w 62"/>
                    <a:gd name="T87" fmla="*/ 36 h 40"/>
                    <a:gd name="T88" fmla="*/ 22 w 62"/>
                    <a:gd name="T89" fmla="*/ 36 h 40"/>
                    <a:gd name="T90" fmla="*/ 18 w 62"/>
                    <a:gd name="T91" fmla="*/ 36 h 40"/>
                    <a:gd name="T92" fmla="*/ 14 w 62"/>
                    <a:gd name="T93" fmla="*/ 36 h 40"/>
                    <a:gd name="T94" fmla="*/ 10 w 62"/>
                    <a:gd name="T95" fmla="*/ 34 h 40"/>
                    <a:gd name="T96" fmla="*/ 10 w 62"/>
                    <a:gd name="T97" fmla="*/ 26 h 40"/>
                    <a:gd name="T98" fmla="*/ 2 w 62"/>
                    <a:gd name="T99" fmla="*/ 26 h 40"/>
                    <a:gd name="T100" fmla="*/ 2 w 62"/>
                    <a:gd name="T101" fmla="*/ 30 h 40"/>
                    <a:gd name="T102" fmla="*/ 0 w 62"/>
                    <a:gd name="T103" fmla="*/ 34 h 40"/>
                    <a:gd name="T104" fmla="*/ 0 w 62"/>
                    <a:gd name="T105" fmla="*/ 30 h 40"/>
                    <a:gd name="T106" fmla="*/ 0 w 62"/>
                    <a:gd name="T107" fmla="*/ 26 h 40"/>
                    <a:gd name="T108" fmla="*/ 2 w 62"/>
                    <a:gd name="T109" fmla="*/ 22 h 40"/>
                    <a:gd name="T110" fmla="*/ 2 w 62"/>
                    <a:gd name="T111" fmla="*/ 18 h 40"/>
                    <a:gd name="T112" fmla="*/ 36 w 62"/>
                    <a:gd name="T113" fmla="*/ 0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2" h="40">
                      <a:moveTo>
                        <a:pt x="2" y="18"/>
                      </a:moveTo>
                      <a:lnTo>
                        <a:pt x="6" y="18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10" y="14"/>
                      </a:lnTo>
                      <a:lnTo>
                        <a:pt x="10" y="10"/>
                      </a:lnTo>
                      <a:lnTo>
                        <a:pt x="10" y="10"/>
                      </a:lnTo>
                      <a:lnTo>
                        <a:pt x="10" y="10"/>
                      </a:lnTo>
                      <a:lnTo>
                        <a:pt x="14" y="6"/>
                      </a:lnTo>
                      <a:lnTo>
                        <a:pt x="10" y="6"/>
                      </a:lnTo>
                      <a:lnTo>
                        <a:pt x="10" y="6"/>
                      </a:lnTo>
                      <a:lnTo>
                        <a:pt x="10" y="6"/>
                      </a:lnTo>
                      <a:lnTo>
                        <a:pt x="14" y="6"/>
                      </a:lnTo>
                      <a:lnTo>
                        <a:pt x="14" y="4"/>
                      </a:lnTo>
                      <a:lnTo>
                        <a:pt x="14" y="6"/>
                      </a:lnTo>
                      <a:lnTo>
                        <a:pt x="14" y="6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18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8" y="4"/>
                      </a:lnTo>
                      <a:lnTo>
                        <a:pt x="28" y="4"/>
                      </a:lnTo>
                      <a:lnTo>
                        <a:pt x="28" y="4"/>
                      </a:lnTo>
                      <a:lnTo>
                        <a:pt x="28" y="4"/>
                      </a:lnTo>
                      <a:lnTo>
                        <a:pt x="32" y="4"/>
                      </a:lnTo>
                      <a:lnTo>
                        <a:pt x="32" y="4"/>
                      </a:lnTo>
                      <a:lnTo>
                        <a:pt x="32" y="4"/>
                      </a:lnTo>
                      <a:lnTo>
                        <a:pt x="32" y="4"/>
                      </a:lnTo>
                      <a:lnTo>
                        <a:pt x="32" y="4"/>
                      </a:lnTo>
                      <a:lnTo>
                        <a:pt x="36" y="4"/>
                      </a:lnTo>
                      <a:lnTo>
                        <a:pt x="36" y="4"/>
                      </a:lnTo>
                      <a:lnTo>
                        <a:pt x="36" y="4"/>
                      </a:lnTo>
                      <a:lnTo>
                        <a:pt x="36" y="4"/>
                      </a:lnTo>
                      <a:lnTo>
                        <a:pt x="36" y="4"/>
                      </a:lnTo>
                      <a:lnTo>
                        <a:pt x="36" y="4"/>
                      </a:lnTo>
                      <a:lnTo>
                        <a:pt x="32" y="4"/>
                      </a:lnTo>
                      <a:lnTo>
                        <a:pt x="32" y="4"/>
                      </a:lnTo>
                      <a:lnTo>
                        <a:pt x="32" y="4"/>
                      </a:lnTo>
                      <a:lnTo>
                        <a:pt x="32" y="4"/>
                      </a:lnTo>
                      <a:lnTo>
                        <a:pt x="32" y="0"/>
                      </a:lnTo>
                      <a:lnTo>
                        <a:pt x="32" y="0"/>
                      </a:lnTo>
                      <a:lnTo>
                        <a:pt x="32" y="0"/>
                      </a:lnTo>
                      <a:lnTo>
                        <a:pt x="36" y="0"/>
                      </a:lnTo>
                      <a:lnTo>
                        <a:pt x="36" y="0"/>
                      </a:lnTo>
                      <a:lnTo>
                        <a:pt x="36" y="0"/>
                      </a:lnTo>
                      <a:lnTo>
                        <a:pt x="36" y="0"/>
                      </a:lnTo>
                      <a:lnTo>
                        <a:pt x="36" y="0"/>
                      </a:lnTo>
                      <a:lnTo>
                        <a:pt x="36" y="0"/>
                      </a:lnTo>
                      <a:lnTo>
                        <a:pt x="36" y="0"/>
                      </a:lnTo>
                      <a:lnTo>
                        <a:pt x="36" y="4"/>
                      </a:lnTo>
                      <a:lnTo>
                        <a:pt x="36" y="0"/>
                      </a:lnTo>
                      <a:lnTo>
                        <a:pt x="36" y="0"/>
                      </a:lnTo>
                      <a:lnTo>
                        <a:pt x="40" y="0"/>
                      </a:lnTo>
                      <a:lnTo>
                        <a:pt x="40" y="0"/>
                      </a:lnTo>
                      <a:lnTo>
                        <a:pt x="40" y="4"/>
                      </a:lnTo>
                      <a:lnTo>
                        <a:pt x="40" y="4"/>
                      </a:lnTo>
                      <a:lnTo>
                        <a:pt x="40" y="4"/>
                      </a:lnTo>
                      <a:lnTo>
                        <a:pt x="40" y="4"/>
                      </a:lnTo>
                      <a:lnTo>
                        <a:pt x="40" y="4"/>
                      </a:lnTo>
                      <a:lnTo>
                        <a:pt x="40" y="4"/>
                      </a:lnTo>
                      <a:lnTo>
                        <a:pt x="40" y="0"/>
                      </a:lnTo>
                      <a:lnTo>
                        <a:pt x="40" y="4"/>
                      </a:lnTo>
                      <a:lnTo>
                        <a:pt x="44" y="4"/>
                      </a:lnTo>
                      <a:lnTo>
                        <a:pt x="48" y="4"/>
                      </a:lnTo>
                      <a:lnTo>
                        <a:pt x="48" y="4"/>
                      </a:lnTo>
                      <a:lnTo>
                        <a:pt x="48" y="6"/>
                      </a:lnTo>
                      <a:lnTo>
                        <a:pt x="48" y="6"/>
                      </a:lnTo>
                      <a:lnTo>
                        <a:pt x="52" y="6"/>
                      </a:lnTo>
                      <a:lnTo>
                        <a:pt x="52" y="6"/>
                      </a:lnTo>
                      <a:lnTo>
                        <a:pt x="52" y="6"/>
                      </a:lnTo>
                      <a:lnTo>
                        <a:pt x="48" y="6"/>
                      </a:lnTo>
                      <a:lnTo>
                        <a:pt x="48" y="10"/>
                      </a:lnTo>
                      <a:lnTo>
                        <a:pt x="48" y="10"/>
                      </a:lnTo>
                      <a:lnTo>
                        <a:pt x="48" y="10"/>
                      </a:lnTo>
                      <a:lnTo>
                        <a:pt x="48" y="10"/>
                      </a:lnTo>
                      <a:lnTo>
                        <a:pt x="48" y="10"/>
                      </a:lnTo>
                      <a:lnTo>
                        <a:pt x="48" y="10"/>
                      </a:lnTo>
                      <a:lnTo>
                        <a:pt x="48" y="14"/>
                      </a:lnTo>
                      <a:lnTo>
                        <a:pt x="48" y="14"/>
                      </a:lnTo>
                      <a:lnTo>
                        <a:pt x="48" y="14"/>
                      </a:lnTo>
                      <a:lnTo>
                        <a:pt x="48" y="14"/>
                      </a:lnTo>
                      <a:lnTo>
                        <a:pt x="48" y="14"/>
                      </a:lnTo>
                      <a:lnTo>
                        <a:pt x="48" y="14"/>
                      </a:lnTo>
                      <a:lnTo>
                        <a:pt x="52" y="14"/>
                      </a:lnTo>
                      <a:lnTo>
                        <a:pt x="52" y="14"/>
                      </a:lnTo>
                      <a:lnTo>
                        <a:pt x="52" y="14"/>
                      </a:lnTo>
                      <a:lnTo>
                        <a:pt x="56" y="14"/>
                      </a:lnTo>
                      <a:lnTo>
                        <a:pt x="52" y="14"/>
                      </a:lnTo>
                      <a:lnTo>
                        <a:pt x="52" y="18"/>
                      </a:lnTo>
                      <a:lnTo>
                        <a:pt x="56" y="18"/>
                      </a:lnTo>
                      <a:lnTo>
                        <a:pt x="56" y="18"/>
                      </a:lnTo>
                      <a:lnTo>
                        <a:pt x="56" y="18"/>
                      </a:lnTo>
                      <a:lnTo>
                        <a:pt x="56" y="18"/>
                      </a:lnTo>
                      <a:lnTo>
                        <a:pt x="56" y="18"/>
                      </a:lnTo>
                      <a:lnTo>
                        <a:pt x="58" y="18"/>
                      </a:lnTo>
                      <a:lnTo>
                        <a:pt x="58" y="18"/>
                      </a:lnTo>
                      <a:lnTo>
                        <a:pt x="58" y="18"/>
                      </a:lnTo>
                      <a:lnTo>
                        <a:pt x="58" y="14"/>
                      </a:lnTo>
                      <a:lnTo>
                        <a:pt x="58" y="14"/>
                      </a:lnTo>
                      <a:lnTo>
                        <a:pt x="58" y="14"/>
                      </a:lnTo>
                      <a:lnTo>
                        <a:pt x="62" y="14"/>
                      </a:lnTo>
                      <a:lnTo>
                        <a:pt x="62" y="18"/>
                      </a:lnTo>
                      <a:lnTo>
                        <a:pt x="62" y="18"/>
                      </a:lnTo>
                      <a:lnTo>
                        <a:pt x="62" y="22"/>
                      </a:lnTo>
                      <a:lnTo>
                        <a:pt x="62" y="22"/>
                      </a:lnTo>
                      <a:lnTo>
                        <a:pt x="62" y="22"/>
                      </a:lnTo>
                      <a:lnTo>
                        <a:pt x="62" y="22"/>
                      </a:lnTo>
                      <a:lnTo>
                        <a:pt x="62" y="26"/>
                      </a:lnTo>
                      <a:lnTo>
                        <a:pt x="62" y="26"/>
                      </a:lnTo>
                      <a:lnTo>
                        <a:pt x="62" y="26"/>
                      </a:lnTo>
                      <a:lnTo>
                        <a:pt x="58" y="26"/>
                      </a:lnTo>
                      <a:lnTo>
                        <a:pt x="58" y="26"/>
                      </a:lnTo>
                      <a:lnTo>
                        <a:pt x="58" y="22"/>
                      </a:lnTo>
                      <a:lnTo>
                        <a:pt x="58" y="22"/>
                      </a:lnTo>
                      <a:lnTo>
                        <a:pt x="58" y="22"/>
                      </a:lnTo>
                      <a:lnTo>
                        <a:pt x="58" y="22"/>
                      </a:lnTo>
                      <a:lnTo>
                        <a:pt x="56" y="22"/>
                      </a:lnTo>
                      <a:lnTo>
                        <a:pt x="56" y="26"/>
                      </a:lnTo>
                      <a:lnTo>
                        <a:pt x="56" y="26"/>
                      </a:lnTo>
                      <a:lnTo>
                        <a:pt x="56" y="26"/>
                      </a:lnTo>
                      <a:lnTo>
                        <a:pt x="56" y="26"/>
                      </a:lnTo>
                      <a:lnTo>
                        <a:pt x="58" y="30"/>
                      </a:lnTo>
                      <a:lnTo>
                        <a:pt x="58" y="30"/>
                      </a:lnTo>
                      <a:lnTo>
                        <a:pt x="56" y="30"/>
                      </a:lnTo>
                      <a:lnTo>
                        <a:pt x="56" y="30"/>
                      </a:lnTo>
                      <a:lnTo>
                        <a:pt x="56" y="30"/>
                      </a:lnTo>
                      <a:lnTo>
                        <a:pt x="56" y="30"/>
                      </a:lnTo>
                      <a:lnTo>
                        <a:pt x="56" y="30"/>
                      </a:lnTo>
                      <a:lnTo>
                        <a:pt x="56" y="30"/>
                      </a:lnTo>
                      <a:lnTo>
                        <a:pt x="56" y="30"/>
                      </a:lnTo>
                      <a:lnTo>
                        <a:pt x="52" y="30"/>
                      </a:lnTo>
                      <a:lnTo>
                        <a:pt x="52" y="30"/>
                      </a:lnTo>
                      <a:lnTo>
                        <a:pt x="52" y="30"/>
                      </a:lnTo>
                      <a:lnTo>
                        <a:pt x="52" y="30"/>
                      </a:lnTo>
                      <a:lnTo>
                        <a:pt x="52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26"/>
                      </a:lnTo>
                      <a:lnTo>
                        <a:pt x="48" y="26"/>
                      </a:lnTo>
                      <a:lnTo>
                        <a:pt x="48" y="26"/>
                      </a:lnTo>
                      <a:lnTo>
                        <a:pt x="44" y="26"/>
                      </a:lnTo>
                      <a:lnTo>
                        <a:pt x="44" y="26"/>
                      </a:lnTo>
                      <a:lnTo>
                        <a:pt x="44" y="26"/>
                      </a:lnTo>
                      <a:lnTo>
                        <a:pt x="44" y="30"/>
                      </a:lnTo>
                      <a:lnTo>
                        <a:pt x="44" y="30"/>
                      </a:lnTo>
                      <a:lnTo>
                        <a:pt x="44" y="30"/>
                      </a:lnTo>
                      <a:lnTo>
                        <a:pt x="44" y="30"/>
                      </a:lnTo>
                      <a:lnTo>
                        <a:pt x="44" y="34"/>
                      </a:lnTo>
                      <a:lnTo>
                        <a:pt x="44" y="34"/>
                      </a:lnTo>
                      <a:lnTo>
                        <a:pt x="44" y="34"/>
                      </a:lnTo>
                      <a:lnTo>
                        <a:pt x="40" y="34"/>
                      </a:lnTo>
                      <a:lnTo>
                        <a:pt x="40" y="34"/>
                      </a:lnTo>
                      <a:lnTo>
                        <a:pt x="40" y="36"/>
                      </a:lnTo>
                      <a:lnTo>
                        <a:pt x="40" y="36"/>
                      </a:lnTo>
                      <a:lnTo>
                        <a:pt x="40" y="36"/>
                      </a:lnTo>
                      <a:lnTo>
                        <a:pt x="40" y="36"/>
                      </a:lnTo>
                      <a:lnTo>
                        <a:pt x="40" y="36"/>
                      </a:lnTo>
                      <a:lnTo>
                        <a:pt x="40" y="40"/>
                      </a:lnTo>
                      <a:lnTo>
                        <a:pt x="40" y="40"/>
                      </a:lnTo>
                      <a:lnTo>
                        <a:pt x="40" y="40"/>
                      </a:lnTo>
                      <a:lnTo>
                        <a:pt x="40" y="36"/>
                      </a:lnTo>
                      <a:lnTo>
                        <a:pt x="40" y="36"/>
                      </a:lnTo>
                      <a:lnTo>
                        <a:pt x="40" y="36"/>
                      </a:lnTo>
                      <a:lnTo>
                        <a:pt x="36" y="36"/>
                      </a:lnTo>
                      <a:lnTo>
                        <a:pt x="36" y="36"/>
                      </a:lnTo>
                      <a:lnTo>
                        <a:pt x="40" y="34"/>
                      </a:lnTo>
                      <a:lnTo>
                        <a:pt x="40" y="34"/>
                      </a:lnTo>
                      <a:lnTo>
                        <a:pt x="36" y="34"/>
                      </a:lnTo>
                      <a:lnTo>
                        <a:pt x="36" y="34"/>
                      </a:lnTo>
                      <a:lnTo>
                        <a:pt x="36" y="34"/>
                      </a:lnTo>
                      <a:lnTo>
                        <a:pt x="36" y="34"/>
                      </a:lnTo>
                      <a:lnTo>
                        <a:pt x="36" y="34"/>
                      </a:lnTo>
                      <a:lnTo>
                        <a:pt x="36" y="34"/>
                      </a:lnTo>
                      <a:lnTo>
                        <a:pt x="32" y="30"/>
                      </a:lnTo>
                      <a:lnTo>
                        <a:pt x="32" y="30"/>
                      </a:lnTo>
                      <a:lnTo>
                        <a:pt x="32" y="30"/>
                      </a:lnTo>
                      <a:lnTo>
                        <a:pt x="32" y="30"/>
                      </a:lnTo>
                      <a:lnTo>
                        <a:pt x="32" y="30"/>
                      </a:lnTo>
                      <a:lnTo>
                        <a:pt x="32" y="26"/>
                      </a:lnTo>
                      <a:lnTo>
                        <a:pt x="32" y="26"/>
                      </a:lnTo>
                      <a:lnTo>
                        <a:pt x="32" y="26"/>
                      </a:lnTo>
                      <a:lnTo>
                        <a:pt x="32" y="26"/>
                      </a:lnTo>
                      <a:lnTo>
                        <a:pt x="32" y="26"/>
                      </a:lnTo>
                      <a:lnTo>
                        <a:pt x="28" y="30"/>
                      </a:lnTo>
                      <a:lnTo>
                        <a:pt x="28" y="34"/>
                      </a:lnTo>
                      <a:lnTo>
                        <a:pt x="28" y="34"/>
                      </a:lnTo>
                      <a:lnTo>
                        <a:pt x="26" y="36"/>
                      </a:lnTo>
                      <a:lnTo>
                        <a:pt x="26" y="36"/>
                      </a:lnTo>
                      <a:lnTo>
                        <a:pt x="26" y="36"/>
                      </a:lnTo>
                      <a:lnTo>
                        <a:pt x="26" y="36"/>
                      </a:lnTo>
                      <a:lnTo>
                        <a:pt x="26" y="36"/>
                      </a:lnTo>
                      <a:lnTo>
                        <a:pt x="26" y="36"/>
                      </a:lnTo>
                      <a:lnTo>
                        <a:pt x="26" y="36"/>
                      </a:lnTo>
                      <a:lnTo>
                        <a:pt x="26" y="36"/>
                      </a:lnTo>
                      <a:lnTo>
                        <a:pt x="22" y="36"/>
                      </a:lnTo>
                      <a:lnTo>
                        <a:pt x="22" y="36"/>
                      </a:lnTo>
                      <a:lnTo>
                        <a:pt x="22" y="36"/>
                      </a:lnTo>
                      <a:lnTo>
                        <a:pt x="22" y="36"/>
                      </a:lnTo>
                      <a:lnTo>
                        <a:pt x="18" y="36"/>
                      </a:lnTo>
                      <a:lnTo>
                        <a:pt x="18" y="36"/>
                      </a:lnTo>
                      <a:lnTo>
                        <a:pt x="18" y="36"/>
                      </a:lnTo>
                      <a:lnTo>
                        <a:pt x="18" y="36"/>
                      </a:lnTo>
                      <a:lnTo>
                        <a:pt x="18" y="36"/>
                      </a:lnTo>
                      <a:lnTo>
                        <a:pt x="14" y="36"/>
                      </a:lnTo>
                      <a:lnTo>
                        <a:pt x="14" y="36"/>
                      </a:lnTo>
                      <a:lnTo>
                        <a:pt x="14" y="36"/>
                      </a:lnTo>
                      <a:lnTo>
                        <a:pt x="14" y="36"/>
                      </a:lnTo>
                      <a:lnTo>
                        <a:pt x="14" y="36"/>
                      </a:lnTo>
                      <a:lnTo>
                        <a:pt x="14" y="36"/>
                      </a:lnTo>
                      <a:lnTo>
                        <a:pt x="14" y="36"/>
                      </a:lnTo>
                      <a:lnTo>
                        <a:pt x="10" y="34"/>
                      </a:lnTo>
                      <a:lnTo>
                        <a:pt x="10" y="34"/>
                      </a:lnTo>
                      <a:lnTo>
                        <a:pt x="10" y="34"/>
                      </a:lnTo>
                      <a:lnTo>
                        <a:pt x="10" y="30"/>
                      </a:lnTo>
                      <a:lnTo>
                        <a:pt x="10" y="26"/>
                      </a:lnTo>
                      <a:lnTo>
                        <a:pt x="10" y="26"/>
                      </a:lnTo>
                      <a:lnTo>
                        <a:pt x="10" y="26"/>
                      </a:lnTo>
                      <a:lnTo>
                        <a:pt x="6" y="26"/>
                      </a:lnTo>
                      <a:lnTo>
                        <a:pt x="6" y="26"/>
                      </a:lnTo>
                      <a:lnTo>
                        <a:pt x="6" y="26"/>
                      </a:lnTo>
                      <a:lnTo>
                        <a:pt x="6" y="26"/>
                      </a:lnTo>
                      <a:lnTo>
                        <a:pt x="2" y="26"/>
                      </a:lnTo>
                      <a:lnTo>
                        <a:pt x="2" y="30"/>
                      </a:lnTo>
                      <a:lnTo>
                        <a:pt x="2" y="30"/>
                      </a:lnTo>
                      <a:lnTo>
                        <a:pt x="2" y="30"/>
                      </a:lnTo>
                      <a:lnTo>
                        <a:pt x="2" y="30"/>
                      </a:lnTo>
                      <a:lnTo>
                        <a:pt x="2" y="30"/>
                      </a:lnTo>
                      <a:lnTo>
                        <a:pt x="2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2"/>
                      </a:lnTo>
                      <a:lnTo>
                        <a:pt x="2" y="22"/>
                      </a:lnTo>
                      <a:lnTo>
                        <a:pt x="2" y="22"/>
                      </a:lnTo>
                      <a:lnTo>
                        <a:pt x="2" y="22"/>
                      </a:lnTo>
                      <a:lnTo>
                        <a:pt x="6" y="18"/>
                      </a:lnTo>
                      <a:lnTo>
                        <a:pt x="2" y="18"/>
                      </a:lnTo>
                      <a:lnTo>
                        <a:pt x="2" y="18"/>
                      </a:lnTo>
                      <a:lnTo>
                        <a:pt x="2" y="18"/>
                      </a:lnTo>
                      <a:close/>
                      <a:moveTo>
                        <a:pt x="36" y="0"/>
                      </a:moveTo>
                      <a:lnTo>
                        <a:pt x="36" y="0"/>
                      </a:lnTo>
                      <a:lnTo>
                        <a:pt x="36" y="0"/>
                      </a:lnTo>
                      <a:lnTo>
                        <a:pt x="36" y="0"/>
                      </a:lnTo>
                      <a:lnTo>
                        <a:pt x="36" y="0"/>
                      </a:lnTo>
                      <a:lnTo>
                        <a:pt x="36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80" name="Freeform 126"/>
                <p:cNvSpPr>
                  <a:spLocks noEditPoints="1"/>
                </p:cNvSpPr>
                <p:nvPr/>
              </p:nvSpPr>
              <p:spPr bwMode="auto">
                <a:xfrm>
                  <a:off x="4210050" y="2733743"/>
                  <a:ext cx="225425" cy="381000"/>
                </a:xfrm>
                <a:custGeom>
                  <a:avLst/>
                  <a:gdLst>
                    <a:gd name="T0" fmla="*/ 106 w 142"/>
                    <a:gd name="T1" fmla="*/ 2 h 240"/>
                    <a:gd name="T2" fmla="*/ 98 w 142"/>
                    <a:gd name="T3" fmla="*/ 10 h 240"/>
                    <a:gd name="T4" fmla="*/ 94 w 142"/>
                    <a:gd name="T5" fmla="*/ 14 h 240"/>
                    <a:gd name="T6" fmla="*/ 76 w 142"/>
                    <a:gd name="T7" fmla="*/ 44 h 240"/>
                    <a:gd name="T8" fmla="*/ 72 w 142"/>
                    <a:gd name="T9" fmla="*/ 48 h 240"/>
                    <a:gd name="T10" fmla="*/ 46 w 142"/>
                    <a:gd name="T11" fmla="*/ 130 h 240"/>
                    <a:gd name="T12" fmla="*/ 50 w 142"/>
                    <a:gd name="T13" fmla="*/ 108 h 240"/>
                    <a:gd name="T14" fmla="*/ 38 w 142"/>
                    <a:gd name="T15" fmla="*/ 122 h 240"/>
                    <a:gd name="T16" fmla="*/ 34 w 142"/>
                    <a:gd name="T17" fmla="*/ 108 h 240"/>
                    <a:gd name="T18" fmla="*/ 42 w 142"/>
                    <a:gd name="T19" fmla="*/ 92 h 240"/>
                    <a:gd name="T20" fmla="*/ 34 w 142"/>
                    <a:gd name="T21" fmla="*/ 92 h 240"/>
                    <a:gd name="T22" fmla="*/ 34 w 142"/>
                    <a:gd name="T23" fmla="*/ 78 h 240"/>
                    <a:gd name="T24" fmla="*/ 42 w 142"/>
                    <a:gd name="T25" fmla="*/ 62 h 240"/>
                    <a:gd name="T26" fmla="*/ 56 w 142"/>
                    <a:gd name="T27" fmla="*/ 52 h 240"/>
                    <a:gd name="T28" fmla="*/ 60 w 142"/>
                    <a:gd name="T29" fmla="*/ 62 h 240"/>
                    <a:gd name="T30" fmla="*/ 56 w 142"/>
                    <a:gd name="T31" fmla="*/ 70 h 240"/>
                    <a:gd name="T32" fmla="*/ 72 w 142"/>
                    <a:gd name="T33" fmla="*/ 70 h 240"/>
                    <a:gd name="T34" fmla="*/ 90 w 142"/>
                    <a:gd name="T35" fmla="*/ 82 h 240"/>
                    <a:gd name="T36" fmla="*/ 80 w 142"/>
                    <a:gd name="T37" fmla="*/ 100 h 240"/>
                    <a:gd name="T38" fmla="*/ 82 w 142"/>
                    <a:gd name="T39" fmla="*/ 108 h 240"/>
                    <a:gd name="T40" fmla="*/ 98 w 142"/>
                    <a:gd name="T41" fmla="*/ 134 h 240"/>
                    <a:gd name="T42" fmla="*/ 112 w 142"/>
                    <a:gd name="T43" fmla="*/ 156 h 240"/>
                    <a:gd name="T44" fmla="*/ 108 w 142"/>
                    <a:gd name="T45" fmla="*/ 160 h 240"/>
                    <a:gd name="T46" fmla="*/ 124 w 142"/>
                    <a:gd name="T47" fmla="*/ 176 h 240"/>
                    <a:gd name="T48" fmla="*/ 136 w 142"/>
                    <a:gd name="T49" fmla="*/ 198 h 240"/>
                    <a:gd name="T50" fmla="*/ 124 w 142"/>
                    <a:gd name="T51" fmla="*/ 210 h 240"/>
                    <a:gd name="T52" fmla="*/ 132 w 142"/>
                    <a:gd name="T53" fmla="*/ 220 h 240"/>
                    <a:gd name="T54" fmla="*/ 106 w 142"/>
                    <a:gd name="T55" fmla="*/ 224 h 240"/>
                    <a:gd name="T56" fmla="*/ 82 w 142"/>
                    <a:gd name="T57" fmla="*/ 224 h 240"/>
                    <a:gd name="T58" fmla="*/ 50 w 142"/>
                    <a:gd name="T59" fmla="*/ 232 h 240"/>
                    <a:gd name="T60" fmla="*/ 46 w 142"/>
                    <a:gd name="T61" fmla="*/ 228 h 240"/>
                    <a:gd name="T62" fmla="*/ 76 w 142"/>
                    <a:gd name="T63" fmla="*/ 210 h 240"/>
                    <a:gd name="T64" fmla="*/ 64 w 142"/>
                    <a:gd name="T65" fmla="*/ 210 h 240"/>
                    <a:gd name="T66" fmla="*/ 46 w 142"/>
                    <a:gd name="T67" fmla="*/ 206 h 240"/>
                    <a:gd name="T68" fmla="*/ 56 w 142"/>
                    <a:gd name="T69" fmla="*/ 190 h 240"/>
                    <a:gd name="T70" fmla="*/ 50 w 142"/>
                    <a:gd name="T71" fmla="*/ 176 h 240"/>
                    <a:gd name="T72" fmla="*/ 76 w 142"/>
                    <a:gd name="T73" fmla="*/ 168 h 240"/>
                    <a:gd name="T74" fmla="*/ 68 w 142"/>
                    <a:gd name="T75" fmla="*/ 146 h 240"/>
                    <a:gd name="T76" fmla="*/ 64 w 142"/>
                    <a:gd name="T77" fmla="*/ 134 h 240"/>
                    <a:gd name="T78" fmla="*/ 50 w 142"/>
                    <a:gd name="T79" fmla="*/ 138 h 240"/>
                    <a:gd name="T80" fmla="*/ 16 w 142"/>
                    <a:gd name="T81" fmla="*/ 62 h 240"/>
                    <a:gd name="T82" fmla="*/ 26 w 142"/>
                    <a:gd name="T83" fmla="*/ 60 h 240"/>
                    <a:gd name="T84" fmla="*/ 8 w 142"/>
                    <a:gd name="T85" fmla="*/ 74 h 240"/>
                    <a:gd name="T86" fmla="*/ 26 w 142"/>
                    <a:gd name="T87" fmla="*/ 86 h 240"/>
                    <a:gd name="T88" fmla="*/ 30 w 142"/>
                    <a:gd name="T89" fmla="*/ 74 h 240"/>
                    <a:gd name="T90" fmla="*/ 30 w 142"/>
                    <a:gd name="T91" fmla="*/ 78 h 240"/>
                    <a:gd name="T92" fmla="*/ 12 w 142"/>
                    <a:gd name="T93" fmla="*/ 82 h 240"/>
                    <a:gd name="T94" fmla="*/ 12 w 142"/>
                    <a:gd name="T95" fmla="*/ 90 h 240"/>
                    <a:gd name="T96" fmla="*/ 22 w 142"/>
                    <a:gd name="T97" fmla="*/ 96 h 240"/>
                    <a:gd name="T98" fmla="*/ 34 w 142"/>
                    <a:gd name="T99" fmla="*/ 104 h 240"/>
                    <a:gd name="T100" fmla="*/ 26 w 142"/>
                    <a:gd name="T101" fmla="*/ 96 h 240"/>
                    <a:gd name="T102" fmla="*/ 30 w 142"/>
                    <a:gd name="T103" fmla="*/ 112 h 240"/>
                    <a:gd name="T104" fmla="*/ 26 w 142"/>
                    <a:gd name="T105" fmla="*/ 112 h 240"/>
                    <a:gd name="T106" fmla="*/ 46 w 142"/>
                    <a:gd name="T107" fmla="*/ 116 h 240"/>
                    <a:gd name="T108" fmla="*/ 20 w 142"/>
                    <a:gd name="T109" fmla="*/ 146 h 240"/>
                    <a:gd name="T110" fmla="*/ 4 w 142"/>
                    <a:gd name="T111" fmla="*/ 138 h 240"/>
                    <a:gd name="T112" fmla="*/ 34 w 142"/>
                    <a:gd name="T113" fmla="*/ 138 h 240"/>
                    <a:gd name="T114" fmla="*/ 34 w 142"/>
                    <a:gd name="T115" fmla="*/ 150 h 240"/>
                    <a:gd name="T116" fmla="*/ 56 w 142"/>
                    <a:gd name="T117" fmla="*/ 164 h 240"/>
                    <a:gd name="T118" fmla="*/ 128 w 142"/>
                    <a:gd name="T119" fmla="*/ 210 h 2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42" h="240">
                      <a:moveTo>
                        <a:pt x="80" y="36"/>
                      </a:moveTo>
                      <a:lnTo>
                        <a:pt x="82" y="36"/>
                      </a:lnTo>
                      <a:lnTo>
                        <a:pt x="80" y="36"/>
                      </a:lnTo>
                      <a:lnTo>
                        <a:pt x="80" y="36"/>
                      </a:lnTo>
                      <a:lnTo>
                        <a:pt x="80" y="36"/>
                      </a:lnTo>
                      <a:close/>
                      <a:moveTo>
                        <a:pt x="106" y="2"/>
                      </a:moveTo>
                      <a:lnTo>
                        <a:pt x="102" y="2"/>
                      </a:lnTo>
                      <a:lnTo>
                        <a:pt x="106" y="0"/>
                      </a:lnTo>
                      <a:lnTo>
                        <a:pt x="106" y="2"/>
                      </a:lnTo>
                      <a:lnTo>
                        <a:pt x="106" y="2"/>
                      </a:lnTo>
                      <a:lnTo>
                        <a:pt x="106" y="2"/>
                      </a:lnTo>
                      <a:close/>
                      <a:moveTo>
                        <a:pt x="102" y="6"/>
                      </a:moveTo>
                      <a:lnTo>
                        <a:pt x="102" y="2"/>
                      </a:lnTo>
                      <a:lnTo>
                        <a:pt x="102" y="6"/>
                      </a:lnTo>
                      <a:lnTo>
                        <a:pt x="102" y="6"/>
                      </a:lnTo>
                      <a:lnTo>
                        <a:pt x="102" y="6"/>
                      </a:lnTo>
                      <a:close/>
                      <a:moveTo>
                        <a:pt x="94" y="14"/>
                      </a:moveTo>
                      <a:lnTo>
                        <a:pt x="98" y="10"/>
                      </a:lnTo>
                      <a:lnTo>
                        <a:pt x="94" y="10"/>
                      </a:lnTo>
                      <a:lnTo>
                        <a:pt x="94" y="6"/>
                      </a:lnTo>
                      <a:lnTo>
                        <a:pt x="98" y="6"/>
                      </a:lnTo>
                      <a:lnTo>
                        <a:pt x="98" y="10"/>
                      </a:lnTo>
                      <a:lnTo>
                        <a:pt x="102" y="10"/>
                      </a:lnTo>
                      <a:lnTo>
                        <a:pt x="102" y="14"/>
                      </a:lnTo>
                      <a:lnTo>
                        <a:pt x="98" y="14"/>
                      </a:lnTo>
                      <a:lnTo>
                        <a:pt x="102" y="14"/>
                      </a:lnTo>
                      <a:lnTo>
                        <a:pt x="102" y="18"/>
                      </a:lnTo>
                      <a:lnTo>
                        <a:pt x="98" y="18"/>
                      </a:lnTo>
                      <a:lnTo>
                        <a:pt x="98" y="22"/>
                      </a:lnTo>
                      <a:lnTo>
                        <a:pt x="98" y="18"/>
                      </a:lnTo>
                      <a:lnTo>
                        <a:pt x="98" y="14"/>
                      </a:lnTo>
                      <a:lnTo>
                        <a:pt x="94" y="18"/>
                      </a:lnTo>
                      <a:lnTo>
                        <a:pt x="94" y="14"/>
                      </a:lnTo>
                      <a:lnTo>
                        <a:pt x="94" y="14"/>
                      </a:lnTo>
                      <a:lnTo>
                        <a:pt x="94" y="14"/>
                      </a:lnTo>
                      <a:close/>
                      <a:moveTo>
                        <a:pt x="76" y="44"/>
                      </a:moveTo>
                      <a:lnTo>
                        <a:pt x="72" y="44"/>
                      </a:lnTo>
                      <a:lnTo>
                        <a:pt x="68" y="44"/>
                      </a:lnTo>
                      <a:lnTo>
                        <a:pt x="68" y="40"/>
                      </a:lnTo>
                      <a:lnTo>
                        <a:pt x="72" y="40"/>
                      </a:lnTo>
                      <a:lnTo>
                        <a:pt x="76" y="40"/>
                      </a:lnTo>
                      <a:lnTo>
                        <a:pt x="76" y="44"/>
                      </a:lnTo>
                      <a:lnTo>
                        <a:pt x="80" y="44"/>
                      </a:lnTo>
                      <a:lnTo>
                        <a:pt x="76" y="44"/>
                      </a:lnTo>
                      <a:lnTo>
                        <a:pt x="76" y="44"/>
                      </a:lnTo>
                      <a:lnTo>
                        <a:pt x="76" y="44"/>
                      </a:lnTo>
                      <a:close/>
                      <a:moveTo>
                        <a:pt x="72" y="48"/>
                      </a:moveTo>
                      <a:lnTo>
                        <a:pt x="68" y="48"/>
                      </a:lnTo>
                      <a:lnTo>
                        <a:pt x="68" y="44"/>
                      </a:lnTo>
                      <a:lnTo>
                        <a:pt x="72" y="44"/>
                      </a:lnTo>
                      <a:lnTo>
                        <a:pt x="72" y="48"/>
                      </a:lnTo>
                      <a:lnTo>
                        <a:pt x="72" y="48"/>
                      </a:lnTo>
                      <a:lnTo>
                        <a:pt x="72" y="48"/>
                      </a:lnTo>
                      <a:close/>
                      <a:moveTo>
                        <a:pt x="76" y="48"/>
                      </a:moveTo>
                      <a:lnTo>
                        <a:pt x="72" y="48"/>
                      </a:lnTo>
                      <a:lnTo>
                        <a:pt x="76" y="48"/>
                      </a:lnTo>
                      <a:lnTo>
                        <a:pt x="76" y="44"/>
                      </a:lnTo>
                      <a:lnTo>
                        <a:pt x="76" y="48"/>
                      </a:lnTo>
                      <a:lnTo>
                        <a:pt x="76" y="48"/>
                      </a:lnTo>
                      <a:lnTo>
                        <a:pt x="76" y="48"/>
                      </a:lnTo>
                      <a:close/>
                      <a:moveTo>
                        <a:pt x="50" y="138"/>
                      </a:moveTo>
                      <a:lnTo>
                        <a:pt x="46" y="138"/>
                      </a:lnTo>
                      <a:lnTo>
                        <a:pt x="46" y="134"/>
                      </a:lnTo>
                      <a:lnTo>
                        <a:pt x="42" y="134"/>
                      </a:lnTo>
                      <a:lnTo>
                        <a:pt x="42" y="130"/>
                      </a:lnTo>
                      <a:lnTo>
                        <a:pt x="46" y="130"/>
                      </a:lnTo>
                      <a:lnTo>
                        <a:pt x="46" y="126"/>
                      </a:lnTo>
                      <a:lnTo>
                        <a:pt x="50" y="126"/>
                      </a:lnTo>
                      <a:lnTo>
                        <a:pt x="50" y="122"/>
                      </a:lnTo>
                      <a:lnTo>
                        <a:pt x="50" y="120"/>
                      </a:lnTo>
                      <a:lnTo>
                        <a:pt x="50" y="116"/>
                      </a:lnTo>
                      <a:lnTo>
                        <a:pt x="46" y="116"/>
                      </a:lnTo>
                      <a:lnTo>
                        <a:pt x="46" y="112"/>
                      </a:lnTo>
                      <a:lnTo>
                        <a:pt x="50" y="112"/>
                      </a:lnTo>
                      <a:lnTo>
                        <a:pt x="52" y="112"/>
                      </a:lnTo>
                      <a:lnTo>
                        <a:pt x="50" y="112"/>
                      </a:lnTo>
                      <a:lnTo>
                        <a:pt x="50" y="108"/>
                      </a:lnTo>
                      <a:lnTo>
                        <a:pt x="46" y="108"/>
                      </a:lnTo>
                      <a:lnTo>
                        <a:pt x="46" y="112"/>
                      </a:lnTo>
                      <a:lnTo>
                        <a:pt x="42" y="112"/>
                      </a:lnTo>
                      <a:lnTo>
                        <a:pt x="42" y="108"/>
                      </a:lnTo>
                      <a:lnTo>
                        <a:pt x="46" y="104"/>
                      </a:lnTo>
                      <a:lnTo>
                        <a:pt x="42" y="108"/>
                      </a:lnTo>
                      <a:lnTo>
                        <a:pt x="38" y="108"/>
                      </a:lnTo>
                      <a:lnTo>
                        <a:pt x="38" y="112"/>
                      </a:lnTo>
                      <a:lnTo>
                        <a:pt x="42" y="116"/>
                      </a:lnTo>
                      <a:lnTo>
                        <a:pt x="38" y="116"/>
                      </a:lnTo>
                      <a:lnTo>
                        <a:pt x="38" y="122"/>
                      </a:lnTo>
                      <a:lnTo>
                        <a:pt x="34" y="126"/>
                      </a:lnTo>
                      <a:lnTo>
                        <a:pt x="34" y="122"/>
                      </a:lnTo>
                      <a:lnTo>
                        <a:pt x="34" y="120"/>
                      </a:lnTo>
                      <a:lnTo>
                        <a:pt x="34" y="116"/>
                      </a:lnTo>
                      <a:lnTo>
                        <a:pt x="38" y="116"/>
                      </a:lnTo>
                      <a:lnTo>
                        <a:pt x="34" y="116"/>
                      </a:lnTo>
                      <a:lnTo>
                        <a:pt x="34" y="112"/>
                      </a:lnTo>
                      <a:lnTo>
                        <a:pt x="38" y="112"/>
                      </a:lnTo>
                      <a:lnTo>
                        <a:pt x="38" y="108"/>
                      </a:lnTo>
                      <a:lnTo>
                        <a:pt x="34" y="112"/>
                      </a:lnTo>
                      <a:lnTo>
                        <a:pt x="34" y="108"/>
                      </a:lnTo>
                      <a:lnTo>
                        <a:pt x="38" y="108"/>
                      </a:lnTo>
                      <a:lnTo>
                        <a:pt x="38" y="104"/>
                      </a:lnTo>
                      <a:lnTo>
                        <a:pt x="38" y="100"/>
                      </a:lnTo>
                      <a:lnTo>
                        <a:pt x="42" y="100"/>
                      </a:lnTo>
                      <a:lnTo>
                        <a:pt x="46" y="100"/>
                      </a:lnTo>
                      <a:lnTo>
                        <a:pt x="46" y="96"/>
                      </a:lnTo>
                      <a:lnTo>
                        <a:pt x="42" y="100"/>
                      </a:lnTo>
                      <a:lnTo>
                        <a:pt x="42" y="96"/>
                      </a:lnTo>
                      <a:lnTo>
                        <a:pt x="42" y="92"/>
                      </a:lnTo>
                      <a:lnTo>
                        <a:pt x="46" y="92"/>
                      </a:lnTo>
                      <a:lnTo>
                        <a:pt x="42" y="92"/>
                      </a:lnTo>
                      <a:lnTo>
                        <a:pt x="38" y="96"/>
                      </a:lnTo>
                      <a:lnTo>
                        <a:pt x="34" y="96"/>
                      </a:lnTo>
                      <a:lnTo>
                        <a:pt x="30" y="96"/>
                      </a:lnTo>
                      <a:lnTo>
                        <a:pt x="34" y="96"/>
                      </a:lnTo>
                      <a:lnTo>
                        <a:pt x="34" y="92"/>
                      </a:lnTo>
                      <a:lnTo>
                        <a:pt x="38" y="92"/>
                      </a:lnTo>
                      <a:lnTo>
                        <a:pt x="34" y="92"/>
                      </a:lnTo>
                      <a:lnTo>
                        <a:pt x="30" y="92"/>
                      </a:lnTo>
                      <a:lnTo>
                        <a:pt x="26" y="92"/>
                      </a:lnTo>
                      <a:lnTo>
                        <a:pt x="30" y="92"/>
                      </a:lnTo>
                      <a:lnTo>
                        <a:pt x="34" y="92"/>
                      </a:lnTo>
                      <a:lnTo>
                        <a:pt x="34" y="90"/>
                      </a:lnTo>
                      <a:lnTo>
                        <a:pt x="38" y="90"/>
                      </a:lnTo>
                      <a:lnTo>
                        <a:pt x="34" y="90"/>
                      </a:lnTo>
                      <a:lnTo>
                        <a:pt x="34" y="86"/>
                      </a:lnTo>
                      <a:lnTo>
                        <a:pt x="34" y="90"/>
                      </a:lnTo>
                      <a:lnTo>
                        <a:pt x="38" y="90"/>
                      </a:lnTo>
                      <a:lnTo>
                        <a:pt x="34" y="86"/>
                      </a:lnTo>
                      <a:lnTo>
                        <a:pt x="38" y="86"/>
                      </a:lnTo>
                      <a:lnTo>
                        <a:pt x="38" y="82"/>
                      </a:lnTo>
                      <a:lnTo>
                        <a:pt x="38" y="78"/>
                      </a:lnTo>
                      <a:lnTo>
                        <a:pt x="34" y="78"/>
                      </a:lnTo>
                      <a:lnTo>
                        <a:pt x="34" y="74"/>
                      </a:lnTo>
                      <a:lnTo>
                        <a:pt x="38" y="74"/>
                      </a:lnTo>
                      <a:lnTo>
                        <a:pt x="34" y="74"/>
                      </a:lnTo>
                      <a:lnTo>
                        <a:pt x="34" y="70"/>
                      </a:lnTo>
                      <a:lnTo>
                        <a:pt x="34" y="66"/>
                      </a:lnTo>
                      <a:lnTo>
                        <a:pt x="38" y="70"/>
                      </a:lnTo>
                      <a:lnTo>
                        <a:pt x="38" y="66"/>
                      </a:lnTo>
                      <a:lnTo>
                        <a:pt x="42" y="66"/>
                      </a:lnTo>
                      <a:lnTo>
                        <a:pt x="46" y="66"/>
                      </a:lnTo>
                      <a:lnTo>
                        <a:pt x="42" y="66"/>
                      </a:lnTo>
                      <a:lnTo>
                        <a:pt x="42" y="62"/>
                      </a:lnTo>
                      <a:lnTo>
                        <a:pt x="38" y="62"/>
                      </a:lnTo>
                      <a:lnTo>
                        <a:pt x="42" y="62"/>
                      </a:lnTo>
                      <a:lnTo>
                        <a:pt x="42" y="60"/>
                      </a:lnTo>
                      <a:lnTo>
                        <a:pt x="46" y="60"/>
                      </a:lnTo>
                      <a:lnTo>
                        <a:pt x="42" y="60"/>
                      </a:lnTo>
                      <a:lnTo>
                        <a:pt x="42" y="56"/>
                      </a:lnTo>
                      <a:lnTo>
                        <a:pt x="46" y="52"/>
                      </a:lnTo>
                      <a:lnTo>
                        <a:pt x="50" y="52"/>
                      </a:lnTo>
                      <a:lnTo>
                        <a:pt x="50" y="56"/>
                      </a:lnTo>
                      <a:lnTo>
                        <a:pt x="52" y="52"/>
                      </a:lnTo>
                      <a:lnTo>
                        <a:pt x="56" y="52"/>
                      </a:lnTo>
                      <a:lnTo>
                        <a:pt x="60" y="52"/>
                      </a:lnTo>
                      <a:lnTo>
                        <a:pt x="64" y="52"/>
                      </a:lnTo>
                      <a:lnTo>
                        <a:pt x="68" y="52"/>
                      </a:lnTo>
                      <a:lnTo>
                        <a:pt x="72" y="52"/>
                      </a:lnTo>
                      <a:lnTo>
                        <a:pt x="76" y="52"/>
                      </a:lnTo>
                      <a:lnTo>
                        <a:pt x="72" y="56"/>
                      </a:lnTo>
                      <a:lnTo>
                        <a:pt x="72" y="60"/>
                      </a:lnTo>
                      <a:lnTo>
                        <a:pt x="68" y="60"/>
                      </a:lnTo>
                      <a:lnTo>
                        <a:pt x="68" y="62"/>
                      </a:lnTo>
                      <a:lnTo>
                        <a:pt x="64" y="62"/>
                      </a:lnTo>
                      <a:lnTo>
                        <a:pt x="60" y="62"/>
                      </a:lnTo>
                      <a:lnTo>
                        <a:pt x="60" y="66"/>
                      </a:lnTo>
                      <a:lnTo>
                        <a:pt x="56" y="66"/>
                      </a:lnTo>
                      <a:lnTo>
                        <a:pt x="52" y="66"/>
                      </a:lnTo>
                      <a:lnTo>
                        <a:pt x="56" y="66"/>
                      </a:lnTo>
                      <a:lnTo>
                        <a:pt x="56" y="70"/>
                      </a:lnTo>
                      <a:lnTo>
                        <a:pt x="60" y="70"/>
                      </a:lnTo>
                      <a:lnTo>
                        <a:pt x="60" y="66"/>
                      </a:lnTo>
                      <a:lnTo>
                        <a:pt x="64" y="66"/>
                      </a:lnTo>
                      <a:lnTo>
                        <a:pt x="64" y="70"/>
                      </a:lnTo>
                      <a:lnTo>
                        <a:pt x="60" y="70"/>
                      </a:lnTo>
                      <a:lnTo>
                        <a:pt x="56" y="70"/>
                      </a:lnTo>
                      <a:lnTo>
                        <a:pt x="52" y="74"/>
                      </a:lnTo>
                      <a:lnTo>
                        <a:pt x="56" y="74"/>
                      </a:lnTo>
                      <a:lnTo>
                        <a:pt x="56" y="70"/>
                      </a:lnTo>
                      <a:lnTo>
                        <a:pt x="60" y="74"/>
                      </a:lnTo>
                      <a:lnTo>
                        <a:pt x="56" y="74"/>
                      </a:lnTo>
                      <a:lnTo>
                        <a:pt x="56" y="78"/>
                      </a:lnTo>
                      <a:lnTo>
                        <a:pt x="60" y="74"/>
                      </a:lnTo>
                      <a:lnTo>
                        <a:pt x="64" y="74"/>
                      </a:lnTo>
                      <a:lnTo>
                        <a:pt x="68" y="74"/>
                      </a:lnTo>
                      <a:lnTo>
                        <a:pt x="68" y="70"/>
                      </a:lnTo>
                      <a:lnTo>
                        <a:pt x="72" y="70"/>
                      </a:lnTo>
                      <a:lnTo>
                        <a:pt x="72" y="74"/>
                      </a:lnTo>
                      <a:lnTo>
                        <a:pt x="76" y="74"/>
                      </a:lnTo>
                      <a:lnTo>
                        <a:pt x="76" y="70"/>
                      </a:lnTo>
                      <a:lnTo>
                        <a:pt x="80" y="70"/>
                      </a:lnTo>
                      <a:lnTo>
                        <a:pt x="82" y="74"/>
                      </a:lnTo>
                      <a:lnTo>
                        <a:pt x="86" y="74"/>
                      </a:lnTo>
                      <a:lnTo>
                        <a:pt x="86" y="70"/>
                      </a:lnTo>
                      <a:lnTo>
                        <a:pt x="90" y="70"/>
                      </a:lnTo>
                      <a:lnTo>
                        <a:pt x="90" y="74"/>
                      </a:lnTo>
                      <a:lnTo>
                        <a:pt x="90" y="78"/>
                      </a:lnTo>
                      <a:lnTo>
                        <a:pt x="90" y="82"/>
                      </a:lnTo>
                      <a:lnTo>
                        <a:pt x="86" y="82"/>
                      </a:lnTo>
                      <a:lnTo>
                        <a:pt x="86" y="86"/>
                      </a:lnTo>
                      <a:lnTo>
                        <a:pt x="86" y="90"/>
                      </a:lnTo>
                      <a:lnTo>
                        <a:pt x="82" y="92"/>
                      </a:lnTo>
                      <a:lnTo>
                        <a:pt x="82" y="96"/>
                      </a:lnTo>
                      <a:lnTo>
                        <a:pt x="80" y="96"/>
                      </a:lnTo>
                      <a:lnTo>
                        <a:pt x="80" y="100"/>
                      </a:lnTo>
                      <a:lnTo>
                        <a:pt x="76" y="100"/>
                      </a:lnTo>
                      <a:lnTo>
                        <a:pt x="72" y="100"/>
                      </a:lnTo>
                      <a:lnTo>
                        <a:pt x="76" y="100"/>
                      </a:lnTo>
                      <a:lnTo>
                        <a:pt x="80" y="100"/>
                      </a:lnTo>
                      <a:lnTo>
                        <a:pt x="80" y="104"/>
                      </a:lnTo>
                      <a:lnTo>
                        <a:pt x="76" y="104"/>
                      </a:lnTo>
                      <a:lnTo>
                        <a:pt x="72" y="108"/>
                      </a:lnTo>
                      <a:lnTo>
                        <a:pt x="68" y="108"/>
                      </a:lnTo>
                      <a:lnTo>
                        <a:pt x="64" y="108"/>
                      </a:lnTo>
                      <a:lnTo>
                        <a:pt x="68" y="108"/>
                      </a:lnTo>
                      <a:lnTo>
                        <a:pt x="72" y="112"/>
                      </a:lnTo>
                      <a:lnTo>
                        <a:pt x="76" y="112"/>
                      </a:lnTo>
                      <a:lnTo>
                        <a:pt x="76" y="108"/>
                      </a:lnTo>
                      <a:lnTo>
                        <a:pt x="80" y="108"/>
                      </a:lnTo>
                      <a:lnTo>
                        <a:pt x="82" y="108"/>
                      </a:lnTo>
                      <a:lnTo>
                        <a:pt x="82" y="112"/>
                      </a:lnTo>
                      <a:lnTo>
                        <a:pt x="86" y="112"/>
                      </a:lnTo>
                      <a:lnTo>
                        <a:pt x="86" y="116"/>
                      </a:lnTo>
                      <a:lnTo>
                        <a:pt x="90" y="116"/>
                      </a:lnTo>
                      <a:lnTo>
                        <a:pt x="90" y="120"/>
                      </a:lnTo>
                      <a:lnTo>
                        <a:pt x="94" y="120"/>
                      </a:lnTo>
                      <a:lnTo>
                        <a:pt x="94" y="122"/>
                      </a:lnTo>
                      <a:lnTo>
                        <a:pt x="94" y="126"/>
                      </a:lnTo>
                      <a:lnTo>
                        <a:pt x="94" y="130"/>
                      </a:lnTo>
                      <a:lnTo>
                        <a:pt x="98" y="130"/>
                      </a:lnTo>
                      <a:lnTo>
                        <a:pt x="98" y="134"/>
                      </a:lnTo>
                      <a:lnTo>
                        <a:pt x="98" y="138"/>
                      </a:lnTo>
                      <a:lnTo>
                        <a:pt x="102" y="138"/>
                      </a:lnTo>
                      <a:lnTo>
                        <a:pt x="106" y="142"/>
                      </a:lnTo>
                      <a:lnTo>
                        <a:pt x="108" y="142"/>
                      </a:lnTo>
                      <a:lnTo>
                        <a:pt x="108" y="146"/>
                      </a:lnTo>
                      <a:lnTo>
                        <a:pt x="112" y="146"/>
                      </a:lnTo>
                      <a:lnTo>
                        <a:pt x="112" y="150"/>
                      </a:lnTo>
                      <a:lnTo>
                        <a:pt x="116" y="150"/>
                      </a:lnTo>
                      <a:lnTo>
                        <a:pt x="112" y="150"/>
                      </a:lnTo>
                      <a:lnTo>
                        <a:pt x="112" y="152"/>
                      </a:lnTo>
                      <a:lnTo>
                        <a:pt x="112" y="156"/>
                      </a:lnTo>
                      <a:lnTo>
                        <a:pt x="116" y="156"/>
                      </a:lnTo>
                      <a:lnTo>
                        <a:pt x="116" y="160"/>
                      </a:lnTo>
                      <a:lnTo>
                        <a:pt x="120" y="160"/>
                      </a:lnTo>
                      <a:lnTo>
                        <a:pt x="116" y="164"/>
                      </a:lnTo>
                      <a:lnTo>
                        <a:pt x="116" y="160"/>
                      </a:lnTo>
                      <a:lnTo>
                        <a:pt x="120" y="160"/>
                      </a:lnTo>
                      <a:lnTo>
                        <a:pt x="116" y="160"/>
                      </a:lnTo>
                      <a:lnTo>
                        <a:pt x="112" y="160"/>
                      </a:lnTo>
                      <a:lnTo>
                        <a:pt x="108" y="160"/>
                      </a:lnTo>
                      <a:lnTo>
                        <a:pt x="106" y="160"/>
                      </a:lnTo>
                      <a:lnTo>
                        <a:pt x="108" y="160"/>
                      </a:lnTo>
                      <a:lnTo>
                        <a:pt x="112" y="160"/>
                      </a:lnTo>
                      <a:lnTo>
                        <a:pt x="116" y="160"/>
                      </a:lnTo>
                      <a:lnTo>
                        <a:pt x="116" y="164"/>
                      </a:lnTo>
                      <a:lnTo>
                        <a:pt x="120" y="164"/>
                      </a:lnTo>
                      <a:lnTo>
                        <a:pt x="120" y="168"/>
                      </a:lnTo>
                      <a:lnTo>
                        <a:pt x="120" y="172"/>
                      </a:lnTo>
                      <a:lnTo>
                        <a:pt x="120" y="176"/>
                      </a:lnTo>
                      <a:lnTo>
                        <a:pt x="116" y="176"/>
                      </a:lnTo>
                      <a:lnTo>
                        <a:pt x="120" y="180"/>
                      </a:lnTo>
                      <a:lnTo>
                        <a:pt x="124" y="180"/>
                      </a:lnTo>
                      <a:lnTo>
                        <a:pt x="124" y="176"/>
                      </a:lnTo>
                      <a:lnTo>
                        <a:pt x="128" y="176"/>
                      </a:lnTo>
                      <a:lnTo>
                        <a:pt x="132" y="176"/>
                      </a:lnTo>
                      <a:lnTo>
                        <a:pt x="136" y="176"/>
                      </a:lnTo>
                      <a:lnTo>
                        <a:pt x="138" y="180"/>
                      </a:lnTo>
                      <a:lnTo>
                        <a:pt x="142" y="182"/>
                      </a:lnTo>
                      <a:lnTo>
                        <a:pt x="142" y="186"/>
                      </a:lnTo>
                      <a:lnTo>
                        <a:pt x="138" y="190"/>
                      </a:lnTo>
                      <a:lnTo>
                        <a:pt x="138" y="194"/>
                      </a:lnTo>
                      <a:lnTo>
                        <a:pt x="136" y="198"/>
                      </a:lnTo>
                      <a:lnTo>
                        <a:pt x="132" y="194"/>
                      </a:lnTo>
                      <a:lnTo>
                        <a:pt x="136" y="198"/>
                      </a:lnTo>
                      <a:lnTo>
                        <a:pt x="136" y="202"/>
                      </a:lnTo>
                      <a:lnTo>
                        <a:pt x="132" y="202"/>
                      </a:lnTo>
                      <a:lnTo>
                        <a:pt x="132" y="198"/>
                      </a:lnTo>
                      <a:lnTo>
                        <a:pt x="132" y="202"/>
                      </a:lnTo>
                      <a:lnTo>
                        <a:pt x="128" y="202"/>
                      </a:lnTo>
                      <a:lnTo>
                        <a:pt x="132" y="202"/>
                      </a:lnTo>
                      <a:lnTo>
                        <a:pt x="132" y="206"/>
                      </a:lnTo>
                      <a:lnTo>
                        <a:pt x="128" y="206"/>
                      </a:lnTo>
                      <a:lnTo>
                        <a:pt x="124" y="206"/>
                      </a:lnTo>
                      <a:lnTo>
                        <a:pt x="120" y="210"/>
                      </a:lnTo>
                      <a:lnTo>
                        <a:pt x="124" y="210"/>
                      </a:lnTo>
                      <a:lnTo>
                        <a:pt x="124" y="206"/>
                      </a:lnTo>
                      <a:lnTo>
                        <a:pt x="128" y="206"/>
                      </a:lnTo>
                      <a:lnTo>
                        <a:pt x="128" y="210"/>
                      </a:lnTo>
                      <a:lnTo>
                        <a:pt x="124" y="210"/>
                      </a:lnTo>
                      <a:lnTo>
                        <a:pt x="128" y="210"/>
                      </a:lnTo>
                      <a:lnTo>
                        <a:pt x="132" y="210"/>
                      </a:lnTo>
                      <a:lnTo>
                        <a:pt x="136" y="210"/>
                      </a:lnTo>
                      <a:lnTo>
                        <a:pt x="136" y="212"/>
                      </a:lnTo>
                      <a:lnTo>
                        <a:pt x="136" y="216"/>
                      </a:lnTo>
                      <a:lnTo>
                        <a:pt x="132" y="216"/>
                      </a:lnTo>
                      <a:lnTo>
                        <a:pt x="132" y="220"/>
                      </a:lnTo>
                      <a:lnTo>
                        <a:pt x="128" y="220"/>
                      </a:lnTo>
                      <a:lnTo>
                        <a:pt x="128" y="216"/>
                      </a:lnTo>
                      <a:lnTo>
                        <a:pt x="128" y="220"/>
                      </a:lnTo>
                      <a:lnTo>
                        <a:pt x="124" y="220"/>
                      </a:lnTo>
                      <a:lnTo>
                        <a:pt x="120" y="220"/>
                      </a:lnTo>
                      <a:lnTo>
                        <a:pt x="120" y="224"/>
                      </a:lnTo>
                      <a:lnTo>
                        <a:pt x="116" y="220"/>
                      </a:lnTo>
                      <a:lnTo>
                        <a:pt x="112" y="220"/>
                      </a:lnTo>
                      <a:lnTo>
                        <a:pt x="108" y="220"/>
                      </a:lnTo>
                      <a:lnTo>
                        <a:pt x="106" y="220"/>
                      </a:lnTo>
                      <a:lnTo>
                        <a:pt x="106" y="224"/>
                      </a:lnTo>
                      <a:lnTo>
                        <a:pt x="106" y="220"/>
                      </a:lnTo>
                      <a:lnTo>
                        <a:pt x="102" y="220"/>
                      </a:lnTo>
                      <a:lnTo>
                        <a:pt x="98" y="220"/>
                      </a:lnTo>
                      <a:lnTo>
                        <a:pt x="94" y="224"/>
                      </a:lnTo>
                      <a:lnTo>
                        <a:pt x="90" y="224"/>
                      </a:lnTo>
                      <a:lnTo>
                        <a:pt x="86" y="224"/>
                      </a:lnTo>
                      <a:lnTo>
                        <a:pt x="90" y="224"/>
                      </a:lnTo>
                      <a:lnTo>
                        <a:pt x="86" y="224"/>
                      </a:lnTo>
                      <a:lnTo>
                        <a:pt x="82" y="224"/>
                      </a:lnTo>
                      <a:lnTo>
                        <a:pt x="82" y="228"/>
                      </a:lnTo>
                      <a:lnTo>
                        <a:pt x="82" y="224"/>
                      </a:lnTo>
                      <a:lnTo>
                        <a:pt x="80" y="224"/>
                      </a:lnTo>
                      <a:lnTo>
                        <a:pt x="76" y="224"/>
                      </a:lnTo>
                      <a:lnTo>
                        <a:pt x="72" y="224"/>
                      </a:lnTo>
                      <a:lnTo>
                        <a:pt x="68" y="224"/>
                      </a:lnTo>
                      <a:lnTo>
                        <a:pt x="68" y="228"/>
                      </a:lnTo>
                      <a:lnTo>
                        <a:pt x="64" y="232"/>
                      </a:lnTo>
                      <a:lnTo>
                        <a:pt x="64" y="236"/>
                      </a:lnTo>
                      <a:lnTo>
                        <a:pt x="60" y="232"/>
                      </a:lnTo>
                      <a:lnTo>
                        <a:pt x="56" y="232"/>
                      </a:lnTo>
                      <a:lnTo>
                        <a:pt x="52" y="232"/>
                      </a:lnTo>
                      <a:lnTo>
                        <a:pt x="50" y="232"/>
                      </a:lnTo>
                      <a:lnTo>
                        <a:pt x="46" y="236"/>
                      </a:lnTo>
                      <a:lnTo>
                        <a:pt x="46" y="240"/>
                      </a:lnTo>
                      <a:lnTo>
                        <a:pt x="42" y="240"/>
                      </a:lnTo>
                      <a:lnTo>
                        <a:pt x="42" y="236"/>
                      </a:lnTo>
                      <a:lnTo>
                        <a:pt x="38" y="236"/>
                      </a:lnTo>
                      <a:lnTo>
                        <a:pt x="38" y="240"/>
                      </a:lnTo>
                      <a:lnTo>
                        <a:pt x="34" y="240"/>
                      </a:lnTo>
                      <a:lnTo>
                        <a:pt x="34" y="236"/>
                      </a:lnTo>
                      <a:lnTo>
                        <a:pt x="38" y="236"/>
                      </a:lnTo>
                      <a:lnTo>
                        <a:pt x="42" y="232"/>
                      </a:lnTo>
                      <a:lnTo>
                        <a:pt x="46" y="228"/>
                      </a:lnTo>
                      <a:lnTo>
                        <a:pt x="46" y="224"/>
                      </a:lnTo>
                      <a:lnTo>
                        <a:pt x="50" y="224"/>
                      </a:lnTo>
                      <a:lnTo>
                        <a:pt x="52" y="220"/>
                      </a:lnTo>
                      <a:lnTo>
                        <a:pt x="52" y="216"/>
                      </a:lnTo>
                      <a:lnTo>
                        <a:pt x="56" y="216"/>
                      </a:lnTo>
                      <a:lnTo>
                        <a:pt x="56" y="212"/>
                      </a:lnTo>
                      <a:lnTo>
                        <a:pt x="60" y="212"/>
                      </a:lnTo>
                      <a:lnTo>
                        <a:pt x="64" y="212"/>
                      </a:lnTo>
                      <a:lnTo>
                        <a:pt x="68" y="212"/>
                      </a:lnTo>
                      <a:lnTo>
                        <a:pt x="76" y="212"/>
                      </a:lnTo>
                      <a:lnTo>
                        <a:pt x="76" y="210"/>
                      </a:lnTo>
                      <a:lnTo>
                        <a:pt x="76" y="206"/>
                      </a:lnTo>
                      <a:lnTo>
                        <a:pt x="80" y="206"/>
                      </a:lnTo>
                      <a:lnTo>
                        <a:pt x="80" y="202"/>
                      </a:lnTo>
                      <a:lnTo>
                        <a:pt x="82" y="202"/>
                      </a:lnTo>
                      <a:lnTo>
                        <a:pt x="80" y="202"/>
                      </a:lnTo>
                      <a:lnTo>
                        <a:pt x="80" y="206"/>
                      </a:lnTo>
                      <a:lnTo>
                        <a:pt x="76" y="206"/>
                      </a:lnTo>
                      <a:lnTo>
                        <a:pt x="72" y="206"/>
                      </a:lnTo>
                      <a:lnTo>
                        <a:pt x="72" y="210"/>
                      </a:lnTo>
                      <a:lnTo>
                        <a:pt x="68" y="210"/>
                      </a:lnTo>
                      <a:lnTo>
                        <a:pt x="64" y="210"/>
                      </a:lnTo>
                      <a:lnTo>
                        <a:pt x="64" y="206"/>
                      </a:lnTo>
                      <a:lnTo>
                        <a:pt x="60" y="206"/>
                      </a:lnTo>
                      <a:lnTo>
                        <a:pt x="56" y="206"/>
                      </a:lnTo>
                      <a:lnTo>
                        <a:pt x="60" y="202"/>
                      </a:lnTo>
                      <a:lnTo>
                        <a:pt x="56" y="202"/>
                      </a:lnTo>
                      <a:lnTo>
                        <a:pt x="52" y="202"/>
                      </a:lnTo>
                      <a:lnTo>
                        <a:pt x="50" y="202"/>
                      </a:lnTo>
                      <a:lnTo>
                        <a:pt x="50" y="206"/>
                      </a:lnTo>
                      <a:lnTo>
                        <a:pt x="50" y="202"/>
                      </a:lnTo>
                      <a:lnTo>
                        <a:pt x="50" y="206"/>
                      </a:lnTo>
                      <a:lnTo>
                        <a:pt x="46" y="206"/>
                      </a:lnTo>
                      <a:lnTo>
                        <a:pt x="46" y="202"/>
                      </a:lnTo>
                      <a:lnTo>
                        <a:pt x="50" y="202"/>
                      </a:lnTo>
                      <a:lnTo>
                        <a:pt x="46" y="202"/>
                      </a:lnTo>
                      <a:lnTo>
                        <a:pt x="42" y="202"/>
                      </a:lnTo>
                      <a:lnTo>
                        <a:pt x="46" y="202"/>
                      </a:lnTo>
                      <a:lnTo>
                        <a:pt x="46" y="198"/>
                      </a:lnTo>
                      <a:lnTo>
                        <a:pt x="42" y="198"/>
                      </a:lnTo>
                      <a:lnTo>
                        <a:pt x="46" y="198"/>
                      </a:lnTo>
                      <a:lnTo>
                        <a:pt x="50" y="194"/>
                      </a:lnTo>
                      <a:lnTo>
                        <a:pt x="52" y="194"/>
                      </a:lnTo>
                      <a:lnTo>
                        <a:pt x="56" y="190"/>
                      </a:lnTo>
                      <a:lnTo>
                        <a:pt x="56" y="186"/>
                      </a:lnTo>
                      <a:lnTo>
                        <a:pt x="60" y="186"/>
                      </a:lnTo>
                      <a:lnTo>
                        <a:pt x="60" y="182"/>
                      </a:lnTo>
                      <a:lnTo>
                        <a:pt x="56" y="182"/>
                      </a:lnTo>
                      <a:lnTo>
                        <a:pt x="60" y="180"/>
                      </a:lnTo>
                      <a:lnTo>
                        <a:pt x="56" y="180"/>
                      </a:lnTo>
                      <a:lnTo>
                        <a:pt x="56" y="176"/>
                      </a:lnTo>
                      <a:lnTo>
                        <a:pt x="52" y="176"/>
                      </a:lnTo>
                      <a:lnTo>
                        <a:pt x="52" y="180"/>
                      </a:lnTo>
                      <a:lnTo>
                        <a:pt x="50" y="180"/>
                      </a:lnTo>
                      <a:lnTo>
                        <a:pt x="50" y="176"/>
                      </a:lnTo>
                      <a:lnTo>
                        <a:pt x="52" y="176"/>
                      </a:lnTo>
                      <a:lnTo>
                        <a:pt x="56" y="172"/>
                      </a:lnTo>
                      <a:lnTo>
                        <a:pt x="56" y="168"/>
                      </a:lnTo>
                      <a:lnTo>
                        <a:pt x="60" y="168"/>
                      </a:lnTo>
                      <a:lnTo>
                        <a:pt x="64" y="168"/>
                      </a:lnTo>
                      <a:lnTo>
                        <a:pt x="68" y="168"/>
                      </a:lnTo>
                      <a:lnTo>
                        <a:pt x="72" y="168"/>
                      </a:lnTo>
                      <a:lnTo>
                        <a:pt x="72" y="164"/>
                      </a:lnTo>
                      <a:lnTo>
                        <a:pt x="76" y="168"/>
                      </a:lnTo>
                      <a:lnTo>
                        <a:pt x="80" y="168"/>
                      </a:lnTo>
                      <a:lnTo>
                        <a:pt x="76" y="168"/>
                      </a:lnTo>
                      <a:lnTo>
                        <a:pt x="76" y="164"/>
                      </a:lnTo>
                      <a:lnTo>
                        <a:pt x="72" y="164"/>
                      </a:lnTo>
                      <a:lnTo>
                        <a:pt x="72" y="160"/>
                      </a:lnTo>
                      <a:lnTo>
                        <a:pt x="76" y="160"/>
                      </a:lnTo>
                      <a:lnTo>
                        <a:pt x="72" y="156"/>
                      </a:lnTo>
                      <a:lnTo>
                        <a:pt x="76" y="152"/>
                      </a:lnTo>
                      <a:lnTo>
                        <a:pt x="76" y="150"/>
                      </a:lnTo>
                      <a:lnTo>
                        <a:pt x="72" y="152"/>
                      </a:lnTo>
                      <a:lnTo>
                        <a:pt x="72" y="150"/>
                      </a:lnTo>
                      <a:lnTo>
                        <a:pt x="68" y="150"/>
                      </a:lnTo>
                      <a:lnTo>
                        <a:pt x="68" y="146"/>
                      </a:lnTo>
                      <a:lnTo>
                        <a:pt x="68" y="142"/>
                      </a:lnTo>
                      <a:lnTo>
                        <a:pt x="64" y="142"/>
                      </a:lnTo>
                      <a:lnTo>
                        <a:pt x="64" y="138"/>
                      </a:lnTo>
                      <a:lnTo>
                        <a:pt x="68" y="134"/>
                      </a:lnTo>
                      <a:lnTo>
                        <a:pt x="72" y="134"/>
                      </a:lnTo>
                      <a:lnTo>
                        <a:pt x="76" y="134"/>
                      </a:lnTo>
                      <a:lnTo>
                        <a:pt x="76" y="130"/>
                      </a:lnTo>
                      <a:lnTo>
                        <a:pt x="72" y="130"/>
                      </a:lnTo>
                      <a:lnTo>
                        <a:pt x="68" y="130"/>
                      </a:lnTo>
                      <a:lnTo>
                        <a:pt x="64" y="130"/>
                      </a:lnTo>
                      <a:lnTo>
                        <a:pt x="64" y="134"/>
                      </a:lnTo>
                      <a:lnTo>
                        <a:pt x="60" y="134"/>
                      </a:lnTo>
                      <a:lnTo>
                        <a:pt x="60" y="138"/>
                      </a:lnTo>
                      <a:lnTo>
                        <a:pt x="56" y="138"/>
                      </a:lnTo>
                      <a:lnTo>
                        <a:pt x="52" y="134"/>
                      </a:lnTo>
                      <a:lnTo>
                        <a:pt x="52" y="138"/>
                      </a:lnTo>
                      <a:lnTo>
                        <a:pt x="56" y="138"/>
                      </a:lnTo>
                      <a:lnTo>
                        <a:pt x="52" y="138"/>
                      </a:lnTo>
                      <a:lnTo>
                        <a:pt x="50" y="134"/>
                      </a:lnTo>
                      <a:lnTo>
                        <a:pt x="46" y="134"/>
                      </a:lnTo>
                      <a:lnTo>
                        <a:pt x="46" y="138"/>
                      </a:lnTo>
                      <a:lnTo>
                        <a:pt x="50" y="138"/>
                      </a:lnTo>
                      <a:lnTo>
                        <a:pt x="50" y="138"/>
                      </a:lnTo>
                      <a:lnTo>
                        <a:pt x="50" y="138"/>
                      </a:lnTo>
                      <a:close/>
                      <a:moveTo>
                        <a:pt x="22" y="66"/>
                      </a:moveTo>
                      <a:lnTo>
                        <a:pt x="22" y="62"/>
                      </a:lnTo>
                      <a:lnTo>
                        <a:pt x="20" y="66"/>
                      </a:lnTo>
                      <a:lnTo>
                        <a:pt x="22" y="66"/>
                      </a:lnTo>
                      <a:lnTo>
                        <a:pt x="20" y="70"/>
                      </a:lnTo>
                      <a:lnTo>
                        <a:pt x="16" y="70"/>
                      </a:lnTo>
                      <a:lnTo>
                        <a:pt x="20" y="66"/>
                      </a:lnTo>
                      <a:lnTo>
                        <a:pt x="16" y="66"/>
                      </a:lnTo>
                      <a:lnTo>
                        <a:pt x="16" y="62"/>
                      </a:lnTo>
                      <a:lnTo>
                        <a:pt x="16" y="60"/>
                      </a:lnTo>
                      <a:lnTo>
                        <a:pt x="20" y="60"/>
                      </a:lnTo>
                      <a:lnTo>
                        <a:pt x="20" y="62"/>
                      </a:lnTo>
                      <a:lnTo>
                        <a:pt x="20" y="60"/>
                      </a:lnTo>
                      <a:lnTo>
                        <a:pt x="22" y="56"/>
                      </a:lnTo>
                      <a:lnTo>
                        <a:pt x="26" y="56"/>
                      </a:lnTo>
                      <a:lnTo>
                        <a:pt x="26" y="52"/>
                      </a:lnTo>
                      <a:lnTo>
                        <a:pt x="26" y="56"/>
                      </a:lnTo>
                      <a:lnTo>
                        <a:pt x="30" y="56"/>
                      </a:lnTo>
                      <a:lnTo>
                        <a:pt x="26" y="56"/>
                      </a:lnTo>
                      <a:lnTo>
                        <a:pt x="26" y="60"/>
                      </a:lnTo>
                      <a:lnTo>
                        <a:pt x="30" y="60"/>
                      </a:lnTo>
                      <a:lnTo>
                        <a:pt x="26" y="60"/>
                      </a:lnTo>
                      <a:lnTo>
                        <a:pt x="26" y="62"/>
                      </a:lnTo>
                      <a:lnTo>
                        <a:pt x="22" y="62"/>
                      </a:lnTo>
                      <a:lnTo>
                        <a:pt x="26" y="62"/>
                      </a:lnTo>
                      <a:lnTo>
                        <a:pt x="22" y="66"/>
                      </a:lnTo>
                      <a:lnTo>
                        <a:pt x="22" y="66"/>
                      </a:lnTo>
                      <a:lnTo>
                        <a:pt x="22" y="66"/>
                      </a:lnTo>
                      <a:close/>
                      <a:moveTo>
                        <a:pt x="16" y="74"/>
                      </a:moveTo>
                      <a:lnTo>
                        <a:pt x="12" y="74"/>
                      </a:lnTo>
                      <a:lnTo>
                        <a:pt x="8" y="74"/>
                      </a:lnTo>
                      <a:lnTo>
                        <a:pt x="12" y="74"/>
                      </a:lnTo>
                      <a:lnTo>
                        <a:pt x="16" y="70"/>
                      </a:lnTo>
                      <a:lnTo>
                        <a:pt x="16" y="74"/>
                      </a:lnTo>
                      <a:lnTo>
                        <a:pt x="16" y="74"/>
                      </a:lnTo>
                      <a:lnTo>
                        <a:pt x="16" y="74"/>
                      </a:lnTo>
                      <a:close/>
                      <a:moveTo>
                        <a:pt x="34" y="86"/>
                      </a:moveTo>
                      <a:lnTo>
                        <a:pt x="30" y="86"/>
                      </a:lnTo>
                      <a:lnTo>
                        <a:pt x="30" y="82"/>
                      </a:lnTo>
                      <a:lnTo>
                        <a:pt x="30" y="86"/>
                      </a:lnTo>
                      <a:lnTo>
                        <a:pt x="30" y="82"/>
                      </a:lnTo>
                      <a:lnTo>
                        <a:pt x="26" y="86"/>
                      </a:lnTo>
                      <a:lnTo>
                        <a:pt x="26" y="82"/>
                      </a:lnTo>
                      <a:lnTo>
                        <a:pt x="22" y="82"/>
                      </a:lnTo>
                      <a:lnTo>
                        <a:pt x="26" y="82"/>
                      </a:lnTo>
                      <a:lnTo>
                        <a:pt x="22" y="78"/>
                      </a:lnTo>
                      <a:lnTo>
                        <a:pt x="22" y="82"/>
                      </a:lnTo>
                      <a:lnTo>
                        <a:pt x="22" y="78"/>
                      </a:lnTo>
                      <a:lnTo>
                        <a:pt x="20" y="78"/>
                      </a:lnTo>
                      <a:lnTo>
                        <a:pt x="22" y="74"/>
                      </a:lnTo>
                      <a:lnTo>
                        <a:pt x="26" y="74"/>
                      </a:lnTo>
                      <a:lnTo>
                        <a:pt x="26" y="70"/>
                      </a:lnTo>
                      <a:lnTo>
                        <a:pt x="30" y="74"/>
                      </a:lnTo>
                      <a:lnTo>
                        <a:pt x="30" y="78"/>
                      </a:lnTo>
                      <a:lnTo>
                        <a:pt x="30" y="82"/>
                      </a:lnTo>
                      <a:lnTo>
                        <a:pt x="34" y="82"/>
                      </a:lnTo>
                      <a:lnTo>
                        <a:pt x="38" y="82"/>
                      </a:lnTo>
                      <a:lnTo>
                        <a:pt x="34" y="86"/>
                      </a:lnTo>
                      <a:lnTo>
                        <a:pt x="34" y="86"/>
                      </a:lnTo>
                      <a:lnTo>
                        <a:pt x="34" y="86"/>
                      </a:lnTo>
                      <a:close/>
                      <a:moveTo>
                        <a:pt x="30" y="82"/>
                      </a:moveTo>
                      <a:lnTo>
                        <a:pt x="30" y="78"/>
                      </a:lnTo>
                      <a:lnTo>
                        <a:pt x="30" y="74"/>
                      </a:lnTo>
                      <a:lnTo>
                        <a:pt x="30" y="78"/>
                      </a:lnTo>
                      <a:lnTo>
                        <a:pt x="30" y="82"/>
                      </a:lnTo>
                      <a:lnTo>
                        <a:pt x="30" y="82"/>
                      </a:lnTo>
                      <a:lnTo>
                        <a:pt x="30" y="82"/>
                      </a:lnTo>
                      <a:close/>
                      <a:moveTo>
                        <a:pt x="12" y="78"/>
                      </a:moveTo>
                      <a:lnTo>
                        <a:pt x="16" y="78"/>
                      </a:lnTo>
                      <a:lnTo>
                        <a:pt x="12" y="78"/>
                      </a:lnTo>
                      <a:lnTo>
                        <a:pt x="12" y="78"/>
                      </a:lnTo>
                      <a:lnTo>
                        <a:pt x="12" y="78"/>
                      </a:lnTo>
                      <a:close/>
                      <a:moveTo>
                        <a:pt x="16" y="86"/>
                      </a:moveTo>
                      <a:lnTo>
                        <a:pt x="12" y="86"/>
                      </a:lnTo>
                      <a:lnTo>
                        <a:pt x="12" y="82"/>
                      </a:lnTo>
                      <a:lnTo>
                        <a:pt x="12" y="78"/>
                      </a:lnTo>
                      <a:lnTo>
                        <a:pt x="16" y="78"/>
                      </a:lnTo>
                      <a:lnTo>
                        <a:pt x="16" y="82"/>
                      </a:lnTo>
                      <a:lnTo>
                        <a:pt x="12" y="82"/>
                      </a:lnTo>
                      <a:lnTo>
                        <a:pt x="12" y="78"/>
                      </a:lnTo>
                      <a:lnTo>
                        <a:pt x="12" y="82"/>
                      </a:lnTo>
                      <a:lnTo>
                        <a:pt x="12" y="86"/>
                      </a:lnTo>
                      <a:lnTo>
                        <a:pt x="16" y="86"/>
                      </a:lnTo>
                      <a:lnTo>
                        <a:pt x="16" y="86"/>
                      </a:lnTo>
                      <a:lnTo>
                        <a:pt x="16" y="86"/>
                      </a:lnTo>
                      <a:close/>
                      <a:moveTo>
                        <a:pt x="12" y="90"/>
                      </a:moveTo>
                      <a:lnTo>
                        <a:pt x="8" y="90"/>
                      </a:lnTo>
                      <a:lnTo>
                        <a:pt x="12" y="86"/>
                      </a:lnTo>
                      <a:lnTo>
                        <a:pt x="12" y="90"/>
                      </a:lnTo>
                      <a:lnTo>
                        <a:pt x="12" y="90"/>
                      </a:lnTo>
                      <a:lnTo>
                        <a:pt x="12" y="90"/>
                      </a:lnTo>
                      <a:close/>
                      <a:moveTo>
                        <a:pt x="26" y="90"/>
                      </a:moveTo>
                      <a:lnTo>
                        <a:pt x="26" y="86"/>
                      </a:lnTo>
                      <a:lnTo>
                        <a:pt x="26" y="90"/>
                      </a:lnTo>
                      <a:lnTo>
                        <a:pt x="26" y="90"/>
                      </a:lnTo>
                      <a:lnTo>
                        <a:pt x="26" y="90"/>
                      </a:lnTo>
                      <a:close/>
                      <a:moveTo>
                        <a:pt x="22" y="96"/>
                      </a:moveTo>
                      <a:lnTo>
                        <a:pt x="22" y="92"/>
                      </a:lnTo>
                      <a:lnTo>
                        <a:pt x="26" y="92"/>
                      </a:lnTo>
                      <a:lnTo>
                        <a:pt x="22" y="96"/>
                      </a:lnTo>
                      <a:lnTo>
                        <a:pt x="22" y="96"/>
                      </a:lnTo>
                      <a:lnTo>
                        <a:pt x="22" y="96"/>
                      </a:lnTo>
                      <a:close/>
                      <a:moveTo>
                        <a:pt x="30" y="96"/>
                      </a:moveTo>
                      <a:lnTo>
                        <a:pt x="34" y="96"/>
                      </a:lnTo>
                      <a:lnTo>
                        <a:pt x="34" y="100"/>
                      </a:lnTo>
                      <a:lnTo>
                        <a:pt x="38" y="100"/>
                      </a:lnTo>
                      <a:lnTo>
                        <a:pt x="34" y="100"/>
                      </a:lnTo>
                      <a:lnTo>
                        <a:pt x="34" y="104"/>
                      </a:lnTo>
                      <a:lnTo>
                        <a:pt x="34" y="100"/>
                      </a:lnTo>
                      <a:lnTo>
                        <a:pt x="30" y="104"/>
                      </a:lnTo>
                      <a:lnTo>
                        <a:pt x="26" y="104"/>
                      </a:lnTo>
                      <a:lnTo>
                        <a:pt x="26" y="100"/>
                      </a:lnTo>
                      <a:lnTo>
                        <a:pt x="26" y="104"/>
                      </a:lnTo>
                      <a:lnTo>
                        <a:pt x="30" y="100"/>
                      </a:lnTo>
                      <a:lnTo>
                        <a:pt x="26" y="100"/>
                      </a:lnTo>
                      <a:lnTo>
                        <a:pt x="30" y="100"/>
                      </a:lnTo>
                      <a:lnTo>
                        <a:pt x="30" y="96"/>
                      </a:lnTo>
                      <a:lnTo>
                        <a:pt x="30" y="100"/>
                      </a:lnTo>
                      <a:lnTo>
                        <a:pt x="26" y="96"/>
                      </a:lnTo>
                      <a:lnTo>
                        <a:pt x="30" y="96"/>
                      </a:lnTo>
                      <a:lnTo>
                        <a:pt x="30" y="96"/>
                      </a:lnTo>
                      <a:lnTo>
                        <a:pt x="30" y="96"/>
                      </a:lnTo>
                      <a:close/>
                      <a:moveTo>
                        <a:pt x="20" y="100"/>
                      </a:moveTo>
                      <a:lnTo>
                        <a:pt x="16" y="96"/>
                      </a:lnTo>
                      <a:lnTo>
                        <a:pt x="20" y="96"/>
                      </a:lnTo>
                      <a:lnTo>
                        <a:pt x="20" y="100"/>
                      </a:lnTo>
                      <a:lnTo>
                        <a:pt x="20" y="100"/>
                      </a:lnTo>
                      <a:lnTo>
                        <a:pt x="20" y="100"/>
                      </a:lnTo>
                      <a:close/>
                      <a:moveTo>
                        <a:pt x="30" y="116"/>
                      </a:moveTo>
                      <a:lnTo>
                        <a:pt x="30" y="112"/>
                      </a:lnTo>
                      <a:lnTo>
                        <a:pt x="30" y="108"/>
                      </a:lnTo>
                      <a:lnTo>
                        <a:pt x="34" y="108"/>
                      </a:lnTo>
                      <a:lnTo>
                        <a:pt x="34" y="112"/>
                      </a:lnTo>
                      <a:lnTo>
                        <a:pt x="30" y="112"/>
                      </a:lnTo>
                      <a:lnTo>
                        <a:pt x="30" y="116"/>
                      </a:lnTo>
                      <a:lnTo>
                        <a:pt x="30" y="116"/>
                      </a:lnTo>
                      <a:lnTo>
                        <a:pt x="30" y="116"/>
                      </a:lnTo>
                      <a:close/>
                      <a:moveTo>
                        <a:pt x="26" y="120"/>
                      </a:moveTo>
                      <a:lnTo>
                        <a:pt x="26" y="116"/>
                      </a:lnTo>
                      <a:lnTo>
                        <a:pt x="22" y="116"/>
                      </a:lnTo>
                      <a:lnTo>
                        <a:pt x="26" y="112"/>
                      </a:lnTo>
                      <a:lnTo>
                        <a:pt x="30" y="112"/>
                      </a:lnTo>
                      <a:lnTo>
                        <a:pt x="30" y="116"/>
                      </a:lnTo>
                      <a:lnTo>
                        <a:pt x="26" y="120"/>
                      </a:lnTo>
                      <a:lnTo>
                        <a:pt x="26" y="120"/>
                      </a:lnTo>
                      <a:lnTo>
                        <a:pt x="26" y="120"/>
                      </a:lnTo>
                      <a:close/>
                      <a:moveTo>
                        <a:pt x="46" y="116"/>
                      </a:moveTo>
                      <a:lnTo>
                        <a:pt x="42" y="112"/>
                      </a:lnTo>
                      <a:lnTo>
                        <a:pt x="46" y="112"/>
                      </a:lnTo>
                      <a:lnTo>
                        <a:pt x="46" y="116"/>
                      </a:lnTo>
                      <a:lnTo>
                        <a:pt x="46" y="116"/>
                      </a:lnTo>
                      <a:lnTo>
                        <a:pt x="46" y="116"/>
                      </a:lnTo>
                      <a:close/>
                      <a:moveTo>
                        <a:pt x="42" y="122"/>
                      </a:moveTo>
                      <a:lnTo>
                        <a:pt x="42" y="120"/>
                      </a:lnTo>
                      <a:lnTo>
                        <a:pt x="42" y="116"/>
                      </a:lnTo>
                      <a:lnTo>
                        <a:pt x="46" y="120"/>
                      </a:lnTo>
                      <a:lnTo>
                        <a:pt x="46" y="122"/>
                      </a:lnTo>
                      <a:lnTo>
                        <a:pt x="42" y="122"/>
                      </a:lnTo>
                      <a:lnTo>
                        <a:pt x="42" y="122"/>
                      </a:lnTo>
                      <a:lnTo>
                        <a:pt x="42" y="122"/>
                      </a:lnTo>
                      <a:close/>
                      <a:moveTo>
                        <a:pt x="22" y="152"/>
                      </a:moveTo>
                      <a:lnTo>
                        <a:pt x="20" y="150"/>
                      </a:lnTo>
                      <a:lnTo>
                        <a:pt x="20" y="146"/>
                      </a:lnTo>
                      <a:lnTo>
                        <a:pt x="16" y="146"/>
                      </a:lnTo>
                      <a:lnTo>
                        <a:pt x="16" y="150"/>
                      </a:lnTo>
                      <a:lnTo>
                        <a:pt x="12" y="150"/>
                      </a:lnTo>
                      <a:lnTo>
                        <a:pt x="8" y="150"/>
                      </a:lnTo>
                      <a:lnTo>
                        <a:pt x="4" y="150"/>
                      </a:lnTo>
                      <a:lnTo>
                        <a:pt x="4" y="146"/>
                      </a:lnTo>
                      <a:lnTo>
                        <a:pt x="0" y="146"/>
                      </a:lnTo>
                      <a:lnTo>
                        <a:pt x="0" y="142"/>
                      </a:lnTo>
                      <a:lnTo>
                        <a:pt x="4" y="142"/>
                      </a:lnTo>
                      <a:lnTo>
                        <a:pt x="8" y="142"/>
                      </a:lnTo>
                      <a:lnTo>
                        <a:pt x="4" y="138"/>
                      </a:lnTo>
                      <a:lnTo>
                        <a:pt x="8" y="138"/>
                      </a:lnTo>
                      <a:lnTo>
                        <a:pt x="12" y="134"/>
                      </a:lnTo>
                      <a:lnTo>
                        <a:pt x="12" y="130"/>
                      </a:lnTo>
                      <a:lnTo>
                        <a:pt x="16" y="130"/>
                      </a:lnTo>
                      <a:lnTo>
                        <a:pt x="20" y="126"/>
                      </a:lnTo>
                      <a:lnTo>
                        <a:pt x="22" y="126"/>
                      </a:lnTo>
                      <a:lnTo>
                        <a:pt x="26" y="126"/>
                      </a:lnTo>
                      <a:lnTo>
                        <a:pt x="30" y="126"/>
                      </a:lnTo>
                      <a:lnTo>
                        <a:pt x="30" y="130"/>
                      </a:lnTo>
                      <a:lnTo>
                        <a:pt x="34" y="134"/>
                      </a:lnTo>
                      <a:lnTo>
                        <a:pt x="34" y="138"/>
                      </a:lnTo>
                      <a:lnTo>
                        <a:pt x="34" y="142"/>
                      </a:lnTo>
                      <a:lnTo>
                        <a:pt x="34" y="138"/>
                      </a:lnTo>
                      <a:lnTo>
                        <a:pt x="38" y="138"/>
                      </a:lnTo>
                      <a:lnTo>
                        <a:pt x="38" y="142"/>
                      </a:lnTo>
                      <a:lnTo>
                        <a:pt x="38" y="146"/>
                      </a:lnTo>
                      <a:lnTo>
                        <a:pt x="38" y="142"/>
                      </a:lnTo>
                      <a:lnTo>
                        <a:pt x="34" y="142"/>
                      </a:lnTo>
                      <a:lnTo>
                        <a:pt x="38" y="142"/>
                      </a:lnTo>
                      <a:lnTo>
                        <a:pt x="38" y="146"/>
                      </a:lnTo>
                      <a:lnTo>
                        <a:pt x="38" y="150"/>
                      </a:lnTo>
                      <a:lnTo>
                        <a:pt x="34" y="150"/>
                      </a:lnTo>
                      <a:lnTo>
                        <a:pt x="34" y="152"/>
                      </a:lnTo>
                      <a:lnTo>
                        <a:pt x="30" y="152"/>
                      </a:lnTo>
                      <a:lnTo>
                        <a:pt x="26" y="150"/>
                      </a:lnTo>
                      <a:lnTo>
                        <a:pt x="26" y="152"/>
                      </a:lnTo>
                      <a:lnTo>
                        <a:pt x="22" y="152"/>
                      </a:lnTo>
                      <a:lnTo>
                        <a:pt x="22" y="152"/>
                      </a:lnTo>
                      <a:lnTo>
                        <a:pt x="22" y="152"/>
                      </a:lnTo>
                      <a:close/>
                      <a:moveTo>
                        <a:pt x="52" y="172"/>
                      </a:moveTo>
                      <a:lnTo>
                        <a:pt x="52" y="168"/>
                      </a:lnTo>
                      <a:lnTo>
                        <a:pt x="52" y="164"/>
                      </a:lnTo>
                      <a:lnTo>
                        <a:pt x="56" y="164"/>
                      </a:lnTo>
                      <a:lnTo>
                        <a:pt x="56" y="168"/>
                      </a:lnTo>
                      <a:lnTo>
                        <a:pt x="60" y="168"/>
                      </a:lnTo>
                      <a:lnTo>
                        <a:pt x="56" y="168"/>
                      </a:lnTo>
                      <a:lnTo>
                        <a:pt x="56" y="172"/>
                      </a:lnTo>
                      <a:lnTo>
                        <a:pt x="52" y="172"/>
                      </a:lnTo>
                      <a:lnTo>
                        <a:pt x="52" y="172"/>
                      </a:lnTo>
                      <a:lnTo>
                        <a:pt x="52" y="172"/>
                      </a:lnTo>
                      <a:close/>
                      <a:moveTo>
                        <a:pt x="128" y="210"/>
                      </a:moveTo>
                      <a:lnTo>
                        <a:pt x="132" y="210"/>
                      </a:lnTo>
                      <a:lnTo>
                        <a:pt x="128" y="210"/>
                      </a:lnTo>
                      <a:lnTo>
                        <a:pt x="128" y="210"/>
                      </a:lnTo>
                      <a:lnTo>
                        <a:pt x="128" y="210"/>
                      </a:lnTo>
                      <a:close/>
                      <a:moveTo>
                        <a:pt x="98" y="224"/>
                      </a:moveTo>
                      <a:lnTo>
                        <a:pt x="94" y="224"/>
                      </a:lnTo>
                      <a:lnTo>
                        <a:pt x="98" y="220"/>
                      </a:lnTo>
                      <a:lnTo>
                        <a:pt x="102" y="224"/>
                      </a:lnTo>
                      <a:lnTo>
                        <a:pt x="98" y="224"/>
                      </a:lnTo>
                      <a:lnTo>
                        <a:pt x="98" y="224"/>
                      </a:lnTo>
                      <a:lnTo>
                        <a:pt x="98" y="224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81" name="Freeform 127"/>
                <p:cNvSpPr>
                  <a:spLocks/>
                </p:cNvSpPr>
                <p:nvPr/>
              </p:nvSpPr>
              <p:spPr bwMode="auto">
                <a:xfrm>
                  <a:off x="4197350" y="3514793"/>
                  <a:ext cx="463550" cy="527050"/>
                </a:xfrm>
                <a:custGeom>
                  <a:avLst/>
                  <a:gdLst>
                    <a:gd name="T0" fmla="*/ 202 w 292"/>
                    <a:gd name="T1" fmla="*/ 10 h 332"/>
                    <a:gd name="T2" fmla="*/ 214 w 292"/>
                    <a:gd name="T3" fmla="*/ 4 h 332"/>
                    <a:gd name="T4" fmla="*/ 224 w 292"/>
                    <a:gd name="T5" fmla="*/ 4 h 332"/>
                    <a:gd name="T6" fmla="*/ 228 w 292"/>
                    <a:gd name="T7" fmla="*/ 4 h 332"/>
                    <a:gd name="T8" fmla="*/ 236 w 292"/>
                    <a:gd name="T9" fmla="*/ 8 h 332"/>
                    <a:gd name="T10" fmla="*/ 246 w 292"/>
                    <a:gd name="T11" fmla="*/ 8 h 332"/>
                    <a:gd name="T12" fmla="*/ 240 w 292"/>
                    <a:gd name="T13" fmla="*/ 10 h 332"/>
                    <a:gd name="T14" fmla="*/ 244 w 292"/>
                    <a:gd name="T15" fmla="*/ 26 h 332"/>
                    <a:gd name="T16" fmla="*/ 240 w 292"/>
                    <a:gd name="T17" fmla="*/ 44 h 332"/>
                    <a:gd name="T18" fmla="*/ 232 w 292"/>
                    <a:gd name="T19" fmla="*/ 56 h 332"/>
                    <a:gd name="T20" fmla="*/ 232 w 292"/>
                    <a:gd name="T21" fmla="*/ 66 h 332"/>
                    <a:gd name="T22" fmla="*/ 240 w 292"/>
                    <a:gd name="T23" fmla="*/ 78 h 332"/>
                    <a:gd name="T24" fmla="*/ 246 w 292"/>
                    <a:gd name="T25" fmla="*/ 90 h 332"/>
                    <a:gd name="T26" fmla="*/ 254 w 292"/>
                    <a:gd name="T27" fmla="*/ 112 h 332"/>
                    <a:gd name="T28" fmla="*/ 258 w 292"/>
                    <a:gd name="T29" fmla="*/ 130 h 332"/>
                    <a:gd name="T30" fmla="*/ 262 w 292"/>
                    <a:gd name="T31" fmla="*/ 142 h 332"/>
                    <a:gd name="T32" fmla="*/ 262 w 292"/>
                    <a:gd name="T33" fmla="*/ 160 h 332"/>
                    <a:gd name="T34" fmla="*/ 262 w 292"/>
                    <a:gd name="T35" fmla="*/ 180 h 332"/>
                    <a:gd name="T36" fmla="*/ 266 w 292"/>
                    <a:gd name="T37" fmla="*/ 194 h 332"/>
                    <a:gd name="T38" fmla="*/ 266 w 292"/>
                    <a:gd name="T39" fmla="*/ 216 h 332"/>
                    <a:gd name="T40" fmla="*/ 270 w 292"/>
                    <a:gd name="T41" fmla="*/ 232 h 332"/>
                    <a:gd name="T42" fmla="*/ 284 w 292"/>
                    <a:gd name="T43" fmla="*/ 236 h 332"/>
                    <a:gd name="T44" fmla="*/ 288 w 292"/>
                    <a:gd name="T45" fmla="*/ 254 h 332"/>
                    <a:gd name="T46" fmla="*/ 270 w 292"/>
                    <a:gd name="T47" fmla="*/ 270 h 332"/>
                    <a:gd name="T48" fmla="*/ 246 w 292"/>
                    <a:gd name="T49" fmla="*/ 284 h 332"/>
                    <a:gd name="T50" fmla="*/ 228 w 292"/>
                    <a:gd name="T51" fmla="*/ 300 h 332"/>
                    <a:gd name="T52" fmla="*/ 210 w 292"/>
                    <a:gd name="T53" fmla="*/ 320 h 332"/>
                    <a:gd name="T54" fmla="*/ 188 w 292"/>
                    <a:gd name="T55" fmla="*/ 328 h 332"/>
                    <a:gd name="T56" fmla="*/ 170 w 292"/>
                    <a:gd name="T57" fmla="*/ 328 h 332"/>
                    <a:gd name="T58" fmla="*/ 162 w 292"/>
                    <a:gd name="T59" fmla="*/ 314 h 332"/>
                    <a:gd name="T60" fmla="*/ 150 w 292"/>
                    <a:gd name="T61" fmla="*/ 306 h 332"/>
                    <a:gd name="T62" fmla="*/ 142 w 292"/>
                    <a:gd name="T63" fmla="*/ 300 h 332"/>
                    <a:gd name="T64" fmla="*/ 128 w 292"/>
                    <a:gd name="T65" fmla="*/ 284 h 332"/>
                    <a:gd name="T66" fmla="*/ 106 w 292"/>
                    <a:gd name="T67" fmla="*/ 266 h 332"/>
                    <a:gd name="T68" fmla="*/ 80 w 292"/>
                    <a:gd name="T69" fmla="*/ 242 h 332"/>
                    <a:gd name="T70" fmla="*/ 56 w 292"/>
                    <a:gd name="T71" fmla="*/ 224 h 332"/>
                    <a:gd name="T72" fmla="*/ 34 w 292"/>
                    <a:gd name="T73" fmla="*/ 210 h 332"/>
                    <a:gd name="T74" fmla="*/ 20 w 292"/>
                    <a:gd name="T75" fmla="*/ 198 h 332"/>
                    <a:gd name="T76" fmla="*/ 0 w 292"/>
                    <a:gd name="T77" fmla="*/ 180 h 332"/>
                    <a:gd name="T78" fmla="*/ 4 w 292"/>
                    <a:gd name="T79" fmla="*/ 154 h 332"/>
                    <a:gd name="T80" fmla="*/ 16 w 292"/>
                    <a:gd name="T81" fmla="*/ 146 h 332"/>
                    <a:gd name="T82" fmla="*/ 30 w 292"/>
                    <a:gd name="T83" fmla="*/ 142 h 332"/>
                    <a:gd name="T84" fmla="*/ 42 w 292"/>
                    <a:gd name="T85" fmla="*/ 134 h 332"/>
                    <a:gd name="T86" fmla="*/ 54 w 292"/>
                    <a:gd name="T87" fmla="*/ 126 h 332"/>
                    <a:gd name="T88" fmla="*/ 68 w 292"/>
                    <a:gd name="T89" fmla="*/ 116 h 332"/>
                    <a:gd name="T90" fmla="*/ 68 w 292"/>
                    <a:gd name="T91" fmla="*/ 108 h 332"/>
                    <a:gd name="T92" fmla="*/ 76 w 292"/>
                    <a:gd name="T93" fmla="*/ 100 h 332"/>
                    <a:gd name="T94" fmla="*/ 94 w 292"/>
                    <a:gd name="T95" fmla="*/ 94 h 332"/>
                    <a:gd name="T96" fmla="*/ 110 w 292"/>
                    <a:gd name="T97" fmla="*/ 94 h 332"/>
                    <a:gd name="T98" fmla="*/ 106 w 292"/>
                    <a:gd name="T99" fmla="*/ 86 h 332"/>
                    <a:gd name="T100" fmla="*/ 102 w 292"/>
                    <a:gd name="T101" fmla="*/ 66 h 332"/>
                    <a:gd name="T102" fmla="*/ 98 w 292"/>
                    <a:gd name="T103" fmla="*/ 52 h 332"/>
                    <a:gd name="T104" fmla="*/ 94 w 292"/>
                    <a:gd name="T105" fmla="*/ 40 h 332"/>
                    <a:gd name="T106" fmla="*/ 106 w 292"/>
                    <a:gd name="T107" fmla="*/ 34 h 332"/>
                    <a:gd name="T108" fmla="*/ 120 w 292"/>
                    <a:gd name="T109" fmla="*/ 22 h 332"/>
                    <a:gd name="T110" fmla="*/ 132 w 292"/>
                    <a:gd name="T111" fmla="*/ 18 h 332"/>
                    <a:gd name="T112" fmla="*/ 142 w 292"/>
                    <a:gd name="T113" fmla="*/ 10 h 332"/>
                    <a:gd name="T114" fmla="*/ 162 w 292"/>
                    <a:gd name="T115" fmla="*/ 10 h 332"/>
                    <a:gd name="T116" fmla="*/ 176 w 292"/>
                    <a:gd name="T117" fmla="*/ 8 h 332"/>
                    <a:gd name="T118" fmla="*/ 188 w 292"/>
                    <a:gd name="T119" fmla="*/ 4 h 3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292" h="332">
                      <a:moveTo>
                        <a:pt x="188" y="4"/>
                      </a:moveTo>
                      <a:lnTo>
                        <a:pt x="192" y="4"/>
                      </a:lnTo>
                      <a:lnTo>
                        <a:pt x="194" y="8"/>
                      </a:lnTo>
                      <a:lnTo>
                        <a:pt x="198" y="10"/>
                      </a:lnTo>
                      <a:lnTo>
                        <a:pt x="202" y="10"/>
                      </a:lnTo>
                      <a:lnTo>
                        <a:pt x="202" y="8"/>
                      </a:lnTo>
                      <a:lnTo>
                        <a:pt x="206" y="8"/>
                      </a:lnTo>
                      <a:lnTo>
                        <a:pt x="210" y="8"/>
                      </a:lnTo>
                      <a:lnTo>
                        <a:pt x="210" y="4"/>
                      </a:lnTo>
                      <a:lnTo>
                        <a:pt x="214" y="4"/>
                      </a:lnTo>
                      <a:lnTo>
                        <a:pt x="214" y="0"/>
                      </a:lnTo>
                      <a:lnTo>
                        <a:pt x="216" y="0"/>
                      </a:lnTo>
                      <a:lnTo>
                        <a:pt x="216" y="4"/>
                      </a:lnTo>
                      <a:lnTo>
                        <a:pt x="220" y="4"/>
                      </a:lnTo>
                      <a:lnTo>
                        <a:pt x="224" y="4"/>
                      </a:lnTo>
                      <a:lnTo>
                        <a:pt x="228" y="4"/>
                      </a:lnTo>
                      <a:lnTo>
                        <a:pt x="224" y="4"/>
                      </a:lnTo>
                      <a:lnTo>
                        <a:pt x="224" y="0"/>
                      </a:lnTo>
                      <a:lnTo>
                        <a:pt x="228" y="0"/>
                      </a:lnTo>
                      <a:lnTo>
                        <a:pt x="228" y="4"/>
                      </a:lnTo>
                      <a:lnTo>
                        <a:pt x="228" y="0"/>
                      </a:lnTo>
                      <a:lnTo>
                        <a:pt x="228" y="4"/>
                      </a:lnTo>
                      <a:lnTo>
                        <a:pt x="232" y="4"/>
                      </a:lnTo>
                      <a:lnTo>
                        <a:pt x="236" y="4"/>
                      </a:lnTo>
                      <a:lnTo>
                        <a:pt x="236" y="8"/>
                      </a:lnTo>
                      <a:lnTo>
                        <a:pt x="240" y="8"/>
                      </a:lnTo>
                      <a:lnTo>
                        <a:pt x="240" y="4"/>
                      </a:lnTo>
                      <a:lnTo>
                        <a:pt x="244" y="4"/>
                      </a:lnTo>
                      <a:lnTo>
                        <a:pt x="246" y="4"/>
                      </a:lnTo>
                      <a:lnTo>
                        <a:pt x="246" y="8"/>
                      </a:lnTo>
                      <a:lnTo>
                        <a:pt x="244" y="8"/>
                      </a:lnTo>
                      <a:lnTo>
                        <a:pt x="244" y="10"/>
                      </a:lnTo>
                      <a:lnTo>
                        <a:pt x="240" y="10"/>
                      </a:lnTo>
                      <a:lnTo>
                        <a:pt x="240" y="14"/>
                      </a:lnTo>
                      <a:lnTo>
                        <a:pt x="240" y="10"/>
                      </a:lnTo>
                      <a:lnTo>
                        <a:pt x="244" y="14"/>
                      </a:lnTo>
                      <a:lnTo>
                        <a:pt x="244" y="18"/>
                      </a:lnTo>
                      <a:lnTo>
                        <a:pt x="240" y="22"/>
                      </a:lnTo>
                      <a:lnTo>
                        <a:pt x="240" y="26"/>
                      </a:lnTo>
                      <a:lnTo>
                        <a:pt x="244" y="26"/>
                      </a:lnTo>
                      <a:lnTo>
                        <a:pt x="244" y="30"/>
                      </a:lnTo>
                      <a:lnTo>
                        <a:pt x="244" y="34"/>
                      </a:lnTo>
                      <a:lnTo>
                        <a:pt x="244" y="38"/>
                      </a:lnTo>
                      <a:lnTo>
                        <a:pt x="240" y="40"/>
                      </a:lnTo>
                      <a:lnTo>
                        <a:pt x="240" y="44"/>
                      </a:lnTo>
                      <a:lnTo>
                        <a:pt x="240" y="48"/>
                      </a:lnTo>
                      <a:lnTo>
                        <a:pt x="236" y="48"/>
                      </a:lnTo>
                      <a:lnTo>
                        <a:pt x="236" y="52"/>
                      </a:lnTo>
                      <a:lnTo>
                        <a:pt x="236" y="56"/>
                      </a:lnTo>
                      <a:lnTo>
                        <a:pt x="232" y="56"/>
                      </a:lnTo>
                      <a:lnTo>
                        <a:pt x="232" y="60"/>
                      </a:lnTo>
                      <a:lnTo>
                        <a:pt x="228" y="60"/>
                      </a:lnTo>
                      <a:lnTo>
                        <a:pt x="228" y="64"/>
                      </a:lnTo>
                      <a:lnTo>
                        <a:pt x="232" y="64"/>
                      </a:lnTo>
                      <a:lnTo>
                        <a:pt x="232" y="66"/>
                      </a:lnTo>
                      <a:lnTo>
                        <a:pt x="232" y="70"/>
                      </a:lnTo>
                      <a:lnTo>
                        <a:pt x="232" y="74"/>
                      </a:lnTo>
                      <a:lnTo>
                        <a:pt x="236" y="74"/>
                      </a:lnTo>
                      <a:lnTo>
                        <a:pt x="240" y="74"/>
                      </a:lnTo>
                      <a:lnTo>
                        <a:pt x="240" y="78"/>
                      </a:lnTo>
                      <a:lnTo>
                        <a:pt x="240" y="82"/>
                      </a:lnTo>
                      <a:lnTo>
                        <a:pt x="244" y="82"/>
                      </a:lnTo>
                      <a:lnTo>
                        <a:pt x="244" y="86"/>
                      </a:lnTo>
                      <a:lnTo>
                        <a:pt x="244" y="90"/>
                      </a:lnTo>
                      <a:lnTo>
                        <a:pt x="246" y="90"/>
                      </a:lnTo>
                      <a:lnTo>
                        <a:pt x="250" y="94"/>
                      </a:lnTo>
                      <a:lnTo>
                        <a:pt x="250" y="96"/>
                      </a:lnTo>
                      <a:lnTo>
                        <a:pt x="254" y="96"/>
                      </a:lnTo>
                      <a:lnTo>
                        <a:pt x="254" y="104"/>
                      </a:lnTo>
                      <a:lnTo>
                        <a:pt x="254" y="112"/>
                      </a:lnTo>
                      <a:lnTo>
                        <a:pt x="254" y="116"/>
                      </a:lnTo>
                      <a:lnTo>
                        <a:pt x="258" y="120"/>
                      </a:lnTo>
                      <a:lnTo>
                        <a:pt x="258" y="124"/>
                      </a:lnTo>
                      <a:lnTo>
                        <a:pt x="258" y="126"/>
                      </a:lnTo>
                      <a:lnTo>
                        <a:pt x="258" y="130"/>
                      </a:lnTo>
                      <a:lnTo>
                        <a:pt x="254" y="130"/>
                      </a:lnTo>
                      <a:lnTo>
                        <a:pt x="258" y="134"/>
                      </a:lnTo>
                      <a:lnTo>
                        <a:pt x="258" y="138"/>
                      </a:lnTo>
                      <a:lnTo>
                        <a:pt x="262" y="138"/>
                      </a:lnTo>
                      <a:lnTo>
                        <a:pt x="262" y="142"/>
                      </a:lnTo>
                      <a:lnTo>
                        <a:pt x="262" y="146"/>
                      </a:lnTo>
                      <a:lnTo>
                        <a:pt x="262" y="150"/>
                      </a:lnTo>
                      <a:lnTo>
                        <a:pt x="262" y="154"/>
                      </a:lnTo>
                      <a:lnTo>
                        <a:pt x="262" y="156"/>
                      </a:lnTo>
                      <a:lnTo>
                        <a:pt x="262" y="160"/>
                      </a:lnTo>
                      <a:lnTo>
                        <a:pt x="262" y="164"/>
                      </a:lnTo>
                      <a:lnTo>
                        <a:pt x="262" y="168"/>
                      </a:lnTo>
                      <a:lnTo>
                        <a:pt x="266" y="172"/>
                      </a:lnTo>
                      <a:lnTo>
                        <a:pt x="266" y="176"/>
                      </a:lnTo>
                      <a:lnTo>
                        <a:pt x="262" y="180"/>
                      </a:lnTo>
                      <a:lnTo>
                        <a:pt x="262" y="182"/>
                      </a:lnTo>
                      <a:lnTo>
                        <a:pt x="262" y="186"/>
                      </a:lnTo>
                      <a:lnTo>
                        <a:pt x="262" y="190"/>
                      </a:lnTo>
                      <a:lnTo>
                        <a:pt x="266" y="190"/>
                      </a:lnTo>
                      <a:lnTo>
                        <a:pt x="266" y="194"/>
                      </a:lnTo>
                      <a:lnTo>
                        <a:pt x="262" y="198"/>
                      </a:lnTo>
                      <a:lnTo>
                        <a:pt x="258" y="202"/>
                      </a:lnTo>
                      <a:lnTo>
                        <a:pt x="258" y="206"/>
                      </a:lnTo>
                      <a:lnTo>
                        <a:pt x="262" y="212"/>
                      </a:lnTo>
                      <a:lnTo>
                        <a:pt x="266" y="216"/>
                      </a:lnTo>
                      <a:lnTo>
                        <a:pt x="266" y="220"/>
                      </a:lnTo>
                      <a:lnTo>
                        <a:pt x="266" y="224"/>
                      </a:lnTo>
                      <a:lnTo>
                        <a:pt x="266" y="228"/>
                      </a:lnTo>
                      <a:lnTo>
                        <a:pt x="270" y="228"/>
                      </a:lnTo>
                      <a:lnTo>
                        <a:pt x="270" y="232"/>
                      </a:lnTo>
                      <a:lnTo>
                        <a:pt x="272" y="236"/>
                      </a:lnTo>
                      <a:lnTo>
                        <a:pt x="272" y="232"/>
                      </a:lnTo>
                      <a:lnTo>
                        <a:pt x="276" y="232"/>
                      </a:lnTo>
                      <a:lnTo>
                        <a:pt x="280" y="236"/>
                      </a:lnTo>
                      <a:lnTo>
                        <a:pt x="284" y="236"/>
                      </a:lnTo>
                      <a:lnTo>
                        <a:pt x="288" y="236"/>
                      </a:lnTo>
                      <a:lnTo>
                        <a:pt x="292" y="242"/>
                      </a:lnTo>
                      <a:lnTo>
                        <a:pt x="292" y="250"/>
                      </a:lnTo>
                      <a:lnTo>
                        <a:pt x="292" y="254"/>
                      </a:lnTo>
                      <a:lnTo>
                        <a:pt x="288" y="254"/>
                      </a:lnTo>
                      <a:lnTo>
                        <a:pt x="280" y="262"/>
                      </a:lnTo>
                      <a:lnTo>
                        <a:pt x="276" y="262"/>
                      </a:lnTo>
                      <a:lnTo>
                        <a:pt x="276" y="266"/>
                      </a:lnTo>
                      <a:lnTo>
                        <a:pt x="272" y="266"/>
                      </a:lnTo>
                      <a:lnTo>
                        <a:pt x="270" y="270"/>
                      </a:lnTo>
                      <a:lnTo>
                        <a:pt x="266" y="270"/>
                      </a:lnTo>
                      <a:lnTo>
                        <a:pt x="262" y="272"/>
                      </a:lnTo>
                      <a:lnTo>
                        <a:pt x="258" y="276"/>
                      </a:lnTo>
                      <a:lnTo>
                        <a:pt x="250" y="280"/>
                      </a:lnTo>
                      <a:lnTo>
                        <a:pt x="246" y="284"/>
                      </a:lnTo>
                      <a:lnTo>
                        <a:pt x="246" y="288"/>
                      </a:lnTo>
                      <a:lnTo>
                        <a:pt x="240" y="292"/>
                      </a:lnTo>
                      <a:lnTo>
                        <a:pt x="236" y="296"/>
                      </a:lnTo>
                      <a:lnTo>
                        <a:pt x="232" y="296"/>
                      </a:lnTo>
                      <a:lnTo>
                        <a:pt x="228" y="300"/>
                      </a:lnTo>
                      <a:lnTo>
                        <a:pt x="220" y="306"/>
                      </a:lnTo>
                      <a:lnTo>
                        <a:pt x="216" y="310"/>
                      </a:lnTo>
                      <a:lnTo>
                        <a:pt x="216" y="314"/>
                      </a:lnTo>
                      <a:lnTo>
                        <a:pt x="214" y="316"/>
                      </a:lnTo>
                      <a:lnTo>
                        <a:pt x="210" y="320"/>
                      </a:lnTo>
                      <a:lnTo>
                        <a:pt x="206" y="324"/>
                      </a:lnTo>
                      <a:lnTo>
                        <a:pt x="202" y="324"/>
                      </a:lnTo>
                      <a:lnTo>
                        <a:pt x="198" y="324"/>
                      </a:lnTo>
                      <a:lnTo>
                        <a:pt x="194" y="324"/>
                      </a:lnTo>
                      <a:lnTo>
                        <a:pt x="188" y="328"/>
                      </a:lnTo>
                      <a:lnTo>
                        <a:pt x="184" y="328"/>
                      </a:lnTo>
                      <a:lnTo>
                        <a:pt x="180" y="328"/>
                      </a:lnTo>
                      <a:lnTo>
                        <a:pt x="176" y="328"/>
                      </a:lnTo>
                      <a:lnTo>
                        <a:pt x="172" y="332"/>
                      </a:lnTo>
                      <a:lnTo>
                        <a:pt x="170" y="328"/>
                      </a:lnTo>
                      <a:lnTo>
                        <a:pt x="170" y="324"/>
                      </a:lnTo>
                      <a:lnTo>
                        <a:pt x="170" y="320"/>
                      </a:lnTo>
                      <a:lnTo>
                        <a:pt x="170" y="316"/>
                      </a:lnTo>
                      <a:lnTo>
                        <a:pt x="166" y="314"/>
                      </a:lnTo>
                      <a:lnTo>
                        <a:pt x="162" y="314"/>
                      </a:lnTo>
                      <a:lnTo>
                        <a:pt x="158" y="314"/>
                      </a:lnTo>
                      <a:lnTo>
                        <a:pt x="158" y="310"/>
                      </a:lnTo>
                      <a:lnTo>
                        <a:pt x="154" y="310"/>
                      </a:lnTo>
                      <a:lnTo>
                        <a:pt x="150" y="310"/>
                      </a:lnTo>
                      <a:lnTo>
                        <a:pt x="150" y="306"/>
                      </a:lnTo>
                      <a:lnTo>
                        <a:pt x="146" y="306"/>
                      </a:lnTo>
                      <a:lnTo>
                        <a:pt x="146" y="302"/>
                      </a:lnTo>
                      <a:lnTo>
                        <a:pt x="142" y="302"/>
                      </a:lnTo>
                      <a:lnTo>
                        <a:pt x="140" y="300"/>
                      </a:lnTo>
                      <a:lnTo>
                        <a:pt x="142" y="300"/>
                      </a:lnTo>
                      <a:lnTo>
                        <a:pt x="142" y="296"/>
                      </a:lnTo>
                      <a:lnTo>
                        <a:pt x="140" y="296"/>
                      </a:lnTo>
                      <a:lnTo>
                        <a:pt x="136" y="292"/>
                      </a:lnTo>
                      <a:lnTo>
                        <a:pt x="132" y="284"/>
                      </a:lnTo>
                      <a:lnTo>
                        <a:pt x="128" y="284"/>
                      </a:lnTo>
                      <a:lnTo>
                        <a:pt x="124" y="280"/>
                      </a:lnTo>
                      <a:lnTo>
                        <a:pt x="116" y="276"/>
                      </a:lnTo>
                      <a:lnTo>
                        <a:pt x="114" y="272"/>
                      </a:lnTo>
                      <a:lnTo>
                        <a:pt x="110" y="270"/>
                      </a:lnTo>
                      <a:lnTo>
                        <a:pt x="106" y="266"/>
                      </a:lnTo>
                      <a:lnTo>
                        <a:pt x="98" y="262"/>
                      </a:lnTo>
                      <a:lnTo>
                        <a:pt x="94" y="258"/>
                      </a:lnTo>
                      <a:lnTo>
                        <a:pt x="90" y="250"/>
                      </a:lnTo>
                      <a:lnTo>
                        <a:pt x="84" y="246"/>
                      </a:lnTo>
                      <a:lnTo>
                        <a:pt x="80" y="242"/>
                      </a:lnTo>
                      <a:lnTo>
                        <a:pt x="76" y="240"/>
                      </a:lnTo>
                      <a:lnTo>
                        <a:pt x="72" y="236"/>
                      </a:lnTo>
                      <a:lnTo>
                        <a:pt x="64" y="232"/>
                      </a:lnTo>
                      <a:lnTo>
                        <a:pt x="60" y="228"/>
                      </a:lnTo>
                      <a:lnTo>
                        <a:pt x="56" y="224"/>
                      </a:lnTo>
                      <a:lnTo>
                        <a:pt x="54" y="224"/>
                      </a:lnTo>
                      <a:lnTo>
                        <a:pt x="50" y="220"/>
                      </a:lnTo>
                      <a:lnTo>
                        <a:pt x="46" y="216"/>
                      </a:lnTo>
                      <a:lnTo>
                        <a:pt x="42" y="212"/>
                      </a:lnTo>
                      <a:lnTo>
                        <a:pt x="34" y="210"/>
                      </a:lnTo>
                      <a:lnTo>
                        <a:pt x="30" y="206"/>
                      </a:lnTo>
                      <a:lnTo>
                        <a:pt x="28" y="202"/>
                      </a:lnTo>
                      <a:lnTo>
                        <a:pt x="24" y="202"/>
                      </a:lnTo>
                      <a:lnTo>
                        <a:pt x="24" y="198"/>
                      </a:lnTo>
                      <a:lnTo>
                        <a:pt x="20" y="198"/>
                      </a:lnTo>
                      <a:lnTo>
                        <a:pt x="16" y="194"/>
                      </a:lnTo>
                      <a:lnTo>
                        <a:pt x="8" y="190"/>
                      </a:lnTo>
                      <a:lnTo>
                        <a:pt x="8" y="186"/>
                      </a:lnTo>
                      <a:lnTo>
                        <a:pt x="0" y="182"/>
                      </a:lnTo>
                      <a:lnTo>
                        <a:pt x="0" y="180"/>
                      </a:lnTo>
                      <a:lnTo>
                        <a:pt x="0" y="176"/>
                      </a:lnTo>
                      <a:lnTo>
                        <a:pt x="0" y="172"/>
                      </a:lnTo>
                      <a:lnTo>
                        <a:pt x="0" y="156"/>
                      </a:lnTo>
                      <a:lnTo>
                        <a:pt x="4" y="156"/>
                      </a:lnTo>
                      <a:lnTo>
                        <a:pt x="4" y="154"/>
                      </a:lnTo>
                      <a:lnTo>
                        <a:pt x="8" y="154"/>
                      </a:lnTo>
                      <a:lnTo>
                        <a:pt x="8" y="150"/>
                      </a:lnTo>
                      <a:lnTo>
                        <a:pt x="12" y="150"/>
                      </a:lnTo>
                      <a:lnTo>
                        <a:pt x="12" y="146"/>
                      </a:lnTo>
                      <a:lnTo>
                        <a:pt x="16" y="146"/>
                      </a:lnTo>
                      <a:lnTo>
                        <a:pt x="20" y="146"/>
                      </a:lnTo>
                      <a:lnTo>
                        <a:pt x="20" y="142"/>
                      </a:lnTo>
                      <a:lnTo>
                        <a:pt x="24" y="142"/>
                      </a:lnTo>
                      <a:lnTo>
                        <a:pt x="28" y="142"/>
                      </a:lnTo>
                      <a:lnTo>
                        <a:pt x="30" y="142"/>
                      </a:lnTo>
                      <a:lnTo>
                        <a:pt x="30" y="138"/>
                      </a:lnTo>
                      <a:lnTo>
                        <a:pt x="34" y="138"/>
                      </a:lnTo>
                      <a:lnTo>
                        <a:pt x="38" y="138"/>
                      </a:lnTo>
                      <a:lnTo>
                        <a:pt x="42" y="138"/>
                      </a:lnTo>
                      <a:lnTo>
                        <a:pt x="42" y="134"/>
                      </a:lnTo>
                      <a:lnTo>
                        <a:pt x="46" y="134"/>
                      </a:lnTo>
                      <a:lnTo>
                        <a:pt x="50" y="134"/>
                      </a:lnTo>
                      <a:lnTo>
                        <a:pt x="50" y="130"/>
                      </a:lnTo>
                      <a:lnTo>
                        <a:pt x="54" y="130"/>
                      </a:lnTo>
                      <a:lnTo>
                        <a:pt x="54" y="126"/>
                      </a:lnTo>
                      <a:lnTo>
                        <a:pt x="54" y="124"/>
                      </a:lnTo>
                      <a:lnTo>
                        <a:pt x="56" y="124"/>
                      </a:lnTo>
                      <a:lnTo>
                        <a:pt x="60" y="124"/>
                      </a:lnTo>
                      <a:lnTo>
                        <a:pt x="64" y="120"/>
                      </a:lnTo>
                      <a:lnTo>
                        <a:pt x="68" y="116"/>
                      </a:lnTo>
                      <a:lnTo>
                        <a:pt x="72" y="116"/>
                      </a:lnTo>
                      <a:lnTo>
                        <a:pt x="72" y="112"/>
                      </a:lnTo>
                      <a:lnTo>
                        <a:pt x="68" y="112"/>
                      </a:lnTo>
                      <a:lnTo>
                        <a:pt x="72" y="108"/>
                      </a:lnTo>
                      <a:lnTo>
                        <a:pt x="68" y="108"/>
                      </a:lnTo>
                      <a:lnTo>
                        <a:pt x="68" y="104"/>
                      </a:lnTo>
                      <a:lnTo>
                        <a:pt x="72" y="100"/>
                      </a:lnTo>
                      <a:lnTo>
                        <a:pt x="72" y="104"/>
                      </a:lnTo>
                      <a:lnTo>
                        <a:pt x="76" y="104"/>
                      </a:lnTo>
                      <a:lnTo>
                        <a:pt x="76" y="100"/>
                      </a:lnTo>
                      <a:lnTo>
                        <a:pt x="80" y="100"/>
                      </a:lnTo>
                      <a:lnTo>
                        <a:pt x="84" y="100"/>
                      </a:lnTo>
                      <a:lnTo>
                        <a:pt x="84" y="96"/>
                      </a:lnTo>
                      <a:lnTo>
                        <a:pt x="90" y="94"/>
                      </a:lnTo>
                      <a:lnTo>
                        <a:pt x="94" y="94"/>
                      </a:lnTo>
                      <a:lnTo>
                        <a:pt x="98" y="94"/>
                      </a:lnTo>
                      <a:lnTo>
                        <a:pt x="102" y="94"/>
                      </a:lnTo>
                      <a:lnTo>
                        <a:pt x="106" y="94"/>
                      </a:lnTo>
                      <a:lnTo>
                        <a:pt x="106" y="96"/>
                      </a:lnTo>
                      <a:lnTo>
                        <a:pt x="110" y="94"/>
                      </a:lnTo>
                      <a:lnTo>
                        <a:pt x="106" y="94"/>
                      </a:lnTo>
                      <a:lnTo>
                        <a:pt x="106" y="90"/>
                      </a:lnTo>
                      <a:lnTo>
                        <a:pt x="110" y="90"/>
                      </a:lnTo>
                      <a:lnTo>
                        <a:pt x="110" y="86"/>
                      </a:lnTo>
                      <a:lnTo>
                        <a:pt x="106" y="86"/>
                      </a:lnTo>
                      <a:lnTo>
                        <a:pt x="106" y="82"/>
                      </a:lnTo>
                      <a:lnTo>
                        <a:pt x="102" y="78"/>
                      </a:lnTo>
                      <a:lnTo>
                        <a:pt x="102" y="74"/>
                      </a:lnTo>
                      <a:lnTo>
                        <a:pt x="102" y="70"/>
                      </a:lnTo>
                      <a:lnTo>
                        <a:pt x="102" y="66"/>
                      </a:lnTo>
                      <a:lnTo>
                        <a:pt x="98" y="64"/>
                      </a:lnTo>
                      <a:lnTo>
                        <a:pt x="102" y="64"/>
                      </a:lnTo>
                      <a:lnTo>
                        <a:pt x="102" y="60"/>
                      </a:lnTo>
                      <a:lnTo>
                        <a:pt x="98" y="56"/>
                      </a:lnTo>
                      <a:lnTo>
                        <a:pt x="98" y="52"/>
                      </a:lnTo>
                      <a:lnTo>
                        <a:pt x="102" y="52"/>
                      </a:lnTo>
                      <a:lnTo>
                        <a:pt x="98" y="52"/>
                      </a:lnTo>
                      <a:lnTo>
                        <a:pt x="98" y="48"/>
                      </a:lnTo>
                      <a:lnTo>
                        <a:pt x="98" y="44"/>
                      </a:lnTo>
                      <a:lnTo>
                        <a:pt x="94" y="40"/>
                      </a:lnTo>
                      <a:lnTo>
                        <a:pt x="98" y="40"/>
                      </a:lnTo>
                      <a:lnTo>
                        <a:pt x="98" y="38"/>
                      </a:lnTo>
                      <a:lnTo>
                        <a:pt x="102" y="38"/>
                      </a:lnTo>
                      <a:lnTo>
                        <a:pt x="102" y="34"/>
                      </a:lnTo>
                      <a:lnTo>
                        <a:pt x="106" y="34"/>
                      </a:lnTo>
                      <a:lnTo>
                        <a:pt x="106" y="30"/>
                      </a:lnTo>
                      <a:lnTo>
                        <a:pt x="110" y="30"/>
                      </a:lnTo>
                      <a:lnTo>
                        <a:pt x="114" y="26"/>
                      </a:lnTo>
                      <a:lnTo>
                        <a:pt x="116" y="26"/>
                      </a:lnTo>
                      <a:lnTo>
                        <a:pt x="120" y="22"/>
                      </a:lnTo>
                      <a:lnTo>
                        <a:pt x="120" y="26"/>
                      </a:lnTo>
                      <a:lnTo>
                        <a:pt x="124" y="26"/>
                      </a:lnTo>
                      <a:lnTo>
                        <a:pt x="124" y="22"/>
                      </a:lnTo>
                      <a:lnTo>
                        <a:pt x="128" y="18"/>
                      </a:lnTo>
                      <a:lnTo>
                        <a:pt x="132" y="18"/>
                      </a:lnTo>
                      <a:lnTo>
                        <a:pt x="132" y="14"/>
                      </a:lnTo>
                      <a:lnTo>
                        <a:pt x="136" y="14"/>
                      </a:lnTo>
                      <a:lnTo>
                        <a:pt x="140" y="14"/>
                      </a:lnTo>
                      <a:lnTo>
                        <a:pt x="140" y="10"/>
                      </a:lnTo>
                      <a:lnTo>
                        <a:pt x="142" y="10"/>
                      </a:lnTo>
                      <a:lnTo>
                        <a:pt x="146" y="10"/>
                      </a:lnTo>
                      <a:lnTo>
                        <a:pt x="150" y="10"/>
                      </a:lnTo>
                      <a:lnTo>
                        <a:pt x="154" y="10"/>
                      </a:lnTo>
                      <a:lnTo>
                        <a:pt x="158" y="10"/>
                      </a:lnTo>
                      <a:lnTo>
                        <a:pt x="162" y="10"/>
                      </a:lnTo>
                      <a:lnTo>
                        <a:pt x="166" y="10"/>
                      </a:lnTo>
                      <a:lnTo>
                        <a:pt x="166" y="8"/>
                      </a:lnTo>
                      <a:lnTo>
                        <a:pt x="170" y="8"/>
                      </a:lnTo>
                      <a:lnTo>
                        <a:pt x="172" y="8"/>
                      </a:lnTo>
                      <a:lnTo>
                        <a:pt x="176" y="8"/>
                      </a:lnTo>
                      <a:lnTo>
                        <a:pt x="176" y="4"/>
                      </a:lnTo>
                      <a:lnTo>
                        <a:pt x="180" y="4"/>
                      </a:lnTo>
                      <a:lnTo>
                        <a:pt x="184" y="4"/>
                      </a:lnTo>
                      <a:lnTo>
                        <a:pt x="188" y="4"/>
                      </a:lnTo>
                      <a:lnTo>
                        <a:pt x="188" y="4"/>
                      </a:lnTo>
                      <a:lnTo>
                        <a:pt x="188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82" name="Freeform 128"/>
                <p:cNvSpPr>
                  <a:spLocks noEditPoints="1"/>
                </p:cNvSpPr>
                <p:nvPr/>
              </p:nvSpPr>
              <p:spPr bwMode="auto">
                <a:xfrm>
                  <a:off x="4660900" y="4680018"/>
                  <a:ext cx="273050" cy="374650"/>
                </a:xfrm>
                <a:custGeom>
                  <a:avLst/>
                  <a:gdLst>
                    <a:gd name="T0" fmla="*/ 10 w 172"/>
                    <a:gd name="T1" fmla="*/ 12 h 236"/>
                    <a:gd name="T2" fmla="*/ 4 w 172"/>
                    <a:gd name="T3" fmla="*/ 22 h 236"/>
                    <a:gd name="T4" fmla="*/ 4 w 172"/>
                    <a:gd name="T5" fmla="*/ 8 h 236"/>
                    <a:gd name="T6" fmla="*/ 14 w 172"/>
                    <a:gd name="T7" fmla="*/ 0 h 236"/>
                    <a:gd name="T8" fmla="*/ 18 w 172"/>
                    <a:gd name="T9" fmla="*/ 4 h 236"/>
                    <a:gd name="T10" fmla="*/ 152 w 172"/>
                    <a:gd name="T11" fmla="*/ 232 h 236"/>
                    <a:gd name="T12" fmla="*/ 134 w 172"/>
                    <a:gd name="T13" fmla="*/ 232 h 236"/>
                    <a:gd name="T14" fmla="*/ 122 w 172"/>
                    <a:gd name="T15" fmla="*/ 232 h 236"/>
                    <a:gd name="T16" fmla="*/ 108 w 172"/>
                    <a:gd name="T17" fmla="*/ 232 h 236"/>
                    <a:gd name="T18" fmla="*/ 96 w 172"/>
                    <a:gd name="T19" fmla="*/ 228 h 236"/>
                    <a:gd name="T20" fmla="*/ 82 w 172"/>
                    <a:gd name="T21" fmla="*/ 224 h 236"/>
                    <a:gd name="T22" fmla="*/ 52 w 172"/>
                    <a:gd name="T23" fmla="*/ 224 h 236"/>
                    <a:gd name="T24" fmla="*/ 34 w 172"/>
                    <a:gd name="T25" fmla="*/ 224 h 236"/>
                    <a:gd name="T26" fmla="*/ 22 w 172"/>
                    <a:gd name="T27" fmla="*/ 216 h 236"/>
                    <a:gd name="T28" fmla="*/ 8 w 172"/>
                    <a:gd name="T29" fmla="*/ 220 h 236"/>
                    <a:gd name="T30" fmla="*/ 0 w 172"/>
                    <a:gd name="T31" fmla="*/ 212 h 236"/>
                    <a:gd name="T32" fmla="*/ 0 w 172"/>
                    <a:gd name="T33" fmla="*/ 198 h 236"/>
                    <a:gd name="T34" fmla="*/ 4 w 172"/>
                    <a:gd name="T35" fmla="*/ 182 h 236"/>
                    <a:gd name="T36" fmla="*/ 8 w 172"/>
                    <a:gd name="T37" fmla="*/ 168 h 236"/>
                    <a:gd name="T38" fmla="*/ 8 w 172"/>
                    <a:gd name="T39" fmla="*/ 154 h 236"/>
                    <a:gd name="T40" fmla="*/ 14 w 172"/>
                    <a:gd name="T41" fmla="*/ 146 h 236"/>
                    <a:gd name="T42" fmla="*/ 18 w 172"/>
                    <a:gd name="T43" fmla="*/ 142 h 236"/>
                    <a:gd name="T44" fmla="*/ 26 w 172"/>
                    <a:gd name="T45" fmla="*/ 130 h 236"/>
                    <a:gd name="T46" fmla="*/ 26 w 172"/>
                    <a:gd name="T47" fmla="*/ 116 h 236"/>
                    <a:gd name="T48" fmla="*/ 22 w 172"/>
                    <a:gd name="T49" fmla="*/ 100 h 236"/>
                    <a:gd name="T50" fmla="*/ 18 w 172"/>
                    <a:gd name="T51" fmla="*/ 90 h 236"/>
                    <a:gd name="T52" fmla="*/ 18 w 172"/>
                    <a:gd name="T53" fmla="*/ 74 h 236"/>
                    <a:gd name="T54" fmla="*/ 18 w 172"/>
                    <a:gd name="T55" fmla="*/ 74 h 236"/>
                    <a:gd name="T56" fmla="*/ 22 w 172"/>
                    <a:gd name="T57" fmla="*/ 64 h 236"/>
                    <a:gd name="T58" fmla="*/ 14 w 172"/>
                    <a:gd name="T59" fmla="*/ 52 h 236"/>
                    <a:gd name="T60" fmla="*/ 10 w 172"/>
                    <a:gd name="T61" fmla="*/ 42 h 236"/>
                    <a:gd name="T62" fmla="*/ 4 w 172"/>
                    <a:gd name="T63" fmla="*/ 26 h 236"/>
                    <a:gd name="T64" fmla="*/ 14 w 172"/>
                    <a:gd name="T65" fmla="*/ 22 h 236"/>
                    <a:gd name="T66" fmla="*/ 22 w 172"/>
                    <a:gd name="T67" fmla="*/ 22 h 236"/>
                    <a:gd name="T68" fmla="*/ 34 w 172"/>
                    <a:gd name="T69" fmla="*/ 26 h 236"/>
                    <a:gd name="T70" fmla="*/ 56 w 172"/>
                    <a:gd name="T71" fmla="*/ 22 h 236"/>
                    <a:gd name="T72" fmla="*/ 66 w 172"/>
                    <a:gd name="T73" fmla="*/ 26 h 236"/>
                    <a:gd name="T74" fmla="*/ 70 w 172"/>
                    <a:gd name="T75" fmla="*/ 42 h 236"/>
                    <a:gd name="T76" fmla="*/ 74 w 172"/>
                    <a:gd name="T77" fmla="*/ 52 h 236"/>
                    <a:gd name="T78" fmla="*/ 82 w 172"/>
                    <a:gd name="T79" fmla="*/ 64 h 236"/>
                    <a:gd name="T80" fmla="*/ 90 w 172"/>
                    <a:gd name="T81" fmla="*/ 60 h 236"/>
                    <a:gd name="T82" fmla="*/ 108 w 172"/>
                    <a:gd name="T83" fmla="*/ 60 h 236"/>
                    <a:gd name="T84" fmla="*/ 108 w 172"/>
                    <a:gd name="T85" fmla="*/ 52 h 236"/>
                    <a:gd name="T86" fmla="*/ 120 w 172"/>
                    <a:gd name="T87" fmla="*/ 44 h 236"/>
                    <a:gd name="T88" fmla="*/ 122 w 172"/>
                    <a:gd name="T89" fmla="*/ 48 h 236"/>
                    <a:gd name="T90" fmla="*/ 142 w 172"/>
                    <a:gd name="T91" fmla="*/ 52 h 236"/>
                    <a:gd name="T92" fmla="*/ 142 w 172"/>
                    <a:gd name="T93" fmla="*/ 68 h 236"/>
                    <a:gd name="T94" fmla="*/ 142 w 172"/>
                    <a:gd name="T95" fmla="*/ 82 h 236"/>
                    <a:gd name="T96" fmla="*/ 146 w 172"/>
                    <a:gd name="T97" fmla="*/ 98 h 236"/>
                    <a:gd name="T98" fmla="*/ 146 w 172"/>
                    <a:gd name="T99" fmla="*/ 108 h 236"/>
                    <a:gd name="T100" fmla="*/ 150 w 172"/>
                    <a:gd name="T101" fmla="*/ 112 h 236"/>
                    <a:gd name="T102" fmla="*/ 164 w 172"/>
                    <a:gd name="T103" fmla="*/ 112 h 236"/>
                    <a:gd name="T104" fmla="*/ 172 w 172"/>
                    <a:gd name="T105" fmla="*/ 112 h 236"/>
                    <a:gd name="T106" fmla="*/ 172 w 172"/>
                    <a:gd name="T107" fmla="*/ 126 h 236"/>
                    <a:gd name="T108" fmla="*/ 172 w 172"/>
                    <a:gd name="T109" fmla="*/ 146 h 236"/>
                    <a:gd name="T110" fmla="*/ 156 w 172"/>
                    <a:gd name="T111" fmla="*/ 146 h 236"/>
                    <a:gd name="T112" fmla="*/ 142 w 172"/>
                    <a:gd name="T113" fmla="*/ 160 h 236"/>
                    <a:gd name="T114" fmla="*/ 142 w 172"/>
                    <a:gd name="T115" fmla="*/ 180 h 236"/>
                    <a:gd name="T116" fmla="*/ 146 w 172"/>
                    <a:gd name="T117" fmla="*/ 202 h 236"/>
                    <a:gd name="T118" fmla="*/ 150 w 172"/>
                    <a:gd name="T119" fmla="*/ 212 h 236"/>
                    <a:gd name="T120" fmla="*/ 164 w 172"/>
                    <a:gd name="T121" fmla="*/ 228 h 2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72" h="236">
                      <a:moveTo>
                        <a:pt x="18" y="4"/>
                      </a:moveTo>
                      <a:lnTo>
                        <a:pt x="14" y="4"/>
                      </a:lnTo>
                      <a:lnTo>
                        <a:pt x="10" y="8"/>
                      </a:lnTo>
                      <a:lnTo>
                        <a:pt x="10" y="12"/>
                      </a:lnTo>
                      <a:lnTo>
                        <a:pt x="10" y="14"/>
                      </a:lnTo>
                      <a:lnTo>
                        <a:pt x="10" y="22"/>
                      </a:lnTo>
                      <a:lnTo>
                        <a:pt x="8" y="22"/>
                      </a:lnTo>
                      <a:lnTo>
                        <a:pt x="4" y="22"/>
                      </a:lnTo>
                      <a:lnTo>
                        <a:pt x="4" y="18"/>
                      </a:lnTo>
                      <a:lnTo>
                        <a:pt x="4" y="14"/>
                      </a:lnTo>
                      <a:lnTo>
                        <a:pt x="4" y="12"/>
                      </a:lnTo>
                      <a:lnTo>
                        <a:pt x="4" y="8"/>
                      </a:lnTo>
                      <a:lnTo>
                        <a:pt x="4" y="4"/>
                      </a:lnTo>
                      <a:lnTo>
                        <a:pt x="8" y="4"/>
                      </a:lnTo>
                      <a:lnTo>
                        <a:pt x="10" y="0"/>
                      </a:lnTo>
                      <a:lnTo>
                        <a:pt x="14" y="0"/>
                      </a:lnTo>
                      <a:lnTo>
                        <a:pt x="14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close/>
                      <a:moveTo>
                        <a:pt x="164" y="228"/>
                      </a:moveTo>
                      <a:lnTo>
                        <a:pt x="160" y="228"/>
                      </a:lnTo>
                      <a:lnTo>
                        <a:pt x="156" y="228"/>
                      </a:lnTo>
                      <a:lnTo>
                        <a:pt x="152" y="232"/>
                      </a:lnTo>
                      <a:lnTo>
                        <a:pt x="150" y="232"/>
                      </a:lnTo>
                      <a:lnTo>
                        <a:pt x="142" y="232"/>
                      </a:lnTo>
                      <a:lnTo>
                        <a:pt x="134" y="236"/>
                      </a:lnTo>
                      <a:lnTo>
                        <a:pt x="134" y="232"/>
                      </a:lnTo>
                      <a:lnTo>
                        <a:pt x="130" y="232"/>
                      </a:lnTo>
                      <a:lnTo>
                        <a:pt x="126" y="236"/>
                      </a:lnTo>
                      <a:lnTo>
                        <a:pt x="122" y="236"/>
                      </a:lnTo>
                      <a:lnTo>
                        <a:pt x="122" y="232"/>
                      </a:lnTo>
                      <a:lnTo>
                        <a:pt x="120" y="232"/>
                      </a:lnTo>
                      <a:lnTo>
                        <a:pt x="116" y="232"/>
                      </a:lnTo>
                      <a:lnTo>
                        <a:pt x="112" y="232"/>
                      </a:lnTo>
                      <a:lnTo>
                        <a:pt x="108" y="232"/>
                      </a:lnTo>
                      <a:lnTo>
                        <a:pt x="104" y="232"/>
                      </a:lnTo>
                      <a:lnTo>
                        <a:pt x="100" y="232"/>
                      </a:lnTo>
                      <a:lnTo>
                        <a:pt x="96" y="232"/>
                      </a:lnTo>
                      <a:lnTo>
                        <a:pt x="96" y="228"/>
                      </a:lnTo>
                      <a:lnTo>
                        <a:pt x="94" y="224"/>
                      </a:lnTo>
                      <a:lnTo>
                        <a:pt x="90" y="224"/>
                      </a:lnTo>
                      <a:lnTo>
                        <a:pt x="86" y="224"/>
                      </a:lnTo>
                      <a:lnTo>
                        <a:pt x="82" y="224"/>
                      </a:lnTo>
                      <a:lnTo>
                        <a:pt x="78" y="224"/>
                      </a:lnTo>
                      <a:lnTo>
                        <a:pt x="66" y="224"/>
                      </a:lnTo>
                      <a:lnTo>
                        <a:pt x="60" y="224"/>
                      </a:lnTo>
                      <a:lnTo>
                        <a:pt x="52" y="224"/>
                      </a:lnTo>
                      <a:lnTo>
                        <a:pt x="44" y="224"/>
                      </a:lnTo>
                      <a:lnTo>
                        <a:pt x="40" y="224"/>
                      </a:lnTo>
                      <a:lnTo>
                        <a:pt x="38" y="224"/>
                      </a:lnTo>
                      <a:lnTo>
                        <a:pt x="34" y="224"/>
                      </a:lnTo>
                      <a:lnTo>
                        <a:pt x="30" y="224"/>
                      </a:lnTo>
                      <a:lnTo>
                        <a:pt x="30" y="220"/>
                      </a:lnTo>
                      <a:lnTo>
                        <a:pt x="26" y="220"/>
                      </a:lnTo>
                      <a:lnTo>
                        <a:pt x="22" y="216"/>
                      </a:lnTo>
                      <a:lnTo>
                        <a:pt x="18" y="216"/>
                      </a:lnTo>
                      <a:lnTo>
                        <a:pt x="14" y="216"/>
                      </a:lnTo>
                      <a:lnTo>
                        <a:pt x="10" y="220"/>
                      </a:lnTo>
                      <a:lnTo>
                        <a:pt x="8" y="220"/>
                      </a:lnTo>
                      <a:lnTo>
                        <a:pt x="4" y="220"/>
                      </a:lnTo>
                      <a:lnTo>
                        <a:pt x="0" y="220"/>
                      </a:lnTo>
                      <a:lnTo>
                        <a:pt x="0" y="216"/>
                      </a:lnTo>
                      <a:lnTo>
                        <a:pt x="0" y="212"/>
                      </a:lnTo>
                      <a:lnTo>
                        <a:pt x="0" y="210"/>
                      </a:lnTo>
                      <a:lnTo>
                        <a:pt x="0" y="206"/>
                      </a:lnTo>
                      <a:lnTo>
                        <a:pt x="0" y="202"/>
                      </a:lnTo>
                      <a:lnTo>
                        <a:pt x="0" y="198"/>
                      </a:lnTo>
                      <a:lnTo>
                        <a:pt x="0" y="194"/>
                      </a:lnTo>
                      <a:lnTo>
                        <a:pt x="4" y="190"/>
                      </a:lnTo>
                      <a:lnTo>
                        <a:pt x="4" y="186"/>
                      </a:lnTo>
                      <a:lnTo>
                        <a:pt x="4" y="182"/>
                      </a:lnTo>
                      <a:lnTo>
                        <a:pt x="4" y="180"/>
                      </a:lnTo>
                      <a:lnTo>
                        <a:pt x="8" y="176"/>
                      </a:lnTo>
                      <a:lnTo>
                        <a:pt x="8" y="172"/>
                      </a:lnTo>
                      <a:lnTo>
                        <a:pt x="8" y="168"/>
                      </a:lnTo>
                      <a:lnTo>
                        <a:pt x="8" y="164"/>
                      </a:lnTo>
                      <a:lnTo>
                        <a:pt x="8" y="160"/>
                      </a:lnTo>
                      <a:lnTo>
                        <a:pt x="10" y="156"/>
                      </a:lnTo>
                      <a:lnTo>
                        <a:pt x="8" y="154"/>
                      </a:lnTo>
                      <a:lnTo>
                        <a:pt x="10" y="154"/>
                      </a:lnTo>
                      <a:lnTo>
                        <a:pt x="10" y="150"/>
                      </a:lnTo>
                      <a:lnTo>
                        <a:pt x="14" y="150"/>
                      </a:lnTo>
                      <a:lnTo>
                        <a:pt x="14" y="146"/>
                      </a:lnTo>
                      <a:lnTo>
                        <a:pt x="14" y="142"/>
                      </a:lnTo>
                      <a:lnTo>
                        <a:pt x="18" y="142"/>
                      </a:lnTo>
                      <a:lnTo>
                        <a:pt x="18" y="138"/>
                      </a:lnTo>
                      <a:lnTo>
                        <a:pt x="18" y="142"/>
                      </a:lnTo>
                      <a:lnTo>
                        <a:pt x="22" y="138"/>
                      </a:lnTo>
                      <a:lnTo>
                        <a:pt x="22" y="134"/>
                      </a:lnTo>
                      <a:lnTo>
                        <a:pt x="26" y="134"/>
                      </a:lnTo>
                      <a:lnTo>
                        <a:pt x="26" y="130"/>
                      </a:lnTo>
                      <a:lnTo>
                        <a:pt x="26" y="126"/>
                      </a:lnTo>
                      <a:lnTo>
                        <a:pt x="26" y="124"/>
                      </a:lnTo>
                      <a:lnTo>
                        <a:pt x="26" y="120"/>
                      </a:lnTo>
                      <a:lnTo>
                        <a:pt x="26" y="116"/>
                      </a:lnTo>
                      <a:lnTo>
                        <a:pt x="30" y="112"/>
                      </a:lnTo>
                      <a:lnTo>
                        <a:pt x="26" y="108"/>
                      </a:lnTo>
                      <a:lnTo>
                        <a:pt x="26" y="104"/>
                      </a:lnTo>
                      <a:lnTo>
                        <a:pt x="22" y="100"/>
                      </a:lnTo>
                      <a:lnTo>
                        <a:pt x="22" y="98"/>
                      </a:lnTo>
                      <a:lnTo>
                        <a:pt x="22" y="94"/>
                      </a:lnTo>
                      <a:lnTo>
                        <a:pt x="18" y="94"/>
                      </a:lnTo>
                      <a:lnTo>
                        <a:pt x="18" y="90"/>
                      </a:lnTo>
                      <a:lnTo>
                        <a:pt x="18" y="86"/>
                      </a:lnTo>
                      <a:lnTo>
                        <a:pt x="18" y="82"/>
                      </a:lnTo>
                      <a:lnTo>
                        <a:pt x="14" y="78"/>
                      </a:lnTo>
                      <a:lnTo>
                        <a:pt x="18" y="74"/>
                      </a:lnTo>
                      <a:lnTo>
                        <a:pt x="18" y="78"/>
                      </a:lnTo>
                      <a:lnTo>
                        <a:pt x="14" y="78"/>
                      </a:lnTo>
                      <a:lnTo>
                        <a:pt x="18" y="78"/>
                      </a:lnTo>
                      <a:lnTo>
                        <a:pt x="18" y="74"/>
                      </a:lnTo>
                      <a:lnTo>
                        <a:pt x="22" y="74"/>
                      </a:lnTo>
                      <a:lnTo>
                        <a:pt x="22" y="70"/>
                      </a:lnTo>
                      <a:lnTo>
                        <a:pt x="22" y="68"/>
                      </a:lnTo>
                      <a:lnTo>
                        <a:pt x="22" y="64"/>
                      </a:lnTo>
                      <a:lnTo>
                        <a:pt x="18" y="64"/>
                      </a:lnTo>
                      <a:lnTo>
                        <a:pt x="18" y="60"/>
                      </a:lnTo>
                      <a:lnTo>
                        <a:pt x="18" y="56"/>
                      </a:lnTo>
                      <a:lnTo>
                        <a:pt x="14" y="52"/>
                      </a:lnTo>
                      <a:lnTo>
                        <a:pt x="14" y="48"/>
                      </a:lnTo>
                      <a:lnTo>
                        <a:pt x="14" y="44"/>
                      </a:lnTo>
                      <a:lnTo>
                        <a:pt x="14" y="42"/>
                      </a:lnTo>
                      <a:lnTo>
                        <a:pt x="10" y="42"/>
                      </a:lnTo>
                      <a:lnTo>
                        <a:pt x="10" y="38"/>
                      </a:lnTo>
                      <a:lnTo>
                        <a:pt x="8" y="34"/>
                      </a:lnTo>
                      <a:lnTo>
                        <a:pt x="8" y="30"/>
                      </a:lnTo>
                      <a:lnTo>
                        <a:pt x="4" y="26"/>
                      </a:lnTo>
                      <a:lnTo>
                        <a:pt x="8" y="26"/>
                      </a:lnTo>
                      <a:lnTo>
                        <a:pt x="10" y="26"/>
                      </a:lnTo>
                      <a:lnTo>
                        <a:pt x="14" y="26"/>
                      </a:lnTo>
                      <a:lnTo>
                        <a:pt x="14" y="22"/>
                      </a:lnTo>
                      <a:lnTo>
                        <a:pt x="18" y="22"/>
                      </a:lnTo>
                      <a:lnTo>
                        <a:pt x="18" y="26"/>
                      </a:lnTo>
                      <a:lnTo>
                        <a:pt x="18" y="22"/>
                      </a:lnTo>
                      <a:lnTo>
                        <a:pt x="22" y="22"/>
                      </a:lnTo>
                      <a:lnTo>
                        <a:pt x="26" y="22"/>
                      </a:lnTo>
                      <a:lnTo>
                        <a:pt x="30" y="22"/>
                      </a:lnTo>
                      <a:lnTo>
                        <a:pt x="34" y="22"/>
                      </a:lnTo>
                      <a:lnTo>
                        <a:pt x="34" y="26"/>
                      </a:lnTo>
                      <a:lnTo>
                        <a:pt x="38" y="26"/>
                      </a:lnTo>
                      <a:lnTo>
                        <a:pt x="40" y="22"/>
                      </a:lnTo>
                      <a:lnTo>
                        <a:pt x="44" y="22"/>
                      </a:lnTo>
                      <a:lnTo>
                        <a:pt x="56" y="22"/>
                      </a:lnTo>
                      <a:lnTo>
                        <a:pt x="60" y="22"/>
                      </a:lnTo>
                      <a:lnTo>
                        <a:pt x="64" y="22"/>
                      </a:lnTo>
                      <a:lnTo>
                        <a:pt x="66" y="22"/>
                      </a:lnTo>
                      <a:lnTo>
                        <a:pt x="66" y="26"/>
                      </a:lnTo>
                      <a:lnTo>
                        <a:pt x="66" y="30"/>
                      </a:lnTo>
                      <a:lnTo>
                        <a:pt x="66" y="34"/>
                      </a:lnTo>
                      <a:lnTo>
                        <a:pt x="70" y="38"/>
                      </a:lnTo>
                      <a:lnTo>
                        <a:pt x="70" y="42"/>
                      </a:lnTo>
                      <a:lnTo>
                        <a:pt x="70" y="44"/>
                      </a:lnTo>
                      <a:lnTo>
                        <a:pt x="70" y="48"/>
                      </a:lnTo>
                      <a:lnTo>
                        <a:pt x="74" y="48"/>
                      </a:lnTo>
                      <a:lnTo>
                        <a:pt x="74" y="52"/>
                      </a:lnTo>
                      <a:lnTo>
                        <a:pt x="78" y="56"/>
                      </a:lnTo>
                      <a:lnTo>
                        <a:pt x="78" y="60"/>
                      </a:lnTo>
                      <a:lnTo>
                        <a:pt x="82" y="60"/>
                      </a:lnTo>
                      <a:lnTo>
                        <a:pt x="82" y="64"/>
                      </a:lnTo>
                      <a:lnTo>
                        <a:pt x="86" y="60"/>
                      </a:lnTo>
                      <a:lnTo>
                        <a:pt x="86" y="64"/>
                      </a:lnTo>
                      <a:lnTo>
                        <a:pt x="90" y="64"/>
                      </a:lnTo>
                      <a:lnTo>
                        <a:pt x="90" y="60"/>
                      </a:lnTo>
                      <a:lnTo>
                        <a:pt x="94" y="60"/>
                      </a:lnTo>
                      <a:lnTo>
                        <a:pt x="96" y="60"/>
                      </a:lnTo>
                      <a:lnTo>
                        <a:pt x="100" y="60"/>
                      </a:lnTo>
                      <a:lnTo>
                        <a:pt x="108" y="60"/>
                      </a:lnTo>
                      <a:lnTo>
                        <a:pt x="104" y="60"/>
                      </a:lnTo>
                      <a:lnTo>
                        <a:pt x="104" y="56"/>
                      </a:lnTo>
                      <a:lnTo>
                        <a:pt x="108" y="56"/>
                      </a:lnTo>
                      <a:lnTo>
                        <a:pt x="108" y="52"/>
                      </a:lnTo>
                      <a:lnTo>
                        <a:pt x="108" y="48"/>
                      </a:lnTo>
                      <a:lnTo>
                        <a:pt x="108" y="44"/>
                      </a:lnTo>
                      <a:lnTo>
                        <a:pt x="116" y="44"/>
                      </a:lnTo>
                      <a:lnTo>
                        <a:pt x="120" y="44"/>
                      </a:lnTo>
                      <a:lnTo>
                        <a:pt x="120" y="42"/>
                      </a:lnTo>
                      <a:lnTo>
                        <a:pt x="122" y="42"/>
                      </a:lnTo>
                      <a:lnTo>
                        <a:pt x="122" y="44"/>
                      </a:lnTo>
                      <a:lnTo>
                        <a:pt x="122" y="48"/>
                      </a:lnTo>
                      <a:lnTo>
                        <a:pt x="130" y="48"/>
                      </a:lnTo>
                      <a:lnTo>
                        <a:pt x="138" y="48"/>
                      </a:lnTo>
                      <a:lnTo>
                        <a:pt x="142" y="48"/>
                      </a:lnTo>
                      <a:lnTo>
                        <a:pt x="142" y="52"/>
                      </a:lnTo>
                      <a:lnTo>
                        <a:pt x="142" y="56"/>
                      </a:lnTo>
                      <a:lnTo>
                        <a:pt x="142" y="60"/>
                      </a:lnTo>
                      <a:lnTo>
                        <a:pt x="142" y="64"/>
                      </a:lnTo>
                      <a:lnTo>
                        <a:pt x="142" y="68"/>
                      </a:lnTo>
                      <a:lnTo>
                        <a:pt x="142" y="70"/>
                      </a:lnTo>
                      <a:lnTo>
                        <a:pt x="142" y="74"/>
                      </a:lnTo>
                      <a:lnTo>
                        <a:pt x="142" y="78"/>
                      </a:lnTo>
                      <a:lnTo>
                        <a:pt x="142" y="82"/>
                      </a:lnTo>
                      <a:lnTo>
                        <a:pt x="142" y="86"/>
                      </a:lnTo>
                      <a:lnTo>
                        <a:pt x="142" y="90"/>
                      </a:lnTo>
                      <a:lnTo>
                        <a:pt x="146" y="94"/>
                      </a:lnTo>
                      <a:lnTo>
                        <a:pt x="146" y="98"/>
                      </a:lnTo>
                      <a:lnTo>
                        <a:pt x="150" y="100"/>
                      </a:lnTo>
                      <a:lnTo>
                        <a:pt x="150" y="104"/>
                      </a:lnTo>
                      <a:lnTo>
                        <a:pt x="150" y="108"/>
                      </a:lnTo>
                      <a:lnTo>
                        <a:pt x="146" y="108"/>
                      </a:lnTo>
                      <a:lnTo>
                        <a:pt x="146" y="112"/>
                      </a:lnTo>
                      <a:lnTo>
                        <a:pt x="146" y="116"/>
                      </a:lnTo>
                      <a:lnTo>
                        <a:pt x="150" y="116"/>
                      </a:lnTo>
                      <a:lnTo>
                        <a:pt x="150" y="112"/>
                      </a:lnTo>
                      <a:lnTo>
                        <a:pt x="152" y="112"/>
                      </a:lnTo>
                      <a:lnTo>
                        <a:pt x="156" y="112"/>
                      </a:lnTo>
                      <a:lnTo>
                        <a:pt x="160" y="112"/>
                      </a:lnTo>
                      <a:lnTo>
                        <a:pt x="164" y="112"/>
                      </a:lnTo>
                      <a:lnTo>
                        <a:pt x="168" y="112"/>
                      </a:lnTo>
                      <a:lnTo>
                        <a:pt x="172" y="112"/>
                      </a:lnTo>
                      <a:lnTo>
                        <a:pt x="172" y="108"/>
                      </a:lnTo>
                      <a:lnTo>
                        <a:pt x="172" y="112"/>
                      </a:lnTo>
                      <a:lnTo>
                        <a:pt x="172" y="116"/>
                      </a:lnTo>
                      <a:lnTo>
                        <a:pt x="172" y="120"/>
                      </a:lnTo>
                      <a:lnTo>
                        <a:pt x="172" y="124"/>
                      </a:lnTo>
                      <a:lnTo>
                        <a:pt x="172" y="126"/>
                      </a:lnTo>
                      <a:lnTo>
                        <a:pt x="172" y="134"/>
                      </a:lnTo>
                      <a:lnTo>
                        <a:pt x="172" y="138"/>
                      </a:lnTo>
                      <a:lnTo>
                        <a:pt x="172" y="142"/>
                      </a:lnTo>
                      <a:lnTo>
                        <a:pt x="172" y="146"/>
                      </a:lnTo>
                      <a:lnTo>
                        <a:pt x="168" y="146"/>
                      </a:lnTo>
                      <a:lnTo>
                        <a:pt x="164" y="146"/>
                      </a:lnTo>
                      <a:lnTo>
                        <a:pt x="160" y="146"/>
                      </a:lnTo>
                      <a:lnTo>
                        <a:pt x="156" y="146"/>
                      </a:lnTo>
                      <a:lnTo>
                        <a:pt x="150" y="146"/>
                      </a:lnTo>
                      <a:lnTo>
                        <a:pt x="142" y="146"/>
                      </a:lnTo>
                      <a:lnTo>
                        <a:pt x="142" y="154"/>
                      </a:lnTo>
                      <a:lnTo>
                        <a:pt x="142" y="160"/>
                      </a:lnTo>
                      <a:lnTo>
                        <a:pt x="142" y="164"/>
                      </a:lnTo>
                      <a:lnTo>
                        <a:pt x="142" y="172"/>
                      </a:lnTo>
                      <a:lnTo>
                        <a:pt x="142" y="176"/>
                      </a:lnTo>
                      <a:lnTo>
                        <a:pt x="142" y="180"/>
                      </a:lnTo>
                      <a:lnTo>
                        <a:pt x="142" y="190"/>
                      </a:lnTo>
                      <a:lnTo>
                        <a:pt x="142" y="198"/>
                      </a:lnTo>
                      <a:lnTo>
                        <a:pt x="142" y="202"/>
                      </a:lnTo>
                      <a:lnTo>
                        <a:pt x="146" y="202"/>
                      </a:lnTo>
                      <a:lnTo>
                        <a:pt x="146" y="206"/>
                      </a:lnTo>
                      <a:lnTo>
                        <a:pt x="146" y="210"/>
                      </a:lnTo>
                      <a:lnTo>
                        <a:pt x="150" y="210"/>
                      </a:lnTo>
                      <a:lnTo>
                        <a:pt x="150" y="212"/>
                      </a:lnTo>
                      <a:lnTo>
                        <a:pt x="152" y="216"/>
                      </a:lnTo>
                      <a:lnTo>
                        <a:pt x="160" y="224"/>
                      </a:lnTo>
                      <a:lnTo>
                        <a:pt x="164" y="228"/>
                      </a:lnTo>
                      <a:lnTo>
                        <a:pt x="164" y="228"/>
                      </a:lnTo>
                      <a:lnTo>
                        <a:pt x="164" y="22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83" name="Freeform 129"/>
                <p:cNvSpPr>
                  <a:spLocks/>
                </p:cNvSpPr>
                <p:nvPr/>
              </p:nvSpPr>
              <p:spPr bwMode="auto">
                <a:xfrm>
                  <a:off x="4413250" y="4219643"/>
                  <a:ext cx="69850" cy="171450"/>
                </a:xfrm>
                <a:custGeom>
                  <a:avLst/>
                  <a:gdLst>
                    <a:gd name="T0" fmla="*/ 30 w 44"/>
                    <a:gd name="T1" fmla="*/ 90 h 108"/>
                    <a:gd name="T2" fmla="*/ 26 w 44"/>
                    <a:gd name="T3" fmla="*/ 96 h 108"/>
                    <a:gd name="T4" fmla="*/ 26 w 44"/>
                    <a:gd name="T5" fmla="*/ 104 h 108"/>
                    <a:gd name="T6" fmla="*/ 26 w 44"/>
                    <a:gd name="T7" fmla="*/ 104 h 108"/>
                    <a:gd name="T8" fmla="*/ 22 w 44"/>
                    <a:gd name="T9" fmla="*/ 104 h 108"/>
                    <a:gd name="T10" fmla="*/ 18 w 44"/>
                    <a:gd name="T11" fmla="*/ 108 h 108"/>
                    <a:gd name="T12" fmla="*/ 10 w 44"/>
                    <a:gd name="T13" fmla="*/ 108 h 108"/>
                    <a:gd name="T14" fmla="*/ 10 w 44"/>
                    <a:gd name="T15" fmla="*/ 108 h 108"/>
                    <a:gd name="T16" fmla="*/ 14 w 44"/>
                    <a:gd name="T17" fmla="*/ 108 h 108"/>
                    <a:gd name="T18" fmla="*/ 10 w 44"/>
                    <a:gd name="T19" fmla="*/ 100 h 108"/>
                    <a:gd name="T20" fmla="*/ 10 w 44"/>
                    <a:gd name="T21" fmla="*/ 100 h 108"/>
                    <a:gd name="T22" fmla="*/ 10 w 44"/>
                    <a:gd name="T23" fmla="*/ 96 h 108"/>
                    <a:gd name="T24" fmla="*/ 10 w 44"/>
                    <a:gd name="T25" fmla="*/ 90 h 108"/>
                    <a:gd name="T26" fmla="*/ 10 w 44"/>
                    <a:gd name="T27" fmla="*/ 86 h 108"/>
                    <a:gd name="T28" fmla="*/ 10 w 44"/>
                    <a:gd name="T29" fmla="*/ 78 h 108"/>
                    <a:gd name="T30" fmla="*/ 10 w 44"/>
                    <a:gd name="T31" fmla="*/ 66 h 108"/>
                    <a:gd name="T32" fmla="*/ 10 w 44"/>
                    <a:gd name="T33" fmla="*/ 60 h 108"/>
                    <a:gd name="T34" fmla="*/ 10 w 44"/>
                    <a:gd name="T35" fmla="*/ 56 h 108"/>
                    <a:gd name="T36" fmla="*/ 6 w 44"/>
                    <a:gd name="T37" fmla="*/ 56 h 108"/>
                    <a:gd name="T38" fmla="*/ 6 w 44"/>
                    <a:gd name="T39" fmla="*/ 52 h 108"/>
                    <a:gd name="T40" fmla="*/ 6 w 44"/>
                    <a:gd name="T41" fmla="*/ 48 h 108"/>
                    <a:gd name="T42" fmla="*/ 6 w 44"/>
                    <a:gd name="T43" fmla="*/ 40 h 108"/>
                    <a:gd name="T44" fmla="*/ 0 w 44"/>
                    <a:gd name="T45" fmla="*/ 38 h 108"/>
                    <a:gd name="T46" fmla="*/ 0 w 44"/>
                    <a:gd name="T47" fmla="*/ 34 h 108"/>
                    <a:gd name="T48" fmla="*/ 0 w 44"/>
                    <a:gd name="T49" fmla="*/ 30 h 108"/>
                    <a:gd name="T50" fmla="*/ 0 w 44"/>
                    <a:gd name="T51" fmla="*/ 26 h 108"/>
                    <a:gd name="T52" fmla="*/ 2 w 44"/>
                    <a:gd name="T53" fmla="*/ 22 h 108"/>
                    <a:gd name="T54" fmla="*/ 6 w 44"/>
                    <a:gd name="T55" fmla="*/ 18 h 108"/>
                    <a:gd name="T56" fmla="*/ 6 w 44"/>
                    <a:gd name="T57" fmla="*/ 18 h 108"/>
                    <a:gd name="T58" fmla="*/ 10 w 44"/>
                    <a:gd name="T59" fmla="*/ 18 h 108"/>
                    <a:gd name="T60" fmla="*/ 14 w 44"/>
                    <a:gd name="T61" fmla="*/ 18 h 108"/>
                    <a:gd name="T62" fmla="*/ 18 w 44"/>
                    <a:gd name="T63" fmla="*/ 18 h 108"/>
                    <a:gd name="T64" fmla="*/ 18 w 44"/>
                    <a:gd name="T65" fmla="*/ 14 h 108"/>
                    <a:gd name="T66" fmla="*/ 22 w 44"/>
                    <a:gd name="T67" fmla="*/ 12 h 108"/>
                    <a:gd name="T68" fmla="*/ 22 w 44"/>
                    <a:gd name="T69" fmla="*/ 8 h 108"/>
                    <a:gd name="T70" fmla="*/ 26 w 44"/>
                    <a:gd name="T71" fmla="*/ 4 h 108"/>
                    <a:gd name="T72" fmla="*/ 30 w 44"/>
                    <a:gd name="T73" fmla="*/ 0 h 108"/>
                    <a:gd name="T74" fmla="*/ 34 w 44"/>
                    <a:gd name="T75" fmla="*/ 8 h 108"/>
                    <a:gd name="T76" fmla="*/ 36 w 44"/>
                    <a:gd name="T77" fmla="*/ 12 h 108"/>
                    <a:gd name="T78" fmla="*/ 36 w 44"/>
                    <a:gd name="T79" fmla="*/ 12 h 108"/>
                    <a:gd name="T80" fmla="*/ 40 w 44"/>
                    <a:gd name="T81" fmla="*/ 14 h 108"/>
                    <a:gd name="T82" fmla="*/ 40 w 44"/>
                    <a:gd name="T83" fmla="*/ 22 h 108"/>
                    <a:gd name="T84" fmla="*/ 40 w 44"/>
                    <a:gd name="T85" fmla="*/ 26 h 108"/>
                    <a:gd name="T86" fmla="*/ 40 w 44"/>
                    <a:gd name="T87" fmla="*/ 30 h 108"/>
                    <a:gd name="T88" fmla="*/ 44 w 44"/>
                    <a:gd name="T89" fmla="*/ 30 h 108"/>
                    <a:gd name="T90" fmla="*/ 40 w 44"/>
                    <a:gd name="T91" fmla="*/ 38 h 108"/>
                    <a:gd name="T92" fmla="*/ 40 w 44"/>
                    <a:gd name="T93" fmla="*/ 38 h 108"/>
                    <a:gd name="T94" fmla="*/ 40 w 44"/>
                    <a:gd name="T95" fmla="*/ 40 h 108"/>
                    <a:gd name="T96" fmla="*/ 36 w 44"/>
                    <a:gd name="T97" fmla="*/ 44 h 108"/>
                    <a:gd name="T98" fmla="*/ 36 w 44"/>
                    <a:gd name="T99" fmla="*/ 48 h 108"/>
                    <a:gd name="T100" fmla="*/ 34 w 44"/>
                    <a:gd name="T101" fmla="*/ 52 h 108"/>
                    <a:gd name="T102" fmla="*/ 34 w 44"/>
                    <a:gd name="T103" fmla="*/ 56 h 108"/>
                    <a:gd name="T104" fmla="*/ 30 w 44"/>
                    <a:gd name="T105" fmla="*/ 60 h 108"/>
                    <a:gd name="T106" fmla="*/ 30 w 44"/>
                    <a:gd name="T107" fmla="*/ 60 h 108"/>
                    <a:gd name="T108" fmla="*/ 26 w 44"/>
                    <a:gd name="T109" fmla="*/ 66 h 108"/>
                    <a:gd name="T110" fmla="*/ 26 w 44"/>
                    <a:gd name="T111" fmla="*/ 70 h 108"/>
                    <a:gd name="T112" fmla="*/ 26 w 44"/>
                    <a:gd name="T113" fmla="*/ 74 h 108"/>
                    <a:gd name="T114" fmla="*/ 26 w 44"/>
                    <a:gd name="T115" fmla="*/ 78 h 108"/>
                    <a:gd name="T116" fmla="*/ 26 w 44"/>
                    <a:gd name="T117" fmla="*/ 82 h 108"/>
                    <a:gd name="T118" fmla="*/ 26 w 44"/>
                    <a:gd name="T119" fmla="*/ 82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44" h="108">
                      <a:moveTo>
                        <a:pt x="26" y="82"/>
                      </a:moveTo>
                      <a:lnTo>
                        <a:pt x="26" y="82"/>
                      </a:lnTo>
                      <a:lnTo>
                        <a:pt x="26" y="86"/>
                      </a:lnTo>
                      <a:lnTo>
                        <a:pt x="30" y="90"/>
                      </a:lnTo>
                      <a:lnTo>
                        <a:pt x="30" y="92"/>
                      </a:lnTo>
                      <a:lnTo>
                        <a:pt x="26" y="92"/>
                      </a:lnTo>
                      <a:lnTo>
                        <a:pt x="26" y="96"/>
                      </a:lnTo>
                      <a:lnTo>
                        <a:pt x="26" y="96"/>
                      </a:lnTo>
                      <a:lnTo>
                        <a:pt x="26" y="96"/>
                      </a:lnTo>
                      <a:lnTo>
                        <a:pt x="26" y="100"/>
                      </a:lnTo>
                      <a:lnTo>
                        <a:pt x="26" y="100"/>
                      </a:lnTo>
                      <a:lnTo>
                        <a:pt x="26" y="104"/>
                      </a:lnTo>
                      <a:lnTo>
                        <a:pt x="26" y="104"/>
                      </a:lnTo>
                      <a:lnTo>
                        <a:pt x="26" y="104"/>
                      </a:lnTo>
                      <a:lnTo>
                        <a:pt x="26" y="104"/>
                      </a:lnTo>
                      <a:lnTo>
                        <a:pt x="26" y="104"/>
                      </a:lnTo>
                      <a:lnTo>
                        <a:pt x="22" y="104"/>
                      </a:lnTo>
                      <a:lnTo>
                        <a:pt x="22" y="104"/>
                      </a:lnTo>
                      <a:lnTo>
                        <a:pt x="22" y="104"/>
                      </a:lnTo>
                      <a:lnTo>
                        <a:pt x="22" y="104"/>
                      </a:lnTo>
                      <a:lnTo>
                        <a:pt x="22" y="104"/>
                      </a:lnTo>
                      <a:lnTo>
                        <a:pt x="22" y="104"/>
                      </a:lnTo>
                      <a:lnTo>
                        <a:pt x="22" y="108"/>
                      </a:lnTo>
                      <a:lnTo>
                        <a:pt x="18" y="108"/>
                      </a:lnTo>
                      <a:lnTo>
                        <a:pt x="18" y="108"/>
                      </a:lnTo>
                      <a:lnTo>
                        <a:pt x="14" y="108"/>
                      </a:lnTo>
                      <a:lnTo>
                        <a:pt x="14" y="108"/>
                      </a:lnTo>
                      <a:lnTo>
                        <a:pt x="10" y="108"/>
                      </a:lnTo>
                      <a:lnTo>
                        <a:pt x="10" y="108"/>
                      </a:lnTo>
                      <a:lnTo>
                        <a:pt x="10" y="108"/>
                      </a:lnTo>
                      <a:lnTo>
                        <a:pt x="10" y="108"/>
                      </a:lnTo>
                      <a:lnTo>
                        <a:pt x="10" y="108"/>
                      </a:lnTo>
                      <a:lnTo>
                        <a:pt x="10" y="108"/>
                      </a:lnTo>
                      <a:lnTo>
                        <a:pt x="14" y="108"/>
                      </a:lnTo>
                      <a:lnTo>
                        <a:pt x="14" y="108"/>
                      </a:lnTo>
                      <a:lnTo>
                        <a:pt x="14" y="108"/>
                      </a:lnTo>
                      <a:lnTo>
                        <a:pt x="14" y="104"/>
                      </a:lnTo>
                      <a:lnTo>
                        <a:pt x="14" y="104"/>
                      </a:lnTo>
                      <a:lnTo>
                        <a:pt x="10" y="100"/>
                      </a:lnTo>
                      <a:lnTo>
                        <a:pt x="10" y="100"/>
                      </a:lnTo>
                      <a:lnTo>
                        <a:pt x="10" y="100"/>
                      </a:lnTo>
                      <a:lnTo>
                        <a:pt x="10" y="100"/>
                      </a:lnTo>
                      <a:lnTo>
                        <a:pt x="10" y="100"/>
                      </a:lnTo>
                      <a:lnTo>
                        <a:pt x="10" y="100"/>
                      </a:lnTo>
                      <a:lnTo>
                        <a:pt x="10" y="100"/>
                      </a:lnTo>
                      <a:lnTo>
                        <a:pt x="10" y="96"/>
                      </a:lnTo>
                      <a:lnTo>
                        <a:pt x="10" y="96"/>
                      </a:lnTo>
                      <a:lnTo>
                        <a:pt x="10" y="96"/>
                      </a:lnTo>
                      <a:lnTo>
                        <a:pt x="10" y="96"/>
                      </a:lnTo>
                      <a:lnTo>
                        <a:pt x="10" y="92"/>
                      </a:lnTo>
                      <a:lnTo>
                        <a:pt x="10" y="92"/>
                      </a:lnTo>
                      <a:lnTo>
                        <a:pt x="10" y="90"/>
                      </a:lnTo>
                      <a:lnTo>
                        <a:pt x="10" y="90"/>
                      </a:lnTo>
                      <a:lnTo>
                        <a:pt x="10" y="86"/>
                      </a:lnTo>
                      <a:lnTo>
                        <a:pt x="10" y="86"/>
                      </a:lnTo>
                      <a:lnTo>
                        <a:pt x="10" y="86"/>
                      </a:lnTo>
                      <a:lnTo>
                        <a:pt x="10" y="86"/>
                      </a:lnTo>
                      <a:lnTo>
                        <a:pt x="10" y="86"/>
                      </a:lnTo>
                      <a:lnTo>
                        <a:pt x="10" y="82"/>
                      </a:lnTo>
                      <a:lnTo>
                        <a:pt x="10" y="78"/>
                      </a:lnTo>
                      <a:lnTo>
                        <a:pt x="10" y="70"/>
                      </a:lnTo>
                      <a:lnTo>
                        <a:pt x="10" y="70"/>
                      </a:lnTo>
                      <a:lnTo>
                        <a:pt x="10" y="70"/>
                      </a:lnTo>
                      <a:lnTo>
                        <a:pt x="10" y="66"/>
                      </a:lnTo>
                      <a:lnTo>
                        <a:pt x="10" y="64"/>
                      </a:lnTo>
                      <a:lnTo>
                        <a:pt x="10" y="64"/>
                      </a:lnTo>
                      <a:lnTo>
                        <a:pt x="10" y="60"/>
                      </a:lnTo>
                      <a:lnTo>
                        <a:pt x="10" y="60"/>
                      </a:lnTo>
                      <a:lnTo>
                        <a:pt x="10" y="56"/>
                      </a:lnTo>
                      <a:lnTo>
                        <a:pt x="10" y="56"/>
                      </a:lnTo>
                      <a:lnTo>
                        <a:pt x="10" y="56"/>
                      </a:lnTo>
                      <a:lnTo>
                        <a:pt x="10" y="56"/>
                      </a:lnTo>
                      <a:lnTo>
                        <a:pt x="10" y="56"/>
                      </a:lnTo>
                      <a:lnTo>
                        <a:pt x="6" y="56"/>
                      </a:lnTo>
                      <a:lnTo>
                        <a:pt x="6" y="56"/>
                      </a:lnTo>
                      <a:lnTo>
                        <a:pt x="6" y="56"/>
                      </a:lnTo>
                      <a:lnTo>
                        <a:pt x="6" y="52"/>
                      </a:lnTo>
                      <a:lnTo>
                        <a:pt x="6" y="52"/>
                      </a:lnTo>
                      <a:lnTo>
                        <a:pt x="6" y="52"/>
                      </a:lnTo>
                      <a:lnTo>
                        <a:pt x="6" y="52"/>
                      </a:lnTo>
                      <a:lnTo>
                        <a:pt x="6" y="52"/>
                      </a:lnTo>
                      <a:lnTo>
                        <a:pt x="6" y="52"/>
                      </a:lnTo>
                      <a:lnTo>
                        <a:pt x="6" y="48"/>
                      </a:lnTo>
                      <a:lnTo>
                        <a:pt x="6" y="48"/>
                      </a:lnTo>
                      <a:lnTo>
                        <a:pt x="6" y="44"/>
                      </a:lnTo>
                      <a:lnTo>
                        <a:pt x="6" y="44"/>
                      </a:lnTo>
                      <a:lnTo>
                        <a:pt x="6" y="40"/>
                      </a:lnTo>
                      <a:lnTo>
                        <a:pt x="6" y="40"/>
                      </a:lnTo>
                      <a:lnTo>
                        <a:pt x="2" y="40"/>
                      </a:lnTo>
                      <a:lnTo>
                        <a:pt x="2" y="40"/>
                      </a:lnTo>
                      <a:lnTo>
                        <a:pt x="2" y="40"/>
                      </a:lnTo>
                      <a:lnTo>
                        <a:pt x="0" y="38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2" y="26"/>
                      </a:lnTo>
                      <a:lnTo>
                        <a:pt x="2" y="26"/>
                      </a:lnTo>
                      <a:lnTo>
                        <a:pt x="2" y="22"/>
                      </a:lnTo>
                      <a:lnTo>
                        <a:pt x="2" y="22"/>
                      </a:lnTo>
                      <a:lnTo>
                        <a:pt x="6" y="22"/>
                      </a:lnTo>
                      <a:lnTo>
                        <a:pt x="6" y="22"/>
                      </a:lnTo>
                      <a:lnTo>
                        <a:pt x="6" y="18"/>
                      </a:lnTo>
                      <a:lnTo>
                        <a:pt x="6" y="18"/>
                      </a:lnTo>
                      <a:lnTo>
                        <a:pt x="6" y="18"/>
                      </a:lnTo>
                      <a:lnTo>
                        <a:pt x="6" y="18"/>
                      </a:lnTo>
                      <a:lnTo>
                        <a:pt x="6" y="18"/>
                      </a:lnTo>
                      <a:lnTo>
                        <a:pt x="6" y="18"/>
                      </a:lnTo>
                      <a:lnTo>
                        <a:pt x="10" y="18"/>
                      </a:lnTo>
                      <a:lnTo>
                        <a:pt x="10" y="18"/>
                      </a:lnTo>
                      <a:lnTo>
                        <a:pt x="10" y="18"/>
                      </a:lnTo>
                      <a:lnTo>
                        <a:pt x="10" y="18"/>
                      </a:lnTo>
                      <a:lnTo>
                        <a:pt x="10" y="18"/>
                      </a:lnTo>
                      <a:lnTo>
                        <a:pt x="14" y="18"/>
                      </a:lnTo>
                      <a:lnTo>
                        <a:pt x="14" y="18"/>
                      </a:lnTo>
                      <a:lnTo>
                        <a:pt x="14" y="18"/>
                      </a:lnTo>
                      <a:lnTo>
                        <a:pt x="14" y="18"/>
                      </a:lnTo>
                      <a:lnTo>
                        <a:pt x="18" y="18"/>
                      </a:lnTo>
                      <a:lnTo>
                        <a:pt x="18" y="18"/>
                      </a:lnTo>
                      <a:lnTo>
                        <a:pt x="18" y="18"/>
                      </a:lnTo>
                      <a:lnTo>
                        <a:pt x="18" y="18"/>
                      </a:lnTo>
                      <a:lnTo>
                        <a:pt x="18" y="18"/>
                      </a:lnTo>
                      <a:lnTo>
                        <a:pt x="18" y="14"/>
                      </a:lnTo>
                      <a:lnTo>
                        <a:pt x="22" y="14"/>
                      </a:lnTo>
                      <a:lnTo>
                        <a:pt x="22" y="14"/>
                      </a:lnTo>
                      <a:lnTo>
                        <a:pt x="22" y="12"/>
                      </a:lnTo>
                      <a:lnTo>
                        <a:pt x="22" y="12"/>
                      </a:lnTo>
                      <a:lnTo>
                        <a:pt x="22" y="12"/>
                      </a:lnTo>
                      <a:lnTo>
                        <a:pt x="22" y="12"/>
                      </a:lnTo>
                      <a:lnTo>
                        <a:pt x="22" y="8"/>
                      </a:lnTo>
                      <a:lnTo>
                        <a:pt x="22" y="8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30" y="4"/>
                      </a:lnTo>
                      <a:lnTo>
                        <a:pt x="30" y="0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12"/>
                      </a:lnTo>
                      <a:lnTo>
                        <a:pt x="36" y="12"/>
                      </a:lnTo>
                      <a:lnTo>
                        <a:pt x="36" y="12"/>
                      </a:lnTo>
                      <a:lnTo>
                        <a:pt x="36" y="12"/>
                      </a:lnTo>
                      <a:lnTo>
                        <a:pt x="36" y="12"/>
                      </a:lnTo>
                      <a:lnTo>
                        <a:pt x="36" y="12"/>
                      </a:lnTo>
                      <a:lnTo>
                        <a:pt x="36" y="12"/>
                      </a:lnTo>
                      <a:lnTo>
                        <a:pt x="36" y="12"/>
                      </a:lnTo>
                      <a:lnTo>
                        <a:pt x="40" y="14"/>
                      </a:lnTo>
                      <a:lnTo>
                        <a:pt x="40" y="14"/>
                      </a:lnTo>
                      <a:lnTo>
                        <a:pt x="40" y="14"/>
                      </a:lnTo>
                      <a:lnTo>
                        <a:pt x="36" y="14"/>
                      </a:lnTo>
                      <a:lnTo>
                        <a:pt x="36" y="18"/>
                      </a:lnTo>
                      <a:lnTo>
                        <a:pt x="40" y="22"/>
                      </a:lnTo>
                      <a:lnTo>
                        <a:pt x="40" y="22"/>
                      </a:lnTo>
                      <a:lnTo>
                        <a:pt x="40" y="22"/>
                      </a:lnTo>
                      <a:lnTo>
                        <a:pt x="40" y="22"/>
                      </a:lnTo>
                      <a:lnTo>
                        <a:pt x="40" y="26"/>
                      </a:lnTo>
                      <a:lnTo>
                        <a:pt x="40" y="26"/>
                      </a:lnTo>
                      <a:lnTo>
                        <a:pt x="40" y="26"/>
                      </a:lnTo>
                      <a:lnTo>
                        <a:pt x="40" y="26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4" y="30"/>
                      </a:lnTo>
                      <a:lnTo>
                        <a:pt x="44" y="30"/>
                      </a:lnTo>
                      <a:lnTo>
                        <a:pt x="44" y="34"/>
                      </a:lnTo>
                      <a:lnTo>
                        <a:pt x="40" y="34"/>
                      </a:lnTo>
                      <a:lnTo>
                        <a:pt x="40" y="38"/>
                      </a:lnTo>
                      <a:lnTo>
                        <a:pt x="40" y="38"/>
                      </a:lnTo>
                      <a:lnTo>
                        <a:pt x="40" y="38"/>
                      </a:lnTo>
                      <a:lnTo>
                        <a:pt x="40" y="38"/>
                      </a:lnTo>
                      <a:lnTo>
                        <a:pt x="40" y="38"/>
                      </a:lnTo>
                      <a:lnTo>
                        <a:pt x="40" y="38"/>
                      </a:lnTo>
                      <a:lnTo>
                        <a:pt x="40" y="40"/>
                      </a:lnTo>
                      <a:lnTo>
                        <a:pt x="40" y="40"/>
                      </a:lnTo>
                      <a:lnTo>
                        <a:pt x="40" y="40"/>
                      </a:lnTo>
                      <a:lnTo>
                        <a:pt x="40" y="40"/>
                      </a:lnTo>
                      <a:lnTo>
                        <a:pt x="40" y="44"/>
                      </a:lnTo>
                      <a:lnTo>
                        <a:pt x="40" y="44"/>
                      </a:lnTo>
                      <a:lnTo>
                        <a:pt x="36" y="44"/>
                      </a:lnTo>
                      <a:lnTo>
                        <a:pt x="36" y="44"/>
                      </a:lnTo>
                      <a:lnTo>
                        <a:pt x="36" y="44"/>
                      </a:lnTo>
                      <a:lnTo>
                        <a:pt x="36" y="48"/>
                      </a:lnTo>
                      <a:lnTo>
                        <a:pt x="36" y="48"/>
                      </a:lnTo>
                      <a:lnTo>
                        <a:pt x="36" y="48"/>
                      </a:lnTo>
                      <a:lnTo>
                        <a:pt x="36" y="48"/>
                      </a:lnTo>
                      <a:lnTo>
                        <a:pt x="36" y="48"/>
                      </a:lnTo>
                      <a:lnTo>
                        <a:pt x="36" y="48"/>
                      </a:lnTo>
                      <a:lnTo>
                        <a:pt x="34" y="52"/>
                      </a:lnTo>
                      <a:lnTo>
                        <a:pt x="34" y="52"/>
                      </a:lnTo>
                      <a:lnTo>
                        <a:pt x="34" y="52"/>
                      </a:lnTo>
                      <a:lnTo>
                        <a:pt x="34" y="52"/>
                      </a:lnTo>
                      <a:lnTo>
                        <a:pt x="34" y="56"/>
                      </a:lnTo>
                      <a:lnTo>
                        <a:pt x="34" y="56"/>
                      </a:lnTo>
                      <a:lnTo>
                        <a:pt x="34" y="60"/>
                      </a:lnTo>
                      <a:lnTo>
                        <a:pt x="30" y="60"/>
                      </a:lnTo>
                      <a:lnTo>
                        <a:pt x="30" y="60"/>
                      </a:lnTo>
                      <a:lnTo>
                        <a:pt x="30" y="60"/>
                      </a:lnTo>
                      <a:lnTo>
                        <a:pt x="30" y="60"/>
                      </a:lnTo>
                      <a:lnTo>
                        <a:pt x="30" y="60"/>
                      </a:lnTo>
                      <a:lnTo>
                        <a:pt x="30" y="60"/>
                      </a:lnTo>
                      <a:lnTo>
                        <a:pt x="26" y="64"/>
                      </a:lnTo>
                      <a:lnTo>
                        <a:pt x="26" y="64"/>
                      </a:lnTo>
                      <a:lnTo>
                        <a:pt x="26" y="64"/>
                      </a:lnTo>
                      <a:lnTo>
                        <a:pt x="26" y="66"/>
                      </a:lnTo>
                      <a:lnTo>
                        <a:pt x="26" y="66"/>
                      </a:lnTo>
                      <a:lnTo>
                        <a:pt x="26" y="66"/>
                      </a:lnTo>
                      <a:lnTo>
                        <a:pt x="26" y="66"/>
                      </a:lnTo>
                      <a:lnTo>
                        <a:pt x="26" y="70"/>
                      </a:lnTo>
                      <a:lnTo>
                        <a:pt x="26" y="70"/>
                      </a:lnTo>
                      <a:lnTo>
                        <a:pt x="26" y="70"/>
                      </a:lnTo>
                      <a:lnTo>
                        <a:pt x="26" y="70"/>
                      </a:lnTo>
                      <a:lnTo>
                        <a:pt x="26" y="74"/>
                      </a:lnTo>
                      <a:lnTo>
                        <a:pt x="26" y="74"/>
                      </a:lnTo>
                      <a:lnTo>
                        <a:pt x="26" y="74"/>
                      </a:lnTo>
                      <a:lnTo>
                        <a:pt x="26" y="74"/>
                      </a:lnTo>
                      <a:lnTo>
                        <a:pt x="26" y="78"/>
                      </a:lnTo>
                      <a:lnTo>
                        <a:pt x="26" y="78"/>
                      </a:lnTo>
                      <a:lnTo>
                        <a:pt x="26" y="78"/>
                      </a:lnTo>
                      <a:lnTo>
                        <a:pt x="26" y="78"/>
                      </a:lnTo>
                      <a:lnTo>
                        <a:pt x="26" y="82"/>
                      </a:lnTo>
                      <a:lnTo>
                        <a:pt x="26" y="82"/>
                      </a:lnTo>
                      <a:lnTo>
                        <a:pt x="26" y="82"/>
                      </a:lnTo>
                      <a:lnTo>
                        <a:pt x="26" y="82"/>
                      </a:lnTo>
                      <a:lnTo>
                        <a:pt x="26" y="82"/>
                      </a:lnTo>
                      <a:lnTo>
                        <a:pt x="26" y="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84" name="Freeform 130"/>
                <p:cNvSpPr>
                  <a:spLocks/>
                </p:cNvSpPr>
                <p:nvPr/>
              </p:nvSpPr>
              <p:spPr bwMode="auto">
                <a:xfrm>
                  <a:off x="4841875" y="5048318"/>
                  <a:ext cx="206375" cy="254000"/>
                </a:xfrm>
                <a:custGeom>
                  <a:avLst/>
                  <a:gdLst>
                    <a:gd name="T0" fmla="*/ 82 w 130"/>
                    <a:gd name="T1" fmla="*/ 124 h 160"/>
                    <a:gd name="T2" fmla="*/ 80 w 130"/>
                    <a:gd name="T3" fmla="*/ 134 h 160"/>
                    <a:gd name="T4" fmla="*/ 76 w 130"/>
                    <a:gd name="T5" fmla="*/ 142 h 160"/>
                    <a:gd name="T6" fmla="*/ 68 w 130"/>
                    <a:gd name="T7" fmla="*/ 142 h 160"/>
                    <a:gd name="T8" fmla="*/ 64 w 130"/>
                    <a:gd name="T9" fmla="*/ 138 h 160"/>
                    <a:gd name="T10" fmla="*/ 60 w 130"/>
                    <a:gd name="T11" fmla="*/ 138 h 160"/>
                    <a:gd name="T12" fmla="*/ 54 w 130"/>
                    <a:gd name="T13" fmla="*/ 134 h 160"/>
                    <a:gd name="T14" fmla="*/ 46 w 130"/>
                    <a:gd name="T15" fmla="*/ 130 h 160"/>
                    <a:gd name="T16" fmla="*/ 42 w 130"/>
                    <a:gd name="T17" fmla="*/ 138 h 160"/>
                    <a:gd name="T18" fmla="*/ 38 w 130"/>
                    <a:gd name="T19" fmla="*/ 146 h 160"/>
                    <a:gd name="T20" fmla="*/ 30 w 130"/>
                    <a:gd name="T21" fmla="*/ 152 h 160"/>
                    <a:gd name="T22" fmla="*/ 26 w 130"/>
                    <a:gd name="T23" fmla="*/ 156 h 160"/>
                    <a:gd name="T24" fmla="*/ 26 w 130"/>
                    <a:gd name="T25" fmla="*/ 160 h 160"/>
                    <a:gd name="T26" fmla="*/ 20 w 130"/>
                    <a:gd name="T27" fmla="*/ 160 h 160"/>
                    <a:gd name="T28" fmla="*/ 16 w 130"/>
                    <a:gd name="T29" fmla="*/ 160 h 160"/>
                    <a:gd name="T30" fmla="*/ 12 w 130"/>
                    <a:gd name="T31" fmla="*/ 160 h 160"/>
                    <a:gd name="T32" fmla="*/ 8 w 130"/>
                    <a:gd name="T33" fmla="*/ 152 h 160"/>
                    <a:gd name="T34" fmla="*/ 12 w 130"/>
                    <a:gd name="T35" fmla="*/ 150 h 160"/>
                    <a:gd name="T36" fmla="*/ 8 w 130"/>
                    <a:gd name="T37" fmla="*/ 138 h 160"/>
                    <a:gd name="T38" fmla="*/ 4 w 130"/>
                    <a:gd name="T39" fmla="*/ 128 h 160"/>
                    <a:gd name="T40" fmla="*/ 0 w 130"/>
                    <a:gd name="T41" fmla="*/ 124 h 160"/>
                    <a:gd name="T42" fmla="*/ 0 w 130"/>
                    <a:gd name="T43" fmla="*/ 104 h 160"/>
                    <a:gd name="T44" fmla="*/ 0 w 130"/>
                    <a:gd name="T45" fmla="*/ 90 h 160"/>
                    <a:gd name="T46" fmla="*/ 0 w 130"/>
                    <a:gd name="T47" fmla="*/ 74 h 160"/>
                    <a:gd name="T48" fmla="*/ 16 w 130"/>
                    <a:gd name="T49" fmla="*/ 68 h 160"/>
                    <a:gd name="T50" fmla="*/ 16 w 130"/>
                    <a:gd name="T51" fmla="*/ 22 h 160"/>
                    <a:gd name="T52" fmla="*/ 26 w 130"/>
                    <a:gd name="T53" fmla="*/ 8 h 160"/>
                    <a:gd name="T54" fmla="*/ 46 w 130"/>
                    <a:gd name="T55" fmla="*/ 4 h 160"/>
                    <a:gd name="T56" fmla="*/ 50 w 130"/>
                    <a:gd name="T57" fmla="*/ 8 h 160"/>
                    <a:gd name="T58" fmla="*/ 54 w 130"/>
                    <a:gd name="T59" fmla="*/ 12 h 160"/>
                    <a:gd name="T60" fmla="*/ 56 w 130"/>
                    <a:gd name="T61" fmla="*/ 8 h 160"/>
                    <a:gd name="T62" fmla="*/ 64 w 130"/>
                    <a:gd name="T63" fmla="*/ 4 h 160"/>
                    <a:gd name="T64" fmla="*/ 68 w 130"/>
                    <a:gd name="T65" fmla="*/ 0 h 160"/>
                    <a:gd name="T66" fmla="*/ 76 w 130"/>
                    <a:gd name="T67" fmla="*/ 0 h 160"/>
                    <a:gd name="T68" fmla="*/ 76 w 130"/>
                    <a:gd name="T69" fmla="*/ 4 h 160"/>
                    <a:gd name="T70" fmla="*/ 80 w 130"/>
                    <a:gd name="T71" fmla="*/ 8 h 160"/>
                    <a:gd name="T72" fmla="*/ 82 w 130"/>
                    <a:gd name="T73" fmla="*/ 18 h 160"/>
                    <a:gd name="T74" fmla="*/ 86 w 130"/>
                    <a:gd name="T75" fmla="*/ 22 h 160"/>
                    <a:gd name="T76" fmla="*/ 90 w 130"/>
                    <a:gd name="T77" fmla="*/ 30 h 160"/>
                    <a:gd name="T78" fmla="*/ 94 w 130"/>
                    <a:gd name="T79" fmla="*/ 34 h 160"/>
                    <a:gd name="T80" fmla="*/ 102 w 130"/>
                    <a:gd name="T81" fmla="*/ 38 h 160"/>
                    <a:gd name="T82" fmla="*/ 106 w 130"/>
                    <a:gd name="T83" fmla="*/ 46 h 160"/>
                    <a:gd name="T84" fmla="*/ 110 w 130"/>
                    <a:gd name="T85" fmla="*/ 46 h 160"/>
                    <a:gd name="T86" fmla="*/ 110 w 130"/>
                    <a:gd name="T87" fmla="*/ 52 h 160"/>
                    <a:gd name="T88" fmla="*/ 112 w 130"/>
                    <a:gd name="T89" fmla="*/ 64 h 160"/>
                    <a:gd name="T90" fmla="*/ 116 w 130"/>
                    <a:gd name="T91" fmla="*/ 68 h 160"/>
                    <a:gd name="T92" fmla="*/ 120 w 130"/>
                    <a:gd name="T93" fmla="*/ 68 h 160"/>
                    <a:gd name="T94" fmla="*/ 126 w 130"/>
                    <a:gd name="T95" fmla="*/ 68 h 160"/>
                    <a:gd name="T96" fmla="*/ 126 w 130"/>
                    <a:gd name="T97" fmla="*/ 74 h 160"/>
                    <a:gd name="T98" fmla="*/ 130 w 130"/>
                    <a:gd name="T99" fmla="*/ 74 h 160"/>
                    <a:gd name="T100" fmla="*/ 126 w 130"/>
                    <a:gd name="T101" fmla="*/ 78 h 160"/>
                    <a:gd name="T102" fmla="*/ 126 w 130"/>
                    <a:gd name="T103" fmla="*/ 82 h 160"/>
                    <a:gd name="T104" fmla="*/ 116 w 130"/>
                    <a:gd name="T105" fmla="*/ 86 h 160"/>
                    <a:gd name="T106" fmla="*/ 112 w 130"/>
                    <a:gd name="T107" fmla="*/ 90 h 160"/>
                    <a:gd name="T108" fmla="*/ 110 w 130"/>
                    <a:gd name="T109" fmla="*/ 98 h 160"/>
                    <a:gd name="T110" fmla="*/ 102 w 130"/>
                    <a:gd name="T111" fmla="*/ 100 h 160"/>
                    <a:gd name="T112" fmla="*/ 98 w 130"/>
                    <a:gd name="T113" fmla="*/ 108 h 160"/>
                    <a:gd name="T114" fmla="*/ 94 w 130"/>
                    <a:gd name="T115" fmla="*/ 116 h 160"/>
                    <a:gd name="T116" fmla="*/ 90 w 130"/>
                    <a:gd name="T117" fmla="*/ 120 h 1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30" h="160">
                      <a:moveTo>
                        <a:pt x="90" y="120"/>
                      </a:moveTo>
                      <a:lnTo>
                        <a:pt x="90" y="120"/>
                      </a:lnTo>
                      <a:lnTo>
                        <a:pt x="90" y="120"/>
                      </a:lnTo>
                      <a:lnTo>
                        <a:pt x="90" y="120"/>
                      </a:lnTo>
                      <a:lnTo>
                        <a:pt x="86" y="120"/>
                      </a:lnTo>
                      <a:lnTo>
                        <a:pt x="86" y="120"/>
                      </a:lnTo>
                      <a:lnTo>
                        <a:pt x="82" y="124"/>
                      </a:lnTo>
                      <a:lnTo>
                        <a:pt x="82" y="124"/>
                      </a:lnTo>
                      <a:lnTo>
                        <a:pt x="82" y="124"/>
                      </a:lnTo>
                      <a:lnTo>
                        <a:pt x="82" y="124"/>
                      </a:lnTo>
                      <a:lnTo>
                        <a:pt x="82" y="128"/>
                      </a:lnTo>
                      <a:lnTo>
                        <a:pt x="82" y="130"/>
                      </a:lnTo>
                      <a:lnTo>
                        <a:pt x="80" y="134"/>
                      </a:lnTo>
                      <a:lnTo>
                        <a:pt x="80" y="134"/>
                      </a:lnTo>
                      <a:lnTo>
                        <a:pt x="80" y="138"/>
                      </a:lnTo>
                      <a:lnTo>
                        <a:pt x="80" y="138"/>
                      </a:lnTo>
                      <a:lnTo>
                        <a:pt x="80" y="138"/>
                      </a:lnTo>
                      <a:lnTo>
                        <a:pt x="80" y="138"/>
                      </a:lnTo>
                      <a:lnTo>
                        <a:pt x="76" y="138"/>
                      </a:lnTo>
                      <a:lnTo>
                        <a:pt x="76" y="142"/>
                      </a:lnTo>
                      <a:lnTo>
                        <a:pt x="76" y="142"/>
                      </a:lnTo>
                      <a:lnTo>
                        <a:pt x="72" y="142"/>
                      </a:lnTo>
                      <a:lnTo>
                        <a:pt x="72" y="138"/>
                      </a:lnTo>
                      <a:lnTo>
                        <a:pt x="72" y="138"/>
                      </a:lnTo>
                      <a:lnTo>
                        <a:pt x="72" y="138"/>
                      </a:lnTo>
                      <a:lnTo>
                        <a:pt x="72" y="138"/>
                      </a:lnTo>
                      <a:lnTo>
                        <a:pt x="72" y="142"/>
                      </a:lnTo>
                      <a:lnTo>
                        <a:pt x="68" y="142"/>
                      </a:lnTo>
                      <a:lnTo>
                        <a:pt x="68" y="142"/>
                      </a:lnTo>
                      <a:lnTo>
                        <a:pt x="68" y="142"/>
                      </a:lnTo>
                      <a:lnTo>
                        <a:pt x="68" y="142"/>
                      </a:lnTo>
                      <a:lnTo>
                        <a:pt x="64" y="142"/>
                      </a:lnTo>
                      <a:lnTo>
                        <a:pt x="64" y="142"/>
                      </a:lnTo>
                      <a:lnTo>
                        <a:pt x="64" y="142"/>
                      </a:lnTo>
                      <a:lnTo>
                        <a:pt x="64" y="138"/>
                      </a:lnTo>
                      <a:lnTo>
                        <a:pt x="64" y="138"/>
                      </a:lnTo>
                      <a:lnTo>
                        <a:pt x="64" y="142"/>
                      </a:lnTo>
                      <a:lnTo>
                        <a:pt x="60" y="142"/>
                      </a:lnTo>
                      <a:lnTo>
                        <a:pt x="60" y="138"/>
                      </a:lnTo>
                      <a:lnTo>
                        <a:pt x="60" y="138"/>
                      </a:lnTo>
                      <a:lnTo>
                        <a:pt x="60" y="138"/>
                      </a:lnTo>
                      <a:lnTo>
                        <a:pt x="60" y="138"/>
                      </a:lnTo>
                      <a:lnTo>
                        <a:pt x="60" y="138"/>
                      </a:lnTo>
                      <a:lnTo>
                        <a:pt x="56" y="138"/>
                      </a:lnTo>
                      <a:lnTo>
                        <a:pt x="56" y="138"/>
                      </a:lnTo>
                      <a:lnTo>
                        <a:pt x="56" y="138"/>
                      </a:lnTo>
                      <a:lnTo>
                        <a:pt x="56" y="138"/>
                      </a:lnTo>
                      <a:lnTo>
                        <a:pt x="56" y="138"/>
                      </a:lnTo>
                      <a:lnTo>
                        <a:pt x="54" y="134"/>
                      </a:lnTo>
                      <a:lnTo>
                        <a:pt x="54" y="134"/>
                      </a:lnTo>
                      <a:lnTo>
                        <a:pt x="54" y="134"/>
                      </a:lnTo>
                      <a:lnTo>
                        <a:pt x="54" y="134"/>
                      </a:lnTo>
                      <a:lnTo>
                        <a:pt x="54" y="134"/>
                      </a:lnTo>
                      <a:lnTo>
                        <a:pt x="50" y="130"/>
                      </a:lnTo>
                      <a:lnTo>
                        <a:pt x="50" y="130"/>
                      </a:lnTo>
                      <a:lnTo>
                        <a:pt x="46" y="130"/>
                      </a:lnTo>
                      <a:lnTo>
                        <a:pt x="46" y="130"/>
                      </a:lnTo>
                      <a:lnTo>
                        <a:pt x="42" y="130"/>
                      </a:lnTo>
                      <a:lnTo>
                        <a:pt x="42" y="130"/>
                      </a:lnTo>
                      <a:lnTo>
                        <a:pt x="42" y="134"/>
                      </a:lnTo>
                      <a:lnTo>
                        <a:pt x="42" y="134"/>
                      </a:lnTo>
                      <a:lnTo>
                        <a:pt x="42" y="138"/>
                      </a:lnTo>
                      <a:lnTo>
                        <a:pt x="42" y="138"/>
                      </a:lnTo>
                      <a:lnTo>
                        <a:pt x="42" y="138"/>
                      </a:lnTo>
                      <a:lnTo>
                        <a:pt x="38" y="138"/>
                      </a:lnTo>
                      <a:lnTo>
                        <a:pt x="38" y="138"/>
                      </a:lnTo>
                      <a:lnTo>
                        <a:pt x="38" y="142"/>
                      </a:lnTo>
                      <a:lnTo>
                        <a:pt x="38" y="142"/>
                      </a:lnTo>
                      <a:lnTo>
                        <a:pt x="38" y="146"/>
                      </a:lnTo>
                      <a:lnTo>
                        <a:pt x="38" y="146"/>
                      </a:lnTo>
                      <a:lnTo>
                        <a:pt x="38" y="146"/>
                      </a:lnTo>
                      <a:lnTo>
                        <a:pt x="38" y="146"/>
                      </a:lnTo>
                      <a:lnTo>
                        <a:pt x="38" y="146"/>
                      </a:lnTo>
                      <a:lnTo>
                        <a:pt x="34" y="150"/>
                      </a:lnTo>
                      <a:lnTo>
                        <a:pt x="34" y="150"/>
                      </a:lnTo>
                      <a:lnTo>
                        <a:pt x="30" y="150"/>
                      </a:lnTo>
                      <a:lnTo>
                        <a:pt x="30" y="152"/>
                      </a:lnTo>
                      <a:lnTo>
                        <a:pt x="30" y="152"/>
                      </a:lnTo>
                      <a:lnTo>
                        <a:pt x="30" y="152"/>
                      </a:lnTo>
                      <a:lnTo>
                        <a:pt x="30" y="152"/>
                      </a:lnTo>
                      <a:lnTo>
                        <a:pt x="30" y="156"/>
                      </a:lnTo>
                      <a:lnTo>
                        <a:pt x="30" y="156"/>
                      </a:lnTo>
                      <a:lnTo>
                        <a:pt x="26" y="156"/>
                      </a:lnTo>
                      <a:lnTo>
                        <a:pt x="26" y="156"/>
                      </a:lnTo>
                      <a:lnTo>
                        <a:pt x="26" y="156"/>
                      </a:lnTo>
                      <a:lnTo>
                        <a:pt x="26" y="156"/>
                      </a:lnTo>
                      <a:lnTo>
                        <a:pt x="26" y="156"/>
                      </a:lnTo>
                      <a:lnTo>
                        <a:pt x="26" y="156"/>
                      </a:lnTo>
                      <a:lnTo>
                        <a:pt x="26" y="156"/>
                      </a:lnTo>
                      <a:lnTo>
                        <a:pt x="26" y="160"/>
                      </a:lnTo>
                      <a:lnTo>
                        <a:pt x="26" y="160"/>
                      </a:lnTo>
                      <a:lnTo>
                        <a:pt x="24" y="160"/>
                      </a:lnTo>
                      <a:lnTo>
                        <a:pt x="24" y="160"/>
                      </a:lnTo>
                      <a:lnTo>
                        <a:pt x="24" y="160"/>
                      </a:lnTo>
                      <a:lnTo>
                        <a:pt x="24" y="160"/>
                      </a:lnTo>
                      <a:lnTo>
                        <a:pt x="24" y="160"/>
                      </a:lnTo>
                      <a:lnTo>
                        <a:pt x="20" y="160"/>
                      </a:lnTo>
                      <a:lnTo>
                        <a:pt x="20" y="160"/>
                      </a:lnTo>
                      <a:lnTo>
                        <a:pt x="20" y="160"/>
                      </a:lnTo>
                      <a:lnTo>
                        <a:pt x="20" y="160"/>
                      </a:lnTo>
                      <a:lnTo>
                        <a:pt x="20" y="160"/>
                      </a:lnTo>
                      <a:lnTo>
                        <a:pt x="20" y="160"/>
                      </a:lnTo>
                      <a:lnTo>
                        <a:pt x="16" y="160"/>
                      </a:lnTo>
                      <a:lnTo>
                        <a:pt x="16" y="160"/>
                      </a:lnTo>
                      <a:lnTo>
                        <a:pt x="16" y="160"/>
                      </a:lnTo>
                      <a:lnTo>
                        <a:pt x="16" y="160"/>
                      </a:lnTo>
                      <a:lnTo>
                        <a:pt x="16" y="160"/>
                      </a:lnTo>
                      <a:lnTo>
                        <a:pt x="16" y="160"/>
                      </a:lnTo>
                      <a:lnTo>
                        <a:pt x="16" y="160"/>
                      </a:lnTo>
                      <a:lnTo>
                        <a:pt x="12" y="160"/>
                      </a:lnTo>
                      <a:lnTo>
                        <a:pt x="12" y="160"/>
                      </a:lnTo>
                      <a:lnTo>
                        <a:pt x="12" y="160"/>
                      </a:lnTo>
                      <a:lnTo>
                        <a:pt x="12" y="160"/>
                      </a:lnTo>
                      <a:lnTo>
                        <a:pt x="12" y="160"/>
                      </a:lnTo>
                      <a:lnTo>
                        <a:pt x="12" y="160"/>
                      </a:lnTo>
                      <a:lnTo>
                        <a:pt x="12" y="160"/>
                      </a:lnTo>
                      <a:lnTo>
                        <a:pt x="8" y="160"/>
                      </a:lnTo>
                      <a:lnTo>
                        <a:pt x="8" y="156"/>
                      </a:lnTo>
                      <a:lnTo>
                        <a:pt x="8" y="152"/>
                      </a:lnTo>
                      <a:lnTo>
                        <a:pt x="8" y="152"/>
                      </a:lnTo>
                      <a:lnTo>
                        <a:pt x="8" y="152"/>
                      </a:lnTo>
                      <a:lnTo>
                        <a:pt x="8" y="152"/>
                      </a:lnTo>
                      <a:lnTo>
                        <a:pt x="8" y="152"/>
                      </a:lnTo>
                      <a:lnTo>
                        <a:pt x="12" y="152"/>
                      </a:lnTo>
                      <a:lnTo>
                        <a:pt x="12" y="150"/>
                      </a:lnTo>
                      <a:lnTo>
                        <a:pt x="12" y="150"/>
                      </a:lnTo>
                      <a:lnTo>
                        <a:pt x="12" y="150"/>
                      </a:lnTo>
                      <a:lnTo>
                        <a:pt x="12" y="146"/>
                      </a:lnTo>
                      <a:lnTo>
                        <a:pt x="12" y="142"/>
                      </a:lnTo>
                      <a:lnTo>
                        <a:pt x="12" y="142"/>
                      </a:lnTo>
                      <a:lnTo>
                        <a:pt x="12" y="142"/>
                      </a:lnTo>
                      <a:lnTo>
                        <a:pt x="8" y="138"/>
                      </a:lnTo>
                      <a:lnTo>
                        <a:pt x="8" y="138"/>
                      </a:lnTo>
                      <a:lnTo>
                        <a:pt x="12" y="138"/>
                      </a:lnTo>
                      <a:lnTo>
                        <a:pt x="8" y="134"/>
                      </a:lnTo>
                      <a:lnTo>
                        <a:pt x="8" y="134"/>
                      </a:lnTo>
                      <a:lnTo>
                        <a:pt x="8" y="134"/>
                      </a:lnTo>
                      <a:lnTo>
                        <a:pt x="8" y="130"/>
                      </a:lnTo>
                      <a:lnTo>
                        <a:pt x="8" y="130"/>
                      </a:lnTo>
                      <a:lnTo>
                        <a:pt x="4" y="128"/>
                      </a:lnTo>
                      <a:lnTo>
                        <a:pt x="4" y="128"/>
                      </a:lnTo>
                      <a:lnTo>
                        <a:pt x="4" y="124"/>
                      </a:lnTo>
                      <a:lnTo>
                        <a:pt x="4" y="124"/>
                      </a:lnTo>
                      <a:lnTo>
                        <a:pt x="0" y="124"/>
                      </a:lnTo>
                      <a:lnTo>
                        <a:pt x="0" y="124"/>
                      </a:lnTo>
                      <a:lnTo>
                        <a:pt x="0" y="124"/>
                      </a:lnTo>
                      <a:lnTo>
                        <a:pt x="0" y="124"/>
                      </a:lnTo>
                      <a:lnTo>
                        <a:pt x="0" y="124"/>
                      </a:lnTo>
                      <a:lnTo>
                        <a:pt x="0" y="124"/>
                      </a:lnTo>
                      <a:lnTo>
                        <a:pt x="0" y="120"/>
                      </a:lnTo>
                      <a:lnTo>
                        <a:pt x="0" y="116"/>
                      </a:lnTo>
                      <a:lnTo>
                        <a:pt x="0" y="112"/>
                      </a:lnTo>
                      <a:lnTo>
                        <a:pt x="0" y="108"/>
                      </a:lnTo>
                      <a:lnTo>
                        <a:pt x="0" y="104"/>
                      </a:lnTo>
                      <a:lnTo>
                        <a:pt x="0" y="104"/>
                      </a:lnTo>
                      <a:lnTo>
                        <a:pt x="0" y="100"/>
                      </a:lnTo>
                      <a:lnTo>
                        <a:pt x="0" y="98"/>
                      </a:lnTo>
                      <a:lnTo>
                        <a:pt x="0" y="98"/>
                      </a:lnTo>
                      <a:lnTo>
                        <a:pt x="0" y="94"/>
                      </a:lnTo>
                      <a:lnTo>
                        <a:pt x="0" y="90"/>
                      </a:lnTo>
                      <a:lnTo>
                        <a:pt x="0" y="90"/>
                      </a:lnTo>
                      <a:lnTo>
                        <a:pt x="0" y="90"/>
                      </a:lnTo>
                      <a:lnTo>
                        <a:pt x="0" y="86"/>
                      </a:lnTo>
                      <a:lnTo>
                        <a:pt x="0" y="82"/>
                      </a:lnTo>
                      <a:lnTo>
                        <a:pt x="0" y="78"/>
                      </a:lnTo>
                      <a:lnTo>
                        <a:pt x="0" y="74"/>
                      </a:lnTo>
                      <a:lnTo>
                        <a:pt x="0" y="74"/>
                      </a:lnTo>
                      <a:lnTo>
                        <a:pt x="0" y="74"/>
                      </a:lnTo>
                      <a:lnTo>
                        <a:pt x="4" y="74"/>
                      </a:lnTo>
                      <a:lnTo>
                        <a:pt x="8" y="74"/>
                      </a:lnTo>
                      <a:lnTo>
                        <a:pt x="12" y="74"/>
                      </a:lnTo>
                      <a:lnTo>
                        <a:pt x="16" y="74"/>
                      </a:lnTo>
                      <a:lnTo>
                        <a:pt x="16" y="72"/>
                      </a:lnTo>
                      <a:lnTo>
                        <a:pt x="16" y="72"/>
                      </a:lnTo>
                      <a:lnTo>
                        <a:pt x="16" y="68"/>
                      </a:lnTo>
                      <a:lnTo>
                        <a:pt x="16" y="60"/>
                      </a:lnTo>
                      <a:lnTo>
                        <a:pt x="16" y="56"/>
                      </a:lnTo>
                      <a:lnTo>
                        <a:pt x="16" y="56"/>
                      </a:lnTo>
                      <a:lnTo>
                        <a:pt x="16" y="52"/>
                      </a:lnTo>
                      <a:lnTo>
                        <a:pt x="16" y="42"/>
                      </a:lnTo>
                      <a:lnTo>
                        <a:pt x="16" y="38"/>
                      </a:lnTo>
                      <a:lnTo>
                        <a:pt x="16" y="22"/>
                      </a:lnTo>
                      <a:lnTo>
                        <a:pt x="16" y="16"/>
                      </a:lnTo>
                      <a:lnTo>
                        <a:pt x="16" y="12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6" y="8"/>
                      </a:lnTo>
                      <a:lnTo>
                        <a:pt x="30" y="4"/>
                      </a:lnTo>
                      <a:lnTo>
                        <a:pt x="34" y="4"/>
                      </a:lnTo>
                      <a:lnTo>
                        <a:pt x="38" y="4"/>
                      </a:lnTo>
                      <a:lnTo>
                        <a:pt x="46" y="4"/>
                      </a:lnTo>
                      <a:lnTo>
                        <a:pt x="46" y="4"/>
                      </a:lnTo>
                      <a:lnTo>
                        <a:pt x="46" y="4"/>
                      </a:lnTo>
                      <a:lnTo>
                        <a:pt x="46" y="4"/>
                      </a:lnTo>
                      <a:lnTo>
                        <a:pt x="50" y="4"/>
                      </a:lnTo>
                      <a:lnTo>
                        <a:pt x="50" y="4"/>
                      </a:lnTo>
                      <a:lnTo>
                        <a:pt x="50" y="4"/>
                      </a:lnTo>
                      <a:lnTo>
                        <a:pt x="50" y="4"/>
                      </a:lnTo>
                      <a:lnTo>
                        <a:pt x="50" y="8"/>
                      </a:lnTo>
                      <a:lnTo>
                        <a:pt x="50" y="8"/>
                      </a:lnTo>
                      <a:lnTo>
                        <a:pt x="50" y="8"/>
                      </a:lnTo>
                      <a:lnTo>
                        <a:pt x="50" y="8"/>
                      </a:lnTo>
                      <a:lnTo>
                        <a:pt x="50" y="8"/>
                      </a:lnTo>
                      <a:lnTo>
                        <a:pt x="50" y="8"/>
                      </a:lnTo>
                      <a:lnTo>
                        <a:pt x="50" y="12"/>
                      </a:lnTo>
                      <a:lnTo>
                        <a:pt x="50" y="12"/>
                      </a:lnTo>
                      <a:lnTo>
                        <a:pt x="54" y="12"/>
                      </a:lnTo>
                      <a:lnTo>
                        <a:pt x="54" y="12"/>
                      </a:lnTo>
                      <a:lnTo>
                        <a:pt x="54" y="12"/>
                      </a:lnTo>
                      <a:lnTo>
                        <a:pt x="54" y="8"/>
                      </a:lnTo>
                      <a:lnTo>
                        <a:pt x="54" y="8"/>
                      </a:lnTo>
                      <a:lnTo>
                        <a:pt x="54" y="8"/>
                      </a:lnTo>
                      <a:lnTo>
                        <a:pt x="56" y="8"/>
                      </a:lnTo>
                      <a:lnTo>
                        <a:pt x="56" y="8"/>
                      </a:lnTo>
                      <a:lnTo>
                        <a:pt x="56" y="8"/>
                      </a:lnTo>
                      <a:lnTo>
                        <a:pt x="56" y="8"/>
                      </a:lnTo>
                      <a:lnTo>
                        <a:pt x="56" y="4"/>
                      </a:lnTo>
                      <a:lnTo>
                        <a:pt x="60" y="4"/>
                      </a:lnTo>
                      <a:lnTo>
                        <a:pt x="60" y="0"/>
                      </a:lnTo>
                      <a:lnTo>
                        <a:pt x="64" y="0"/>
                      </a:lnTo>
                      <a:lnTo>
                        <a:pt x="64" y="0"/>
                      </a:lnTo>
                      <a:lnTo>
                        <a:pt x="64" y="4"/>
                      </a:lnTo>
                      <a:lnTo>
                        <a:pt x="64" y="4"/>
                      </a:lnTo>
                      <a:lnTo>
                        <a:pt x="64" y="4"/>
                      </a:lnTo>
                      <a:lnTo>
                        <a:pt x="64" y="4"/>
                      </a:lnTo>
                      <a:lnTo>
                        <a:pt x="64" y="4"/>
                      </a:lnTo>
                      <a:lnTo>
                        <a:pt x="64" y="4"/>
                      </a:lnTo>
                      <a:lnTo>
                        <a:pt x="68" y="0"/>
                      </a:lnTo>
                      <a:lnTo>
                        <a:pt x="68" y="0"/>
                      </a:lnTo>
                      <a:lnTo>
                        <a:pt x="72" y="0"/>
                      </a:lnTo>
                      <a:lnTo>
                        <a:pt x="72" y="0"/>
                      </a:lnTo>
                      <a:lnTo>
                        <a:pt x="72" y="0"/>
                      </a:lnTo>
                      <a:lnTo>
                        <a:pt x="72" y="0"/>
                      </a:lnTo>
                      <a:lnTo>
                        <a:pt x="72" y="0"/>
                      </a:lnTo>
                      <a:lnTo>
                        <a:pt x="72" y="0"/>
                      </a:lnTo>
                      <a:lnTo>
                        <a:pt x="76" y="0"/>
                      </a:lnTo>
                      <a:lnTo>
                        <a:pt x="76" y="0"/>
                      </a:lnTo>
                      <a:lnTo>
                        <a:pt x="76" y="0"/>
                      </a:lnTo>
                      <a:lnTo>
                        <a:pt x="76" y="0"/>
                      </a:lnTo>
                      <a:lnTo>
                        <a:pt x="76" y="0"/>
                      </a:lnTo>
                      <a:lnTo>
                        <a:pt x="76" y="0"/>
                      </a:lnTo>
                      <a:lnTo>
                        <a:pt x="76" y="4"/>
                      </a:lnTo>
                      <a:lnTo>
                        <a:pt x="76" y="4"/>
                      </a:lnTo>
                      <a:lnTo>
                        <a:pt x="76" y="4"/>
                      </a:lnTo>
                      <a:lnTo>
                        <a:pt x="76" y="4"/>
                      </a:lnTo>
                      <a:lnTo>
                        <a:pt x="80" y="8"/>
                      </a:lnTo>
                      <a:lnTo>
                        <a:pt x="80" y="8"/>
                      </a:lnTo>
                      <a:lnTo>
                        <a:pt x="80" y="8"/>
                      </a:lnTo>
                      <a:lnTo>
                        <a:pt x="80" y="8"/>
                      </a:lnTo>
                      <a:lnTo>
                        <a:pt x="80" y="8"/>
                      </a:lnTo>
                      <a:lnTo>
                        <a:pt x="80" y="12"/>
                      </a:lnTo>
                      <a:lnTo>
                        <a:pt x="80" y="12"/>
                      </a:lnTo>
                      <a:lnTo>
                        <a:pt x="80" y="12"/>
                      </a:lnTo>
                      <a:lnTo>
                        <a:pt x="82" y="12"/>
                      </a:lnTo>
                      <a:lnTo>
                        <a:pt x="82" y="16"/>
                      </a:lnTo>
                      <a:lnTo>
                        <a:pt x="82" y="18"/>
                      </a:lnTo>
                      <a:lnTo>
                        <a:pt x="82" y="18"/>
                      </a:lnTo>
                      <a:lnTo>
                        <a:pt x="86" y="18"/>
                      </a:lnTo>
                      <a:lnTo>
                        <a:pt x="86" y="18"/>
                      </a:lnTo>
                      <a:lnTo>
                        <a:pt x="86" y="18"/>
                      </a:lnTo>
                      <a:lnTo>
                        <a:pt x="86" y="18"/>
                      </a:lnTo>
                      <a:lnTo>
                        <a:pt x="86" y="22"/>
                      </a:lnTo>
                      <a:lnTo>
                        <a:pt x="86" y="22"/>
                      </a:lnTo>
                      <a:lnTo>
                        <a:pt x="86" y="22"/>
                      </a:lnTo>
                      <a:lnTo>
                        <a:pt x="86" y="22"/>
                      </a:lnTo>
                      <a:lnTo>
                        <a:pt x="86" y="26"/>
                      </a:lnTo>
                      <a:lnTo>
                        <a:pt x="86" y="26"/>
                      </a:lnTo>
                      <a:lnTo>
                        <a:pt x="86" y="30"/>
                      </a:lnTo>
                      <a:lnTo>
                        <a:pt x="86" y="30"/>
                      </a:lnTo>
                      <a:lnTo>
                        <a:pt x="86" y="30"/>
                      </a:lnTo>
                      <a:lnTo>
                        <a:pt x="90" y="30"/>
                      </a:lnTo>
                      <a:lnTo>
                        <a:pt x="90" y="30"/>
                      </a:lnTo>
                      <a:lnTo>
                        <a:pt x="90" y="30"/>
                      </a:lnTo>
                      <a:lnTo>
                        <a:pt x="90" y="34"/>
                      </a:lnTo>
                      <a:lnTo>
                        <a:pt x="94" y="34"/>
                      </a:lnTo>
                      <a:lnTo>
                        <a:pt x="94" y="34"/>
                      </a:lnTo>
                      <a:lnTo>
                        <a:pt x="94" y="34"/>
                      </a:lnTo>
                      <a:lnTo>
                        <a:pt x="94" y="34"/>
                      </a:lnTo>
                      <a:lnTo>
                        <a:pt x="94" y="34"/>
                      </a:lnTo>
                      <a:lnTo>
                        <a:pt x="94" y="34"/>
                      </a:lnTo>
                      <a:lnTo>
                        <a:pt x="94" y="34"/>
                      </a:lnTo>
                      <a:lnTo>
                        <a:pt x="94" y="38"/>
                      </a:lnTo>
                      <a:lnTo>
                        <a:pt x="98" y="38"/>
                      </a:lnTo>
                      <a:lnTo>
                        <a:pt x="102" y="38"/>
                      </a:lnTo>
                      <a:lnTo>
                        <a:pt x="102" y="38"/>
                      </a:lnTo>
                      <a:lnTo>
                        <a:pt x="102" y="42"/>
                      </a:lnTo>
                      <a:lnTo>
                        <a:pt x="106" y="42"/>
                      </a:lnTo>
                      <a:lnTo>
                        <a:pt x="106" y="42"/>
                      </a:lnTo>
                      <a:lnTo>
                        <a:pt x="106" y="46"/>
                      </a:lnTo>
                      <a:lnTo>
                        <a:pt x="106" y="46"/>
                      </a:lnTo>
                      <a:lnTo>
                        <a:pt x="106" y="46"/>
                      </a:lnTo>
                      <a:lnTo>
                        <a:pt x="106" y="46"/>
                      </a:lnTo>
                      <a:lnTo>
                        <a:pt x="106" y="46"/>
                      </a:lnTo>
                      <a:lnTo>
                        <a:pt x="106" y="46"/>
                      </a:lnTo>
                      <a:lnTo>
                        <a:pt x="106" y="46"/>
                      </a:lnTo>
                      <a:lnTo>
                        <a:pt x="106" y="46"/>
                      </a:lnTo>
                      <a:lnTo>
                        <a:pt x="106" y="46"/>
                      </a:lnTo>
                      <a:lnTo>
                        <a:pt x="110" y="46"/>
                      </a:lnTo>
                      <a:lnTo>
                        <a:pt x="110" y="46"/>
                      </a:lnTo>
                      <a:lnTo>
                        <a:pt x="110" y="46"/>
                      </a:lnTo>
                      <a:lnTo>
                        <a:pt x="110" y="48"/>
                      </a:lnTo>
                      <a:lnTo>
                        <a:pt x="110" y="52"/>
                      </a:lnTo>
                      <a:lnTo>
                        <a:pt x="110" y="52"/>
                      </a:lnTo>
                      <a:lnTo>
                        <a:pt x="110" y="52"/>
                      </a:lnTo>
                      <a:lnTo>
                        <a:pt x="110" y="52"/>
                      </a:lnTo>
                      <a:lnTo>
                        <a:pt x="110" y="52"/>
                      </a:lnTo>
                      <a:lnTo>
                        <a:pt x="110" y="56"/>
                      </a:lnTo>
                      <a:lnTo>
                        <a:pt x="110" y="56"/>
                      </a:lnTo>
                      <a:lnTo>
                        <a:pt x="110" y="60"/>
                      </a:lnTo>
                      <a:lnTo>
                        <a:pt x="110" y="60"/>
                      </a:lnTo>
                      <a:lnTo>
                        <a:pt x="112" y="60"/>
                      </a:lnTo>
                      <a:lnTo>
                        <a:pt x="112" y="60"/>
                      </a:lnTo>
                      <a:lnTo>
                        <a:pt x="112" y="64"/>
                      </a:lnTo>
                      <a:lnTo>
                        <a:pt x="112" y="64"/>
                      </a:lnTo>
                      <a:lnTo>
                        <a:pt x="112" y="64"/>
                      </a:lnTo>
                      <a:lnTo>
                        <a:pt x="112" y="64"/>
                      </a:lnTo>
                      <a:lnTo>
                        <a:pt x="112" y="64"/>
                      </a:lnTo>
                      <a:lnTo>
                        <a:pt x="112" y="68"/>
                      </a:lnTo>
                      <a:lnTo>
                        <a:pt x="116" y="68"/>
                      </a:lnTo>
                      <a:lnTo>
                        <a:pt x="116" y="68"/>
                      </a:lnTo>
                      <a:lnTo>
                        <a:pt x="116" y="68"/>
                      </a:lnTo>
                      <a:lnTo>
                        <a:pt x="116" y="68"/>
                      </a:lnTo>
                      <a:lnTo>
                        <a:pt x="120" y="68"/>
                      </a:lnTo>
                      <a:lnTo>
                        <a:pt x="120" y="68"/>
                      </a:lnTo>
                      <a:lnTo>
                        <a:pt x="120" y="68"/>
                      </a:lnTo>
                      <a:lnTo>
                        <a:pt x="120" y="68"/>
                      </a:lnTo>
                      <a:lnTo>
                        <a:pt x="120" y="68"/>
                      </a:lnTo>
                      <a:lnTo>
                        <a:pt x="120" y="68"/>
                      </a:lnTo>
                      <a:lnTo>
                        <a:pt x="120" y="68"/>
                      </a:lnTo>
                      <a:lnTo>
                        <a:pt x="124" y="68"/>
                      </a:lnTo>
                      <a:lnTo>
                        <a:pt x="126" y="68"/>
                      </a:lnTo>
                      <a:lnTo>
                        <a:pt x="126" y="68"/>
                      </a:lnTo>
                      <a:lnTo>
                        <a:pt x="126" y="68"/>
                      </a:lnTo>
                      <a:lnTo>
                        <a:pt x="126" y="68"/>
                      </a:lnTo>
                      <a:lnTo>
                        <a:pt x="126" y="72"/>
                      </a:lnTo>
                      <a:lnTo>
                        <a:pt x="126" y="72"/>
                      </a:lnTo>
                      <a:lnTo>
                        <a:pt x="126" y="72"/>
                      </a:lnTo>
                      <a:lnTo>
                        <a:pt x="126" y="72"/>
                      </a:lnTo>
                      <a:lnTo>
                        <a:pt x="126" y="72"/>
                      </a:lnTo>
                      <a:lnTo>
                        <a:pt x="126" y="72"/>
                      </a:lnTo>
                      <a:lnTo>
                        <a:pt x="126" y="74"/>
                      </a:lnTo>
                      <a:lnTo>
                        <a:pt x="126" y="74"/>
                      </a:lnTo>
                      <a:lnTo>
                        <a:pt x="126" y="74"/>
                      </a:lnTo>
                      <a:lnTo>
                        <a:pt x="126" y="74"/>
                      </a:lnTo>
                      <a:lnTo>
                        <a:pt x="126" y="74"/>
                      </a:lnTo>
                      <a:lnTo>
                        <a:pt x="130" y="74"/>
                      </a:lnTo>
                      <a:lnTo>
                        <a:pt x="130" y="74"/>
                      </a:lnTo>
                      <a:lnTo>
                        <a:pt x="130" y="74"/>
                      </a:lnTo>
                      <a:lnTo>
                        <a:pt x="130" y="74"/>
                      </a:lnTo>
                      <a:lnTo>
                        <a:pt x="130" y="74"/>
                      </a:lnTo>
                      <a:lnTo>
                        <a:pt x="130" y="74"/>
                      </a:lnTo>
                      <a:lnTo>
                        <a:pt x="130" y="74"/>
                      </a:lnTo>
                      <a:lnTo>
                        <a:pt x="130" y="74"/>
                      </a:lnTo>
                      <a:lnTo>
                        <a:pt x="126" y="78"/>
                      </a:lnTo>
                      <a:lnTo>
                        <a:pt x="126" y="78"/>
                      </a:lnTo>
                      <a:lnTo>
                        <a:pt x="126" y="78"/>
                      </a:lnTo>
                      <a:lnTo>
                        <a:pt x="126" y="78"/>
                      </a:lnTo>
                      <a:lnTo>
                        <a:pt x="126" y="78"/>
                      </a:lnTo>
                      <a:lnTo>
                        <a:pt x="126" y="78"/>
                      </a:lnTo>
                      <a:lnTo>
                        <a:pt x="126" y="78"/>
                      </a:lnTo>
                      <a:lnTo>
                        <a:pt x="126" y="82"/>
                      </a:lnTo>
                      <a:lnTo>
                        <a:pt x="126" y="82"/>
                      </a:lnTo>
                      <a:lnTo>
                        <a:pt x="124" y="82"/>
                      </a:lnTo>
                      <a:lnTo>
                        <a:pt x="124" y="82"/>
                      </a:lnTo>
                      <a:lnTo>
                        <a:pt x="120" y="82"/>
                      </a:lnTo>
                      <a:lnTo>
                        <a:pt x="120" y="82"/>
                      </a:lnTo>
                      <a:lnTo>
                        <a:pt x="116" y="82"/>
                      </a:lnTo>
                      <a:lnTo>
                        <a:pt x="116" y="86"/>
                      </a:lnTo>
                      <a:lnTo>
                        <a:pt x="116" y="86"/>
                      </a:lnTo>
                      <a:lnTo>
                        <a:pt x="116" y="86"/>
                      </a:lnTo>
                      <a:lnTo>
                        <a:pt x="116" y="86"/>
                      </a:lnTo>
                      <a:lnTo>
                        <a:pt x="116" y="86"/>
                      </a:lnTo>
                      <a:lnTo>
                        <a:pt x="116" y="86"/>
                      </a:lnTo>
                      <a:lnTo>
                        <a:pt x="116" y="86"/>
                      </a:lnTo>
                      <a:lnTo>
                        <a:pt x="112" y="90"/>
                      </a:lnTo>
                      <a:lnTo>
                        <a:pt x="112" y="90"/>
                      </a:lnTo>
                      <a:lnTo>
                        <a:pt x="112" y="90"/>
                      </a:lnTo>
                      <a:lnTo>
                        <a:pt x="110" y="94"/>
                      </a:lnTo>
                      <a:lnTo>
                        <a:pt x="110" y="94"/>
                      </a:lnTo>
                      <a:lnTo>
                        <a:pt x="110" y="94"/>
                      </a:lnTo>
                      <a:lnTo>
                        <a:pt x="110" y="98"/>
                      </a:lnTo>
                      <a:lnTo>
                        <a:pt x="110" y="98"/>
                      </a:lnTo>
                      <a:lnTo>
                        <a:pt x="110" y="98"/>
                      </a:lnTo>
                      <a:lnTo>
                        <a:pt x="106" y="98"/>
                      </a:lnTo>
                      <a:lnTo>
                        <a:pt x="106" y="98"/>
                      </a:lnTo>
                      <a:lnTo>
                        <a:pt x="106" y="98"/>
                      </a:lnTo>
                      <a:lnTo>
                        <a:pt x="106" y="98"/>
                      </a:lnTo>
                      <a:lnTo>
                        <a:pt x="106" y="98"/>
                      </a:lnTo>
                      <a:lnTo>
                        <a:pt x="102" y="100"/>
                      </a:lnTo>
                      <a:lnTo>
                        <a:pt x="102" y="100"/>
                      </a:lnTo>
                      <a:lnTo>
                        <a:pt x="102" y="100"/>
                      </a:lnTo>
                      <a:lnTo>
                        <a:pt x="102" y="100"/>
                      </a:lnTo>
                      <a:lnTo>
                        <a:pt x="98" y="100"/>
                      </a:lnTo>
                      <a:lnTo>
                        <a:pt x="98" y="104"/>
                      </a:lnTo>
                      <a:lnTo>
                        <a:pt x="98" y="104"/>
                      </a:lnTo>
                      <a:lnTo>
                        <a:pt x="98" y="104"/>
                      </a:lnTo>
                      <a:lnTo>
                        <a:pt x="98" y="108"/>
                      </a:lnTo>
                      <a:lnTo>
                        <a:pt x="98" y="108"/>
                      </a:lnTo>
                      <a:lnTo>
                        <a:pt x="98" y="112"/>
                      </a:lnTo>
                      <a:lnTo>
                        <a:pt x="98" y="112"/>
                      </a:lnTo>
                      <a:lnTo>
                        <a:pt x="98" y="112"/>
                      </a:lnTo>
                      <a:lnTo>
                        <a:pt x="98" y="116"/>
                      </a:lnTo>
                      <a:lnTo>
                        <a:pt x="94" y="116"/>
                      </a:lnTo>
                      <a:lnTo>
                        <a:pt x="94" y="116"/>
                      </a:lnTo>
                      <a:lnTo>
                        <a:pt x="94" y="116"/>
                      </a:lnTo>
                      <a:lnTo>
                        <a:pt x="94" y="120"/>
                      </a:lnTo>
                      <a:lnTo>
                        <a:pt x="94" y="120"/>
                      </a:lnTo>
                      <a:lnTo>
                        <a:pt x="90" y="120"/>
                      </a:lnTo>
                      <a:lnTo>
                        <a:pt x="90" y="120"/>
                      </a:lnTo>
                      <a:lnTo>
                        <a:pt x="90" y="120"/>
                      </a:lnTo>
                      <a:lnTo>
                        <a:pt x="90" y="120"/>
                      </a:lnTo>
                      <a:lnTo>
                        <a:pt x="90" y="120"/>
                      </a:lnTo>
                      <a:lnTo>
                        <a:pt x="90" y="120"/>
                      </a:lnTo>
                      <a:lnTo>
                        <a:pt x="90" y="12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85" name="Freeform 131"/>
                <p:cNvSpPr>
                  <a:spLocks/>
                </p:cNvSpPr>
                <p:nvPr/>
              </p:nvSpPr>
              <p:spPr bwMode="auto">
                <a:xfrm>
                  <a:off x="4270375" y="4146618"/>
                  <a:ext cx="177800" cy="155575"/>
                </a:xfrm>
                <a:custGeom>
                  <a:avLst/>
                  <a:gdLst>
                    <a:gd name="T0" fmla="*/ 86 w 112"/>
                    <a:gd name="T1" fmla="*/ 72 h 98"/>
                    <a:gd name="T2" fmla="*/ 82 w 112"/>
                    <a:gd name="T3" fmla="*/ 72 h 98"/>
                    <a:gd name="T4" fmla="*/ 74 w 112"/>
                    <a:gd name="T5" fmla="*/ 68 h 98"/>
                    <a:gd name="T6" fmla="*/ 66 w 112"/>
                    <a:gd name="T7" fmla="*/ 72 h 98"/>
                    <a:gd name="T8" fmla="*/ 64 w 112"/>
                    <a:gd name="T9" fmla="*/ 72 h 98"/>
                    <a:gd name="T10" fmla="*/ 56 w 112"/>
                    <a:gd name="T11" fmla="*/ 72 h 98"/>
                    <a:gd name="T12" fmla="*/ 38 w 112"/>
                    <a:gd name="T13" fmla="*/ 72 h 98"/>
                    <a:gd name="T14" fmla="*/ 38 w 112"/>
                    <a:gd name="T15" fmla="*/ 80 h 98"/>
                    <a:gd name="T16" fmla="*/ 38 w 112"/>
                    <a:gd name="T17" fmla="*/ 86 h 98"/>
                    <a:gd name="T18" fmla="*/ 38 w 112"/>
                    <a:gd name="T19" fmla="*/ 94 h 98"/>
                    <a:gd name="T20" fmla="*/ 38 w 112"/>
                    <a:gd name="T21" fmla="*/ 94 h 98"/>
                    <a:gd name="T22" fmla="*/ 40 w 112"/>
                    <a:gd name="T23" fmla="*/ 98 h 98"/>
                    <a:gd name="T24" fmla="*/ 38 w 112"/>
                    <a:gd name="T25" fmla="*/ 98 h 98"/>
                    <a:gd name="T26" fmla="*/ 34 w 112"/>
                    <a:gd name="T27" fmla="*/ 90 h 98"/>
                    <a:gd name="T28" fmla="*/ 26 w 112"/>
                    <a:gd name="T29" fmla="*/ 90 h 98"/>
                    <a:gd name="T30" fmla="*/ 22 w 112"/>
                    <a:gd name="T31" fmla="*/ 90 h 98"/>
                    <a:gd name="T32" fmla="*/ 18 w 112"/>
                    <a:gd name="T33" fmla="*/ 94 h 98"/>
                    <a:gd name="T34" fmla="*/ 14 w 112"/>
                    <a:gd name="T35" fmla="*/ 94 h 98"/>
                    <a:gd name="T36" fmla="*/ 12 w 112"/>
                    <a:gd name="T37" fmla="*/ 94 h 98"/>
                    <a:gd name="T38" fmla="*/ 8 w 112"/>
                    <a:gd name="T39" fmla="*/ 84 h 98"/>
                    <a:gd name="T40" fmla="*/ 4 w 112"/>
                    <a:gd name="T41" fmla="*/ 84 h 98"/>
                    <a:gd name="T42" fmla="*/ 0 w 112"/>
                    <a:gd name="T43" fmla="*/ 80 h 98"/>
                    <a:gd name="T44" fmla="*/ 0 w 112"/>
                    <a:gd name="T45" fmla="*/ 76 h 98"/>
                    <a:gd name="T46" fmla="*/ 0 w 112"/>
                    <a:gd name="T47" fmla="*/ 72 h 98"/>
                    <a:gd name="T48" fmla="*/ 4 w 112"/>
                    <a:gd name="T49" fmla="*/ 68 h 98"/>
                    <a:gd name="T50" fmla="*/ 4 w 112"/>
                    <a:gd name="T51" fmla="*/ 60 h 98"/>
                    <a:gd name="T52" fmla="*/ 8 w 112"/>
                    <a:gd name="T53" fmla="*/ 54 h 98"/>
                    <a:gd name="T54" fmla="*/ 12 w 112"/>
                    <a:gd name="T55" fmla="*/ 54 h 98"/>
                    <a:gd name="T56" fmla="*/ 14 w 112"/>
                    <a:gd name="T57" fmla="*/ 46 h 98"/>
                    <a:gd name="T58" fmla="*/ 14 w 112"/>
                    <a:gd name="T59" fmla="*/ 42 h 98"/>
                    <a:gd name="T60" fmla="*/ 18 w 112"/>
                    <a:gd name="T61" fmla="*/ 42 h 98"/>
                    <a:gd name="T62" fmla="*/ 18 w 112"/>
                    <a:gd name="T63" fmla="*/ 38 h 98"/>
                    <a:gd name="T64" fmla="*/ 18 w 112"/>
                    <a:gd name="T65" fmla="*/ 34 h 98"/>
                    <a:gd name="T66" fmla="*/ 22 w 112"/>
                    <a:gd name="T67" fmla="*/ 28 h 98"/>
                    <a:gd name="T68" fmla="*/ 30 w 112"/>
                    <a:gd name="T69" fmla="*/ 34 h 98"/>
                    <a:gd name="T70" fmla="*/ 30 w 112"/>
                    <a:gd name="T71" fmla="*/ 34 h 98"/>
                    <a:gd name="T72" fmla="*/ 30 w 112"/>
                    <a:gd name="T73" fmla="*/ 30 h 98"/>
                    <a:gd name="T74" fmla="*/ 34 w 112"/>
                    <a:gd name="T75" fmla="*/ 28 h 98"/>
                    <a:gd name="T76" fmla="*/ 38 w 112"/>
                    <a:gd name="T77" fmla="*/ 28 h 98"/>
                    <a:gd name="T78" fmla="*/ 38 w 112"/>
                    <a:gd name="T79" fmla="*/ 20 h 98"/>
                    <a:gd name="T80" fmla="*/ 44 w 112"/>
                    <a:gd name="T81" fmla="*/ 16 h 98"/>
                    <a:gd name="T82" fmla="*/ 48 w 112"/>
                    <a:gd name="T83" fmla="*/ 16 h 98"/>
                    <a:gd name="T84" fmla="*/ 52 w 112"/>
                    <a:gd name="T85" fmla="*/ 12 h 98"/>
                    <a:gd name="T86" fmla="*/ 64 w 112"/>
                    <a:gd name="T87" fmla="*/ 4 h 98"/>
                    <a:gd name="T88" fmla="*/ 70 w 112"/>
                    <a:gd name="T89" fmla="*/ 0 h 98"/>
                    <a:gd name="T90" fmla="*/ 82 w 112"/>
                    <a:gd name="T91" fmla="*/ 4 h 98"/>
                    <a:gd name="T92" fmla="*/ 82 w 112"/>
                    <a:gd name="T93" fmla="*/ 12 h 98"/>
                    <a:gd name="T94" fmla="*/ 82 w 112"/>
                    <a:gd name="T95" fmla="*/ 16 h 98"/>
                    <a:gd name="T96" fmla="*/ 86 w 112"/>
                    <a:gd name="T97" fmla="*/ 24 h 98"/>
                    <a:gd name="T98" fmla="*/ 92 w 112"/>
                    <a:gd name="T99" fmla="*/ 28 h 98"/>
                    <a:gd name="T100" fmla="*/ 96 w 112"/>
                    <a:gd name="T101" fmla="*/ 30 h 98"/>
                    <a:gd name="T102" fmla="*/ 92 w 112"/>
                    <a:gd name="T103" fmla="*/ 30 h 98"/>
                    <a:gd name="T104" fmla="*/ 92 w 112"/>
                    <a:gd name="T105" fmla="*/ 34 h 98"/>
                    <a:gd name="T106" fmla="*/ 100 w 112"/>
                    <a:gd name="T107" fmla="*/ 42 h 98"/>
                    <a:gd name="T108" fmla="*/ 108 w 112"/>
                    <a:gd name="T109" fmla="*/ 42 h 98"/>
                    <a:gd name="T110" fmla="*/ 108 w 112"/>
                    <a:gd name="T111" fmla="*/ 46 h 98"/>
                    <a:gd name="T112" fmla="*/ 112 w 112"/>
                    <a:gd name="T113" fmla="*/ 56 h 98"/>
                    <a:gd name="T114" fmla="*/ 108 w 112"/>
                    <a:gd name="T115" fmla="*/ 60 h 98"/>
                    <a:gd name="T116" fmla="*/ 108 w 112"/>
                    <a:gd name="T117" fmla="*/ 64 h 98"/>
                    <a:gd name="T118" fmla="*/ 100 w 112"/>
                    <a:gd name="T119" fmla="*/ 64 h 98"/>
                    <a:gd name="T120" fmla="*/ 96 w 112"/>
                    <a:gd name="T121" fmla="*/ 64 h 98"/>
                    <a:gd name="T122" fmla="*/ 96 w 112"/>
                    <a:gd name="T123" fmla="*/ 64 h 98"/>
                    <a:gd name="T124" fmla="*/ 92 w 112"/>
                    <a:gd name="T125" fmla="*/ 72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12" h="98">
                      <a:moveTo>
                        <a:pt x="90" y="72"/>
                      </a:moveTo>
                      <a:lnTo>
                        <a:pt x="90" y="72"/>
                      </a:lnTo>
                      <a:lnTo>
                        <a:pt x="90" y="72"/>
                      </a:lnTo>
                      <a:lnTo>
                        <a:pt x="90" y="72"/>
                      </a:lnTo>
                      <a:lnTo>
                        <a:pt x="86" y="72"/>
                      </a:lnTo>
                      <a:lnTo>
                        <a:pt x="86" y="72"/>
                      </a:lnTo>
                      <a:lnTo>
                        <a:pt x="86" y="72"/>
                      </a:lnTo>
                      <a:lnTo>
                        <a:pt x="86" y="72"/>
                      </a:lnTo>
                      <a:lnTo>
                        <a:pt x="86" y="72"/>
                      </a:lnTo>
                      <a:lnTo>
                        <a:pt x="82" y="72"/>
                      </a:lnTo>
                      <a:lnTo>
                        <a:pt x="82" y="72"/>
                      </a:lnTo>
                      <a:lnTo>
                        <a:pt x="78" y="68"/>
                      </a:lnTo>
                      <a:lnTo>
                        <a:pt x="78" y="68"/>
                      </a:lnTo>
                      <a:lnTo>
                        <a:pt x="74" y="68"/>
                      </a:lnTo>
                      <a:lnTo>
                        <a:pt x="74" y="68"/>
                      </a:lnTo>
                      <a:lnTo>
                        <a:pt x="74" y="68"/>
                      </a:lnTo>
                      <a:lnTo>
                        <a:pt x="74" y="68"/>
                      </a:lnTo>
                      <a:lnTo>
                        <a:pt x="74" y="72"/>
                      </a:lnTo>
                      <a:lnTo>
                        <a:pt x="70" y="72"/>
                      </a:lnTo>
                      <a:lnTo>
                        <a:pt x="66" y="72"/>
                      </a:lnTo>
                      <a:lnTo>
                        <a:pt x="66" y="72"/>
                      </a:lnTo>
                      <a:lnTo>
                        <a:pt x="66" y="72"/>
                      </a:lnTo>
                      <a:lnTo>
                        <a:pt x="66" y="72"/>
                      </a:lnTo>
                      <a:lnTo>
                        <a:pt x="66" y="72"/>
                      </a:lnTo>
                      <a:lnTo>
                        <a:pt x="64" y="72"/>
                      </a:lnTo>
                      <a:lnTo>
                        <a:pt x="64" y="72"/>
                      </a:lnTo>
                      <a:lnTo>
                        <a:pt x="60" y="72"/>
                      </a:lnTo>
                      <a:lnTo>
                        <a:pt x="60" y="72"/>
                      </a:lnTo>
                      <a:lnTo>
                        <a:pt x="56" y="72"/>
                      </a:lnTo>
                      <a:lnTo>
                        <a:pt x="56" y="72"/>
                      </a:lnTo>
                      <a:lnTo>
                        <a:pt x="52" y="72"/>
                      </a:lnTo>
                      <a:lnTo>
                        <a:pt x="48" y="72"/>
                      </a:lnTo>
                      <a:lnTo>
                        <a:pt x="44" y="72"/>
                      </a:lnTo>
                      <a:lnTo>
                        <a:pt x="40" y="72"/>
                      </a:lnTo>
                      <a:lnTo>
                        <a:pt x="38" y="72"/>
                      </a:lnTo>
                      <a:lnTo>
                        <a:pt x="38" y="72"/>
                      </a:lnTo>
                      <a:lnTo>
                        <a:pt x="38" y="72"/>
                      </a:lnTo>
                      <a:lnTo>
                        <a:pt x="38" y="76"/>
                      </a:lnTo>
                      <a:lnTo>
                        <a:pt x="38" y="76"/>
                      </a:lnTo>
                      <a:lnTo>
                        <a:pt x="38" y="80"/>
                      </a:lnTo>
                      <a:lnTo>
                        <a:pt x="38" y="80"/>
                      </a:lnTo>
                      <a:lnTo>
                        <a:pt x="38" y="80"/>
                      </a:lnTo>
                      <a:lnTo>
                        <a:pt x="38" y="84"/>
                      </a:lnTo>
                      <a:lnTo>
                        <a:pt x="38" y="84"/>
                      </a:lnTo>
                      <a:lnTo>
                        <a:pt x="38" y="86"/>
                      </a:lnTo>
                      <a:lnTo>
                        <a:pt x="38" y="86"/>
                      </a:lnTo>
                      <a:lnTo>
                        <a:pt x="38" y="86"/>
                      </a:lnTo>
                      <a:lnTo>
                        <a:pt x="38" y="90"/>
                      </a:lnTo>
                      <a:lnTo>
                        <a:pt x="40" y="90"/>
                      </a:lnTo>
                      <a:lnTo>
                        <a:pt x="38" y="94"/>
                      </a:lnTo>
                      <a:lnTo>
                        <a:pt x="38" y="94"/>
                      </a:lnTo>
                      <a:lnTo>
                        <a:pt x="40" y="94"/>
                      </a:lnTo>
                      <a:lnTo>
                        <a:pt x="40" y="94"/>
                      </a:lnTo>
                      <a:lnTo>
                        <a:pt x="40" y="94"/>
                      </a:lnTo>
                      <a:lnTo>
                        <a:pt x="38" y="94"/>
                      </a:lnTo>
                      <a:lnTo>
                        <a:pt x="38" y="98"/>
                      </a:lnTo>
                      <a:lnTo>
                        <a:pt x="40" y="98"/>
                      </a:lnTo>
                      <a:lnTo>
                        <a:pt x="40" y="98"/>
                      </a:lnTo>
                      <a:lnTo>
                        <a:pt x="40" y="98"/>
                      </a:lnTo>
                      <a:lnTo>
                        <a:pt x="40" y="98"/>
                      </a:lnTo>
                      <a:lnTo>
                        <a:pt x="40" y="98"/>
                      </a:lnTo>
                      <a:lnTo>
                        <a:pt x="40" y="98"/>
                      </a:lnTo>
                      <a:lnTo>
                        <a:pt x="38" y="98"/>
                      </a:lnTo>
                      <a:lnTo>
                        <a:pt x="38" y="98"/>
                      </a:lnTo>
                      <a:lnTo>
                        <a:pt x="38" y="98"/>
                      </a:lnTo>
                      <a:lnTo>
                        <a:pt x="38" y="98"/>
                      </a:lnTo>
                      <a:lnTo>
                        <a:pt x="38" y="94"/>
                      </a:lnTo>
                      <a:lnTo>
                        <a:pt x="38" y="94"/>
                      </a:lnTo>
                      <a:lnTo>
                        <a:pt x="38" y="94"/>
                      </a:lnTo>
                      <a:lnTo>
                        <a:pt x="34" y="90"/>
                      </a:lnTo>
                      <a:lnTo>
                        <a:pt x="34" y="90"/>
                      </a:lnTo>
                      <a:lnTo>
                        <a:pt x="30" y="90"/>
                      </a:lnTo>
                      <a:lnTo>
                        <a:pt x="26" y="90"/>
                      </a:lnTo>
                      <a:lnTo>
                        <a:pt x="26" y="90"/>
                      </a:lnTo>
                      <a:lnTo>
                        <a:pt x="26" y="90"/>
                      </a:lnTo>
                      <a:lnTo>
                        <a:pt x="22" y="90"/>
                      </a:lnTo>
                      <a:lnTo>
                        <a:pt x="22" y="90"/>
                      </a:lnTo>
                      <a:lnTo>
                        <a:pt x="22" y="90"/>
                      </a:lnTo>
                      <a:lnTo>
                        <a:pt x="22" y="90"/>
                      </a:lnTo>
                      <a:lnTo>
                        <a:pt x="22" y="90"/>
                      </a:lnTo>
                      <a:lnTo>
                        <a:pt x="18" y="90"/>
                      </a:lnTo>
                      <a:lnTo>
                        <a:pt x="18" y="94"/>
                      </a:lnTo>
                      <a:lnTo>
                        <a:pt x="18" y="94"/>
                      </a:lnTo>
                      <a:lnTo>
                        <a:pt x="18" y="94"/>
                      </a:lnTo>
                      <a:lnTo>
                        <a:pt x="18" y="94"/>
                      </a:lnTo>
                      <a:lnTo>
                        <a:pt x="18" y="94"/>
                      </a:lnTo>
                      <a:lnTo>
                        <a:pt x="18" y="94"/>
                      </a:lnTo>
                      <a:lnTo>
                        <a:pt x="14" y="94"/>
                      </a:lnTo>
                      <a:lnTo>
                        <a:pt x="14" y="94"/>
                      </a:lnTo>
                      <a:lnTo>
                        <a:pt x="14" y="94"/>
                      </a:lnTo>
                      <a:lnTo>
                        <a:pt x="12" y="94"/>
                      </a:lnTo>
                      <a:lnTo>
                        <a:pt x="12" y="94"/>
                      </a:lnTo>
                      <a:lnTo>
                        <a:pt x="12" y="94"/>
                      </a:lnTo>
                      <a:lnTo>
                        <a:pt x="12" y="94"/>
                      </a:lnTo>
                      <a:lnTo>
                        <a:pt x="12" y="94"/>
                      </a:lnTo>
                      <a:lnTo>
                        <a:pt x="12" y="90"/>
                      </a:lnTo>
                      <a:lnTo>
                        <a:pt x="12" y="90"/>
                      </a:lnTo>
                      <a:lnTo>
                        <a:pt x="8" y="90"/>
                      </a:lnTo>
                      <a:lnTo>
                        <a:pt x="8" y="86"/>
                      </a:lnTo>
                      <a:lnTo>
                        <a:pt x="8" y="84"/>
                      </a:lnTo>
                      <a:lnTo>
                        <a:pt x="4" y="84"/>
                      </a:lnTo>
                      <a:lnTo>
                        <a:pt x="4" y="84"/>
                      </a:lnTo>
                      <a:lnTo>
                        <a:pt x="4" y="84"/>
                      </a:lnTo>
                      <a:lnTo>
                        <a:pt x="4" y="84"/>
                      </a:lnTo>
                      <a:lnTo>
                        <a:pt x="4" y="84"/>
                      </a:lnTo>
                      <a:lnTo>
                        <a:pt x="0" y="84"/>
                      </a:lnTo>
                      <a:lnTo>
                        <a:pt x="0" y="84"/>
                      </a:lnTo>
                      <a:lnTo>
                        <a:pt x="0" y="84"/>
                      </a:lnTo>
                      <a:lnTo>
                        <a:pt x="0" y="84"/>
                      </a:lnTo>
                      <a:lnTo>
                        <a:pt x="0" y="80"/>
                      </a:lnTo>
                      <a:lnTo>
                        <a:pt x="0" y="80"/>
                      </a:lnTo>
                      <a:lnTo>
                        <a:pt x="0" y="76"/>
                      </a:lnTo>
                      <a:lnTo>
                        <a:pt x="0" y="76"/>
                      </a:lnTo>
                      <a:lnTo>
                        <a:pt x="0" y="76"/>
                      </a:lnTo>
                      <a:lnTo>
                        <a:pt x="0" y="76"/>
                      </a:lnTo>
                      <a:lnTo>
                        <a:pt x="0" y="76"/>
                      </a:lnTo>
                      <a:lnTo>
                        <a:pt x="0" y="72"/>
                      </a:lnTo>
                      <a:lnTo>
                        <a:pt x="0" y="72"/>
                      </a:lnTo>
                      <a:lnTo>
                        <a:pt x="0" y="72"/>
                      </a:lnTo>
                      <a:lnTo>
                        <a:pt x="0" y="72"/>
                      </a:lnTo>
                      <a:lnTo>
                        <a:pt x="0" y="72"/>
                      </a:lnTo>
                      <a:lnTo>
                        <a:pt x="4" y="72"/>
                      </a:lnTo>
                      <a:lnTo>
                        <a:pt x="4" y="68"/>
                      </a:lnTo>
                      <a:lnTo>
                        <a:pt x="4" y="68"/>
                      </a:lnTo>
                      <a:lnTo>
                        <a:pt x="4" y="68"/>
                      </a:lnTo>
                      <a:lnTo>
                        <a:pt x="4" y="68"/>
                      </a:lnTo>
                      <a:lnTo>
                        <a:pt x="4" y="64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8" y="54"/>
                      </a:lnTo>
                      <a:lnTo>
                        <a:pt x="8" y="54"/>
                      </a:lnTo>
                      <a:lnTo>
                        <a:pt x="8" y="54"/>
                      </a:lnTo>
                      <a:lnTo>
                        <a:pt x="12" y="54"/>
                      </a:lnTo>
                      <a:lnTo>
                        <a:pt x="12" y="54"/>
                      </a:lnTo>
                      <a:lnTo>
                        <a:pt x="12" y="54"/>
                      </a:lnTo>
                      <a:lnTo>
                        <a:pt x="12" y="54"/>
                      </a:lnTo>
                      <a:lnTo>
                        <a:pt x="14" y="50"/>
                      </a:lnTo>
                      <a:lnTo>
                        <a:pt x="14" y="50"/>
                      </a:lnTo>
                      <a:lnTo>
                        <a:pt x="14" y="50"/>
                      </a:lnTo>
                      <a:lnTo>
                        <a:pt x="14" y="46"/>
                      </a:lnTo>
                      <a:lnTo>
                        <a:pt x="14" y="46"/>
                      </a:lnTo>
                      <a:lnTo>
                        <a:pt x="14" y="46"/>
                      </a:lnTo>
                      <a:lnTo>
                        <a:pt x="14" y="46"/>
                      </a:lnTo>
                      <a:lnTo>
                        <a:pt x="14" y="42"/>
                      </a:lnTo>
                      <a:lnTo>
                        <a:pt x="14" y="42"/>
                      </a:lnTo>
                      <a:lnTo>
                        <a:pt x="14" y="42"/>
                      </a:lnTo>
                      <a:lnTo>
                        <a:pt x="14" y="42"/>
                      </a:lnTo>
                      <a:lnTo>
                        <a:pt x="14" y="42"/>
                      </a:lnTo>
                      <a:lnTo>
                        <a:pt x="18" y="42"/>
                      </a:lnTo>
                      <a:lnTo>
                        <a:pt x="18" y="42"/>
                      </a:lnTo>
                      <a:lnTo>
                        <a:pt x="18" y="42"/>
                      </a:lnTo>
                      <a:lnTo>
                        <a:pt x="18" y="42"/>
                      </a:lnTo>
                      <a:lnTo>
                        <a:pt x="18" y="38"/>
                      </a:lnTo>
                      <a:lnTo>
                        <a:pt x="18" y="38"/>
                      </a:lnTo>
                      <a:lnTo>
                        <a:pt x="18" y="38"/>
                      </a:lnTo>
                      <a:lnTo>
                        <a:pt x="18" y="38"/>
                      </a:lnTo>
                      <a:lnTo>
                        <a:pt x="18" y="38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22" y="28"/>
                      </a:lnTo>
                      <a:lnTo>
                        <a:pt x="22" y="28"/>
                      </a:lnTo>
                      <a:lnTo>
                        <a:pt x="22" y="28"/>
                      </a:lnTo>
                      <a:lnTo>
                        <a:pt x="22" y="30"/>
                      </a:lnTo>
                      <a:lnTo>
                        <a:pt x="26" y="30"/>
                      </a:lnTo>
                      <a:lnTo>
                        <a:pt x="26" y="34"/>
                      </a:lnTo>
                      <a:lnTo>
                        <a:pt x="26" y="34"/>
                      </a:ln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30" y="30"/>
                      </a:lnTo>
                      <a:lnTo>
                        <a:pt x="30" y="30"/>
                      </a:lnTo>
                      <a:lnTo>
                        <a:pt x="30" y="30"/>
                      </a:lnTo>
                      <a:lnTo>
                        <a:pt x="30" y="30"/>
                      </a:lnTo>
                      <a:lnTo>
                        <a:pt x="34" y="30"/>
                      </a:lnTo>
                      <a:lnTo>
                        <a:pt x="34" y="30"/>
                      </a:lnTo>
                      <a:lnTo>
                        <a:pt x="34" y="30"/>
                      </a:lnTo>
                      <a:lnTo>
                        <a:pt x="34" y="28"/>
                      </a:lnTo>
                      <a:lnTo>
                        <a:pt x="34" y="28"/>
                      </a:lnTo>
                      <a:lnTo>
                        <a:pt x="34" y="24"/>
                      </a:lnTo>
                      <a:lnTo>
                        <a:pt x="34" y="24"/>
                      </a:lnTo>
                      <a:lnTo>
                        <a:pt x="34" y="28"/>
                      </a:lnTo>
                      <a:lnTo>
                        <a:pt x="38" y="28"/>
                      </a:lnTo>
                      <a:lnTo>
                        <a:pt x="38" y="28"/>
                      </a:lnTo>
                      <a:lnTo>
                        <a:pt x="38" y="28"/>
                      </a:lnTo>
                      <a:lnTo>
                        <a:pt x="38" y="24"/>
                      </a:lnTo>
                      <a:lnTo>
                        <a:pt x="38" y="24"/>
                      </a:lnTo>
                      <a:lnTo>
                        <a:pt x="38" y="20"/>
                      </a:lnTo>
                      <a:lnTo>
                        <a:pt x="38" y="20"/>
                      </a:lnTo>
                      <a:lnTo>
                        <a:pt x="40" y="16"/>
                      </a:lnTo>
                      <a:lnTo>
                        <a:pt x="40" y="16"/>
                      </a:lnTo>
                      <a:lnTo>
                        <a:pt x="44" y="16"/>
                      </a:lnTo>
                      <a:lnTo>
                        <a:pt x="44" y="16"/>
                      </a:lnTo>
                      <a:lnTo>
                        <a:pt x="44" y="16"/>
                      </a:lnTo>
                      <a:lnTo>
                        <a:pt x="44" y="16"/>
                      </a:lnTo>
                      <a:lnTo>
                        <a:pt x="48" y="16"/>
                      </a:lnTo>
                      <a:lnTo>
                        <a:pt x="48" y="16"/>
                      </a:lnTo>
                      <a:lnTo>
                        <a:pt x="48" y="16"/>
                      </a:lnTo>
                      <a:lnTo>
                        <a:pt x="48" y="16"/>
                      </a:lnTo>
                      <a:lnTo>
                        <a:pt x="48" y="12"/>
                      </a:lnTo>
                      <a:lnTo>
                        <a:pt x="48" y="12"/>
                      </a:lnTo>
                      <a:lnTo>
                        <a:pt x="48" y="12"/>
                      </a:lnTo>
                      <a:lnTo>
                        <a:pt x="48" y="12"/>
                      </a:lnTo>
                      <a:lnTo>
                        <a:pt x="52" y="12"/>
                      </a:lnTo>
                      <a:lnTo>
                        <a:pt x="52" y="12"/>
                      </a:lnTo>
                      <a:lnTo>
                        <a:pt x="56" y="12"/>
                      </a:lnTo>
                      <a:lnTo>
                        <a:pt x="60" y="8"/>
                      </a:lnTo>
                      <a:lnTo>
                        <a:pt x="60" y="8"/>
                      </a:lnTo>
                      <a:lnTo>
                        <a:pt x="64" y="4"/>
                      </a:lnTo>
                      <a:lnTo>
                        <a:pt x="64" y="4"/>
                      </a:lnTo>
                      <a:lnTo>
                        <a:pt x="64" y="4"/>
                      </a:lnTo>
                      <a:lnTo>
                        <a:pt x="66" y="0"/>
                      </a:lnTo>
                      <a:lnTo>
                        <a:pt x="66" y="0"/>
                      </a:lnTo>
                      <a:lnTo>
                        <a:pt x="70" y="0"/>
                      </a:lnTo>
                      <a:lnTo>
                        <a:pt x="74" y="0"/>
                      </a:lnTo>
                      <a:lnTo>
                        <a:pt x="74" y="0"/>
                      </a:lnTo>
                      <a:lnTo>
                        <a:pt x="78" y="0"/>
                      </a:lnTo>
                      <a:lnTo>
                        <a:pt x="82" y="4"/>
                      </a:lnTo>
                      <a:lnTo>
                        <a:pt x="82" y="4"/>
                      </a:lnTo>
                      <a:lnTo>
                        <a:pt x="82" y="4"/>
                      </a:lnTo>
                      <a:lnTo>
                        <a:pt x="82" y="4"/>
                      </a:lnTo>
                      <a:lnTo>
                        <a:pt x="82" y="8"/>
                      </a:lnTo>
                      <a:lnTo>
                        <a:pt x="82" y="8"/>
                      </a:lnTo>
                      <a:lnTo>
                        <a:pt x="82" y="12"/>
                      </a:lnTo>
                      <a:lnTo>
                        <a:pt x="82" y="12"/>
                      </a:lnTo>
                      <a:lnTo>
                        <a:pt x="82" y="12"/>
                      </a:lnTo>
                      <a:lnTo>
                        <a:pt x="82" y="12"/>
                      </a:lnTo>
                      <a:lnTo>
                        <a:pt x="82" y="12"/>
                      </a:lnTo>
                      <a:lnTo>
                        <a:pt x="82" y="16"/>
                      </a:lnTo>
                      <a:lnTo>
                        <a:pt x="86" y="16"/>
                      </a:lnTo>
                      <a:lnTo>
                        <a:pt x="82" y="16"/>
                      </a:lnTo>
                      <a:lnTo>
                        <a:pt x="82" y="16"/>
                      </a:lnTo>
                      <a:lnTo>
                        <a:pt x="86" y="20"/>
                      </a:lnTo>
                      <a:lnTo>
                        <a:pt x="86" y="24"/>
                      </a:lnTo>
                      <a:lnTo>
                        <a:pt x="86" y="24"/>
                      </a:lnTo>
                      <a:lnTo>
                        <a:pt x="86" y="28"/>
                      </a:lnTo>
                      <a:lnTo>
                        <a:pt x="90" y="28"/>
                      </a:lnTo>
                      <a:lnTo>
                        <a:pt x="92" y="28"/>
                      </a:lnTo>
                      <a:lnTo>
                        <a:pt x="92" y="28"/>
                      </a:lnTo>
                      <a:lnTo>
                        <a:pt x="92" y="28"/>
                      </a:lnTo>
                      <a:lnTo>
                        <a:pt x="92" y="30"/>
                      </a:lnTo>
                      <a:lnTo>
                        <a:pt x="92" y="30"/>
                      </a:lnTo>
                      <a:lnTo>
                        <a:pt x="92" y="30"/>
                      </a:lnTo>
                      <a:lnTo>
                        <a:pt x="96" y="30"/>
                      </a:lnTo>
                      <a:lnTo>
                        <a:pt x="96" y="30"/>
                      </a:lnTo>
                      <a:lnTo>
                        <a:pt x="96" y="30"/>
                      </a:lnTo>
                      <a:lnTo>
                        <a:pt x="92" y="30"/>
                      </a:lnTo>
                      <a:lnTo>
                        <a:pt x="92" y="30"/>
                      </a:lnTo>
                      <a:lnTo>
                        <a:pt x="92" y="30"/>
                      </a:lnTo>
                      <a:lnTo>
                        <a:pt x="92" y="30"/>
                      </a:lnTo>
                      <a:lnTo>
                        <a:pt x="92" y="30"/>
                      </a:lnTo>
                      <a:lnTo>
                        <a:pt x="92" y="30"/>
                      </a:lnTo>
                      <a:lnTo>
                        <a:pt x="92" y="30"/>
                      </a:lnTo>
                      <a:lnTo>
                        <a:pt x="92" y="34"/>
                      </a:lnTo>
                      <a:lnTo>
                        <a:pt x="92" y="34"/>
                      </a:lnTo>
                      <a:lnTo>
                        <a:pt x="92" y="38"/>
                      </a:lnTo>
                      <a:lnTo>
                        <a:pt x="92" y="38"/>
                      </a:lnTo>
                      <a:lnTo>
                        <a:pt x="96" y="38"/>
                      </a:lnTo>
                      <a:lnTo>
                        <a:pt x="100" y="42"/>
                      </a:lnTo>
                      <a:lnTo>
                        <a:pt x="104" y="46"/>
                      </a:lnTo>
                      <a:lnTo>
                        <a:pt x="104" y="42"/>
                      </a:lnTo>
                      <a:lnTo>
                        <a:pt x="108" y="42"/>
                      </a:lnTo>
                      <a:lnTo>
                        <a:pt x="108" y="42"/>
                      </a:lnTo>
                      <a:lnTo>
                        <a:pt x="108" y="42"/>
                      </a:lnTo>
                      <a:lnTo>
                        <a:pt x="108" y="42"/>
                      </a:lnTo>
                      <a:lnTo>
                        <a:pt x="108" y="46"/>
                      </a:lnTo>
                      <a:lnTo>
                        <a:pt x="112" y="46"/>
                      </a:lnTo>
                      <a:lnTo>
                        <a:pt x="108" y="46"/>
                      </a:lnTo>
                      <a:lnTo>
                        <a:pt x="108" y="46"/>
                      </a:lnTo>
                      <a:lnTo>
                        <a:pt x="108" y="50"/>
                      </a:lnTo>
                      <a:lnTo>
                        <a:pt x="108" y="50"/>
                      </a:lnTo>
                      <a:lnTo>
                        <a:pt x="112" y="54"/>
                      </a:lnTo>
                      <a:lnTo>
                        <a:pt x="112" y="56"/>
                      </a:lnTo>
                      <a:lnTo>
                        <a:pt x="112" y="56"/>
                      </a:lnTo>
                      <a:lnTo>
                        <a:pt x="112" y="56"/>
                      </a:lnTo>
                      <a:lnTo>
                        <a:pt x="112" y="56"/>
                      </a:lnTo>
                      <a:lnTo>
                        <a:pt x="112" y="60"/>
                      </a:lnTo>
                      <a:lnTo>
                        <a:pt x="112" y="60"/>
                      </a:lnTo>
                      <a:lnTo>
                        <a:pt x="108" y="60"/>
                      </a:lnTo>
                      <a:lnTo>
                        <a:pt x="108" y="64"/>
                      </a:lnTo>
                      <a:lnTo>
                        <a:pt x="108" y="64"/>
                      </a:lnTo>
                      <a:lnTo>
                        <a:pt x="108" y="64"/>
                      </a:lnTo>
                      <a:lnTo>
                        <a:pt x="108" y="64"/>
                      </a:lnTo>
                      <a:lnTo>
                        <a:pt x="108" y="64"/>
                      </a:lnTo>
                      <a:lnTo>
                        <a:pt x="104" y="64"/>
                      </a:lnTo>
                      <a:lnTo>
                        <a:pt x="104" y="64"/>
                      </a:lnTo>
                      <a:lnTo>
                        <a:pt x="104" y="64"/>
                      </a:lnTo>
                      <a:lnTo>
                        <a:pt x="104" y="64"/>
                      </a:lnTo>
                      <a:lnTo>
                        <a:pt x="100" y="64"/>
                      </a:lnTo>
                      <a:lnTo>
                        <a:pt x="100" y="64"/>
                      </a:lnTo>
                      <a:lnTo>
                        <a:pt x="100" y="64"/>
                      </a:lnTo>
                      <a:lnTo>
                        <a:pt x="100" y="64"/>
                      </a:lnTo>
                      <a:lnTo>
                        <a:pt x="100" y="64"/>
                      </a:lnTo>
                      <a:lnTo>
                        <a:pt x="96" y="64"/>
                      </a:lnTo>
                      <a:lnTo>
                        <a:pt x="96" y="64"/>
                      </a:lnTo>
                      <a:lnTo>
                        <a:pt x="96" y="64"/>
                      </a:lnTo>
                      <a:lnTo>
                        <a:pt x="96" y="64"/>
                      </a:lnTo>
                      <a:lnTo>
                        <a:pt x="96" y="64"/>
                      </a:lnTo>
                      <a:lnTo>
                        <a:pt x="96" y="64"/>
                      </a:lnTo>
                      <a:lnTo>
                        <a:pt x="96" y="68"/>
                      </a:lnTo>
                      <a:lnTo>
                        <a:pt x="96" y="68"/>
                      </a:lnTo>
                      <a:lnTo>
                        <a:pt x="92" y="68"/>
                      </a:lnTo>
                      <a:lnTo>
                        <a:pt x="92" y="68"/>
                      </a:lnTo>
                      <a:lnTo>
                        <a:pt x="92" y="72"/>
                      </a:lnTo>
                      <a:lnTo>
                        <a:pt x="92" y="72"/>
                      </a:lnTo>
                      <a:lnTo>
                        <a:pt x="90" y="72"/>
                      </a:lnTo>
                      <a:lnTo>
                        <a:pt x="90" y="72"/>
                      </a:lnTo>
                      <a:lnTo>
                        <a:pt x="90" y="7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86" name="Freeform 132"/>
                <p:cNvSpPr>
                  <a:spLocks/>
                </p:cNvSpPr>
                <p:nvPr/>
              </p:nvSpPr>
              <p:spPr bwMode="auto">
                <a:xfrm>
                  <a:off x="5045075" y="4622868"/>
                  <a:ext cx="41275" cy="57150"/>
                </a:xfrm>
                <a:custGeom>
                  <a:avLst/>
                  <a:gdLst>
                    <a:gd name="T0" fmla="*/ 26 w 26"/>
                    <a:gd name="T1" fmla="*/ 14 h 36"/>
                    <a:gd name="T2" fmla="*/ 26 w 26"/>
                    <a:gd name="T3" fmla="*/ 18 h 36"/>
                    <a:gd name="T4" fmla="*/ 22 w 26"/>
                    <a:gd name="T5" fmla="*/ 18 h 36"/>
                    <a:gd name="T6" fmla="*/ 22 w 26"/>
                    <a:gd name="T7" fmla="*/ 18 h 36"/>
                    <a:gd name="T8" fmla="*/ 22 w 26"/>
                    <a:gd name="T9" fmla="*/ 18 h 36"/>
                    <a:gd name="T10" fmla="*/ 22 w 26"/>
                    <a:gd name="T11" fmla="*/ 18 h 36"/>
                    <a:gd name="T12" fmla="*/ 18 w 26"/>
                    <a:gd name="T13" fmla="*/ 22 h 36"/>
                    <a:gd name="T14" fmla="*/ 18 w 26"/>
                    <a:gd name="T15" fmla="*/ 24 h 36"/>
                    <a:gd name="T16" fmla="*/ 18 w 26"/>
                    <a:gd name="T17" fmla="*/ 24 h 36"/>
                    <a:gd name="T18" fmla="*/ 18 w 26"/>
                    <a:gd name="T19" fmla="*/ 28 h 36"/>
                    <a:gd name="T20" fmla="*/ 10 w 26"/>
                    <a:gd name="T21" fmla="*/ 36 h 36"/>
                    <a:gd name="T22" fmla="*/ 8 w 26"/>
                    <a:gd name="T23" fmla="*/ 36 h 36"/>
                    <a:gd name="T24" fmla="*/ 8 w 26"/>
                    <a:gd name="T25" fmla="*/ 32 h 36"/>
                    <a:gd name="T26" fmla="*/ 4 w 26"/>
                    <a:gd name="T27" fmla="*/ 28 h 36"/>
                    <a:gd name="T28" fmla="*/ 4 w 26"/>
                    <a:gd name="T29" fmla="*/ 28 h 36"/>
                    <a:gd name="T30" fmla="*/ 4 w 26"/>
                    <a:gd name="T31" fmla="*/ 28 h 36"/>
                    <a:gd name="T32" fmla="*/ 4 w 26"/>
                    <a:gd name="T33" fmla="*/ 24 h 36"/>
                    <a:gd name="T34" fmla="*/ 4 w 26"/>
                    <a:gd name="T35" fmla="*/ 24 h 36"/>
                    <a:gd name="T36" fmla="*/ 4 w 26"/>
                    <a:gd name="T37" fmla="*/ 22 h 36"/>
                    <a:gd name="T38" fmla="*/ 4 w 26"/>
                    <a:gd name="T39" fmla="*/ 18 h 36"/>
                    <a:gd name="T40" fmla="*/ 4 w 26"/>
                    <a:gd name="T41" fmla="*/ 18 h 36"/>
                    <a:gd name="T42" fmla="*/ 4 w 26"/>
                    <a:gd name="T43" fmla="*/ 14 h 36"/>
                    <a:gd name="T44" fmla="*/ 4 w 26"/>
                    <a:gd name="T45" fmla="*/ 10 h 36"/>
                    <a:gd name="T46" fmla="*/ 0 w 26"/>
                    <a:gd name="T47" fmla="*/ 8 h 36"/>
                    <a:gd name="T48" fmla="*/ 0 w 26"/>
                    <a:gd name="T49" fmla="*/ 8 h 36"/>
                    <a:gd name="T50" fmla="*/ 0 w 26"/>
                    <a:gd name="T51" fmla="*/ 8 h 36"/>
                    <a:gd name="T52" fmla="*/ 4 w 26"/>
                    <a:gd name="T53" fmla="*/ 4 h 36"/>
                    <a:gd name="T54" fmla="*/ 4 w 26"/>
                    <a:gd name="T55" fmla="*/ 8 h 36"/>
                    <a:gd name="T56" fmla="*/ 4 w 26"/>
                    <a:gd name="T57" fmla="*/ 8 h 36"/>
                    <a:gd name="T58" fmla="*/ 8 w 26"/>
                    <a:gd name="T59" fmla="*/ 8 h 36"/>
                    <a:gd name="T60" fmla="*/ 8 w 26"/>
                    <a:gd name="T61" fmla="*/ 8 h 36"/>
                    <a:gd name="T62" fmla="*/ 8 w 26"/>
                    <a:gd name="T63" fmla="*/ 8 h 36"/>
                    <a:gd name="T64" fmla="*/ 10 w 26"/>
                    <a:gd name="T65" fmla="*/ 8 h 36"/>
                    <a:gd name="T66" fmla="*/ 10 w 26"/>
                    <a:gd name="T67" fmla="*/ 8 h 36"/>
                    <a:gd name="T68" fmla="*/ 14 w 26"/>
                    <a:gd name="T69" fmla="*/ 4 h 36"/>
                    <a:gd name="T70" fmla="*/ 14 w 26"/>
                    <a:gd name="T71" fmla="*/ 0 h 36"/>
                    <a:gd name="T72" fmla="*/ 14 w 26"/>
                    <a:gd name="T73" fmla="*/ 4 h 36"/>
                    <a:gd name="T74" fmla="*/ 18 w 26"/>
                    <a:gd name="T75" fmla="*/ 0 h 36"/>
                    <a:gd name="T76" fmla="*/ 22 w 26"/>
                    <a:gd name="T77" fmla="*/ 0 h 36"/>
                    <a:gd name="T78" fmla="*/ 22 w 26"/>
                    <a:gd name="T79" fmla="*/ 0 h 36"/>
                    <a:gd name="T80" fmla="*/ 18 w 26"/>
                    <a:gd name="T81" fmla="*/ 10 h 36"/>
                    <a:gd name="T82" fmla="*/ 22 w 26"/>
                    <a:gd name="T83" fmla="*/ 10 h 36"/>
                    <a:gd name="T84" fmla="*/ 22 w 26"/>
                    <a:gd name="T85" fmla="*/ 10 h 36"/>
                    <a:gd name="T86" fmla="*/ 26 w 26"/>
                    <a:gd name="T87" fmla="*/ 1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6" h="36">
                      <a:moveTo>
                        <a:pt x="26" y="10"/>
                      </a:moveTo>
                      <a:lnTo>
                        <a:pt x="26" y="10"/>
                      </a:lnTo>
                      <a:lnTo>
                        <a:pt x="26" y="14"/>
                      </a:lnTo>
                      <a:lnTo>
                        <a:pt x="26" y="14"/>
                      </a:lnTo>
                      <a:lnTo>
                        <a:pt x="26" y="14"/>
                      </a:lnTo>
                      <a:lnTo>
                        <a:pt x="26" y="18"/>
                      </a:lnTo>
                      <a:lnTo>
                        <a:pt x="26" y="18"/>
                      </a:lnTo>
                      <a:lnTo>
                        <a:pt x="26" y="18"/>
                      </a:lnTo>
                      <a:lnTo>
                        <a:pt x="22" y="18"/>
                      </a:lnTo>
                      <a:lnTo>
                        <a:pt x="22" y="18"/>
                      </a:lnTo>
                      <a:lnTo>
                        <a:pt x="22" y="18"/>
                      </a:lnTo>
                      <a:lnTo>
                        <a:pt x="22" y="18"/>
                      </a:lnTo>
                      <a:lnTo>
                        <a:pt x="22" y="18"/>
                      </a:lnTo>
                      <a:lnTo>
                        <a:pt x="22" y="18"/>
                      </a:lnTo>
                      <a:lnTo>
                        <a:pt x="22" y="18"/>
                      </a:lnTo>
                      <a:lnTo>
                        <a:pt x="22" y="18"/>
                      </a:lnTo>
                      <a:lnTo>
                        <a:pt x="22" y="18"/>
                      </a:lnTo>
                      <a:lnTo>
                        <a:pt x="22" y="18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18" y="22"/>
                      </a:lnTo>
                      <a:lnTo>
                        <a:pt x="18" y="24"/>
                      </a:lnTo>
                      <a:lnTo>
                        <a:pt x="18" y="24"/>
                      </a:lnTo>
                      <a:lnTo>
                        <a:pt x="18" y="24"/>
                      </a:lnTo>
                      <a:lnTo>
                        <a:pt x="18" y="24"/>
                      </a:lnTo>
                      <a:lnTo>
                        <a:pt x="18" y="24"/>
                      </a:lnTo>
                      <a:lnTo>
                        <a:pt x="18" y="24"/>
                      </a:lnTo>
                      <a:lnTo>
                        <a:pt x="18" y="28"/>
                      </a:lnTo>
                      <a:lnTo>
                        <a:pt x="18" y="28"/>
                      </a:lnTo>
                      <a:lnTo>
                        <a:pt x="18" y="28"/>
                      </a:lnTo>
                      <a:lnTo>
                        <a:pt x="14" y="32"/>
                      </a:lnTo>
                      <a:lnTo>
                        <a:pt x="14" y="32"/>
                      </a:lnTo>
                      <a:lnTo>
                        <a:pt x="10" y="36"/>
                      </a:lnTo>
                      <a:lnTo>
                        <a:pt x="10" y="36"/>
                      </a:lnTo>
                      <a:lnTo>
                        <a:pt x="8" y="36"/>
                      </a:lnTo>
                      <a:lnTo>
                        <a:pt x="8" y="36"/>
                      </a:lnTo>
                      <a:lnTo>
                        <a:pt x="8" y="36"/>
                      </a:lnTo>
                      <a:lnTo>
                        <a:pt x="8" y="32"/>
                      </a:lnTo>
                      <a:lnTo>
                        <a:pt x="8" y="32"/>
                      </a:lnTo>
                      <a:lnTo>
                        <a:pt x="8" y="32"/>
                      </a:lnTo>
                      <a:lnTo>
                        <a:pt x="8" y="32"/>
                      </a:lnTo>
                      <a:lnTo>
                        <a:pt x="4" y="28"/>
                      </a:lnTo>
                      <a:lnTo>
                        <a:pt x="4" y="28"/>
                      </a:lnTo>
                      <a:lnTo>
                        <a:pt x="4" y="28"/>
                      </a:lnTo>
                      <a:lnTo>
                        <a:pt x="4" y="28"/>
                      </a:lnTo>
                      <a:lnTo>
                        <a:pt x="4" y="28"/>
                      </a:lnTo>
                      <a:lnTo>
                        <a:pt x="4" y="28"/>
                      </a:lnTo>
                      <a:lnTo>
                        <a:pt x="4" y="28"/>
                      </a:lnTo>
                      <a:lnTo>
                        <a:pt x="4" y="24"/>
                      </a:lnTo>
                      <a:lnTo>
                        <a:pt x="4" y="24"/>
                      </a:lnTo>
                      <a:lnTo>
                        <a:pt x="4" y="24"/>
                      </a:lnTo>
                      <a:lnTo>
                        <a:pt x="4" y="24"/>
                      </a:lnTo>
                      <a:lnTo>
                        <a:pt x="4" y="24"/>
                      </a:lnTo>
                      <a:lnTo>
                        <a:pt x="4" y="24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0"/>
                      </a:lnTo>
                      <a:lnTo>
                        <a:pt x="4" y="10"/>
                      </a:lnTo>
                      <a:lnTo>
                        <a:pt x="4" y="10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4" y="4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4" y="8"/>
                      </a:lnTo>
                      <a:lnTo>
                        <a:pt x="14" y="8"/>
                      </a:lnTo>
                      <a:lnTo>
                        <a:pt x="14" y="4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18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2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87" name="Freeform 133"/>
                <p:cNvSpPr>
                  <a:spLocks/>
                </p:cNvSpPr>
                <p:nvPr/>
              </p:nvSpPr>
              <p:spPr bwMode="auto">
                <a:xfrm>
                  <a:off x="4581525" y="4200593"/>
                  <a:ext cx="180975" cy="314325"/>
                </a:xfrm>
                <a:custGeom>
                  <a:avLst/>
                  <a:gdLst>
                    <a:gd name="T0" fmla="*/ 24 w 114"/>
                    <a:gd name="T1" fmla="*/ 188 h 198"/>
                    <a:gd name="T2" fmla="*/ 20 w 114"/>
                    <a:gd name="T3" fmla="*/ 176 h 198"/>
                    <a:gd name="T4" fmla="*/ 20 w 114"/>
                    <a:gd name="T5" fmla="*/ 168 h 198"/>
                    <a:gd name="T6" fmla="*/ 20 w 114"/>
                    <a:gd name="T7" fmla="*/ 162 h 198"/>
                    <a:gd name="T8" fmla="*/ 12 w 114"/>
                    <a:gd name="T9" fmla="*/ 162 h 198"/>
                    <a:gd name="T10" fmla="*/ 8 w 114"/>
                    <a:gd name="T11" fmla="*/ 154 h 198"/>
                    <a:gd name="T12" fmla="*/ 8 w 114"/>
                    <a:gd name="T13" fmla="*/ 150 h 198"/>
                    <a:gd name="T14" fmla="*/ 4 w 114"/>
                    <a:gd name="T15" fmla="*/ 150 h 198"/>
                    <a:gd name="T16" fmla="*/ 4 w 114"/>
                    <a:gd name="T17" fmla="*/ 142 h 198"/>
                    <a:gd name="T18" fmla="*/ 8 w 114"/>
                    <a:gd name="T19" fmla="*/ 132 h 198"/>
                    <a:gd name="T20" fmla="*/ 12 w 114"/>
                    <a:gd name="T21" fmla="*/ 120 h 198"/>
                    <a:gd name="T22" fmla="*/ 20 w 114"/>
                    <a:gd name="T23" fmla="*/ 112 h 198"/>
                    <a:gd name="T24" fmla="*/ 26 w 114"/>
                    <a:gd name="T25" fmla="*/ 106 h 198"/>
                    <a:gd name="T26" fmla="*/ 30 w 114"/>
                    <a:gd name="T27" fmla="*/ 106 h 198"/>
                    <a:gd name="T28" fmla="*/ 38 w 114"/>
                    <a:gd name="T29" fmla="*/ 108 h 198"/>
                    <a:gd name="T30" fmla="*/ 42 w 114"/>
                    <a:gd name="T31" fmla="*/ 116 h 198"/>
                    <a:gd name="T32" fmla="*/ 46 w 114"/>
                    <a:gd name="T33" fmla="*/ 108 h 198"/>
                    <a:gd name="T34" fmla="*/ 50 w 114"/>
                    <a:gd name="T35" fmla="*/ 98 h 198"/>
                    <a:gd name="T36" fmla="*/ 54 w 114"/>
                    <a:gd name="T37" fmla="*/ 90 h 198"/>
                    <a:gd name="T38" fmla="*/ 54 w 114"/>
                    <a:gd name="T39" fmla="*/ 86 h 198"/>
                    <a:gd name="T40" fmla="*/ 56 w 114"/>
                    <a:gd name="T41" fmla="*/ 78 h 198"/>
                    <a:gd name="T42" fmla="*/ 64 w 114"/>
                    <a:gd name="T43" fmla="*/ 72 h 198"/>
                    <a:gd name="T44" fmla="*/ 68 w 114"/>
                    <a:gd name="T45" fmla="*/ 64 h 198"/>
                    <a:gd name="T46" fmla="*/ 68 w 114"/>
                    <a:gd name="T47" fmla="*/ 52 h 198"/>
                    <a:gd name="T48" fmla="*/ 72 w 114"/>
                    <a:gd name="T49" fmla="*/ 46 h 198"/>
                    <a:gd name="T50" fmla="*/ 80 w 114"/>
                    <a:gd name="T51" fmla="*/ 34 h 198"/>
                    <a:gd name="T52" fmla="*/ 86 w 114"/>
                    <a:gd name="T53" fmla="*/ 30 h 198"/>
                    <a:gd name="T54" fmla="*/ 86 w 114"/>
                    <a:gd name="T55" fmla="*/ 22 h 198"/>
                    <a:gd name="T56" fmla="*/ 86 w 114"/>
                    <a:gd name="T57" fmla="*/ 20 h 198"/>
                    <a:gd name="T58" fmla="*/ 86 w 114"/>
                    <a:gd name="T59" fmla="*/ 16 h 198"/>
                    <a:gd name="T60" fmla="*/ 84 w 114"/>
                    <a:gd name="T61" fmla="*/ 8 h 198"/>
                    <a:gd name="T62" fmla="*/ 84 w 114"/>
                    <a:gd name="T63" fmla="*/ 0 h 198"/>
                    <a:gd name="T64" fmla="*/ 86 w 114"/>
                    <a:gd name="T65" fmla="*/ 8 h 198"/>
                    <a:gd name="T66" fmla="*/ 94 w 114"/>
                    <a:gd name="T67" fmla="*/ 20 h 198"/>
                    <a:gd name="T68" fmla="*/ 94 w 114"/>
                    <a:gd name="T69" fmla="*/ 30 h 198"/>
                    <a:gd name="T70" fmla="*/ 94 w 114"/>
                    <a:gd name="T71" fmla="*/ 42 h 198"/>
                    <a:gd name="T72" fmla="*/ 98 w 114"/>
                    <a:gd name="T73" fmla="*/ 50 h 198"/>
                    <a:gd name="T74" fmla="*/ 98 w 114"/>
                    <a:gd name="T75" fmla="*/ 56 h 198"/>
                    <a:gd name="T76" fmla="*/ 86 w 114"/>
                    <a:gd name="T77" fmla="*/ 56 h 198"/>
                    <a:gd name="T78" fmla="*/ 84 w 114"/>
                    <a:gd name="T79" fmla="*/ 68 h 198"/>
                    <a:gd name="T80" fmla="*/ 94 w 114"/>
                    <a:gd name="T81" fmla="*/ 76 h 198"/>
                    <a:gd name="T82" fmla="*/ 98 w 114"/>
                    <a:gd name="T83" fmla="*/ 86 h 198"/>
                    <a:gd name="T84" fmla="*/ 102 w 114"/>
                    <a:gd name="T85" fmla="*/ 94 h 198"/>
                    <a:gd name="T86" fmla="*/ 98 w 114"/>
                    <a:gd name="T87" fmla="*/ 102 h 198"/>
                    <a:gd name="T88" fmla="*/ 94 w 114"/>
                    <a:gd name="T89" fmla="*/ 108 h 198"/>
                    <a:gd name="T90" fmla="*/ 90 w 114"/>
                    <a:gd name="T91" fmla="*/ 120 h 198"/>
                    <a:gd name="T92" fmla="*/ 86 w 114"/>
                    <a:gd name="T93" fmla="*/ 128 h 198"/>
                    <a:gd name="T94" fmla="*/ 86 w 114"/>
                    <a:gd name="T95" fmla="*/ 134 h 198"/>
                    <a:gd name="T96" fmla="*/ 90 w 114"/>
                    <a:gd name="T97" fmla="*/ 146 h 198"/>
                    <a:gd name="T98" fmla="*/ 94 w 114"/>
                    <a:gd name="T99" fmla="*/ 154 h 198"/>
                    <a:gd name="T100" fmla="*/ 98 w 114"/>
                    <a:gd name="T101" fmla="*/ 162 h 198"/>
                    <a:gd name="T102" fmla="*/ 106 w 114"/>
                    <a:gd name="T103" fmla="*/ 172 h 198"/>
                    <a:gd name="T104" fmla="*/ 110 w 114"/>
                    <a:gd name="T105" fmla="*/ 184 h 198"/>
                    <a:gd name="T106" fmla="*/ 110 w 114"/>
                    <a:gd name="T107" fmla="*/ 188 h 198"/>
                    <a:gd name="T108" fmla="*/ 110 w 114"/>
                    <a:gd name="T109" fmla="*/ 198 h 198"/>
                    <a:gd name="T110" fmla="*/ 102 w 114"/>
                    <a:gd name="T111" fmla="*/ 194 h 198"/>
                    <a:gd name="T112" fmla="*/ 94 w 114"/>
                    <a:gd name="T113" fmla="*/ 190 h 198"/>
                    <a:gd name="T114" fmla="*/ 84 w 114"/>
                    <a:gd name="T115" fmla="*/ 190 h 198"/>
                    <a:gd name="T116" fmla="*/ 68 w 114"/>
                    <a:gd name="T117" fmla="*/ 188 h 198"/>
                    <a:gd name="T118" fmla="*/ 56 w 114"/>
                    <a:gd name="T119" fmla="*/ 188 h 198"/>
                    <a:gd name="T120" fmla="*/ 46 w 114"/>
                    <a:gd name="T121" fmla="*/ 188 h 198"/>
                    <a:gd name="T122" fmla="*/ 38 w 114"/>
                    <a:gd name="T123" fmla="*/ 190 h 198"/>
                    <a:gd name="T124" fmla="*/ 26 w 114"/>
                    <a:gd name="T125" fmla="*/ 190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14" h="198">
                      <a:moveTo>
                        <a:pt x="26" y="190"/>
                      </a:moveTo>
                      <a:lnTo>
                        <a:pt x="24" y="190"/>
                      </a:lnTo>
                      <a:lnTo>
                        <a:pt x="24" y="188"/>
                      </a:lnTo>
                      <a:lnTo>
                        <a:pt x="20" y="188"/>
                      </a:lnTo>
                      <a:lnTo>
                        <a:pt x="20" y="184"/>
                      </a:lnTo>
                      <a:lnTo>
                        <a:pt x="20" y="176"/>
                      </a:lnTo>
                      <a:lnTo>
                        <a:pt x="24" y="176"/>
                      </a:lnTo>
                      <a:lnTo>
                        <a:pt x="24" y="172"/>
                      </a:lnTo>
                      <a:lnTo>
                        <a:pt x="20" y="168"/>
                      </a:lnTo>
                      <a:lnTo>
                        <a:pt x="20" y="164"/>
                      </a:lnTo>
                      <a:lnTo>
                        <a:pt x="16" y="162"/>
                      </a:lnTo>
                      <a:lnTo>
                        <a:pt x="20" y="162"/>
                      </a:lnTo>
                      <a:lnTo>
                        <a:pt x="16" y="158"/>
                      </a:lnTo>
                      <a:lnTo>
                        <a:pt x="16" y="162"/>
                      </a:lnTo>
                      <a:lnTo>
                        <a:pt x="12" y="162"/>
                      </a:lnTo>
                      <a:lnTo>
                        <a:pt x="12" y="158"/>
                      </a:lnTo>
                      <a:lnTo>
                        <a:pt x="8" y="158"/>
                      </a:lnTo>
                      <a:lnTo>
                        <a:pt x="8" y="154"/>
                      </a:lnTo>
                      <a:lnTo>
                        <a:pt x="8" y="150"/>
                      </a:lnTo>
                      <a:lnTo>
                        <a:pt x="8" y="146"/>
                      </a:lnTo>
                      <a:lnTo>
                        <a:pt x="8" y="150"/>
                      </a:lnTo>
                      <a:lnTo>
                        <a:pt x="4" y="150"/>
                      </a:lnTo>
                      <a:lnTo>
                        <a:pt x="4" y="146"/>
                      </a:lnTo>
                      <a:lnTo>
                        <a:pt x="4" y="150"/>
                      </a:lnTo>
                      <a:lnTo>
                        <a:pt x="0" y="150"/>
                      </a:lnTo>
                      <a:lnTo>
                        <a:pt x="0" y="146"/>
                      </a:lnTo>
                      <a:lnTo>
                        <a:pt x="4" y="142"/>
                      </a:lnTo>
                      <a:lnTo>
                        <a:pt x="4" y="138"/>
                      </a:lnTo>
                      <a:lnTo>
                        <a:pt x="8" y="134"/>
                      </a:lnTo>
                      <a:lnTo>
                        <a:pt x="8" y="132"/>
                      </a:lnTo>
                      <a:lnTo>
                        <a:pt x="8" y="128"/>
                      </a:lnTo>
                      <a:lnTo>
                        <a:pt x="8" y="124"/>
                      </a:lnTo>
                      <a:lnTo>
                        <a:pt x="12" y="120"/>
                      </a:lnTo>
                      <a:lnTo>
                        <a:pt x="16" y="116"/>
                      </a:lnTo>
                      <a:lnTo>
                        <a:pt x="20" y="116"/>
                      </a:lnTo>
                      <a:lnTo>
                        <a:pt x="20" y="112"/>
                      </a:lnTo>
                      <a:lnTo>
                        <a:pt x="20" y="108"/>
                      </a:lnTo>
                      <a:lnTo>
                        <a:pt x="24" y="108"/>
                      </a:lnTo>
                      <a:lnTo>
                        <a:pt x="26" y="106"/>
                      </a:lnTo>
                      <a:lnTo>
                        <a:pt x="26" y="108"/>
                      </a:lnTo>
                      <a:lnTo>
                        <a:pt x="30" y="108"/>
                      </a:lnTo>
                      <a:lnTo>
                        <a:pt x="30" y="106"/>
                      </a:lnTo>
                      <a:lnTo>
                        <a:pt x="34" y="106"/>
                      </a:lnTo>
                      <a:lnTo>
                        <a:pt x="34" y="108"/>
                      </a:lnTo>
                      <a:lnTo>
                        <a:pt x="38" y="108"/>
                      </a:lnTo>
                      <a:lnTo>
                        <a:pt x="38" y="112"/>
                      </a:lnTo>
                      <a:lnTo>
                        <a:pt x="38" y="116"/>
                      </a:lnTo>
                      <a:lnTo>
                        <a:pt x="42" y="116"/>
                      </a:lnTo>
                      <a:lnTo>
                        <a:pt x="42" y="112"/>
                      </a:lnTo>
                      <a:lnTo>
                        <a:pt x="46" y="112"/>
                      </a:lnTo>
                      <a:lnTo>
                        <a:pt x="46" y="108"/>
                      </a:lnTo>
                      <a:lnTo>
                        <a:pt x="50" y="106"/>
                      </a:lnTo>
                      <a:lnTo>
                        <a:pt x="50" y="102"/>
                      </a:lnTo>
                      <a:lnTo>
                        <a:pt x="50" y="98"/>
                      </a:lnTo>
                      <a:lnTo>
                        <a:pt x="54" y="98"/>
                      </a:lnTo>
                      <a:lnTo>
                        <a:pt x="54" y="94"/>
                      </a:lnTo>
                      <a:lnTo>
                        <a:pt x="54" y="90"/>
                      </a:lnTo>
                      <a:lnTo>
                        <a:pt x="54" y="86"/>
                      </a:lnTo>
                      <a:lnTo>
                        <a:pt x="56" y="86"/>
                      </a:lnTo>
                      <a:lnTo>
                        <a:pt x="54" y="86"/>
                      </a:lnTo>
                      <a:lnTo>
                        <a:pt x="54" y="82"/>
                      </a:lnTo>
                      <a:lnTo>
                        <a:pt x="56" y="82"/>
                      </a:lnTo>
                      <a:lnTo>
                        <a:pt x="56" y="78"/>
                      </a:lnTo>
                      <a:lnTo>
                        <a:pt x="60" y="78"/>
                      </a:lnTo>
                      <a:lnTo>
                        <a:pt x="64" y="76"/>
                      </a:lnTo>
                      <a:lnTo>
                        <a:pt x="64" y="72"/>
                      </a:lnTo>
                      <a:lnTo>
                        <a:pt x="64" y="68"/>
                      </a:lnTo>
                      <a:lnTo>
                        <a:pt x="64" y="64"/>
                      </a:lnTo>
                      <a:lnTo>
                        <a:pt x="68" y="64"/>
                      </a:lnTo>
                      <a:lnTo>
                        <a:pt x="68" y="60"/>
                      </a:lnTo>
                      <a:lnTo>
                        <a:pt x="68" y="56"/>
                      </a:lnTo>
                      <a:lnTo>
                        <a:pt x="68" y="52"/>
                      </a:lnTo>
                      <a:lnTo>
                        <a:pt x="72" y="52"/>
                      </a:lnTo>
                      <a:lnTo>
                        <a:pt x="72" y="50"/>
                      </a:lnTo>
                      <a:lnTo>
                        <a:pt x="72" y="46"/>
                      </a:lnTo>
                      <a:lnTo>
                        <a:pt x="76" y="42"/>
                      </a:lnTo>
                      <a:lnTo>
                        <a:pt x="76" y="38"/>
                      </a:lnTo>
                      <a:lnTo>
                        <a:pt x="80" y="34"/>
                      </a:lnTo>
                      <a:lnTo>
                        <a:pt x="84" y="34"/>
                      </a:lnTo>
                      <a:lnTo>
                        <a:pt x="84" y="30"/>
                      </a:lnTo>
                      <a:lnTo>
                        <a:pt x="86" y="30"/>
                      </a:lnTo>
                      <a:lnTo>
                        <a:pt x="90" y="26"/>
                      </a:lnTo>
                      <a:lnTo>
                        <a:pt x="86" y="26"/>
                      </a:lnTo>
                      <a:lnTo>
                        <a:pt x="86" y="22"/>
                      </a:lnTo>
                      <a:lnTo>
                        <a:pt x="90" y="22"/>
                      </a:lnTo>
                      <a:lnTo>
                        <a:pt x="90" y="20"/>
                      </a:lnTo>
                      <a:lnTo>
                        <a:pt x="86" y="20"/>
                      </a:lnTo>
                      <a:lnTo>
                        <a:pt x="90" y="20"/>
                      </a:lnTo>
                      <a:lnTo>
                        <a:pt x="90" y="16"/>
                      </a:lnTo>
                      <a:lnTo>
                        <a:pt x="86" y="16"/>
                      </a:lnTo>
                      <a:lnTo>
                        <a:pt x="84" y="16"/>
                      </a:lnTo>
                      <a:lnTo>
                        <a:pt x="84" y="12"/>
                      </a:lnTo>
                      <a:lnTo>
                        <a:pt x="84" y="8"/>
                      </a:lnTo>
                      <a:lnTo>
                        <a:pt x="84" y="4"/>
                      </a:lnTo>
                      <a:lnTo>
                        <a:pt x="80" y="0"/>
                      </a:lnTo>
                      <a:lnTo>
                        <a:pt x="84" y="0"/>
                      </a:lnTo>
                      <a:lnTo>
                        <a:pt x="86" y="0"/>
                      </a:lnTo>
                      <a:lnTo>
                        <a:pt x="86" y="4"/>
                      </a:lnTo>
                      <a:lnTo>
                        <a:pt x="86" y="8"/>
                      </a:lnTo>
                      <a:lnTo>
                        <a:pt x="90" y="8"/>
                      </a:lnTo>
                      <a:lnTo>
                        <a:pt x="94" y="16"/>
                      </a:lnTo>
                      <a:lnTo>
                        <a:pt x="94" y="20"/>
                      </a:lnTo>
                      <a:lnTo>
                        <a:pt x="94" y="22"/>
                      </a:lnTo>
                      <a:lnTo>
                        <a:pt x="94" y="26"/>
                      </a:lnTo>
                      <a:lnTo>
                        <a:pt x="94" y="30"/>
                      </a:lnTo>
                      <a:lnTo>
                        <a:pt x="94" y="34"/>
                      </a:lnTo>
                      <a:lnTo>
                        <a:pt x="94" y="38"/>
                      </a:lnTo>
                      <a:lnTo>
                        <a:pt x="94" y="42"/>
                      </a:lnTo>
                      <a:lnTo>
                        <a:pt x="94" y="46"/>
                      </a:lnTo>
                      <a:lnTo>
                        <a:pt x="98" y="46"/>
                      </a:lnTo>
                      <a:lnTo>
                        <a:pt x="98" y="50"/>
                      </a:lnTo>
                      <a:lnTo>
                        <a:pt x="102" y="52"/>
                      </a:lnTo>
                      <a:lnTo>
                        <a:pt x="102" y="56"/>
                      </a:lnTo>
                      <a:lnTo>
                        <a:pt x="98" y="56"/>
                      </a:lnTo>
                      <a:lnTo>
                        <a:pt x="94" y="56"/>
                      </a:lnTo>
                      <a:lnTo>
                        <a:pt x="90" y="56"/>
                      </a:lnTo>
                      <a:lnTo>
                        <a:pt x="86" y="56"/>
                      </a:lnTo>
                      <a:lnTo>
                        <a:pt x="84" y="56"/>
                      </a:lnTo>
                      <a:lnTo>
                        <a:pt x="80" y="60"/>
                      </a:lnTo>
                      <a:lnTo>
                        <a:pt x="84" y="68"/>
                      </a:lnTo>
                      <a:lnTo>
                        <a:pt x="86" y="72"/>
                      </a:lnTo>
                      <a:lnTo>
                        <a:pt x="90" y="76"/>
                      </a:lnTo>
                      <a:lnTo>
                        <a:pt x="94" y="76"/>
                      </a:lnTo>
                      <a:lnTo>
                        <a:pt x="94" y="78"/>
                      </a:lnTo>
                      <a:lnTo>
                        <a:pt x="98" y="82"/>
                      </a:lnTo>
                      <a:lnTo>
                        <a:pt x="98" y="86"/>
                      </a:lnTo>
                      <a:lnTo>
                        <a:pt x="98" y="90"/>
                      </a:lnTo>
                      <a:lnTo>
                        <a:pt x="102" y="90"/>
                      </a:lnTo>
                      <a:lnTo>
                        <a:pt x="102" y="94"/>
                      </a:lnTo>
                      <a:lnTo>
                        <a:pt x="102" y="98"/>
                      </a:lnTo>
                      <a:lnTo>
                        <a:pt x="102" y="102"/>
                      </a:lnTo>
                      <a:lnTo>
                        <a:pt x="98" y="102"/>
                      </a:lnTo>
                      <a:lnTo>
                        <a:pt x="98" y="106"/>
                      </a:lnTo>
                      <a:lnTo>
                        <a:pt x="94" y="106"/>
                      </a:lnTo>
                      <a:lnTo>
                        <a:pt x="94" y="108"/>
                      </a:lnTo>
                      <a:lnTo>
                        <a:pt x="94" y="112"/>
                      </a:lnTo>
                      <a:lnTo>
                        <a:pt x="90" y="116"/>
                      </a:lnTo>
                      <a:lnTo>
                        <a:pt x="90" y="120"/>
                      </a:lnTo>
                      <a:lnTo>
                        <a:pt x="86" y="120"/>
                      </a:lnTo>
                      <a:lnTo>
                        <a:pt x="86" y="124"/>
                      </a:lnTo>
                      <a:lnTo>
                        <a:pt x="86" y="128"/>
                      </a:lnTo>
                      <a:lnTo>
                        <a:pt x="90" y="128"/>
                      </a:lnTo>
                      <a:lnTo>
                        <a:pt x="86" y="132"/>
                      </a:lnTo>
                      <a:lnTo>
                        <a:pt x="86" y="134"/>
                      </a:lnTo>
                      <a:lnTo>
                        <a:pt x="90" y="138"/>
                      </a:lnTo>
                      <a:lnTo>
                        <a:pt x="90" y="142"/>
                      </a:lnTo>
                      <a:lnTo>
                        <a:pt x="90" y="146"/>
                      </a:lnTo>
                      <a:lnTo>
                        <a:pt x="90" y="150"/>
                      </a:lnTo>
                      <a:lnTo>
                        <a:pt x="94" y="150"/>
                      </a:lnTo>
                      <a:lnTo>
                        <a:pt x="94" y="154"/>
                      </a:lnTo>
                      <a:lnTo>
                        <a:pt x="94" y="158"/>
                      </a:lnTo>
                      <a:lnTo>
                        <a:pt x="94" y="162"/>
                      </a:lnTo>
                      <a:lnTo>
                        <a:pt x="98" y="162"/>
                      </a:lnTo>
                      <a:lnTo>
                        <a:pt x="98" y="164"/>
                      </a:lnTo>
                      <a:lnTo>
                        <a:pt x="102" y="168"/>
                      </a:lnTo>
                      <a:lnTo>
                        <a:pt x="106" y="172"/>
                      </a:lnTo>
                      <a:lnTo>
                        <a:pt x="110" y="176"/>
                      </a:lnTo>
                      <a:lnTo>
                        <a:pt x="110" y="180"/>
                      </a:lnTo>
                      <a:lnTo>
                        <a:pt x="110" y="184"/>
                      </a:lnTo>
                      <a:lnTo>
                        <a:pt x="110" y="188"/>
                      </a:lnTo>
                      <a:lnTo>
                        <a:pt x="114" y="188"/>
                      </a:lnTo>
                      <a:lnTo>
                        <a:pt x="110" y="188"/>
                      </a:lnTo>
                      <a:lnTo>
                        <a:pt x="110" y="190"/>
                      </a:lnTo>
                      <a:lnTo>
                        <a:pt x="110" y="194"/>
                      </a:lnTo>
                      <a:lnTo>
                        <a:pt x="110" y="198"/>
                      </a:lnTo>
                      <a:lnTo>
                        <a:pt x="110" y="194"/>
                      </a:lnTo>
                      <a:lnTo>
                        <a:pt x="106" y="194"/>
                      </a:lnTo>
                      <a:lnTo>
                        <a:pt x="102" y="194"/>
                      </a:lnTo>
                      <a:lnTo>
                        <a:pt x="102" y="190"/>
                      </a:lnTo>
                      <a:lnTo>
                        <a:pt x="98" y="190"/>
                      </a:lnTo>
                      <a:lnTo>
                        <a:pt x="94" y="190"/>
                      </a:lnTo>
                      <a:lnTo>
                        <a:pt x="90" y="190"/>
                      </a:lnTo>
                      <a:lnTo>
                        <a:pt x="86" y="190"/>
                      </a:lnTo>
                      <a:lnTo>
                        <a:pt x="84" y="190"/>
                      </a:lnTo>
                      <a:lnTo>
                        <a:pt x="76" y="190"/>
                      </a:lnTo>
                      <a:lnTo>
                        <a:pt x="68" y="190"/>
                      </a:lnTo>
                      <a:lnTo>
                        <a:pt x="68" y="188"/>
                      </a:lnTo>
                      <a:lnTo>
                        <a:pt x="64" y="188"/>
                      </a:lnTo>
                      <a:lnTo>
                        <a:pt x="60" y="188"/>
                      </a:lnTo>
                      <a:lnTo>
                        <a:pt x="56" y="188"/>
                      </a:lnTo>
                      <a:lnTo>
                        <a:pt x="54" y="188"/>
                      </a:lnTo>
                      <a:lnTo>
                        <a:pt x="50" y="188"/>
                      </a:lnTo>
                      <a:lnTo>
                        <a:pt x="46" y="188"/>
                      </a:lnTo>
                      <a:lnTo>
                        <a:pt x="42" y="188"/>
                      </a:lnTo>
                      <a:lnTo>
                        <a:pt x="42" y="190"/>
                      </a:lnTo>
                      <a:lnTo>
                        <a:pt x="38" y="190"/>
                      </a:lnTo>
                      <a:lnTo>
                        <a:pt x="30" y="190"/>
                      </a:lnTo>
                      <a:lnTo>
                        <a:pt x="26" y="190"/>
                      </a:lnTo>
                      <a:lnTo>
                        <a:pt x="26" y="190"/>
                      </a:lnTo>
                      <a:lnTo>
                        <a:pt x="26" y="19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88" name="Freeform 134"/>
                <p:cNvSpPr>
                  <a:spLocks noEditPoints="1"/>
                </p:cNvSpPr>
                <p:nvPr/>
              </p:nvSpPr>
              <p:spPr bwMode="auto">
                <a:xfrm>
                  <a:off x="3825875" y="4089468"/>
                  <a:ext cx="60325" cy="63500"/>
                </a:xfrm>
                <a:custGeom>
                  <a:avLst/>
                  <a:gdLst>
                    <a:gd name="T0" fmla="*/ 0 w 38"/>
                    <a:gd name="T1" fmla="*/ 4 h 40"/>
                    <a:gd name="T2" fmla="*/ 0 w 38"/>
                    <a:gd name="T3" fmla="*/ 4 h 40"/>
                    <a:gd name="T4" fmla="*/ 4 w 38"/>
                    <a:gd name="T5" fmla="*/ 0 h 40"/>
                    <a:gd name="T6" fmla="*/ 4 w 38"/>
                    <a:gd name="T7" fmla="*/ 4 h 40"/>
                    <a:gd name="T8" fmla="*/ 4 w 38"/>
                    <a:gd name="T9" fmla="*/ 4 h 40"/>
                    <a:gd name="T10" fmla="*/ 4 w 38"/>
                    <a:gd name="T11" fmla="*/ 4 h 40"/>
                    <a:gd name="T12" fmla="*/ 0 w 38"/>
                    <a:gd name="T13" fmla="*/ 4 h 40"/>
                    <a:gd name="T14" fmla="*/ 0 w 38"/>
                    <a:gd name="T15" fmla="*/ 4 h 40"/>
                    <a:gd name="T16" fmla="*/ 4 w 38"/>
                    <a:gd name="T17" fmla="*/ 8 h 40"/>
                    <a:gd name="T18" fmla="*/ 4 w 38"/>
                    <a:gd name="T19" fmla="*/ 8 h 40"/>
                    <a:gd name="T20" fmla="*/ 4 w 38"/>
                    <a:gd name="T21" fmla="*/ 4 h 40"/>
                    <a:gd name="T22" fmla="*/ 8 w 38"/>
                    <a:gd name="T23" fmla="*/ 8 h 40"/>
                    <a:gd name="T24" fmla="*/ 4 w 38"/>
                    <a:gd name="T25" fmla="*/ 8 h 40"/>
                    <a:gd name="T26" fmla="*/ 34 w 38"/>
                    <a:gd name="T27" fmla="*/ 10 h 40"/>
                    <a:gd name="T28" fmla="*/ 34 w 38"/>
                    <a:gd name="T29" fmla="*/ 8 h 40"/>
                    <a:gd name="T30" fmla="*/ 34 w 38"/>
                    <a:gd name="T31" fmla="*/ 8 h 40"/>
                    <a:gd name="T32" fmla="*/ 34 w 38"/>
                    <a:gd name="T33" fmla="*/ 8 h 40"/>
                    <a:gd name="T34" fmla="*/ 34 w 38"/>
                    <a:gd name="T35" fmla="*/ 10 h 40"/>
                    <a:gd name="T36" fmla="*/ 16 w 38"/>
                    <a:gd name="T37" fmla="*/ 10 h 40"/>
                    <a:gd name="T38" fmla="*/ 12 w 38"/>
                    <a:gd name="T39" fmla="*/ 10 h 40"/>
                    <a:gd name="T40" fmla="*/ 16 w 38"/>
                    <a:gd name="T41" fmla="*/ 10 h 40"/>
                    <a:gd name="T42" fmla="*/ 20 w 38"/>
                    <a:gd name="T43" fmla="*/ 10 h 40"/>
                    <a:gd name="T44" fmla="*/ 20 w 38"/>
                    <a:gd name="T45" fmla="*/ 10 h 40"/>
                    <a:gd name="T46" fmla="*/ 16 w 38"/>
                    <a:gd name="T47" fmla="*/ 10 h 40"/>
                    <a:gd name="T48" fmla="*/ 16 w 38"/>
                    <a:gd name="T49" fmla="*/ 10 h 40"/>
                    <a:gd name="T50" fmla="*/ 16 w 38"/>
                    <a:gd name="T51" fmla="*/ 10 h 40"/>
                    <a:gd name="T52" fmla="*/ 16 w 38"/>
                    <a:gd name="T53" fmla="*/ 10 h 40"/>
                    <a:gd name="T54" fmla="*/ 16 w 38"/>
                    <a:gd name="T55" fmla="*/ 10 h 40"/>
                    <a:gd name="T56" fmla="*/ 34 w 38"/>
                    <a:gd name="T57" fmla="*/ 22 h 40"/>
                    <a:gd name="T58" fmla="*/ 34 w 38"/>
                    <a:gd name="T59" fmla="*/ 22 h 40"/>
                    <a:gd name="T60" fmla="*/ 34 w 38"/>
                    <a:gd name="T61" fmla="*/ 18 h 40"/>
                    <a:gd name="T62" fmla="*/ 38 w 38"/>
                    <a:gd name="T63" fmla="*/ 18 h 40"/>
                    <a:gd name="T64" fmla="*/ 38 w 38"/>
                    <a:gd name="T65" fmla="*/ 18 h 40"/>
                    <a:gd name="T66" fmla="*/ 34 w 38"/>
                    <a:gd name="T67" fmla="*/ 22 h 40"/>
                    <a:gd name="T68" fmla="*/ 30 w 38"/>
                    <a:gd name="T69" fmla="*/ 38 h 40"/>
                    <a:gd name="T70" fmla="*/ 30 w 38"/>
                    <a:gd name="T71" fmla="*/ 38 h 40"/>
                    <a:gd name="T72" fmla="*/ 30 w 38"/>
                    <a:gd name="T73" fmla="*/ 34 h 40"/>
                    <a:gd name="T74" fmla="*/ 30 w 38"/>
                    <a:gd name="T75" fmla="*/ 34 h 40"/>
                    <a:gd name="T76" fmla="*/ 30 w 38"/>
                    <a:gd name="T77" fmla="*/ 38 h 40"/>
                    <a:gd name="T78" fmla="*/ 30 w 38"/>
                    <a:gd name="T79" fmla="*/ 38 h 40"/>
                    <a:gd name="T80" fmla="*/ 24 w 38"/>
                    <a:gd name="T81" fmla="*/ 40 h 40"/>
                    <a:gd name="T82" fmla="*/ 24 w 38"/>
                    <a:gd name="T83" fmla="*/ 38 h 40"/>
                    <a:gd name="T84" fmla="*/ 24 w 38"/>
                    <a:gd name="T85" fmla="*/ 38 h 40"/>
                    <a:gd name="T86" fmla="*/ 24 w 38"/>
                    <a:gd name="T87" fmla="*/ 34 h 40"/>
                    <a:gd name="T88" fmla="*/ 26 w 38"/>
                    <a:gd name="T89" fmla="*/ 38 h 40"/>
                    <a:gd name="T90" fmla="*/ 26 w 38"/>
                    <a:gd name="T91" fmla="*/ 38 h 40"/>
                    <a:gd name="T92" fmla="*/ 26 w 38"/>
                    <a:gd name="T93" fmla="*/ 40 h 40"/>
                    <a:gd name="T94" fmla="*/ 12 w 38"/>
                    <a:gd name="T95" fmla="*/ 40 h 40"/>
                    <a:gd name="T96" fmla="*/ 12 w 38"/>
                    <a:gd name="T97" fmla="*/ 40 h 40"/>
                    <a:gd name="T98" fmla="*/ 12 w 38"/>
                    <a:gd name="T99" fmla="*/ 40 h 40"/>
                    <a:gd name="T100" fmla="*/ 12 w 38"/>
                    <a:gd name="T101" fmla="*/ 38 h 40"/>
                    <a:gd name="T102" fmla="*/ 16 w 38"/>
                    <a:gd name="T103" fmla="*/ 38 h 40"/>
                    <a:gd name="T104" fmla="*/ 16 w 38"/>
                    <a:gd name="T105" fmla="*/ 40 h 40"/>
                    <a:gd name="T106" fmla="*/ 16 w 38"/>
                    <a:gd name="T107" fmla="*/ 40 h 40"/>
                    <a:gd name="T108" fmla="*/ 12 w 38"/>
                    <a:gd name="T109" fmla="*/ 40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38" h="40">
                      <a:moveTo>
                        <a:pt x="0" y="4"/>
                      </a:move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close/>
                      <a:moveTo>
                        <a:pt x="4" y="8"/>
                      </a:move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close/>
                      <a:moveTo>
                        <a:pt x="34" y="10"/>
                      </a:moveTo>
                      <a:lnTo>
                        <a:pt x="34" y="10"/>
                      </a:lnTo>
                      <a:lnTo>
                        <a:pt x="34" y="10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10"/>
                      </a:lnTo>
                      <a:lnTo>
                        <a:pt x="34" y="10"/>
                      </a:lnTo>
                      <a:lnTo>
                        <a:pt x="34" y="10"/>
                      </a:lnTo>
                      <a:lnTo>
                        <a:pt x="34" y="10"/>
                      </a:lnTo>
                      <a:lnTo>
                        <a:pt x="34" y="10"/>
                      </a:lnTo>
                      <a:close/>
                      <a:moveTo>
                        <a:pt x="16" y="10"/>
                      </a:moveTo>
                      <a:lnTo>
                        <a:pt x="12" y="10"/>
                      </a:lnTo>
                      <a:lnTo>
                        <a:pt x="12" y="10"/>
                      </a:lnTo>
                      <a:lnTo>
                        <a:pt x="12" y="10"/>
                      </a:lnTo>
                      <a:lnTo>
                        <a:pt x="12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20" y="10"/>
                      </a:lnTo>
                      <a:lnTo>
                        <a:pt x="20" y="10"/>
                      </a:lnTo>
                      <a:lnTo>
                        <a:pt x="20" y="10"/>
                      </a:lnTo>
                      <a:lnTo>
                        <a:pt x="20" y="10"/>
                      </a:lnTo>
                      <a:lnTo>
                        <a:pt x="20" y="10"/>
                      </a:lnTo>
                      <a:lnTo>
                        <a:pt x="20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close/>
                      <a:moveTo>
                        <a:pt x="34" y="22"/>
                      </a:move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4" y="18"/>
                      </a:lnTo>
                      <a:lnTo>
                        <a:pt x="34" y="18"/>
                      </a:lnTo>
                      <a:lnTo>
                        <a:pt x="34" y="18"/>
                      </a:lnTo>
                      <a:lnTo>
                        <a:pt x="34" y="18"/>
                      </a:lnTo>
                      <a:lnTo>
                        <a:pt x="38" y="18"/>
                      </a:lnTo>
                      <a:lnTo>
                        <a:pt x="38" y="18"/>
                      </a:lnTo>
                      <a:lnTo>
                        <a:pt x="38" y="18"/>
                      </a:lnTo>
                      <a:lnTo>
                        <a:pt x="38" y="18"/>
                      </a:lnTo>
                      <a:lnTo>
                        <a:pt x="38" y="18"/>
                      </a:lnTo>
                      <a:lnTo>
                        <a:pt x="38" y="18"/>
                      </a:lnTo>
                      <a:lnTo>
                        <a:pt x="38" y="22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4" y="22"/>
                      </a:lnTo>
                      <a:close/>
                      <a:moveTo>
                        <a:pt x="30" y="38"/>
                      </a:moveTo>
                      <a:lnTo>
                        <a:pt x="30" y="38"/>
                      </a:lnTo>
                      <a:lnTo>
                        <a:pt x="30" y="38"/>
                      </a:lnTo>
                      <a:lnTo>
                        <a:pt x="30" y="38"/>
                      </a:lnTo>
                      <a:lnTo>
                        <a:pt x="30" y="38"/>
                      </a:ln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30" y="38"/>
                      </a:lnTo>
                      <a:lnTo>
                        <a:pt x="30" y="38"/>
                      </a:lnTo>
                      <a:lnTo>
                        <a:pt x="30" y="38"/>
                      </a:lnTo>
                      <a:lnTo>
                        <a:pt x="30" y="38"/>
                      </a:lnTo>
                      <a:lnTo>
                        <a:pt x="30" y="38"/>
                      </a:lnTo>
                      <a:lnTo>
                        <a:pt x="30" y="38"/>
                      </a:lnTo>
                      <a:close/>
                      <a:moveTo>
                        <a:pt x="26" y="40"/>
                      </a:moveTo>
                      <a:lnTo>
                        <a:pt x="24" y="40"/>
                      </a:lnTo>
                      <a:lnTo>
                        <a:pt x="24" y="40"/>
                      </a:lnTo>
                      <a:lnTo>
                        <a:pt x="24" y="40"/>
                      </a:lnTo>
                      <a:lnTo>
                        <a:pt x="24" y="40"/>
                      </a:lnTo>
                      <a:lnTo>
                        <a:pt x="24" y="38"/>
                      </a:lnTo>
                      <a:lnTo>
                        <a:pt x="24" y="38"/>
                      </a:lnTo>
                      <a:lnTo>
                        <a:pt x="24" y="38"/>
                      </a:lnTo>
                      <a:lnTo>
                        <a:pt x="24" y="38"/>
                      </a:lnTo>
                      <a:lnTo>
                        <a:pt x="24" y="34"/>
                      </a:lnTo>
                      <a:lnTo>
                        <a:pt x="24" y="34"/>
                      </a:lnTo>
                      <a:lnTo>
                        <a:pt x="24" y="34"/>
                      </a:lnTo>
                      <a:lnTo>
                        <a:pt x="24" y="38"/>
                      </a:lnTo>
                      <a:lnTo>
                        <a:pt x="26" y="38"/>
                      </a:lnTo>
                      <a:lnTo>
                        <a:pt x="26" y="38"/>
                      </a:lnTo>
                      <a:lnTo>
                        <a:pt x="26" y="38"/>
                      </a:lnTo>
                      <a:lnTo>
                        <a:pt x="26" y="38"/>
                      </a:lnTo>
                      <a:lnTo>
                        <a:pt x="26" y="38"/>
                      </a:lnTo>
                      <a:lnTo>
                        <a:pt x="26" y="40"/>
                      </a:lnTo>
                      <a:lnTo>
                        <a:pt x="26" y="40"/>
                      </a:lnTo>
                      <a:lnTo>
                        <a:pt x="26" y="40"/>
                      </a:lnTo>
                      <a:close/>
                      <a:moveTo>
                        <a:pt x="12" y="40"/>
                      </a:moveTo>
                      <a:lnTo>
                        <a:pt x="12" y="40"/>
                      </a:lnTo>
                      <a:lnTo>
                        <a:pt x="12" y="40"/>
                      </a:lnTo>
                      <a:lnTo>
                        <a:pt x="12" y="40"/>
                      </a:lnTo>
                      <a:lnTo>
                        <a:pt x="12" y="40"/>
                      </a:lnTo>
                      <a:lnTo>
                        <a:pt x="12" y="40"/>
                      </a:lnTo>
                      <a:lnTo>
                        <a:pt x="12" y="40"/>
                      </a:lnTo>
                      <a:lnTo>
                        <a:pt x="12" y="40"/>
                      </a:lnTo>
                      <a:lnTo>
                        <a:pt x="12" y="40"/>
                      </a:lnTo>
                      <a:lnTo>
                        <a:pt x="12" y="38"/>
                      </a:lnTo>
                      <a:lnTo>
                        <a:pt x="12" y="38"/>
                      </a:lnTo>
                      <a:lnTo>
                        <a:pt x="12" y="38"/>
                      </a:lnTo>
                      <a:lnTo>
                        <a:pt x="12" y="38"/>
                      </a:lnTo>
                      <a:lnTo>
                        <a:pt x="16" y="38"/>
                      </a:lnTo>
                      <a:lnTo>
                        <a:pt x="16" y="38"/>
                      </a:lnTo>
                      <a:lnTo>
                        <a:pt x="16" y="38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12" y="40"/>
                      </a:lnTo>
                      <a:lnTo>
                        <a:pt x="12" y="40"/>
                      </a:lnTo>
                      <a:lnTo>
                        <a:pt x="12" y="4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89" name="Freeform 135"/>
                <p:cNvSpPr>
                  <a:spLocks/>
                </p:cNvSpPr>
                <p:nvPr/>
              </p:nvSpPr>
              <p:spPr bwMode="auto">
                <a:xfrm>
                  <a:off x="4721225" y="4260918"/>
                  <a:ext cx="288925" cy="238125"/>
                </a:xfrm>
                <a:custGeom>
                  <a:avLst/>
                  <a:gdLst>
                    <a:gd name="T0" fmla="*/ 82 w 182"/>
                    <a:gd name="T1" fmla="*/ 104 h 150"/>
                    <a:gd name="T2" fmla="*/ 70 w 182"/>
                    <a:gd name="T3" fmla="*/ 102 h 150"/>
                    <a:gd name="T4" fmla="*/ 58 w 182"/>
                    <a:gd name="T5" fmla="*/ 112 h 150"/>
                    <a:gd name="T6" fmla="*/ 58 w 182"/>
                    <a:gd name="T7" fmla="*/ 116 h 150"/>
                    <a:gd name="T8" fmla="*/ 58 w 182"/>
                    <a:gd name="T9" fmla="*/ 132 h 150"/>
                    <a:gd name="T10" fmla="*/ 52 w 182"/>
                    <a:gd name="T11" fmla="*/ 132 h 150"/>
                    <a:gd name="T12" fmla="*/ 40 w 182"/>
                    <a:gd name="T13" fmla="*/ 128 h 150"/>
                    <a:gd name="T14" fmla="*/ 32 w 182"/>
                    <a:gd name="T15" fmla="*/ 128 h 150"/>
                    <a:gd name="T16" fmla="*/ 26 w 182"/>
                    <a:gd name="T17" fmla="*/ 138 h 150"/>
                    <a:gd name="T18" fmla="*/ 26 w 182"/>
                    <a:gd name="T19" fmla="*/ 146 h 150"/>
                    <a:gd name="T20" fmla="*/ 22 w 182"/>
                    <a:gd name="T21" fmla="*/ 142 h 150"/>
                    <a:gd name="T22" fmla="*/ 10 w 182"/>
                    <a:gd name="T23" fmla="*/ 128 h 150"/>
                    <a:gd name="T24" fmla="*/ 6 w 182"/>
                    <a:gd name="T25" fmla="*/ 116 h 150"/>
                    <a:gd name="T26" fmla="*/ 2 w 182"/>
                    <a:gd name="T27" fmla="*/ 104 h 150"/>
                    <a:gd name="T28" fmla="*/ 2 w 182"/>
                    <a:gd name="T29" fmla="*/ 90 h 150"/>
                    <a:gd name="T30" fmla="*/ 2 w 182"/>
                    <a:gd name="T31" fmla="*/ 82 h 150"/>
                    <a:gd name="T32" fmla="*/ 6 w 182"/>
                    <a:gd name="T33" fmla="*/ 68 h 150"/>
                    <a:gd name="T34" fmla="*/ 14 w 182"/>
                    <a:gd name="T35" fmla="*/ 60 h 150"/>
                    <a:gd name="T36" fmla="*/ 26 w 182"/>
                    <a:gd name="T37" fmla="*/ 56 h 150"/>
                    <a:gd name="T38" fmla="*/ 32 w 182"/>
                    <a:gd name="T39" fmla="*/ 56 h 150"/>
                    <a:gd name="T40" fmla="*/ 48 w 182"/>
                    <a:gd name="T41" fmla="*/ 52 h 150"/>
                    <a:gd name="T42" fmla="*/ 58 w 182"/>
                    <a:gd name="T43" fmla="*/ 48 h 150"/>
                    <a:gd name="T44" fmla="*/ 66 w 182"/>
                    <a:gd name="T45" fmla="*/ 42 h 150"/>
                    <a:gd name="T46" fmla="*/ 70 w 182"/>
                    <a:gd name="T47" fmla="*/ 34 h 150"/>
                    <a:gd name="T48" fmla="*/ 84 w 182"/>
                    <a:gd name="T49" fmla="*/ 34 h 150"/>
                    <a:gd name="T50" fmla="*/ 96 w 182"/>
                    <a:gd name="T51" fmla="*/ 18 h 150"/>
                    <a:gd name="T52" fmla="*/ 104 w 182"/>
                    <a:gd name="T53" fmla="*/ 12 h 150"/>
                    <a:gd name="T54" fmla="*/ 108 w 182"/>
                    <a:gd name="T55" fmla="*/ 4 h 150"/>
                    <a:gd name="T56" fmla="*/ 118 w 182"/>
                    <a:gd name="T57" fmla="*/ 0 h 150"/>
                    <a:gd name="T58" fmla="*/ 126 w 182"/>
                    <a:gd name="T59" fmla="*/ 14 h 150"/>
                    <a:gd name="T60" fmla="*/ 130 w 182"/>
                    <a:gd name="T61" fmla="*/ 30 h 150"/>
                    <a:gd name="T62" fmla="*/ 126 w 182"/>
                    <a:gd name="T63" fmla="*/ 42 h 150"/>
                    <a:gd name="T64" fmla="*/ 134 w 182"/>
                    <a:gd name="T65" fmla="*/ 42 h 150"/>
                    <a:gd name="T66" fmla="*/ 140 w 182"/>
                    <a:gd name="T67" fmla="*/ 48 h 150"/>
                    <a:gd name="T68" fmla="*/ 152 w 182"/>
                    <a:gd name="T69" fmla="*/ 52 h 150"/>
                    <a:gd name="T70" fmla="*/ 156 w 182"/>
                    <a:gd name="T71" fmla="*/ 64 h 150"/>
                    <a:gd name="T72" fmla="*/ 166 w 182"/>
                    <a:gd name="T73" fmla="*/ 74 h 150"/>
                    <a:gd name="T74" fmla="*/ 166 w 182"/>
                    <a:gd name="T75" fmla="*/ 82 h 150"/>
                    <a:gd name="T76" fmla="*/ 174 w 182"/>
                    <a:gd name="T77" fmla="*/ 90 h 150"/>
                    <a:gd name="T78" fmla="*/ 178 w 182"/>
                    <a:gd name="T79" fmla="*/ 94 h 150"/>
                    <a:gd name="T80" fmla="*/ 182 w 182"/>
                    <a:gd name="T81" fmla="*/ 104 h 150"/>
                    <a:gd name="T82" fmla="*/ 170 w 182"/>
                    <a:gd name="T83" fmla="*/ 102 h 150"/>
                    <a:gd name="T84" fmla="*/ 162 w 182"/>
                    <a:gd name="T85" fmla="*/ 102 h 150"/>
                    <a:gd name="T86" fmla="*/ 152 w 182"/>
                    <a:gd name="T87" fmla="*/ 98 h 150"/>
                    <a:gd name="T88" fmla="*/ 144 w 182"/>
                    <a:gd name="T89" fmla="*/ 104 h 150"/>
                    <a:gd name="T90" fmla="*/ 136 w 182"/>
                    <a:gd name="T91" fmla="*/ 104 h 150"/>
                    <a:gd name="T92" fmla="*/ 122 w 182"/>
                    <a:gd name="T93" fmla="*/ 108 h 150"/>
                    <a:gd name="T94" fmla="*/ 114 w 182"/>
                    <a:gd name="T95" fmla="*/ 108 h 150"/>
                    <a:gd name="T96" fmla="*/ 110 w 182"/>
                    <a:gd name="T97" fmla="*/ 120 h 150"/>
                    <a:gd name="T98" fmla="*/ 100 w 182"/>
                    <a:gd name="T99" fmla="*/ 116 h 150"/>
                    <a:gd name="T100" fmla="*/ 84 w 182"/>
                    <a:gd name="T101" fmla="*/ 112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82" h="150">
                      <a:moveTo>
                        <a:pt x="84" y="112"/>
                      </a:moveTo>
                      <a:lnTo>
                        <a:pt x="84" y="108"/>
                      </a:lnTo>
                      <a:lnTo>
                        <a:pt x="82" y="108"/>
                      </a:lnTo>
                      <a:lnTo>
                        <a:pt x="82" y="104"/>
                      </a:lnTo>
                      <a:lnTo>
                        <a:pt x="78" y="104"/>
                      </a:lnTo>
                      <a:lnTo>
                        <a:pt x="74" y="104"/>
                      </a:lnTo>
                      <a:lnTo>
                        <a:pt x="74" y="102"/>
                      </a:lnTo>
                      <a:lnTo>
                        <a:pt x="70" y="102"/>
                      </a:lnTo>
                      <a:lnTo>
                        <a:pt x="66" y="104"/>
                      </a:lnTo>
                      <a:lnTo>
                        <a:pt x="62" y="104"/>
                      </a:lnTo>
                      <a:lnTo>
                        <a:pt x="62" y="108"/>
                      </a:lnTo>
                      <a:lnTo>
                        <a:pt x="58" y="112"/>
                      </a:lnTo>
                      <a:lnTo>
                        <a:pt x="58" y="116"/>
                      </a:lnTo>
                      <a:lnTo>
                        <a:pt x="58" y="112"/>
                      </a:lnTo>
                      <a:lnTo>
                        <a:pt x="54" y="116"/>
                      </a:lnTo>
                      <a:lnTo>
                        <a:pt x="58" y="116"/>
                      </a:lnTo>
                      <a:lnTo>
                        <a:pt x="58" y="120"/>
                      </a:lnTo>
                      <a:lnTo>
                        <a:pt x="58" y="124"/>
                      </a:lnTo>
                      <a:lnTo>
                        <a:pt x="58" y="128"/>
                      </a:lnTo>
                      <a:lnTo>
                        <a:pt x="58" y="132"/>
                      </a:lnTo>
                      <a:lnTo>
                        <a:pt x="58" y="128"/>
                      </a:lnTo>
                      <a:lnTo>
                        <a:pt x="54" y="128"/>
                      </a:lnTo>
                      <a:lnTo>
                        <a:pt x="52" y="128"/>
                      </a:lnTo>
                      <a:lnTo>
                        <a:pt x="52" y="132"/>
                      </a:lnTo>
                      <a:lnTo>
                        <a:pt x="52" y="128"/>
                      </a:lnTo>
                      <a:lnTo>
                        <a:pt x="48" y="128"/>
                      </a:lnTo>
                      <a:lnTo>
                        <a:pt x="44" y="128"/>
                      </a:lnTo>
                      <a:lnTo>
                        <a:pt x="40" y="128"/>
                      </a:lnTo>
                      <a:lnTo>
                        <a:pt x="40" y="124"/>
                      </a:lnTo>
                      <a:lnTo>
                        <a:pt x="40" y="128"/>
                      </a:lnTo>
                      <a:lnTo>
                        <a:pt x="36" y="128"/>
                      </a:lnTo>
                      <a:lnTo>
                        <a:pt x="32" y="128"/>
                      </a:lnTo>
                      <a:lnTo>
                        <a:pt x="28" y="128"/>
                      </a:lnTo>
                      <a:lnTo>
                        <a:pt x="28" y="132"/>
                      </a:lnTo>
                      <a:lnTo>
                        <a:pt x="28" y="134"/>
                      </a:lnTo>
                      <a:lnTo>
                        <a:pt x="26" y="138"/>
                      </a:lnTo>
                      <a:lnTo>
                        <a:pt x="28" y="138"/>
                      </a:lnTo>
                      <a:lnTo>
                        <a:pt x="28" y="142"/>
                      </a:lnTo>
                      <a:lnTo>
                        <a:pt x="26" y="142"/>
                      </a:lnTo>
                      <a:lnTo>
                        <a:pt x="26" y="146"/>
                      </a:lnTo>
                      <a:lnTo>
                        <a:pt x="26" y="150"/>
                      </a:lnTo>
                      <a:lnTo>
                        <a:pt x="22" y="150"/>
                      </a:lnTo>
                      <a:lnTo>
                        <a:pt x="22" y="146"/>
                      </a:lnTo>
                      <a:lnTo>
                        <a:pt x="22" y="142"/>
                      </a:lnTo>
                      <a:lnTo>
                        <a:pt x="22" y="138"/>
                      </a:lnTo>
                      <a:lnTo>
                        <a:pt x="18" y="134"/>
                      </a:lnTo>
                      <a:lnTo>
                        <a:pt x="14" y="132"/>
                      </a:lnTo>
                      <a:lnTo>
                        <a:pt x="10" y="128"/>
                      </a:lnTo>
                      <a:lnTo>
                        <a:pt x="10" y="124"/>
                      </a:lnTo>
                      <a:lnTo>
                        <a:pt x="6" y="124"/>
                      </a:lnTo>
                      <a:lnTo>
                        <a:pt x="6" y="120"/>
                      </a:lnTo>
                      <a:lnTo>
                        <a:pt x="6" y="116"/>
                      </a:lnTo>
                      <a:lnTo>
                        <a:pt x="6" y="112"/>
                      </a:lnTo>
                      <a:lnTo>
                        <a:pt x="2" y="112"/>
                      </a:lnTo>
                      <a:lnTo>
                        <a:pt x="2" y="108"/>
                      </a:lnTo>
                      <a:lnTo>
                        <a:pt x="2" y="104"/>
                      </a:lnTo>
                      <a:lnTo>
                        <a:pt x="2" y="102"/>
                      </a:lnTo>
                      <a:lnTo>
                        <a:pt x="0" y="98"/>
                      </a:lnTo>
                      <a:lnTo>
                        <a:pt x="0" y="94"/>
                      </a:lnTo>
                      <a:lnTo>
                        <a:pt x="2" y="90"/>
                      </a:lnTo>
                      <a:lnTo>
                        <a:pt x="0" y="90"/>
                      </a:lnTo>
                      <a:lnTo>
                        <a:pt x="0" y="86"/>
                      </a:lnTo>
                      <a:lnTo>
                        <a:pt x="0" y="82"/>
                      </a:lnTo>
                      <a:lnTo>
                        <a:pt x="2" y="82"/>
                      </a:lnTo>
                      <a:lnTo>
                        <a:pt x="2" y="78"/>
                      </a:lnTo>
                      <a:lnTo>
                        <a:pt x="6" y="74"/>
                      </a:lnTo>
                      <a:lnTo>
                        <a:pt x="6" y="72"/>
                      </a:lnTo>
                      <a:lnTo>
                        <a:pt x="6" y="68"/>
                      </a:lnTo>
                      <a:lnTo>
                        <a:pt x="10" y="68"/>
                      </a:lnTo>
                      <a:lnTo>
                        <a:pt x="10" y="64"/>
                      </a:lnTo>
                      <a:lnTo>
                        <a:pt x="14" y="64"/>
                      </a:lnTo>
                      <a:lnTo>
                        <a:pt x="14" y="60"/>
                      </a:lnTo>
                      <a:lnTo>
                        <a:pt x="18" y="60"/>
                      </a:lnTo>
                      <a:lnTo>
                        <a:pt x="22" y="60"/>
                      </a:lnTo>
                      <a:lnTo>
                        <a:pt x="26" y="60"/>
                      </a:lnTo>
                      <a:lnTo>
                        <a:pt x="26" y="56"/>
                      </a:lnTo>
                      <a:lnTo>
                        <a:pt x="28" y="52"/>
                      </a:lnTo>
                      <a:lnTo>
                        <a:pt x="28" y="56"/>
                      </a:lnTo>
                      <a:lnTo>
                        <a:pt x="32" y="60"/>
                      </a:lnTo>
                      <a:lnTo>
                        <a:pt x="32" y="56"/>
                      </a:lnTo>
                      <a:lnTo>
                        <a:pt x="36" y="56"/>
                      </a:lnTo>
                      <a:lnTo>
                        <a:pt x="40" y="52"/>
                      </a:lnTo>
                      <a:lnTo>
                        <a:pt x="44" y="52"/>
                      </a:lnTo>
                      <a:lnTo>
                        <a:pt x="48" y="52"/>
                      </a:lnTo>
                      <a:lnTo>
                        <a:pt x="52" y="52"/>
                      </a:lnTo>
                      <a:lnTo>
                        <a:pt x="54" y="52"/>
                      </a:lnTo>
                      <a:lnTo>
                        <a:pt x="58" y="52"/>
                      </a:lnTo>
                      <a:lnTo>
                        <a:pt x="58" y="48"/>
                      </a:lnTo>
                      <a:lnTo>
                        <a:pt x="58" y="44"/>
                      </a:lnTo>
                      <a:lnTo>
                        <a:pt x="62" y="44"/>
                      </a:lnTo>
                      <a:lnTo>
                        <a:pt x="62" y="42"/>
                      </a:lnTo>
                      <a:lnTo>
                        <a:pt x="66" y="42"/>
                      </a:lnTo>
                      <a:lnTo>
                        <a:pt x="62" y="38"/>
                      </a:lnTo>
                      <a:lnTo>
                        <a:pt x="62" y="34"/>
                      </a:lnTo>
                      <a:lnTo>
                        <a:pt x="66" y="34"/>
                      </a:lnTo>
                      <a:lnTo>
                        <a:pt x="70" y="34"/>
                      </a:lnTo>
                      <a:lnTo>
                        <a:pt x="74" y="34"/>
                      </a:lnTo>
                      <a:lnTo>
                        <a:pt x="78" y="34"/>
                      </a:lnTo>
                      <a:lnTo>
                        <a:pt x="82" y="34"/>
                      </a:lnTo>
                      <a:lnTo>
                        <a:pt x="84" y="34"/>
                      </a:lnTo>
                      <a:lnTo>
                        <a:pt x="84" y="30"/>
                      </a:lnTo>
                      <a:lnTo>
                        <a:pt x="88" y="26"/>
                      </a:lnTo>
                      <a:lnTo>
                        <a:pt x="92" y="22"/>
                      </a:lnTo>
                      <a:lnTo>
                        <a:pt x="96" y="18"/>
                      </a:lnTo>
                      <a:lnTo>
                        <a:pt x="96" y="14"/>
                      </a:lnTo>
                      <a:lnTo>
                        <a:pt x="100" y="14"/>
                      </a:lnTo>
                      <a:lnTo>
                        <a:pt x="100" y="12"/>
                      </a:lnTo>
                      <a:lnTo>
                        <a:pt x="104" y="12"/>
                      </a:lnTo>
                      <a:lnTo>
                        <a:pt x="100" y="12"/>
                      </a:lnTo>
                      <a:lnTo>
                        <a:pt x="100" y="8"/>
                      </a:lnTo>
                      <a:lnTo>
                        <a:pt x="104" y="4"/>
                      </a:lnTo>
                      <a:lnTo>
                        <a:pt x="108" y="4"/>
                      </a:lnTo>
                      <a:lnTo>
                        <a:pt x="108" y="0"/>
                      </a:lnTo>
                      <a:lnTo>
                        <a:pt x="110" y="0"/>
                      </a:lnTo>
                      <a:lnTo>
                        <a:pt x="114" y="0"/>
                      </a:lnTo>
                      <a:lnTo>
                        <a:pt x="118" y="0"/>
                      </a:lnTo>
                      <a:lnTo>
                        <a:pt x="118" y="4"/>
                      </a:lnTo>
                      <a:lnTo>
                        <a:pt x="122" y="8"/>
                      </a:lnTo>
                      <a:lnTo>
                        <a:pt x="126" y="12"/>
                      </a:lnTo>
                      <a:lnTo>
                        <a:pt x="126" y="14"/>
                      </a:lnTo>
                      <a:lnTo>
                        <a:pt x="130" y="18"/>
                      </a:lnTo>
                      <a:lnTo>
                        <a:pt x="130" y="22"/>
                      </a:lnTo>
                      <a:lnTo>
                        <a:pt x="130" y="26"/>
                      </a:lnTo>
                      <a:lnTo>
                        <a:pt x="130" y="30"/>
                      </a:lnTo>
                      <a:lnTo>
                        <a:pt x="126" y="30"/>
                      </a:lnTo>
                      <a:lnTo>
                        <a:pt x="126" y="34"/>
                      </a:lnTo>
                      <a:lnTo>
                        <a:pt x="126" y="38"/>
                      </a:lnTo>
                      <a:lnTo>
                        <a:pt x="126" y="42"/>
                      </a:lnTo>
                      <a:lnTo>
                        <a:pt x="130" y="42"/>
                      </a:lnTo>
                      <a:lnTo>
                        <a:pt x="130" y="38"/>
                      </a:lnTo>
                      <a:lnTo>
                        <a:pt x="134" y="38"/>
                      </a:lnTo>
                      <a:lnTo>
                        <a:pt x="134" y="42"/>
                      </a:lnTo>
                      <a:lnTo>
                        <a:pt x="136" y="42"/>
                      </a:lnTo>
                      <a:lnTo>
                        <a:pt x="136" y="44"/>
                      </a:lnTo>
                      <a:lnTo>
                        <a:pt x="136" y="48"/>
                      </a:lnTo>
                      <a:lnTo>
                        <a:pt x="140" y="48"/>
                      </a:lnTo>
                      <a:lnTo>
                        <a:pt x="144" y="48"/>
                      </a:lnTo>
                      <a:lnTo>
                        <a:pt x="148" y="48"/>
                      </a:lnTo>
                      <a:lnTo>
                        <a:pt x="148" y="52"/>
                      </a:lnTo>
                      <a:lnTo>
                        <a:pt x="152" y="52"/>
                      </a:lnTo>
                      <a:lnTo>
                        <a:pt x="152" y="56"/>
                      </a:lnTo>
                      <a:lnTo>
                        <a:pt x="152" y="60"/>
                      </a:lnTo>
                      <a:lnTo>
                        <a:pt x="152" y="64"/>
                      </a:lnTo>
                      <a:lnTo>
                        <a:pt x="156" y="64"/>
                      </a:lnTo>
                      <a:lnTo>
                        <a:pt x="160" y="68"/>
                      </a:lnTo>
                      <a:lnTo>
                        <a:pt x="162" y="68"/>
                      </a:lnTo>
                      <a:lnTo>
                        <a:pt x="162" y="72"/>
                      </a:lnTo>
                      <a:lnTo>
                        <a:pt x="166" y="74"/>
                      </a:lnTo>
                      <a:lnTo>
                        <a:pt x="166" y="78"/>
                      </a:lnTo>
                      <a:lnTo>
                        <a:pt x="166" y="82"/>
                      </a:lnTo>
                      <a:lnTo>
                        <a:pt x="170" y="82"/>
                      </a:lnTo>
                      <a:lnTo>
                        <a:pt x="166" y="82"/>
                      </a:lnTo>
                      <a:lnTo>
                        <a:pt x="166" y="86"/>
                      </a:lnTo>
                      <a:lnTo>
                        <a:pt x="170" y="86"/>
                      </a:lnTo>
                      <a:lnTo>
                        <a:pt x="174" y="86"/>
                      </a:lnTo>
                      <a:lnTo>
                        <a:pt x="174" y="90"/>
                      </a:lnTo>
                      <a:lnTo>
                        <a:pt x="178" y="90"/>
                      </a:lnTo>
                      <a:lnTo>
                        <a:pt x="178" y="94"/>
                      </a:lnTo>
                      <a:lnTo>
                        <a:pt x="182" y="94"/>
                      </a:lnTo>
                      <a:lnTo>
                        <a:pt x="178" y="94"/>
                      </a:lnTo>
                      <a:lnTo>
                        <a:pt x="178" y="98"/>
                      </a:lnTo>
                      <a:lnTo>
                        <a:pt x="182" y="98"/>
                      </a:lnTo>
                      <a:lnTo>
                        <a:pt x="182" y="102"/>
                      </a:lnTo>
                      <a:lnTo>
                        <a:pt x="182" y="104"/>
                      </a:lnTo>
                      <a:lnTo>
                        <a:pt x="182" y="102"/>
                      </a:lnTo>
                      <a:lnTo>
                        <a:pt x="178" y="102"/>
                      </a:lnTo>
                      <a:lnTo>
                        <a:pt x="174" y="102"/>
                      </a:lnTo>
                      <a:lnTo>
                        <a:pt x="170" y="102"/>
                      </a:lnTo>
                      <a:lnTo>
                        <a:pt x="166" y="102"/>
                      </a:lnTo>
                      <a:lnTo>
                        <a:pt x="162" y="102"/>
                      </a:lnTo>
                      <a:lnTo>
                        <a:pt x="162" y="98"/>
                      </a:lnTo>
                      <a:lnTo>
                        <a:pt x="162" y="102"/>
                      </a:lnTo>
                      <a:lnTo>
                        <a:pt x="160" y="102"/>
                      </a:lnTo>
                      <a:lnTo>
                        <a:pt x="160" y="98"/>
                      </a:lnTo>
                      <a:lnTo>
                        <a:pt x="156" y="98"/>
                      </a:lnTo>
                      <a:lnTo>
                        <a:pt x="152" y="98"/>
                      </a:lnTo>
                      <a:lnTo>
                        <a:pt x="152" y="102"/>
                      </a:lnTo>
                      <a:lnTo>
                        <a:pt x="152" y="104"/>
                      </a:lnTo>
                      <a:lnTo>
                        <a:pt x="148" y="104"/>
                      </a:lnTo>
                      <a:lnTo>
                        <a:pt x="144" y="104"/>
                      </a:lnTo>
                      <a:lnTo>
                        <a:pt x="140" y="102"/>
                      </a:lnTo>
                      <a:lnTo>
                        <a:pt x="136" y="102"/>
                      </a:lnTo>
                      <a:lnTo>
                        <a:pt x="140" y="102"/>
                      </a:lnTo>
                      <a:lnTo>
                        <a:pt x="136" y="104"/>
                      </a:lnTo>
                      <a:lnTo>
                        <a:pt x="134" y="104"/>
                      </a:lnTo>
                      <a:lnTo>
                        <a:pt x="130" y="104"/>
                      </a:lnTo>
                      <a:lnTo>
                        <a:pt x="126" y="108"/>
                      </a:lnTo>
                      <a:lnTo>
                        <a:pt x="122" y="108"/>
                      </a:lnTo>
                      <a:lnTo>
                        <a:pt x="118" y="108"/>
                      </a:lnTo>
                      <a:lnTo>
                        <a:pt x="118" y="104"/>
                      </a:lnTo>
                      <a:lnTo>
                        <a:pt x="118" y="108"/>
                      </a:lnTo>
                      <a:lnTo>
                        <a:pt x="114" y="108"/>
                      </a:lnTo>
                      <a:lnTo>
                        <a:pt x="114" y="112"/>
                      </a:lnTo>
                      <a:lnTo>
                        <a:pt x="114" y="116"/>
                      </a:lnTo>
                      <a:lnTo>
                        <a:pt x="110" y="116"/>
                      </a:lnTo>
                      <a:lnTo>
                        <a:pt x="110" y="120"/>
                      </a:lnTo>
                      <a:lnTo>
                        <a:pt x="108" y="120"/>
                      </a:lnTo>
                      <a:lnTo>
                        <a:pt x="108" y="116"/>
                      </a:lnTo>
                      <a:lnTo>
                        <a:pt x="104" y="116"/>
                      </a:lnTo>
                      <a:lnTo>
                        <a:pt x="100" y="116"/>
                      </a:lnTo>
                      <a:lnTo>
                        <a:pt x="92" y="116"/>
                      </a:lnTo>
                      <a:lnTo>
                        <a:pt x="92" y="112"/>
                      </a:lnTo>
                      <a:lnTo>
                        <a:pt x="88" y="112"/>
                      </a:lnTo>
                      <a:lnTo>
                        <a:pt x="84" y="112"/>
                      </a:lnTo>
                      <a:lnTo>
                        <a:pt x="84" y="112"/>
                      </a:lnTo>
                      <a:lnTo>
                        <a:pt x="84" y="11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90" name="Freeform 136"/>
                <p:cNvSpPr>
                  <a:spLocks/>
                </p:cNvSpPr>
                <p:nvPr/>
              </p:nvSpPr>
              <p:spPr bwMode="auto">
                <a:xfrm>
                  <a:off x="4695825" y="3918018"/>
                  <a:ext cx="238125" cy="438150"/>
                </a:xfrm>
                <a:custGeom>
                  <a:avLst/>
                  <a:gdLst>
                    <a:gd name="T0" fmla="*/ 22 w 150"/>
                    <a:gd name="T1" fmla="*/ 234 h 276"/>
                    <a:gd name="T2" fmla="*/ 30 w 150"/>
                    <a:gd name="T3" fmla="*/ 234 h 276"/>
                    <a:gd name="T4" fmla="*/ 26 w 150"/>
                    <a:gd name="T5" fmla="*/ 226 h 276"/>
                    <a:gd name="T6" fmla="*/ 22 w 150"/>
                    <a:gd name="T7" fmla="*/ 220 h 276"/>
                    <a:gd name="T8" fmla="*/ 22 w 150"/>
                    <a:gd name="T9" fmla="*/ 208 h 276"/>
                    <a:gd name="T10" fmla="*/ 22 w 150"/>
                    <a:gd name="T11" fmla="*/ 198 h 276"/>
                    <a:gd name="T12" fmla="*/ 14 w 150"/>
                    <a:gd name="T13" fmla="*/ 186 h 276"/>
                    <a:gd name="T14" fmla="*/ 14 w 150"/>
                    <a:gd name="T15" fmla="*/ 178 h 276"/>
                    <a:gd name="T16" fmla="*/ 0 w 150"/>
                    <a:gd name="T17" fmla="*/ 164 h 276"/>
                    <a:gd name="T18" fmla="*/ 4 w 150"/>
                    <a:gd name="T19" fmla="*/ 156 h 276"/>
                    <a:gd name="T20" fmla="*/ 4 w 150"/>
                    <a:gd name="T21" fmla="*/ 148 h 276"/>
                    <a:gd name="T22" fmla="*/ 14 w 150"/>
                    <a:gd name="T23" fmla="*/ 130 h 276"/>
                    <a:gd name="T24" fmla="*/ 30 w 150"/>
                    <a:gd name="T25" fmla="*/ 112 h 276"/>
                    <a:gd name="T26" fmla="*/ 34 w 150"/>
                    <a:gd name="T27" fmla="*/ 66 h 276"/>
                    <a:gd name="T28" fmla="*/ 30 w 150"/>
                    <a:gd name="T29" fmla="*/ 48 h 276"/>
                    <a:gd name="T30" fmla="*/ 30 w 150"/>
                    <a:gd name="T31" fmla="*/ 42 h 276"/>
                    <a:gd name="T32" fmla="*/ 26 w 150"/>
                    <a:gd name="T33" fmla="*/ 26 h 276"/>
                    <a:gd name="T34" fmla="*/ 38 w 150"/>
                    <a:gd name="T35" fmla="*/ 0 h 276"/>
                    <a:gd name="T36" fmla="*/ 78 w 150"/>
                    <a:gd name="T37" fmla="*/ 22 h 276"/>
                    <a:gd name="T38" fmla="*/ 134 w 150"/>
                    <a:gd name="T39" fmla="*/ 58 h 276"/>
                    <a:gd name="T40" fmla="*/ 150 w 150"/>
                    <a:gd name="T41" fmla="*/ 88 h 276"/>
                    <a:gd name="T42" fmla="*/ 146 w 150"/>
                    <a:gd name="T43" fmla="*/ 134 h 276"/>
                    <a:gd name="T44" fmla="*/ 142 w 150"/>
                    <a:gd name="T45" fmla="*/ 134 h 276"/>
                    <a:gd name="T46" fmla="*/ 138 w 150"/>
                    <a:gd name="T47" fmla="*/ 134 h 276"/>
                    <a:gd name="T48" fmla="*/ 134 w 150"/>
                    <a:gd name="T49" fmla="*/ 142 h 276"/>
                    <a:gd name="T50" fmla="*/ 134 w 150"/>
                    <a:gd name="T51" fmla="*/ 144 h 276"/>
                    <a:gd name="T52" fmla="*/ 128 w 150"/>
                    <a:gd name="T53" fmla="*/ 152 h 276"/>
                    <a:gd name="T54" fmla="*/ 128 w 150"/>
                    <a:gd name="T55" fmla="*/ 160 h 276"/>
                    <a:gd name="T56" fmla="*/ 124 w 150"/>
                    <a:gd name="T57" fmla="*/ 164 h 276"/>
                    <a:gd name="T58" fmla="*/ 124 w 150"/>
                    <a:gd name="T59" fmla="*/ 178 h 276"/>
                    <a:gd name="T60" fmla="*/ 120 w 150"/>
                    <a:gd name="T61" fmla="*/ 186 h 276"/>
                    <a:gd name="T62" fmla="*/ 124 w 150"/>
                    <a:gd name="T63" fmla="*/ 186 h 276"/>
                    <a:gd name="T64" fmla="*/ 130 w 150"/>
                    <a:gd name="T65" fmla="*/ 198 h 276"/>
                    <a:gd name="T66" fmla="*/ 130 w 150"/>
                    <a:gd name="T67" fmla="*/ 204 h 276"/>
                    <a:gd name="T68" fmla="*/ 134 w 150"/>
                    <a:gd name="T69" fmla="*/ 216 h 276"/>
                    <a:gd name="T70" fmla="*/ 124 w 150"/>
                    <a:gd name="T71" fmla="*/ 220 h 276"/>
                    <a:gd name="T72" fmla="*/ 116 w 150"/>
                    <a:gd name="T73" fmla="*/ 224 h 276"/>
                    <a:gd name="T74" fmla="*/ 116 w 150"/>
                    <a:gd name="T75" fmla="*/ 230 h 276"/>
                    <a:gd name="T76" fmla="*/ 112 w 150"/>
                    <a:gd name="T77" fmla="*/ 234 h 276"/>
                    <a:gd name="T78" fmla="*/ 104 w 150"/>
                    <a:gd name="T79" fmla="*/ 242 h 276"/>
                    <a:gd name="T80" fmla="*/ 100 w 150"/>
                    <a:gd name="T81" fmla="*/ 246 h 276"/>
                    <a:gd name="T82" fmla="*/ 94 w 150"/>
                    <a:gd name="T83" fmla="*/ 250 h 276"/>
                    <a:gd name="T84" fmla="*/ 78 w 150"/>
                    <a:gd name="T85" fmla="*/ 250 h 276"/>
                    <a:gd name="T86" fmla="*/ 78 w 150"/>
                    <a:gd name="T87" fmla="*/ 254 h 276"/>
                    <a:gd name="T88" fmla="*/ 78 w 150"/>
                    <a:gd name="T89" fmla="*/ 260 h 276"/>
                    <a:gd name="T90" fmla="*/ 74 w 150"/>
                    <a:gd name="T91" fmla="*/ 264 h 276"/>
                    <a:gd name="T92" fmla="*/ 64 w 150"/>
                    <a:gd name="T93" fmla="*/ 268 h 276"/>
                    <a:gd name="T94" fmla="*/ 56 w 150"/>
                    <a:gd name="T95" fmla="*/ 268 h 276"/>
                    <a:gd name="T96" fmla="*/ 48 w 150"/>
                    <a:gd name="T97" fmla="*/ 276 h 276"/>
                    <a:gd name="T98" fmla="*/ 44 w 150"/>
                    <a:gd name="T99" fmla="*/ 268 h 276"/>
                    <a:gd name="T100" fmla="*/ 38 w 150"/>
                    <a:gd name="T101" fmla="*/ 276 h 276"/>
                    <a:gd name="T102" fmla="*/ 34 w 150"/>
                    <a:gd name="T103" fmla="*/ 276 h 276"/>
                    <a:gd name="T104" fmla="*/ 30 w 150"/>
                    <a:gd name="T105" fmla="*/ 276 h 276"/>
                    <a:gd name="T106" fmla="*/ 30 w 150"/>
                    <a:gd name="T107" fmla="*/ 272 h 276"/>
                    <a:gd name="T108" fmla="*/ 26 w 150"/>
                    <a:gd name="T109" fmla="*/ 264 h 276"/>
                    <a:gd name="T110" fmla="*/ 18 w 150"/>
                    <a:gd name="T111" fmla="*/ 254 h 276"/>
                    <a:gd name="T112" fmla="*/ 8 w 150"/>
                    <a:gd name="T113" fmla="*/ 238 h 276"/>
                    <a:gd name="T114" fmla="*/ 12 w 150"/>
                    <a:gd name="T115" fmla="*/ 234 h 2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50" h="276">
                      <a:moveTo>
                        <a:pt x="12" y="234"/>
                      </a:moveTo>
                      <a:lnTo>
                        <a:pt x="14" y="234"/>
                      </a:lnTo>
                      <a:lnTo>
                        <a:pt x="14" y="234"/>
                      </a:lnTo>
                      <a:lnTo>
                        <a:pt x="18" y="234"/>
                      </a:lnTo>
                      <a:lnTo>
                        <a:pt x="18" y="234"/>
                      </a:lnTo>
                      <a:lnTo>
                        <a:pt x="22" y="234"/>
                      </a:lnTo>
                      <a:lnTo>
                        <a:pt x="22" y="234"/>
                      </a:lnTo>
                      <a:lnTo>
                        <a:pt x="22" y="234"/>
                      </a:lnTo>
                      <a:lnTo>
                        <a:pt x="22" y="234"/>
                      </a:lnTo>
                      <a:lnTo>
                        <a:pt x="22" y="234"/>
                      </a:lnTo>
                      <a:lnTo>
                        <a:pt x="22" y="234"/>
                      </a:lnTo>
                      <a:lnTo>
                        <a:pt x="26" y="234"/>
                      </a:lnTo>
                      <a:lnTo>
                        <a:pt x="26" y="234"/>
                      </a:lnTo>
                      <a:lnTo>
                        <a:pt x="26" y="234"/>
                      </a:lnTo>
                      <a:lnTo>
                        <a:pt x="30" y="234"/>
                      </a:lnTo>
                      <a:lnTo>
                        <a:pt x="30" y="234"/>
                      </a:lnTo>
                      <a:lnTo>
                        <a:pt x="30" y="234"/>
                      </a:lnTo>
                      <a:lnTo>
                        <a:pt x="30" y="234"/>
                      </a:lnTo>
                      <a:lnTo>
                        <a:pt x="30" y="234"/>
                      </a:lnTo>
                      <a:lnTo>
                        <a:pt x="30" y="230"/>
                      </a:lnTo>
                      <a:lnTo>
                        <a:pt x="30" y="230"/>
                      </a:lnTo>
                      <a:lnTo>
                        <a:pt x="30" y="230"/>
                      </a:lnTo>
                      <a:lnTo>
                        <a:pt x="30" y="230"/>
                      </a:lnTo>
                      <a:lnTo>
                        <a:pt x="26" y="226"/>
                      </a:lnTo>
                      <a:lnTo>
                        <a:pt x="26" y="226"/>
                      </a:lnTo>
                      <a:lnTo>
                        <a:pt x="26" y="224"/>
                      </a:lnTo>
                      <a:lnTo>
                        <a:pt x="22" y="224"/>
                      </a:lnTo>
                      <a:lnTo>
                        <a:pt x="22" y="224"/>
                      </a:lnTo>
                      <a:lnTo>
                        <a:pt x="22" y="220"/>
                      </a:lnTo>
                      <a:lnTo>
                        <a:pt x="22" y="220"/>
                      </a:lnTo>
                      <a:lnTo>
                        <a:pt x="22" y="220"/>
                      </a:lnTo>
                      <a:lnTo>
                        <a:pt x="22" y="220"/>
                      </a:lnTo>
                      <a:lnTo>
                        <a:pt x="22" y="220"/>
                      </a:lnTo>
                      <a:lnTo>
                        <a:pt x="22" y="220"/>
                      </a:lnTo>
                      <a:lnTo>
                        <a:pt x="22" y="216"/>
                      </a:lnTo>
                      <a:lnTo>
                        <a:pt x="22" y="216"/>
                      </a:lnTo>
                      <a:lnTo>
                        <a:pt x="22" y="212"/>
                      </a:lnTo>
                      <a:lnTo>
                        <a:pt x="22" y="212"/>
                      </a:lnTo>
                      <a:lnTo>
                        <a:pt x="22" y="208"/>
                      </a:lnTo>
                      <a:lnTo>
                        <a:pt x="22" y="208"/>
                      </a:lnTo>
                      <a:lnTo>
                        <a:pt x="22" y="208"/>
                      </a:lnTo>
                      <a:lnTo>
                        <a:pt x="22" y="204"/>
                      </a:lnTo>
                      <a:lnTo>
                        <a:pt x="22" y="204"/>
                      </a:lnTo>
                      <a:lnTo>
                        <a:pt x="22" y="200"/>
                      </a:lnTo>
                      <a:lnTo>
                        <a:pt x="22" y="198"/>
                      </a:lnTo>
                      <a:lnTo>
                        <a:pt x="22" y="198"/>
                      </a:lnTo>
                      <a:lnTo>
                        <a:pt x="22" y="198"/>
                      </a:lnTo>
                      <a:lnTo>
                        <a:pt x="22" y="198"/>
                      </a:lnTo>
                      <a:lnTo>
                        <a:pt x="22" y="194"/>
                      </a:lnTo>
                      <a:lnTo>
                        <a:pt x="22" y="194"/>
                      </a:lnTo>
                      <a:lnTo>
                        <a:pt x="22" y="194"/>
                      </a:lnTo>
                      <a:lnTo>
                        <a:pt x="22" y="194"/>
                      </a:lnTo>
                      <a:lnTo>
                        <a:pt x="18" y="186"/>
                      </a:lnTo>
                      <a:lnTo>
                        <a:pt x="18" y="186"/>
                      </a:lnTo>
                      <a:lnTo>
                        <a:pt x="18" y="186"/>
                      </a:lnTo>
                      <a:lnTo>
                        <a:pt x="14" y="186"/>
                      </a:lnTo>
                      <a:lnTo>
                        <a:pt x="14" y="186"/>
                      </a:lnTo>
                      <a:lnTo>
                        <a:pt x="14" y="182"/>
                      </a:lnTo>
                      <a:lnTo>
                        <a:pt x="14" y="182"/>
                      </a:lnTo>
                      <a:lnTo>
                        <a:pt x="14" y="182"/>
                      </a:lnTo>
                      <a:lnTo>
                        <a:pt x="14" y="182"/>
                      </a:lnTo>
                      <a:lnTo>
                        <a:pt x="14" y="182"/>
                      </a:lnTo>
                      <a:lnTo>
                        <a:pt x="14" y="178"/>
                      </a:lnTo>
                      <a:lnTo>
                        <a:pt x="14" y="178"/>
                      </a:lnTo>
                      <a:lnTo>
                        <a:pt x="12" y="178"/>
                      </a:lnTo>
                      <a:lnTo>
                        <a:pt x="8" y="178"/>
                      </a:lnTo>
                      <a:lnTo>
                        <a:pt x="8" y="174"/>
                      </a:lnTo>
                      <a:lnTo>
                        <a:pt x="4" y="170"/>
                      </a:lnTo>
                      <a:lnTo>
                        <a:pt x="4" y="168"/>
                      </a:lnTo>
                      <a:lnTo>
                        <a:pt x="4" y="168"/>
                      </a:lnTo>
                      <a:lnTo>
                        <a:pt x="4" y="168"/>
                      </a:lnTo>
                      <a:lnTo>
                        <a:pt x="0" y="164"/>
                      </a:lnTo>
                      <a:lnTo>
                        <a:pt x="0" y="156"/>
                      </a:lnTo>
                      <a:lnTo>
                        <a:pt x="0" y="156"/>
                      </a:lnTo>
                      <a:lnTo>
                        <a:pt x="0" y="156"/>
                      </a:lnTo>
                      <a:lnTo>
                        <a:pt x="0" y="156"/>
                      </a:lnTo>
                      <a:lnTo>
                        <a:pt x="0" y="156"/>
                      </a:lnTo>
                      <a:lnTo>
                        <a:pt x="0" y="156"/>
                      </a:lnTo>
                      <a:lnTo>
                        <a:pt x="4" y="156"/>
                      </a:lnTo>
                      <a:lnTo>
                        <a:pt x="4" y="156"/>
                      </a:lnTo>
                      <a:lnTo>
                        <a:pt x="4" y="156"/>
                      </a:lnTo>
                      <a:lnTo>
                        <a:pt x="4" y="152"/>
                      </a:lnTo>
                      <a:lnTo>
                        <a:pt x="4" y="152"/>
                      </a:lnTo>
                      <a:lnTo>
                        <a:pt x="4" y="152"/>
                      </a:lnTo>
                      <a:lnTo>
                        <a:pt x="4" y="152"/>
                      </a:lnTo>
                      <a:lnTo>
                        <a:pt x="4" y="152"/>
                      </a:lnTo>
                      <a:lnTo>
                        <a:pt x="4" y="148"/>
                      </a:lnTo>
                      <a:lnTo>
                        <a:pt x="4" y="148"/>
                      </a:lnTo>
                      <a:lnTo>
                        <a:pt x="4" y="148"/>
                      </a:lnTo>
                      <a:lnTo>
                        <a:pt x="8" y="144"/>
                      </a:lnTo>
                      <a:lnTo>
                        <a:pt x="8" y="142"/>
                      </a:lnTo>
                      <a:lnTo>
                        <a:pt x="8" y="142"/>
                      </a:lnTo>
                      <a:lnTo>
                        <a:pt x="12" y="138"/>
                      </a:lnTo>
                      <a:lnTo>
                        <a:pt x="12" y="138"/>
                      </a:lnTo>
                      <a:lnTo>
                        <a:pt x="14" y="134"/>
                      </a:lnTo>
                      <a:lnTo>
                        <a:pt x="14" y="130"/>
                      </a:lnTo>
                      <a:lnTo>
                        <a:pt x="22" y="122"/>
                      </a:lnTo>
                      <a:lnTo>
                        <a:pt x="22" y="118"/>
                      </a:lnTo>
                      <a:lnTo>
                        <a:pt x="26" y="118"/>
                      </a:lnTo>
                      <a:lnTo>
                        <a:pt x="26" y="114"/>
                      </a:lnTo>
                      <a:lnTo>
                        <a:pt x="30" y="114"/>
                      </a:lnTo>
                      <a:lnTo>
                        <a:pt x="30" y="114"/>
                      </a:lnTo>
                      <a:lnTo>
                        <a:pt x="30" y="114"/>
                      </a:lnTo>
                      <a:lnTo>
                        <a:pt x="30" y="112"/>
                      </a:lnTo>
                      <a:lnTo>
                        <a:pt x="30" y="104"/>
                      </a:lnTo>
                      <a:lnTo>
                        <a:pt x="30" y="92"/>
                      </a:lnTo>
                      <a:lnTo>
                        <a:pt x="30" y="88"/>
                      </a:lnTo>
                      <a:lnTo>
                        <a:pt x="30" y="88"/>
                      </a:lnTo>
                      <a:lnTo>
                        <a:pt x="30" y="82"/>
                      </a:lnTo>
                      <a:lnTo>
                        <a:pt x="30" y="78"/>
                      </a:lnTo>
                      <a:lnTo>
                        <a:pt x="30" y="78"/>
                      </a:lnTo>
                      <a:lnTo>
                        <a:pt x="34" y="66"/>
                      </a:lnTo>
                      <a:lnTo>
                        <a:pt x="34" y="62"/>
                      </a:lnTo>
                      <a:lnTo>
                        <a:pt x="34" y="58"/>
                      </a:lnTo>
                      <a:lnTo>
                        <a:pt x="34" y="58"/>
                      </a:lnTo>
                      <a:lnTo>
                        <a:pt x="34" y="56"/>
                      </a:lnTo>
                      <a:lnTo>
                        <a:pt x="38" y="52"/>
                      </a:lnTo>
                      <a:lnTo>
                        <a:pt x="38" y="52"/>
                      </a:lnTo>
                      <a:lnTo>
                        <a:pt x="30" y="48"/>
                      </a:lnTo>
                      <a:lnTo>
                        <a:pt x="30" y="48"/>
                      </a:lnTo>
                      <a:lnTo>
                        <a:pt x="30" y="44"/>
                      </a:lnTo>
                      <a:lnTo>
                        <a:pt x="30" y="44"/>
                      </a:lnTo>
                      <a:lnTo>
                        <a:pt x="30" y="44"/>
                      </a:lnTo>
                      <a:lnTo>
                        <a:pt x="30" y="44"/>
                      </a:lnTo>
                      <a:lnTo>
                        <a:pt x="30" y="44"/>
                      </a:lnTo>
                      <a:lnTo>
                        <a:pt x="30" y="44"/>
                      </a:lnTo>
                      <a:lnTo>
                        <a:pt x="30" y="44"/>
                      </a:lnTo>
                      <a:lnTo>
                        <a:pt x="30" y="42"/>
                      </a:lnTo>
                      <a:lnTo>
                        <a:pt x="30" y="42"/>
                      </a:lnTo>
                      <a:lnTo>
                        <a:pt x="30" y="42"/>
                      </a:lnTo>
                      <a:lnTo>
                        <a:pt x="26" y="34"/>
                      </a:lnTo>
                      <a:lnTo>
                        <a:pt x="26" y="34"/>
                      </a:lnTo>
                      <a:lnTo>
                        <a:pt x="26" y="34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6" y="26"/>
                      </a:lnTo>
                      <a:lnTo>
                        <a:pt x="26" y="22"/>
                      </a:lnTo>
                      <a:lnTo>
                        <a:pt x="26" y="22"/>
                      </a:lnTo>
                      <a:lnTo>
                        <a:pt x="22" y="12"/>
                      </a:lnTo>
                      <a:lnTo>
                        <a:pt x="22" y="8"/>
                      </a:lnTo>
                      <a:lnTo>
                        <a:pt x="22" y="8"/>
                      </a:lnTo>
                      <a:lnTo>
                        <a:pt x="22" y="4"/>
                      </a:lnTo>
                      <a:lnTo>
                        <a:pt x="26" y="4"/>
                      </a:lnTo>
                      <a:lnTo>
                        <a:pt x="38" y="0"/>
                      </a:lnTo>
                      <a:lnTo>
                        <a:pt x="40" y="0"/>
                      </a:lnTo>
                      <a:lnTo>
                        <a:pt x="48" y="8"/>
                      </a:lnTo>
                      <a:lnTo>
                        <a:pt x="60" y="12"/>
                      </a:lnTo>
                      <a:lnTo>
                        <a:pt x="60" y="12"/>
                      </a:lnTo>
                      <a:lnTo>
                        <a:pt x="64" y="14"/>
                      </a:lnTo>
                      <a:lnTo>
                        <a:pt x="70" y="18"/>
                      </a:lnTo>
                      <a:lnTo>
                        <a:pt x="74" y="22"/>
                      </a:lnTo>
                      <a:lnTo>
                        <a:pt x="78" y="22"/>
                      </a:lnTo>
                      <a:lnTo>
                        <a:pt x="82" y="26"/>
                      </a:lnTo>
                      <a:lnTo>
                        <a:pt x="90" y="30"/>
                      </a:lnTo>
                      <a:lnTo>
                        <a:pt x="98" y="38"/>
                      </a:lnTo>
                      <a:lnTo>
                        <a:pt x="108" y="42"/>
                      </a:lnTo>
                      <a:lnTo>
                        <a:pt x="112" y="44"/>
                      </a:lnTo>
                      <a:lnTo>
                        <a:pt x="120" y="48"/>
                      </a:lnTo>
                      <a:lnTo>
                        <a:pt x="128" y="52"/>
                      </a:lnTo>
                      <a:lnTo>
                        <a:pt x="134" y="58"/>
                      </a:lnTo>
                      <a:lnTo>
                        <a:pt x="142" y="62"/>
                      </a:lnTo>
                      <a:lnTo>
                        <a:pt x="150" y="66"/>
                      </a:lnTo>
                      <a:lnTo>
                        <a:pt x="150" y="66"/>
                      </a:lnTo>
                      <a:lnTo>
                        <a:pt x="150" y="70"/>
                      </a:lnTo>
                      <a:lnTo>
                        <a:pt x="150" y="78"/>
                      </a:lnTo>
                      <a:lnTo>
                        <a:pt x="150" y="82"/>
                      </a:lnTo>
                      <a:lnTo>
                        <a:pt x="150" y="84"/>
                      </a:lnTo>
                      <a:lnTo>
                        <a:pt x="150" y="88"/>
                      </a:lnTo>
                      <a:lnTo>
                        <a:pt x="150" y="122"/>
                      </a:lnTo>
                      <a:lnTo>
                        <a:pt x="150" y="126"/>
                      </a:lnTo>
                      <a:lnTo>
                        <a:pt x="150" y="134"/>
                      </a:lnTo>
                      <a:lnTo>
                        <a:pt x="150" y="134"/>
                      </a:lnTo>
                      <a:lnTo>
                        <a:pt x="150" y="134"/>
                      </a:lnTo>
                      <a:lnTo>
                        <a:pt x="150" y="134"/>
                      </a:lnTo>
                      <a:lnTo>
                        <a:pt x="150" y="134"/>
                      </a:lnTo>
                      <a:lnTo>
                        <a:pt x="146" y="134"/>
                      </a:lnTo>
                      <a:lnTo>
                        <a:pt x="146" y="134"/>
                      </a:lnTo>
                      <a:lnTo>
                        <a:pt x="146" y="134"/>
                      </a:lnTo>
                      <a:lnTo>
                        <a:pt x="142" y="134"/>
                      </a:lnTo>
                      <a:lnTo>
                        <a:pt x="142" y="134"/>
                      </a:lnTo>
                      <a:lnTo>
                        <a:pt x="142" y="134"/>
                      </a:lnTo>
                      <a:lnTo>
                        <a:pt x="142" y="134"/>
                      </a:lnTo>
                      <a:lnTo>
                        <a:pt x="142" y="134"/>
                      </a:lnTo>
                      <a:lnTo>
                        <a:pt x="142" y="134"/>
                      </a:lnTo>
                      <a:lnTo>
                        <a:pt x="142" y="134"/>
                      </a:lnTo>
                      <a:lnTo>
                        <a:pt x="142" y="134"/>
                      </a:lnTo>
                      <a:lnTo>
                        <a:pt x="142" y="134"/>
                      </a:lnTo>
                      <a:lnTo>
                        <a:pt x="138" y="134"/>
                      </a:lnTo>
                      <a:lnTo>
                        <a:pt x="138" y="134"/>
                      </a:lnTo>
                      <a:lnTo>
                        <a:pt x="138" y="134"/>
                      </a:lnTo>
                      <a:lnTo>
                        <a:pt x="138" y="134"/>
                      </a:lnTo>
                      <a:lnTo>
                        <a:pt x="138" y="134"/>
                      </a:lnTo>
                      <a:lnTo>
                        <a:pt x="138" y="134"/>
                      </a:lnTo>
                      <a:lnTo>
                        <a:pt x="134" y="138"/>
                      </a:lnTo>
                      <a:lnTo>
                        <a:pt x="134" y="138"/>
                      </a:lnTo>
                      <a:lnTo>
                        <a:pt x="134" y="138"/>
                      </a:lnTo>
                      <a:lnTo>
                        <a:pt x="134" y="138"/>
                      </a:lnTo>
                      <a:lnTo>
                        <a:pt x="134" y="138"/>
                      </a:lnTo>
                      <a:lnTo>
                        <a:pt x="134" y="138"/>
                      </a:lnTo>
                      <a:lnTo>
                        <a:pt x="134" y="142"/>
                      </a:lnTo>
                      <a:lnTo>
                        <a:pt x="134" y="142"/>
                      </a:lnTo>
                      <a:lnTo>
                        <a:pt x="134" y="142"/>
                      </a:lnTo>
                      <a:lnTo>
                        <a:pt x="134" y="142"/>
                      </a:lnTo>
                      <a:lnTo>
                        <a:pt x="134" y="142"/>
                      </a:lnTo>
                      <a:lnTo>
                        <a:pt x="134" y="144"/>
                      </a:lnTo>
                      <a:lnTo>
                        <a:pt x="134" y="144"/>
                      </a:lnTo>
                      <a:lnTo>
                        <a:pt x="134" y="144"/>
                      </a:lnTo>
                      <a:lnTo>
                        <a:pt x="134" y="144"/>
                      </a:lnTo>
                      <a:lnTo>
                        <a:pt x="130" y="144"/>
                      </a:lnTo>
                      <a:lnTo>
                        <a:pt x="130" y="148"/>
                      </a:lnTo>
                      <a:lnTo>
                        <a:pt x="130" y="148"/>
                      </a:lnTo>
                      <a:lnTo>
                        <a:pt x="130" y="148"/>
                      </a:lnTo>
                      <a:lnTo>
                        <a:pt x="130" y="152"/>
                      </a:lnTo>
                      <a:lnTo>
                        <a:pt x="130" y="152"/>
                      </a:lnTo>
                      <a:lnTo>
                        <a:pt x="128" y="152"/>
                      </a:lnTo>
                      <a:lnTo>
                        <a:pt x="128" y="152"/>
                      </a:lnTo>
                      <a:lnTo>
                        <a:pt x="128" y="152"/>
                      </a:lnTo>
                      <a:lnTo>
                        <a:pt x="128" y="152"/>
                      </a:lnTo>
                      <a:lnTo>
                        <a:pt x="128" y="152"/>
                      </a:lnTo>
                      <a:lnTo>
                        <a:pt x="128" y="156"/>
                      </a:lnTo>
                      <a:lnTo>
                        <a:pt x="128" y="156"/>
                      </a:lnTo>
                      <a:lnTo>
                        <a:pt x="128" y="156"/>
                      </a:lnTo>
                      <a:lnTo>
                        <a:pt x="128" y="156"/>
                      </a:lnTo>
                      <a:lnTo>
                        <a:pt x="128" y="160"/>
                      </a:lnTo>
                      <a:lnTo>
                        <a:pt x="128" y="160"/>
                      </a:lnTo>
                      <a:lnTo>
                        <a:pt x="130" y="160"/>
                      </a:lnTo>
                      <a:lnTo>
                        <a:pt x="130" y="160"/>
                      </a:lnTo>
                      <a:lnTo>
                        <a:pt x="130" y="160"/>
                      </a:lnTo>
                      <a:lnTo>
                        <a:pt x="128" y="164"/>
                      </a:lnTo>
                      <a:lnTo>
                        <a:pt x="128" y="164"/>
                      </a:lnTo>
                      <a:lnTo>
                        <a:pt x="128" y="164"/>
                      </a:lnTo>
                      <a:lnTo>
                        <a:pt x="124" y="164"/>
                      </a:lnTo>
                      <a:lnTo>
                        <a:pt x="124" y="164"/>
                      </a:lnTo>
                      <a:lnTo>
                        <a:pt x="124" y="168"/>
                      </a:lnTo>
                      <a:lnTo>
                        <a:pt x="124" y="170"/>
                      </a:lnTo>
                      <a:lnTo>
                        <a:pt x="124" y="170"/>
                      </a:lnTo>
                      <a:lnTo>
                        <a:pt x="128" y="174"/>
                      </a:lnTo>
                      <a:lnTo>
                        <a:pt x="128" y="174"/>
                      </a:lnTo>
                      <a:lnTo>
                        <a:pt x="128" y="174"/>
                      </a:lnTo>
                      <a:lnTo>
                        <a:pt x="124" y="178"/>
                      </a:lnTo>
                      <a:lnTo>
                        <a:pt x="124" y="178"/>
                      </a:lnTo>
                      <a:lnTo>
                        <a:pt x="124" y="178"/>
                      </a:lnTo>
                      <a:lnTo>
                        <a:pt x="120" y="178"/>
                      </a:lnTo>
                      <a:lnTo>
                        <a:pt x="120" y="182"/>
                      </a:lnTo>
                      <a:lnTo>
                        <a:pt x="120" y="186"/>
                      </a:lnTo>
                      <a:lnTo>
                        <a:pt x="120" y="186"/>
                      </a:lnTo>
                      <a:lnTo>
                        <a:pt x="120" y="186"/>
                      </a:lnTo>
                      <a:lnTo>
                        <a:pt x="120" y="186"/>
                      </a:lnTo>
                      <a:lnTo>
                        <a:pt x="120" y="186"/>
                      </a:lnTo>
                      <a:lnTo>
                        <a:pt x="120" y="186"/>
                      </a:lnTo>
                      <a:lnTo>
                        <a:pt x="124" y="186"/>
                      </a:lnTo>
                      <a:lnTo>
                        <a:pt x="124" y="186"/>
                      </a:lnTo>
                      <a:lnTo>
                        <a:pt x="124" y="186"/>
                      </a:lnTo>
                      <a:lnTo>
                        <a:pt x="124" y="186"/>
                      </a:lnTo>
                      <a:lnTo>
                        <a:pt x="124" y="186"/>
                      </a:lnTo>
                      <a:lnTo>
                        <a:pt x="124" y="186"/>
                      </a:lnTo>
                      <a:lnTo>
                        <a:pt x="124" y="186"/>
                      </a:lnTo>
                      <a:lnTo>
                        <a:pt x="124" y="186"/>
                      </a:lnTo>
                      <a:lnTo>
                        <a:pt x="128" y="186"/>
                      </a:lnTo>
                      <a:lnTo>
                        <a:pt x="128" y="186"/>
                      </a:lnTo>
                      <a:lnTo>
                        <a:pt x="128" y="190"/>
                      </a:lnTo>
                      <a:lnTo>
                        <a:pt x="128" y="194"/>
                      </a:lnTo>
                      <a:lnTo>
                        <a:pt x="128" y="198"/>
                      </a:lnTo>
                      <a:lnTo>
                        <a:pt x="130" y="198"/>
                      </a:lnTo>
                      <a:lnTo>
                        <a:pt x="130" y="198"/>
                      </a:lnTo>
                      <a:lnTo>
                        <a:pt x="130" y="200"/>
                      </a:lnTo>
                      <a:lnTo>
                        <a:pt x="130" y="200"/>
                      </a:lnTo>
                      <a:lnTo>
                        <a:pt x="130" y="204"/>
                      </a:lnTo>
                      <a:lnTo>
                        <a:pt x="130" y="204"/>
                      </a:lnTo>
                      <a:lnTo>
                        <a:pt x="130" y="204"/>
                      </a:lnTo>
                      <a:lnTo>
                        <a:pt x="130" y="204"/>
                      </a:lnTo>
                      <a:lnTo>
                        <a:pt x="130" y="204"/>
                      </a:lnTo>
                      <a:lnTo>
                        <a:pt x="130" y="208"/>
                      </a:lnTo>
                      <a:lnTo>
                        <a:pt x="130" y="208"/>
                      </a:lnTo>
                      <a:lnTo>
                        <a:pt x="134" y="208"/>
                      </a:lnTo>
                      <a:lnTo>
                        <a:pt x="134" y="212"/>
                      </a:lnTo>
                      <a:lnTo>
                        <a:pt x="134" y="212"/>
                      </a:lnTo>
                      <a:lnTo>
                        <a:pt x="134" y="216"/>
                      </a:lnTo>
                      <a:lnTo>
                        <a:pt x="134" y="216"/>
                      </a:lnTo>
                      <a:lnTo>
                        <a:pt x="134" y="216"/>
                      </a:lnTo>
                      <a:lnTo>
                        <a:pt x="130" y="216"/>
                      </a:lnTo>
                      <a:lnTo>
                        <a:pt x="128" y="216"/>
                      </a:lnTo>
                      <a:lnTo>
                        <a:pt x="128" y="216"/>
                      </a:lnTo>
                      <a:lnTo>
                        <a:pt x="128" y="216"/>
                      </a:lnTo>
                      <a:lnTo>
                        <a:pt x="128" y="216"/>
                      </a:lnTo>
                      <a:lnTo>
                        <a:pt x="128" y="216"/>
                      </a:lnTo>
                      <a:lnTo>
                        <a:pt x="124" y="216"/>
                      </a:lnTo>
                      <a:lnTo>
                        <a:pt x="124" y="220"/>
                      </a:lnTo>
                      <a:lnTo>
                        <a:pt x="120" y="220"/>
                      </a:lnTo>
                      <a:lnTo>
                        <a:pt x="120" y="220"/>
                      </a:lnTo>
                      <a:lnTo>
                        <a:pt x="120" y="220"/>
                      </a:lnTo>
                      <a:lnTo>
                        <a:pt x="120" y="220"/>
                      </a:lnTo>
                      <a:lnTo>
                        <a:pt x="116" y="224"/>
                      </a:lnTo>
                      <a:lnTo>
                        <a:pt x="116" y="224"/>
                      </a:lnTo>
                      <a:lnTo>
                        <a:pt x="116" y="224"/>
                      </a:lnTo>
                      <a:lnTo>
                        <a:pt x="116" y="224"/>
                      </a:lnTo>
                      <a:lnTo>
                        <a:pt x="116" y="224"/>
                      </a:lnTo>
                      <a:lnTo>
                        <a:pt x="116" y="226"/>
                      </a:lnTo>
                      <a:lnTo>
                        <a:pt x="120" y="226"/>
                      </a:lnTo>
                      <a:lnTo>
                        <a:pt x="116" y="226"/>
                      </a:lnTo>
                      <a:lnTo>
                        <a:pt x="116" y="226"/>
                      </a:lnTo>
                      <a:lnTo>
                        <a:pt x="116" y="230"/>
                      </a:lnTo>
                      <a:lnTo>
                        <a:pt x="116" y="230"/>
                      </a:lnTo>
                      <a:lnTo>
                        <a:pt x="116" y="230"/>
                      </a:lnTo>
                      <a:lnTo>
                        <a:pt x="116" y="230"/>
                      </a:lnTo>
                      <a:lnTo>
                        <a:pt x="116" y="230"/>
                      </a:lnTo>
                      <a:lnTo>
                        <a:pt x="116" y="230"/>
                      </a:lnTo>
                      <a:lnTo>
                        <a:pt x="112" y="230"/>
                      </a:lnTo>
                      <a:lnTo>
                        <a:pt x="112" y="230"/>
                      </a:lnTo>
                      <a:lnTo>
                        <a:pt x="112" y="230"/>
                      </a:lnTo>
                      <a:lnTo>
                        <a:pt x="112" y="230"/>
                      </a:lnTo>
                      <a:lnTo>
                        <a:pt x="112" y="234"/>
                      </a:lnTo>
                      <a:lnTo>
                        <a:pt x="112" y="234"/>
                      </a:lnTo>
                      <a:lnTo>
                        <a:pt x="112" y="234"/>
                      </a:lnTo>
                      <a:lnTo>
                        <a:pt x="112" y="234"/>
                      </a:lnTo>
                      <a:lnTo>
                        <a:pt x="112" y="234"/>
                      </a:lnTo>
                      <a:lnTo>
                        <a:pt x="112" y="234"/>
                      </a:lnTo>
                      <a:lnTo>
                        <a:pt x="108" y="238"/>
                      </a:lnTo>
                      <a:lnTo>
                        <a:pt x="108" y="238"/>
                      </a:lnTo>
                      <a:lnTo>
                        <a:pt x="104" y="242"/>
                      </a:lnTo>
                      <a:lnTo>
                        <a:pt x="104" y="242"/>
                      </a:lnTo>
                      <a:lnTo>
                        <a:pt x="104" y="242"/>
                      </a:lnTo>
                      <a:lnTo>
                        <a:pt x="104" y="242"/>
                      </a:lnTo>
                      <a:lnTo>
                        <a:pt x="104" y="242"/>
                      </a:lnTo>
                      <a:lnTo>
                        <a:pt x="104" y="242"/>
                      </a:lnTo>
                      <a:lnTo>
                        <a:pt x="100" y="246"/>
                      </a:lnTo>
                      <a:lnTo>
                        <a:pt x="100" y="246"/>
                      </a:lnTo>
                      <a:lnTo>
                        <a:pt x="100" y="246"/>
                      </a:lnTo>
                      <a:lnTo>
                        <a:pt x="100" y="246"/>
                      </a:lnTo>
                      <a:lnTo>
                        <a:pt x="100" y="250"/>
                      </a:lnTo>
                      <a:lnTo>
                        <a:pt x="98" y="250"/>
                      </a:lnTo>
                      <a:lnTo>
                        <a:pt x="98" y="250"/>
                      </a:lnTo>
                      <a:lnTo>
                        <a:pt x="98" y="250"/>
                      </a:lnTo>
                      <a:lnTo>
                        <a:pt x="98" y="250"/>
                      </a:lnTo>
                      <a:lnTo>
                        <a:pt x="94" y="250"/>
                      </a:lnTo>
                      <a:lnTo>
                        <a:pt x="94" y="250"/>
                      </a:lnTo>
                      <a:lnTo>
                        <a:pt x="94" y="250"/>
                      </a:lnTo>
                      <a:lnTo>
                        <a:pt x="94" y="250"/>
                      </a:lnTo>
                      <a:lnTo>
                        <a:pt x="90" y="250"/>
                      </a:lnTo>
                      <a:lnTo>
                        <a:pt x="86" y="250"/>
                      </a:lnTo>
                      <a:lnTo>
                        <a:pt x="86" y="250"/>
                      </a:lnTo>
                      <a:lnTo>
                        <a:pt x="82" y="250"/>
                      </a:lnTo>
                      <a:lnTo>
                        <a:pt x="82" y="250"/>
                      </a:lnTo>
                      <a:lnTo>
                        <a:pt x="78" y="250"/>
                      </a:lnTo>
                      <a:lnTo>
                        <a:pt x="78" y="250"/>
                      </a:lnTo>
                      <a:lnTo>
                        <a:pt x="78" y="250"/>
                      </a:lnTo>
                      <a:lnTo>
                        <a:pt x="78" y="254"/>
                      </a:lnTo>
                      <a:lnTo>
                        <a:pt x="78" y="254"/>
                      </a:lnTo>
                      <a:lnTo>
                        <a:pt x="78" y="254"/>
                      </a:lnTo>
                      <a:lnTo>
                        <a:pt x="78" y="254"/>
                      </a:lnTo>
                      <a:lnTo>
                        <a:pt x="78" y="254"/>
                      </a:lnTo>
                      <a:lnTo>
                        <a:pt x="78" y="254"/>
                      </a:lnTo>
                      <a:lnTo>
                        <a:pt x="78" y="254"/>
                      </a:lnTo>
                      <a:lnTo>
                        <a:pt x="82" y="256"/>
                      </a:lnTo>
                      <a:lnTo>
                        <a:pt x="82" y="256"/>
                      </a:lnTo>
                      <a:lnTo>
                        <a:pt x="78" y="256"/>
                      </a:lnTo>
                      <a:lnTo>
                        <a:pt x="78" y="256"/>
                      </a:lnTo>
                      <a:lnTo>
                        <a:pt x="78" y="260"/>
                      </a:lnTo>
                      <a:lnTo>
                        <a:pt x="78" y="260"/>
                      </a:lnTo>
                      <a:lnTo>
                        <a:pt x="78" y="260"/>
                      </a:lnTo>
                      <a:lnTo>
                        <a:pt x="78" y="260"/>
                      </a:lnTo>
                      <a:lnTo>
                        <a:pt x="74" y="260"/>
                      </a:lnTo>
                      <a:lnTo>
                        <a:pt x="74" y="264"/>
                      </a:lnTo>
                      <a:lnTo>
                        <a:pt x="74" y="264"/>
                      </a:lnTo>
                      <a:lnTo>
                        <a:pt x="74" y="264"/>
                      </a:lnTo>
                      <a:lnTo>
                        <a:pt x="74" y="264"/>
                      </a:lnTo>
                      <a:lnTo>
                        <a:pt x="74" y="264"/>
                      </a:lnTo>
                      <a:lnTo>
                        <a:pt x="74" y="264"/>
                      </a:lnTo>
                      <a:lnTo>
                        <a:pt x="74" y="264"/>
                      </a:lnTo>
                      <a:lnTo>
                        <a:pt x="74" y="264"/>
                      </a:lnTo>
                      <a:lnTo>
                        <a:pt x="74" y="268"/>
                      </a:lnTo>
                      <a:lnTo>
                        <a:pt x="74" y="268"/>
                      </a:lnTo>
                      <a:lnTo>
                        <a:pt x="70" y="268"/>
                      </a:lnTo>
                      <a:lnTo>
                        <a:pt x="70" y="268"/>
                      </a:lnTo>
                      <a:lnTo>
                        <a:pt x="68" y="268"/>
                      </a:lnTo>
                      <a:lnTo>
                        <a:pt x="64" y="268"/>
                      </a:lnTo>
                      <a:lnTo>
                        <a:pt x="64" y="268"/>
                      </a:lnTo>
                      <a:lnTo>
                        <a:pt x="60" y="268"/>
                      </a:lnTo>
                      <a:lnTo>
                        <a:pt x="60" y="268"/>
                      </a:lnTo>
                      <a:lnTo>
                        <a:pt x="60" y="268"/>
                      </a:lnTo>
                      <a:lnTo>
                        <a:pt x="60" y="268"/>
                      </a:lnTo>
                      <a:lnTo>
                        <a:pt x="56" y="268"/>
                      </a:lnTo>
                      <a:lnTo>
                        <a:pt x="56" y="268"/>
                      </a:lnTo>
                      <a:lnTo>
                        <a:pt x="56" y="268"/>
                      </a:lnTo>
                      <a:lnTo>
                        <a:pt x="52" y="272"/>
                      </a:lnTo>
                      <a:lnTo>
                        <a:pt x="52" y="272"/>
                      </a:lnTo>
                      <a:lnTo>
                        <a:pt x="52" y="272"/>
                      </a:lnTo>
                      <a:lnTo>
                        <a:pt x="52" y="272"/>
                      </a:lnTo>
                      <a:lnTo>
                        <a:pt x="52" y="272"/>
                      </a:lnTo>
                      <a:lnTo>
                        <a:pt x="48" y="272"/>
                      </a:lnTo>
                      <a:lnTo>
                        <a:pt x="48" y="272"/>
                      </a:lnTo>
                      <a:lnTo>
                        <a:pt x="48" y="276"/>
                      </a:lnTo>
                      <a:lnTo>
                        <a:pt x="48" y="276"/>
                      </a:lnTo>
                      <a:lnTo>
                        <a:pt x="48" y="276"/>
                      </a:lnTo>
                      <a:lnTo>
                        <a:pt x="48" y="276"/>
                      </a:lnTo>
                      <a:lnTo>
                        <a:pt x="48" y="276"/>
                      </a:lnTo>
                      <a:lnTo>
                        <a:pt x="48" y="276"/>
                      </a:lnTo>
                      <a:lnTo>
                        <a:pt x="44" y="272"/>
                      </a:lnTo>
                      <a:lnTo>
                        <a:pt x="44" y="272"/>
                      </a:lnTo>
                      <a:lnTo>
                        <a:pt x="44" y="268"/>
                      </a:lnTo>
                      <a:lnTo>
                        <a:pt x="44" y="268"/>
                      </a:lnTo>
                      <a:lnTo>
                        <a:pt x="44" y="268"/>
                      </a:lnTo>
                      <a:lnTo>
                        <a:pt x="40" y="272"/>
                      </a:lnTo>
                      <a:lnTo>
                        <a:pt x="40" y="272"/>
                      </a:lnTo>
                      <a:lnTo>
                        <a:pt x="40" y="272"/>
                      </a:lnTo>
                      <a:lnTo>
                        <a:pt x="40" y="272"/>
                      </a:lnTo>
                      <a:lnTo>
                        <a:pt x="40" y="276"/>
                      </a:lnTo>
                      <a:lnTo>
                        <a:pt x="38" y="276"/>
                      </a:lnTo>
                      <a:lnTo>
                        <a:pt x="38" y="276"/>
                      </a:lnTo>
                      <a:lnTo>
                        <a:pt x="38" y="276"/>
                      </a:lnTo>
                      <a:lnTo>
                        <a:pt x="38" y="276"/>
                      </a:lnTo>
                      <a:lnTo>
                        <a:pt x="38" y="276"/>
                      </a:lnTo>
                      <a:lnTo>
                        <a:pt x="38" y="276"/>
                      </a:lnTo>
                      <a:lnTo>
                        <a:pt x="34" y="276"/>
                      </a:lnTo>
                      <a:lnTo>
                        <a:pt x="34" y="276"/>
                      </a:lnTo>
                      <a:lnTo>
                        <a:pt x="34" y="276"/>
                      </a:lnTo>
                      <a:lnTo>
                        <a:pt x="34" y="276"/>
                      </a:lnTo>
                      <a:lnTo>
                        <a:pt x="34" y="276"/>
                      </a:lnTo>
                      <a:lnTo>
                        <a:pt x="30" y="276"/>
                      </a:lnTo>
                      <a:lnTo>
                        <a:pt x="30" y="276"/>
                      </a:lnTo>
                      <a:lnTo>
                        <a:pt x="30" y="276"/>
                      </a:lnTo>
                      <a:lnTo>
                        <a:pt x="30" y="276"/>
                      </a:lnTo>
                      <a:lnTo>
                        <a:pt x="30" y="276"/>
                      </a:lnTo>
                      <a:lnTo>
                        <a:pt x="30" y="276"/>
                      </a:lnTo>
                      <a:lnTo>
                        <a:pt x="30" y="276"/>
                      </a:lnTo>
                      <a:lnTo>
                        <a:pt x="30" y="276"/>
                      </a:lnTo>
                      <a:lnTo>
                        <a:pt x="30" y="272"/>
                      </a:lnTo>
                      <a:lnTo>
                        <a:pt x="30" y="272"/>
                      </a:lnTo>
                      <a:lnTo>
                        <a:pt x="30" y="272"/>
                      </a:lnTo>
                      <a:lnTo>
                        <a:pt x="30" y="272"/>
                      </a:lnTo>
                      <a:lnTo>
                        <a:pt x="30" y="272"/>
                      </a:lnTo>
                      <a:lnTo>
                        <a:pt x="30" y="272"/>
                      </a:lnTo>
                      <a:lnTo>
                        <a:pt x="30" y="272"/>
                      </a:lnTo>
                      <a:lnTo>
                        <a:pt x="30" y="268"/>
                      </a:lnTo>
                      <a:lnTo>
                        <a:pt x="30" y="268"/>
                      </a:lnTo>
                      <a:lnTo>
                        <a:pt x="26" y="268"/>
                      </a:lnTo>
                      <a:lnTo>
                        <a:pt x="26" y="264"/>
                      </a:lnTo>
                      <a:lnTo>
                        <a:pt x="26" y="264"/>
                      </a:lnTo>
                      <a:lnTo>
                        <a:pt x="26" y="264"/>
                      </a:lnTo>
                      <a:lnTo>
                        <a:pt x="26" y="264"/>
                      </a:lnTo>
                      <a:lnTo>
                        <a:pt x="26" y="260"/>
                      </a:lnTo>
                      <a:lnTo>
                        <a:pt x="26" y="260"/>
                      </a:lnTo>
                      <a:lnTo>
                        <a:pt x="26" y="260"/>
                      </a:lnTo>
                      <a:lnTo>
                        <a:pt x="22" y="256"/>
                      </a:lnTo>
                      <a:lnTo>
                        <a:pt x="22" y="254"/>
                      </a:lnTo>
                      <a:lnTo>
                        <a:pt x="18" y="254"/>
                      </a:lnTo>
                      <a:lnTo>
                        <a:pt x="18" y="254"/>
                      </a:lnTo>
                      <a:lnTo>
                        <a:pt x="18" y="254"/>
                      </a:lnTo>
                      <a:lnTo>
                        <a:pt x="14" y="250"/>
                      </a:lnTo>
                      <a:lnTo>
                        <a:pt x="14" y="250"/>
                      </a:lnTo>
                      <a:lnTo>
                        <a:pt x="12" y="246"/>
                      </a:lnTo>
                      <a:lnTo>
                        <a:pt x="12" y="246"/>
                      </a:lnTo>
                      <a:lnTo>
                        <a:pt x="12" y="246"/>
                      </a:lnTo>
                      <a:lnTo>
                        <a:pt x="8" y="238"/>
                      </a:lnTo>
                      <a:lnTo>
                        <a:pt x="8" y="238"/>
                      </a:lnTo>
                      <a:lnTo>
                        <a:pt x="8" y="238"/>
                      </a:lnTo>
                      <a:lnTo>
                        <a:pt x="8" y="238"/>
                      </a:lnTo>
                      <a:lnTo>
                        <a:pt x="8" y="238"/>
                      </a:lnTo>
                      <a:lnTo>
                        <a:pt x="8" y="238"/>
                      </a:lnTo>
                      <a:lnTo>
                        <a:pt x="8" y="238"/>
                      </a:lnTo>
                      <a:lnTo>
                        <a:pt x="12" y="234"/>
                      </a:lnTo>
                      <a:lnTo>
                        <a:pt x="12" y="234"/>
                      </a:lnTo>
                      <a:lnTo>
                        <a:pt x="12" y="234"/>
                      </a:lnTo>
                      <a:lnTo>
                        <a:pt x="12" y="234"/>
                      </a:lnTo>
                      <a:lnTo>
                        <a:pt x="12" y="234"/>
                      </a:lnTo>
                      <a:lnTo>
                        <a:pt x="12" y="234"/>
                      </a:lnTo>
                      <a:lnTo>
                        <a:pt x="12" y="23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91" name="Freeform 137"/>
                <p:cNvSpPr>
                  <a:spLocks noEditPoints="1"/>
                </p:cNvSpPr>
                <p:nvPr/>
              </p:nvSpPr>
              <p:spPr bwMode="auto">
                <a:xfrm>
                  <a:off x="5365750" y="4870518"/>
                  <a:ext cx="28575" cy="22225"/>
                </a:xfrm>
                <a:custGeom>
                  <a:avLst/>
                  <a:gdLst>
                    <a:gd name="T0" fmla="*/ 2 w 18"/>
                    <a:gd name="T1" fmla="*/ 8 h 14"/>
                    <a:gd name="T2" fmla="*/ 0 w 18"/>
                    <a:gd name="T3" fmla="*/ 8 h 14"/>
                    <a:gd name="T4" fmla="*/ 0 w 18"/>
                    <a:gd name="T5" fmla="*/ 8 h 14"/>
                    <a:gd name="T6" fmla="*/ 0 w 18"/>
                    <a:gd name="T7" fmla="*/ 4 h 14"/>
                    <a:gd name="T8" fmla="*/ 0 w 18"/>
                    <a:gd name="T9" fmla="*/ 4 h 14"/>
                    <a:gd name="T10" fmla="*/ 0 w 18"/>
                    <a:gd name="T11" fmla="*/ 4 h 14"/>
                    <a:gd name="T12" fmla="*/ 0 w 18"/>
                    <a:gd name="T13" fmla="*/ 0 h 14"/>
                    <a:gd name="T14" fmla="*/ 0 w 18"/>
                    <a:gd name="T15" fmla="*/ 0 h 14"/>
                    <a:gd name="T16" fmla="*/ 0 w 18"/>
                    <a:gd name="T17" fmla="*/ 0 h 14"/>
                    <a:gd name="T18" fmla="*/ 0 w 18"/>
                    <a:gd name="T19" fmla="*/ 0 h 14"/>
                    <a:gd name="T20" fmla="*/ 2 w 18"/>
                    <a:gd name="T21" fmla="*/ 0 h 14"/>
                    <a:gd name="T22" fmla="*/ 2 w 18"/>
                    <a:gd name="T23" fmla="*/ 0 h 14"/>
                    <a:gd name="T24" fmla="*/ 2 w 18"/>
                    <a:gd name="T25" fmla="*/ 0 h 14"/>
                    <a:gd name="T26" fmla="*/ 2 w 18"/>
                    <a:gd name="T27" fmla="*/ 4 h 14"/>
                    <a:gd name="T28" fmla="*/ 2 w 18"/>
                    <a:gd name="T29" fmla="*/ 4 h 14"/>
                    <a:gd name="T30" fmla="*/ 2 w 18"/>
                    <a:gd name="T31" fmla="*/ 8 h 14"/>
                    <a:gd name="T32" fmla="*/ 2 w 18"/>
                    <a:gd name="T33" fmla="*/ 8 h 14"/>
                    <a:gd name="T34" fmla="*/ 2 w 18"/>
                    <a:gd name="T35" fmla="*/ 8 h 14"/>
                    <a:gd name="T36" fmla="*/ 18 w 18"/>
                    <a:gd name="T37" fmla="*/ 14 h 14"/>
                    <a:gd name="T38" fmla="*/ 18 w 18"/>
                    <a:gd name="T39" fmla="*/ 14 h 14"/>
                    <a:gd name="T40" fmla="*/ 14 w 18"/>
                    <a:gd name="T41" fmla="*/ 14 h 14"/>
                    <a:gd name="T42" fmla="*/ 14 w 18"/>
                    <a:gd name="T43" fmla="*/ 14 h 14"/>
                    <a:gd name="T44" fmla="*/ 14 w 18"/>
                    <a:gd name="T45" fmla="*/ 14 h 14"/>
                    <a:gd name="T46" fmla="*/ 14 w 18"/>
                    <a:gd name="T47" fmla="*/ 10 h 14"/>
                    <a:gd name="T48" fmla="*/ 14 w 18"/>
                    <a:gd name="T49" fmla="*/ 10 h 14"/>
                    <a:gd name="T50" fmla="*/ 14 w 18"/>
                    <a:gd name="T51" fmla="*/ 14 h 14"/>
                    <a:gd name="T52" fmla="*/ 14 w 18"/>
                    <a:gd name="T53" fmla="*/ 10 h 14"/>
                    <a:gd name="T54" fmla="*/ 18 w 18"/>
                    <a:gd name="T55" fmla="*/ 10 h 14"/>
                    <a:gd name="T56" fmla="*/ 18 w 18"/>
                    <a:gd name="T57" fmla="*/ 10 h 14"/>
                    <a:gd name="T58" fmla="*/ 18 w 18"/>
                    <a:gd name="T59" fmla="*/ 10 h 14"/>
                    <a:gd name="T60" fmla="*/ 18 w 18"/>
                    <a:gd name="T61" fmla="*/ 10 h 14"/>
                    <a:gd name="T62" fmla="*/ 18 w 18"/>
                    <a:gd name="T63" fmla="*/ 10 h 14"/>
                    <a:gd name="T64" fmla="*/ 18 w 18"/>
                    <a:gd name="T65" fmla="*/ 14 h 14"/>
                    <a:gd name="T66" fmla="*/ 18 w 18"/>
                    <a:gd name="T67" fmla="*/ 14 h 14"/>
                    <a:gd name="T68" fmla="*/ 18 w 18"/>
                    <a:gd name="T69" fmla="*/ 14 h 14"/>
                    <a:gd name="T70" fmla="*/ 6 w 18"/>
                    <a:gd name="T71" fmla="*/ 14 h 14"/>
                    <a:gd name="T72" fmla="*/ 6 w 18"/>
                    <a:gd name="T73" fmla="*/ 14 h 14"/>
                    <a:gd name="T74" fmla="*/ 6 w 18"/>
                    <a:gd name="T75" fmla="*/ 14 h 14"/>
                    <a:gd name="T76" fmla="*/ 6 w 18"/>
                    <a:gd name="T77" fmla="*/ 14 h 14"/>
                    <a:gd name="T78" fmla="*/ 6 w 18"/>
                    <a:gd name="T79" fmla="*/ 14 h 14"/>
                    <a:gd name="T80" fmla="*/ 6 w 18"/>
                    <a:gd name="T81" fmla="*/ 14 h 14"/>
                    <a:gd name="T82" fmla="*/ 6 w 18"/>
                    <a:gd name="T83" fmla="*/ 14 h 14"/>
                    <a:gd name="T84" fmla="*/ 6 w 18"/>
                    <a:gd name="T85" fmla="*/ 14 h 14"/>
                    <a:gd name="T86" fmla="*/ 6 w 18"/>
                    <a:gd name="T87" fmla="*/ 14 h 14"/>
                    <a:gd name="T88" fmla="*/ 6 w 18"/>
                    <a:gd name="T89" fmla="*/ 14 h 14"/>
                    <a:gd name="T90" fmla="*/ 6 w 18"/>
                    <a:gd name="T91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8" h="14">
                      <a:moveTo>
                        <a:pt x="2" y="8"/>
                      </a:moveTo>
                      <a:lnTo>
                        <a:pt x="2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8"/>
                      </a:lnTo>
                      <a:lnTo>
                        <a:pt x="2" y="8"/>
                      </a:lnTo>
                      <a:close/>
                      <a:moveTo>
                        <a:pt x="18" y="14"/>
                      </a:moveTo>
                      <a:lnTo>
                        <a:pt x="18" y="14"/>
                      </a:lnTo>
                      <a:lnTo>
                        <a:pt x="18" y="14"/>
                      </a:lnTo>
                      <a:lnTo>
                        <a:pt x="18" y="14"/>
                      </a:lnTo>
                      <a:lnTo>
                        <a:pt x="14" y="14"/>
                      </a:lnTo>
                      <a:lnTo>
                        <a:pt x="14" y="14"/>
                      </a:lnTo>
                      <a:lnTo>
                        <a:pt x="14" y="14"/>
                      </a:lnTo>
                      <a:lnTo>
                        <a:pt x="14" y="14"/>
                      </a:lnTo>
                      <a:lnTo>
                        <a:pt x="14" y="14"/>
                      </a:lnTo>
                      <a:lnTo>
                        <a:pt x="14" y="14"/>
                      </a:lnTo>
                      <a:lnTo>
                        <a:pt x="14" y="10"/>
                      </a:lnTo>
                      <a:lnTo>
                        <a:pt x="14" y="10"/>
                      </a:lnTo>
                      <a:lnTo>
                        <a:pt x="14" y="10"/>
                      </a:lnTo>
                      <a:lnTo>
                        <a:pt x="14" y="14"/>
                      </a:lnTo>
                      <a:lnTo>
                        <a:pt x="14" y="14"/>
                      </a:lnTo>
                      <a:lnTo>
                        <a:pt x="14" y="14"/>
                      </a:lnTo>
                      <a:lnTo>
                        <a:pt x="14" y="10"/>
                      </a:lnTo>
                      <a:lnTo>
                        <a:pt x="14" y="10"/>
                      </a:lnTo>
                      <a:lnTo>
                        <a:pt x="18" y="10"/>
                      </a:lnTo>
                      <a:lnTo>
                        <a:pt x="18" y="10"/>
                      </a:lnTo>
                      <a:lnTo>
                        <a:pt x="18" y="10"/>
                      </a:lnTo>
                      <a:lnTo>
                        <a:pt x="18" y="10"/>
                      </a:lnTo>
                      <a:lnTo>
                        <a:pt x="18" y="10"/>
                      </a:lnTo>
                      <a:lnTo>
                        <a:pt x="18" y="10"/>
                      </a:lnTo>
                      <a:lnTo>
                        <a:pt x="18" y="10"/>
                      </a:lnTo>
                      <a:lnTo>
                        <a:pt x="18" y="10"/>
                      </a:lnTo>
                      <a:lnTo>
                        <a:pt x="18" y="10"/>
                      </a:lnTo>
                      <a:lnTo>
                        <a:pt x="18" y="14"/>
                      </a:lnTo>
                      <a:lnTo>
                        <a:pt x="18" y="14"/>
                      </a:lnTo>
                      <a:lnTo>
                        <a:pt x="18" y="14"/>
                      </a:lnTo>
                      <a:lnTo>
                        <a:pt x="18" y="14"/>
                      </a:lnTo>
                      <a:lnTo>
                        <a:pt x="18" y="14"/>
                      </a:lnTo>
                      <a:lnTo>
                        <a:pt x="18" y="14"/>
                      </a:lnTo>
                      <a:lnTo>
                        <a:pt x="18" y="14"/>
                      </a:lnTo>
                      <a:close/>
                      <a:moveTo>
                        <a:pt x="6" y="14"/>
                      </a:move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6" y="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92" name="Freeform 138"/>
                <p:cNvSpPr>
                  <a:spLocks/>
                </p:cNvSpPr>
                <p:nvPr/>
              </p:nvSpPr>
              <p:spPr bwMode="auto">
                <a:xfrm>
                  <a:off x="4641850" y="4454593"/>
                  <a:ext cx="171450" cy="238125"/>
                </a:xfrm>
                <a:custGeom>
                  <a:avLst/>
                  <a:gdLst>
                    <a:gd name="T0" fmla="*/ 64 w 108"/>
                    <a:gd name="T1" fmla="*/ 138 h 150"/>
                    <a:gd name="T2" fmla="*/ 56 w 108"/>
                    <a:gd name="T3" fmla="*/ 146 h 150"/>
                    <a:gd name="T4" fmla="*/ 48 w 108"/>
                    <a:gd name="T5" fmla="*/ 150 h 150"/>
                    <a:gd name="T6" fmla="*/ 48 w 108"/>
                    <a:gd name="T7" fmla="*/ 138 h 150"/>
                    <a:gd name="T8" fmla="*/ 38 w 108"/>
                    <a:gd name="T9" fmla="*/ 142 h 150"/>
                    <a:gd name="T10" fmla="*/ 34 w 108"/>
                    <a:gd name="T11" fmla="*/ 150 h 150"/>
                    <a:gd name="T12" fmla="*/ 30 w 108"/>
                    <a:gd name="T13" fmla="*/ 146 h 150"/>
                    <a:gd name="T14" fmla="*/ 22 w 108"/>
                    <a:gd name="T15" fmla="*/ 142 h 150"/>
                    <a:gd name="T16" fmla="*/ 16 w 108"/>
                    <a:gd name="T17" fmla="*/ 150 h 150"/>
                    <a:gd name="T18" fmla="*/ 12 w 108"/>
                    <a:gd name="T19" fmla="*/ 142 h 150"/>
                    <a:gd name="T20" fmla="*/ 4 w 108"/>
                    <a:gd name="T21" fmla="*/ 138 h 150"/>
                    <a:gd name="T22" fmla="*/ 0 w 108"/>
                    <a:gd name="T23" fmla="*/ 130 h 150"/>
                    <a:gd name="T24" fmla="*/ 12 w 108"/>
                    <a:gd name="T25" fmla="*/ 128 h 150"/>
                    <a:gd name="T26" fmla="*/ 8 w 108"/>
                    <a:gd name="T27" fmla="*/ 120 h 150"/>
                    <a:gd name="T28" fmla="*/ 8 w 108"/>
                    <a:gd name="T29" fmla="*/ 116 h 150"/>
                    <a:gd name="T30" fmla="*/ 8 w 108"/>
                    <a:gd name="T31" fmla="*/ 106 h 150"/>
                    <a:gd name="T32" fmla="*/ 16 w 108"/>
                    <a:gd name="T33" fmla="*/ 106 h 150"/>
                    <a:gd name="T34" fmla="*/ 18 w 108"/>
                    <a:gd name="T35" fmla="*/ 102 h 150"/>
                    <a:gd name="T36" fmla="*/ 26 w 108"/>
                    <a:gd name="T37" fmla="*/ 98 h 150"/>
                    <a:gd name="T38" fmla="*/ 30 w 108"/>
                    <a:gd name="T39" fmla="*/ 106 h 150"/>
                    <a:gd name="T40" fmla="*/ 38 w 108"/>
                    <a:gd name="T41" fmla="*/ 106 h 150"/>
                    <a:gd name="T42" fmla="*/ 42 w 108"/>
                    <a:gd name="T43" fmla="*/ 110 h 150"/>
                    <a:gd name="T44" fmla="*/ 46 w 108"/>
                    <a:gd name="T45" fmla="*/ 102 h 150"/>
                    <a:gd name="T46" fmla="*/ 48 w 108"/>
                    <a:gd name="T47" fmla="*/ 94 h 150"/>
                    <a:gd name="T48" fmla="*/ 48 w 108"/>
                    <a:gd name="T49" fmla="*/ 84 h 150"/>
                    <a:gd name="T50" fmla="*/ 46 w 108"/>
                    <a:gd name="T51" fmla="*/ 76 h 150"/>
                    <a:gd name="T52" fmla="*/ 42 w 108"/>
                    <a:gd name="T53" fmla="*/ 68 h 150"/>
                    <a:gd name="T54" fmla="*/ 42 w 108"/>
                    <a:gd name="T55" fmla="*/ 58 h 150"/>
                    <a:gd name="T56" fmla="*/ 48 w 108"/>
                    <a:gd name="T57" fmla="*/ 50 h 150"/>
                    <a:gd name="T58" fmla="*/ 42 w 108"/>
                    <a:gd name="T59" fmla="*/ 42 h 150"/>
                    <a:gd name="T60" fmla="*/ 34 w 108"/>
                    <a:gd name="T61" fmla="*/ 46 h 150"/>
                    <a:gd name="T62" fmla="*/ 30 w 108"/>
                    <a:gd name="T63" fmla="*/ 38 h 150"/>
                    <a:gd name="T64" fmla="*/ 38 w 108"/>
                    <a:gd name="T65" fmla="*/ 30 h 150"/>
                    <a:gd name="T66" fmla="*/ 52 w 108"/>
                    <a:gd name="T67" fmla="*/ 30 h 150"/>
                    <a:gd name="T68" fmla="*/ 64 w 108"/>
                    <a:gd name="T69" fmla="*/ 30 h 150"/>
                    <a:gd name="T70" fmla="*/ 72 w 108"/>
                    <a:gd name="T71" fmla="*/ 34 h 150"/>
                    <a:gd name="T72" fmla="*/ 72 w 108"/>
                    <a:gd name="T73" fmla="*/ 30 h 150"/>
                    <a:gd name="T74" fmla="*/ 74 w 108"/>
                    <a:gd name="T75" fmla="*/ 24 h 150"/>
                    <a:gd name="T76" fmla="*/ 78 w 108"/>
                    <a:gd name="T77" fmla="*/ 16 h 150"/>
                    <a:gd name="T78" fmla="*/ 78 w 108"/>
                    <a:gd name="T79" fmla="*/ 8 h 150"/>
                    <a:gd name="T80" fmla="*/ 86 w 108"/>
                    <a:gd name="T81" fmla="*/ 4 h 150"/>
                    <a:gd name="T82" fmla="*/ 90 w 108"/>
                    <a:gd name="T83" fmla="*/ 4 h 150"/>
                    <a:gd name="T84" fmla="*/ 102 w 108"/>
                    <a:gd name="T85" fmla="*/ 4 h 150"/>
                    <a:gd name="T86" fmla="*/ 104 w 108"/>
                    <a:gd name="T87" fmla="*/ 4 h 150"/>
                    <a:gd name="T88" fmla="*/ 108 w 108"/>
                    <a:gd name="T89" fmla="*/ 12 h 150"/>
                    <a:gd name="T90" fmla="*/ 104 w 108"/>
                    <a:gd name="T91" fmla="*/ 20 h 150"/>
                    <a:gd name="T92" fmla="*/ 102 w 108"/>
                    <a:gd name="T93" fmla="*/ 28 h 150"/>
                    <a:gd name="T94" fmla="*/ 102 w 108"/>
                    <a:gd name="T95" fmla="*/ 38 h 150"/>
                    <a:gd name="T96" fmla="*/ 98 w 108"/>
                    <a:gd name="T97" fmla="*/ 54 h 150"/>
                    <a:gd name="T98" fmla="*/ 98 w 108"/>
                    <a:gd name="T99" fmla="*/ 64 h 150"/>
                    <a:gd name="T100" fmla="*/ 94 w 108"/>
                    <a:gd name="T101" fmla="*/ 72 h 150"/>
                    <a:gd name="T102" fmla="*/ 90 w 108"/>
                    <a:gd name="T103" fmla="*/ 84 h 150"/>
                    <a:gd name="T104" fmla="*/ 82 w 108"/>
                    <a:gd name="T105" fmla="*/ 90 h 150"/>
                    <a:gd name="T106" fmla="*/ 78 w 108"/>
                    <a:gd name="T107" fmla="*/ 98 h 150"/>
                    <a:gd name="T108" fmla="*/ 72 w 108"/>
                    <a:gd name="T109" fmla="*/ 102 h 150"/>
                    <a:gd name="T110" fmla="*/ 74 w 108"/>
                    <a:gd name="T111" fmla="*/ 114 h 150"/>
                    <a:gd name="T112" fmla="*/ 72 w 108"/>
                    <a:gd name="T113" fmla="*/ 120 h 150"/>
                    <a:gd name="T114" fmla="*/ 72 w 108"/>
                    <a:gd name="T115" fmla="*/ 128 h 150"/>
                    <a:gd name="T116" fmla="*/ 68 w 108"/>
                    <a:gd name="T117" fmla="*/ 134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08" h="150">
                      <a:moveTo>
                        <a:pt x="68" y="134"/>
                      </a:moveTo>
                      <a:lnTo>
                        <a:pt x="64" y="134"/>
                      </a:lnTo>
                      <a:lnTo>
                        <a:pt x="64" y="138"/>
                      </a:lnTo>
                      <a:lnTo>
                        <a:pt x="60" y="138"/>
                      </a:lnTo>
                      <a:lnTo>
                        <a:pt x="56" y="142"/>
                      </a:lnTo>
                      <a:lnTo>
                        <a:pt x="56" y="146"/>
                      </a:lnTo>
                      <a:lnTo>
                        <a:pt x="52" y="146"/>
                      </a:lnTo>
                      <a:lnTo>
                        <a:pt x="52" y="150"/>
                      </a:lnTo>
                      <a:lnTo>
                        <a:pt x="48" y="150"/>
                      </a:lnTo>
                      <a:lnTo>
                        <a:pt x="48" y="146"/>
                      </a:lnTo>
                      <a:lnTo>
                        <a:pt x="48" y="142"/>
                      </a:lnTo>
                      <a:lnTo>
                        <a:pt x="48" y="138"/>
                      </a:lnTo>
                      <a:lnTo>
                        <a:pt x="46" y="138"/>
                      </a:lnTo>
                      <a:lnTo>
                        <a:pt x="42" y="142"/>
                      </a:lnTo>
                      <a:lnTo>
                        <a:pt x="38" y="142"/>
                      </a:lnTo>
                      <a:lnTo>
                        <a:pt x="38" y="146"/>
                      </a:lnTo>
                      <a:lnTo>
                        <a:pt x="34" y="146"/>
                      </a:lnTo>
                      <a:lnTo>
                        <a:pt x="34" y="150"/>
                      </a:lnTo>
                      <a:lnTo>
                        <a:pt x="30" y="146"/>
                      </a:lnTo>
                      <a:lnTo>
                        <a:pt x="30" y="142"/>
                      </a:lnTo>
                      <a:lnTo>
                        <a:pt x="30" y="146"/>
                      </a:lnTo>
                      <a:lnTo>
                        <a:pt x="26" y="146"/>
                      </a:lnTo>
                      <a:lnTo>
                        <a:pt x="26" y="142"/>
                      </a:lnTo>
                      <a:lnTo>
                        <a:pt x="22" y="142"/>
                      </a:lnTo>
                      <a:lnTo>
                        <a:pt x="18" y="146"/>
                      </a:lnTo>
                      <a:lnTo>
                        <a:pt x="16" y="146"/>
                      </a:lnTo>
                      <a:lnTo>
                        <a:pt x="16" y="150"/>
                      </a:lnTo>
                      <a:lnTo>
                        <a:pt x="12" y="150"/>
                      </a:lnTo>
                      <a:lnTo>
                        <a:pt x="12" y="146"/>
                      </a:lnTo>
                      <a:lnTo>
                        <a:pt x="12" y="142"/>
                      </a:lnTo>
                      <a:lnTo>
                        <a:pt x="8" y="142"/>
                      </a:lnTo>
                      <a:lnTo>
                        <a:pt x="8" y="138"/>
                      </a:lnTo>
                      <a:lnTo>
                        <a:pt x="4" y="138"/>
                      </a:lnTo>
                      <a:lnTo>
                        <a:pt x="4" y="134"/>
                      </a:lnTo>
                      <a:lnTo>
                        <a:pt x="0" y="134"/>
                      </a:lnTo>
                      <a:lnTo>
                        <a:pt x="0" y="130"/>
                      </a:lnTo>
                      <a:lnTo>
                        <a:pt x="4" y="128"/>
                      </a:lnTo>
                      <a:lnTo>
                        <a:pt x="8" y="128"/>
                      </a:lnTo>
                      <a:lnTo>
                        <a:pt x="12" y="128"/>
                      </a:lnTo>
                      <a:lnTo>
                        <a:pt x="12" y="124"/>
                      </a:lnTo>
                      <a:lnTo>
                        <a:pt x="12" y="120"/>
                      </a:lnTo>
                      <a:lnTo>
                        <a:pt x="8" y="120"/>
                      </a:lnTo>
                      <a:lnTo>
                        <a:pt x="12" y="116"/>
                      </a:lnTo>
                      <a:lnTo>
                        <a:pt x="8" y="114"/>
                      </a:lnTo>
                      <a:lnTo>
                        <a:pt x="8" y="116"/>
                      </a:lnTo>
                      <a:lnTo>
                        <a:pt x="8" y="114"/>
                      </a:lnTo>
                      <a:lnTo>
                        <a:pt x="8" y="110"/>
                      </a:lnTo>
                      <a:lnTo>
                        <a:pt x="8" y="106"/>
                      </a:lnTo>
                      <a:lnTo>
                        <a:pt x="12" y="110"/>
                      </a:lnTo>
                      <a:lnTo>
                        <a:pt x="12" y="106"/>
                      </a:lnTo>
                      <a:lnTo>
                        <a:pt x="16" y="106"/>
                      </a:lnTo>
                      <a:lnTo>
                        <a:pt x="16" y="110"/>
                      </a:lnTo>
                      <a:lnTo>
                        <a:pt x="18" y="106"/>
                      </a:lnTo>
                      <a:lnTo>
                        <a:pt x="18" y="102"/>
                      </a:lnTo>
                      <a:lnTo>
                        <a:pt x="18" y="98"/>
                      </a:lnTo>
                      <a:lnTo>
                        <a:pt x="22" y="98"/>
                      </a:lnTo>
                      <a:lnTo>
                        <a:pt x="26" y="98"/>
                      </a:lnTo>
                      <a:lnTo>
                        <a:pt x="26" y="102"/>
                      </a:lnTo>
                      <a:lnTo>
                        <a:pt x="26" y="106"/>
                      </a:lnTo>
                      <a:lnTo>
                        <a:pt x="30" y="106"/>
                      </a:lnTo>
                      <a:lnTo>
                        <a:pt x="34" y="110"/>
                      </a:lnTo>
                      <a:lnTo>
                        <a:pt x="34" y="106"/>
                      </a:lnTo>
                      <a:lnTo>
                        <a:pt x="38" y="106"/>
                      </a:lnTo>
                      <a:lnTo>
                        <a:pt x="38" y="102"/>
                      </a:lnTo>
                      <a:lnTo>
                        <a:pt x="42" y="106"/>
                      </a:lnTo>
                      <a:lnTo>
                        <a:pt x="42" y="110"/>
                      </a:lnTo>
                      <a:lnTo>
                        <a:pt x="46" y="110"/>
                      </a:lnTo>
                      <a:lnTo>
                        <a:pt x="46" y="106"/>
                      </a:lnTo>
                      <a:lnTo>
                        <a:pt x="46" y="102"/>
                      </a:lnTo>
                      <a:lnTo>
                        <a:pt x="46" y="98"/>
                      </a:lnTo>
                      <a:lnTo>
                        <a:pt x="48" y="98"/>
                      </a:lnTo>
                      <a:lnTo>
                        <a:pt x="48" y="94"/>
                      </a:lnTo>
                      <a:lnTo>
                        <a:pt x="48" y="90"/>
                      </a:lnTo>
                      <a:lnTo>
                        <a:pt x="48" y="86"/>
                      </a:lnTo>
                      <a:lnTo>
                        <a:pt x="48" y="84"/>
                      </a:lnTo>
                      <a:lnTo>
                        <a:pt x="48" y="80"/>
                      </a:lnTo>
                      <a:lnTo>
                        <a:pt x="48" y="76"/>
                      </a:lnTo>
                      <a:lnTo>
                        <a:pt x="46" y="76"/>
                      </a:lnTo>
                      <a:lnTo>
                        <a:pt x="46" y="72"/>
                      </a:lnTo>
                      <a:lnTo>
                        <a:pt x="42" y="72"/>
                      </a:lnTo>
                      <a:lnTo>
                        <a:pt x="42" y="68"/>
                      </a:lnTo>
                      <a:lnTo>
                        <a:pt x="42" y="64"/>
                      </a:lnTo>
                      <a:lnTo>
                        <a:pt x="42" y="60"/>
                      </a:lnTo>
                      <a:lnTo>
                        <a:pt x="42" y="58"/>
                      </a:lnTo>
                      <a:lnTo>
                        <a:pt x="46" y="58"/>
                      </a:lnTo>
                      <a:lnTo>
                        <a:pt x="48" y="54"/>
                      </a:lnTo>
                      <a:lnTo>
                        <a:pt x="48" y="50"/>
                      </a:lnTo>
                      <a:lnTo>
                        <a:pt x="46" y="46"/>
                      </a:lnTo>
                      <a:lnTo>
                        <a:pt x="46" y="42"/>
                      </a:lnTo>
                      <a:lnTo>
                        <a:pt x="42" y="42"/>
                      </a:lnTo>
                      <a:lnTo>
                        <a:pt x="38" y="42"/>
                      </a:lnTo>
                      <a:lnTo>
                        <a:pt x="38" y="46"/>
                      </a:lnTo>
                      <a:lnTo>
                        <a:pt x="34" y="46"/>
                      </a:lnTo>
                      <a:lnTo>
                        <a:pt x="30" y="46"/>
                      </a:lnTo>
                      <a:lnTo>
                        <a:pt x="30" y="42"/>
                      </a:lnTo>
                      <a:lnTo>
                        <a:pt x="30" y="38"/>
                      </a:lnTo>
                      <a:lnTo>
                        <a:pt x="30" y="34"/>
                      </a:lnTo>
                      <a:lnTo>
                        <a:pt x="30" y="30"/>
                      </a:lnTo>
                      <a:lnTo>
                        <a:pt x="38" y="30"/>
                      </a:lnTo>
                      <a:lnTo>
                        <a:pt x="46" y="30"/>
                      </a:lnTo>
                      <a:lnTo>
                        <a:pt x="48" y="30"/>
                      </a:lnTo>
                      <a:lnTo>
                        <a:pt x="52" y="30"/>
                      </a:lnTo>
                      <a:lnTo>
                        <a:pt x="56" y="30"/>
                      </a:lnTo>
                      <a:lnTo>
                        <a:pt x="60" y="30"/>
                      </a:lnTo>
                      <a:lnTo>
                        <a:pt x="64" y="30"/>
                      </a:lnTo>
                      <a:lnTo>
                        <a:pt x="64" y="34"/>
                      </a:lnTo>
                      <a:lnTo>
                        <a:pt x="68" y="34"/>
                      </a:lnTo>
                      <a:lnTo>
                        <a:pt x="72" y="34"/>
                      </a:lnTo>
                      <a:lnTo>
                        <a:pt x="72" y="38"/>
                      </a:lnTo>
                      <a:lnTo>
                        <a:pt x="72" y="34"/>
                      </a:lnTo>
                      <a:lnTo>
                        <a:pt x="72" y="30"/>
                      </a:lnTo>
                      <a:lnTo>
                        <a:pt x="72" y="28"/>
                      </a:lnTo>
                      <a:lnTo>
                        <a:pt x="74" y="28"/>
                      </a:lnTo>
                      <a:lnTo>
                        <a:pt x="74" y="24"/>
                      </a:lnTo>
                      <a:lnTo>
                        <a:pt x="74" y="20"/>
                      </a:lnTo>
                      <a:lnTo>
                        <a:pt x="78" y="20"/>
                      </a:lnTo>
                      <a:lnTo>
                        <a:pt x="78" y="16"/>
                      </a:lnTo>
                      <a:lnTo>
                        <a:pt x="74" y="16"/>
                      </a:lnTo>
                      <a:lnTo>
                        <a:pt x="78" y="12"/>
                      </a:lnTo>
                      <a:lnTo>
                        <a:pt x="78" y="8"/>
                      </a:lnTo>
                      <a:lnTo>
                        <a:pt x="78" y="4"/>
                      </a:lnTo>
                      <a:lnTo>
                        <a:pt x="82" y="4"/>
                      </a:lnTo>
                      <a:lnTo>
                        <a:pt x="86" y="4"/>
                      </a:lnTo>
                      <a:lnTo>
                        <a:pt x="90" y="4"/>
                      </a:lnTo>
                      <a:lnTo>
                        <a:pt x="90" y="0"/>
                      </a:lnTo>
                      <a:lnTo>
                        <a:pt x="90" y="4"/>
                      </a:lnTo>
                      <a:lnTo>
                        <a:pt x="94" y="4"/>
                      </a:lnTo>
                      <a:lnTo>
                        <a:pt x="98" y="4"/>
                      </a:lnTo>
                      <a:lnTo>
                        <a:pt x="102" y="4"/>
                      </a:lnTo>
                      <a:lnTo>
                        <a:pt x="102" y="8"/>
                      </a:lnTo>
                      <a:lnTo>
                        <a:pt x="102" y="4"/>
                      </a:lnTo>
                      <a:lnTo>
                        <a:pt x="104" y="4"/>
                      </a:lnTo>
                      <a:lnTo>
                        <a:pt x="108" y="4"/>
                      </a:lnTo>
                      <a:lnTo>
                        <a:pt x="108" y="8"/>
                      </a:lnTo>
                      <a:lnTo>
                        <a:pt x="108" y="12"/>
                      </a:lnTo>
                      <a:lnTo>
                        <a:pt x="104" y="12"/>
                      </a:lnTo>
                      <a:lnTo>
                        <a:pt x="104" y="16"/>
                      </a:lnTo>
                      <a:lnTo>
                        <a:pt x="104" y="20"/>
                      </a:lnTo>
                      <a:lnTo>
                        <a:pt x="104" y="24"/>
                      </a:lnTo>
                      <a:lnTo>
                        <a:pt x="102" y="24"/>
                      </a:lnTo>
                      <a:lnTo>
                        <a:pt x="102" y="28"/>
                      </a:lnTo>
                      <a:lnTo>
                        <a:pt x="102" y="30"/>
                      </a:lnTo>
                      <a:lnTo>
                        <a:pt x="102" y="34"/>
                      </a:lnTo>
                      <a:lnTo>
                        <a:pt x="102" y="38"/>
                      </a:lnTo>
                      <a:lnTo>
                        <a:pt x="98" y="46"/>
                      </a:lnTo>
                      <a:lnTo>
                        <a:pt x="98" y="50"/>
                      </a:lnTo>
                      <a:lnTo>
                        <a:pt x="98" y="54"/>
                      </a:lnTo>
                      <a:lnTo>
                        <a:pt x="98" y="58"/>
                      </a:lnTo>
                      <a:lnTo>
                        <a:pt x="98" y="60"/>
                      </a:lnTo>
                      <a:lnTo>
                        <a:pt x="98" y="64"/>
                      </a:lnTo>
                      <a:lnTo>
                        <a:pt x="94" y="64"/>
                      </a:lnTo>
                      <a:lnTo>
                        <a:pt x="94" y="68"/>
                      </a:lnTo>
                      <a:lnTo>
                        <a:pt x="94" y="72"/>
                      </a:lnTo>
                      <a:lnTo>
                        <a:pt x="94" y="76"/>
                      </a:lnTo>
                      <a:lnTo>
                        <a:pt x="94" y="80"/>
                      </a:lnTo>
                      <a:lnTo>
                        <a:pt x="90" y="84"/>
                      </a:lnTo>
                      <a:lnTo>
                        <a:pt x="86" y="84"/>
                      </a:lnTo>
                      <a:lnTo>
                        <a:pt x="82" y="86"/>
                      </a:lnTo>
                      <a:lnTo>
                        <a:pt x="82" y="90"/>
                      </a:lnTo>
                      <a:lnTo>
                        <a:pt x="78" y="90"/>
                      </a:lnTo>
                      <a:lnTo>
                        <a:pt x="78" y="94"/>
                      </a:lnTo>
                      <a:lnTo>
                        <a:pt x="78" y="98"/>
                      </a:lnTo>
                      <a:lnTo>
                        <a:pt x="74" y="98"/>
                      </a:lnTo>
                      <a:lnTo>
                        <a:pt x="74" y="102"/>
                      </a:lnTo>
                      <a:lnTo>
                        <a:pt x="72" y="102"/>
                      </a:lnTo>
                      <a:lnTo>
                        <a:pt x="72" y="106"/>
                      </a:lnTo>
                      <a:lnTo>
                        <a:pt x="74" y="110"/>
                      </a:lnTo>
                      <a:lnTo>
                        <a:pt x="74" y="114"/>
                      </a:lnTo>
                      <a:lnTo>
                        <a:pt x="72" y="114"/>
                      </a:lnTo>
                      <a:lnTo>
                        <a:pt x="72" y="116"/>
                      </a:lnTo>
                      <a:lnTo>
                        <a:pt x="72" y="120"/>
                      </a:lnTo>
                      <a:lnTo>
                        <a:pt x="74" y="124"/>
                      </a:lnTo>
                      <a:lnTo>
                        <a:pt x="72" y="124"/>
                      </a:lnTo>
                      <a:lnTo>
                        <a:pt x="72" y="128"/>
                      </a:lnTo>
                      <a:lnTo>
                        <a:pt x="72" y="130"/>
                      </a:lnTo>
                      <a:lnTo>
                        <a:pt x="68" y="130"/>
                      </a:lnTo>
                      <a:lnTo>
                        <a:pt x="68" y="134"/>
                      </a:lnTo>
                      <a:lnTo>
                        <a:pt x="68" y="134"/>
                      </a:lnTo>
                      <a:lnTo>
                        <a:pt x="68" y="13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93" name="Freeform 139"/>
                <p:cNvSpPr>
                  <a:spLocks/>
                </p:cNvSpPr>
                <p:nvPr/>
              </p:nvSpPr>
              <p:spPr bwMode="auto">
                <a:xfrm>
                  <a:off x="4664075" y="4413318"/>
                  <a:ext cx="434975" cy="511175"/>
                </a:xfrm>
                <a:custGeom>
                  <a:avLst/>
                  <a:gdLst>
                    <a:gd name="T0" fmla="*/ 30 w 274"/>
                    <a:gd name="T1" fmla="*/ 194 h 322"/>
                    <a:gd name="T2" fmla="*/ 12 w 274"/>
                    <a:gd name="T3" fmla="*/ 190 h 322"/>
                    <a:gd name="T4" fmla="*/ 4 w 274"/>
                    <a:gd name="T5" fmla="*/ 190 h 322"/>
                    <a:gd name="T6" fmla="*/ 16 w 274"/>
                    <a:gd name="T7" fmla="*/ 172 h 322"/>
                    <a:gd name="T8" fmla="*/ 24 w 274"/>
                    <a:gd name="T9" fmla="*/ 168 h 322"/>
                    <a:gd name="T10" fmla="*/ 34 w 274"/>
                    <a:gd name="T11" fmla="*/ 176 h 322"/>
                    <a:gd name="T12" fmla="*/ 50 w 274"/>
                    <a:gd name="T13" fmla="*/ 164 h 322"/>
                    <a:gd name="T14" fmla="*/ 56 w 274"/>
                    <a:gd name="T15" fmla="*/ 150 h 322"/>
                    <a:gd name="T16" fmla="*/ 60 w 274"/>
                    <a:gd name="T17" fmla="*/ 136 h 322"/>
                    <a:gd name="T18" fmla="*/ 64 w 274"/>
                    <a:gd name="T19" fmla="*/ 120 h 322"/>
                    <a:gd name="T20" fmla="*/ 80 w 274"/>
                    <a:gd name="T21" fmla="*/ 106 h 322"/>
                    <a:gd name="T22" fmla="*/ 84 w 274"/>
                    <a:gd name="T23" fmla="*/ 86 h 322"/>
                    <a:gd name="T24" fmla="*/ 86 w 274"/>
                    <a:gd name="T25" fmla="*/ 60 h 322"/>
                    <a:gd name="T26" fmla="*/ 90 w 274"/>
                    <a:gd name="T27" fmla="*/ 42 h 322"/>
                    <a:gd name="T28" fmla="*/ 94 w 274"/>
                    <a:gd name="T29" fmla="*/ 24 h 322"/>
                    <a:gd name="T30" fmla="*/ 98 w 274"/>
                    <a:gd name="T31" fmla="*/ 12 h 322"/>
                    <a:gd name="T32" fmla="*/ 114 w 274"/>
                    <a:gd name="T33" fmla="*/ 8 h 322"/>
                    <a:gd name="T34" fmla="*/ 128 w 274"/>
                    <a:gd name="T35" fmla="*/ 16 h 322"/>
                    <a:gd name="T36" fmla="*/ 146 w 274"/>
                    <a:gd name="T37" fmla="*/ 24 h 322"/>
                    <a:gd name="T38" fmla="*/ 154 w 274"/>
                    <a:gd name="T39" fmla="*/ 8 h 322"/>
                    <a:gd name="T40" fmla="*/ 172 w 274"/>
                    <a:gd name="T41" fmla="*/ 8 h 322"/>
                    <a:gd name="T42" fmla="*/ 188 w 274"/>
                    <a:gd name="T43" fmla="*/ 8 h 322"/>
                    <a:gd name="T44" fmla="*/ 200 w 274"/>
                    <a:gd name="T45" fmla="*/ 4 h 322"/>
                    <a:gd name="T46" fmla="*/ 214 w 274"/>
                    <a:gd name="T47" fmla="*/ 4 h 322"/>
                    <a:gd name="T48" fmla="*/ 228 w 274"/>
                    <a:gd name="T49" fmla="*/ 16 h 322"/>
                    <a:gd name="T50" fmla="*/ 244 w 274"/>
                    <a:gd name="T51" fmla="*/ 16 h 322"/>
                    <a:gd name="T52" fmla="*/ 250 w 274"/>
                    <a:gd name="T53" fmla="*/ 16 h 322"/>
                    <a:gd name="T54" fmla="*/ 262 w 274"/>
                    <a:gd name="T55" fmla="*/ 28 h 322"/>
                    <a:gd name="T56" fmla="*/ 266 w 274"/>
                    <a:gd name="T57" fmla="*/ 46 h 322"/>
                    <a:gd name="T58" fmla="*/ 270 w 274"/>
                    <a:gd name="T59" fmla="*/ 58 h 322"/>
                    <a:gd name="T60" fmla="*/ 258 w 274"/>
                    <a:gd name="T61" fmla="*/ 76 h 322"/>
                    <a:gd name="T62" fmla="*/ 250 w 274"/>
                    <a:gd name="T63" fmla="*/ 90 h 322"/>
                    <a:gd name="T64" fmla="*/ 246 w 274"/>
                    <a:gd name="T65" fmla="*/ 110 h 322"/>
                    <a:gd name="T66" fmla="*/ 244 w 274"/>
                    <a:gd name="T67" fmla="*/ 128 h 322"/>
                    <a:gd name="T68" fmla="*/ 244 w 274"/>
                    <a:gd name="T69" fmla="*/ 146 h 322"/>
                    <a:gd name="T70" fmla="*/ 246 w 274"/>
                    <a:gd name="T71" fmla="*/ 168 h 322"/>
                    <a:gd name="T72" fmla="*/ 246 w 274"/>
                    <a:gd name="T73" fmla="*/ 184 h 322"/>
                    <a:gd name="T74" fmla="*/ 250 w 274"/>
                    <a:gd name="T75" fmla="*/ 206 h 322"/>
                    <a:gd name="T76" fmla="*/ 262 w 274"/>
                    <a:gd name="T77" fmla="*/ 220 h 322"/>
                    <a:gd name="T78" fmla="*/ 258 w 274"/>
                    <a:gd name="T79" fmla="*/ 232 h 322"/>
                    <a:gd name="T80" fmla="*/ 240 w 274"/>
                    <a:gd name="T81" fmla="*/ 244 h 322"/>
                    <a:gd name="T82" fmla="*/ 236 w 274"/>
                    <a:gd name="T83" fmla="*/ 262 h 322"/>
                    <a:gd name="T84" fmla="*/ 232 w 274"/>
                    <a:gd name="T85" fmla="*/ 280 h 322"/>
                    <a:gd name="T86" fmla="*/ 236 w 274"/>
                    <a:gd name="T87" fmla="*/ 300 h 322"/>
                    <a:gd name="T88" fmla="*/ 250 w 274"/>
                    <a:gd name="T89" fmla="*/ 302 h 322"/>
                    <a:gd name="T90" fmla="*/ 250 w 274"/>
                    <a:gd name="T91" fmla="*/ 322 h 322"/>
                    <a:gd name="T92" fmla="*/ 236 w 274"/>
                    <a:gd name="T93" fmla="*/ 314 h 322"/>
                    <a:gd name="T94" fmla="*/ 222 w 274"/>
                    <a:gd name="T95" fmla="*/ 302 h 322"/>
                    <a:gd name="T96" fmla="*/ 210 w 274"/>
                    <a:gd name="T97" fmla="*/ 300 h 322"/>
                    <a:gd name="T98" fmla="*/ 188 w 274"/>
                    <a:gd name="T99" fmla="*/ 292 h 322"/>
                    <a:gd name="T100" fmla="*/ 172 w 274"/>
                    <a:gd name="T101" fmla="*/ 288 h 322"/>
                    <a:gd name="T102" fmla="*/ 170 w 274"/>
                    <a:gd name="T103" fmla="*/ 280 h 322"/>
                    <a:gd name="T104" fmla="*/ 146 w 274"/>
                    <a:gd name="T105" fmla="*/ 280 h 322"/>
                    <a:gd name="T106" fmla="*/ 146 w 274"/>
                    <a:gd name="T107" fmla="*/ 272 h 322"/>
                    <a:gd name="T108" fmla="*/ 140 w 274"/>
                    <a:gd name="T109" fmla="*/ 250 h 322"/>
                    <a:gd name="T110" fmla="*/ 140 w 274"/>
                    <a:gd name="T111" fmla="*/ 228 h 322"/>
                    <a:gd name="T112" fmla="*/ 120 w 274"/>
                    <a:gd name="T113" fmla="*/ 216 h 322"/>
                    <a:gd name="T114" fmla="*/ 106 w 274"/>
                    <a:gd name="T115" fmla="*/ 214 h 322"/>
                    <a:gd name="T116" fmla="*/ 106 w 274"/>
                    <a:gd name="T117" fmla="*/ 228 h 322"/>
                    <a:gd name="T118" fmla="*/ 84 w 274"/>
                    <a:gd name="T119" fmla="*/ 232 h 322"/>
                    <a:gd name="T120" fmla="*/ 72 w 274"/>
                    <a:gd name="T121" fmla="*/ 220 h 322"/>
                    <a:gd name="T122" fmla="*/ 64 w 274"/>
                    <a:gd name="T123" fmla="*/ 202 h 322"/>
                    <a:gd name="T124" fmla="*/ 56 w 274"/>
                    <a:gd name="T125" fmla="*/ 190 h 3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4" h="322">
                      <a:moveTo>
                        <a:pt x="56" y="190"/>
                      </a:moveTo>
                      <a:lnTo>
                        <a:pt x="54" y="190"/>
                      </a:lnTo>
                      <a:lnTo>
                        <a:pt x="42" y="190"/>
                      </a:lnTo>
                      <a:lnTo>
                        <a:pt x="38" y="190"/>
                      </a:lnTo>
                      <a:lnTo>
                        <a:pt x="34" y="194"/>
                      </a:lnTo>
                      <a:lnTo>
                        <a:pt x="30" y="194"/>
                      </a:lnTo>
                      <a:lnTo>
                        <a:pt x="30" y="190"/>
                      </a:lnTo>
                      <a:lnTo>
                        <a:pt x="26" y="190"/>
                      </a:lnTo>
                      <a:lnTo>
                        <a:pt x="24" y="190"/>
                      </a:lnTo>
                      <a:lnTo>
                        <a:pt x="20" y="190"/>
                      </a:lnTo>
                      <a:lnTo>
                        <a:pt x="16" y="190"/>
                      </a:lnTo>
                      <a:lnTo>
                        <a:pt x="12" y="190"/>
                      </a:lnTo>
                      <a:lnTo>
                        <a:pt x="8" y="190"/>
                      </a:lnTo>
                      <a:lnTo>
                        <a:pt x="8" y="194"/>
                      </a:lnTo>
                      <a:lnTo>
                        <a:pt x="4" y="194"/>
                      </a:lnTo>
                      <a:lnTo>
                        <a:pt x="4" y="190"/>
                      </a:lnTo>
                      <a:lnTo>
                        <a:pt x="0" y="190"/>
                      </a:lnTo>
                      <a:lnTo>
                        <a:pt x="4" y="190"/>
                      </a:lnTo>
                      <a:lnTo>
                        <a:pt x="8" y="190"/>
                      </a:lnTo>
                      <a:lnTo>
                        <a:pt x="8" y="184"/>
                      </a:lnTo>
                      <a:lnTo>
                        <a:pt x="8" y="180"/>
                      </a:lnTo>
                      <a:lnTo>
                        <a:pt x="8" y="176"/>
                      </a:lnTo>
                      <a:lnTo>
                        <a:pt x="12" y="172"/>
                      </a:lnTo>
                      <a:lnTo>
                        <a:pt x="16" y="172"/>
                      </a:lnTo>
                      <a:lnTo>
                        <a:pt x="16" y="168"/>
                      </a:lnTo>
                      <a:lnTo>
                        <a:pt x="16" y="172"/>
                      </a:lnTo>
                      <a:lnTo>
                        <a:pt x="20" y="176"/>
                      </a:lnTo>
                      <a:lnTo>
                        <a:pt x="20" y="172"/>
                      </a:lnTo>
                      <a:lnTo>
                        <a:pt x="24" y="172"/>
                      </a:lnTo>
                      <a:lnTo>
                        <a:pt x="24" y="168"/>
                      </a:lnTo>
                      <a:lnTo>
                        <a:pt x="26" y="168"/>
                      </a:lnTo>
                      <a:lnTo>
                        <a:pt x="30" y="164"/>
                      </a:lnTo>
                      <a:lnTo>
                        <a:pt x="34" y="164"/>
                      </a:lnTo>
                      <a:lnTo>
                        <a:pt x="34" y="168"/>
                      </a:lnTo>
                      <a:lnTo>
                        <a:pt x="34" y="172"/>
                      </a:lnTo>
                      <a:lnTo>
                        <a:pt x="34" y="176"/>
                      </a:lnTo>
                      <a:lnTo>
                        <a:pt x="38" y="176"/>
                      </a:lnTo>
                      <a:lnTo>
                        <a:pt x="38" y="172"/>
                      </a:lnTo>
                      <a:lnTo>
                        <a:pt x="42" y="172"/>
                      </a:lnTo>
                      <a:lnTo>
                        <a:pt x="42" y="168"/>
                      </a:lnTo>
                      <a:lnTo>
                        <a:pt x="46" y="164"/>
                      </a:lnTo>
                      <a:lnTo>
                        <a:pt x="50" y="164"/>
                      </a:lnTo>
                      <a:lnTo>
                        <a:pt x="50" y="160"/>
                      </a:lnTo>
                      <a:lnTo>
                        <a:pt x="54" y="160"/>
                      </a:lnTo>
                      <a:lnTo>
                        <a:pt x="54" y="158"/>
                      </a:lnTo>
                      <a:lnTo>
                        <a:pt x="56" y="158"/>
                      </a:lnTo>
                      <a:lnTo>
                        <a:pt x="56" y="154"/>
                      </a:lnTo>
                      <a:lnTo>
                        <a:pt x="56" y="150"/>
                      </a:lnTo>
                      <a:lnTo>
                        <a:pt x="60" y="150"/>
                      </a:lnTo>
                      <a:lnTo>
                        <a:pt x="56" y="146"/>
                      </a:lnTo>
                      <a:lnTo>
                        <a:pt x="56" y="144"/>
                      </a:lnTo>
                      <a:lnTo>
                        <a:pt x="56" y="140"/>
                      </a:lnTo>
                      <a:lnTo>
                        <a:pt x="60" y="140"/>
                      </a:lnTo>
                      <a:lnTo>
                        <a:pt x="60" y="136"/>
                      </a:lnTo>
                      <a:lnTo>
                        <a:pt x="56" y="132"/>
                      </a:lnTo>
                      <a:lnTo>
                        <a:pt x="56" y="128"/>
                      </a:lnTo>
                      <a:lnTo>
                        <a:pt x="60" y="128"/>
                      </a:lnTo>
                      <a:lnTo>
                        <a:pt x="60" y="124"/>
                      </a:lnTo>
                      <a:lnTo>
                        <a:pt x="64" y="124"/>
                      </a:lnTo>
                      <a:lnTo>
                        <a:pt x="64" y="120"/>
                      </a:lnTo>
                      <a:lnTo>
                        <a:pt x="64" y="116"/>
                      </a:lnTo>
                      <a:lnTo>
                        <a:pt x="68" y="116"/>
                      </a:lnTo>
                      <a:lnTo>
                        <a:pt x="68" y="114"/>
                      </a:lnTo>
                      <a:lnTo>
                        <a:pt x="72" y="110"/>
                      </a:lnTo>
                      <a:lnTo>
                        <a:pt x="76" y="110"/>
                      </a:lnTo>
                      <a:lnTo>
                        <a:pt x="80" y="106"/>
                      </a:lnTo>
                      <a:lnTo>
                        <a:pt x="80" y="102"/>
                      </a:lnTo>
                      <a:lnTo>
                        <a:pt x="80" y="98"/>
                      </a:lnTo>
                      <a:lnTo>
                        <a:pt x="80" y="94"/>
                      </a:lnTo>
                      <a:lnTo>
                        <a:pt x="80" y="90"/>
                      </a:lnTo>
                      <a:lnTo>
                        <a:pt x="84" y="90"/>
                      </a:lnTo>
                      <a:lnTo>
                        <a:pt x="84" y="86"/>
                      </a:lnTo>
                      <a:lnTo>
                        <a:pt x="84" y="84"/>
                      </a:lnTo>
                      <a:lnTo>
                        <a:pt x="84" y="80"/>
                      </a:lnTo>
                      <a:lnTo>
                        <a:pt x="84" y="76"/>
                      </a:lnTo>
                      <a:lnTo>
                        <a:pt x="84" y="72"/>
                      </a:lnTo>
                      <a:lnTo>
                        <a:pt x="86" y="64"/>
                      </a:lnTo>
                      <a:lnTo>
                        <a:pt x="86" y="60"/>
                      </a:lnTo>
                      <a:lnTo>
                        <a:pt x="86" y="58"/>
                      </a:lnTo>
                      <a:lnTo>
                        <a:pt x="86" y="54"/>
                      </a:lnTo>
                      <a:lnTo>
                        <a:pt x="86" y="50"/>
                      </a:lnTo>
                      <a:lnTo>
                        <a:pt x="90" y="50"/>
                      </a:lnTo>
                      <a:lnTo>
                        <a:pt x="90" y="46"/>
                      </a:lnTo>
                      <a:lnTo>
                        <a:pt x="90" y="42"/>
                      </a:lnTo>
                      <a:lnTo>
                        <a:pt x="90" y="38"/>
                      </a:lnTo>
                      <a:lnTo>
                        <a:pt x="94" y="38"/>
                      </a:lnTo>
                      <a:lnTo>
                        <a:pt x="94" y="34"/>
                      </a:lnTo>
                      <a:lnTo>
                        <a:pt x="94" y="30"/>
                      </a:lnTo>
                      <a:lnTo>
                        <a:pt x="94" y="28"/>
                      </a:lnTo>
                      <a:lnTo>
                        <a:pt x="94" y="24"/>
                      </a:lnTo>
                      <a:lnTo>
                        <a:pt x="94" y="20"/>
                      </a:lnTo>
                      <a:lnTo>
                        <a:pt x="90" y="20"/>
                      </a:lnTo>
                      <a:lnTo>
                        <a:pt x="94" y="16"/>
                      </a:lnTo>
                      <a:lnTo>
                        <a:pt x="94" y="20"/>
                      </a:lnTo>
                      <a:lnTo>
                        <a:pt x="94" y="16"/>
                      </a:lnTo>
                      <a:lnTo>
                        <a:pt x="98" y="12"/>
                      </a:lnTo>
                      <a:lnTo>
                        <a:pt x="98" y="8"/>
                      </a:lnTo>
                      <a:lnTo>
                        <a:pt x="102" y="8"/>
                      </a:lnTo>
                      <a:lnTo>
                        <a:pt x="106" y="4"/>
                      </a:lnTo>
                      <a:lnTo>
                        <a:pt x="110" y="4"/>
                      </a:lnTo>
                      <a:lnTo>
                        <a:pt x="110" y="8"/>
                      </a:lnTo>
                      <a:lnTo>
                        <a:pt x="114" y="8"/>
                      </a:lnTo>
                      <a:lnTo>
                        <a:pt x="116" y="8"/>
                      </a:lnTo>
                      <a:lnTo>
                        <a:pt x="116" y="12"/>
                      </a:lnTo>
                      <a:lnTo>
                        <a:pt x="120" y="12"/>
                      </a:lnTo>
                      <a:lnTo>
                        <a:pt x="120" y="16"/>
                      </a:lnTo>
                      <a:lnTo>
                        <a:pt x="124" y="16"/>
                      </a:lnTo>
                      <a:lnTo>
                        <a:pt x="128" y="16"/>
                      </a:lnTo>
                      <a:lnTo>
                        <a:pt x="128" y="20"/>
                      </a:lnTo>
                      <a:lnTo>
                        <a:pt x="136" y="20"/>
                      </a:lnTo>
                      <a:lnTo>
                        <a:pt x="140" y="20"/>
                      </a:lnTo>
                      <a:lnTo>
                        <a:pt x="142" y="20"/>
                      </a:lnTo>
                      <a:lnTo>
                        <a:pt x="142" y="24"/>
                      </a:lnTo>
                      <a:lnTo>
                        <a:pt x="146" y="24"/>
                      </a:lnTo>
                      <a:lnTo>
                        <a:pt x="146" y="20"/>
                      </a:lnTo>
                      <a:lnTo>
                        <a:pt x="150" y="20"/>
                      </a:lnTo>
                      <a:lnTo>
                        <a:pt x="150" y="16"/>
                      </a:lnTo>
                      <a:lnTo>
                        <a:pt x="150" y="12"/>
                      </a:lnTo>
                      <a:lnTo>
                        <a:pt x="154" y="12"/>
                      </a:lnTo>
                      <a:lnTo>
                        <a:pt x="154" y="8"/>
                      </a:lnTo>
                      <a:lnTo>
                        <a:pt x="154" y="12"/>
                      </a:lnTo>
                      <a:lnTo>
                        <a:pt x="158" y="12"/>
                      </a:lnTo>
                      <a:lnTo>
                        <a:pt x="162" y="12"/>
                      </a:lnTo>
                      <a:lnTo>
                        <a:pt x="166" y="8"/>
                      </a:lnTo>
                      <a:lnTo>
                        <a:pt x="170" y="8"/>
                      </a:lnTo>
                      <a:lnTo>
                        <a:pt x="172" y="8"/>
                      </a:lnTo>
                      <a:lnTo>
                        <a:pt x="176" y="4"/>
                      </a:lnTo>
                      <a:lnTo>
                        <a:pt x="172" y="4"/>
                      </a:lnTo>
                      <a:lnTo>
                        <a:pt x="176" y="4"/>
                      </a:lnTo>
                      <a:lnTo>
                        <a:pt x="180" y="8"/>
                      </a:lnTo>
                      <a:lnTo>
                        <a:pt x="184" y="8"/>
                      </a:lnTo>
                      <a:lnTo>
                        <a:pt x="188" y="8"/>
                      </a:lnTo>
                      <a:lnTo>
                        <a:pt x="188" y="4"/>
                      </a:lnTo>
                      <a:lnTo>
                        <a:pt x="188" y="0"/>
                      </a:lnTo>
                      <a:lnTo>
                        <a:pt x="192" y="0"/>
                      </a:lnTo>
                      <a:lnTo>
                        <a:pt x="196" y="0"/>
                      </a:lnTo>
                      <a:lnTo>
                        <a:pt x="196" y="4"/>
                      </a:lnTo>
                      <a:lnTo>
                        <a:pt x="200" y="4"/>
                      </a:lnTo>
                      <a:lnTo>
                        <a:pt x="200" y="0"/>
                      </a:lnTo>
                      <a:lnTo>
                        <a:pt x="200" y="4"/>
                      </a:lnTo>
                      <a:lnTo>
                        <a:pt x="202" y="4"/>
                      </a:lnTo>
                      <a:lnTo>
                        <a:pt x="206" y="4"/>
                      </a:lnTo>
                      <a:lnTo>
                        <a:pt x="210" y="4"/>
                      </a:lnTo>
                      <a:lnTo>
                        <a:pt x="214" y="4"/>
                      </a:lnTo>
                      <a:lnTo>
                        <a:pt x="218" y="4"/>
                      </a:lnTo>
                      <a:lnTo>
                        <a:pt x="218" y="8"/>
                      </a:lnTo>
                      <a:lnTo>
                        <a:pt x="222" y="8"/>
                      </a:lnTo>
                      <a:lnTo>
                        <a:pt x="222" y="12"/>
                      </a:lnTo>
                      <a:lnTo>
                        <a:pt x="226" y="16"/>
                      </a:lnTo>
                      <a:lnTo>
                        <a:pt x="228" y="16"/>
                      </a:lnTo>
                      <a:lnTo>
                        <a:pt x="228" y="20"/>
                      </a:lnTo>
                      <a:lnTo>
                        <a:pt x="232" y="20"/>
                      </a:lnTo>
                      <a:lnTo>
                        <a:pt x="232" y="16"/>
                      </a:lnTo>
                      <a:lnTo>
                        <a:pt x="236" y="16"/>
                      </a:lnTo>
                      <a:lnTo>
                        <a:pt x="240" y="16"/>
                      </a:lnTo>
                      <a:lnTo>
                        <a:pt x="244" y="16"/>
                      </a:lnTo>
                      <a:lnTo>
                        <a:pt x="244" y="20"/>
                      </a:lnTo>
                      <a:lnTo>
                        <a:pt x="244" y="16"/>
                      </a:lnTo>
                      <a:lnTo>
                        <a:pt x="246" y="16"/>
                      </a:lnTo>
                      <a:lnTo>
                        <a:pt x="246" y="12"/>
                      </a:lnTo>
                      <a:lnTo>
                        <a:pt x="250" y="12"/>
                      </a:lnTo>
                      <a:lnTo>
                        <a:pt x="250" y="16"/>
                      </a:lnTo>
                      <a:lnTo>
                        <a:pt x="250" y="20"/>
                      </a:lnTo>
                      <a:lnTo>
                        <a:pt x="254" y="20"/>
                      </a:lnTo>
                      <a:lnTo>
                        <a:pt x="254" y="24"/>
                      </a:lnTo>
                      <a:lnTo>
                        <a:pt x="258" y="24"/>
                      </a:lnTo>
                      <a:lnTo>
                        <a:pt x="258" y="28"/>
                      </a:lnTo>
                      <a:lnTo>
                        <a:pt x="262" y="28"/>
                      </a:lnTo>
                      <a:lnTo>
                        <a:pt x="262" y="30"/>
                      </a:lnTo>
                      <a:lnTo>
                        <a:pt x="266" y="30"/>
                      </a:lnTo>
                      <a:lnTo>
                        <a:pt x="266" y="34"/>
                      </a:lnTo>
                      <a:lnTo>
                        <a:pt x="266" y="38"/>
                      </a:lnTo>
                      <a:lnTo>
                        <a:pt x="266" y="42"/>
                      </a:lnTo>
                      <a:lnTo>
                        <a:pt x="266" y="46"/>
                      </a:lnTo>
                      <a:lnTo>
                        <a:pt x="266" y="50"/>
                      </a:lnTo>
                      <a:lnTo>
                        <a:pt x="266" y="54"/>
                      </a:lnTo>
                      <a:lnTo>
                        <a:pt x="270" y="50"/>
                      </a:lnTo>
                      <a:lnTo>
                        <a:pt x="270" y="54"/>
                      </a:lnTo>
                      <a:lnTo>
                        <a:pt x="274" y="58"/>
                      </a:lnTo>
                      <a:lnTo>
                        <a:pt x="270" y="58"/>
                      </a:lnTo>
                      <a:lnTo>
                        <a:pt x="270" y="60"/>
                      </a:lnTo>
                      <a:lnTo>
                        <a:pt x="266" y="64"/>
                      </a:lnTo>
                      <a:lnTo>
                        <a:pt x="262" y="68"/>
                      </a:lnTo>
                      <a:lnTo>
                        <a:pt x="262" y="72"/>
                      </a:lnTo>
                      <a:lnTo>
                        <a:pt x="258" y="72"/>
                      </a:lnTo>
                      <a:lnTo>
                        <a:pt x="258" y="76"/>
                      </a:lnTo>
                      <a:lnTo>
                        <a:pt x="254" y="76"/>
                      </a:lnTo>
                      <a:lnTo>
                        <a:pt x="254" y="80"/>
                      </a:lnTo>
                      <a:lnTo>
                        <a:pt x="254" y="84"/>
                      </a:lnTo>
                      <a:lnTo>
                        <a:pt x="254" y="86"/>
                      </a:lnTo>
                      <a:lnTo>
                        <a:pt x="250" y="86"/>
                      </a:lnTo>
                      <a:lnTo>
                        <a:pt x="250" y="90"/>
                      </a:lnTo>
                      <a:lnTo>
                        <a:pt x="250" y="94"/>
                      </a:lnTo>
                      <a:lnTo>
                        <a:pt x="250" y="98"/>
                      </a:lnTo>
                      <a:lnTo>
                        <a:pt x="250" y="102"/>
                      </a:lnTo>
                      <a:lnTo>
                        <a:pt x="246" y="102"/>
                      </a:lnTo>
                      <a:lnTo>
                        <a:pt x="246" y="106"/>
                      </a:lnTo>
                      <a:lnTo>
                        <a:pt x="246" y="110"/>
                      </a:lnTo>
                      <a:lnTo>
                        <a:pt x="246" y="114"/>
                      </a:lnTo>
                      <a:lnTo>
                        <a:pt x="246" y="116"/>
                      </a:lnTo>
                      <a:lnTo>
                        <a:pt x="244" y="116"/>
                      </a:lnTo>
                      <a:lnTo>
                        <a:pt x="244" y="120"/>
                      </a:lnTo>
                      <a:lnTo>
                        <a:pt x="244" y="124"/>
                      </a:lnTo>
                      <a:lnTo>
                        <a:pt x="244" y="128"/>
                      </a:lnTo>
                      <a:lnTo>
                        <a:pt x="244" y="132"/>
                      </a:lnTo>
                      <a:lnTo>
                        <a:pt x="240" y="132"/>
                      </a:lnTo>
                      <a:lnTo>
                        <a:pt x="240" y="136"/>
                      </a:lnTo>
                      <a:lnTo>
                        <a:pt x="240" y="140"/>
                      </a:lnTo>
                      <a:lnTo>
                        <a:pt x="244" y="144"/>
                      </a:lnTo>
                      <a:lnTo>
                        <a:pt x="244" y="146"/>
                      </a:lnTo>
                      <a:lnTo>
                        <a:pt x="244" y="150"/>
                      </a:lnTo>
                      <a:lnTo>
                        <a:pt x="244" y="154"/>
                      </a:lnTo>
                      <a:lnTo>
                        <a:pt x="244" y="158"/>
                      </a:lnTo>
                      <a:lnTo>
                        <a:pt x="244" y="160"/>
                      </a:lnTo>
                      <a:lnTo>
                        <a:pt x="246" y="164"/>
                      </a:lnTo>
                      <a:lnTo>
                        <a:pt x="246" y="168"/>
                      </a:lnTo>
                      <a:lnTo>
                        <a:pt x="246" y="172"/>
                      </a:lnTo>
                      <a:lnTo>
                        <a:pt x="244" y="172"/>
                      </a:lnTo>
                      <a:lnTo>
                        <a:pt x="244" y="176"/>
                      </a:lnTo>
                      <a:lnTo>
                        <a:pt x="244" y="180"/>
                      </a:lnTo>
                      <a:lnTo>
                        <a:pt x="246" y="180"/>
                      </a:lnTo>
                      <a:lnTo>
                        <a:pt x="246" y="184"/>
                      </a:lnTo>
                      <a:lnTo>
                        <a:pt x="246" y="186"/>
                      </a:lnTo>
                      <a:lnTo>
                        <a:pt x="246" y="190"/>
                      </a:lnTo>
                      <a:lnTo>
                        <a:pt x="246" y="194"/>
                      </a:lnTo>
                      <a:lnTo>
                        <a:pt x="246" y="198"/>
                      </a:lnTo>
                      <a:lnTo>
                        <a:pt x="246" y="202"/>
                      </a:lnTo>
                      <a:lnTo>
                        <a:pt x="250" y="206"/>
                      </a:lnTo>
                      <a:lnTo>
                        <a:pt x="254" y="210"/>
                      </a:lnTo>
                      <a:lnTo>
                        <a:pt x="258" y="210"/>
                      </a:lnTo>
                      <a:lnTo>
                        <a:pt x="258" y="214"/>
                      </a:lnTo>
                      <a:lnTo>
                        <a:pt x="258" y="216"/>
                      </a:lnTo>
                      <a:lnTo>
                        <a:pt x="258" y="220"/>
                      </a:lnTo>
                      <a:lnTo>
                        <a:pt x="262" y="220"/>
                      </a:lnTo>
                      <a:lnTo>
                        <a:pt x="262" y="224"/>
                      </a:lnTo>
                      <a:lnTo>
                        <a:pt x="262" y="228"/>
                      </a:lnTo>
                      <a:lnTo>
                        <a:pt x="266" y="228"/>
                      </a:lnTo>
                      <a:lnTo>
                        <a:pt x="266" y="232"/>
                      </a:lnTo>
                      <a:lnTo>
                        <a:pt x="262" y="232"/>
                      </a:lnTo>
                      <a:lnTo>
                        <a:pt x="258" y="232"/>
                      </a:lnTo>
                      <a:lnTo>
                        <a:pt x="254" y="236"/>
                      </a:lnTo>
                      <a:lnTo>
                        <a:pt x="246" y="236"/>
                      </a:lnTo>
                      <a:lnTo>
                        <a:pt x="244" y="236"/>
                      </a:lnTo>
                      <a:lnTo>
                        <a:pt x="240" y="236"/>
                      </a:lnTo>
                      <a:lnTo>
                        <a:pt x="240" y="240"/>
                      </a:lnTo>
                      <a:lnTo>
                        <a:pt x="240" y="244"/>
                      </a:lnTo>
                      <a:lnTo>
                        <a:pt x="236" y="244"/>
                      </a:lnTo>
                      <a:lnTo>
                        <a:pt x="236" y="246"/>
                      </a:lnTo>
                      <a:lnTo>
                        <a:pt x="232" y="250"/>
                      </a:lnTo>
                      <a:lnTo>
                        <a:pt x="232" y="254"/>
                      </a:lnTo>
                      <a:lnTo>
                        <a:pt x="236" y="258"/>
                      </a:lnTo>
                      <a:lnTo>
                        <a:pt x="236" y="262"/>
                      </a:lnTo>
                      <a:lnTo>
                        <a:pt x="236" y="266"/>
                      </a:lnTo>
                      <a:lnTo>
                        <a:pt x="236" y="270"/>
                      </a:lnTo>
                      <a:lnTo>
                        <a:pt x="236" y="272"/>
                      </a:lnTo>
                      <a:lnTo>
                        <a:pt x="236" y="276"/>
                      </a:lnTo>
                      <a:lnTo>
                        <a:pt x="232" y="276"/>
                      </a:lnTo>
                      <a:lnTo>
                        <a:pt x="232" y="280"/>
                      </a:lnTo>
                      <a:lnTo>
                        <a:pt x="232" y="284"/>
                      </a:lnTo>
                      <a:lnTo>
                        <a:pt x="232" y="288"/>
                      </a:lnTo>
                      <a:lnTo>
                        <a:pt x="232" y="292"/>
                      </a:lnTo>
                      <a:lnTo>
                        <a:pt x="232" y="296"/>
                      </a:lnTo>
                      <a:lnTo>
                        <a:pt x="236" y="296"/>
                      </a:lnTo>
                      <a:lnTo>
                        <a:pt x="236" y="300"/>
                      </a:lnTo>
                      <a:lnTo>
                        <a:pt x="240" y="302"/>
                      </a:lnTo>
                      <a:lnTo>
                        <a:pt x="244" y="302"/>
                      </a:lnTo>
                      <a:lnTo>
                        <a:pt x="246" y="306"/>
                      </a:lnTo>
                      <a:lnTo>
                        <a:pt x="246" y="302"/>
                      </a:lnTo>
                      <a:lnTo>
                        <a:pt x="250" y="300"/>
                      </a:lnTo>
                      <a:lnTo>
                        <a:pt x="250" y="302"/>
                      </a:lnTo>
                      <a:lnTo>
                        <a:pt x="250" y="306"/>
                      </a:lnTo>
                      <a:lnTo>
                        <a:pt x="250" y="310"/>
                      </a:lnTo>
                      <a:lnTo>
                        <a:pt x="250" y="318"/>
                      </a:lnTo>
                      <a:lnTo>
                        <a:pt x="250" y="322"/>
                      </a:lnTo>
                      <a:lnTo>
                        <a:pt x="246" y="322"/>
                      </a:lnTo>
                      <a:lnTo>
                        <a:pt x="250" y="322"/>
                      </a:lnTo>
                      <a:lnTo>
                        <a:pt x="246" y="318"/>
                      </a:lnTo>
                      <a:lnTo>
                        <a:pt x="246" y="322"/>
                      </a:lnTo>
                      <a:lnTo>
                        <a:pt x="244" y="322"/>
                      </a:lnTo>
                      <a:lnTo>
                        <a:pt x="240" y="322"/>
                      </a:lnTo>
                      <a:lnTo>
                        <a:pt x="240" y="318"/>
                      </a:lnTo>
                      <a:lnTo>
                        <a:pt x="236" y="314"/>
                      </a:lnTo>
                      <a:lnTo>
                        <a:pt x="232" y="314"/>
                      </a:lnTo>
                      <a:lnTo>
                        <a:pt x="232" y="310"/>
                      </a:lnTo>
                      <a:lnTo>
                        <a:pt x="232" y="306"/>
                      </a:lnTo>
                      <a:lnTo>
                        <a:pt x="228" y="306"/>
                      </a:lnTo>
                      <a:lnTo>
                        <a:pt x="226" y="302"/>
                      </a:lnTo>
                      <a:lnTo>
                        <a:pt x="222" y="302"/>
                      </a:lnTo>
                      <a:lnTo>
                        <a:pt x="218" y="300"/>
                      </a:lnTo>
                      <a:lnTo>
                        <a:pt x="218" y="296"/>
                      </a:lnTo>
                      <a:lnTo>
                        <a:pt x="214" y="296"/>
                      </a:lnTo>
                      <a:lnTo>
                        <a:pt x="214" y="292"/>
                      </a:lnTo>
                      <a:lnTo>
                        <a:pt x="210" y="296"/>
                      </a:lnTo>
                      <a:lnTo>
                        <a:pt x="210" y="300"/>
                      </a:lnTo>
                      <a:lnTo>
                        <a:pt x="206" y="300"/>
                      </a:lnTo>
                      <a:lnTo>
                        <a:pt x="202" y="296"/>
                      </a:lnTo>
                      <a:lnTo>
                        <a:pt x="200" y="296"/>
                      </a:lnTo>
                      <a:lnTo>
                        <a:pt x="196" y="296"/>
                      </a:lnTo>
                      <a:lnTo>
                        <a:pt x="192" y="292"/>
                      </a:lnTo>
                      <a:lnTo>
                        <a:pt x="188" y="292"/>
                      </a:lnTo>
                      <a:lnTo>
                        <a:pt x="188" y="288"/>
                      </a:lnTo>
                      <a:lnTo>
                        <a:pt x="188" y="284"/>
                      </a:lnTo>
                      <a:lnTo>
                        <a:pt x="184" y="284"/>
                      </a:lnTo>
                      <a:lnTo>
                        <a:pt x="180" y="288"/>
                      </a:lnTo>
                      <a:lnTo>
                        <a:pt x="176" y="288"/>
                      </a:lnTo>
                      <a:lnTo>
                        <a:pt x="172" y="288"/>
                      </a:lnTo>
                      <a:lnTo>
                        <a:pt x="176" y="284"/>
                      </a:lnTo>
                      <a:lnTo>
                        <a:pt x="176" y="280"/>
                      </a:lnTo>
                      <a:lnTo>
                        <a:pt x="172" y="280"/>
                      </a:lnTo>
                      <a:lnTo>
                        <a:pt x="170" y="280"/>
                      </a:lnTo>
                      <a:lnTo>
                        <a:pt x="170" y="276"/>
                      </a:lnTo>
                      <a:lnTo>
                        <a:pt x="170" y="280"/>
                      </a:lnTo>
                      <a:lnTo>
                        <a:pt x="166" y="280"/>
                      </a:lnTo>
                      <a:lnTo>
                        <a:pt x="162" y="280"/>
                      </a:lnTo>
                      <a:lnTo>
                        <a:pt x="158" y="280"/>
                      </a:lnTo>
                      <a:lnTo>
                        <a:pt x="154" y="280"/>
                      </a:lnTo>
                      <a:lnTo>
                        <a:pt x="150" y="280"/>
                      </a:lnTo>
                      <a:lnTo>
                        <a:pt x="146" y="280"/>
                      </a:lnTo>
                      <a:lnTo>
                        <a:pt x="146" y="284"/>
                      </a:lnTo>
                      <a:lnTo>
                        <a:pt x="142" y="284"/>
                      </a:lnTo>
                      <a:lnTo>
                        <a:pt x="142" y="280"/>
                      </a:lnTo>
                      <a:lnTo>
                        <a:pt x="142" y="276"/>
                      </a:lnTo>
                      <a:lnTo>
                        <a:pt x="146" y="276"/>
                      </a:lnTo>
                      <a:lnTo>
                        <a:pt x="146" y="272"/>
                      </a:lnTo>
                      <a:lnTo>
                        <a:pt x="146" y="270"/>
                      </a:lnTo>
                      <a:lnTo>
                        <a:pt x="142" y="266"/>
                      </a:lnTo>
                      <a:lnTo>
                        <a:pt x="142" y="262"/>
                      </a:lnTo>
                      <a:lnTo>
                        <a:pt x="140" y="258"/>
                      </a:lnTo>
                      <a:lnTo>
                        <a:pt x="140" y="254"/>
                      </a:lnTo>
                      <a:lnTo>
                        <a:pt x="140" y="250"/>
                      </a:lnTo>
                      <a:lnTo>
                        <a:pt x="140" y="246"/>
                      </a:lnTo>
                      <a:lnTo>
                        <a:pt x="140" y="244"/>
                      </a:lnTo>
                      <a:lnTo>
                        <a:pt x="140" y="240"/>
                      </a:lnTo>
                      <a:lnTo>
                        <a:pt x="140" y="236"/>
                      </a:lnTo>
                      <a:lnTo>
                        <a:pt x="140" y="232"/>
                      </a:lnTo>
                      <a:lnTo>
                        <a:pt x="140" y="228"/>
                      </a:lnTo>
                      <a:lnTo>
                        <a:pt x="140" y="224"/>
                      </a:lnTo>
                      <a:lnTo>
                        <a:pt x="140" y="220"/>
                      </a:lnTo>
                      <a:lnTo>
                        <a:pt x="140" y="216"/>
                      </a:lnTo>
                      <a:lnTo>
                        <a:pt x="136" y="216"/>
                      </a:lnTo>
                      <a:lnTo>
                        <a:pt x="128" y="216"/>
                      </a:lnTo>
                      <a:lnTo>
                        <a:pt x="120" y="216"/>
                      </a:lnTo>
                      <a:lnTo>
                        <a:pt x="120" y="214"/>
                      </a:lnTo>
                      <a:lnTo>
                        <a:pt x="120" y="210"/>
                      </a:lnTo>
                      <a:lnTo>
                        <a:pt x="116" y="210"/>
                      </a:lnTo>
                      <a:lnTo>
                        <a:pt x="116" y="214"/>
                      </a:lnTo>
                      <a:lnTo>
                        <a:pt x="114" y="214"/>
                      </a:lnTo>
                      <a:lnTo>
                        <a:pt x="106" y="214"/>
                      </a:lnTo>
                      <a:lnTo>
                        <a:pt x="106" y="216"/>
                      </a:lnTo>
                      <a:lnTo>
                        <a:pt x="106" y="220"/>
                      </a:lnTo>
                      <a:lnTo>
                        <a:pt x="106" y="224"/>
                      </a:lnTo>
                      <a:lnTo>
                        <a:pt x="102" y="224"/>
                      </a:lnTo>
                      <a:lnTo>
                        <a:pt x="102" y="228"/>
                      </a:lnTo>
                      <a:lnTo>
                        <a:pt x="106" y="228"/>
                      </a:lnTo>
                      <a:lnTo>
                        <a:pt x="98" y="228"/>
                      </a:lnTo>
                      <a:lnTo>
                        <a:pt x="94" y="228"/>
                      </a:lnTo>
                      <a:lnTo>
                        <a:pt x="90" y="228"/>
                      </a:lnTo>
                      <a:lnTo>
                        <a:pt x="86" y="228"/>
                      </a:lnTo>
                      <a:lnTo>
                        <a:pt x="86" y="232"/>
                      </a:lnTo>
                      <a:lnTo>
                        <a:pt x="84" y="232"/>
                      </a:lnTo>
                      <a:lnTo>
                        <a:pt x="84" y="228"/>
                      </a:lnTo>
                      <a:lnTo>
                        <a:pt x="80" y="232"/>
                      </a:lnTo>
                      <a:lnTo>
                        <a:pt x="80" y="228"/>
                      </a:lnTo>
                      <a:lnTo>
                        <a:pt x="76" y="228"/>
                      </a:lnTo>
                      <a:lnTo>
                        <a:pt x="76" y="224"/>
                      </a:lnTo>
                      <a:lnTo>
                        <a:pt x="72" y="220"/>
                      </a:lnTo>
                      <a:lnTo>
                        <a:pt x="72" y="216"/>
                      </a:lnTo>
                      <a:lnTo>
                        <a:pt x="68" y="216"/>
                      </a:lnTo>
                      <a:lnTo>
                        <a:pt x="68" y="214"/>
                      </a:lnTo>
                      <a:lnTo>
                        <a:pt x="68" y="210"/>
                      </a:lnTo>
                      <a:lnTo>
                        <a:pt x="68" y="206"/>
                      </a:lnTo>
                      <a:lnTo>
                        <a:pt x="64" y="202"/>
                      </a:lnTo>
                      <a:lnTo>
                        <a:pt x="64" y="198"/>
                      </a:lnTo>
                      <a:lnTo>
                        <a:pt x="64" y="194"/>
                      </a:lnTo>
                      <a:lnTo>
                        <a:pt x="64" y="190"/>
                      </a:lnTo>
                      <a:lnTo>
                        <a:pt x="60" y="190"/>
                      </a:lnTo>
                      <a:lnTo>
                        <a:pt x="56" y="190"/>
                      </a:lnTo>
                      <a:lnTo>
                        <a:pt x="56" y="190"/>
                      </a:lnTo>
                      <a:lnTo>
                        <a:pt x="56" y="19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94" name="Freeform 140"/>
                <p:cNvSpPr>
                  <a:spLocks noEditPoints="1"/>
                </p:cNvSpPr>
                <p:nvPr/>
              </p:nvSpPr>
              <p:spPr bwMode="auto">
                <a:xfrm>
                  <a:off x="4197350" y="4267268"/>
                  <a:ext cx="142875" cy="177800"/>
                </a:xfrm>
                <a:custGeom>
                  <a:avLst/>
                  <a:gdLst>
                    <a:gd name="T0" fmla="*/ 46 w 90"/>
                    <a:gd name="T1" fmla="*/ 96 h 112"/>
                    <a:gd name="T2" fmla="*/ 52 w 90"/>
                    <a:gd name="T3" fmla="*/ 96 h 112"/>
                    <a:gd name="T4" fmla="*/ 46 w 90"/>
                    <a:gd name="T5" fmla="*/ 96 h 112"/>
                    <a:gd name="T6" fmla="*/ 34 w 90"/>
                    <a:gd name="T7" fmla="*/ 100 h 112"/>
                    <a:gd name="T8" fmla="*/ 30 w 90"/>
                    <a:gd name="T9" fmla="*/ 104 h 112"/>
                    <a:gd name="T10" fmla="*/ 24 w 90"/>
                    <a:gd name="T11" fmla="*/ 108 h 112"/>
                    <a:gd name="T12" fmla="*/ 20 w 90"/>
                    <a:gd name="T13" fmla="*/ 112 h 112"/>
                    <a:gd name="T14" fmla="*/ 16 w 90"/>
                    <a:gd name="T15" fmla="*/ 104 h 112"/>
                    <a:gd name="T16" fmla="*/ 20 w 90"/>
                    <a:gd name="T17" fmla="*/ 92 h 112"/>
                    <a:gd name="T18" fmla="*/ 20 w 90"/>
                    <a:gd name="T19" fmla="*/ 86 h 112"/>
                    <a:gd name="T20" fmla="*/ 16 w 90"/>
                    <a:gd name="T21" fmla="*/ 82 h 112"/>
                    <a:gd name="T22" fmla="*/ 12 w 90"/>
                    <a:gd name="T23" fmla="*/ 78 h 112"/>
                    <a:gd name="T24" fmla="*/ 0 w 90"/>
                    <a:gd name="T25" fmla="*/ 74 h 112"/>
                    <a:gd name="T26" fmla="*/ 4 w 90"/>
                    <a:gd name="T27" fmla="*/ 70 h 112"/>
                    <a:gd name="T28" fmla="*/ 4 w 90"/>
                    <a:gd name="T29" fmla="*/ 66 h 112"/>
                    <a:gd name="T30" fmla="*/ 4 w 90"/>
                    <a:gd name="T31" fmla="*/ 56 h 112"/>
                    <a:gd name="T32" fmla="*/ 8 w 90"/>
                    <a:gd name="T33" fmla="*/ 56 h 112"/>
                    <a:gd name="T34" fmla="*/ 8 w 90"/>
                    <a:gd name="T35" fmla="*/ 48 h 112"/>
                    <a:gd name="T36" fmla="*/ 8 w 90"/>
                    <a:gd name="T37" fmla="*/ 44 h 112"/>
                    <a:gd name="T38" fmla="*/ 12 w 90"/>
                    <a:gd name="T39" fmla="*/ 36 h 112"/>
                    <a:gd name="T40" fmla="*/ 16 w 90"/>
                    <a:gd name="T41" fmla="*/ 40 h 112"/>
                    <a:gd name="T42" fmla="*/ 12 w 90"/>
                    <a:gd name="T43" fmla="*/ 34 h 112"/>
                    <a:gd name="T44" fmla="*/ 16 w 90"/>
                    <a:gd name="T45" fmla="*/ 30 h 112"/>
                    <a:gd name="T46" fmla="*/ 8 w 90"/>
                    <a:gd name="T47" fmla="*/ 22 h 112"/>
                    <a:gd name="T48" fmla="*/ 8 w 90"/>
                    <a:gd name="T49" fmla="*/ 14 h 112"/>
                    <a:gd name="T50" fmla="*/ 8 w 90"/>
                    <a:gd name="T51" fmla="*/ 10 h 112"/>
                    <a:gd name="T52" fmla="*/ 12 w 90"/>
                    <a:gd name="T53" fmla="*/ 8 h 112"/>
                    <a:gd name="T54" fmla="*/ 20 w 90"/>
                    <a:gd name="T55" fmla="*/ 8 h 112"/>
                    <a:gd name="T56" fmla="*/ 24 w 90"/>
                    <a:gd name="T57" fmla="*/ 10 h 112"/>
                    <a:gd name="T58" fmla="*/ 30 w 90"/>
                    <a:gd name="T59" fmla="*/ 8 h 112"/>
                    <a:gd name="T60" fmla="*/ 30 w 90"/>
                    <a:gd name="T61" fmla="*/ 4 h 112"/>
                    <a:gd name="T62" fmla="*/ 34 w 90"/>
                    <a:gd name="T63" fmla="*/ 4 h 112"/>
                    <a:gd name="T64" fmla="*/ 38 w 90"/>
                    <a:gd name="T65" fmla="*/ 8 h 112"/>
                    <a:gd name="T66" fmla="*/ 38 w 90"/>
                    <a:gd name="T67" fmla="*/ 10 h 112"/>
                    <a:gd name="T68" fmla="*/ 42 w 90"/>
                    <a:gd name="T69" fmla="*/ 8 h 112"/>
                    <a:gd name="T70" fmla="*/ 50 w 90"/>
                    <a:gd name="T71" fmla="*/ 8 h 112"/>
                    <a:gd name="T72" fmla="*/ 56 w 90"/>
                    <a:gd name="T73" fmla="*/ 14 h 112"/>
                    <a:gd name="T74" fmla="*/ 60 w 90"/>
                    <a:gd name="T75" fmla="*/ 18 h 112"/>
                    <a:gd name="T76" fmla="*/ 68 w 90"/>
                    <a:gd name="T77" fmla="*/ 14 h 112"/>
                    <a:gd name="T78" fmla="*/ 76 w 90"/>
                    <a:gd name="T79" fmla="*/ 14 h 112"/>
                    <a:gd name="T80" fmla="*/ 82 w 90"/>
                    <a:gd name="T81" fmla="*/ 22 h 112"/>
                    <a:gd name="T82" fmla="*/ 86 w 90"/>
                    <a:gd name="T83" fmla="*/ 26 h 112"/>
                    <a:gd name="T84" fmla="*/ 86 w 90"/>
                    <a:gd name="T85" fmla="*/ 34 h 112"/>
                    <a:gd name="T86" fmla="*/ 86 w 90"/>
                    <a:gd name="T87" fmla="*/ 44 h 112"/>
                    <a:gd name="T88" fmla="*/ 82 w 90"/>
                    <a:gd name="T89" fmla="*/ 60 h 112"/>
                    <a:gd name="T90" fmla="*/ 78 w 90"/>
                    <a:gd name="T91" fmla="*/ 70 h 112"/>
                    <a:gd name="T92" fmla="*/ 78 w 90"/>
                    <a:gd name="T93" fmla="*/ 78 h 112"/>
                    <a:gd name="T94" fmla="*/ 82 w 90"/>
                    <a:gd name="T95" fmla="*/ 88 h 112"/>
                    <a:gd name="T96" fmla="*/ 86 w 90"/>
                    <a:gd name="T97" fmla="*/ 96 h 112"/>
                    <a:gd name="T98" fmla="*/ 82 w 90"/>
                    <a:gd name="T99" fmla="*/ 96 h 112"/>
                    <a:gd name="T100" fmla="*/ 78 w 90"/>
                    <a:gd name="T101" fmla="*/ 92 h 112"/>
                    <a:gd name="T102" fmla="*/ 76 w 90"/>
                    <a:gd name="T103" fmla="*/ 96 h 112"/>
                    <a:gd name="T104" fmla="*/ 72 w 90"/>
                    <a:gd name="T105" fmla="*/ 96 h 112"/>
                    <a:gd name="T106" fmla="*/ 72 w 90"/>
                    <a:gd name="T107" fmla="*/ 92 h 112"/>
                    <a:gd name="T108" fmla="*/ 72 w 90"/>
                    <a:gd name="T109" fmla="*/ 92 h 112"/>
                    <a:gd name="T110" fmla="*/ 60 w 90"/>
                    <a:gd name="T111" fmla="*/ 92 h 112"/>
                    <a:gd name="T112" fmla="*/ 60 w 90"/>
                    <a:gd name="T113" fmla="*/ 96 h 112"/>
                    <a:gd name="T114" fmla="*/ 64 w 90"/>
                    <a:gd name="T115" fmla="*/ 92 h 112"/>
                    <a:gd name="T116" fmla="*/ 56 w 90"/>
                    <a:gd name="T117" fmla="*/ 96 h 112"/>
                    <a:gd name="T118" fmla="*/ 52 w 90"/>
                    <a:gd name="T119" fmla="*/ 96 h 112"/>
                    <a:gd name="T120" fmla="*/ 50 w 90"/>
                    <a:gd name="T121" fmla="*/ 96 h 112"/>
                    <a:gd name="T122" fmla="*/ 50 w 90"/>
                    <a:gd name="T123" fmla="*/ 96 h 112"/>
                    <a:gd name="T124" fmla="*/ 78 w 90"/>
                    <a:gd name="T125" fmla="*/ 96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90" h="112">
                      <a:moveTo>
                        <a:pt x="50" y="96"/>
                      </a:moveTo>
                      <a:lnTo>
                        <a:pt x="50" y="96"/>
                      </a:lnTo>
                      <a:lnTo>
                        <a:pt x="50" y="96"/>
                      </a:lnTo>
                      <a:lnTo>
                        <a:pt x="50" y="96"/>
                      </a:lnTo>
                      <a:lnTo>
                        <a:pt x="50" y="96"/>
                      </a:lnTo>
                      <a:lnTo>
                        <a:pt x="50" y="96"/>
                      </a:lnTo>
                      <a:lnTo>
                        <a:pt x="50" y="96"/>
                      </a:lnTo>
                      <a:lnTo>
                        <a:pt x="46" y="96"/>
                      </a:lnTo>
                      <a:lnTo>
                        <a:pt x="50" y="96"/>
                      </a:lnTo>
                      <a:lnTo>
                        <a:pt x="50" y="96"/>
                      </a:lnTo>
                      <a:lnTo>
                        <a:pt x="50" y="96"/>
                      </a:lnTo>
                      <a:lnTo>
                        <a:pt x="50" y="96"/>
                      </a:lnTo>
                      <a:lnTo>
                        <a:pt x="50" y="96"/>
                      </a:lnTo>
                      <a:lnTo>
                        <a:pt x="52" y="96"/>
                      </a:lnTo>
                      <a:lnTo>
                        <a:pt x="52" y="96"/>
                      </a:lnTo>
                      <a:lnTo>
                        <a:pt x="52" y="96"/>
                      </a:lnTo>
                      <a:lnTo>
                        <a:pt x="52" y="96"/>
                      </a:lnTo>
                      <a:lnTo>
                        <a:pt x="52" y="96"/>
                      </a:lnTo>
                      <a:lnTo>
                        <a:pt x="52" y="96"/>
                      </a:lnTo>
                      <a:lnTo>
                        <a:pt x="50" y="96"/>
                      </a:lnTo>
                      <a:lnTo>
                        <a:pt x="50" y="96"/>
                      </a:lnTo>
                      <a:lnTo>
                        <a:pt x="50" y="96"/>
                      </a:lnTo>
                      <a:lnTo>
                        <a:pt x="46" y="96"/>
                      </a:lnTo>
                      <a:lnTo>
                        <a:pt x="46" y="96"/>
                      </a:lnTo>
                      <a:lnTo>
                        <a:pt x="42" y="96"/>
                      </a:lnTo>
                      <a:lnTo>
                        <a:pt x="42" y="96"/>
                      </a:lnTo>
                      <a:lnTo>
                        <a:pt x="42" y="96"/>
                      </a:lnTo>
                      <a:lnTo>
                        <a:pt x="38" y="100"/>
                      </a:lnTo>
                      <a:lnTo>
                        <a:pt x="38" y="100"/>
                      </a:lnTo>
                      <a:lnTo>
                        <a:pt x="38" y="100"/>
                      </a:lnTo>
                      <a:lnTo>
                        <a:pt x="34" y="100"/>
                      </a:lnTo>
                      <a:lnTo>
                        <a:pt x="34" y="100"/>
                      </a:lnTo>
                      <a:lnTo>
                        <a:pt x="34" y="100"/>
                      </a:lnTo>
                      <a:lnTo>
                        <a:pt x="34" y="100"/>
                      </a:lnTo>
                      <a:lnTo>
                        <a:pt x="34" y="100"/>
                      </a:lnTo>
                      <a:lnTo>
                        <a:pt x="30" y="104"/>
                      </a:lnTo>
                      <a:lnTo>
                        <a:pt x="30" y="104"/>
                      </a:lnTo>
                      <a:lnTo>
                        <a:pt x="30" y="104"/>
                      </a:lnTo>
                      <a:lnTo>
                        <a:pt x="30" y="104"/>
                      </a:lnTo>
                      <a:lnTo>
                        <a:pt x="30" y="104"/>
                      </a:lnTo>
                      <a:lnTo>
                        <a:pt x="26" y="104"/>
                      </a:lnTo>
                      <a:lnTo>
                        <a:pt x="26" y="104"/>
                      </a:lnTo>
                      <a:lnTo>
                        <a:pt x="26" y="104"/>
                      </a:lnTo>
                      <a:lnTo>
                        <a:pt x="26" y="104"/>
                      </a:lnTo>
                      <a:lnTo>
                        <a:pt x="26" y="104"/>
                      </a:lnTo>
                      <a:lnTo>
                        <a:pt x="26" y="104"/>
                      </a:lnTo>
                      <a:lnTo>
                        <a:pt x="24" y="108"/>
                      </a:lnTo>
                      <a:lnTo>
                        <a:pt x="24" y="108"/>
                      </a:lnTo>
                      <a:lnTo>
                        <a:pt x="24" y="108"/>
                      </a:lnTo>
                      <a:lnTo>
                        <a:pt x="24" y="108"/>
                      </a:lnTo>
                      <a:lnTo>
                        <a:pt x="24" y="108"/>
                      </a:lnTo>
                      <a:lnTo>
                        <a:pt x="20" y="108"/>
                      </a:lnTo>
                      <a:lnTo>
                        <a:pt x="20" y="108"/>
                      </a:lnTo>
                      <a:lnTo>
                        <a:pt x="20" y="112"/>
                      </a:lnTo>
                      <a:lnTo>
                        <a:pt x="20" y="112"/>
                      </a:lnTo>
                      <a:lnTo>
                        <a:pt x="20" y="112"/>
                      </a:lnTo>
                      <a:lnTo>
                        <a:pt x="20" y="112"/>
                      </a:lnTo>
                      <a:lnTo>
                        <a:pt x="16" y="112"/>
                      </a:lnTo>
                      <a:lnTo>
                        <a:pt x="16" y="108"/>
                      </a:lnTo>
                      <a:lnTo>
                        <a:pt x="16" y="108"/>
                      </a:lnTo>
                      <a:lnTo>
                        <a:pt x="16" y="108"/>
                      </a:lnTo>
                      <a:lnTo>
                        <a:pt x="16" y="104"/>
                      </a:lnTo>
                      <a:lnTo>
                        <a:pt x="16" y="104"/>
                      </a:lnTo>
                      <a:lnTo>
                        <a:pt x="16" y="104"/>
                      </a:lnTo>
                      <a:lnTo>
                        <a:pt x="16" y="100"/>
                      </a:lnTo>
                      <a:lnTo>
                        <a:pt x="16" y="100"/>
                      </a:lnTo>
                      <a:lnTo>
                        <a:pt x="16" y="100"/>
                      </a:lnTo>
                      <a:lnTo>
                        <a:pt x="16" y="96"/>
                      </a:lnTo>
                      <a:lnTo>
                        <a:pt x="20" y="96"/>
                      </a:lnTo>
                      <a:lnTo>
                        <a:pt x="20" y="92"/>
                      </a:lnTo>
                      <a:lnTo>
                        <a:pt x="20" y="92"/>
                      </a:lnTo>
                      <a:lnTo>
                        <a:pt x="20" y="92"/>
                      </a:lnTo>
                      <a:lnTo>
                        <a:pt x="20" y="92"/>
                      </a:lnTo>
                      <a:lnTo>
                        <a:pt x="20" y="88"/>
                      </a:lnTo>
                      <a:lnTo>
                        <a:pt x="20" y="88"/>
                      </a:lnTo>
                      <a:lnTo>
                        <a:pt x="20" y="88"/>
                      </a:lnTo>
                      <a:lnTo>
                        <a:pt x="20" y="88"/>
                      </a:lnTo>
                      <a:lnTo>
                        <a:pt x="20" y="88"/>
                      </a:lnTo>
                      <a:lnTo>
                        <a:pt x="20" y="86"/>
                      </a:lnTo>
                      <a:lnTo>
                        <a:pt x="20" y="86"/>
                      </a:lnTo>
                      <a:lnTo>
                        <a:pt x="20" y="86"/>
                      </a:lnTo>
                      <a:lnTo>
                        <a:pt x="20" y="86"/>
                      </a:lnTo>
                      <a:lnTo>
                        <a:pt x="20" y="86"/>
                      </a:lnTo>
                      <a:lnTo>
                        <a:pt x="20" y="86"/>
                      </a:lnTo>
                      <a:lnTo>
                        <a:pt x="20" y="86"/>
                      </a:lnTo>
                      <a:lnTo>
                        <a:pt x="16" y="86"/>
                      </a:lnTo>
                      <a:lnTo>
                        <a:pt x="16" y="82"/>
                      </a:lnTo>
                      <a:lnTo>
                        <a:pt x="16" y="82"/>
                      </a:lnTo>
                      <a:lnTo>
                        <a:pt x="16" y="82"/>
                      </a:lnTo>
                      <a:lnTo>
                        <a:pt x="12" y="82"/>
                      </a:lnTo>
                      <a:lnTo>
                        <a:pt x="12" y="82"/>
                      </a:lnTo>
                      <a:lnTo>
                        <a:pt x="12" y="82"/>
                      </a:lnTo>
                      <a:lnTo>
                        <a:pt x="12" y="78"/>
                      </a:lnTo>
                      <a:lnTo>
                        <a:pt x="12" y="78"/>
                      </a:lnTo>
                      <a:lnTo>
                        <a:pt x="12" y="78"/>
                      </a:lnTo>
                      <a:lnTo>
                        <a:pt x="12" y="78"/>
                      </a:lnTo>
                      <a:lnTo>
                        <a:pt x="8" y="78"/>
                      </a:lnTo>
                      <a:lnTo>
                        <a:pt x="8" y="78"/>
                      </a:lnTo>
                      <a:lnTo>
                        <a:pt x="8" y="78"/>
                      </a:lnTo>
                      <a:lnTo>
                        <a:pt x="8" y="78"/>
                      </a:lnTo>
                      <a:lnTo>
                        <a:pt x="4" y="74"/>
                      </a:lnTo>
                      <a:lnTo>
                        <a:pt x="4" y="74"/>
                      </a:lnTo>
                      <a:lnTo>
                        <a:pt x="4" y="74"/>
                      </a:lnTo>
                      <a:lnTo>
                        <a:pt x="0" y="74"/>
                      </a:lnTo>
                      <a:lnTo>
                        <a:pt x="0" y="74"/>
                      </a:lnTo>
                      <a:lnTo>
                        <a:pt x="0" y="74"/>
                      </a:lnTo>
                      <a:lnTo>
                        <a:pt x="0" y="70"/>
                      </a:lnTo>
                      <a:lnTo>
                        <a:pt x="4" y="70"/>
                      </a:lnTo>
                      <a:lnTo>
                        <a:pt x="4" y="70"/>
                      </a:lnTo>
                      <a:lnTo>
                        <a:pt x="4" y="70"/>
                      </a:lnTo>
                      <a:lnTo>
                        <a:pt x="4" y="70"/>
                      </a:lnTo>
                      <a:lnTo>
                        <a:pt x="4" y="70"/>
                      </a:lnTo>
                      <a:lnTo>
                        <a:pt x="4" y="70"/>
                      </a:lnTo>
                      <a:lnTo>
                        <a:pt x="4" y="70"/>
                      </a:lnTo>
                      <a:lnTo>
                        <a:pt x="4" y="70"/>
                      </a:lnTo>
                      <a:lnTo>
                        <a:pt x="4" y="70"/>
                      </a:lnTo>
                      <a:lnTo>
                        <a:pt x="4" y="70"/>
                      </a:lnTo>
                      <a:lnTo>
                        <a:pt x="4" y="66"/>
                      </a:lnTo>
                      <a:lnTo>
                        <a:pt x="4" y="66"/>
                      </a:lnTo>
                      <a:lnTo>
                        <a:pt x="4" y="66"/>
                      </a:lnTo>
                      <a:lnTo>
                        <a:pt x="8" y="62"/>
                      </a:lnTo>
                      <a:lnTo>
                        <a:pt x="8" y="62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8" y="56"/>
                      </a:lnTo>
                      <a:lnTo>
                        <a:pt x="8" y="56"/>
                      </a:lnTo>
                      <a:lnTo>
                        <a:pt x="8" y="56"/>
                      </a:lnTo>
                      <a:lnTo>
                        <a:pt x="8" y="56"/>
                      </a:lnTo>
                      <a:lnTo>
                        <a:pt x="8" y="56"/>
                      </a:lnTo>
                      <a:lnTo>
                        <a:pt x="8" y="52"/>
                      </a:lnTo>
                      <a:lnTo>
                        <a:pt x="8" y="52"/>
                      </a:lnTo>
                      <a:lnTo>
                        <a:pt x="8" y="52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12" y="48"/>
                      </a:lnTo>
                      <a:lnTo>
                        <a:pt x="12" y="48"/>
                      </a:lnTo>
                      <a:lnTo>
                        <a:pt x="12" y="48"/>
                      </a:lnTo>
                      <a:lnTo>
                        <a:pt x="12" y="44"/>
                      </a:lnTo>
                      <a:lnTo>
                        <a:pt x="12" y="44"/>
                      </a:lnTo>
                      <a:lnTo>
                        <a:pt x="8" y="44"/>
                      </a:lnTo>
                      <a:lnTo>
                        <a:pt x="8" y="44"/>
                      </a:lnTo>
                      <a:lnTo>
                        <a:pt x="8" y="44"/>
                      </a:lnTo>
                      <a:lnTo>
                        <a:pt x="8" y="44"/>
                      </a:lnTo>
                      <a:lnTo>
                        <a:pt x="8" y="44"/>
                      </a:lnTo>
                      <a:lnTo>
                        <a:pt x="8" y="40"/>
                      </a:lnTo>
                      <a:lnTo>
                        <a:pt x="8" y="40"/>
                      </a:lnTo>
                      <a:lnTo>
                        <a:pt x="8" y="36"/>
                      </a:lnTo>
                      <a:lnTo>
                        <a:pt x="12" y="36"/>
                      </a:lnTo>
                      <a:lnTo>
                        <a:pt x="12" y="40"/>
                      </a:lnTo>
                      <a:lnTo>
                        <a:pt x="12" y="40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16" y="40"/>
                      </a:lnTo>
                      <a:lnTo>
                        <a:pt x="16" y="36"/>
                      </a:lnTo>
                      <a:lnTo>
                        <a:pt x="16" y="36"/>
                      </a:lnTo>
                      <a:lnTo>
                        <a:pt x="16" y="34"/>
                      </a:lnTo>
                      <a:lnTo>
                        <a:pt x="12" y="34"/>
                      </a:lnTo>
                      <a:lnTo>
                        <a:pt x="12" y="34"/>
                      </a:lnTo>
                      <a:lnTo>
                        <a:pt x="12" y="34"/>
                      </a:lnTo>
                      <a:lnTo>
                        <a:pt x="12" y="34"/>
                      </a:lnTo>
                      <a:lnTo>
                        <a:pt x="12" y="34"/>
                      </a:lnTo>
                      <a:lnTo>
                        <a:pt x="12" y="34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2" y="30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18"/>
                      </a:lnTo>
                      <a:lnTo>
                        <a:pt x="8" y="14"/>
                      </a:lnTo>
                      <a:lnTo>
                        <a:pt x="8" y="14"/>
                      </a:lnTo>
                      <a:lnTo>
                        <a:pt x="8" y="14"/>
                      </a:lnTo>
                      <a:lnTo>
                        <a:pt x="8" y="14"/>
                      </a:lnTo>
                      <a:lnTo>
                        <a:pt x="8" y="14"/>
                      </a:lnTo>
                      <a:lnTo>
                        <a:pt x="8" y="14"/>
                      </a:lnTo>
                      <a:lnTo>
                        <a:pt x="8" y="14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12" y="10"/>
                      </a:lnTo>
                      <a:lnTo>
                        <a:pt x="12" y="10"/>
                      </a:lnTo>
                      <a:lnTo>
                        <a:pt x="12" y="10"/>
                      </a:lnTo>
                      <a:lnTo>
                        <a:pt x="12" y="10"/>
                      </a:lnTo>
                      <a:lnTo>
                        <a:pt x="12" y="10"/>
                      </a:lnTo>
                      <a:lnTo>
                        <a:pt x="12" y="10"/>
                      </a:lnTo>
                      <a:lnTo>
                        <a:pt x="12" y="10"/>
                      </a:lnTo>
                      <a:lnTo>
                        <a:pt x="12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4" y="8"/>
                      </a:lnTo>
                      <a:lnTo>
                        <a:pt x="24" y="10"/>
                      </a:lnTo>
                      <a:lnTo>
                        <a:pt x="24" y="10"/>
                      </a:lnTo>
                      <a:lnTo>
                        <a:pt x="24" y="10"/>
                      </a:lnTo>
                      <a:lnTo>
                        <a:pt x="24" y="10"/>
                      </a:lnTo>
                      <a:lnTo>
                        <a:pt x="24" y="10"/>
                      </a:lnTo>
                      <a:lnTo>
                        <a:pt x="24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30" y="8"/>
                      </a:lnTo>
                      <a:lnTo>
                        <a:pt x="30" y="8"/>
                      </a:lnTo>
                      <a:lnTo>
                        <a:pt x="30" y="8"/>
                      </a:lnTo>
                      <a:lnTo>
                        <a:pt x="30" y="8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0"/>
                      </a:lnTo>
                      <a:lnTo>
                        <a:pt x="34" y="0"/>
                      </a:lnTo>
                      <a:lnTo>
                        <a:pt x="34" y="0"/>
                      </a:lnTo>
                      <a:lnTo>
                        <a:pt x="38" y="4"/>
                      </a:lnTo>
                      <a:lnTo>
                        <a:pt x="34" y="4"/>
                      </a:lnTo>
                      <a:lnTo>
                        <a:pt x="38" y="4"/>
                      </a:lnTo>
                      <a:lnTo>
                        <a:pt x="38" y="8"/>
                      </a:lnTo>
                      <a:lnTo>
                        <a:pt x="38" y="8"/>
                      </a:lnTo>
                      <a:lnTo>
                        <a:pt x="38" y="8"/>
                      </a:lnTo>
                      <a:lnTo>
                        <a:pt x="34" y="8"/>
                      </a:lnTo>
                      <a:lnTo>
                        <a:pt x="38" y="10"/>
                      </a:lnTo>
                      <a:lnTo>
                        <a:pt x="38" y="10"/>
                      </a:lnTo>
                      <a:lnTo>
                        <a:pt x="38" y="10"/>
                      </a:lnTo>
                      <a:lnTo>
                        <a:pt x="38" y="10"/>
                      </a:lnTo>
                      <a:lnTo>
                        <a:pt x="38" y="10"/>
                      </a:lnTo>
                      <a:lnTo>
                        <a:pt x="38" y="10"/>
                      </a:lnTo>
                      <a:lnTo>
                        <a:pt x="38" y="8"/>
                      </a:lnTo>
                      <a:lnTo>
                        <a:pt x="38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6" y="4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50" y="8"/>
                      </a:lnTo>
                      <a:lnTo>
                        <a:pt x="50" y="8"/>
                      </a:lnTo>
                      <a:lnTo>
                        <a:pt x="50" y="8"/>
                      </a:lnTo>
                      <a:lnTo>
                        <a:pt x="50" y="8"/>
                      </a:lnTo>
                      <a:lnTo>
                        <a:pt x="50" y="8"/>
                      </a:lnTo>
                      <a:lnTo>
                        <a:pt x="52" y="8"/>
                      </a:lnTo>
                      <a:lnTo>
                        <a:pt x="52" y="10"/>
                      </a:lnTo>
                      <a:lnTo>
                        <a:pt x="52" y="14"/>
                      </a:lnTo>
                      <a:lnTo>
                        <a:pt x="56" y="14"/>
                      </a:lnTo>
                      <a:lnTo>
                        <a:pt x="56" y="14"/>
                      </a:lnTo>
                      <a:lnTo>
                        <a:pt x="56" y="18"/>
                      </a:lnTo>
                      <a:lnTo>
                        <a:pt x="56" y="18"/>
                      </a:lnTo>
                      <a:lnTo>
                        <a:pt x="56" y="18"/>
                      </a:lnTo>
                      <a:lnTo>
                        <a:pt x="56" y="18"/>
                      </a:lnTo>
                      <a:lnTo>
                        <a:pt x="56" y="18"/>
                      </a:lnTo>
                      <a:lnTo>
                        <a:pt x="60" y="18"/>
                      </a:lnTo>
                      <a:lnTo>
                        <a:pt x="60" y="18"/>
                      </a:lnTo>
                      <a:lnTo>
                        <a:pt x="60" y="18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64" y="14"/>
                      </a:lnTo>
                      <a:lnTo>
                        <a:pt x="68" y="14"/>
                      </a:lnTo>
                      <a:lnTo>
                        <a:pt x="68" y="14"/>
                      </a:lnTo>
                      <a:lnTo>
                        <a:pt x="68" y="14"/>
                      </a:lnTo>
                      <a:lnTo>
                        <a:pt x="68" y="14"/>
                      </a:lnTo>
                      <a:lnTo>
                        <a:pt x="68" y="14"/>
                      </a:lnTo>
                      <a:lnTo>
                        <a:pt x="72" y="14"/>
                      </a:lnTo>
                      <a:lnTo>
                        <a:pt x="72" y="14"/>
                      </a:lnTo>
                      <a:lnTo>
                        <a:pt x="72" y="14"/>
                      </a:lnTo>
                      <a:lnTo>
                        <a:pt x="76" y="14"/>
                      </a:lnTo>
                      <a:lnTo>
                        <a:pt x="78" y="14"/>
                      </a:lnTo>
                      <a:lnTo>
                        <a:pt x="78" y="14"/>
                      </a:lnTo>
                      <a:lnTo>
                        <a:pt x="82" y="18"/>
                      </a:lnTo>
                      <a:lnTo>
                        <a:pt x="82" y="18"/>
                      </a:lnTo>
                      <a:lnTo>
                        <a:pt x="82" y="18"/>
                      </a:lnTo>
                      <a:lnTo>
                        <a:pt x="82" y="22"/>
                      </a:lnTo>
                      <a:lnTo>
                        <a:pt x="82" y="22"/>
                      </a:lnTo>
                      <a:lnTo>
                        <a:pt x="82" y="22"/>
                      </a:lnTo>
                      <a:lnTo>
                        <a:pt x="82" y="22"/>
                      </a:lnTo>
                      <a:lnTo>
                        <a:pt x="86" y="22"/>
                      </a:lnTo>
                      <a:lnTo>
                        <a:pt x="86" y="22"/>
                      </a:lnTo>
                      <a:lnTo>
                        <a:pt x="86" y="22"/>
                      </a:lnTo>
                      <a:lnTo>
                        <a:pt x="86" y="22"/>
                      </a:lnTo>
                      <a:lnTo>
                        <a:pt x="86" y="22"/>
                      </a:lnTo>
                      <a:lnTo>
                        <a:pt x="86" y="26"/>
                      </a:lnTo>
                      <a:lnTo>
                        <a:pt x="86" y="26"/>
                      </a:lnTo>
                      <a:lnTo>
                        <a:pt x="86" y="30"/>
                      </a:lnTo>
                      <a:lnTo>
                        <a:pt x="86" y="30"/>
                      </a:lnTo>
                      <a:lnTo>
                        <a:pt x="86" y="30"/>
                      </a:lnTo>
                      <a:lnTo>
                        <a:pt x="86" y="30"/>
                      </a:lnTo>
                      <a:lnTo>
                        <a:pt x="86" y="34"/>
                      </a:lnTo>
                      <a:lnTo>
                        <a:pt x="86" y="34"/>
                      </a:lnTo>
                      <a:lnTo>
                        <a:pt x="86" y="34"/>
                      </a:lnTo>
                      <a:lnTo>
                        <a:pt x="86" y="34"/>
                      </a:lnTo>
                      <a:lnTo>
                        <a:pt x="86" y="34"/>
                      </a:lnTo>
                      <a:lnTo>
                        <a:pt x="86" y="34"/>
                      </a:lnTo>
                      <a:lnTo>
                        <a:pt x="86" y="36"/>
                      </a:lnTo>
                      <a:lnTo>
                        <a:pt x="86" y="36"/>
                      </a:lnTo>
                      <a:lnTo>
                        <a:pt x="90" y="44"/>
                      </a:lnTo>
                      <a:lnTo>
                        <a:pt x="90" y="44"/>
                      </a:lnTo>
                      <a:lnTo>
                        <a:pt x="86" y="44"/>
                      </a:lnTo>
                      <a:lnTo>
                        <a:pt x="86" y="44"/>
                      </a:lnTo>
                      <a:lnTo>
                        <a:pt x="86" y="48"/>
                      </a:lnTo>
                      <a:lnTo>
                        <a:pt x="82" y="48"/>
                      </a:lnTo>
                      <a:lnTo>
                        <a:pt x="82" y="48"/>
                      </a:lnTo>
                      <a:lnTo>
                        <a:pt x="82" y="52"/>
                      </a:lnTo>
                      <a:lnTo>
                        <a:pt x="82" y="52"/>
                      </a:lnTo>
                      <a:lnTo>
                        <a:pt x="82" y="56"/>
                      </a:lnTo>
                      <a:lnTo>
                        <a:pt x="82" y="56"/>
                      </a:lnTo>
                      <a:lnTo>
                        <a:pt x="82" y="60"/>
                      </a:lnTo>
                      <a:lnTo>
                        <a:pt x="82" y="62"/>
                      </a:lnTo>
                      <a:lnTo>
                        <a:pt x="78" y="62"/>
                      </a:lnTo>
                      <a:lnTo>
                        <a:pt x="78" y="62"/>
                      </a:lnTo>
                      <a:lnTo>
                        <a:pt x="78" y="66"/>
                      </a:lnTo>
                      <a:lnTo>
                        <a:pt x="78" y="70"/>
                      </a:lnTo>
                      <a:lnTo>
                        <a:pt x="78" y="70"/>
                      </a:lnTo>
                      <a:lnTo>
                        <a:pt x="78" y="70"/>
                      </a:lnTo>
                      <a:lnTo>
                        <a:pt x="78" y="70"/>
                      </a:lnTo>
                      <a:lnTo>
                        <a:pt x="78" y="70"/>
                      </a:lnTo>
                      <a:lnTo>
                        <a:pt x="78" y="74"/>
                      </a:lnTo>
                      <a:lnTo>
                        <a:pt x="78" y="78"/>
                      </a:lnTo>
                      <a:lnTo>
                        <a:pt x="78" y="78"/>
                      </a:lnTo>
                      <a:lnTo>
                        <a:pt x="78" y="78"/>
                      </a:lnTo>
                      <a:lnTo>
                        <a:pt x="78" y="78"/>
                      </a:lnTo>
                      <a:lnTo>
                        <a:pt x="78" y="78"/>
                      </a:lnTo>
                      <a:lnTo>
                        <a:pt x="78" y="78"/>
                      </a:lnTo>
                      <a:lnTo>
                        <a:pt x="78" y="82"/>
                      </a:lnTo>
                      <a:lnTo>
                        <a:pt x="82" y="86"/>
                      </a:lnTo>
                      <a:lnTo>
                        <a:pt x="82" y="86"/>
                      </a:lnTo>
                      <a:lnTo>
                        <a:pt x="82" y="88"/>
                      </a:lnTo>
                      <a:lnTo>
                        <a:pt x="82" y="88"/>
                      </a:lnTo>
                      <a:lnTo>
                        <a:pt x="82" y="88"/>
                      </a:lnTo>
                      <a:lnTo>
                        <a:pt x="82" y="88"/>
                      </a:lnTo>
                      <a:lnTo>
                        <a:pt x="82" y="88"/>
                      </a:lnTo>
                      <a:lnTo>
                        <a:pt x="82" y="88"/>
                      </a:lnTo>
                      <a:lnTo>
                        <a:pt x="86" y="88"/>
                      </a:lnTo>
                      <a:lnTo>
                        <a:pt x="86" y="92"/>
                      </a:lnTo>
                      <a:lnTo>
                        <a:pt x="82" y="92"/>
                      </a:lnTo>
                      <a:lnTo>
                        <a:pt x="82" y="92"/>
                      </a:lnTo>
                      <a:lnTo>
                        <a:pt x="86" y="96"/>
                      </a:lnTo>
                      <a:lnTo>
                        <a:pt x="86" y="96"/>
                      </a:lnTo>
                      <a:lnTo>
                        <a:pt x="86" y="96"/>
                      </a:lnTo>
                      <a:lnTo>
                        <a:pt x="86" y="96"/>
                      </a:lnTo>
                      <a:lnTo>
                        <a:pt x="86" y="96"/>
                      </a:lnTo>
                      <a:lnTo>
                        <a:pt x="82" y="96"/>
                      </a:lnTo>
                      <a:lnTo>
                        <a:pt x="82" y="96"/>
                      </a:lnTo>
                      <a:lnTo>
                        <a:pt x="82" y="96"/>
                      </a:lnTo>
                      <a:lnTo>
                        <a:pt x="82" y="96"/>
                      </a:lnTo>
                      <a:lnTo>
                        <a:pt x="82" y="96"/>
                      </a:lnTo>
                      <a:lnTo>
                        <a:pt x="82" y="96"/>
                      </a:lnTo>
                      <a:lnTo>
                        <a:pt x="82" y="96"/>
                      </a:lnTo>
                      <a:lnTo>
                        <a:pt x="82" y="96"/>
                      </a:lnTo>
                      <a:lnTo>
                        <a:pt x="78" y="96"/>
                      </a:lnTo>
                      <a:lnTo>
                        <a:pt x="78" y="96"/>
                      </a:lnTo>
                      <a:lnTo>
                        <a:pt x="78" y="96"/>
                      </a:lnTo>
                      <a:lnTo>
                        <a:pt x="78" y="92"/>
                      </a:lnTo>
                      <a:lnTo>
                        <a:pt x="78" y="92"/>
                      </a:lnTo>
                      <a:lnTo>
                        <a:pt x="78" y="92"/>
                      </a:lnTo>
                      <a:lnTo>
                        <a:pt x="78" y="92"/>
                      </a:lnTo>
                      <a:lnTo>
                        <a:pt x="78" y="92"/>
                      </a:lnTo>
                      <a:lnTo>
                        <a:pt x="78" y="92"/>
                      </a:lnTo>
                      <a:lnTo>
                        <a:pt x="78" y="92"/>
                      </a:lnTo>
                      <a:lnTo>
                        <a:pt x="78" y="96"/>
                      </a:lnTo>
                      <a:lnTo>
                        <a:pt x="78" y="96"/>
                      </a:lnTo>
                      <a:lnTo>
                        <a:pt x="76" y="96"/>
                      </a:lnTo>
                      <a:lnTo>
                        <a:pt x="76" y="96"/>
                      </a:lnTo>
                      <a:lnTo>
                        <a:pt x="76" y="96"/>
                      </a:lnTo>
                      <a:lnTo>
                        <a:pt x="76" y="96"/>
                      </a:lnTo>
                      <a:lnTo>
                        <a:pt x="76" y="96"/>
                      </a:lnTo>
                      <a:lnTo>
                        <a:pt x="76" y="96"/>
                      </a:lnTo>
                      <a:lnTo>
                        <a:pt x="76" y="96"/>
                      </a:lnTo>
                      <a:lnTo>
                        <a:pt x="72" y="96"/>
                      </a:lnTo>
                      <a:lnTo>
                        <a:pt x="72" y="96"/>
                      </a:lnTo>
                      <a:lnTo>
                        <a:pt x="72" y="96"/>
                      </a:lnTo>
                      <a:lnTo>
                        <a:pt x="68" y="96"/>
                      </a:lnTo>
                      <a:lnTo>
                        <a:pt x="68" y="92"/>
                      </a:lnTo>
                      <a:lnTo>
                        <a:pt x="68" y="92"/>
                      </a:lnTo>
                      <a:lnTo>
                        <a:pt x="68" y="92"/>
                      </a:lnTo>
                      <a:lnTo>
                        <a:pt x="68" y="92"/>
                      </a:lnTo>
                      <a:lnTo>
                        <a:pt x="68" y="92"/>
                      </a:lnTo>
                      <a:lnTo>
                        <a:pt x="72" y="92"/>
                      </a:lnTo>
                      <a:lnTo>
                        <a:pt x="72" y="92"/>
                      </a:lnTo>
                      <a:lnTo>
                        <a:pt x="72" y="92"/>
                      </a:lnTo>
                      <a:lnTo>
                        <a:pt x="72" y="92"/>
                      </a:lnTo>
                      <a:lnTo>
                        <a:pt x="72" y="92"/>
                      </a:lnTo>
                      <a:lnTo>
                        <a:pt x="72" y="92"/>
                      </a:lnTo>
                      <a:lnTo>
                        <a:pt x="72" y="92"/>
                      </a:lnTo>
                      <a:lnTo>
                        <a:pt x="72" y="92"/>
                      </a:lnTo>
                      <a:lnTo>
                        <a:pt x="72" y="92"/>
                      </a:lnTo>
                      <a:lnTo>
                        <a:pt x="72" y="92"/>
                      </a:lnTo>
                      <a:lnTo>
                        <a:pt x="68" y="92"/>
                      </a:lnTo>
                      <a:lnTo>
                        <a:pt x="68" y="92"/>
                      </a:lnTo>
                      <a:lnTo>
                        <a:pt x="68" y="92"/>
                      </a:lnTo>
                      <a:lnTo>
                        <a:pt x="64" y="92"/>
                      </a:lnTo>
                      <a:lnTo>
                        <a:pt x="60" y="92"/>
                      </a:lnTo>
                      <a:lnTo>
                        <a:pt x="60" y="92"/>
                      </a:lnTo>
                      <a:lnTo>
                        <a:pt x="60" y="92"/>
                      </a:lnTo>
                      <a:lnTo>
                        <a:pt x="60" y="92"/>
                      </a:lnTo>
                      <a:lnTo>
                        <a:pt x="56" y="96"/>
                      </a:lnTo>
                      <a:lnTo>
                        <a:pt x="56" y="96"/>
                      </a:lnTo>
                      <a:lnTo>
                        <a:pt x="56" y="96"/>
                      </a:lnTo>
                      <a:lnTo>
                        <a:pt x="56" y="96"/>
                      </a:lnTo>
                      <a:lnTo>
                        <a:pt x="56" y="96"/>
                      </a:lnTo>
                      <a:lnTo>
                        <a:pt x="56" y="96"/>
                      </a:lnTo>
                      <a:lnTo>
                        <a:pt x="56" y="96"/>
                      </a:lnTo>
                      <a:lnTo>
                        <a:pt x="60" y="96"/>
                      </a:lnTo>
                      <a:lnTo>
                        <a:pt x="60" y="96"/>
                      </a:lnTo>
                      <a:lnTo>
                        <a:pt x="60" y="96"/>
                      </a:lnTo>
                      <a:lnTo>
                        <a:pt x="60" y="96"/>
                      </a:lnTo>
                      <a:lnTo>
                        <a:pt x="60" y="96"/>
                      </a:lnTo>
                      <a:lnTo>
                        <a:pt x="64" y="92"/>
                      </a:lnTo>
                      <a:lnTo>
                        <a:pt x="64" y="92"/>
                      </a:lnTo>
                      <a:lnTo>
                        <a:pt x="64" y="92"/>
                      </a:lnTo>
                      <a:lnTo>
                        <a:pt x="64" y="92"/>
                      </a:lnTo>
                      <a:lnTo>
                        <a:pt x="64" y="92"/>
                      </a:lnTo>
                      <a:lnTo>
                        <a:pt x="68" y="92"/>
                      </a:lnTo>
                      <a:lnTo>
                        <a:pt x="68" y="96"/>
                      </a:lnTo>
                      <a:lnTo>
                        <a:pt x="64" y="96"/>
                      </a:lnTo>
                      <a:lnTo>
                        <a:pt x="64" y="96"/>
                      </a:lnTo>
                      <a:lnTo>
                        <a:pt x="64" y="96"/>
                      </a:lnTo>
                      <a:lnTo>
                        <a:pt x="60" y="96"/>
                      </a:lnTo>
                      <a:lnTo>
                        <a:pt x="56" y="96"/>
                      </a:lnTo>
                      <a:lnTo>
                        <a:pt x="56" y="96"/>
                      </a:lnTo>
                      <a:lnTo>
                        <a:pt x="56" y="96"/>
                      </a:lnTo>
                      <a:lnTo>
                        <a:pt x="56" y="96"/>
                      </a:lnTo>
                      <a:lnTo>
                        <a:pt x="56" y="96"/>
                      </a:lnTo>
                      <a:lnTo>
                        <a:pt x="56" y="96"/>
                      </a:lnTo>
                      <a:lnTo>
                        <a:pt x="56" y="96"/>
                      </a:lnTo>
                      <a:lnTo>
                        <a:pt x="56" y="96"/>
                      </a:lnTo>
                      <a:lnTo>
                        <a:pt x="52" y="96"/>
                      </a:lnTo>
                      <a:lnTo>
                        <a:pt x="52" y="96"/>
                      </a:lnTo>
                      <a:lnTo>
                        <a:pt x="52" y="96"/>
                      </a:lnTo>
                      <a:lnTo>
                        <a:pt x="52" y="96"/>
                      </a:lnTo>
                      <a:lnTo>
                        <a:pt x="52" y="96"/>
                      </a:lnTo>
                      <a:lnTo>
                        <a:pt x="52" y="96"/>
                      </a:lnTo>
                      <a:lnTo>
                        <a:pt x="52" y="96"/>
                      </a:lnTo>
                      <a:lnTo>
                        <a:pt x="52" y="96"/>
                      </a:lnTo>
                      <a:lnTo>
                        <a:pt x="50" y="96"/>
                      </a:lnTo>
                      <a:lnTo>
                        <a:pt x="50" y="96"/>
                      </a:lnTo>
                      <a:lnTo>
                        <a:pt x="50" y="96"/>
                      </a:lnTo>
                      <a:lnTo>
                        <a:pt x="50" y="96"/>
                      </a:lnTo>
                      <a:lnTo>
                        <a:pt x="50" y="96"/>
                      </a:lnTo>
                      <a:lnTo>
                        <a:pt x="50" y="96"/>
                      </a:lnTo>
                      <a:lnTo>
                        <a:pt x="50" y="96"/>
                      </a:lnTo>
                      <a:lnTo>
                        <a:pt x="50" y="96"/>
                      </a:lnTo>
                      <a:lnTo>
                        <a:pt x="50" y="96"/>
                      </a:lnTo>
                      <a:lnTo>
                        <a:pt x="50" y="96"/>
                      </a:lnTo>
                      <a:close/>
                      <a:moveTo>
                        <a:pt x="78" y="96"/>
                      </a:moveTo>
                      <a:lnTo>
                        <a:pt x="78" y="96"/>
                      </a:lnTo>
                      <a:lnTo>
                        <a:pt x="78" y="96"/>
                      </a:lnTo>
                      <a:lnTo>
                        <a:pt x="78" y="96"/>
                      </a:lnTo>
                      <a:lnTo>
                        <a:pt x="78" y="96"/>
                      </a:lnTo>
                      <a:lnTo>
                        <a:pt x="78" y="96"/>
                      </a:lnTo>
                      <a:lnTo>
                        <a:pt x="78" y="9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95" name="Freeform 141"/>
                <p:cNvSpPr>
                  <a:spLocks/>
                </p:cNvSpPr>
                <p:nvPr/>
              </p:nvSpPr>
              <p:spPr bwMode="auto">
                <a:xfrm>
                  <a:off x="5327650" y="4213293"/>
                  <a:ext cx="44450" cy="47625"/>
                </a:xfrm>
                <a:custGeom>
                  <a:avLst/>
                  <a:gdLst>
                    <a:gd name="T0" fmla="*/ 24 w 28"/>
                    <a:gd name="T1" fmla="*/ 4 h 30"/>
                    <a:gd name="T2" fmla="*/ 28 w 28"/>
                    <a:gd name="T3" fmla="*/ 8 h 30"/>
                    <a:gd name="T4" fmla="*/ 28 w 28"/>
                    <a:gd name="T5" fmla="*/ 12 h 30"/>
                    <a:gd name="T6" fmla="*/ 28 w 28"/>
                    <a:gd name="T7" fmla="*/ 12 h 30"/>
                    <a:gd name="T8" fmla="*/ 24 w 28"/>
                    <a:gd name="T9" fmla="*/ 12 h 30"/>
                    <a:gd name="T10" fmla="*/ 24 w 28"/>
                    <a:gd name="T11" fmla="*/ 16 h 30"/>
                    <a:gd name="T12" fmla="*/ 24 w 28"/>
                    <a:gd name="T13" fmla="*/ 16 h 30"/>
                    <a:gd name="T14" fmla="*/ 20 w 28"/>
                    <a:gd name="T15" fmla="*/ 16 h 30"/>
                    <a:gd name="T16" fmla="*/ 20 w 28"/>
                    <a:gd name="T17" fmla="*/ 16 h 30"/>
                    <a:gd name="T18" fmla="*/ 20 w 28"/>
                    <a:gd name="T19" fmla="*/ 16 h 30"/>
                    <a:gd name="T20" fmla="*/ 16 w 28"/>
                    <a:gd name="T21" fmla="*/ 18 h 30"/>
                    <a:gd name="T22" fmla="*/ 16 w 28"/>
                    <a:gd name="T23" fmla="*/ 18 h 30"/>
                    <a:gd name="T24" fmla="*/ 16 w 28"/>
                    <a:gd name="T25" fmla="*/ 18 h 30"/>
                    <a:gd name="T26" fmla="*/ 12 w 28"/>
                    <a:gd name="T27" fmla="*/ 18 h 30"/>
                    <a:gd name="T28" fmla="*/ 12 w 28"/>
                    <a:gd name="T29" fmla="*/ 18 h 30"/>
                    <a:gd name="T30" fmla="*/ 16 w 28"/>
                    <a:gd name="T31" fmla="*/ 22 h 30"/>
                    <a:gd name="T32" fmla="*/ 16 w 28"/>
                    <a:gd name="T33" fmla="*/ 22 h 30"/>
                    <a:gd name="T34" fmla="*/ 16 w 28"/>
                    <a:gd name="T35" fmla="*/ 18 h 30"/>
                    <a:gd name="T36" fmla="*/ 20 w 28"/>
                    <a:gd name="T37" fmla="*/ 18 h 30"/>
                    <a:gd name="T38" fmla="*/ 20 w 28"/>
                    <a:gd name="T39" fmla="*/ 18 h 30"/>
                    <a:gd name="T40" fmla="*/ 20 w 28"/>
                    <a:gd name="T41" fmla="*/ 18 h 30"/>
                    <a:gd name="T42" fmla="*/ 20 w 28"/>
                    <a:gd name="T43" fmla="*/ 18 h 30"/>
                    <a:gd name="T44" fmla="*/ 24 w 28"/>
                    <a:gd name="T45" fmla="*/ 18 h 30"/>
                    <a:gd name="T46" fmla="*/ 24 w 28"/>
                    <a:gd name="T47" fmla="*/ 22 h 30"/>
                    <a:gd name="T48" fmla="*/ 24 w 28"/>
                    <a:gd name="T49" fmla="*/ 22 h 30"/>
                    <a:gd name="T50" fmla="*/ 24 w 28"/>
                    <a:gd name="T51" fmla="*/ 26 h 30"/>
                    <a:gd name="T52" fmla="*/ 20 w 28"/>
                    <a:gd name="T53" fmla="*/ 30 h 30"/>
                    <a:gd name="T54" fmla="*/ 20 w 28"/>
                    <a:gd name="T55" fmla="*/ 30 h 30"/>
                    <a:gd name="T56" fmla="*/ 16 w 28"/>
                    <a:gd name="T57" fmla="*/ 30 h 30"/>
                    <a:gd name="T58" fmla="*/ 16 w 28"/>
                    <a:gd name="T59" fmla="*/ 30 h 30"/>
                    <a:gd name="T60" fmla="*/ 16 w 28"/>
                    <a:gd name="T61" fmla="*/ 30 h 30"/>
                    <a:gd name="T62" fmla="*/ 16 w 28"/>
                    <a:gd name="T63" fmla="*/ 30 h 30"/>
                    <a:gd name="T64" fmla="*/ 12 w 28"/>
                    <a:gd name="T65" fmla="*/ 30 h 30"/>
                    <a:gd name="T66" fmla="*/ 8 w 28"/>
                    <a:gd name="T67" fmla="*/ 30 h 30"/>
                    <a:gd name="T68" fmla="*/ 8 w 28"/>
                    <a:gd name="T69" fmla="*/ 30 h 30"/>
                    <a:gd name="T70" fmla="*/ 4 w 28"/>
                    <a:gd name="T71" fmla="*/ 30 h 30"/>
                    <a:gd name="T72" fmla="*/ 4 w 28"/>
                    <a:gd name="T73" fmla="*/ 30 h 30"/>
                    <a:gd name="T74" fmla="*/ 4 w 28"/>
                    <a:gd name="T75" fmla="*/ 30 h 30"/>
                    <a:gd name="T76" fmla="*/ 4 w 28"/>
                    <a:gd name="T77" fmla="*/ 30 h 30"/>
                    <a:gd name="T78" fmla="*/ 4 w 28"/>
                    <a:gd name="T79" fmla="*/ 26 h 30"/>
                    <a:gd name="T80" fmla="*/ 4 w 28"/>
                    <a:gd name="T81" fmla="*/ 26 h 30"/>
                    <a:gd name="T82" fmla="*/ 0 w 28"/>
                    <a:gd name="T83" fmla="*/ 22 h 30"/>
                    <a:gd name="T84" fmla="*/ 4 w 28"/>
                    <a:gd name="T85" fmla="*/ 18 h 30"/>
                    <a:gd name="T86" fmla="*/ 4 w 28"/>
                    <a:gd name="T87" fmla="*/ 16 h 30"/>
                    <a:gd name="T88" fmla="*/ 8 w 28"/>
                    <a:gd name="T89" fmla="*/ 12 h 30"/>
                    <a:gd name="T90" fmla="*/ 8 w 28"/>
                    <a:gd name="T91" fmla="*/ 12 h 30"/>
                    <a:gd name="T92" fmla="*/ 8 w 28"/>
                    <a:gd name="T93" fmla="*/ 8 h 30"/>
                    <a:gd name="T94" fmla="*/ 12 w 28"/>
                    <a:gd name="T95" fmla="*/ 8 h 30"/>
                    <a:gd name="T96" fmla="*/ 12 w 28"/>
                    <a:gd name="T97" fmla="*/ 4 h 30"/>
                    <a:gd name="T98" fmla="*/ 12 w 28"/>
                    <a:gd name="T99" fmla="*/ 4 h 30"/>
                    <a:gd name="T100" fmla="*/ 12 w 28"/>
                    <a:gd name="T101" fmla="*/ 4 h 30"/>
                    <a:gd name="T102" fmla="*/ 16 w 28"/>
                    <a:gd name="T103" fmla="*/ 4 h 30"/>
                    <a:gd name="T104" fmla="*/ 16 w 28"/>
                    <a:gd name="T105" fmla="*/ 4 h 30"/>
                    <a:gd name="T106" fmla="*/ 16 w 28"/>
                    <a:gd name="T107" fmla="*/ 8 h 30"/>
                    <a:gd name="T108" fmla="*/ 16 w 28"/>
                    <a:gd name="T109" fmla="*/ 4 h 30"/>
                    <a:gd name="T110" fmla="*/ 20 w 28"/>
                    <a:gd name="T111" fmla="*/ 0 h 30"/>
                    <a:gd name="T112" fmla="*/ 24 w 28"/>
                    <a:gd name="T113" fmla="*/ 0 h 30"/>
                    <a:gd name="T114" fmla="*/ 24 w 28"/>
                    <a:gd name="T115" fmla="*/ 4 h 30"/>
                    <a:gd name="T116" fmla="*/ 24 w 28"/>
                    <a:gd name="T117" fmla="*/ 4 h 30"/>
                    <a:gd name="T118" fmla="*/ 24 w 28"/>
                    <a:gd name="T119" fmla="*/ 4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28" h="30">
                      <a:moveTo>
                        <a:pt x="24" y="4"/>
                      </a:moveTo>
                      <a:lnTo>
                        <a:pt x="24" y="4"/>
                      </a:lnTo>
                      <a:lnTo>
                        <a:pt x="28" y="8"/>
                      </a:lnTo>
                      <a:lnTo>
                        <a:pt x="28" y="8"/>
                      </a:lnTo>
                      <a:lnTo>
                        <a:pt x="28" y="8"/>
                      </a:lnTo>
                      <a:lnTo>
                        <a:pt x="28" y="12"/>
                      </a:lnTo>
                      <a:lnTo>
                        <a:pt x="28" y="12"/>
                      </a:lnTo>
                      <a:lnTo>
                        <a:pt x="28" y="12"/>
                      </a:lnTo>
                      <a:lnTo>
                        <a:pt x="28" y="12"/>
                      </a:lnTo>
                      <a:lnTo>
                        <a:pt x="24" y="12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2" y="18"/>
                      </a:lnTo>
                      <a:lnTo>
                        <a:pt x="12" y="18"/>
                      </a:lnTo>
                      <a:lnTo>
                        <a:pt x="12" y="18"/>
                      </a:lnTo>
                      <a:lnTo>
                        <a:pt x="12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4" y="18"/>
                      </a:lnTo>
                      <a:lnTo>
                        <a:pt x="24" y="18"/>
                      </a:lnTo>
                      <a:lnTo>
                        <a:pt x="24" y="22"/>
                      </a:lnTo>
                      <a:lnTo>
                        <a:pt x="24" y="22"/>
                      </a:lnTo>
                      <a:lnTo>
                        <a:pt x="24" y="22"/>
                      </a:lnTo>
                      <a:lnTo>
                        <a:pt x="24" y="22"/>
                      </a:lnTo>
                      <a:lnTo>
                        <a:pt x="24" y="22"/>
                      </a:lnTo>
                      <a:lnTo>
                        <a:pt x="24" y="26"/>
                      </a:lnTo>
                      <a:lnTo>
                        <a:pt x="20" y="26"/>
                      </a:lnTo>
                      <a:lnTo>
                        <a:pt x="20" y="30"/>
                      </a:lnTo>
                      <a:lnTo>
                        <a:pt x="20" y="30"/>
                      </a:lnTo>
                      <a:lnTo>
                        <a:pt x="20" y="30"/>
                      </a:lnTo>
                      <a:lnTo>
                        <a:pt x="20" y="30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2"/>
                      </a:lnTo>
                      <a:lnTo>
                        <a:pt x="0" y="22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8" y="12"/>
                      </a:lnTo>
                      <a:lnTo>
                        <a:pt x="8" y="12"/>
                      </a:lnTo>
                      <a:lnTo>
                        <a:pt x="8" y="12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12" y="8"/>
                      </a:lnTo>
                      <a:lnTo>
                        <a:pt x="12" y="8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20" y="0"/>
                      </a:ln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96" name="Freeform 142"/>
                <p:cNvSpPr>
                  <a:spLocks/>
                </p:cNvSpPr>
                <p:nvPr/>
              </p:nvSpPr>
              <p:spPr bwMode="auto">
                <a:xfrm>
                  <a:off x="4949825" y="3679893"/>
                  <a:ext cx="269875" cy="273050"/>
                </a:xfrm>
                <a:custGeom>
                  <a:avLst/>
                  <a:gdLst>
                    <a:gd name="T0" fmla="*/ 108 w 170"/>
                    <a:gd name="T1" fmla="*/ 8 h 172"/>
                    <a:gd name="T2" fmla="*/ 118 w 170"/>
                    <a:gd name="T3" fmla="*/ 12 h 172"/>
                    <a:gd name="T4" fmla="*/ 130 w 170"/>
                    <a:gd name="T5" fmla="*/ 8 h 172"/>
                    <a:gd name="T6" fmla="*/ 138 w 170"/>
                    <a:gd name="T7" fmla="*/ 18 h 172"/>
                    <a:gd name="T8" fmla="*/ 142 w 170"/>
                    <a:gd name="T9" fmla="*/ 34 h 172"/>
                    <a:gd name="T10" fmla="*/ 142 w 170"/>
                    <a:gd name="T11" fmla="*/ 48 h 172"/>
                    <a:gd name="T12" fmla="*/ 138 w 170"/>
                    <a:gd name="T13" fmla="*/ 64 h 172"/>
                    <a:gd name="T14" fmla="*/ 130 w 170"/>
                    <a:gd name="T15" fmla="*/ 68 h 172"/>
                    <a:gd name="T16" fmla="*/ 122 w 170"/>
                    <a:gd name="T17" fmla="*/ 60 h 172"/>
                    <a:gd name="T18" fmla="*/ 114 w 170"/>
                    <a:gd name="T19" fmla="*/ 46 h 172"/>
                    <a:gd name="T20" fmla="*/ 112 w 170"/>
                    <a:gd name="T21" fmla="*/ 30 h 172"/>
                    <a:gd name="T22" fmla="*/ 112 w 170"/>
                    <a:gd name="T23" fmla="*/ 42 h 172"/>
                    <a:gd name="T24" fmla="*/ 114 w 170"/>
                    <a:gd name="T25" fmla="*/ 52 h 172"/>
                    <a:gd name="T26" fmla="*/ 122 w 170"/>
                    <a:gd name="T27" fmla="*/ 64 h 172"/>
                    <a:gd name="T28" fmla="*/ 122 w 170"/>
                    <a:gd name="T29" fmla="*/ 72 h 172"/>
                    <a:gd name="T30" fmla="*/ 126 w 170"/>
                    <a:gd name="T31" fmla="*/ 82 h 172"/>
                    <a:gd name="T32" fmla="*/ 134 w 170"/>
                    <a:gd name="T33" fmla="*/ 98 h 172"/>
                    <a:gd name="T34" fmla="*/ 142 w 170"/>
                    <a:gd name="T35" fmla="*/ 112 h 172"/>
                    <a:gd name="T36" fmla="*/ 144 w 170"/>
                    <a:gd name="T37" fmla="*/ 124 h 172"/>
                    <a:gd name="T38" fmla="*/ 152 w 170"/>
                    <a:gd name="T39" fmla="*/ 134 h 172"/>
                    <a:gd name="T40" fmla="*/ 152 w 170"/>
                    <a:gd name="T41" fmla="*/ 142 h 172"/>
                    <a:gd name="T42" fmla="*/ 152 w 170"/>
                    <a:gd name="T43" fmla="*/ 158 h 172"/>
                    <a:gd name="T44" fmla="*/ 164 w 170"/>
                    <a:gd name="T45" fmla="*/ 164 h 172"/>
                    <a:gd name="T46" fmla="*/ 170 w 170"/>
                    <a:gd name="T47" fmla="*/ 172 h 172"/>
                    <a:gd name="T48" fmla="*/ 156 w 170"/>
                    <a:gd name="T49" fmla="*/ 172 h 172"/>
                    <a:gd name="T50" fmla="*/ 142 w 170"/>
                    <a:gd name="T51" fmla="*/ 172 h 172"/>
                    <a:gd name="T52" fmla="*/ 122 w 170"/>
                    <a:gd name="T53" fmla="*/ 172 h 172"/>
                    <a:gd name="T54" fmla="*/ 100 w 170"/>
                    <a:gd name="T55" fmla="*/ 172 h 172"/>
                    <a:gd name="T56" fmla="*/ 92 w 170"/>
                    <a:gd name="T57" fmla="*/ 168 h 172"/>
                    <a:gd name="T58" fmla="*/ 82 w 170"/>
                    <a:gd name="T59" fmla="*/ 172 h 172"/>
                    <a:gd name="T60" fmla="*/ 62 w 170"/>
                    <a:gd name="T61" fmla="*/ 172 h 172"/>
                    <a:gd name="T62" fmla="*/ 42 w 170"/>
                    <a:gd name="T63" fmla="*/ 172 h 172"/>
                    <a:gd name="T64" fmla="*/ 26 w 170"/>
                    <a:gd name="T65" fmla="*/ 172 h 172"/>
                    <a:gd name="T66" fmla="*/ 4 w 170"/>
                    <a:gd name="T67" fmla="*/ 172 h 172"/>
                    <a:gd name="T68" fmla="*/ 4 w 170"/>
                    <a:gd name="T69" fmla="*/ 130 h 172"/>
                    <a:gd name="T70" fmla="*/ 4 w 170"/>
                    <a:gd name="T71" fmla="*/ 102 h 172"/>
                    <a:gd name="T72" fmla="*/ 4 w 170"/>
                    <a:gd name="T73" fmla="*/ 82 h 172"/>
                    <a:gd name="T74" fmla="*/ 4 w 170"/>
                    <a:gd name="T75" fmla="*/ 64 h 172"/>
                    <a:gd name="T76" fmla="*/ 4 w 170"/>
                    <a:gd name="T77" fmla="*/ 42 h 172"/>
                    <a:gd name="T78" fmla="*/ 0 w 170"/>
                    <a:gd name="T79" fmla="*/ 26 h 172"/>
                    <a:gd name="T80" fmla="*/ 4 w 170"/>
                    <a:gd name="T81" fmla="*/ 12 h 172"/>
                    <a:gd name="T82" fmla="*/ 4 w 170"/>
                    <a:gd name="T83" fmla="*/ 0 h 172"/>
                    <a:gd name="T84" fmla="*/ 18 w 170"/>
                    <a:gd name="T85" fmla="*/ 0 h 172"/>
                    <a:gd name="T86" fmla="*/ 30 w 170"/>
                    <a:gd name="T87" fmla="*/ 4 h 172"/>
                    <a:gd name="T88" fmla="*/ 42 w 170"/>
                    <a:gd name="T89" fmla="*/ 8 h 172"/>
                    <a:gd name="T90" fmla="*/ 56 w 170"/>
                    <a:gd name="T91" fmla="*/ 12 h 172"/>
                    <a:gd name="T92" fmla="*/ 70 w 170"/>
                    <a:gd name="T93" fmla="*/ 12 h 172"/>
                    <a:gd name="T94" fmla="*/ 74 w 170"/>
                    <a:gd name="T95" fmla="*/ 8 h 172"/>
                    <a:gd name="T96" fmla="*/ 78 w 170"/>
                    <a:gd name="T97" fmla="*/ 4 h 172"/>
                    <a:gd name="T98" fmla="*/ 86 w 170"/>
                    <a:gd name="T99" fmla="*/ 4 h 172"/>
                    <a:gd name="T100" fmla="*/ 88 w 170"/>
                    <a:gd name="T101" fmla="*/ 0 h 172"/>
                    <a:gd name="T102" fmla="*/ 100 w 170"/>
                    <a:gd name="T103" fmla="*/ 4 h 172"/>
                    <a:gd name="T104" fmla="*/ 100 w 170"/>
                    <a:gd name="T105" fmla="*/ 4 h 172"/>
                    <a:gd name="T106" fmla="*/ 104 w 170"/>
                    <a:gd name="T107" fmla="*/ 12 h 1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70" h="172">
                      <a:moveTo>
                        <a:pt x="104" y="8"/>
                      </a:moveTo>
                      <a:lnTo>
                        <a:pt x="108" y="8"/>
                      </a:lnTo>
                      <a:lnTo>
                        <a:pt x="104" y="8"/>
                      </a:lnTo>
                      <a:lnTo>
                        <a:pt x="108" y="8"/>
                      </a:lnTo>
                      <a:lnTo>
                        <a:pt x="112" y="12"/>
                      </a:lnTo>
                      <a:lnTo>
                        <a:pt x="114" y="8"/>
                      </a:lnTo>
                      <a:lnTo>
                        <a:pt x="118" y="8"/>
                      </a:lnTo>
                      <a:lnTo>
                        <a:pt x="118" y="12"/>
                      </a:lnTo>
                      <a:lnTo>
                        <a:pt x="118" y="8"/>
                      </a:lnTo>
                      <a:lnTo>
                        <a:pt x="122" y="8"/>
                      </a:lnTo>
                      <a:lnTo>
                        <a:pt x="126" y="8"/>
                      </a:lnTo>
                      <a:lnTo>
                        <a:pt x="130" y="8"/>
                      </a:lnTo>
                      <a:lnTo>
                        <a:pt x="134" y="4"/>
                      </a:lnTo>
                      <a:lnTo>
                        <a:pt x="134" y="8"/>
                      </a:lnTo>
                      <a:lnTo>
                        <a:pt x="138" y="16"/>
                      </a:lnTo>
                      <a:lnTo>
                        <a:pt x="138" y="18"/>
                      </a:lnTo>
                      <a:lnTo>
                        <a:pt x="138" y="22"/>
                      </a:lnTo>
                      <a:lnTo>
                        <a:pt x="142" y="26"/>
                      </a:lnTo>
                      <a:lnTo>
                        <a:pt x="142" y="30"/>
                      </a:lnTo>
                      <a:lnTo>
                        <a:pt x="142" y="34"/>
                      </a:lnTo>
                      <a:lnTo>
                        <a:pt x="142" y="38"/>
                      </a:lnTo>
                      <a:lnTo>
                        <a:pt x="142" y="42"/>
                      </a:lnTo>
                      <a:lnTo>
                        <a:pt x="142" y="46"/>
                      </a:lnTo>
                      <a:lnTo>
                        <a:pt x="142" y="48"/>
                      </a:lnTo>
                      <a:lnTo>
                        <a:pt x="138" y="52"/>
                      </a:lnTo>
                      <a:lnTo>
                        <a:pt x="138" y="56"/>
                      </a:lnTo>
                      <a:lnTo>
                        <a:pt x="138" y="60"/>
                      </a:lnTo>
                      <a:lnTo>
                        <a:pt x="138" y="64"/>
                      </a:lnTo>
                      <a:lnTo>
                        <a:pt x="138" y="68"/>
                      </a:lnTo>
                      <a:lnTo>
                        <a:pt x="134" y="68"/>
                      </a:lnTo>
                      <a:lnTo>
                        <a:pt x="134" y="72"/>
                      </a:lnTo>
                      <a:lnTo>
                        <a:pt x="130" y="68"/>
                      </a:lnTo>
                      <a:lnTo>
                        <a:pt x="126" y="68"/>
                      </a:lnTo>
                      <a:lnTo>
                        <a:pt x="126" y="64"/>
                      </a:lnTo>
                      <a:lnTo>
                        <a:pt x="126" y="60"/>
                      </a:lnTo>
                      <a:lnTo>
                        <a:pt x="122" y="60"/>
                      </a:lnTo>
                      <a:lnTo>
                        <a:pt x="118" y="56"/>
                      </a:lnTo>
                      <a:lnTo>
                        <a:pt x="118" y="52"/>
                      </a:lnTo>
                      <a:lnTo>
                        <a:pt x="118" y="48"/>
                      </a:lnTo>
                      <a:lnTo>
                        <a:pt x="114" y="46"/>
                      </a:lnTo>
                      <a:lnTo>
                        <a:pt x="112" y="42"/>
                      </a:lnTo>
                      <a:lnTo>
                        <a:pt x="112" y="38"/>
                      </a:lnTo>
                      <a:lnTo>
                        <a:pt x="112" y="34"/>
                      </a:lnTo>
                      <a:lnTo>
                        <a:pt x="112" y="30"/>
                      </a:lnTo>
                      <a:lnTo>
                        <a:pt x="108" y="30"/>
                      </a:lnTo>
                      <a:lnTo>
                        <a:pt x="108" y="34"/>
                      </a:lnTo>
                      <a:lnTo>
                        <a:pt x="108" y="38"/>
                      </a:lnTo>
                      <a:lnTo>
                        <a:pt x="112" y="42"/>
                      </a:lnTo>
                      <a:lnTo>
                        <a:pt x="112" y="46"/>
                      </a:lnTo>
                      <a:lnTo>
                        <a:pt x="112" y="48"/>
                      </a:lnTo>
                      <a:lnTo>
                        <a:pt x="112" y="52"/>
                      </a:lnTo>
                      <a:lnTo>
                        <a:pt x="114" y="52"/>
                      </a:lnTo>
                      <a:lnTo>
                        <a:pt x="114" y="56"/>
                      </a:lnTo>
                      <a:lnTo>
                        <a:pt x="118" y="60"/>
                      </a:lnTo>
                      <a:lnTo>
                        <a:pt x="118" y="64"/>
                      </a:lnTo>
                      <a:lnTo>
                        <a:pt x="122" y="64"/>
                      </a:lnTo>
                      <a:lnTo>
                        <a:pt x="122" y="68"/>
                      </a:lnTo>
                      <a:lnTo>
                        <a:pt x="122" y="72"/>
                      </a:lnTo>
                      <a:lnTo>
                        <a:pt x="122" y="68"/>
                      </a:lnTo>
                      <a:lnTo>
                        <a:pt x="122" y="72"/>
                      </a:lnTo>
                      <a:lnTo>
                        <a:pt x="122" y="74"/>
                      </a:lnTo>
                      <a:lnTo>
                        <a:pt x="126" y="74"/>
                      </a:lnTo>
                      <a:lnTo>
                        <a:pt x="126" y="78"/>
                      </a:lnTo>
                      <a:lnTo>
                        <a:pt x="126" y="82"/>
                      </a:lnTo>
                      <a:lnTo>
                        <a:pt x="130" y="86"/>
                      </a:lnTo>
                      <a:lnTo>
                        <a:pt x="130" y="90"/>
                      </a:lnTo>
                      <a:lnTo>
                        <a:pt x="130" y="94"/>
                      </a:lnTo>
                      <a:lnTo>
                        <a:pt x="134" y="98"/>
                      </a:lnTo>
                      <a:lnTo>
                        <a:pt x="134" y="102"/>
                      </a:lnTo>
                      <a:lnTo>
                        <a:pt x="138" y="104"/>
                      </a:lnTo>
                      <a:lnTo>
                        <a:pt x="138" y="108"/>
                      </a:lnTo>
                      <a:lnTo>
                        <a:pt x="142" y="112"/>
                      </a:lnTo>
                      <a:lnTo>
                        <a:pt x="142" y="116"/>
                      </a:lnTo>
                      <a:lnTo>
                        <a:pt x="142" y="120"/>
                      </a:lnTo>
                      <a:lnTo>
                        <a:pt x="144" y="120"/>
                      </a:lnTo>
                      <a:lnTo>
                        <a:pt x="144" y="124"/>
                      </a:lnTo>
                      <a:lnTo>
                        <a:pt x="144" y="128"/>
                      </a:lnTo>
                      <a:lnTo>
                        <a:pt x="148" y="130"/>
                      </a:lnTo>
                      <a:lnTo>
                        <a:pt x="148" y="134"/>
                      </a:lnTo>
                      <a:lnTo>
                        <a:pt x="152" y="134"/>
                      </a:lnTo>
                      <a:lnTo>
                        <a:pt x="152" y="138"/>
                      </a:lnTo>
                      <a:lnTo>
                        <a:pt x="156" y="138"/>
                      </a:lnTo>
                      <a:lnTo>
                        <a:pt x="152" y="138"/>
                      </a:lnTo>
                      <a:lnTo>
                        <a:pt x="152" y="142"/>
                      </a:lnTo>
                      <a:lnTo>
                        <a:pt x="152" y="146"/>
                      </a:lnTo>
                      <a:lnTo>
                        <a:pt x="152" y="150"/>
                      </a:lnTo>
                      <a:lnTo>
                        <a:pt x="152" y="154"/>
                      </a:lnTo>
                      <a:lnTo>
                        <a:pt x="152" y="158"/>
                      </a:lnTo>
                      <a:lnTo>
                        <a:pt x="156" y="158"/>
                      </a:lnTo>
                      <a:lnTo>
                        <a:pt x="156" y="160"/>
                      </a:lnTo>
                      <a:lnTo>
                        <a:pt x="160" y="160"/>
                      </a:lnTo>
                      <a:lnTo>
                        <a:pt x="164" y="164"/>
                      </a:lnTo>
                      <a:lnTo>
                        <a:pt x="164" y="168"/>
                      </a:lnTo>
                      <a:lnTo>
                        <a:pt x="168" y="168"/>
                      </a:lnTo>
                      <a:lnTo>
                        <a:pt x="168" y="172"/>
                      </a:lnTo>
                      <a:lnTo>
                        <a:pt x="170" y="172"/>
                      </a:lnTo>
                      <a:lnTo>
                        <a:pt x="168" y="172"/>
                      </a:lnTo>
                      <a:lnTo>
                        <a:pt x="164" y="172"/>
                      </a:lnTo>
                      <a:lnTo>
                        <a:pt x="160" y="172"/>
                      </a:lnTo>
                      <a:lnTo>
                        <a:pt x="156" y="172"/>
                      </a:lnTo>
                      <a:lnTo>
                        <a:pt x="152" y="172"/>
                      </a:lnTo>
                      <a:lnTo>
                        <a:pt x="148" y="172"/>
                      </a:lnTo>
                      <a:lnTo>
                        <a:pt x="144" y="172"/>
                      </a:lnTo>
                      <a:lnTo>
                        <a:pt x="142" y="172"/>
                      </a:lnTo>
                      <a:lnTo>
                        <a:pt x="134" y="172"/>
                      </a:lnTo>
                      <a:lnTo>
                        <a:pt x="130" y="172"/>
                      </a:lnTo>
                      <a:lnTo>
                        <a:pt x="126" y="172"/>
                      </a:lnTo>
                      <a:lnTo>
                        <a:pt x="122" y="172"/>
                      </a:lnTo>
                      <a:lnTo>
                        <a:pt x="118" y="172"/>
                      </a:lnTo>
                      <a:lnTo>
                        <a:pt x="112" y="172"/>
                      </a:lnTo>
                      <a:lnTo>
                        <a:pt x="108" y="172"/>
                      </a:lnTo>
                      <a:lnTo>
                        <a:pt x="100" y="172"/>
                      </a:lnTo>
                      <a:lnTo>
                        <a:pt x="96" y="172"/>
                      </a:lnTo>
                      <a:lnTo>
                        <a:pt x="92" y="172"/>
                      </a:lnTo>
                      <a:lnTo>
                        <a:pt x="96" y="172"/>
                      </a:lnTo>
                      <a:lnTo>
                        <a:pt x="92" y="168"/>
                      </a:lnTo>
                      <a:lnTo>
                        <a:pt x="92" y="172"/>
                      </a:lnTo>
                      <a:lnTo>
                        <a:pt x="88" y="172"/>
                      </a:lnTo>
                      <a:lnTo>
                        <a:pt x="86" y="172"/>
                      </a:lnTo>
                      <a:lnTo>
                        <a:pt x="82" y="172"/>
                      </a:lnTo>
                      <a:lnTo>
                        <a:pt x="78" y="172"/>
                      </a:lnTo>
                      <a:lnTo>
                        <a:pt x="74" y="172"/>
                      </a:lnTo>
                      <a:lnTo>
                        <a:pt x="66" y="172"/>
                      </a:lnTo>
                      <a:lnTo>
                        <a:pt x="62" y="172"/>
                      </a:lnTo>
                      <a:lnTo>
                        <a:pt x="58" y="172"/>
                      </a:lnTo>
                      <a:lnTo>
                        <a:pt x="56" y="172"/>
                      </a:lnTo>
                      <a:lnTo>
                        <a:pt x="48" y="172"/>
                      </a:lnTo>
                      <a:lnTo>
                        <a:pt x="42" y="172"/>
                      </a:lnTo>
                      <a:lnTo>
                        <a:pt x="38" y="172"/>
                      </a:lnTo>
                      <a:lnTo>
                        <a:pt x="34" y="172"/>
                      </a:lnTo>
                      <a:lnTo>
                        <a:pt x="30" y="172"/>
                      </a:lnTo>
                      <a:lnTo>
                        <a:pt x="26" y="172"/>
                      </a:lnTo>
                      <a:lnTo>
                        <a:pt x="22" y="172"/>
                      </a:lnTo>
                      <a:lnTo>
                        <a:pt x="16" y="172"/>
                      </a:lnTo>
                      <a:lnTo>
                        <a:pt x="8" y="172"/>
                      </a:lnTo>
                      <a:lnTo>
                        <a:pt x="4" y="172"/>
                      </a:lnTo>
                      <a:lnTo>
                        <a:pt x="4" y="168"/>
                      </a:lnTo>
                      <a:lnTo>
                        <a:pt x="4" y="146"/>
                      </a:lnTo>
                      <a:lnTo>
                        <a:pt x="4" y="138"/>
                      </a:lnTo>
                      <a:lnTo>
                        <a:pt x="4" y="130"/>
                      </a:lnTo>
                      <a:lnTo>
                        <a:pt x="4" y="124"/>
                      </a:lnTo>
                      <a:lnTo>
                        <a:pt x="4" y="120"/>
                      </a:lnTo>
                      <a:lnTo>
                        <a:pt x="4" y="112"/>
                      </a:lnTo>
                      <a:lnTo>
                        <a:pt x="4" y="102"/>
                      </a:lnTo>
                      <a:lnTo>
                        <a:pt x="4" y="94"/>
                      </a:lnTo>
                      <a:lnTo>
                        <a:pt x="4" y="90"/>
                      </a:lnTo>
                      <a:lnTo>
                        <a:pt x="4" y="86"/>
                      </a:lnTo>
                      <a:lnTo>
                        <a:pt x="4" y="82"/>
                      </a:lnTo>
                      <a:lnTo>
                        <a:pt x="4" y="74"/>
                      </a:lnTo>
                      <a:lnTo>
                        <a:pt x="4" y="72"/>
                      </a:lnTo>
                      <a:lnTo>
                        <a:pt x="4" y="68"/>
                      </a:lnTo>
                      <a:lnTo>
                        <a:pt x="4" y="64"/>
                      </a:lnTo>
                      <a:lnTo>
                        <a:pt x="4" y="60"/>
                      </a:lnTo>
                      <a:lnTo>
                        <a:pt x="4" y="48"/>
                      </a:lnTo>
                      <a:lnTo>
                        <a:pt x="4" y="46"/>
                      </a:lnTo>
                      <a:lnTo>
                        <a:pt x="4" y="42"/>
                      </a:lnTo>
                      <a:lnTo>
                        <a:pt x="0" y="38"/>
                      </a:lnTo>
                      <a:lnTo>
                        <a:pt x="0" y="34"/>
                      </a:lnTo>
                      <a:lnTo>
                        <a:pt x="0" y="30"/>
                      </a:lnTo>
                      <a:lnTo>
                        <a:pt x="0" y="26"/>
                      </a:lnTo>
                      <a:lnTo>
                        <a:pt x="0" y="22"/>
                      </a:lnTo>
                      <a:lnTo>
                        <a:pt x="4" y="18"/>
                      </a:lnTo>
                      <a:lnTo>
                        <a:pt x="4" y="16"/>
                      </a:lnTo>
                      <a:lnTo>
                        <a:pt x="4" y="12"/>
                      </a:lnTo>
                      <a:lnTo>
                        <a:pt x="0" y="8"/>
                      </a:lnTo>
                      <a:lnTo>
                        <a:pt x="0" y="4"/>
                      </a:lnTo>
                      <a:lnTo>
                        <a:pt x="4" y="4"/>
                      </a:lnTo>
                      <a:lnTo>
                        <a:pt x="4" y="0"/>
                      </a:lnTo>
                      <a:lnTo>
                        <a:pt x="8" y="0"/>
                      </a:lnTo>
                      <a:lnTo>
                        <a:pt x="12" y="0"/>
                      </a:lnTo>
                      <a:lnTo>
                        <a:pt x="16" y="0"/>
                      </a:lnTo>
                      <a:lnTo>
                        <a:pt x="18" y="0"/>
                      </a:lnTo>
                      <a:lnTo>
                        <a:pt x="22" y="0"/>
                      </a:lnTo>
                      <a:lnTo>
                        <a:pt x="26" y="0"/>
                      </a:lnTo>
                      <a:lnTo>
                        <a:pt x="26" y="4"/>
                      </a:lnTo>
                      <a:lnTo>
                        <a:pt x="30" y="4"/>
                      </a:lnTo>
                      <a:lnTo>
                        <a:pt x="34" y="4"/>
                      </a:lnTo>
                      <a:lnTo>
                        <a:pt x="38" y="4"/>
                      </a:lnTo>
                      <a:lnTo>
                        <a:pt x="38" y="8"/>
                      </a:lnTo>
                      <a:lnTo>
                        <a:pt x="42" y="8"/>
                      </a:lnTo>
                      <a:lnTo>
                        <a:pt x="44" y="8"/>
                      </a:lnTo>
                      <a:lnTo>
                        <a:pt x="48" y="12"/>
                      </a:lnTo>
                      <a:lnTo>
                        <a:pt x="52" y="12"/>
                      </a:lnTo>
                      <a:lnTo>
                        <a:pt x="56" y="12"/>
                      </a:lnTo>
                      <a:lnTo>
                        <a:pt x="58" y="16"/>
                      </a:lnTo>
                      <a:lnTo>
                        <a:pt x="62" y="16"/>
                      </a:lnTo>
                      <a:lnTo>
                        <a:pt x="66" y="12"/>
                      </a:lnTo>
                      <a:lnTo>
                        <a:pt x="70" y="12"/>
                      </a:lnTo>
                      <a:lnTo>
                        <a:pt x="70" y="8"/>
                      </a:lnTo>
                      <a:lnTo>
                        <a:pt x="74" y="8"/>
                      </a:lnTo>
                      <a:lnTo>
                        <a:pt x="74" y="4"/>
                      </a:lnTo>
                      <a:lnTo>
                        <a:pt x="74" y="8"/>
                      </a:lnTo>
                      <a:lnTo>
                        <a:pt x="78" y="8"/>
                      </a:lnTo>
                      <a:lnTo>
                        <a:pt x="78" y="4"/>
                      </a:lnTo>
                      <a:lnTo>
                        <a:pt x="78" y="0"/>
                      </a:lnTo>
                      <a:lnTo>
                        <a:pt x="78" y="4"/>
                      </a:lnTo>
                      <a:lnTo>
                        <a:pt x="82" y="4"/>
                      </a:lnTo>
                      <a:lnTo>
                        <a:pt x="82" y="0"/>
                      </a:lnTo>
                      <a:lnTo>
                        <a:pt x="86" y="0"/>
                      </a:lnTo>
                      <a:lnTo>
                        <a:pt x="86" y="4"/>
                      </a:lnTo>
                      <a:lnTo>
                        <a:pt x="82" y="4"/>
                      </a:lnTo>
                      <a:lnTo>
                        <a:pt x="86" y="4"/>
                      </a:lnTo>
                      <a:lnTo>
                        <a:pt x="88" y="4"/>
                      </a:lnTo>
                      <a:lnTo>
                        <a:pt x="88" y="0"/>
                      </a:lnTo>
                      <a:lnTo>
                        <a:pt x="92" y="0"/>
                      </a:lnTo>
                      <a:lnTo>
                        <a:pt x="92" y="4"/>
                      </a:lnTo>
                      <a:lnTo>
                        <a:pt x="96" y="4"/>
                      </a:lnTo>
                      <a:lnTo>
                        <a:pt x="100" y="4"/>
                      </a:lnTo>
                      <a:lnTo>
                        <a:pt x="100" y="0"/>
                      </a:lnTo>
                      <a:lnTo>
                        <a:pt x="100" y="4"/>
                      </a:lnTo>
                      <a:lnTo>
                        <a:pt x="104" y="4"/>
                      </a:lnTo>
                      <a:lnTo>
                        <a:pt x="100" y="4"/>
                      </a:lnTo>
                      <a:lnTo>
                        <a:pt x="100" y="0"/>
                      </a:lnTo>
                      <a:lnTo>
                        <a:pt x="100" y="8"/>
                      </a:lnTo>
                      <a:lnTo>
                        <a:pt x="104" y="8"/>
                      </a:lnTo>
                      <a:lnTo>
                        <a:pt x="104" y="12"/>
                      </a:lnTo>
                      <a:lnTo>
                        <a:pt x="104" y="8"/>
                      </a:lnTo>
                      <a:lnTo>
                        <a:pt x="104" y="8"/>
                      </a:lnTo>
                      <a:lnTo>
                        <a:pt x="104" y="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97" name="Freeform 143"/>
                <p:cNvSpPr>
                  <a:spLocks noEditPoints="1"/>
                </p:cNvSpPr>
                <p:nvPr/>
              </p:nvSpPr>
              <p:spPr bwMode="auto">
                <a:xfrm>
                  <a:off x="4581525" y="4454593"/>
                  <a:ext cx="66675" cy="79375"/>
                </a:xfrm>
                <a:custGeom>
                  <a:avLst/>
                  <a:gdLst>
                    <a:gd name="T0" fmla="*/ 28 w 42"/>
                    <a:gd name="T1" fmla="*/ 50 h 50"/>
                    <a:gd name="T2" fmla="*/ 24 w 42"/>
                    <a:gd name="T3" fmla="*/ 50 h 50"/>
                    <a:gd name="T4" fmla="*/ 24 w 42"/>
                    <a:gd name="T5" fmla="*/ 50 h 50"/>
                    <a:gd name="T6" fmla="*/ 20 w 42"/>
                    <a:gd name="T7" fmla="*/ 50 h 50"/>
                    <a:gd name="T8" fmla="*/ 20 w 42"/>
                    <a:gd name="T9" fmla="*/ 50 h 50"/>
                    <a:gd name="T10" fmla="*/ 20 w 42"/>
                    <a:gd name="T11" fmla="*/ 46 h 50"/>
                    <a:gd name="T12" fmla="*/ 16 w 42"/>
                    <a:gd name="T13" fmla="*/ 50 h 50"/>
                    <a:gd name="T14" fmla="*/ 16 w 42"/>
                    <a:gd name="T15" fmla="*/ 46 h 50"/>
                    <a:gd name="T16" fmla="*/ 16 w 42"/>
                    <a:gd name="T17" fmla="*/ 46 h 50"/>
                    <a:gd name="T18" fmla="*/ 16 w 42"/>
                    <a:gd name="T19" fmla="*/ 42 h 50"/>
                    <a:gd name="T20" fmla="*/ 16 w 42"/>
                    <a:gd name="T21" fmla="*/ 38 h 50"/>
                    <a:gd name="T22" fmla="*/ 20 w 42"/>
                    <a:gd name="T23" fmla="*/ 38 h 50"/>
                    <a:gd name="T24" fmla="*/ 20 w 42"/>
                    <a:gd name="T25" fmla="*/ 34 h 50"/>
                    <a:gd name="T26" fmla="*/ 20 w 42"/>
                    <a:gd name="T27" fmla="*/ 28 h 50"/>
                    <a:gd name="T28" fmla="*/ 20 w 42"/>
                    <a:gd name="T29" fmla="*/ 28 h 50"/>
                    <a:gd name="T30" fmla="*/ 24 w 42"/>
                    <a:gd name="T31" fmla="*/ 32 h 50"/>
                    <a:gd name="T32" fmla="*/ 28 w 42"/>
                    <a:gd name="T33" fmla="*/ 32 h 50"/>
                    <a:gd name="T34" fmla="*/ 30 w 42"/>
                    <a:gd name="T35" fmla="*/ 32 h 50"/>
                    <a:gd name="T36" fmla="*/ 30 w 42"/>
                    <a:gd name="T37" fmla="*/ 32 h 50"/>
                    <a:gd name="T38" fmla="*/ 38 w 42"/>
                    <a:gd name="T39" fmla="*/ 32 h 50"/>
                    <a:gd name="T40" fmla="*/ 42 w 42"/>
                    <a:gd name="T41" fmla="*/ 32 h 50"/>
                    <a:gd name="T42" fmla="*/ 42 w 42"/>
                    <a:gd name="T43" fmla="*/ 34 h 50"/>
                    <a:gd name="T44" fmla="*/ 42 w 42"/>
                    <a:gd name="T45" fmla="*/ 38 h 50"/>
                    <a:gd name="T46" fmla="*/ 42 w 42"/>
                    <a:gd name="T47" fmla="*/ 50 h 50"/>
                    <a:gd name="T48" fmla="*/ 34 w 42"/>
                    <a:gd name="T49" fmla="*/ 50 h 50"/>
                    <a:gd name="T50" fmla="*/ 30 w 42"/>
                    <a:gd name="T51" fmla="*/ 50 h 50"/>
                    <a:gd name="T52" fmla="*/ 30 w 42"/>
                    <a:gd name="T53" fmla="*/ 50 h 50"/>
                    <a:gd name="T54" fmla="*/ 4 w 42"/>
                    <a:gd name="T55" fmla="*/ 8 h 50"/>
                    <a:gd name="T56" fmla="*/ 4 w 42"/>
                    <a:gd name="T57" fmla="*/ 8 h 50"/>
                    <a:gd name="T58" fmla="*/ 0 w 42"/>
                    <a:gd name="T59" fmla="*/ 12 h 50"/>
                    <a:gd name="T60" fmla="*/ 0 w 42"/>
                    <a:gd name="T61" fmla="*/ 8 h 50"/>
                    <a:gd name="T62" fmla="*/ 0 w 42"/>
                    <a:gd name="T63" fmla="*/ 8 h 50"/>
                    <a:gd name="T64" fmla="*/ 0 w 42"/>
                    <a:gd name="T65" fmla="*/ 8 h 50"/>
                    <a:gd name="T66" fmla="*/ 0 w 42"/>
                    <a:gd name="T67" fmla="*/ 8 h 50"/>
                    <a:gd name="T68" fmla="*/ 0 w 42"/>
                    <a:gd name="T69" fmla="*/ 8 h 50"/>
                    <a:gd name="T70" fmla="*/ 4 w 42"/>
                    <a:gd name="T71" fmla="*/ 8 h 50"/>
                    <a:gd name="T72" fmla="*/ 4 w 42"/>
                    <a:gd name="T73" fmla="*/ 4 h 50"/>
                    <a:gd name="T74" fmla="*/ 4 w 42"/>
                    <a:gd name="T75" fmla="*/ 4 h 50"/>
                    <a:gd name="T76" fmla="*/ 8 w 42"/>
                    <a:gd name="T77" fmla="*/ 0 h 50"/>
                    <a:gd name="T78" fmla="*/ 8 w 42"/>
                    <a:gd name="T79" fmla="*/ 4 h 50"/>
                    <a:gd name="T80" fmla="*/ 8 w 42"/>
                    <a:gd name="T81" fmla="*/ 4 h 50"/>
                    <a:gd name="T82" fmla="*/ 8 w 42"/>
                    <a:gd name="T83" fmla="*/ 4 h 50"/>
                    <a:gd name="T84" fmla="*/ 8 w 42"/>
                    <a:gd name="T85" fmla="*/ 4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42" h="50">
                      <a:moveTo>
                        <a:pt x="30" y="50"/>
                      </a:moveTo>
                      <a:lnTo>
                        <a:pt x="28" y="50"/>
                      </a:lnTo>
                      <a:lnTo>
                        <a:pt x="28" y="50"/>
                      </a:lnTo>
                      <a:lnTo>
                        <a:pt x="28" y="50"/>
                      </a:lnTo>
                      <a:lnTo>
                        <a:pt x="28" y="50"/>
                      </a:lnTo>
                      <a:lnTo>
                        <a:pt x="24" y="50"/>
                      </a:lnTo>
                      <a:lnTo>
                        <a:pt x="24" y="50"/>
                      </a:lnTo>
                      <a:lnTo>
                        <a:pt x="24" y="50"/>
                      </a:lnTo>
                      <a:lnTo>
                        <a:pt x="24" y="50"/>
                      </a:lnTo>
                      <a:lnTo>
                        <a:pt x="24" y="50"/>
                      </a:lnTo>
                      <a:lnTo>
                        <a:pt x="24" y="50"/>
                      </a:lnTo>
                      <a:lnTo>
                        <a:pt x="20" y="50"/>
                      </a:lnTo>
                      <a:lnTo>
                        <a:pt x="20" y="50"/>
                      </a:lnTo>
                      <a:lnTo>
                        <a:pt x="20" y="50"/>
                      </a:lnTo>
                      <a:lnTo>
                        <a:pt x="20" y="50"/>
                      </a:lnTo>
                      <a:lnTo>
                        <a:pt x="20" y="50"/>
                      </a:lnTo>
                      <a:lnTo>
                        <a:pt x="20" y="46"/>
                      </a:lnTo>
                      <a:lnTo>
                        <a:pt x="20" y="46"/>
                      </a:lnTo>
                      <a:lnTo>
                        <a:pt x="20" y="46"/>
                      </a:lnTo>
                      <a:lnTo>
                        <a:pt x="20" y="50"/>
                      </a:lnTo>
                      <a:lnTo>
                        <a:pt x="16" y="50"/>
                      </a:lnTo>
                      <a:lnTo>
                        <a:pt x="16" y="46"/>
                      </a:lnTo>
                      <a:lnTo>
                        <a:pt x="16" y="46"/>
                      </a:lnTo>
                      <a:lnTo>
                        <a:pt x="16" y="46"/>
                      </a:lnTo>
                      <a:lnTo>
                        <a:pt x="16" y="46"/>
                      </a:lnTo>
                      <a:lnTo>
                        <a:pt x="16" y="46"/>
                      </a:lnTo>
                      <a:lnTo>
                        <a:pt x="16" y="46"/>
                      </a:lnTo>
                      <a:lnTo>
                        <a:pt x="16" y="46"/>
                      </a:lnTo>
                      <a:lnTo>
                        <a:pt x="16" y="42"/>
                      </a:lnTo>
                      <a:lnTo>
                        <a:pt x="16" y="42"/>
                      </a:lnTo>
                      <a:lnTo>
                        <a:pt x="16" y="42"/>
                      </a:lnTo>
                      <a:lnTo>
                        <a:pt x="20" y="38"/>
                      </a:lnTo>
                      <a:lnTo>
                        <a:pt x="16" y="38"/>
                      </a:lnTo>
                      <a:lnTo>
                        <a:pt x="16" y="38"/>
                      </a:lnTo>
                      <a:lnTo>
                        <a:pt x="20" y="38"/>
                      </a:lnTo>
                      <a:lnTo>
                        <a:pt x="20" y="38"/>
                      </a:lnTo>
                      <a:lnTo>
                        <a:pt x="20" y="34"/>
                      </a:lnTo>
                      <a:lnTo>
                        <a:pt x="20" y="34"/>
                      </a:lnTo>
                      <a:lnTo>
                        <a:pt x="20" y="34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28"/>
                      </a:lnTo>
                      <a:lnTo>
                        <a:pt x="20" y="28"/>
                      </a:lnTo>
                      <a:lnTo>
                        <a:pt x="20" y="28"/>
                      </a:lnTo>
                      <a:lnTo>
                        <a:pt x="20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8" y="32"/>
                      </a:lnTo>
                      <a:lnTo>
                        <a:pt x="28" y="32"/>
                      </a:lnTo>
                      <a:lnTo>
                        <a:pt x="28" y="32"/>
                      </a:lnTo>
                      <a:lnTo>
                        <a:pt x="30" y="32"/>
                      </a:lnTo>
                      <a:lnTo>
                        <a:pt x="30" y="32"/>
                      </a:lnTo>
                      <a:lnTo>
                        <a:pt x="30" y="32"/>
                      </a:lnTo>
                      <a:lnTo>
                        <a:pt x="30" y="32"/>
                      </a:lnTo>
                      <a:lnTo>
                        <a:pt x="30" y="32"/>
                      </a:lnTo>
                      <a:lnTo>
                        <a:pt x="30" y="32"/>
                      </a:lnTo>
                      <a:lnTo>
                        <a:pt x="38" y="32"/>
                      </a:lnTo>
                      <a:lnTo>
                        <a:pt x="42" y="32"/>
                      </a:lnTo>
                      <a:lnTo>
                        <a:pt x="42" y="32"/>
                      </a:lnTo>
                      <a:lnTo>
                        <a:pt x="42" y="32"/>
                      </a:lnTo>
                      <a:lnTo>
                        <a:pt x="42" y="32"/>
                      </a:lnTo>
                      <a:lnTo>
                        <a:pt x="42" y="32"/>
                      </a:lnTo>
                      <a:lnTo>
                        <a:pt x="42" y="34"/>
                      </a:lnTo>
                      <a:lnTo>
                        <a:pt x="42" y="34"/>
                      </a:lnTo>
                      <a:lnTo>
                        <a:pt x="42" y="38"/>
                      </a:lnTo>
                      <a:lnTo>
                        <a:pt x="42" y="38"/>
                      </a:lnTo>
                      <a:lnTo>
                        <a:pt x="42" y="38"/>
                      </a:lnTo>
                      <a:lnTo>
                        <a:pt x="42" y="42"/>
                      </a:lnTo>
                      <a:lnTo>
                        <a:pt x="42" y="50"/>
                      </a:lnTo>
                      <a:lnTo>
                        <a:pt x="42" y="50"/>
                      </a:lnTo>
                      <a:lnTo>
                        <a:pt x="38" y="50"/>
                      </a:lnTo>
                      <a:lnTo>
                        <a:pt x="34" y="50"/>
                      </a:lnTo>
                      <a:lnTo>
                        <a:pt x="34" y="50"/>
                      </a:lnTo>
                      <a:lnTo>
                        <a:pt x="30" y="50"/>
                      </a:lnTo>
                      <a:lnTo>
                        <a:pt x="30" y="50"/>
                      </a:lnTo>
                      <a:lnTo>
                        <a:pt x="30" y="50"/>
                      </a:lnTo>
                      <a:lnTo>
                        <a:pt x="30" y="50"/>
                      </a:lnTo>
                      <a:lnTo>
                        <a:pt x="30" y="50"/>
                      </a:lnTo>
                      <a:close/>
                      <a:moveTo>
                        <a:pt x="8" y="4"/>
                      </a:moveTo>
                      <a:lnTo>
                        <a:pt x="8" y="4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98" name="Freeform 144"/>
                <p:cNvSpPr>
                  <a:spLocks noEditPoints="1"/>
                </p:cNvSpPr>
                <p:nvPr/>
              </p:nvSpPr>
              <p:spPr bwMode="auto">
                <a:xfrm>
                  <a:off x="5210175" y="4064068"/>
                  <a:ext cx="155575" cy="158750"/>
                </a:xfrm>
                <a:custGeom>
                  <a:avLst/>
                  <a:gdLst>
                    <a:gd name="T0" fmla="*/ 42 w 98"/>
                    <a:gd name="T1" fmla="*/ 34 h 100"/>
                    <a:gd name="T2" fmla="*/ 46 w 98"/>
                    <a:gd name="T3" fmla="*/ 44 h 100"/>
                    <a:gd name="T4" fmla="*/ 46 w 98"/>
                    <a:gd name="T5" fmla="*/ 44 h 100"/>
                    <a:gd name="T6" fmla="*/ 48 w 98"/>
                    <a:gd name="T7" fmla="*/ 52 h 100"/>
                    <a:gd name="T8" fmla="*/ 48 w 98"/>
                    <a:gd name="T9" fmla="*/ 48 h 100"/>
                    <a:gd name="T10" fmla="*/ 48 w 98"/>
                    <a:gd name="T11" fmla="*/ 44 h 100"/>
                    <a:gd name="T12" fmla="*/ 52 w 98"/>
                    <a:gd name="T13" fmla="*/ 52 h 100"/>
                    <a:gd name="T14" fmla="*/ 56 w 98"/>
                    <a:gd name="T15" fmla="*/ 52 h 100"/>
                    <a:gd name="T16" fmla="*/ 64 w 98"/>
                    <a:gd name="T17" fmla="*/ 60 h 100"/>
                    <a:gd name="T18" fmla="*/ 72 w 98"/>
                    <a:gd name="T19" fmla="*/ 68 h 100"/>
                    <a:gd name="T20" fmla="*/ 74 w 98"/>
                    <a:gd name="T21" fmla="*/ 72 h 100"/>
                    <a:gd name="T22" fmla="*/ 82 w 98"/>
                    <a:gd name="T23" fmla="*/ 74 h 100"/>
                    <a:gd name="T24" fmla="*/ 82 w 98"/>
                    <a:gd name="T25" fmla="*/ 78 h 100"/>
                    <a:gd name="T26" fmla="*/ 86 w 98"/>
                    <a:gd name="T27" fmla="*/ 82 h 100"/>
                    <a:gd name="T28" fmla="*/ 90 w 98"/>
                    <a:gd name="T29" fmla="*/ 86 h 100"/>
                    <a:gd name="T30" fmla="*/ 94 w 98"/>
                    <a:gd name="T31" fmla="*/ 94 h 100"/>
                    <a:gd name="T32" fmla="*/ 98 w 98"/>
                    <a:gd name="T33" fmla="*/ 94 h 100"/>
                    <a:gd name="T34" fmla="*/ 90 w 98"/>
                    <a:gd name="T35" fmla="*/ 100 h 100"/>
                    <a:gd name="T36" fmla="*/ 86 w 98"/>
                    <a:gd name="T37" fmla="*/ 98 h 100"/>
                    <a:gd name="T38" fmla="*/ 86 w 98"/>
                    <a:gd name="T39" fmla="*/ 98 h 100"/>
                    <a:gd name="T40" fmla="*/ 82 w 98"/>
                    <a:gd name="T41" fmla="*/ 94 h 100"/>
                    <a:gd name="T42" fmla="*/ 78 w 98"/>
                    <a:gd name="T43" fmla="*/ 90 h 100"/>
                    <a:gd name="T44" fmla="*/ 78 w 98"/>
                    <a:gd name="T45" fmla="*/ 86 h 100"/>
                    <a:gd name="T46" fmla="*/ 74 w 98"/>
                    <a:gd name="T47" fmla="*/ 82 h 100"/>
                    <a:gd name="T48" fmla="*/ 68 w 98"/>
                    <a:gd name="T49" fmla="*/ 78 h 100"/>
                    <a:gd name="T50" fmla="*/ 68 w 98"/>
                    <a:gd name="T51" fmla="*/ 74 h 100"/>
                    <a:gd name="T52" fmla="*/ 64 w 98"/>
                    <a:gd name="T53" fmla="*/ 68 h 100"/>
                    <a:gd name="T54" fmla="*/ 60 w 98"/>
                    <a:gd name="T55" fmla="*/ 68 h 100"/>
                    <a:gd name="T56" fmla="*/ 56 w 98"/>
                    <a:gd name="T57" fmla="*/ 64 h 100"/>
                    <a:gd name="T58" fmla="*/ 52 w 98"/>
                    <a:gd name="T59" fmla="*/ 64 h 100"/>
                    <a:gd name="T60" fmla="*/ 48 w 98"/>
                    <a:gd name="T61" fmla="*/ 64 h 100"/>
                    <a:gd name="T62" fmla="*/ 42 w 98"/>
                    <a:gd name="T63" fmla="*/ 64 h 100"/>
                    <a:gd name="T64" fmla="*/ 38 w 98"/>
                    <a:gd name="T65" fmla="*/ 60 h 100"/>
                    <a:gd name="T66" fmla="*/ 34 w 98"/>
                    <a:gd name="T67" fmla="*/ 64 h 100"/>
                    <a:gd name="T68" fmla="*/ 26 w 98"/>
                    <a:gd name="T69" fmla="*/ 60 h 100"/>
                    <a:gd name="T70" fmla="*/ 22 w 98"/>
                    <a:gd name="T71" fmla="*/ 56 h 100"/>
                    <a:gd name="T72" fmla="*/ 18 w 98"/>
                    <a:gd name="T73" fmla="*/ 72 h 100"/>
                    <a:gd name="T74" fmla="*/ 12 w 98"/>
                    <a:gd name="T75" fmla="*/ 64 h 100"/>
                    <a:gd name="T76" fmla="*/ 12 w 98"/>
                    <a:gd name="T77" fmla="*/ 68 h 100"/>
                    <a:gd name="T78" fmla="*/ 4 w 98"/>
                    <a:gd name="T79" fmla="*/ 68 h 100"/>
                    <a:gd name="T80" fmla="*/ 0 w 98"/>
                    <a:gd name="T81" fmla="*/ 52 h 100"/>
                    <a:gd name="T82" fmla="*/ 4 w 98"/>
                    <a:gd name="T83" fmla="*/ 42 h 100"/>
                    <a:gd name="T84" fmla="*/ 8 w 98"/>
                    <a:gd name="T85" fmla="*/ 34 h 100"/>
                    <a:gd name="T86" fmla="*/ 8 w 98"/>
                    <a:gd name="T87" fmla="*/ 26 h 100"/>
                    <a:gd name="T88" fmla="*/ 8 w 98"/>
                    <a:gd name="T89" fmla="*/ 18 h 100"/>
                    <a:gd name="T90" fmla="*/ 16 w 98"/>
                    <a:gd name="T91" fmla="*/ 18 h 100"/>
                    <a:gd name="T92" fmla="*/ 16 w 98"/>
                    <a:gd name="T93" fmla="*/ 16 h 100"/>
                    <a:gd name="T94" fmla="*/ 22 w 98"/>
                    <a:gd name="T95" fmla="*/ 12 h 100"/>
                    <a:gd name="T96" fmla="*/ 30 w 98"/>
                    <a:gd name="T97" fmla="*/ 8 h 100"/>
                    <a:gd name="T98" fmla="*/ 34 w 98"/>
                    <a:gd name="T99" fmla="*/ 4 h 100"/>
                    <a:gd name="T100" fmla="*/ 38 w 98"/>
                    <a:gd name="T101" fmla="*/ 16 h 100"/>
                    <a:gd name="T102" fmla="*/ 42 w 98"/>
                    <a:gd name="T103" fmla="*/ 26 h 100"/>
                    <a:gd name="T104" fmla="*/ 42 w 98"/>
                    <a:gd name="T105" fmla="*/ 30 h 100"/>
                    <a:gd name="T106" fmla="*/ 52 w 98"/>
                    <a:gd name="T107" fmla="*/ 42 h 100"/>
                    <a:gd name="T108" fmla="*/ 52 w 98"/>
                    <a:gd name="T109" fmla="*/ 42 h 100"/>
                    <a:gd name="T110" fmla="*/ 56 w 98"/>
                    <a:gd name="T111" fmla="*/ 42 h 100"/>
                    <a:gd name="T112" fmla="*/ 56 w 98"/>
                    <a:gd name="T113" fmla="*/ 42 h 100"/>
                    <a:gd name="T114" fmla="*/ 56 w 98"/>
                    <a:gd name="T115" fmla="*/ 44 h 100"/>
                    <a:gd name="T116" fmla="*/ 52 w 98"/>
                    <a:gd name="T117" fmla="*/ 42 h 100"/>
                    <a:gd name="T118" fmla="*/ 52 w 98"/>
                    <a:gd name="T119" fmla="*/ 42 h 100"/>
                    <a:gd name="T120" fmla="*/ 52 w 98"/>
                    <a:gd name="T121" fmla="*/ 42 h 100"/>
                    <a:gd name="T122" fmla="*/ 52 w 98"/>
                    <a:gd name="T123" fmla="*/ 38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98" h="100">
                      <a:moveTo>
                        <a:pt x="42" y="30"/>
                      </a:moveTo>
                      <a:lnTo>
                        <a:pt x="42" y="30"/>
                      </a:lnTo>
                      <a:lnTo>
                        <a:pt x="42" y="30"/>
                      </a:lnTo>
                      <a:lnTo>
                        <a:pt x="42" y="34"/>
                      </a:lnTo>
                      <a:lnTo>
                        <a:pt x="42" y="34"/>
                      </a:lnTo>
                      <a:lnTo>
                        <a:pt x="42" y="34"/>
                      </a:lnTo>
                      <a:lnTo>
                        <a:pt x="42" y="38"/>
                      </a:lnTo>
                      <a:lnTo>
                        <a:pt x="42" y="38"/>
                      </a:lnTo>
                      <a:lnTo>
                        <a:pt x="42" y="38"/>
                      </a:lnTo>
                      <a:lnTo>
                        <a:pt x="46" y="42"/>
                      </a:lnTo>
                      <a:lnTo>
                        <a:pt x="46" y="42"/>
                      </a:lnTo>
                      <a:lnTo>
                        <a:pt x="46" y="44"/>
                      </a:lnTo>
                      <a:lnTo>
                        <a:pt x="46" y="44"/>
                      </a:lnTo>
                      <a:lnTo>
                        <a:pt x="46" y="44"/>
                      </a:lnTo>
                      <a:lnTo>
                        <a:pt x="46" y="44"/>
                      </a:lnTo>
                      <a:lnTo>
                        <a:pt x="46" y="44"/>
                      </a:lnTo>
                      <a:lnTo>
                        <a:pt x="46" y="44"/>
                      </a:lnTo>
                      <a:lnTo>
                        <a:pt x="46" y="44"/>
                      </a:lnTo>
                      <a:lnTo>
                        <a:pt x="46" y="44"/>
                      </a:lnTo>
                      <a:lnTo>
                        <a:pt x="48" y="48"/>
                      </a:lnTo>
                      <a:lnTo>
                        <a:pt x="48" y="48"/>
                      </a:lnTo>
                      <a:lnTo>
                        <a:pt x="48" y="48"/>
                      </a:lnTo>
                      <a:lnTo>
                        <a:pt x="48" y="52"/>
                      </a:lnTo>
                      <a:lnTo>
                        <a:pt x="48" y="52"/>
                      </a:lnTo>
                      <a:lnTo>
                        <a:pt x="48" y="52"/>
                      </a:lnTo>
                      <a:lnTo>
                        <a:pt x="48" y="52"/>
                      </a:lnTo>
                      <a:lnTo>
                        <a:pt x="48" y="52"/>
                      </a:lnTo>
                      <a:lnTo>
                        <a:pt x="48" y="52"/>
                      </a:lnTo>
                      <a:lnTo>
                        <a:pt x="48" y="52"/>
                      </a:lnTo>
                      <a:lnTo>
                        <a:pt x="48" y="48"/>
                      </a:lnTo>
                      <a:lnTo>
                        <a:pt x="48" y="48"/>
                      </a:lnTo>
                      <a:lnTo>
                        <a:pt x="48" y="48"/>
                      </a:lnTo>
                      <a:lnTo>
                        <a:pt x="48" y="48"/>
                      </a:lnTo>
                      <a:lnTo>
                        <a:pt x="48" y="44"/>
                      </a:lnTo>
                      <a:lnTo>
                        <a:pt x="48" y="44"/>
                      </a:lnTo>
                      <a:lnTo>
                        <a:pt x="48" y="44"/>
                      </a:lnTo>
                      <a:lnTo>
                        <a:pt x="52" y="48"/>
                      </a:lnTo>
                      <a:lnTo>
                        <a:pt x="52" y="48"/>
                      </a:lnTo>
                      <a:lnTo>
                        <a:pt x="52" y="48"/>
                      </a:lnTo>
                      <a:lnTo>
                        <a:pt x="52" y="48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2" y="56"/>
                      </a:lnTo>
                      <a:lnTo>
                        <a:pt x="56" y="56"/>
                      </a:lnTo>
                      <a:lnTo>
                        <a:pt x="56" y="56"/>
                      </a:lnTo>
                      <a:lnTo>
                        <a:pt x="56" y="56"/>
                      </a:lnTo>
                      <a:lnTo>
                        <a:pt x="56" y="52"/>
                      </a:lnTo>
                      <a:lnTo>
                        <a:pt x="60" y="52"/>
                      </a:lnTo>
                      <a:lnTo>
                        <a:pt x="60" y="56"/>
                      </a:lnTo>
                      <a:lnTo>
                        <a:pt x="60" y="56"/>
                      </a:lnTo>
                      <a:lnTo>
                        <a:pt x="64" y="56"/>
                      </a:lnTo>
                      <a:lnTo>
                        <a:pt x="64" y="56"/>
                      </a:lnTo>
                      <a:lnTo>
                        <a:pt x="64" y="60"/>
                      </a:lnTo>
                      <a:lnTo>
                        <a:pt x="64" y="60"/>
                      </a:lnTo>
                      <a:lnTo>
                        <a:pt x="64" y="60"/>
                      </a:lnTo>
                      <a:lnTo>
                        <a:pt x="68" y="60"/>
                      </a:lnTo>
                      <a:lnTo>
                        <a:pt x="72" y="64"/>
                      </a:lnTo>
                      <a:lnTo>
                        <a:pt x="72" y="64"/>
                      </a:lnTo>
                      <a:lnTo>
                        <a:pt x="72" y="68"/>
                      </a:lnTo>
                      <a:lnTo>
                        <a:pt x="74" y="68"/>
                      </a:lnTo>
                      <a:lnTo>
                        <a:pt x="74" y="72"/>
                      </a:lnTo>
                      <a:lnTo>
                        <a:pt x="74" y="72"/>
                      </a:lnTo>
                      <a:lnTo>
                        <a:pt x="74" y="72"/>
                      </a:lnTo>
                      <a:lnTo>
                        <a:pt x="74" y="72"/>
                      </a:lnTo>
                      <a:lnTo>
                        <a:pt x="74" y="72"/>
                      </a:lnTo>
                      <a:lnTo>
                        <a:pt x="78" y="74"/>
                      </a:lnTo>
                      <a:lnTo>
                        <a:pt x="78" y="74"/>
                      </a:lnTo>
                      <a:lnTo>
                        <a:pt x="78" y="74"/>
                      </a:lnTo>
                      <a:lnTo>
                        <a:pt x="78" y="74"/>
                      </a:lnTo>
                      <a:lnTo>
                        <a:pt x="82" y="74"/>
                      </a:lnTo>
                      <a:lnTo>
                        <a:pt x="82" y="74"/>
                      </a:lnTo>
                      <a:lnTo>
                        <a:pt x="82" y="78"/>
                      </a:lnTo>
                      <a:lnTo>
                        <a:pt x="82" y="78"/>
                      </a:lnTo>
                      <a:lnTo>
                        <a:pt x="82" y="78"/>
                      </a:lnTo>
                      <a:lnTo>
                        <a:pt x="82" y="78"/>
                      </a:lnTo>
                      <a:lnTo>
                        <a:pt x="82" y="78"/>
                      </a:lnTo>
                      <a:lnTo>
                        <a:pt x="82" y="78"/>
                      </a:lnTo>
                      <a:lnTo>
                        <a:pt x="82" y="78"/>
                      </a:lnTo>
                      <a:lnTo>
                        <a:pt x="82" y="78"/>
                      </a:lnTo>
                      <a:lnTo>
                        <a:pt x="82" y="78"/>
                      </a:lnTo>
                      <a:lnTo>
                        <a:pt x="86" y="78"/>
                      </a:lnTo>
                      <a:lnTo>
                        <a:pt x="86" y="82"/>
                      </a:lnTo>
                      <a:lnTo>
                        <a:pt x="86" y="82"/>
                      </a:lnTo>
                      <a:lnTo>
                        <a:pt x="86" y="82"/>
                      </a:lnTo>
                      <a:lnTo>
                        <a:pt x="86" y="86"/>
                      </a:lnTo>
                      <a:lnTo>
                        <a:pt x="86" y="86"/>
                      </a:lnTo>
                      <a:lnTo>
                        <a:pt x="86" y="86"/>
                      </a:lnTo>
                      <a:lnTo>
                        <a:pt x="90" y="86"/>
                      </a:lnTo>
                      <a:lnTo>
                        <a:pt x="90" y="86"/>
                      </a:lnTo>
                      <a:lnTo>
                        <a:pt x="90" y="90"/>
                      </a:lnTo>
                      <a:lnTo>
                        <a:pt x="90" y="90"/>
                      </a:lnTo>
                      <a:lnTo>
                        <a:pt x="90" y="90"/>
                      </a:lnTo>
                      <a:lnTo>
                        <a:pt x="90" y="90"/>
                      </a:lnTo>
                      <a:lnTo>
                        <a:pt x="94" y="94"/>
                      </a:lnTo>
                      <a:lnTo>
                        <a:pt x="94" y="94"/>
                      </a:lnTo>
                      <a:lnTo>
                        <a:pt x="94" y="94"/>
                      </a:lnTo>
                      <a:lnTo>
                        <a:pt x="94" y="90"/>
                      </a:lnTo>
                      <a:lnTo>
                        <a:pt x="94" y="90"/>
                      </a:lnTo>
                      <a:lnTo>
                        <a:pt x="94" y="90"/>
                      </a:lnTo>
                      <a:lnTo>
                        <a:pt x="98" y="94"/>
                      </a:lnTo>
                      <a:lnTo>
                        <a:pt x="98" y="94"/>
                      </a:lnTo>
                      <a:lnTo>
                        <a:pt x="98" y="94"/>
                      </a:lnTo>
                      <a:lnTo>
                        <a:pt x="94" y="94"/>
                      </a:lnTo>
                      <a:lnTo>
                        <a:pt x="90" y="98"/>
                      </a:lnTo>
                      <a:lnTo>
                        <a:pt x="90" y="98"/>
                      </a:lnTo>
                      <a:lnTo>
                        <a:pt x="90" y="98"/>
                      </a:lnTo>
                      <a:lnTo>
                        <a:pt x="90" y="100"/>
                      </a:lnTo>
                      <a:lnTo>
                        <a:pt x="90" y="100"/>
                      </a:lnTo>
                      <a:lnTo>
                        <a:pt x="90" y="98"/>
                      </a:lnTo>
                      <a:lnTo>
                        <a:pt x="90" y="98"/>
                      </a:lnTo>
                      <a:lnTo>
                        <a:pt x="90" y="98"/>
                      </a:lnTo>
                      <a:lnTo>
                        <a:pt x="86" y="98"/>
                      </a:lnTo>
                      <a:lnTo>
                        <a:pt x="86" y="98"/>
                      </a:lnTo>
                      <a:lnTo>
                        <a:pt x="86" y="98"/>
                      </a:lnTo>
                      <a:lnTo>
                        <a:pt x="86" y="98"/>
                      </a:lnTo>
                      <a:lnTo>
                        <a:pt x="86" y="98"/>
                      </a:lnTo>
                      <a:lnTo>
                        <a:pt x="86" y="98"/>
                      </a:lnTo>
                      <a:lnTo>
                        <a:pt x="86" y="98"/>
                      </a:lnTo>
                      <a:lnTo>
                        <a:pt x="86" y="98"/>
                      </a:lnTo>
                      <a:lnTo>
                        <a:pt x="86" y="98"/>
                      </a:lnTo>
                      <a:lnTo>
                        <a:pt x="82" y="98"/>
                      </a:lnTo>
                      <a:lnTo>
                        <a:pt x="82" y="94"/>
                      </a:lnTo>
                      <a:lnTo>
                        <a:pt x="82" y="94"/>
                      </a:lnTo>
                      <a:lnTo>
                        <a:pt x="82" y="94"/>
                      </a:lnTo>
                      <a:lnTo>
                        <a:pt x="82" y="94"/>
                      </a:lnTo>
                      <a:lnTo>
                        <a:pt x="82" y="94"/>
                      </a:lnTo>
                      <a:lnTo>
                        <a:pt x="82" y="94"/>
                      </a:lnTo>
                      <a:lnTo>
                        <a:pt x="82" y="94"/>
                      </a:lnTo>
                      <a:lnTo>
                        <a:pt x="82" y="90"/>
                      </a:lnTo>
                      <a:lnTo>
                        <a:pt x="78" y="90"/>
                      </a:lnTo>
                      <a:lnTo>
                        <a:pt x="78" y="90"/>
                      </a:lnTo>
                      <a:lnTo>
                        <a:pt x="78" y="90"/>
                      </a:lnTo>
                      <a:lnTo>
                        <a:pt x="78" y="90"/>
                      </a:lnTo>
                      <a:lnTo>
                        <a:pt x="78" y="90"/>
                      </a:lnTo>
                      <a:lnTo>
                        <a:pt x="78" y="90"/>
                      </a:lnTo>
                      <a:lnTo>
                        <a:pt x="78" y="86"/>
                      </a:lnTo>
                      <a:lnTo>
                        <a:pt x="78" y="86"/>
                      </a:lnTo>
                      <a:lnTo>
                        <a:pt x="78" y="86"/>
                      </a:lnTo>
                      <a:lnTo>
                        <a:pt x="78" y="86"/>
                      </a:lnTo>
                      <a:lnTo>
                        <a:pt x="78" y="86"/>
                      </a:lnTo>
                      <a:lnTo>
                        <a:pt x="74" y="86"/>
                      </a:lnTo>
                      <a:lnTo>
                        <a:pt x="74" y="82"/>
                      </a:lnTo>
                      <a:lnTo>
                        <a:pt x="74" y="82"/>
                      </a:lnTo>
                      <a:lnTo>
                        <a:pt x="74" y="82"/>
                      </a:lnTo>
                      <a:lnTo>
                        <a:pt x="74" y="82"/>
                      </a:lnTo>
                      <a:lnTo>
                        <a:pt x="74" y="82"/>
                      </a:lnTo>
                      <a:lnTo>
                        <a:pt x="72" y="82"/>
                      </a:lnTo>
                      <a:lnTo>
                        <a:pt x="68" y="78"/>
                      </a:lnTo>
                      <a:lnTo>
                        <a:pt x="68" y="78"/>
                      </a:lnTo>
                      <a:lnTo>
                        <a:pt x="68" y="78"/>
                      </a:lnTo>
                      <a:lnTo>
                        <a:pt x="68" y="74"/>
                      </a:lnTo>
                      <a:lnTo>
                        <a:pt x="68" y="74"/>
                      </a:lnTo>
                      <a:lnTo>
                        <a:pt x="68" y="74"/>
                      </a:lnTo>
                      <a:lnTo>
                        <a:pt x="68" y="74"/>
                      </a:lnTo>
                      <a:lnTo>
                        <a:pt x="68" y="74"/>
                      </a:lnTo>
                      <a:lnTo>
                        <a:pt x="68" y="72"/>
                      </a:lnTo>
                      <a:lnTo>
                        <a:pt x="64" y="72"/>
                      </a:lnTo>
                      <a:lnTo>
                        <a:pt x="64" y="72"/>
                      </a:lnTo>
                      <a:lnTo>
                        <a:pt x="64" y="68"/>
                      </a:lnTo>
                      <a:lnTo>
                        <a:pt x="64" y="68"/>
                      </a:lnTo>
                      <a:lnTo>
                        <a:pt x="64" y="68"/>
                      </a:lnTo>
                      <a:lnTo>
                        <a:pt x="60" y="68"/>
                      </a:lnTo>
                      <a:lnTo>
                        <a:pt x="60" y="68"/>
                      </a:lnTo>
                      <a:lnTo>
                        <a:pt x="60" y="68"/>
                      </a:lnTo>
                      <a:lnTo>
                        <a:pt x="60" y="68"/>
                      </a:lnTo>
                      <a:lnTo>
                        <a:pt x="60" y="68"/>
                      </a:lnTo>
                      <a:lnTo>
                        <a:pt x="60" y="68"/>
                      </a:lnTo>
                      <a:lnTo>
                        <a:pt x="56" y="68"/>
                      </a:lnTo>
                      <a:lnTo>
                        <a:pt x="56" y="68"/>
                      </a:lnTo>
                      <a:lnTo>
                        <a:pt x="56" y="64"/>
                      </a:lnTo>
                      <a:lnTo>
                        <a:pt x="56" y="64"/>
                      </a:lnTo>
                      <a:lnTo>
                        <a:pt x="56" y="64"/>
                      </a:lnTo>
                      <a:lnTo>
                        <a:pt x="56" y="64"/>
                      </a:lnTo>
                      <a:lnTo>
                        <a:pt x="56" y="64"/>
                      </a:lnTo>
                      <a:lnTo>
                        <a:pt x="52" y="64"/>
                      </a:lnTo>
                      <a:lnTo>
                        <a:pt x="52" y="64"/>
                      </a:lnTo>
                      <a:lnTo>
                        <a:pt x="52" y="64"/>
                      </a:lnTo>
                      <a:lnTo>
                        <a:pt x="52" y="64"/>
                      </a:lnTo>
                      <a:lnTo>
                        <a:pt x="52" y="64"/>
                      </a:lnTo>
                      <a:lnTo>
                        <a:pt x="48" y="64"/>
                      </a:lnTo>
                      <a:lnTo>
                        <a:pt x="48" y="64"/>
                      </a:lnTo>
                      <a:lnTo>
                        <a:pt x="48" y="64"/>
                      </a:lnTo>
                      <a:lnTo>
                        <a:pt x="48" y="64"/>
                      </a:lnTo>
                      <a:lnTo>
                        <a:pt x="48" y="64"/>
                      </a:lnTo>
                      <a:lnTo>
                        <a:pt x="48" y="64"/>
                      </a:lnTo>
                      <a:lnTo>
                        <a:pt x="48" y="64"/>
                      </a:lnTo>
                      <a:lnTo>
                        <a:pt x="46" y="64"/>
                      </a:lnTo>
                      <a:lnTo>
                        <a:pt x="46" y="60"/>
                      </a:lnTo>
                      <a:lnTo>
                        <a:pt x="46" y="64"/>
                      </a:lnTo>
                      <a:lnTo>
                        <a:pt x="42" y="64"/>
                      </a:lnTo>
                      <a:lnTo>
                        <a:pt x="42" y="64"/>
                      </a:lnTo>
                      <a:lnTo>
                        <a:pt x="42" y="64"/>
                      </a:lnTo>
                      <a:lnTo>
                        <a:pt x="42" y="64"/>
                      </a:lnTo>
                      <a:lnTo>
                        <a:pt x="42" y="60"/>
                      </a:lnTo>
                      <a:lnTo>
                        <a:pt x="42" y="60"/>
                      </a:lnTo>
                      <a:lnTo>
                        <a:pt x="42" y="60"/>
                      </a:lnTo>
                      <a:lnTo>
                        <a:pt x="38" y="60"/>
                      </a:lnTo>
                      <a:lnTo>
                        <a:pt x="38" y="60"/>
                      </a:lnTo>
                      <a:lnTo>
                        <a:pt x="38" y="60"/>
                      </a:lnTo>
                      <a:lnTo>
                        <a:pt x="38" y="60"/>
                      </a:lnTo>
                      <a:lnTo>
                        <a:pt x="38" y="64"/>
                      </a:lnTo>
                      <a:lnTo>
                        <a:pt x="38" y="64"/>
                      </a:lnTo>
                      <a:lnTo>
                        <a:pt x="34" y="64"/>
                      </a:lnTo>
                      <a:lnTo>
                        <a:pt x="30" y="64"/>
                      </a:lnTo>
                      <a:lnTo>
                        <a:pt x="30" y="64"/>
                      </a:lnTo>
                      <a:lnTo>
                        <a:pt x="26" y="64"/>
                      </a:lnTo>
                      <a:lnTo>
                        <a:pt x="26" y="60"/>
                      </a:lnTo>
                      <a:lnTo>
                        <a:pt x="26" y="60"/>
                      </a:lnTo>
                      <a:lnTo>
                        <a:pt x="26" y="60"/>
                      </a:lnTo>
                      <a:lnTo>
                        <a:pt x="26" y="60"/>
                      </a:lnTo>
                      <a:lnTo>
                        <a:pt x="26" y="60"/>
                      </a:lnTo>
                      <a:lnTo>
                        <a:pt x="22" y="60"/>
                      </a:lnTo>
                      <a:lnTo>
                        <a:pt x="22" y="60"/>
                      </a:lnTo>
                      <a:lnTo>
                        <a:pt x="22" y="56"/>
                      </a:lnTo>
                      <a:lnTo>
                        <a:pt x="22" y="56"/>
                      </a:lnTo>
                      <a:lnTo>
                        <a:pt x="22" y="56"/>
                      </a:lnTo>
                      <a:lnTo>
                        <a:pt x="22" y="56"/>
                      </a:lnTo>
                      <a:lnTo>
                        <a:pt x="22" y="56"/>
                      </a:lnTo>
                      <a:lnTo>
                        <a:pt x="22" y="60"/>
                      </a:lnTo>
                      <a:lnTo>
                        <a:pt x="18" y="64"/>
                      </a:lnTo>
                      <a:lnTo>
                        <a:pt x="18" y="72"/>
                      </a:lnTo>
                      <a:lnTo>
                        <a:pt x="16" y="72"/>
                      </a:lnTo>
                      <a:lnTo>
                        <a:pt x="16" y="68"/>
                      </a:lnTo>
                      <a:lnTo>
                        <a:pt x="16" y="64"/>
                      </a:lnTo>
                      <a:lnTo>
                        <a:pt x="16" y="64"/>
                      </a:lnTo>
                      <a:lnTo>
                        <a:pt x="16" y="64"/>
                      </a:lnTo>
                      <a:lnTo>
                        <a:pt x="12" y="64"/>
                      </a:lnTo>
                      <a:lnTo>
                        <a:pt x="12" y="64"/>
                      </a:lnTo>
                      <a:lnTo>
                        <a:pt x="12" y="64"/>
                      </a:lnTo>
                      <a:lnTo>
                        <a:pt x="12" y="64"/>
                      </a:lnTo>
                      <a:lnTo>
                        <a:pt x="12" y="64"/>
                      </a:lnTo>
                      <a:lnTo>
                        <a:pt x="12" y="68"/>
                      </a:lnTo>
                      <a:lnTo>
                        <a:pt x="12" y="68"/>
                      </a:lnTo>
                      <a:lnTo>
                        <a:pt x="8" y="68"/>
                      </a:lnTo>
                      <a:lnTo>
                        <a:pt x="8" y="68"/>
                      </a:lnTo>
                      <a:lnTo>
                        <a:pt x="8" y="68"/>
                      </a:lnTo>
                      <a:lnTo>
                        <a:pt x="8" y="68"/>
                      </a:lnTo>
                      <a:lnTo>
                        <a:pt x="4" y="68"/>
                      </a:lnTo>
                      <a:lnTo>
                        <a:pt x="4" y="68"/>
                      </a:lnTo>
                      <a:lnTo>
                        <a:pt x="4" y="68"/>
                      </a:lnTo>
                      <a:lnTo>
                        <a:pt x="4" y="68"/>
                      </a:lnTo>
                      <a:lnTo>
                        <a:pt x="4" y="68"/>
                      </a:lnTo>
                      <a:lnTo>
                        <a:pt x="4" y="64"/>
                      </a:lnTo>
                      <a:lnTo>
                        <a:pt x="0" y="52"/>
                      </a:lnTo>
                      <a:lnTo>
                        <a:pt x="0" y="52"/>
                      </a:lnTo>
                      <a:lnTo>
                        <a:pt x="0" y="52"/>
                      </a:lnTo>
                      <a:lnTo>
                        <a:pt x="4" y="48"/>
                      </a:lnTo>
                      <a:lnTo>
                        <a:pt x="4" y="48"/>
                      </a:lnTo>
                      <a:lnTo>
                        <a:pt x="4" y="44"/>
                      </a:lnTo>
                      <a:lnTo>
                        <a:pt x="4" y="44"/>
                      </a:lnTo>
                      <a:lnTo>
                        <a:pt x="4" y="42"/>
                      </a:lnTo>
                      <a:lnTo>
                        <a:pt x="4" y="42"/>
                      </a:lnTo>
                      <a:lnTo>
                        <a:pt x="8" y="42"/>
                      </a:lnTo>
                      <a:lnTo>
                        <a:pt x="8" y="38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12" y="18"/>
                      </a:lnTo>
                      <a:lnTo>
                        <a:pt x="12" y="18"/>
                      </a:lnTo>
                      <a:lnTo>
                        <a:pt x="12" y="18"/>
                      </a:lnTo>
                      <a:lnTo>
                        <a:pt x="12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6"/>
                      </a:lnTo>
                      <a:lnTo>
                        <a:pt x="16" y="16"/>
                      </a:lnTo>
                      <a:lnTo>
                        <a:pt x="16" y="16"/>
                      </a:lnTo>
                      <a:lnTo>
                        <a:pt x="16" y="16"/>
                      </a:lnTo>
                      <a:lnTo>
                        <a:pt x="18" y="12"/>
                      </a:lnTo>
                      <a:lnTo>
                        <a:pt x="18" y="12"/>
                      </a:lnTo>
                      <a:lnTo>
                        <a:pt x="18" y="12"/>
                      </a:lnTo>
                      <a:lnTo>
                        <a:pt x="22" y="12"/>
                      </a:lnTo>
                      <a:lnTo>
                        <a:pt x="22" y="12"/>
                      </a:lnTo>
                      <a:lnTo>
                        <a:pt x="22" y="12"/>
                      </a:lnTo>
                      <a:lnTo>
                        <a:pt x="22" y="12"/>
                      </a:lnTo>
                      <a:lnTo>
                        <a:pt x="22" y="8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30" y="8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0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8" y="12"/>
                      </a:lnTo>
                      <a:lnTo>
                        <a:pt x="38" y="12"/>
                      </a:lnTo>
                      <a:lnTo>
                        <a:pt x="38" y="16"/>
                      </a:lnTo>
                      <a:lnTo>
                        <a:pt x="38" y="18"/>
                      </a:lnTo>
                      <a:lnTo>
                        <a:pt x="38" y="22"/>
                      </a:lnTo>
                      <a:lnTo>
                        <a:pt x="38" y="22"/>
                      </a:lnTo>
                      <a:lnTo>
                        <a:pt x="42" y="22"/>
                      </a:lnTo>
                      <a:lnTo>
                        <a:pt x="42" y="26"/>
                      </a:lnTo>
                      <a:lnTo>
                        <a:pt x="42" y="26"/>
                      </a:lnTo>
                      <a:lnTo>
                        <a:pt x="42" y="26"/>
                      </a:lnTo>
                      <a:lnTo>
                        <a:pt x="42" y="26"/>
                      </a:lnTo>
                      <a:lnTo>
                        <a:pt x="42" y="26"/>
                      </a:lnTo>
                      <a:lnTo>
                        <a:pt x="42" y="30"/>
                      </a:lnTo>
                      <a:lnTo>
                        <a:pt x="42" y="30"/>
                      </a:lnTo>
                      <a:lnTo>
                        <a:pt x="42" y="30"/>
                      </a:lnTo>
                      <a:lnTo>
                        <a:pt x="42" y="30"/>
                      </a:lnTo>
                      <a:lnTo>
                        <a:pt x="42" y="30"/>
                      </a:lnTo>
                      <a:close/>
                      <a:moveTo>
                        <a:pt x="52" y="38"/>
                      </a:moveTo>
                      <a:lnTo>
                        <a:pt x="52" y="38"/>
                      </a:lnTo>
                      <a:lnTo>
                        <a:pt x="52" y="38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6" y="42"/>
                      </a:lnTo>
                      <a:lnTo>
                        <a:pt x="56" y="42"/>
                      </a:lnTo>
                      <a:lnTo>
                        <a:pt x="56" y="42"/>
                      </a:lnTo>
                      <a:lnTo>
                        <a:pt x="56" y="42"/>
                      </a:lnTo>
                      <a:lnTo>
                        <a:pt x="56" y="42"/>
                      </a:lnTo>
                      <a:lnTo>
                        <a:pt x="56" y="42"/>
                      </a:lnTo>
                      <a:lnTo>
                        <a:pt x="56" y="42"/>
                      </a:lnTo>
                      <a:lnTo>
                        <a:pt x="56" y="42"/>
                      </a:lnTo>
                      <a:lnTo>
                        <a:pt x="56" y="42"/>
                      </a:lnTo>
                      <a:lnTo>
                        <a:pt x="56" y="42"/>
                      </a:lnTo>
                      <a:lnTo>
                        <a:pt x="56" y="42"/>
                      </a:lnTo>
                      <a:lnTo>
                        <a:pt x="56" y="42"/>
                      </a:lnTo>
                      <a:lnTo>
                        <a:pt x="56" y="44"/>
                      </a:lnTo>
                      <a:lnTo>
                        <a:pt x="56" y="44"/>
                      </a:lnTo>
                      <a:lnTo>
                        <a:pt x="56" y="44"/>
                      </a:lnTo>
                      <a:lnTo>
                        <a:pt x="56" y="44"/>
                      </a:lnTo>
                      <a:lnTo>
                        <a:pt x="56" y="44"/>
                      </a:lnTo>
                      <a:lnTo>
                        <a:pt x="52" y="44"/>
                      </a:lnTo>
                      <a:lnTo>
                        <a:pt x="52" y="44"/>
                      </a:lnTo>
                      <a:lnTo>
                        <a:pt x="52" y="44"/>
                      </a:lnTo>
                      <a:lnTo>
                        <a:pt x="52" y="44"/>
                      </a:lnTo>
                      <a:lnTo>
                        <a:pt x="52" y="44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38"/>
                      </a:lnTo>
                      <a:lnTo>
                        <a:pt x="52" y="38"/>
                      </a:lnTo>
                      <a:lnTo>
                        <a:pt x="52" y="38"/>
                      </a:lnTo>
                      <a:lnTo>
                        <a:pt x="52" y="3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99" name="Freeform 145"/>
                <p:cNvSpPr>
                  <a:spLocks/>
                </p:cNvSpPr>
                <p:nvPr/>
              </p:nvSpPr>
              <p:spPr bwMode="auto">
                <a:xfrm>
                  <a:off x="5133975" y="4152968"/>
                  <a:ext cx="336550" cy="314325"/>
                </a:xfrm>
                <a:custGeom>
                  <a:avLst/>
                  <a:gdLst>
                    <a:gd name="T0" fmla="*/ 172 w 212"/>
                    <a:gd name="T1" fmla="*/ 172 h 198"/>
                    <a:gd name="T2" fmla="*/ 152 w 212"/>
                    <a:gd name="T3" fmla="*/ 172 h 198"/>
                    <a:gd name="T4" fmla="*/ 142 w 212"/>
                    <a:gd name="T5" fmla="*/ 176 h 198"/>
                    <a:gd name="T6" fmla="*/ 134 w 212"/>
                    <a:gd name="T7" fmla="*/ 184 h 198"/>
                    <a:gd name="T8" fmla="*/ 122 w 212"/>
                    <a:gd name="T9" fmla="*/ 188 h 198"/>
                    <a:gd name="T10" fmla="*/ 108 w 212"/>
                    <a:gd name="T11" fmla="*/ 184 h 198"/>
                    <a:gd name="T12" fmla="*/ 96 w 212"/>
                    <a:gd name="T13" fmla="*/ 194 h 198"/>
                    <a:gd name="T14" fmla="*/ 90 w 212"/>
                    <a:gd name="T15" fmla="*/ 194 h 198"/>
                    <a:gd name="T16" fmla="*/ 78 w 212"/>
                    <a:gd name="T17" fmla="*/ 194 h 198"/>
                    <a:gd name="T18" fmla="*/ 60 w 212"/>
                    <a:gd name="T19" fmla="*/ 184 h 198"/>
                    <a:gd name="T20" fmla="*/ 48 w 212"/>
                    <a:gd name="T21" fmla="*/ 180 h 198"/>
                    <a:gd name="T22" fmla="*/ 40 w 212"/>
                    <a:gd name="T23" fmla="*/ 168 h 198"/>
                    <a:gd name="T24" fmla="*/ 32 w 212"/>
                    <a:gd name="T25" fmla="*/ 162 h 198"/>
                    <a:gd name="T26" fmla="*/ 30 w 212"/>
                    <a:gd name="T27" fmla="*/ 150 h 198"/>
                    <a:gd name="T28" fmla="*/ 22 w 212"/>
                    <a:gd name="T29" fmla="*/ 142 h 198"/>
                    <a:gd name="T30" fmla="*/ 14 w 212"/>
                    <a:gd name="T31" fmla="*/ 132 h 198"/>
                    <a:gd name="T32" fmla="*/ 4 w 212"/>
                    <a:gd name="T33" fmla="*/ 124 h 198"/>
                    <a:gd name="T34" fmla="*/ 4 w 212"/>
                    <a:gd name="T35" fmla="*/ 112 h 198"/>
                    <a:gd name="T36" fmla="*/ 14 w 212"/>
                    <a:gd name="T37" fmla="*/ 110 h 198"/>
                    <a:gd name="T38" fmla="*/ 18 w 212"/>
                    <a:gd name="T39" fmla="*/ 90 h 198"/>
                    <a:gd name="T40" fmla="*/ 18 w 212"/>
                    <a:gd name="T41" fmla="*/ 76 h 198"/>
                    <a:gd name="T42" fmla="*/ 30 w 212"/>
                    <a:gd name="T43" fmla="*/ 72 h 198"/>
                    <a:gd name="T44" fmla="*/ 30 w 212"/>
                    <a:gd name="T45" fmla="*/ 56 h 198"/>
                    <a:gd name="T46" fmla="*/ 36 w 212"/>
                    <a:gd name="T47" fmla="*/ 42 h 198"/>
                    <a:gd name="T48" fmla="*/ 44 w 212"/>
                    <a:gd name="T49" fmla="*/ 34 h 198"/>
                    <a:gd name="T50" fmla="*/ 48 w 212"/>
                    <a:gd name="T51" fmla="*/ 16 h 198"/>
                    <a:gd name="T52" fmla="*/ 60 w 212"/>
                    <a:gd name="T53" fmla="*/ 8 h 198"/>
                    <a:gd name="T54" fmla="*/ 66 w 212"/>
                    <a:gd name="T55" fmla="*/ 16 h 198"/>
                    <a:gd name="T56" fmla="*/ 70 w 212"/>
                    <a:gd name="T57" fmla="*/ 4 h 198"/>
                    <a:gd name="T58" fmla="*/ 82 w 212"/>
                    <a:gd name="T59" fmla="*/ 8 h 198"/>
                    <a:gd name="T60" fmla="*/ 90 w 212"/>
                    <a:gd name="T61" fmla="*/ 8 h 198"/>
                    <a:gd name="T62" fmla="*/ 96 w 212"/>
                    <a:gd name="T63" fmla="*/ 8 h 198"/>
                    <a:gd name="T64" fmla="*/ 108 w 212"/>
                    <a:gd name="T65" fmla="*/ 12 h 198"/>
                    <a:gd name="T66" fmla="*/ 116 w 212"/>
                    <a:gd name="T67" fmla="*/ 20 h 198"/>
                    <a:gd name="T68" fmla="*/ 122 w 212"/>
                    <a:gd name="T69" fmla="*/ 30 h 198"/>
                    <a:gd name="T70" fmla="*/ 130 w 212"/>
                    <a:gd name="T71" fmla="*/ 38 h 198"/>
                    <a:gd name="T72" fmla="*/ 130 w 212"/>
                    <a:gd name="T73" fmla="*/ 46 h 198"/>
                    <a:gd name="T74" fmla="*/ 122 w 212"/>
                    <a:gd name="T75" fmla="*/ 60 h 198"/>
                    <a:gd name="T76" fmla="*/ 130 w 212"/>
                    <a:gd name="T77" fmla="*/ 68 h 198"/>
                    <a:gd name="T78" fmla="*/ 142 w 212"/>
                    <a:gd name="T79" fmla="*/ 72 h 198"/>
                    <a:gd name="T80" fmla="*/ 142 w 212"/>
                    <a:gd name="T81" fmla="*/ 82 h 198"/>
                    <a:gd name="T82" fmla="*/ 148 w 212"/>
                    <a:gd name="T83" fmla="*/ 94 h 198"/>
                    <a:gd name="T84" fmla="*/ 164 w 212"/>
                    <a:gd name="T85" fmla="*/ 106 h 198"/>
                    <a:gd name="T86" fmla="*/ 186 w 212"/>
                    <a:gd name="T87" fmla="*/ 112 h 198"/>
                    <a:gd name="T88" fmla="*/ 198 w 212"/>
                    <a:gd name="T89" fmla="*/ 120 h 198"/>
                    <a:gd name="T90" fmla="*/ 208 w 212"/>
                    <a:gd name="T91" fmla="*/ 124 h 198"/>
                    <a:gd name="T92" fmla="*/ 186 w 212"/>
                    <a:gd name="T93" fmla="*/ 150 h 198"/>
                    <a:gd name="T94" fmla="*/ 178 w 212"/>
                    <a:gd name="T95" fmla="*/ 162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212" h="198">
                      <a:moveTo>
                        <a:pt x="178" y="162"/>
                      </a:moveTo>
                      <a:lnTo>
                        <a:pt x="176" y="164"/>
                      </a:lnTo>
                      <a:lnTo>
                        <a:pt x="172" y="168"/>
                      </a:lnTo>
                      <a:lnTo>
                        <a:pt x="172" y="172"/>
                      </a:lnTo>
                      <a:lnTo>
                        <a:pt x="164" y="172"/>
                      </a:lnTo>
                      <a:lnTo>
                        <a:pt x="160" y="172"/>
                      </a:lnTo>
                      <a:lnTo>
                        <a:pt x="156" y="172"/>
                      </a:lnTo>
                      <a:lnTo>
                        <a:pt x="152" y="172"/>
                      </a:lnTo>
                      <a:lnTo>
                        <a:pt x="148" y="172"/>
                      </a:lnTo>
                      <a:lnTo>
                        <a:pt x="148" y="176"/>
                      </a:lnTo>
                      <a:lnTo>
                        <a:pt x="146" y="176"/>
                      </a:lnTo>
                      <a:lnTo>
                        <a:pt x="142" y="176"/>
                      </a:lnTo>
                      <a:lnTo>
                        <a:pt x="142" y="180"/>
                      </a:lnTo>
                      <a:lnTo>
                        <a:pt x="142" y="184"/>
                      </a:lnTo>
                      <a:lnTo>
                        <a:pt x="138" y="184"/>
                      </a:lnTo>
                      <a:lnTo>
                        <a:pt x="134" y="184"/>
                      </a:lnTo>
                      <a:lnTo>
                        <a:pt x="130" y="184"/>
                      </a:lnTo>
                      <a:lnTo>
                        <a:pt x="130" y="188"/>
                      </a:lnTo>
                      <a:lnTo>
                        <a:pt x="126" y="188"/>
                      </a:lnTo>
                      <a:lnTo>
                        <a:pt x="122" y="188"/>
                      </a:lnTo>
                      <a:lnTo>
                        <a:pt x="118" y="188"/>
                      </a:lnTo>
                      <a:lnTo>
                        <a:pt x="116" y="188"/>
                      </a:lnTo>
                      <a:lnTo>
                        <a:pt x="112" y="184"/>
                      </a:lnTo>
                      <a:lnTo>
                        <a:pt x="108" y="184"/>
                      </a:lnTo>
                      <a:lnTo>
                        <a:pt x="104" y="188"/>
                      </a:lnTo>
                      <a:lnTo>
                        <a:pt x="100" y="188"/>
                      </a:lnTo>
                      <a:lnTo>
                        <a:pt x="96" y="192"/>
                      </a:lnTo>
                      <a:lnTo>
                        <a:pt x="96" y="194"/>
                      </a:lnTo>
                      <a:lnTo>
                        <a:pt x="92" y="194"/>
                      </a:lnTo>
                      <a:lnTo>
                        <a:pt x="92" y="198"/>
                      </a:lnTo>
                      <a:lnTo>
                        <a:pt x="90" y="198"/>
                      </a:lnTo>
                      <a:lnTo>
                        <a:pt x="90" y="194"/>
                      </a:lnTo>
                      <a:lnTo>
                        <a:pt x="90" y="198"/>
                      </a:lnTo>
                      <a:lnTo>
                        <a:pt x="86" y="194"/>
                      </a:lnTo>
                      <a:lnTo>
                        <a:pt x="82" y="194"/>
                      </a:lnTo>
                      <a:lnTo>
                        <a:pt x="78" y="194"/>
                      </a:lnTo>
                      <a:lnTo>
                        <a:pt x="74" y="194"/>
                      </a:lnTo>
                      <a:lnTo>
                        <a:pt x="70" y="194"/>
                      </a:lnTo>
                      <a:lnTo>
                        <a:pt x="70" y="192"/>
                      </a:lnTo>
                      <a:lnTo>
                        <a:pt x="60" y="184"/>
                      </a:lnTo>
                      <a:lnTo>
                        <a:pt x="60" y="180"/>
                      </a:lnTo>
                      <a:lnTo>
                        <a:pt x="56" y="180"/>
                      </a:lnTo>
                      <a:lnTo>
                        <a:pt x="52" y="180"/>
                      </a:lnTo>
                      <a:lnTo>
                        <a:pt x="48" y="180"/>
                      </a:lnTo>
                      <a:lnTo>
                        <a:pt x="44" y="180"/>
                      </a:lnTo>
                      <a:lnTo>
                        <a:pt x="40" y="180"/>
                      </a:lnTo>
                      <a:lnTo>
                        <a:pt x="40" y="176"/>
                      </a:lnTo>
                      <a:lnTo>
                        <a:pt x="40" y="168"/>
                      </a:lnTo>
                      <a:lnTo>
                        <a:pt x="40" y="164"/>
                      </a:lnTo>
                      <a:lnTo>
                        <a:pt x="36" y="164"/>
                      </a:lnTo>
                      <a:lnTo>
                        <a:pt x="32" y="164"/>
                      </a:lnTo>
                      <a:lnTo>
                        <a:pt x="32" y="162"/>
                      </a:lnTo>
                      <a:lnTo>
                        <a:pt x="30" y="162"/>
                      </a:lnTo>
                      <a:lnTo>
                        <a:pt x="30" y="158"/>
                      </a:lnTo>
                      <a:lnTo>
                        <a:pt x="30" y="154"/>
                      </a:lnTo>
                      <a:lnTo>
                        <a:pt x="30" y="150"/>
                      </a:lnTo>
                      <a:lnTo>
                        <a:pt x="26" y="150"/>
                      </a:lnTo>
                      <a:lnTo>
                        <a:pt x="26" y="146"/>
                      </a:lnTo>
                      <a:lnTo>
                        <a:pt x="26" y="142"/>
                      </a:lnTo>
                      <a:lnTo>
                        <a:pt x="22" y="142"/>
                      </a:lnTo>
                      <a:lnTo>
                        <a:pt x="22" y="138"/>
                      </a:lnTo>
                      <a:lnTo>
                        <a:pt x="18" y="138"/>
                      </a:lnTo>
                      <a:lnTo>
                        <a:pt x="18" y="136"/>
                      </a:lnTo>
                      <a:lnTo>
                        <a:pt x="14" y="132"/>
                      </a:lnTo>
                      <a:lnTo>
                        <a:pt x="14" y="128"/>
                      </a:lnTo>
                      <a:lnTo>
                        <a:pt x="10" y="124"/>
                      </a:lnTo>
                      <a:lnTo>
                        <a:pt x="6" y="124"/>
                      </a:lnTo>
                      <a:lnTo>
                        <a:pt x="4" y="124"/>
                      </a:lnTo>
                      <a:lnTo>
                        <a:pt x="0" y="124"/>
                      </a:lnTo>
                      <a:lnTo>
                        <a:pt x="0" y="120"/>
                      </a:lnTo>
                      <a:lnTo>
                        <a:pt x="4" y="116"/>
                      </a:lnTo>
                      <a:lnTo>
                        <a:pt x="4" y="112"/>
                      </a:lnTo>
                      <a:lnTo>
                        <a:pt x="6" y="112"/>
                      </a:lnTo>
                      <a:lnTo>
                        <a:pt x="10" y="112"/>
                      </a:lnTo>
                      <a:lnTo>
                        <a:pt x="14" y="112"/>
                      </a:lnTo>
                      <a:lnTo>
                        <a:pt x="14" y="110"/>
                      </a:lnTo>
                      <a:lnTo>
                        <a:pt x="18" y="106"/>
                      </a:lnTo>
                      <a:lnTo>
                        <a:pt x="18" y="102"/>
                      </a:lnTo>
                      <a:lnTo>
                        <a:pt x="14" y="94"/>
                      </a:lnTo>
                      <a:lnTo>
                        <a:pt x="18" y="90"/>
                      </a:lnTo>
                      <a:lnTo>
                        <a:pt x="18" y="86"/>
                      </a:lnTo>
                      <a:lnTo>
                        <a:pt x="18" y="82"/>
                      </a:lnTo>
                      <a:lnTo>
                        <a:pt x="18" y="80"/>
                      </a:lnTo>
                      <a:lnTo>
                        <a:pt x="18" y="76"/>
                      </a:lnTo>
                      <a:lnTo>
                        <a:pt x="22" y="72"/>
                      </a:lnTo>
                      <a:lnTo>
                        <a:pt x="22" y="68"/>
                      </a:lnTo>
                      <a:lnTo>
                        <a:pt x="26" y="72"/>
                      </a:lnTo>
                      <a:lnTo>
                        <a:pt x="30" y="72"/>
                      </a:lnTo>
                      <a:lnTo>
                        <a:pt x="30" y="68"/>
                      </a:lnTo>
                      <a:lnTo>
                        <a:pt x="30" y="64"/>
                      </a:lnTo>
                      <a:lnTo>
                        <a:pt x="30" y="60"/>
                      </a:lnTo>
                      <a:lnTo>
                        <a:pt x="30" y="56"/>
                      </a:lnTo>
                      <a:lnTo>
                        <a:pt x="30" y="54"/>
                      </a:lnTo>
                      <a:lnTo>
                        <a:pt x="32" y="54"/>
                      </a:lnTo>
                      <a:lnTo>
                        <a:pt x="32" y="50"/>
                      </a:lnTo>
                      <a:lnTo>
                        <a:pt x="36" y="42"/>
                      </a:lnTo>
                      <a:lnTo>
                        <a:pt x="36" y="38"/>
                      </a:lnTo>
                      <a:lnTo>
                        <a:pt x="40" y="38"/>
                      </a:lnTo>
                      <a:lnTo>
                        <a:pt x="44" y="38"/>
                      </a:lnTo>
                      <a:lnTo>
                        <a:pt x="44" y="34"/>
                      </a:lnTo>
                      <a:lnTo>
                        <a:pt x="48" y="26"/>
                      </a:lnTo>
                      <a:lnTo>
                        <a:pt x="48" y="24"/>
                      </a:lnTo>
                      <a:lnTo>
                        <a:pt x="48" y="20"/>
                      </a:lnTo>
                      <a:lnTo>
                        <a:pt x="48" y="16"/>
                      </a:lnTo>
                      <a:lnTo>
                        <a:pt x="52" y="12"/>
                      </a:lnTo>
                      <a:lnTo>
                        <a:pt x="56" y="12"/>
                      </a:lnTo>
                      <a:lnTo>
                        <a:pt x="60" y="12"/>
                      </a:lnTo>
                      <a:lnTo>
                        <a:pt x="60" y="8"/>
                      </a:lnTo>
                      <a:lnTo>
                        <a:pt x="62" y="8"/>
                      </a:lnTo>
                      <a:lnTo>
                        <a:pt x="62" y="12"/>
                      </a:lnTo>
                      <a:lnTo>
                        <a:pt x="62" y="16"/>
                      </a:lnTo>
                      <a:lnTo>
                        <a:pt x="66" y="16"/>
                      </a:lnTo>
                      <a:lnTo>
                        <a:pt x="66" y="8"/>
                      </a:lnTo>
                      <a:lnTo>
                        <a:pt x="70" y="4"/>
                      </a:lnTo>
                      <a:lnTo>
                        <a:pt x="70" y="0"/>
                      </a:lnTo>
                      <a:lnTo>
                        <a:pt x="70" y="4"/>
                      </a:lnTo>
                      <a:lnTo>
                        <a:pt x="74" y="4"/>
                      </a:lnTo>
                      <a:lnTo>
                        <a:pt x="74" y="8"/>
                      </a:lnTo>
                      <a:lnTo>
                        <a:pt x="78" y="8"/>
                      </a:lnTo>
                      <a:lnTo>
                        <a:pt x="82" y="8"/>
                      </a:lnTo>
                      <a:lnTo>
                        <a:pt x="86" y="8"/>
                      </a:lnTo>
                      <a:lnTo>
                        <a:pt x="86" y="4"/>
                      </a:lnTo>
                      <a:lnTo>
                        <a:pt x="90" y="4"/>
                      </a:lnTo>
                      <a:lnTo>
                        <a:pt x="90" y="8"/>
                      </a:lnTo>
                      <a:lnTo>
                        <a:pt x="92" y="8"/>
                      </a:lnTo>
                      <a:lnTo>
                        <a:pt x="92" y="4"/>
                      </a:lnTo>
                      <a:lnTo>
                        <a:pt x="92" y="8"/>
                      </a:lnTo>
                      <a:lnTo>
                        <a:pt x="96" y="8"/>
                      </a:lnTo>
                      <a:lnTo>
                        <a:pt x="100" y="8"/>
                      </a:lnTo>
                      <a:lnTo>
                        <a:pt x="104" y="8"/>
                      </a:lnTo>
                      <a:lnTo>
                        <a:pt x="104" y="12"/>
                      </a:lnTo>
                      <a:lnTo>
                        <a:pt x="108" y="12"/>
                      </a:lnTo>
                      <a:lnTo>
                        <a:pt x="112" y="12"/>
                      </a:lnTo>
                      <a:lnTo>
                        <a:pt x="112" y="16"/>
                      </a:lnTo>
                      <a:lnTo>
                        <a:pt x="116" y="16"/>
                      </a:lnTo>
                      <a:lnTo>
                        <a:pt x="116" y="20"/>
                      </a:lnTo>
                      <a:lnTo>
                        <a:pt x="116" y="24"/>
                      </a:lnTo>
                      <a:lnTo>
                        <a:pt x="118" y="26"/>
                      </a:lnTo>
                      <a:lnTo>
                        <a:pt x="122" y="26"/>
                      </a:lnTo>
                      <a:lnTo>
                        <a:pt x="122" y="30"/>
                      </a:lnTo>
                      <a:lnTo>
                        <a:pt x="126" y="30"/>
                      </a:lnTo>
                      <a:lnTo>
                        <a:pt x="126" y="34"/>
                      </a:lnTo>
                      <a:lnTo>
                        <a:pt x="130" y="34"/>
                      </a:lnTo>
                      <a:lnTo>
                        <a:pt x="130" y="38"/>
                      </a:lnTo>
                      <a:lnTo>
                        <a:pt x="130" y="42"/>
                      </a:lnTo>
                      <a:lnTo>
                        <a:pt x="134" y="42"/>
                      </a:lnTo>
                      <a:lnTo>
                        <a:pt x="134" y="46"/>
                      </a:lnTo>
                      <a:lnTo>
                        <a:pt x="130" y="46"/>
                      </a:lnTo>
                      <a:lnTo>
                        <a:pt x="130" y="50"/>
                      </a:lnTo>
                      <a:lnTo>
                        <a:pt x="126" y="54"/>
                      </a:lnTo>
                      <a:lnTo>
                        <a:pt x="126" y="56"/>
                      </a:lnTo>
                      <a:lnTo>
                        <a:pt x="122" y="60"/>
                      </a:lnTo>
                      <a:lnTo>
                        <a:pt x="126" y="60"/>
                      </a:lnTo>
                      <a:lnTo>
                        <a:pt x="126" y="64"/>
                      </a:lnTo>
                      <a:lnTo>
                        <a:pt x="126" y="68"/>
                      </a:lnTo>
                      <a:lnTo>
                        <a:pt x="130" y="68"/>
                      </a:lnTo>
                      <a:lnTo>
                        <a:pt x="134" y="68"/>
                      </a:lnTo>
                      <a:lnTo>
                        <a:pt x="138" y="68"/>
                      </a:lnTo>
                      <a:lnTo>
                        <a:pt x="142" y="68"/>
                      </a:lnTo>
                      <a:lnTo>
                        <a:pt x="142" y="72"/>
                      </a:lnTo>
                      <a:lnTo>
                        <a:pt x="138" y="72"/>
                      </a:lnTo>
                      <a:lnTo>
                        <a:pt x="138" y="76"/>
                      </a:lnTo>
                      <a:lnTo>
                        <a:pt x="138" y="80"/>
                      </a:lnTo>
                      <a:lnTo>
                        <a:pt x="142" y="82"/>
                      </a:lnTo>
                      <a:lnTo>
                        <a:pt x="142" y="86"/>
                      </a:lnTo>
                      <a:lnTo>
                        <a:pt x="146" y="86"/>
                      </a:lnTo>
                      <a:lnTo>
                        <a:pt x="146" y="90"/>
                      </a:lnTo>
                      <a:lnTo>
                        <a:pt x="148" y="94"/>
                      </a:lnTo>
                      <a:lnTo>
                        <a:pt x="148" y="98"/>
                      </a:lnTo>
                      <a:lnTo>
                        <a:pt x="152" y="98"/>
                      </a:lnTo>
                      <a:lnTo>
                        <a:pt x="156" y="102"/>
                      </a:lnTo>
                      <a:lnTo>
                        <a:pt x="164" y="106"/>
                      </a:lnTo>
                      <a:lnTo>
                        <a:pt x="172" y="110"/>
                      </a:lnTo>
                      <a:lnTo>
                        <a:pt x="176" y="110"/>
                      </a:lnTo>
                      <a:lnTo>
                        <a:pt x="178" y="112"/>
                      </a:lnTo>
                      <a:lnTo>
                        <a:pt x="186" y="112"/>
                      </a:lnTo>
                      <a:lnTo>
                        <a:pt x="190" y="116"/>
                      </a:lnTo>
                      <a:lnTo>
                        <a:pt x="194" y="116"/>
                      </a:lnTo>
                      <a:lnTo>
                        <a:pt x="198" y="116"/>
                      </a:lnTo>
                      <a:lnTo>
                        <a:pt x="198" y="120"/>
                      </a:lnTo>
                      <a:lnTo>
                        <a:pt x="202" y="120"/>
                      </a:lnTo>
                      <a:lnTo>
                        <a:pt x="208" y="120"/>
                      </a:lnTo>
                      <a:lnTo>
                        <a:pt x="212" y="120"/>
                      </a:lnTo>
                      <a:lnTo>
                        <a:pt x="208" y="124"/>
                      </a:lnTo>
                      <a:lnTo>
                        <a:pt x="204" y="128"/>
                      </a:lnTo>
                      <a:lnTo>
                        <a:pt x="198" y="136"/>
                      </a:lnTo>
                      <a:lnTo>
                        <a:pt x="194" y="142"/>
                      </a:lnTo>
                      <a:lnTo>
                        <a:pt x="186" y="150"/>
                      </a:lnTo>
                      <a:lnTo>
                        <a:pt x="186" y="154"/>
                      </a:lnTo>
                      <a:lnTo>
                        <a:pt x="182" y="154"/>
                      </a:lnTo>
                      <a:lnTo>
                        <a:pt x="178" y="158"/>
                      </a:lnTo>
                      <a:lnTo>
                        <a:pt x="178" y="162"/>
                      </a:lnTo>
                      <a:lnTo>
                        <a:pt x="178" y="162"/>
                      </a:lnTo>
                      <a:lnTo>
                        <a:pt x="178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00" name="Freeform 146"/>
                <p:cNvSpPr>
                  <a:spLocks noEditPoints="1"/>
                </p:cNvSpPr>
                <p:nvPr/>
              </p:nvSpPr>
              <p:spPr bwMode="auto">
                <a:xfrm>
                  <a:off x="4587875" y="4499043"/>
                  <a:ext cx="133350" cy="165100"/>
                </a:xfrm>
                <a:custGeom>
                  <a:avLst/>
                  <a:gdLst>
                    <a:gd name="T0" fmla="*/ 46 w 84"/>
                    <a:gd name="T1" fmla="*/ 90 h 104"/>
                    <a:gd name="T2" fmla="*/ 46 w 84"/>
                    <a:gd name="T3" fmla="*/ 96 h 104"/>
                    <a:gd name="T4" fmla="*/ 46 w 84"/>
                    <a:gd name="T5" fmla="*/ 100 h 104"/>
                    <a:gd name="T6" fmla="*/ 42 w 84"/>
                    <a:gd name="T7" fmla="*/ 100 h 104"/>
                    <a:gd name="T8" fmla="*/ 34 w 84"/>
                    <a:gd name="T9" fmla="*/ 104 h 104"/>
                    <a:gd name="T10" fmla="*/ 30 w 84"/>
                    <a:gd name="T11" fmla="*/ 100 h 104"/>
                    <a:gd name="T12" fmla="*/ 26 w 84"/>
                    <a:gd name="T13" fmla="*/ 92 h 104"/>
                    <a:gd name="T14" fmla="*/ 20 w 84"/>
                    <a:gd name="T15" fmla="*/ 86 h 104"/>
                    <a:gd name="T16" fmla="*/ 16 w 84"/>
                    <a:gd name="T17" fmla="*/ 82 h 104"/>
                    <a:gd name="T18" fmla="*/ 20 w 84"/>
                    <a:gd name="T19" fmla="*/ 82 h 104"/>
                    <a:gd name="T20" fmla="*/ 16 w 84"/>
                    <a:gd name="T21" fmla="*/ 82 h 104"/>
                    <a:gd name="T22" fmla="*/ 12 w 84"/>
                    <a:gd name="T23" fmla="*/ 74 h 104"/>
                    <a:gd name="T24" fmla="*/ 12 w 84"/>
                    <a:gd name="T25" fmla="*/ 74 h 104"/>
                    <a:gd name="T26" fmla="*/ 8 w 84"/>
                    <a:gd name="T27" fmla="*/ 70 h 104"/>
                    <a:gd name="T28" fmla="*/ 8 w 84"/>
                    <a:gd name="T29" fmla="*/ 68 h 104"/>
                    <a:gd name="T30" fmla="*/ 4 w 84"/>
                    <a:gd name="T31" fmla="*/ 60 h 104"/>
                    <a:gd name="T32" fmla="*/ 12 w 84"/>
                    <a:gd name="T33" fmla="*/ 68 h 104"/>
                    <a:gd name="T34" fmla="*/ 12 w 84"/>
                    <a:gd name="T35" fmla="*/ 68 h 104"/>
                    <a:gd name="T36" fmla="*/ 8 w 84"/>
                    <a:gd name="T37" fmla="*/ 64 h 104"/>
                    <a:gd name="T38" fmla="*/ 4 w 84"/>
                    <a:gd name="T39" fmla="*/ 64 h 104"/>
                    <a:gd name="T40" fmla="*/ 0 w 84"/>
                    <a:gd name="T41" fmla="*/ 48 h 104"/>
                    <a:gd name="T42" fmla="*/ 4 w 84"/>
                    <a:gd name="T43" fmla="*/ 52 h 104"/>
                    <a:gd name="T44" fmla="*/ 8 w 84"/>
                    <a:gd name="T45" fmla="*/ 44 h 104"/>
                    <a:gd name="T46" fmla="*/ 8 w 84"/>
                    <a:gd name="T47" fmla="*/ 40 h 104"/>
                    <a:gd name="T48" fmla="*/ 8 w 84"/>
                    <a:gd name="T49" fmla="*/ 38 h 104"/>
                    <a:gd name="T50" fmla="*/ 12 w 84"/>
                    <a:gd name="T51" fmla="*/ 38 h 104"/>
                    <a:gd name="T52" fmla="*/ 16 w 84"/>
                    <a:gd name="T53" fmla="*/ 38 h 104"/>
                    <a:gd name="T54" fmla="*/ 12 w 84"/>
                    <a:gd name="T55" fmla="*/ 30 h 104"/>
                    <a:gd name="T56" fmla="*/ 12 w 84"/>
                    <a:gd name="T57" fmla="*/ 30 h 104"/>
                    <a:gd name="T58" fmla="*/ 16 w 84"/>
                    <a:gd name="T59" fmla="*/ 26 h 104"/>
                    <a:gd name="T60" fmla="*/ 16 w 84"/>
                    <a:gd name="T61" fmla="*/ 22 h 104"/>
                    <a:gd name="T62" fmla="*/ 20 w 84"/>
                    <a:gd name="T63" fmla="*/ 22 h 104"/>
                    <a:gd name="T64" fmla="*/ 26 w 84"/>
                    <a:gd name="T65" fmla="*/ 22 h 104"/>
                    <a:gd name="T66" fmla="*/ 38 w 84"/>
                    <a:gd name="T67" fmla="*/ 10 h 104"/>
                    <a:gd name="T68" fmla="*/ 38 w 84"/>
                    <a:gd name="T69" fmla="*/ 0 h 104"/>
                    <a:gd name="T70" fmla="*/ 54 w 84"/>
                    <a:gd name="T71" fmla="*/ 0 h 104"/>
                    <a:gd name="T72" fmla="*/ 64 w 84"/>
                    <a:gd name="T73" fmla="*/ 0 h 104"/>
                    <a:gd name="T74" fmla="*/ 64 w 84"/>
                    <a:gd name="T75" fmla="*/ 4 h 104"/>
                    <a:gd name="T76" fmla="*/ 64 w 84"/>
                    <a:gd name="T77" fmla="*/ 10 h 104"/>
                    <a:gd name="T78" fmla="*/ 64 w 84"/>
                    <a:gd name="T79" fmla="*/ 18 h 104"/>
                    <a:gd name="T80" fmla="*/ 72 w 84"/>
                    <a:gd name="T81" fmla="*/ 14 h 104"/>
                    <a:gd name="T82" fmla="*/ 80 w 84"/>
                    <a:gd name="T83" fmla="*/ 14 h 104"/>
                    <a:gd name="T84" fmla="*/ 84 w 84"/>
                    <a:gd name="T85" fmla="*/ 22 h 104"/>
                    <a:gd name="T86" fmla="*/ 76 w 84"/>
                    <a:gd name="T87" fmla="*/ 30 h 104"/>
                    <a:gd name="T88" fmla="*/ 76 w 84"/>
                    <a:gd name="T89" fmla="*/ 40 h 104"/>
                    <a:gd name="T90" fmla="*/ 80 w 84"/>
                    <a:gd name="T91" fmla="*/ 44 h 104"/>
                    <a:gd name="T92" fmla="*/ 84 w 84"/>
                    <a:gd name="T93" fmla="*/ 48 h 104"/>
                    <a:gd name="T94" fmla="*/ 84 w 84"/>
                    <a:gd name="T95" fmla="*/ 60 h 104"/>
                    <a:gd name="T96" fmla="*/ 84 w 84"/>
                    <a:gd name="T97" fmla="*/ 70 h 104"/>
                    <a:gd name="T98" fmla="*/ 80 w 84"/>
                    <a:gd name="T99" fmla="*/ 74 h 104"/>
                    <a:gd name="T100" fmla="*/ 76 w 84"/>
                    <a:gd name="T101" fmla="*/ 82 h 104"/>
                    <a:gd name="T102" fmla="*/ 72 w 84"/>
                    <a:gd name="T103" fmla="*/ 78 h 104"/>
                    <a:gd name="T104" fmla="*/ 64 w 84"/>
                    <a:gd name="T105" fmla="*/ 78 h 104"/>
                    <a:gd name="T106" fmla="*/ 60 w 84"/>
                    <a:gd name="T107" fmla="*/ 78 h 104"/>
                    <a:gd name="T108" fmla="*/ 56 w 84"/>
                    <a:gd name="T109" fmla="*/ 70 h 104"/>
                    <a:gd name="T110" fmla="*/ 54 w 84"/>
                    <a:gd name="T111" fmla="*/ 74 h 104"/>
                    <a:gd name="T112" fmla="*/ 50 w 84"/>
                    <a:gd name="T113" fmla="*/ 78 h 104"/>
                    <a:gd name="T114" fmla="*/ 42 w 84"/>
                    <a:gd name="T115" fmla="*/ 78 h 104"/>
                    <a:gd name="T116" fmla="*/ 42 w 84"/>
                    <a:gd name="T117" fmla="*/ 86 h 104"/>
                    <a:gd name="T118" fmla="*/ 4 w 84"/>
                    <a:gd name="T119" fmla="*/ 52 h 104"/>
                    <a:gd name="T120" fmla="*/ 4 w 84"/>
                    <a:gd name="T121" fmla="*/ 52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84" h="104">
                      <a:moveTo>
                        <a:pt x="42" y="86"/>
                      </a:moveTo>
                      <a:lnTo>
                        <a:pt x="42" y="86"/>
                      </a:lnTo>
                      <a:lnTo>
                        <a:pt x="42" y="90"/>
                      </a:lnTo>
                      <a:lnTo>
                        <a:pt x="42" y="90"/>
                      </a:lnTo>
                      <a:lnTo>
                        <a:pt x="42" y="86"/>
                      </a:lnTo>
                      <a:lnTo>
                        <a:pt x="46" y="90"/>
                      </a:lnTo>
                      <a:lnTo>
                        <a:pt x="46" y="90"/>
                      </a:lnTo>
                      <a:lnTo>
                        <a:pt x="46" y="90"/>
                      </a:lnTo>
                      <a:lnTo>
                        <a:pt x="46" y="90"/>
                      </a:lnTo>
                      <a:lnTo>
                        <a:pt x="42" y="92"/>
                      </a:lnTo>
                      <a:lnTo>
                        <a:pt x="42" y="92"/>
                      </a:lnTo>
                      <a:lnTo>
                        <a:pt x="42" y="92"/>
                      </a:lnTo>
                      <a:lnTo>
                        <a:pt x="46" y="92"/>
                      </a:lnTo>
                      <a:lnTo>
                        <a:pt x="46" y="92"/>
                      </a:lnTo>
                      <a:lnTo>
                        <a:pt x="46" y="92"/>
                      </a:lnTo>
                      <a:lnTo>
                        <a:pt x="46" y="96"/>
                      </a:lnTo>
                      <a:lnTo>
                        <a:pt x="46" y="96"/>
                      </a:lnTo>
                      <a:lnTo>
                        <a:pt x="46" y="96"/>
                      </a:lnTo>
                      <a:lnTo>
                        <a:pt x="46" y="96"/>
                      </a:lnTo>
                      <a:lnTo>
                        <a:pt x="46" y="96"/>
                      </a:lnTo>
                      <a:lnTo>
                        <a:pt x="46" y="96"/>
                      </a:lnTo>
                      <a:lnTo>
                        <a:pt x="46" y="100"/>
                      </a:lnTo>
                      <a:lnTo>
                        <a:pt x="46" y="100"/>
                      </a:lnTo>
                      <a:lnTo>
                        <a:pt x="46" y="100"/>
                      </a:lnTo>
                      <a:lnTo>
                        <a:pt x="46" y="100"/>
                      </a:lnTo>
                      <a:lnTo>
                        <a:pt x="46" y="100"/>
                      </a:lnTo>
                      <a:lnTo>
                        <a:pt x="46" y="100"/>
                      </a:lnTo>
                      <a:lnTo>
                        <a:pt x="46" y="100"/>
                      </a:lnTo>
                      <a:lnTo>
                        <a:pt x="46" y="100"/>
                      </a:lnTo>
                      <a:lnTo>
                        <a:pt x="46" y="100"/>
                      </a:lnTo>
                      <a:lnTo>
                        <a:pt x="42" y="100"/>
                      </a:lnTo>
                      <a:lnTo>
                        <a:pt x="42" y="100"/>
                      </a:lnTo>
                      <a:lnTo>
                        <a:pt x="42" y="100"/>
                      </a:lnTo>
                      <a:lnTo>
                        <a:pt x="42" y="100"/>
                      </a:lnTo>
                      <a:lnTo>
                        <a:pt x="42" y="100"/>
                      </a:lnTo>
                      <a:lnTo>
                        <a:pt x="42" y="100"/>
                      </a:lnTo>
                      <a:lnTo>
                        <a:pt x="38" y="100"/>
                      </a:lnTo>
                      <a:lnTo>
                        <a:pt x="38" y="100"/>
                      </a:lnTo>
                      <a:lnTo>
                        <a:pt x="34" y="104"/>
                      </a:lnTo>
                      <a:lnTo>
                        <a:pt x="34" y="104"/>
                      </a:lnTo>
                      <a:lnTo>
                        <a:pt x="34" y="104"/>
                      </a:lnTo>
                      <a:lnTo>
                        <a:pt x="34" y="104"/>
                      </a:lnTo>
                      <a:lnTo>
                        <a:pt x="34" y="104"/>
                      </a:lnTo>
                      <a:lnTo>
                        <a:pt x="34" y="104"/>
                      </a:lnTo>
                      <a:lnTo>
                        <a:pt x="34" y="104"/>
                      </a:lnTo>
                      <a:lnTo>
                        <a:pt x="34" y="100"/>
                      </a:lnTo>
                      <a:lnTo>
                        <a:pt x="34" y="100"/>
                      </a:lnTo>
                      <a:lnTo>
                        <a:pt x="30" y="100"/>
                      </a:lnTo>
                      <a:lnTo>
                        <a:pt x="30" y="100"/>
                      </a:lnTo>
                      <a:lnTo>
                        <a:pt x="30" y="100"/>
                      </a:lnTo>
                      <a:lnTo>
                        <a:pt x="30" y="100"/>
                      </a:lnTo>
                      <a:lnTo>
                        <a:pt x="30" y="96"/>
                      </a:lnTo>
                      <a:lnTo>
                        <a:pt x="26" y="96"/>
                      </a:lnTo>
                      <a:lnTo>
                        <a:pt x="26" y="96"/>
                      </a:lnTo>
                      <a:lnTo>
                        <a:pt x="26" y="96"/>
                      </a:lnTo>
                      <a:lnTo>
                        <a:pt x="26" y="92"/>
                      </a:lnTo>
                      <a:lnTo>
                        <a:pt x="26" y="92"/>
                      </a:lnTo>
                      <a:lnTo>
                        <a:pt x="24" y="90"/>
                      </a:lnTo>
                      <a:lnTo>
                        <a:pt x="24" y="90"/>
                      </a:lnTo>
                      <a:lnTo>
                        <a:pt x="24" y="90"/>
                      </a:lnTo>
                      <a:lnTo>
                        <a:pt x="20" y="86"/>
                      </a:lnTo>
                      <a:lnTo>
                        <a:pt x="20" y="86"/>
                      </a:lnTo>
                      <a:lnTo>
                        <a:pt x="20" y="86"/>
                      </a:lnTo>
                      <a:lnTo>
                        <a:pt x="20" y="86"/>
                      </a:lnTo>
                      <a:lnTo>
                        <a:pt x="20" y="86"/>
                      </a:lnTo>
                      <a:lnTo>
                        <a:pt x="20" y="86"/>
                      </a:lnTo>
                      <a:lnTo>
                        <a:pt x="16" y="82"/>
                      </a:lnTo>
                      <a:lnTo>
                        <a:pt x="16" y="82"/>
                      </a:lnTo>
                      <a:lnTo>
                        <a:pt x="16" y="82"/>
                      </a:lnTo>
                      <a:lnTo>
                        <a:pt x="16" y="82"/>
                      </a:lnTo>
                      <a:lnTo>
                        <a:pt x="16" y="82"/>
                      </a:lnTo>
                      <a:lnTo>
                        <a:pt x="16" y="82"/>
                      </a:lnTo>
                      <a:lnTo>
                        <a:pt x="20" y="82"/>
                      </a:lnTo>
                      <a:lnTo>
                        <a:pt x="20" y="82"/>
                      </a:lnTo>
                      <a:lnTo>
                        <a:pt x="20" y="86"/>
                      </a:lnTo>
                      <a:lnTo>
                        <a:pt x="24" y="82"/>
                      </a:lnTo>
                      <a:lnTo>
                        <a:pt x="20" y="82"/>
                      </a:lnTo>
                      <a:lnTo>
                        <a:pt x="20" y="82"/>
                      </a:lnTo>
                      <a:lnTo>
                        <a:pt x="20" y="82"/>
                      </a:lnTo>
                      <a:lnTo>
                        <a:pt x="20" y="82"/>
                      </a:lnTo>
                      <a:lnTo>
                        <a:pt x="20" y="82"/>
                      </a:lnTo>
                      <a:lnTo>
                        <a:pt x="20" y="82"/>
                      </a:lnTo>
                      <a:lnTo>
                        <a:pt x="16" y="82"/>
                      </a:lnTo>
                      <a:lnTo>
                        <a:pt x="16" y="82"/>
                      </a:lnTo>
                      <a:lnTo>
                        <a:pt x="16" y="82"/>
                      </a:lnTo>
                      <a:lnTo>
                        <a:pt x="16" y="82"/>
                      </a:lnTo>
                      <a:lnTo>
                        <a:pt x="16" y="82"/>
                      </a:lnTo>
                      <a:lnTo>
                        <a:pt x="16" y="82"/>
                      </a:lnTo>
                      <a:lnTo>
                        <a:pt x="16" y="78"/>
                      </a:lnTo>
                      <a:lnTo>
                        <a:pt x="12" y="78"/>
                      </a:lnTo>
                      <a:lnTo>
                        <a:pt x="12" y="78"/>
                      </a:lnTo>
                      <a:lnTo>
                        <a:pt x="12" y="78"/>
                      </a:lnTo>
                      <a:lnTo>
                        <a:pt x="12" y="78"/>
                      </a:lnTo>
                      <a:lnTo>
                        <a:pt x="12" y="78"/>
                      </a:lnTo>
                      <a:lnTo>
                        <a:pt x="12" y="78"/>
                      </a:lnTo>
                      <a:lnTo>
                        <a:pt x="12" y="74"/>
                      </a:lnTo>
                      <a:lnTo>
                        <a:pt x="12" y="74"/>
                      </a:lnTo>
                      <a:lnTo>
                        <a:pt x="12" y="74"/>
                      </a:lnTo>
                      <a:lnTo>
                        <a:pt x="12" y="74"/>
                      </a:lnTo>
                      <a:lnTo>
                        <a:pt x="12" y="74"/>
                      </a:lnTo>
                      <a:lnTo>
                        <a:pt x="8" y="70"/>
                      </a:lnTo>
                      <a:lnTo>
                        <a:pt x="8" y="70"/>
                      </a:lnTo>
                      <a:lnTo>
                        <a:pt x="12" y="70"/>
                      </a:lnTo>
                      <a:lnTo>
                        <a:pt x="12" y="74"/>
                      </a:lnTo>
                      <a:lnTo>
                        <a:pt x="12" y="74"/>
                      </a:lnTo>
                      <a:lnTo>
                        <a:pt x="12" y="74"/>
                      </a:lnTo>
                      <a:lnTo>
                        <a:pt x="12" y="74"/>
                      </a:lnTo>
                      <a:lnTo>
                        <a:pt x="12" y="74"/>
                      </a:lnTo>
                      <a:lnTo>
                        <a:pt x="12" y="70"/>
                      </a:lnTo>
                      <a:lnTo>
                        <a:pt x="12" y="70"/>
                      </a:lnTo>
                      <a:lnTo>
                        <a:pt x="12" y="70"/>
                      </a:lnTo>
                      <a:lnTo>
                        <a:pt x="8" y="70"/>
                      </a:lnTo>
                      <a:lnTo>
                        <a:pt x="8" y="70"/>
                      </a:lnTo>
                      <a:lnTo>
                        <a:pt x="8" y="70"/>
                      </a:lnTo>
                      <a:lnTo>
                        <a:pt x="8" y="70"/>
                      </a:lnTo>
                      <a:lnTo>
                        <a:pt x="8" y="70"/>
                      </a:lnTo>
                      <a:lnTo>
                        <a:pt x="8" y="68"/>
                      </a:lnTo>
                      <a:lnTo>
                        <a:pt x="8" y="68"/>
                      </a:lnTo>
                      <a:lnTo>
                        <a:pt x="8" y="68"/>
                      </a:lnTo>
                      <a:lnTo>
                        <a:pt x="8" y="68"/>
                      </a:lnTo>
                      <a:lnTo>
                        <a:pt x="8" y="68"/>
                      </a:lnTo>
                      <a:lnTo>
                        <a:pt x="8" y="64"/>
                      </a:lnTo>
                      <a:lnTo>
                        <a:pt x="4" y="64"/>
                      </a:lnTo>
                      <a:lnTo>
                        <a:pt x="4" y="64"/>
                      </a:lnTo>
                      <a:lnTo>
                        <a:pt x="4" y="64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64"/>
                      </a:lnTo>
                      <a:lnTo>
                        <a:pt x="4" y="64"/>
                      </a:lnTo>
                      <a:lnTo>
                        <a:pt x="8" y="64"/>
                      </a:lnTo>
                      <a:lnTo>
                        <a:pt x="8" y="68"/>
                      </a:lnTo>
                      <a:lnTo>
                        <a:pt x="8" y="68"/>
                      </a:lnTo>
                      <a:lnTo>
                        <a:pt x="12" y="68"/>
                      </a:lnTo>
                      <a:lnTo>
                        <a:pt x="12" y="68"/>
                      </a:lnTo>
                      <a:lnTo>
                        <a:pt x="12" y="68"/>
                      </a:lnTo>
                      <a:lnTo>
                        <a:pt x="12" y="68"/>
                      </a:lnTo>
                      <a:lnTo>
                        <a:pt x="12" y="68"/>
                      </a:lnTo>
                      <a:lnTo>
                        <a:pt x="12" y="68"/>
                      </a:lnTo>
                      <a:lnTo>
                        <a:pt x="12" y="68"/>
                      </a:lnTo>
                      <a:lnTo>
                        <a:pt x="12" y="68"/>
                      </a:lnTo>
                      <a:lnTo>
                        <a:pt x="12" y="64"/>
                      </a:lnTo>
                      <a:lnTo>
                        <a:pt x="12" y="68"/>
                      </a:lnTo>
                      <a:lnTo>
                        <a:pt x="8" y="68"/>
                      </a:lnTo>
                      <a:lnTo>
                        <a:pt x="8" y="68"/>
                      </a:lnTo>
                      <a:lnTo>
                        <a:pt x="8" y="68"/>
                      </a:lnTo>
                      <a:lnTo>
                        <a:pt x="8" y="64"/>
                      </a:lnTo>
                      <a:lnTo>
                        <a:pt x="8" y="64"/>
                      </a:lnTo>
                      <a:lnTo>
                        <a:pt x="8" y="64"/>
                      </a:lnTo>
                      <a:lnTo>
                        <a:pt x="8" y="64"/>
                      </a:lnTo>
                      <a:lnTo>
                        <a:pt x="8" y="64"/>
                      </a:lnTo>
                      <a:lnTo>
                        <a:pt x="8" y="60"/>
                      </a:lnTo>
                      <a:lnTo>
                        <a:pt x="8" y="60"/>
                      </a:lnTo>
                      <a:lnTo>
                        <a:pt x="8" y="64"/>
                      </a:lnTo>
                      <a:lnTo>
                        <a:pt x="8" y="64"/>
                      </a:lnTo>
                      <a:lnTo>
                        <a:pt x="8" y="64"/>
                      </a:lnTo>
                      <a:lnTo>
                        <a:pt x="8" y="64"/>
                      </a:lnTo>
                      <a:lnTo>
                        <a:pt x="8" y="64"/>
                      </a:lnTo>
                      <a:lnTo>
                        <a:pt x="4" y="64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56"/>
                      </a:lnTo>
                      <a:lnTo>
                        <a:pt x="0" y="52"/>
                      </a:lnTo>
                      <a:lnTo>
                        <a:pt x="0" y="52"/>
                      </a:lnTo>
                      <a:lnTo>
                        <a:pt x="0" y="48"/>
                      </a:lnTo>
                      <a:lnTo>
                        <a:pt x="0" y="48"/>
                      </a:lnTo>
                      <a:lnTo>
                        <a:pt x="0" y="48"/>
                      </a:lnTo>
                      <a:lnTo>
                        <a:pt x="0" y="48"/>
                      </a:lnTo>
                      <a:lnTo>
                        <a:pt x="0" y="48"/>
                      </a:lnTo>
                      <a:lnTo>
                        <a:pt x="0" y="52"/>
                      </a:lnTo>
                      <a:lnTo>
                        <a:pt x="4" y="52"/>
                      </a:lnTo>
                      <a:lnTo>
                        <a:pt x="4" y="52"/>
                      </a:lnTo>
                      <a:lnTo>
                        <a:pt x="4" y="52"/>
                      </a:lnTo>
                      <a:lnTo>
                        <a:pt x="4" y="52"/>
                      </a:lnTo>
                      <a:lnTo>
                        <a:pt x="4" y="48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8" y="44"/>
                      </a:lnTo>
                      <a:lnTo>
                        <a:pt x="8" y="44"/>
                      </a:lnTo>
                      <a:lnTo>
                        <a:pt x="8" y="44"/>
                      </a:lnTo>
                      <a:lnTo>
                        <a:pt x="8" y="44"/>
                      </a:lnTo>
                      <a:lnTo>
                        <a:pt x="8" y="44"/>
                      </a:lnTo>
                      <a:lnTo>
                        <a:pt x="8" y="44"/>
                      </a:lnTo>
                      <a:lnTo>
                        <a:pt x="8" y="40"/>
                      </a:lnTo>
                      <a:lnTo>
                        <a:pt x="8" y="40"/>
                      </a:lnTo>
                      <a:lnTo>
                        <a:pt x="8" y="40"/>
                      </a:lnTo>
                      <a:lnTo>
                        <a:pt x="8" y="40"/>
                      </a:lnTo>
                      <a:lnTo>
                        <a:pt x="8" y="40"/>
                      </a:lnTo>
                      <a:lnTo>
                        <a:pt x="8" y="40"/>
                      </a:lnTo>
                      <a:lnTo>
                        <a:pt x="8" y="40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12" y="34"/>
                      </a:lnTo>
                      <a:lnTo>
                        <a:pt x="12" y="38"/>
                      </a:lnTo>
                      <a:lnTo>
                        <a:pt x="12" y="38"/>
                      </a:lnTo>
                      <a:lnTo>
                        <a:pt x="12" y="38"/>
                      </a:lnTo>
                      <a:lnTo>
                        <a:pt x="12" y="38"/>
                      </a:lnTo>
                      <a:lnTo>
                        <a:pt x="16" y="38"/>
                      </a:lnTo>
                      <a:lnTo>
                        <a:pt x="16" y="38"/>
                      </a:lnTo>
                      <a:lnTo>
                        <a:pt x="16" y="38"/>
                      </a:lnTo>
                      <a:lnTo>
                        <a:pt x="20" y="38"/>
                      </a:lnTo>
                      <a:lnTo>
                        <a:pt x="16" y="38"/>
                      </a:lnTo>
                      <a:lnTo>
                        <a:pt x="16" y="38"/>
                      </a:lnTo>
                      <a:lnTo>
                        <a:pt x="16" y="38"/>
                      </a:lnTo>
                      <a:lnTo>
                        <a:pt x="16" y="38"/>
                      </a:lnTo>
                      <a:lnTo>
                        <a:pt x="16" y="34"/>
                      </a:lnTo>
                      <a:lnTo>
                        <a:pt x="12" y="34"/>
                      </a:lnTo>
                      <a:lnTo>
                        <a:pt x="12" y="34"/>
                      </a:lnTo>
                      <a:lnTo>
                        <a:pt x="12" y="34"/>
                      </a:lnTo>
                      <a:lnTo>
                        <a:pt x="12" y="34"/>
                      </a:lnTo>
                      <a:lnTo>
                        <a:pt x="12" y="34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6" y="26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4" y="22"/>
                      </a:lnTo>
                      <a:lnTo>
                        <a:pt x="24" y="22"/>
                      </a:lnTo>
                      <a:lnTo>
                        <a:pt x="24" y="22"/>
                      </a:lnTo>
                      <a:lnTo>
                        <a:pt x="24" y="22"/>
                      </a:lnTo>
                      <a:lnTo>
                        <a:pt x="26" y="22"/>
                      </a:lnTo>
                      <a:lnTo>
                        <a:pt x="26" y="22"/>
                      </a:lnTo>
                      <a:lnTo>
                        <a:pt x="26" y="22"/>
                      </a:lnTo>
                      <a:lnTo>
                        <a:pt x="30" y="22"/>
                      </a:lnTo>
                      <a:lnTo>
                        <a:pt x="30" y="22"/>
                      </a:lnTo>
                      <a:lnTo>
                        <a:pt x="34" y="22"/>
                      </a:lnTo>
                      <a:lnTo>
                        <a:pt x="38" y="22"/>
                      </a:lnTo>
                      <a:lnTo>
                        <a:pt x="38" y="22"/>
                      </a:lnTo>
                      <a:lnTo>
                        <a:pt x="38" y="14"/>
                      </a:lnTo>
                      <a:lnTo>
                        <a:pt x="38" y="10"/>
                      </a:lnTo>
                      <a:lnTo>
                        <a:pt x="38" y="10"/>
                      </a:lnTo>
                      <a:lnTo>
                        <a:pt x="38" y="10"/>
                      </a:lnTo>
                      <a:lnTo>
                        <a:pt x="38" y="8"/>
                      </a:lnTo>
                      <a:lnTo>
                        <a:pt x="38" y="8"/>
                      </a:lnTo>
                      <a:lnTo>
                        <a:pt x="38" y="4"/>
                      </a:lnTo>
                      <a:lnTo>
                        <a:pt x="38" y="4"/>
                      </a:lnTo>
                      <a:lnTo>
                        <a:pt x="38" y="4"/>
                      </a:lnTo>
                      <a:lnTo>
                        <a:pt x="38" y="4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42" y="0"/>
                      </a:lnTo>
                      <a:lnTo>
                        <a:pt x="42" y="0"/>
                      </a:lnTo>
                      <a:lnTo>
                        <a:pt x="46" y="0"/>
                      </a:lnTo>
                      <a:lnTo>
                        <a:pt x="50" y="0"/>
                      </a:lnTo>
                      <a:lnTo>
                        <a:pt x="54" y="0"/>
                      </a:lnTo>
                      <a:lnTo>
                        <a:pt x="54" y="0"/>
                      </a:lnTo>
                      <a:lnTo>
                        <a:pt x="54" y="0"/>
                      </a:lnTo>
                      <a:lnTo>
                        <a:pt x="54" y="0"/>
                      </a:lnTo>
                      <a:lnTo>
                        <a:pt x="56" y="0"/>
                      </a:lnTo>
                      <a:lnTo>
                        <a:pt x="56" y="0"/>
                      </a:lnTo>
                      <a:lnTo>
                        <a:pt x="56" y="0"/>
                      </a:lnTo>
                      <a:lnTo>
                        <a:pt x="56" y="0"/>
                      </a:lnTo>
                      <a:lnTo>
                        <a:pt x="60" y="0"/>
                      </a:lnTo>
                      <a:lnTo>
                        <a:pt x="60" y="0"/>
                      </a:lnTo>
                      <a:lnTo>
                        <a:pt x="64" y="0"/>
                      </a:lnTo>
                      <a:lnTo>
                        <a:pt x="64" y="0"/>
                      </a:lnTo>
                      <a:lnTo>
                        <a:pt x="64" y="0"/>
                      </a:lnTo>
                      <a:lnTo>
                        <a:pt x="64" y="0"/>
                      </a:lnTo>
                      <a:lnTo>
                        <a:pt x="64" y="4"/>
                      </a:lnTo>
                      <a:lnTo>
                        <a:pt x="64" y="4"/>
                      </a:lnTo>
                      <a:lnTo>
                        <a:pt x="64" y="4"/>
                      </a:lnTo>
                      <a:lnTo>
                        <a:pt x="64" y="4"/>
                      </a:lnTo>
                      <a:lnTo>
                        <a:pt x="64" y="4"/>
                      </a:lnTo>
                      <a:lnTo>
                        <a:pt x="64" y="8"/>
                      </a:lnTo>
                      <a:lnTo>
                        <a:pt x="64" y="8"/>
                      </a:lnTo>
                      <a:lnTo>
                        <a:pt x="64" y="8"/>
                      </a:lnTo>
                      <a:lnTo>
                        <a:pt x="64" y="8"/>
                      </a:lnTo>
                      <a:lnTo>
                        <a:pt x="64" y="8"/>
                      </a:lnTo>
                      <a:lnTo>
                        <a:pt x="64" y="10"/>
                      </a:lnTo>
                      <a:lnTo>
                        <a:pt x="64" y="10"/>
                      </a:lnTo>
                      <a:lnTo>
                        <a:pt x="64" y="10"/>
                      </a:lnTo>
                      <a:lnTo>
                        <a:pt x="64" y="14"/>
                      </a:lnTo>
                      <a:lnTo>
                        <a:pt x="64" y="14"/>
                      </a:lnTo>
                      <a:lnTo>
                        <a:pt x="64" y="14"/>
                      </a:lnTo>
                      <a:lnTo>
                        <a:pt x="64" y="14"/>
                      </a:lnTo>
                      <a:lnTo>
                        <a:pt x="64" y="14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68" y="18"/>
                      </a:lnTo>
                      <a:lnTo>
                        <a:pt x="68" y="18"/>
                      </a:lnTo>
                      <a:lnTo>
                        <a:pt x="72" y="18"/>
                      </a:lnTo>
                      <a:lnTo>
                        <a:pt x="72" y="14"/>
                      </a:lnTo>
                      <a:lnTo>
                        <a:pt x="72" y="14"/>
                      </a:lnTo>
                      <a:lnTo>
                        <a:pt x="76" y="14"/>
                      </a:lnTo>
                      <a:lnTo>
                        <a:pt x="76" y="14"/>
                      </a:lnTo>
                      <a:lnTo>
                        <a:pt x="76" y="14"/>
                      </a:lnTo>
                      <a:lnTo>
                        <a:pt x="80" y="14"/>
                      </a:lnTo>
                      <a:lnTo>
                        <a:pt x="80" y="14"/>
                      </a:lnTo>
                      <a:lnTo>
                        <a:pt x="80" y="14"/>
                      </a:lnTo>
                      <a:lnTo>
                        <a:pt x="80" y="14"/>
                      </a:lnTo>
                      <a:lnTo>
                        <a:pt x="80" y="14"/>
                      </a:lnTo>
                      <a:lnTo>
                        <a:pt x="80" y="14"/>
                      </a:lnTo>
                      <a:lnTo>
                        <a:pt x="80" y="18"/>
                      </a:lnTo>
                      <a:lnTo>
                        <a:pt x="80" y="18"/>
                      </a:lnTo>
                      <a:lnTo>
                        <a:pt x="80" y="18"/>
                      </a:lnTo>
                      <a:lnTo>
                        <a:pt x="84" y="22"/>
                      </a:lnTo>
                      <a:lnTo>
                        <a:pt x="84" y="22"/>
                      </a:lnTo>
                      <a:lnTo>
                        <a:pt x="84" y="22"/>
                      </a:lnTo>
                      <a:lnTo>
                        <a:pt x="84" y="26"/>
                      </a:lnTo>
                      <a:lnTo>
                        <a:pt x="80" y="30"/>
                      </a:lnTo>
                      <a:lnTo>
                        <a:pt x="80" y="30"/>
                      </a:lnTo>
                      <a:lnTo>
                        <a:pt x="80" y="30"/>
                      </a:lnTo>
                      <a:lnTo>
                        <a:pt x="80" y="30"/>
                      </a:lnTo>
                      <a:lnTo>
                        <a:pt x="80" y="30"/>
                      </a:lnTo>
                      <a:lnTo>
                        <a:pt x="80" y="30"/>
                      </a:lnTo>
                      <a:lnTo>
                        <a:pt x="76" y="30"/>
                      </a:lnTo>
                      <a:lnTo>
                        <a:pt x="76" y="34"/>
                      </a:lnTo>
                      <a:lnTo>
                        <a:pt x="76" y="34"/>
                      </a:lnTo>
                      <a:lnTo>
                        <a:pt x="76" y="38"/>
                      </a:lnTo>
                      <a:lnTo>
                        <a:pt x="76" y="38"/>
                      </a:lnTo>
                      <a:lnTo>
                        <a:pt x="76" y="38"/>
                      </a:lnTo>
                      <a:lnTo>
                        <a:pt x="76" y="40"/>
                      </a:lnTo>
                      <a:lnTo>
                        <a:pt x="76" y="40"/>
                      </a:lnTo>
                      <a:lnTo>
                        <a:pt x="76" y="40"/>
                      </a:lnTo>
                      <a:lnTo>
                        <a:pt x="76" y="40"/>
                      </a:lnTo>
                      <a:lnTo>
                        <a:pt x="76" y="40"/>
                      </a:lnTo>
                      <a:lnTo>
                        <a:pt x="76" y="44"/>
                      </a:lnTo>
                      <a:lnTo>
                        <a:pt x="76" y="44"/>
                      </a:lnTo>
                      <a:lnTo>
                        <a:pt x="76" y="44"/>
                      </a:lnTo>
                      <a:lnTo>
                        <a:pt x="76" y="44"/>
                      </a:lnTo>
                      <a:lnTo>
                        <a:pt x="80" y="44"/>
                      </a:lnTo>
                      <a:lnTo>
                        <a:pt x="80" y="44"/>
                      </a:lnTo>
                      <a:lnTo>
                        <a:pt x="80" y="44"/>
                      </a:lnTo>
                      <a:lnTo>
                        <a:pt x="80" y="44"/>
                      </a:lnTo>
                      <a:lnTo>
                        <a:pt x="80" y="48"/>
                      </a:lnTo>
                      <a:lnTo>
                        <a:pt x="80" y="48"/>
                      </a:lnTo>
                      <a:lnTo>
                        <a:pt x="80" y="48"/>
                      </a:lnTo>
                      <a:lnTo>
                        <a:pt x="84" y="48"/>
                      </a:lnTo>
                      <a:lnTo>
                        <a:pt x="84" y="48"/>
                      </a:lnTo>
                      <a:lnTo>
                        <a:pt x="84" y="48"/>
                      </a:lnTo>
                      <a:lnTo>
                        <a:pt x="84" y="48"/>
                      </a:lnTo>
                      <a:lnTo>
                        <a:pt x="84" y="52"/>
                      </a:lnTo>
                      <a:lnTo>
                        <a:pt x="84" y="52"/>
                      </a:lnTo>
                      <a:lnTo>
                        <a:pt x="84" y="52"/>
                      </a:lnTo>
                      <a:lnTo>
                        <a:pt x="84" y="56"/>
                      </a:lnTo>
                      <a:lnTo>
                        <a:pt x="84" y="56"/>
                      </a:lnTo>
                      <a:lnTo>
                        <a:pt x="84" y="56"/>
                      </a:lnTo>
                      <a:lnTo>
                        <a:pt x="84" y="60"/>
                      </a:lnTo>
                      <a:lnTo>
                        <a:pt x="84" y="60"/>
                      </a:lnTo>
                      <a:lnTo>
                        <a:pt x="84" y="60"/>
                      </a:lnTo>
                      <a:lnTo>
                        <a:pt x="84" y="64"/>
                      </a:lnTo>
                      <a:lnTo>
                        <a:pt x="84" y="68"/>
                      </a:lnTo>
                      <a:lnTo>
                        <a:pt x="84" y="68"/>
                      </a:lnTo>
                      <a:lnTo>
                        <a:pt x="84" y="68"/>
                      </a:lnTo>
                      <a:lnTo>
                        <a:pt x="84" y="70"/>
                      </a:lnTo>
                      <a:lnTo>
                        <a:pt x="84" y="70"/>
                      </a:lnTo>
                      <a:lnTo>
                        <a:pt x="84" y="70"/>
                      </a:lnTo>
                      <a:lnTo>
                        <a:pt x="84" y="70"/>
                      </a:lnTo>
                      <a:lnTo>
                        <a:pt x="84" y="70"/>
                      </a:lnTo>
                      <a:lnTo>
                        <a:pt x="80" y="70"/>
                      </a:lnTo>
                      <a:lnTo>
                        <a:pt x="80" y="70"/>
                      </a:lnTo>
                      <a:lnTo>
                        <a:pt x="80" y="74"/>
                      </a:lnTo>
                      <a:lnTo>
                        <a:pt x="80" y="74"/>
                      </a:lnTo>
                      <a:lnTo>
                        <a:pt x="80" y="74"/>
                      </a:lnTo>
                      <a:lnTo>
                        <a:pt x="80" y="74"/>
                      </a:lnTo>
                      <a:lnTo>
                        <a:pt x="80" y="78"/>
                      </a:lnTo>
                      <a:lnTo>
                        <a:pt x="80" y="78"/>
                      </a:lnTo>
                      <a:lnTo>
                        <a:pt x="80" y="78"/>
                      </a:lnTo>
                      <a:lnTo>
                        <a:pt x="80" y="78"/>
                      </a:lnTo>
                      <a:lnTo>
                        <a:pt x="80" y="82"/>
                      </a:lnTo>
                      <a:lnTo>
                        <a:pt x="80" y="82"/>
                      </a:lnTo>
                      <a:lnTo>
                        <a:pt x="76" y="82"/>
                      </a:lnTo>
                      <a:lnTo>
                        <a:pt x="76" y="82"/>
                      </a:lnTo>
                      <a:lnTo>
                        <a:pt x="76" y="82"/>
                      </a:lnTo>
                      <a:lnTo>
                        <a:pt x="76" y="82"/>
                      </a:lnTo>
                      <a:lnTo>
                        <a:pt x="76" y="78"/>
                      </a:lnTo>
                      <a:lnTo>
                        <a:pt x="72" y="74"/>
                      </a:lnTo>
                      <a:lnTo>
                        <a:pt x="72" y="74"/>
                      </a:lnTo>
                      <a:lnTo>
                        <a:pt x="72" y="74"/>
                      </a:lnTo>
                      <a:lnTo>
                        <a:pt x="72" y="78"/>
                      </a:lnTo>
                      <a:lnTo>
                        <a:pt x="72" y="78"/>
                      </a:lnTo>
                      <a:lnTo>
                        <a:pt x="72" y="78"/>
                      </a:lnTo>
                      <a:lnTo>
                        <a:pt x="68" y="78"/>
                      </a:lnTo>
                      <a:lnTo>
                        <a:pt x="68" y="78"/>
                      </a:lnTo>
                      <a:lnTo>
                        <a:pt x="68" y="82"/>
                      </a:lnTo>
                      <a:lnTo>
                        <a:pt x="68" y="82"/>
                      </a:lnTo>
                      <a:lnTo>
                        <a:pt x="68" y="82"/>
                      </a:lnTo>
                      <a:lnTo>
                        <a:pt x="64" y="78"/>
                      </a:lnTo>
                      <a:lnTo>
                        <a:pt x="64" y="78"/>
                      </a:lnTo>
                      <a:lnTo>
                        <a:pt x="60" y="78"/>
                      </a:lnTo>
                      <a:lnTo>
                        <a:pt x="60" y="78"/>
                      </a:lnTo>
                      <a:lnTo>
                        <a:pt x="60" y="78"/>
                      </a:lnTo>
                      <a:lnTo>
                        <a:pt x="60" y="78"/>
                      </a:lnTo>
                      <a:lnTo>
                        <a:pt x="60" y="78"/>
                      </a:lnTo>
                      <a:lnTo>
                        <a:pt x="60" y="78"/>
                      </a:lnTo>
                      <a:lnTo>
                        <a:pt x="60" y="78"/>
                      </a:lnTo>
                      <a:lnTo>
                        <a:pt x="60" y="74"/>
                      </a:lnTo>
                      <a:lnTo>
                        <a:pt x="60" y="74"/>
                      </a:lnTo>
                      <a:lnTo>
                        <a:pt x="60" y="70"/>
                      </a:lnTo>
                      <a:lnTo>
                        <a:pt x="60" y="70"/>
                      </a:lnTo>
                      <a:lnTo>
                        <a:pt x="60" y="70"/>
                      </a:lnTo>
                      <a:lnTo>
                        <a:pt x="56" y="70"/>
                      </a:lnTo>
                      <a:lnTo>
                        <a:pt x="56" y="70"/>
                      </a:lnTo>
                      <a:lnTo>
                        <a:pt x="56" y="70"/>
                      </a:lnTo>
                      <a:lnTo>
                        <a:pt x="56" y="70"/>
                      </a:lnTo>
                      <a:lnTo>
                        <a:pt x="56" y="70"/>
                      </a:lnTo>
                      <a:lnTo>
                        <a:pt x="54" y="70"/>
                      </a:lnTo>
                      <a:lnTo>
                        <a:pt x="54" y="70"/>
                      </a:lnTo>
                      <a:lnTo>
                        <a:pt x="54" y="70"/>
                      </a:lnTo>
                      <a:lnTo>
                        <a:pt x="54" y="70"/>
                      </a:lnTo>
                      <a:lnTo>
                        <a:pt x="54" y="70"/>
                      </a:lnTo>
                      <a:lnTo>
                        <a:pt x="54" y="74"/>
                      </a:lnTo>
                      <a:lnTo>
                        <a:pt x="54" y="74"/>
                      </a:lnTo>
                      <a:lnTo>
                        <a:pt x="54" y="74"/>
                      </a:lnTo>
                      <a:lnTo>
                        <a:pt x="54" y="78"/>
                      </a:lnTo>
                      <a:lnTo>
                        <a:pt x="54" y="78"/>
                      </a:lnTo>
                      <a:lnTo>
                        <a:pt x="50" y="82"/>
                      </a:lnTo>
                      <a:lnTo>
                        <a:pt x="50" y="82"/>
                      </a:lnTo>
                      <a:lnTo>
                        <a:pt x="50" y="78"/>
                      </a:lnTo>
                      <a:lnTo>
                        <a:pt x="50" y="78"/>
                      </a:lnTo>
                      <a:lnTo>
                        <a:pt x="46" y="78"/>
                      </a:lnTo>
                      <a:lnTo>
                        <a:pt x="46" y="78"/>
                      </a:lnTo>
                      <a:lnTo>
                        <a:pt x="46" y="78"/>
                      </a:lnTo>
                      <a:lnTo>
                        <a:pt x="46" y="82"/>
                      </a:lnTo>
                      <a:lnTo>
                        <a:pt x="46" y="82"/>
                      </a:lnTo>
                      <a:lnTo>
                        <a:pt x="42" y="78"/>
                      </a:lnTo>
                      <a:lnTo>
                        <a:pt x="42" y="78"/>
                      </a:lnTo>
                      <a:lnTo>
                        <a:pt x="42" y="78"/>
                      </a:lnTo>
                      <a:lnTo>
                        <a:pt x="42" y="78"/>
                      </a:lnTo>
                      <a:lnTo>
                        <a:pt x="42" y="82"/>
                      </a:lnTo>
                      <a:lnTo>
                        <a:pt x="42" y="82"/>
                      </a:lnTo>
                      <a:lnTo>
                        <a:pt x="42" y="82"/>
                      </a:lnTo>
                      <a:lnTo>
                        <a:pt x="42" y="86"/>
                      </a:lnTo>
                      <a:lnTo>
                        <a:pt x="42" y="86"/>
                      </a:lnTo>
                      <a:lnTo>
                        <a:pt x="42" y="86"/>
                      </a:lnTo>
                      <a:lnTo>
                        <a:pt x="42" y="86"/>
                      </a:lnTo>
                      <a:lnTo>
                        <a:pt x="42" y="86"/>
                      </a:lnTo>
                      <a:lnTo>
                        <a:pt x="42" y="86"/>
                      </a:lnTo>
                      <a:lnTo>
                        <a:pt x="42" y="86"/>
                      </a:lnTo>
                      <a:lnTo>
                        <a:pt x="42" y="86"/>
                      </a:lnTo>
                      <a:close/>
                      <a:moveTo>
                        <a:pt x="4" y="52"/>
                      </a:moveTo>
                      <a:lnTo>
                        <a:pt x="4" y="52"/>
                      </a:lnTo>
                      <a:lnTo>
                        <a:pt x="4" y="52"/>
                      </a:lnTo>
                      <a:lnTo>
                        <a:pt x="4" y="52"/>
                      </a:lnTo>
                      <a:lnTo>
                        <a:pt x="4" y="52"/>
                      </a:lnTo>
                      <a:lnTo>
                        <a:pt x="4" y="52"/>
                      </a:lnTo>
                      <a:lnTo>
                        <a:pt x="4" y="52"/>
                      </a:lnTo>
                      <a:lnTo>
                        <a:pt x="4" y="48"/>
                      </a:lnTo>
                      <a:lnTo>
                        <a:pt x="4" y="48"/>
                      </a:lnTo>
                      <a:lnTo>
                        <a:pt x="4" y="48"/>
                      </a:lnTo>
                      <a:lnTo>
                        <a:pt x="4" y="52"/>
                      </a:lnTo>
                      <a:lnTo>
                        <a:pt x="4" y="52"/>
                      </a:lnTo>
                      <a:lnTo>
                        <a:pt x="4" y="52"/>
                      </a:lnTo>
                      <a:lnTo>
                        <a:pt x="4" y="52"/>
                      </a:lnTo>
                      <a:lnTo>
                        <a:pt x="4" y="52"/>
                      </a:lnTo>
                      <a:lnTo>
                        <a:pt x="4" y="52"/>
                      </a:lnTo>
                      <a:lnTo>
                        <a:pt x="4" y="52"/>
                      </a:lnTo>
                      <a:lnTo>
                        <a:pt x="4" y="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01" name="Freeform 147"/>
                <p:cNvSpPr>
                  <a:spLocks/>
                </p:cNvSpPr>
                <p:nvPr/>
              </p:nvSpPr>
              <p:spPr bwMode="auto">
                <a:xfrm>
                  <a:off x="4324350" y="4254568"/>
                  <a:ext cx="98425" cy="177800"/>
                </a:xfrm>
                <a:custGeom>
                  <a:avLst/>
                  <a:gdLst>
                    <a:gd name="T0" fmla="*/ 0 w 62"/>
                    <a:gd name="T1" fmla="*/ 78 h 112"/>
                    <a:gd name="T2" fmla="*/ 0 w 62"/>
                    <a:gd name="T3" fmla="*/ 72 h 112"/>
                    <a:gd name="T4" fmla="*/ 4 w 62"/>
                    <a:gd name="T5" fmla="*/ 60 h 112"/>
                    <a:gd name="T6" fmla="*/ 10 w 62"/>
                    <a:gd name="T7" fmla="*/ 52 h 112"/>
                    <a:gd name="T8" fmla="*/ 6 w 62"/>
                    <a:gd name="T9" fmla="*/ 42 h 112"/>
                    <a:gd name="T10" fmla="*/ 6 w 62"/>
                    <a:gd name="T11" fmla="*/ 38 h 112"/>
                    <a:gd name="T12" fmla="*/ 6 w 62"/>
                    <a:gd name="T13" fmla="*/ 30 h 112"/>
                    <a:gd name="T14" fmla="*/ 6 w 62"/>
                    <a:gd name="T15" fmla="*/ 26 h 112"/>
                    <a:gd name="T16" fmla="*/ 4 w 62"/>
                    <a:gd name="T17" fmla="*/ 22 h 112"/>
                    <a:gd name="T18" fmla="*/ 4 w 62"/>
                    <a:gd name="T19" fmla="*/ 12 h 112"/>
                    <a:gd name="T20" fmla="*/ 4 w 62"/>
                    <a:gd name="T21" fmla="*/ 4 h 112"/>
                    <a:gd name="T22" fmla="*/ 22 w 62"/>
                    <a:gd name="T23" fmla="*/ 4 h 112"/>
                    <a:gd name="T24" fmla="*/ 34 w 62"/>
                    <a:gd name="T25" fmla="*/ 4 h 112"/>
                    <a:gd name="T26" fmla="*/ 40 w 62"/>
                    <a:gd name="T27" fmla="*/ 4 h 112"/>
                    <a:gd name="T28" fmla="*/ 44 w 62"/>
                    <a:gd name="T29" fmla="*/ 4 h 112"/>
                    <a:gd name="T30" fmla="*/ 44 w 62"/>
                    <a:gd name="T31" fmla="*/ 8 h 112"/>
                    <a:gd name="T32" fmla="*/ 44 w 62"/>
                    <a:gd name="T33" fmla="*/ 12 h 112"/>
                    <a:gd name="T34" fmla="*/ 48 w 62"/>
                    <a:gd name="T35" fmla="*/ 16 h 112"/>
                    <a:gd name="T36" fmla="*/ 52 w 62"/>
                    <a:gd name="T37" fmla="*/ 18 h 112"/>
                    <a:gd name="T38" fmla="*/ 48 w 62"/>
                    <a:gd name="T39" fmla="*/ 30 h 112"/>
                    <a:gd name="T40" fmla="*/ 52 w 62"/>
                    <a:gd name="T41" fmla="*/ 30 h 112"/>
                    <a:gd name="T42" fmla="*/ 52 w 62"/>
                    <a:gd name="T43" fmla="*/ 34 h 112"/>
                    <a:gd name="T44" fmla="*/ 52 w 62"/>
                    <a:gd name="T45" fmla="*/ 42 h 112"/>
                    <a:gd name="T46" fmla="*/ 52 w 62"/>
                    <a:gd name="T47" fmla="*/ 46 h 112"/>
                    <a:gd name="T48" fmla="*/ 56 w 62"/>
                    <a:gd name="T49" fmla="*/ 52 h 112"/>
                    <a:gd name="T50" fmla="*/ 52 w 62"/>
                    <a:gd name="T51" fmla="*/ 60 h 112"/>
                    <a:gd name="T52" fmla="*/ 52 w 62"/>
                    <a:gd name="T53" fmla="*/ 68 h 112"/>
                    <a:gd name="T54" fmla="*/ 52 w 62"/>
                    <a:gd name="T55" fmla="*/ 72 h 112"/>
                    <a:gd name="T56" fmla="*/ 52 w 62"/>
                    <a:gd name="T57" fmla="*/ 78 h 112"/>
                    <a:gd name="T58" fmla="*/ 56 w 62"/>
                    <a:gd name="T59" fmla="*/ 82 h 112"/>
                    <a:gd name="T60" fmla="*/ 60 w 62"/>
                    <a:gd name="T61" fmla="*/ 82 h 112"/>
                    <a:gd name="T62" fmla="*/ 62 w 62"/>
                    <a:gd name="T63" fmla="*/ 90 h 112"/>
                    <a:gd name="T64" fmla="*/ 60 w 62"/>
                    <a:gd name="T65" fmla="*/ 90 h 112"/>
                    <a:gd name="T66" fmla="*/ 56 w 62"/>
                    <a:gd name="T67" fmla="*/ 94 h 112"/>
                    <a:gd name="T68" fmla="*/ 52 w 62"/>
                    <a:gd name="T69" fmla="*/ 94 h 112"/>
                    <a:gd name="T70" fmla="*/ 52 w 62"/>
                    <a:gd name="T71" fmla="*/ 90 h 112"/>
                    <a:gd name="T72" fmla="*/ 48 w 62"/>
                    <a:gd name="T73" fmla="*/ 90 h 112"/>
                    <a:gd name="T74" fmla="*/ 48 w 62"/>
                    <a:gd name="T75" fmla="*/ 90 h 112"/>
                    <a:gd name="T76" fmla="*/ 52 w 62"/>
                    <a:gd name="T77" fmla="*/ 90 h 112"/>
                    <a:gd name="T78" fmla="*/ 52 w 62"/>
                    <a:gd name="T79" fmla="*/ 94 h 112"/>
                    <a:gd name="T80" fmla="*/ 48 w 62"/>
                    <a:gd name="T81" fmla="*/ 94 h 112"/>
                    <a:gd name="T82" fmla="*/ 40 w 62"/>
                    <a:gd name="T83" fmla="*/ 98 h 112"/>
                    <a:gd name="T84" fmla="*/ 36 w 62"/>
                    <a:gd name="T85" fmla="*/ 102 h 112"/>
                    <a:gd name="T86" fmla="*/ 34 w 62"/>
                    <a:gd name="T87" fmla="*/ 104 h 112"/>
                    <a:gd name="T88" fmla="*/ 30 w 62"/>
                    <a:gd name="T89" fmla="*/ 104 h 112"/>
                    <a:gd name="T90" fmla="*/ 22 w 62"/>
                    <a:gd name="T91" fmla="*/ 104 h 112"/>
                    <a:gd name="T92" fmla="*/ 18 w 62"/>
                    <a:gd name="T93" fmla="*/ 112 h 112"/>
                    <a:gd name="T94" fmla="*/ 10 w 62"/>
                    <a:gd name="T95" fmla="*/ 108 h 112"/>
                    <a:gd name="T96" fmla="*/ 6 w 62"/>
                    <a:gd name="T97" fmla="*/ 108 h 112"/>
                    <a:gd name="T98" fmla="*/ 0 w 62"/>
                    <a:gd name="T99" fmla="*/ 104 h 112"/>
                    <a:gd name="T100" fmla="*/ 6 w 62"/>
                    <a:gd name="T101" fmla="*/ 104 h 112"/>
                    <a:gd name="T102" fmla="*/ 4 w 62"/>
                    <a:gd name="T103" fmla="*/ 102 h 112"/>
                    <a:gd name="T104" fmla="*/ 4 w 62"/>
                    <a:gd name="T105" fmla="*/ 98 h 112"/>
                    <a:gd name="T106" fmla="*/ 0 w 62"/>
                    <a:gd name="T107" fmla="*/ 86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112">
                      <a:moveTo>
                        <a:pt x="0" y="86"/>
                      </a:moveTo>
                      <a:lnTo>
                        <a:pt x="0" y="86"/>
                      </a:lnTo>
                      <a:lnTo>
                        <a:pt x="0" y="86"/>
                      </a:lnTo>
                      <a:lnTo>
                        <a:pt x="0" y="82"/>
                      </a:lnTo>
                      <a:lnTo>
                        <a:pt x="0" y="78"/>
                      </a:lnTo>
                      <a:lnTo>
                        <a:pt x="0" y="78"/>
                      </a:lnTo>
                      <a:lnTo>
                        <a:pt x="0" y="78"/>
                      </a:lnTo>
                      <a:lnTo>
                        <a:pt x="0" y="78"/>
                      </a:lnTo>
                      <a:lnTo>
                        <a:pt x="0" y="78"/>
                      </a:lnTo>
                      <a:lnTo>
                        <a:pt x="0" y="76"/>
                      </a:lnTo>
                      <a:lnTo>
                        <a:pt x="0" y="72"/>
                      </a:lnTo>
                      <a:lnTo>
                        <a:pt x="0" y="72"/>
                      </a:lnTo>
                      <a:lnTo>
                        <a:pt x="4" y="72"/>
                      </a:lnTo>
                      <a:lnTo>
                        <a:pt x="4" y="68"/>
                      </a:lnTo>
                      <a:lnTo>
                        <a:pt x="4" y="64"/>
                      </a:lnTo>
                      <a:lnTo>
                        <a:pt x="4" y="64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6" y="56"/>
                      </a:lnTo>
                      <a:lnTo>
                        <a:pt x="6" y="52"/>
                      </a:lnTo>
                      <a:lnTo>
                        <a:pt x="6" y="52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6" y="46"/>
                      </a:lnTo>
                      <a:lnTo>
                        <a:pt x="6" y="46"/>
                      </a:lnTo>
                      <a:lnTo>
                        <a:pt x="6" y="42"/>
                      </a:lnTo>
                      <a:lnTo>
                        <a:pt x="6" y="42"/>
                      </a:lnTo>
                      <a:lnTo>
                        <a:pt x="6" y="42"/>
                      </a:lnTo>
                      <a:lnTo>
                        <a:pt x="6" y="42"/>
                      </a:lnTo>
                      <a:lnTo>
                        <a:pt x="6" y="42"/>
                      </a:lnTo>
                      <a:lnTo>
                        <a:pt x="6" y="42"/>
                      </a:lnTo>
                      <a:lnTo>
                        <a:pt x="6" y="38"/>
                      </a:lnTo>
                      <a:lnTo>
                        <a:pt x="6" y="38"/>
                      </a:lnTo>
                      <a:lnTo>
                        <a:pt x="6" y="38"/>
                      </a:lnTo>
                      <a:lnTo>
                        <a:pt x="6" y="38"/>
                      </a:lnTo>
                      <a:lnTo>
                        <a:pt x="6" y="34"/>
                      </a:lnTo>
                      <a:lnTo>
                        <a:pt x="6" y="34"/>
                      </a:lnTo>
                      <a:lnTo>
                        <a:pt x="6" y="30"/>
                      </a:lnTo>
                      <a:lnTo>
                        <a:pt x="6" y="30"/>
                      </a:lnTo>
                      <a:lnTo>
                        <a:pt x="6" y="30"/>
                      </a:lnTo>
                      <a:lnTo>
                        <a:pt x="6" y="30"/>
                      </a:lnTo>
                      <a:lnTo>
                        <a:pt x="6" y="30"/>
                      </a:lnTo>
                      <a:lnTo>
                        <a:pt x="6" y="30"/>
                      </a:lnTo>
                      <a:lnTo>
                        <a:pt x="4" y="30"/>
                      </a:lnTo>
                      <a:lnTo>
                        <a:pt x="4" y="26"/>
                      </a:lnTo>
                      <a:lnTo>
                        <a:pt x="6" y="26"/>
                      </a:lnTo>
                      <a:lnTo>
                        <a:pt x="6" y="26"/>
                      </a:lnTo>
                      <a:lnTo>
                        <a:pt x="6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6" y="22"/>
                      </a:lnTo>
                      <a:lnTo>
                        <a:pt x="4" y="22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6" y="4"/>
                      </a:lnTo>
                      <a:lnTo>
                        <a:pt x="10" y="4"/>
                      </a:lnTo>
                      <a:lnTo>
                        <a:pt x="14" y="4"/>
                      </a:lnTo>
                      <a:lnTo>
                        <a:pt x="18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6" y="4"/>
                      </a:lnTo>
                      <a:lnTo>
                        <a:pt x="40" y="4"/>
                      </a:lnTo>
                      <a:lnTo>
                        <a:pt x="40" y="0"/>
                      </a:lnTo>
                      <a:lnTo>
                        <a:pt x="40" y="0"/>
                      </a:lnTo>
                      <a:lnTo>
                        <a:pt x="40" y="0"/>
                      </a:lnTo>
                      <a:lnTo>
                        <a:pt x="40" y="0"/>
                      </a:lnTo>
                      <a:lnTo>
                        <a:pt x="44" y="4"/>
                      </a:lnTo>
                      <a:lnTo>
                        <a:pt x="44" y="4"/>
                      </a:lnTo>
                      <a:lnTo>
                        <a:pt x="44" y="0"/>
                      </a:lnTo>
                      <a:lnTo>
                        <a:pt x="44" y="0"/>
                      </a:lnTo>
                      <a:lnTo>
                        <a:pt x="44" y="4"/>
                      </a:lnTo>
                      <a:lnTo>
                        <a:pt x="44" y="4"/>
                      </a:lnTo>
                      <a:lnTo>
                        <a:pt x="44" y="4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4" y="12"/>
                      </a:lnTo>
                      <a:lnTo>
                        <a:pt x="44" y="12"/>
                      </a:lnTo>
                      <a:lnTo>
                        <a:pt x="44" y="12"/>
                      </a:lnTo>
                      <a:lnTo>
                        <a:pt x="44" y="12"/>
                      </a:lnTo>
                      <a:lnTo>
                        <a:pt x="44" y="12"/>
                      </a:lnTo>
                      <a:lnTo>
                        <a:pt x="48" y="16"/>
                      </a:lnTo>
                      <a:lnTo>
                        <a:pt x="48" y="16"/>
                      </a:lnTo>
                      <a:lnTo>
                        <a:pt x="48" y="16"/>
                      </a:lnTo>
                      <a:lnTo>
                        <a:pt x="48" y="16"/>
                      </a:lnTo>
                      <a:lnTo>
                        <a:pt x="48" y="18"/>
                      </a:lnTo>
                      <a:lnTo>
                        <a:pt x="48" y="18"/>
                      </a:lnTo>
                      <a:lnTo>
                        <a:pt x="48" y="18"/>
                      </a:lnTo>
                      <a:lnTo>
                        <a:pt x="48" y="18"/>
                      </a:lnTo>
                      <a:lnTo>
                        <a:pt x="52" y="18"/>
                      </a:lnTo>
                      <a:lnTo>
                        <a:pt x="52" y="18"/>
                      </a:lnTo>
                      <a:lnTo>
                        <a:pt x="48" y="18"/>
                      </a:lnTo>
                      <a:lnTo>
                        <a:pt x="48" y="26"/>
                      </a:lnTo>
                      <a:lnTo>
                        <a:pt x="48" y="26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52" y="30"/>
                      </a:lnTo>
                      <a:lnTo>
                        <a:pt x="52" y="30"/>
                      </a:lnTo>
                      <a:lnTo>
                        <a:pt x="52" y="30"/>
                      </a:lnTo>
                      <a:lnTo>
                        <a:pt x="52" y="30"/>
                      </a:lnTo>
                      <a:lnTo>
                        <a:pt x="52" y="30"/>
                      </a:lnTo>
                      <a:lnTo>
                        <a:pt x="52" y="34"/>
                      </a:lnTo>
                      <a:lnTo>
                        <a:pt x="52" y="34"/>
                      </a:lnTo>
                      <a:lnTo>
                        <a:pt x="52" y="34"/>
                      </a:lnTo>
                      <a:lnTo>
                        <a:pt x="52" y="38"/>
                      </a:lnTo>
                      <a:lnTo>
                        <a:pt x="52" y="38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48" y="42"/>
                      </a:lnTo>
                      <a:lnTo>
                        <a:pt x="48" y="42"/>
                      </a:lnTo>
                      <a:lnTo>
                        <a:pt x="52" y="46"/>
                      </a:lnTo>
                      <a:lnTo>
                        <a:pt x="52" y="46"/>
                      </a:lnTo>
                      <a:lnTo>
                        <a:pt x="52" y="46"/>
                      </a:lnTo>
                      <a:lnTo>
                        <a:pt x="52" y="48"/>
                      </a:lnTo>
                      <a:lnTo>
                        <a:pt x="52" y="48"/>
                      </a:lnTo>
                      <a:lnTo>
                        <a:pt x="56" y="48"/>
                      </a:lnTo>
                      <a:lnTo>
                        <a:pt x="56" y="48"/>
                      </a:lnTo>
                      <a:lnTo>
                        <a:pt x="56" y="48"/>
                      </a:lnTo>
                      <a:lnTo>
                        <a:pt x="56" y="52"/>
                      </a:lnTo>
                      <a:lnTo>
                        <a:pt x="56" y="52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2" y="56"/>
                      </a:lnTo>
                      <a:lnTo>
                        <a:pt x="52" y="60"/>
                      </a:lnTo>
                      <a:lnTo>
                        <a:pt x="52" y="64"/>
                      </a:lnTo>
                      <a:lnTo>
                        <a:pt x="52" y="64"/>
                      </a:lnTo>
                      <a:lnTo>
                        <a:pt x="52" y="64"/>
                      </a:lnTo>
                      <a:lnTo>
                        <a:pt x="52" y="64"/>
                      </a:lnTo>
                      <a:lnTo>
                        <a:pt x="52" y="64"/>
                      </a:lnTo>
                      <a:lnTo>
                        <a:pt x="52" y="68"/>
                      </a:lnTo>
                      <a:lnTo>
                        <a:pt x="52" y="68"/>
                      </a:lnTo>
                      <a:lnTo>
                        <a:pt x="52" y="68"/>
                      </a:lnTo>
                      <a:lnTo>
                        <a:pt x="52" y="68"/>
                      </a:lnTo>
                      <a:lnTo>
                        <a:pt x="52" y="68"/>
                      </a:lnTo>
                      <a:lnTo>
                        <a:pt x="52" y="68"/>
                      </a:lnTo>
                      <a:lnTo>
                        <a:pt x="52" y="72"/>
                      </a:lnTo>
                      <a:lnTo>
                        <a:pt x="52" y="72"/>
                      </a:lnTo>
                      <a:lnTo>
                        <a:pt x="52" y="76"/>
                      </a:lnTo>
                      <a:lnTo>
                        <a:pt x="52" y="76"/>
                      </a:lnTo>
                      <a:lnTo>
                        <a:pt x="52" y="78"/>
                      </a:lnTo>
                      <a:lnTo>
                        <a:pt x="52" y="78"/>
                      </a:lnTo>
                      <a:lnTo>
                        <a:pt x="52" y="78"/>
                      </a:lnTo>
                      <a:lnTo>
                        <a:pt x="52" y="78"/>
                      </a:lnTo>
                      <a:lnTo>
                        <a:pt x="56" y="78"/>
                      </a:lnTo>
                      <a:lnTo>
                        <a:pt x="56" y="78"/>
                      </a:lnTo>
                      <a:lnTo>
                        <a:pt x="56" y="78"/>
                      </a:lnTo>
                      <a:lnTo>
                        <a:pt x="56" y="78"/>
                      </a:lnTo>
                      <a:lnTo>
                        <a:pt x="56" y="82"/>
                      </a:lnTo>
                      <a:lnTo>
                        <a:pt x="56" y="82"/>
                      </a:lnTo>
                      <a:lnTo>
                        <a:pt x="56" y="82"/>
                      </a:lnTo>
                      <a:lnTo>
                        <a:pt x="56" y="82"/>
                      </a:lnTo>
                      <a:lnTo>
                        <a:pt x="56" y="82"/>
                      </a:lnTo>
                      <a:lnTo>
                        <a:pt x="56" y="82"/>
                      </a:lnTo>
                      <a:lnTo>
                        <a:pt x="60" y="82"/>
                      </a:lnTo>
                      <a:lnTo>
                        <a:pt x="60" y="86"/>
                      </a:lnTo>
                      <a:lnTo>
                        <a:pt x="60" y="86"/>
                      </a:lnTo>
                      <a:lnTo>
                        <a:pt x="60" y="86"/>
                      </a:lnTo>
                      <a:lnTo>
                        <a:pt x="62" y="86"/>
                      </a:lnTo>
                      <a:lnTo>
                        <a:pt x="62" y="86"/>
                      </a:lnTo>
                      <a:lnTo>
                        <a:pt x="62" y="90"/>
                      </a:lnTo>
                      <a:lnTo>
                        <a:pt x="60" y="90"/>
                      </a:lnTo>
                      <a:lnTo>
                        <a:pt x="60" y="90"/>
                      </a:lnTo>
                      <a:lnTo>
                        <a:pt x="60" y="90"/>
                      </a:lnTo>
                      <a:lnTo>
                        <a:pt x="60" y="90"/>
                      </a:lnTo>
                      <a:lnTo>
                        <a:pt x="60" y="90"/>
                      </a:lnTo>
                      <a:lnTo>
                        <a:pt x="60" y="90"/>
                      </a:lnTo>
                      <a:lnTo>
                        <a:pt x="60" y="94"/>
                      </a:lnTo>
                      <a:lnTo>
                        <a:pt x="60" y="94"/>
                      </a:lnTo>
                      <a:lnTo>
                        <a:pt x="60" y="94"/>
                      </a:lnTo>
                      <a:lnTo>
                        <a:pt x="60" y="94"/>
                      </a:lnTo>
                      <a:lnTo>
                        <a:pt x="60" y="94"/>
                      </a:lnTo>
                      <a:lnTo>
                        <a:pt x="56" y="94"/>
                      </a:lnTo>
                      <a:lnTo>
                        <a:pt x="56" y="94"/>
                      </a:lnTo>
                      <a:lnTo>
                        <a:pt x="56" y="94"/>
                      </a:lnTo>
                      <a:lnTo>
                        <a:pt x="56" y="94"/>
                      </a:lnTo>
                      <a:lnTo>
                        <a:pt x="56" y="94"/>
                      </a:lnTo>
                      <a:lnTo>
                        <a:pt x="52" y="94"/>
                      </a:lnTo>
                      <a:lnTo>
                        <a:pt x="52" y="94"/>
                      </a:lnTo>
                      <a:lnTo>
                        <a:pt x="52" y="94"/>
                      </a:lnTo>
                      <a:lnTo>
                        <a:pt x="52" y="90"/>
                      </a:lnTo>
                      <a:lnTo>
                        <a:pt x="52" y="90"/>
                      </a:lnTo>
                      <a:lnTo>
                        <a:pt x="52" y="90"/>
                      </a:lnTo>
                      <a:lnTo>
                        <a:pt x="52" y="90"/>
                      </a:lnTo>
                      <a:lnTo>
                        <a:pt x="52" y="90"/>
                      </a:lnTo>
                      <a:lnTo>
                        <a:pt x="52" y="90"/>
                      </a:lnTo>
                      <a:lnTo>
                        <a:pt x="48" y="90"/>
                      </a:lnTo>
                      <a:lnTo>
                        <a:pt x="48" y="90"/>
                      </a:lnTo>
                      <a:lnTo>
                        <a:pt x="48" y="90"/>
                      </a:lnTo>
                      <a:lnTo>
                        <a:pt x="48" y="90"/>
                      </a:lnTo>
                      <a:lnTo>
                        <a:pt x="48" y="90"/>
                      </a:lnTo>
                      <a:lnTo>
                        <a:pt x="48" y="90"/>
                      </a:lnTo>
                      <a:lnTo>
                        <a:pt x="48" y="90"/>
                      </a:lnTo>
                      <a:lnTo>
                        <a:pt x="48" y="90"/>
                      </a:lnTo>
                      <a:lnTo>
                        <a:pt x="48" y="90"/>
                      </a:lnTo>
                      <a:lnTo>
                        <a:pt x="48" y="90"/>
                      </a:lnTo>
                      <a:lnTo>
                        <a:pt x="48" y="90"/>
                      </a:lnTo>
                      <a:lnTo>
                        <a:pt x="48" y="90"/>
                      </a:lnTo>
                      <a:lnTo>
                        <a:pt x="48" y="90"/>
                      </a:lnTo>
                      <a:lnTo>
                        <a:pt x="48" y="90"/>
                      </a:lnTo>
                      <a:lnTo>
                        <a:pt x="52" y="90"/>
                      </a:lnTo>
                      <a:lnTo>
                        <a:pt x="52" y="90"/>
                      </a:lnTo>
                      <a:lnTo>
                        <a:pt x="52" y="90"/>
                      </a:lnTo>
                      <a:lnTo>
                        <a:pt x="52" y="90"/>
                      </a:lnTo>
                      <a:lnTo>
                        <a:pt x="52" y="90"/>
                      </a:lnTo>
                      <a:lnTo>
                        <a:pt x="52" y="90"/>
                      </a:lnTo>
                      <a:lnTo>
                        <a:pt x="52" y="90"/>
                      </a:lnTo>
                      <a:lnTo>
                        <a:pt x="52" y="94"/>
                      </a:lnTo>
                      <a:lnTo>
                        <a:pt x="52" y="94"/>
                      </a:lnTo>
                      <a:lnTo>
                        <a:pt x="56" y="94"/>
                      </a:lnTo>
                      <a:lnTo>
                        <a:pt x="52" y="94"/>
                      </a:lnTo>
                      <a:lnTo>
                        <a:pt x="52" y="94"/>
                      </a:lnTo>
                      <a:lnTo>
                        <a:pt x="48" y="94"/>
                      </a:lnTo>
                      <a:lnTo>
                        <a:pt x="48" y="94"/>
                      </a:lnTo>
                      <a:lnTo>
                        <a:pt x="48" y="94"/>
                      </a:lnTo>
                      <a:lnTo>
                        <a:pt x="48" y="94"/>
                      </a:lnTo>
                      <a:lnTo>
                        <a:pt x="48" y="94"/>
                      </a:lnTo>
                      <a:lnTo>
                        <a:pt x="44" y="98"/>
                      </a:lnTo>
                      <a:lnTo>
                        <a:pt x="44" y="98"/>
                      </a:lnTo>
                      <a:lnTo>
                        <a:pt x="44" y="98"/>
                      </a:lnTo>
                      <a:lnTo>
                        <a:pt x="40" y="98"/>
                      </a:lnTo>
                      <a:lnTo>
                        <a:pt x="40" y="98"/>
                      </a:lnTo>
                      <a:lnTo>
                        <a:pt x="40" y="98"/>
                      </a:lnTo>
                      <a:lnTo>
                        <a:pt x="40" y="98"/>
                      </a:lnTo>
                      <a:lnTo>
                        <a:pt x="36" y="102"/>
                      </a:lnTo>
                      <a:lnTo>
                        <a:pt x="36" y="102"/>
                      </a:lnTo>
                      <a:lnTo>
                        <a:pt x="36" y="102"/>
                      </a:lnTo>
                      <a:lnTo>
                        <a:pt x="36" y="102"/>
                      </a:lnTo>
                      <a:lnTo>
                        <a:pt x="36" y="102"/>
                      </a:lnTo>
                      <a:lnTo>
                        <a:pt x="34" y="102"/>
                      </a:lnTo>
                      <a:lnTo>
                        <a:pt x="34" y="102"/>
                      </a:lnTo>
                      <a:lnTo>
                        <a:pt x="34" y="102"/>
                      </a:lnTo>
                      <a:lnTo>
                        <a:pt x="34" y="104"/>
                      </a:lnTo>
                      <a:lnTo>
                        <a:pt x="34" y="104"/>
                      </a:lnTo>
                      <a:lnTo>
                        <a:pt x="30" y="104"/>
                      </a:lnTo>
                      <a:lnTo>
                        <a:pt x="30" y="104"/>
                      </a:lnTo>
                      <a:lnTo>
                        <a:pt x="30" y="104"/>
                      </a:lnTo>
                      <a:lnTo>
                        <a:pt x="30" y="104"/>
                      </a:lnTo>
                      <a:lnTo>
                        <a:pt x="30" y="104"/>
                      </a:lnTo>
                      <a:lnTo>
                        <a:pt x="30" y="104"/>
                      </a:lnTo>
                      <a:lnTo>
                        <a:pt x="26" y="104"/>
                      </a:lnTo>
                      <a:lnTo>
                        <a:pt x="26" y="104"/>
                      </a:lnTo>
                      <a:lnTo>
                        <a:pt x="26" y="104"/>
                      </a:lnTo>
                      <a:lnTo>
                        <a:pt x="26" y="104"/>
                      </a:lnTo>
                      <a:lnTo>
                        <a:pt x="22" y="104"/>
                      </a:lnTo>
                      <a:lnTo>
                        <a:pt x="22" y="104"/>
                      </a:lnTo>
                      <a:lnTo>
                        <a:pt x="22" y="104"/>
                      </a:lnTo>
                      <a:lnTo>
                        <a:pt x="22" y="108"/>
                      </a:lnTo>
                      <a:lnTo>
                        <a:pt x="22" y="108"/>
                      </a:lnTo>
                      <a:lnTo>
                        <a:pt x="18" y="108"/>
                      </a:lnTo>
                      <a:lnTo>
                        <a:pt x="18" y="112"/>
                      </a:lnTo>
                      <a:lnTo>
                        <a:pt x="14" y="112"/>
                      </a:lnTo>
                      <a:lnTo>
                        <a:pt x="14" y="112"/>
                      </a:lnTo>
                      <a:lnTo>
                        <a:pt x="14" y="112"/>
                      </a:lnTo>
                      <a:lnTo>
                        <a:pt x="10" y="108"/>
                      </a:lnTo>
                      <a:lnTo>
                        <a:pt x="10" y="108"/>
                      </a:lnTo>
                      <a:lnTo>
                        <a:pt x="10" y="108"/>
                      </a:lnTo>
                      <a:lnTo>
                        <a:pt x="10" y="108"/>
                      </a:lnTo>
                      <a:lnTo>
                        <a:pt x="10" y="108"/>
                      </a:lnTo>
                      <a:lnTo>
                        <a:pt x="10" y="108"/>
                      </a:lnTo>
                      <a:lnTo>
                        <a:pt x="10" y="108"/>
                      </a:lnTo>
                      <a:lnTo>
                        <a:pt x="6" y="108"/>
                      </a:lnTo>
                      <a:lnTo>
                        <a:pt x="6" y="108"/>
                      </a:lnTo>
                      <a:lnTo>
                        <a:pt x="6" y="108"/>
                      </a:lnTo>
                      <a:lnTo>
                        <a:pt x="4" y="104"/>
                      </a:lnTo>
                      <a:lnTo>
                        <a:pt x="4" y="104"/>
                      </a:lnTo>
                      <a:lnTo>
                        <a:pt x="4" y="104"/>
                      </a:lnTo>
                      <a:lnTo>
                        <a:pt x="0" y="104"/>
                      </a:lnTo>
                      <a:lnTo>
                        <a:pt x="0" y="104"/>
                      </a:lnTo>
                      <a:lnTo>
                        <a:pt x="0" y="104"/>
                      </a:lnTo>
                      <a:lnTo>
                        <a:pt x="0" y="104"/>
                      </a:lnTo>
                      <a:lnTo>
                        <a:pt x="0" y="104"/>
                      </a:lnTo>
                      <a:lnTo>
                        <a:pt x="4" y="104"/>
                      </a:lnTo>
                      <a:lnTo>
                        <a:pt x="4" y="104"/>
                      </a:lnTo>
                      <a:lnTo>
                        <a:pt x="6" y="104"/>
                      </a:lnTo>
                      <a:lnTo>
                        <a:pt x="6" y="104"/>
                      </a:lnTo>
                      <a:lnTo>
                        <a:pt x="6" y="104"/>
                      </a:lnTo>
                      <a:lnTo>
                        <a:pt x="6" y="104"/>
                      </a:lnTo>
                      <a:lnTo>
                        <a:pt x="6" y="104"/>
                      </a:lnTo>
                      <a:lnTo>
                        <a:pt x="4" y="102"/>
                      </a:lnTo>
                      <a:lnTo>
                        <a:pt x="4" y="102"/>
                      </a:lnTo>
                      <a:lnTo>
                        <a:pt x="6" y="102"/>
                      </a:lnTo>
                      <a:lnTo>
                        <a:pt x="6" y="98"/>
                      </a:lnTo>
                      <a:lnTo>
                        <a:pt x="4" y="98"/>
                      </a:lnTo>
                      <a:lnTo>
                        <a:pt x="4" y="98"/>
                      </a:lnTo>
                      <a:lnTo>
                        <a:pt x="4" y="98"/>
                      </a:lnTo>
                      <a:lnTo>
                        <a:pt x="4" y="98"/>
                      </a:lnTo>
                      <a:lnTo>
                        <a:pt x="4" y="98"/>
                      </a:lnTo>
                      <a:lnTo>
                        <a:pt x="4" y="98"/>
                      </a:lnTo>
                      <a:lnTo>
                        <a:pt x="4" y="94"/>
                      </a:lnTo>
                      <a:lnTo>
                        <a:pt x="4" y="94"/>
                      </a:lnTo>
                      <a:lnTo>
                        <a:pt x="0" y="90"/>
                      </a:lnTo>
                      <a:lnTo>
                        <a:pt x="0" y="86"/>
                      </a:lnTo>
                      <a:lnTo>
                        <a:pt x="0" y="86"/>
                      </a:lnTo>
                      <a:lnTo>
                        <a:pt x="0" y="86"/>
                      </a:lnTo>
                      <a:lnTo>
                        <a:pt x="0" y="86"/>
                      </a:lnTo>
                      <a:lnTo>
                        <a:pt x="0" y="86"/>
                      </a:lnTo>
                      <a:lnTo>
                        <a:pt x="0" y="8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02" name="Freeform 148"/>
                <p:cNvSpPr>
                  <a:spLocks/>
                </p:cNvSpPr>
                <p:nvPr/>
              </p:nvSpPr>
              <p:spPr bwMode="auto">
                <a:xfrm>
                  <a:off x="4057650" y="4213293"/>
                  <a:ext cx="165100" cy="155575"/>
                </a:xfrm>
                <a:custGeom>
                  <a:avLst/>
                  <a:gdLst>
                    <a:gd name="T0" fmla="*/ 96 w 104"/>
                    <a:gd name="T1" fmla="*/ 86 h 98"/>
                    <a:gd name="T2" fmla="*/ 92 w 104"/>
                    <a:gd name="T3" fmla="*/ 90 h 98"/>
                    <a:gd name="T4" fmla="*/ 90 w 104"/>
                    <a:gd name="T5" fmla="*/ 86 h 98"/>
                    <a:gd name="T6" fmla="*/ 86 w 104"/>
                    <a:gd name="T7" fmla="*/ 94 h 98"/>
                    <a:gd name="T8" fmla="*/ 82 w 104"/>
                    <a:gd name="T9" fmla="*/ 94 h 98"/>
                    <a:gd name="T10" fmla="*/ 78 w 104"/>
                    <a:gd name="T11" fmla="*/ 90 h 98"/>
                    <a:gd name="T12" fmla="*/ 78 w 104"/>
                    <a:gd name="T13" fmla="*/ 86 h 98"/>
                    <a:gd name="T14" fmla="*/ 74 w 104"/>
                    <a:gd name="T15" fmla="*/ 74 h 98"/>
                    <a:gd name="T16" fmla="*/ 66 w 104"/>
                    <a:gd name="T17" fmla="*/ 74 h 98"/>
                    <a:gd name="T18" fmla="*/ 60 w 104"/>
                    <a:gd name="T19" fmla="*/ 74 h 98"/>
                    <a:gd name="T20" fmla="*/ 64 w 104"/>
                    <a:gd name="T21" fmla="*/ 64 h 98"/>
                    <a:gd name="T22" fmla="*/ 60 w 104"/>
                    <a:gd name="T23" fmla="*/ 60 h 98"/>
                    <a:gd name="T24" fmla="*/ 56 w 104"/>
                    <a:gd name="T25" fmla="*/ 52 h 98"/>
                    <a:gd name="T26" fmla="*/ 48 w 104"/>
                    <a:gd name="T27" fmla="*/ 48 h 98"/>
                    <a:gd name="T28" fmla="*/ 40 w 104"/>
                    <a:gd name="T29" fmla="*/ 48 h 98"/>
                    <a:gd name="T30" fmla="*/ 34 w 104"/>
                    <a:gd name="T31" fmla="*/ 52 h 98"/>
                    <a:gd name="T32" fmla="*/ 30 w 104"/>
                    <a:gd name="T33" fmla="*/ 60 h 98"/>
                    <a:gd name="T34" fmla="*/ 26 w 104"/>
                    <a:gd name="T35" fmla="*/ 64 h 98"/>
                    <a:gd name="T36" fmla="*/ 22 w 104"/>
                    <a:gd name="T37" fmla="*/ 60 h 98"/>
                    <a:gd name="T38" fmla="*/ 18 w 104"/>
                    <a:gd name="T39" fmla="*/ 56 h 98"/>
                    <a:gd name="T40" fmla="*/ 18 w 104"/>
                    <a:gd name="T41" fmla="*/ 52 h 98"/>
                    <a:gd name="T42" fmla="*/ 18 w 104"/>
                    <a:gd name="T43" fmla="*/ 48 h 98"/>
                    <a:gd name="T44" fmla="*/ 14 w 104"/>
                    <a:gd name="T45" fmla="*/ 44 h 98"/>
                    <a:gd name="T46" fmla="*/ 8 w 104"/>
                    <a:gd name="T47" fmla="*/ 38 h 98"/>
                    <a:gd name="T48" fmla="*/ 8 w 104"/>
                    <a:gd name="T49" fmla="*/ 34 h 98"/>
                    <a:gd name="T50" fmla="*/ 4 w 104"/>
                    <a:gd name="T51" fmla="*/ 30 h 98"/>
                    <a:gd name="T52" fmla="*/ 0 w 104"/>
                    <a:gd name="T53" fmla="*/ 30 h 98"/>
                    <a:gd name="T54" fmla="*/ 0 w 104"/>
                    <a:gd name="T55" fmla="*/ 30 h 98"/>
                    <a:gd name="T56" fmla="*/ 4 w 104"/>
                    <a:gd name="T57" fmla="*/ 22 h 98"/>
                    <a:gd name="T58" fmla="*/ 8 w 104"/>
                    <a:gd name="T59" fmla="*/ 22 h 98"/>
                    <a:gd name="T60" fmla="*/ 14 w 104"/>
                    <a:gd name="T61" fmla="*/ 18 h 98"/>
                    <a:gd name="T62" fmla="*/ 14 w 104"/>
                    <a:gd name="T63" fmla="*/ 12 h 98"/>
                    <a:gd name="T64" fmla="*/ 18 w 104"/>
                    <a:gd name="T65" fmla="*/ 8 h 98"/>
                    <a:gd name="T66" fmla="*/ 18 w 104"/>
                    <a:gd name="T67" fmla="*/ 4 h 98"/>
                    <a:gd name="T68" fmla="*/ 26 w 104"/>
                    <a:gd name="T69" fmla="*/ 0 h 98"/>
                    <a:gd name="T70" fmla="*/ 30 w 104"/>
                    <a:gd name="T71" fmla="*/ 4 h 98"/>
                    <a:gd name="T72" fmla="*/ 36 w 104"/>
                    <a:gd name="T73" fmla="*/ 4 h 98"/>
                    <a:gd name="T74" fmla="*/ 40 w 104"/>
                    <a:gd name="T75" fmla="*/ 8 h 98"/>
                    <a:gd name="T76" fmla="*/ 48 w 104"/>
                    <a:gd name="T77" fmla="*/ 4 h 98"/>
                    <a:gd name="T78" fmla="*/ 48 w 104"/>
                    <a:gd name="T79" fmla="*/ 8 h 98"/>
                    <a:gd name="T80" fmla="*/ 52 w 104"/>
                    <a:gd name="T81" fmla="*/ 12 h 98"/>
                    <a:gd name="T82" fmla="*/ 60 w 104"/>
                    <a:gd name="T83" fmla="*/ 8 h 98"/>
                    <a:gd name="T84" fmla="*/ 64 w 104"/>
                    <a:gd name="T85" fmla="*/ 12 h 98"/>
                    <a:gd name="T86" fmla="*/ 74 w 104"/>
                    <a:gd name="T87" fmla="*/ 12 h 98"/>
                    <a:gd name="T88" fmla="*/ 78 w 104"/>
                    <a:gd name="T89" fmla="*/ 8 h 98"/>
                    <a:gd name="T90" fmla="*/ 82 w 104"/>
                    <a:gd name="T91" fmla="*/ 4 h 98"/>
                    <a:gd name="T92" fmla="*/ 86 w 104"/>
                    <a:gd name="T93" fmla="*/ 8 h 98"/>
                    <a:gd name="T94" fmla="*/ 86 w 104"/>
                    <a:gd name="T95" fmla="*/ 18 h 98"/>
                    <a:gd name="T96" fmla="*/ 90 w 104"/>
                    <a:gd name="T97" fmla="*/ 22 h 98"/>
                    <a:gd name="T98" fmla="*/ 92 w 104"/>
                    <a:gd name="T99" fmla="*/ 22 h 98"/>
                    <a:gd name="T100" fmla="*/ 90 w 104"/>
                    <a:gd name="T101" fmla="*/ 26 h 98"/>
                    <a:gd name="T102" fmla="*/ 96 w 104"/>
                    <a:gd name="T103" fmla="*/ 34 h 98"/>
                    <a:gd name="T104" fmla="*/ 100 w 104"/>
                    <a:gd name="T105" fmla="*/ 42 h 98"/>
                    <a:gd name="T106" fmla="*/ 96 w 104"/>
                    <a:gd name="T107" fmla="*/ 48 h 98"/>
                    <a:gd name="T108" fmla="*/ 96 w 104"/>
                    <a:gd name="T109" fmla="*/ 56 h 98"/>
                    <a:gd name="T110" fmla="*/ 100 w 104"/>
                    <a:gd name="T111" fmla="*/ 60 h 98"/>
                    <a:gd name="T112" fmla="*/ 100 w 104"/>
                    <a:gd name="T113" fmla="*/ 64 h 98"/>
                    <a:gd name="T114" fmla="*/ 100 w 104"/>
                    <a:gd name="T115" fmla="*/ 68 h 98"/>
                    <a:gd name="T116" fmla="*/ 104 w 104"/>
                    <a:gd name="T117" fmla="*/ 74 h 98"/>
                    <a:gd name="T118" fmla="*/ 96 w 104"/>
                    <a:gd name="T119" fmla="*/ 78 h 98"/>
                    <a:gd name="T120" fmla="*/ 100 w 104"/>
                    <a:gd name="T121" fmla="*/ 82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04" h="98">
                      <a:moveTo>
                        <a:pt x="100" y="82"/>
                      </a:moveTo>
                      <a:lnTo>
                        <a:pt x="100" y="82"/>
                      </a:lnTo>
                      <a:lnTo>
                        <a:pt x="96" y="82"/>
                      </a:lnTo>
                      <a:lnTo>
                        <a:pt x="96" y="82"/>
                      </a:lnTo>
                      <a:lnTo>
                        <a:pt x="96" y="82"/>
                      </a:lnTo>
                      <a:lnTo>
                        <a:pt x="96" y="82"/>
                      </a:lnTo>
                      <a:lnTo>
                        <a:pt x="96" y="82"/>
                      </a:lnTo>
                      <a:lnTo>
                        <a:pt x="96" y="86"/>
                      </a:lnTo>
                      <a:lnTo>
                        <a:pt x="96" y="86"/>
                      </a:lnTo>
                      <a:lnTo>
                        <a:pt x="96" y="86"/>
                      </a:lnTo>
                      <a:lnTo>
                        <a:pt x="96" y="90"/>
                      </a:lnTo>
                      <a:lnTo>
                        <a:pt x="96" y="90"/>
                      </a:lnTo>
                      <a:lnTo>
                        <a:pt x="96" y="90"/>
                      </a:lnTo>
                      <a:lnTo>
                        <a:pt x="96" y="90"/>
                      </a:lnTo>
                      <a:lnTo>
                        <a:pt x="96" y="90"/>
                      </a:lnTo>
                      <a:lnTo>
                        <a:pt x="92" y="90"/>
                      </a:lnTo>
                      <a:lnTo>
                        <a:pt x="92" y="90"/>
                      </a:lnTo>
                      <a:lnTo>
                        <a:pt x="92" y="90"/>
                      </a:lnTo>
                      <a:lnTo>
                        <a:pt x="92" y="90"/>
                      </a:lnTo>
                      <a:lnTo>
                        <a:pt x="92" y="90"/>
                      </a:lnTo>
                      <a:lnTo>
                        <a:pt x="92" y="86"/>
                      </a:lnTo>
                      <a:lnTo>
                        <a:pt x="92" y="86"/>
                      </a:lnTo>
                      <a:lnTo>
                        <a:pt x="90" y="86"/>
                      </a:lnTo>
                      <a:lnTo>
                        <a:pt x="90" y="86"/>
                      </a:lnTo>
                      <a:lnTo>
                        <a:pt x="90" y="86"/>
                      </a:lnTo>
                      <a:lnTo>
                        <a:pt x="90" y="86"/>
                      </a:lnTo>
                      <a:lnTo>
                        <a:pt x="90" y="90"/>
                      </a:lnTo>
                      <a:lnTo>
                        <a:pt x="90" y="90"/>
                      </a:lnTo>
                      <a:lnTo>
                        <a:pt x="90" y="90"/>
                      </a:lnTo>
                      <a:lnTo>
                        <a:pt x="90" y="90"/>
                      </a:lnTo>
                      <a:lnTo>
                        <a:pt x="90" y="94"/>
                      </a:lnTo>
                      <a:lnTo>
                        <a:pt x="86" y="94"/>
                      </a:lnTo>
                      <a:lnTo>
                        <a:pt x="86" y="94"/>
                      </a:lnTo>
                      <a:lnTo>
                        <a:pt x="86" y="94"/>
                      </a:lnTo>
                      <a:lnTo>
                        <a:pt x="86" y="94"/>
                      </a:lnTo>
                      <a:lnTo>
                        <a:pt x="86" y="94"/>
                      </a:lnTo>
                      <a:lnTo>
                        <a:pt x="82" y="94"/>
                      </a:lnTo>
                      <a:lnTo>
                        <a:pt x="82" y="98"/>
                      </a:lnTo>
                      <a:lnTo>
                        <a:pt x="82" y="94"/>
                      </a:lnTo>
                      <a:lnTo>
                        <a:pt x="82" y="94"/>
                      </a:lnTo>
                      <a:lnTo>
                        <a:pt x="82" y="94"/>
                      </a:lnTo>
                      <a:lnTo>
                        <a:pt x="82" y="90"/>
                      </a:lnTo>
                      <a:lnTo>
                        <a:pt x="78" y="90"/>
                      </a:lnTo>
                      <a:lnTo>
                        <a:pt x="78" y="94"/>
                      </a:lnTo>
                      <a:lnTo>
                        <a:pt x="78" y="94"/>
                      </a:lnTo>
                      <a:lnTo>
                        <a:pt x="78" y="94"/>
                      </a:lnTo>
                      <a:lnTo>
                        <a:pt x="78" y="90"/>
                      </a:lnTo>
                      <a:lnTo>
                        <a:pt x="78" y="90"/>
                      </a:lnTo>
                      <a:lnTo>
                        <a:pt x="78" y="90"/>
                      </a:lnTo>
                      <a:lnTo>
                        <a:pt x="78" y="90"/>
                      </a:lnTo>
                      <a:lnTo>
                        <a:pt x="78" y="86"/>
                      </a:lnTo>
                      <a:lnTo>
                        <a:pt x="78" y="86"/>
                      </a:lnTo>
                      <a:lnTo>
                        <a:pt x="78" y="86"/>
                      </a:lnTo>
                      <a:lnTo>
                        <a:pt x="82" y="86"/>
                      </a:lnTo>
                      <a:lnTo>
                        <a:pt x="78" y="86"/>
                      </a:lnTo>
                      <a:lnTo>
                        <a:pt x="78" y="86"/>
                      </a:lnTo>
                      <a:lnTo>
                        <a:pt x="78" y="82"/>
                      </a:lnTo>
                      <a:lnTo>
                        <a:pt x="78" y="82"/>
                      </a:lnTo>
                      <a:lnTo>
                        <a:pt x="78" y="82"/>
                      </a:lnTo>
                      <a:lnTo>
                        <a:pt x="78" y="82"/>
                      </a:lnTo>
                      <a:lnTo>
                        <a:pt x="78" y="78"/>
                      </a:lnTo>
                      <a:lnTo>
                        <a:pt x="78" y="74"/>
                      </a:lnTo>
                      <a:lnTo>
                        <a:pt x="74" y="74"/>
                      </a:lnTo>
                      <a:lnTo>
                        <a:pt x="74" y="74"/>
                      </a:lnTo>
                      <a:lnTo>
                        <a:pt x="74" y="72"/>
                      </a:lnTo>
                      <a:lnTo>
                        <a:pt x="74" y="74"/>
                      </a:lnTo>
                      <a:lnTo>
                        <a:pt x="74" y="72"/>
                      </a:lnTo>
                      <a:lnTo>
                        <a:pt x="70" y="72"/>
                      </a:lnTo>
                      <a:lnTo>
                        <a:pt x="70" y="74"/>
                      </a:lnTo>
                      <a:lnTo>
                        <a:pt x="66" y="72"/>
                      </a:lnTo>
                      <a:lnTo>
                        <a:pt x="66" y="74"/>
                      </a:lnTo>
                      <a:lnTo>
                        <a:pt x="66" y="74"/>
                      </a:lnTo>
                      <a:lnTo>
                        <a:pt x="66" y="72"/>
                      </a:lnTo>
                      <a:lnTo>
                        <a:pt x="66" y="74"/>
                      </a:lnTo>
                      <a:lnTo>
                        <a:pt x="64" y="74"/>
                      </a:lnTo>
                      <a:lnTo>
                        <a:pt x="64" y="74"/>
                      </a:lnTo>
                      <a:lnTo>
                        <a:pt x="64" y="74"/>
                      </a:lnTo>
                      <a:lnTo>
                        <a:pt x="64" y="74"/>
                      </a:lnTo>
                      <a:lnTo>
                        <a:pt x="64" y="74"/>
                      </a:lnTo>
                      <a:lnTo>
                        <a:pt x="60" y="74"/>
                      </a:lnTo>
                      <a:lnTo>
                        <a:pt x="60" y="74"/>
                      </a:lnTo>
                      <a:lnTo>
                        <a:pt x="64" y="72"/>
                      </a:lnTo>
                      <a:lnTo>
                        <a:pt x="64" y="72"/>
                      </a:lnTo>
                      <a:lnTo>
                        <a:pt x="64" y="72"/>
                      </a:lnTo>
                      <a:lnTo>
                        <a:pt x="64" y="68"/>
                      </a:lnTo>
                      <a:lnTo>
                        <a:pt x="64" y="68"/>
                      </a:lnTo>
                      <a:lnTo>
                        <a:pt x="64" y="68"/>
                      </a:lnTo>
                      <a:lnTo>
                        <a:pt x="64" y="64"/>
                      </a:lnTo>
                      <a:lnTo>
                        <a:pt x="64" y="64"/>
                      </a:lnTo>
                      <a:lnTo>
                        <a:pt x="64" y="64"/>
                      </a:lnTo>
                      <a:lnTo>
                        <a:pt x="64" y="64"/>
                      </a:lnTo>
                      <a:lnTo>
                        <a:pt x="64" y="64"/>
                      </a:lnTo>
                      <a:lnTo>
                        <a:pt x="60" y="64"/>
                      </a:lnTo>
                      <a:lnTo>
                        <a:pt x="60" y="64"/>
                      </a:lnTo>
                      <a:lnTo>
                        <a:pt x="60" y="64"/>
                      </a:lnTo>
                      <a:lnTo>
                        <a:pt x="60" y="60"/>
                      </a:lnTo>
                      <a:lnTo>
                        <a:pt x="60" y="60"/>
                      </a:lnTo>
                      <a:lnTo>
                        <a:pt x="64" y="60"/>
                      </a:lnTo>
                      <a:lnTo>
                        <a:pt x="64" y="60"/>
                      </a:lnTo>
                      <a:lnTo>
                        <a:pt x="60" y="60"/>
                      </a:lnTo>
                      <a:lnTo>
                        <a:pt x="60" y="56"/>
                      </a:lnTo>
                      <a:lnTo>
                        <a:pt x="60" y="56"/>
                      </a:lnTo>
                      <a:lnTo>
                        <a:pt x="60" y="52"/>
                      </a:lnTo>
                      <a:lnTo>
                        <a:pt x="56" y="52"/>
                      </a:lnTo>
                      <a:lnTo>
                        <a:pt x="56" y="52"/>
                      </a:lnTo>
                      <a:lnTo>
                        <a:pt x="56" y="52"/>
                      </a:lnTo>
                      <a:lnTo>
                        <a:pt x="56" y="48"/>
                      </a:lnTo>
                      <a:lnTo>
                        <a:pt x="56" y="48"/>
                      </a:lnTo>
                      <a:lnTo>
                        <a:pt x="56" y="48"/>
                      </a:lnTo>
                      <a:lnTo>
                        <a:pt x="52" y="48"/>
                      </a:lnTo>
                      <a:lnTo>
                        <a:pt x="52" y="48"/>
                      </a:lnTo>
                      <a:lnTo>
                        <a:pt x="48" y="48"/>
                      </a:lnTo>
                      <a:lnTo>
                        <a:pt x="48" y="48"/>
                      </a:lnTo>
                      <a:lnTo>
                        <a:pt x="48" y="48"/>
                      </a:lnTo>
                      <a:lnTo>
                        <a:pt x="44" y="48"/>
                      </a:lnTo>
                      <a:lnTo>
                        <a:pt x="44" y="48"/>
                      </a:lnTo>
                      <a:lnTo>
                        <a:pt x="44" y="48"/>
                      </a:lnTo>
                      <a:lnTo>
                        <a:pt x="40" y="48"/>
                      </a:lnTo>
                      <a:lnTo>
                        <a:pt x="40" y="48"/>
                      </a:lnTo>
                      <a:lnTo>
                        <a:pt x="40" y="48"/>
                      </a:lnTo>
                      <a:lnTo>
                        <a:pt x="40" y="48"/>
                      </a:lnTo>
                      <a:lnTo>
                        <a:pt x="40" y="48"/>
                      </a:lnTo>
                      <a:lnTo>
                        <a:pt x="40" y="48"/>
                      </a:lnTo>
                      <a:lnTo>
                        <a:pt x="36" y="48"/>
                      </a:lnTo>
                      <a:lnTo>
                        <a:pt x="36" y="48"/>
                      </a:lnTo>
                      <a:lnTo>
                        <a:pt x="34" y="52"/>
                      </a:lnTo>
                      <a:lnTo>
                        <a:pt x="34" y="52"/>
                      </a:lnTo>
                      <a:lnTo>
                        <a:pt x="34" y="52"/>
                      </a:lnTo>
                      <a:lnTo>
                        <a:pt x="34" y="56"/>
                      </a:lnTo>
                      <a:lnTo>
                        <a:pt x="34" y="56"/>
                      </a:lnTo>
                      <a:lnTo>
                        <a:pt x="34" y="56"/>
                      </a:lnTo>
                      <a:lnTo>
                        <a:pt x="30" y="60"/>
                      </a:lnTo>
                      <a:lnTo>
                        <a:pt x="30" y="60"/>
                      </a:lnTo>
                      <a:lnTo>
                        <a:pt x="30" y="60"/>
                      </a:lnTo>
                      <a:lnTo>
                        <a:pt x="30" y="60"/>
                      </a:lnTo>
                      <a:lnTo>
                        <a:pt x="30" y="60"/>
                      </a:lnTo>
                      <a:lnTo>
                        <a:pt x="30" y="60"/>
                      </a:lnTo>
                      <a:lnTo>
                        <a:pt x="30" y="60"/>
                      </a:lnTo>
                      <a:lnTo>
                        <a:pt x="30" y="64"/>
                      </a:lnTo>
                      <a:lnTo>
                        <a:pt x="30" y="64"/>
                      </a:lnTo>
                      <a:lnTo>
                        <a:pt x="26" y="64"/>
                      </a:lnTo>
                      <a:lnTo>
                        <a:pt x="26" y="64"/>
                      </a:lnTo>
                      <a:lnTo>
                        <a:pt x="26" y="64"/>
                      </a:lnTo>
                      <a:lnTo>
                        <a:pt x="26" y="64"/>
                      </a:lnTo>
                      <a:lnTo>
                        <a:pt x="26" y="64"/>
                      </a:lnTo>
                      <a:lnTo>
                        <a:pt x="26" y="64"/>
                      </a:lnTo>
                      <a:lnTo>
                        <a:pt x="26" y="64"/>
                      </a:lnTo>
                      <a:lnTo>
                        <a:pt x="22" y="64"/>
                      </a:lnTo>
                      <a:lnTo>
                        <a:pt x="22" y="64"/>
                      </a:lnTo>
                      <a:lnTo>
                        <a:pt x="26" y="64"/>
                      </a:lnTo>
                      <a:lnTo>
                        <a:pt x="26" y="60"/>
                      </a:lnTo>
                      <a:lnTo>
                        <a:pt x="22" y="60"/>
                      </a:lnTo>
                      <a:lnTo>
                        <a:pt x="22" y="60"/>
                      </a:lnTo>
                      <a:lnTo>
                        <a:pt x="22" y="56"/>
                      </a:lnTo>
                      <a:lnTo>
                        <a:pt x="22" y="56"/>
                      </a:lnTo>
                      <a:lnTo>
                        <a:pt x="22" y="56"/>
                      </a:lnTo>
                      <a:lnTo>
                        <a:pt x="22" y="56"/>
                      </a:lnTo>
                      <a:lnTo>
                        <a:pt x="22" y="56"/>
                      </a:lnTo>
                      <a:lnTo>
                        <a:pt x="22" y="56"/>
                      </a:lnTo>
                      <a:lnTo>
                        <a:pt x="18" y="56"/>
                      </a:lnTo>
                      <a:lnTo>
                        <a:pt x="18" y="56"/>
                      </a:lnTo>
                      <a:lnTo>
                        <a:pt x="18" y="52"/>
                      </a:lnTo>
                      <a:lnTo>
                        <a:pt x="18" y="52"/>
                      </a:lnTo>
                      <a:lnTo>
                        <a:pt x="18" y="48"/>
                      </a:lnTo>
                      <a:lnTo>
                        <a:pt x="18" y="48"/>
                      </a:lnTo>
                      <a:lnTo>
                        <a:pt x="18" y="52"/>
                      </a:lnTo>
                      <a:lnTo>
                        <a:pt x="18" y="52"/>
                      </a:lnTo>
                      <a:lnTo>
                        <a:pt x="18" y="52"/>
                      </a:lnTo>
                      <a:lnTo>
                        <a:pt x="18" y="52"/>
                      </a:lnTo>
                      <a:lnTo>
                        <a:pt x="18" y="52"/>
                      </a:lnTo>
                      <a:lnTo>
                        <a:pt x="18" y="52"/>
                      </a:lnTo>
                      <a:lnTo>
                        <a:pt x="18" y="48"/>
                      </a:lnTo>
                      <a:lnTo>
                        <a:pt x="18" y="48"/>
                      </a:lnTo>
                      <a:lnTo>
                        <a:pt x="18" y="48"/>
                      </a:lnTo>
                      <a:lnTo>
                        <a:pt x="18" y="48"/>
                      </a:lnTo>
                      <a:lnTo>
                        <a:pt x="18" y="48"/>
                      </a:lnTo>
                      <a:lnTo>
                        <a:pt x="18" y="48"/>
                      </a:lnTo>
                      <a:lnTo>
                        <a:pt x="18" y="48"/>
                      </a:lnTo>
                      <a:lnTo>
                        <a:pt x="18" y="48"/>
                      </a:lnTo>
                      <a:lnTo>
                        <a:pt x="18" y="48"/>
                      </a:lnTo>
                      <a:lnTo>
                        <a:pt x="14" y="48"/>
                      </a:lnTo>
                      <a:lnTo>
                        <a:pt x="14" y="48"/>
                      </a:lnTo>
                      <a:lnTo>
                        <a:pt x="14" y="48"/>
                      </a:lnTo>
                      <a:lnTo>
                        <a:pt x="14" y="44"/>
                      </a:lnTo>
                      <a:lnTo>
                        <a:pt x="10" y="44"/>
                      </a:lnTo>
                      <a:lnTo>
                        <a:pt x="10" y="44"/>
                      </a:lnTo>
                      <a:lnTo>
                        <a:pt x="8" y="42"/>
                      </a:lnTo>
                      <a:lnTo>
                        <a:pt x="8" y="42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4" y="38"/>
                      </a:lnTo>
                      <a:lnTo>
                        <a:pt x="4" y="38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4" y="34"/>
                      </a:lnTo>
                      <a:lnTo>
                        <a:pt x="4" y="38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10" y="18"/>
                      </a:lnTo>
                      <a:lnTo>
                        <a:pt x="10" y="18"/>
                      </a:lnTo>
                      <a:lnTo>
                        <a:pt x="10" y="18"/>
                      </a:lnTo>
                      <a:lnTo>
                        <a:pt x="10" y="18"/>
                      </a:lnTo>
                      <a:lnTo>
                        <a:pt x="14" y="18"/>
                      </a:lnTo>
                      <a:lnTo>
                        <a:pt x="14" y="18"/>
                      </a:lnTo>
                      <a:lnTo>
                        <a:pt x="14" y="18"/>
                      </a:lnTo>
                      <a:lnTo>
                        <a:pt x="18" y="18"/>
                      </a:lnTo>
                      <a:lnTo>
                        <a:pt x="18" y="18"/>
                      </a:lnTo>
                      <a:lnTo>
                        <a:pt x="18" y="16"/>
                      </a:lnTo>
                      <a:lnTo>
                        <a:pt x="18" y="12"/>
                      </a:lnTo>
                      <a:lnTo>
                        <a:pt x="18" y="12"/>
                      </a:lnTo>
                      <a:lnTo>
                        <a:pt x="18" y="12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4" y="8"/>
                      </a:lnTo>
                      <a:lnTo>
                        <a:pt x="14" y="8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30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4" y="4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6" y="4"/>
                      </a:lnTo>
                      <a:lnTo>
                        <a:pt x="36" y="4"/>
                      </a:lnTo>
                      <a:lnTo>
                        <a:pt x="36" y="8"/>
                      </a:lnTo>
                      <a:lnTo>
                        <a:pt x="36" y="8"/>
                      </a:lnTo>
                      <a:lnTo>
                        <a:pt x="36" y="8"/>
                      </a:lnTo>
                      <a:lnTo>
                        <a:pt x="36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4"/>
                      </a:lnTo>
                      <a:lnTo>
                        <a:pt x="44" y="4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8" y="8"/>
                      </a:lnTo>
                      <a:lnTo>
                        <a:pt x="48" y="4"/>
                      </a:lnTo>
                      <a:lnTo>
                        <a:pt x="48" y="4"/>
                      </a:lnTo>
                      <a:lnTo>
                        <a:pt x="48" y="4"/>
                      </a:lnTo>
                      <a:lnTo>
                        <a:pt x="48" y="4"/>
                      </a:lnTo>
                      <a:lnTo>
                        <a:pt x="52" y="4"/>
                      </a:lnTo>
                      <a:lnTo>
                        <a:pt x="52" y="4"/>
                      </a:lnTo>
                      <a:lnTo>
                        <a:pt x="52" y="8"/>
                      </a:lnTo>
                      <a:lnTo>
                        <a:pt x="52" y="8"/>
                      </a:lnTo>
                      <a:lnTo>
                        <a:pt x="48" y="8"/>
                      </a:lnTo>
                      <a:lnTo>
                        <a:pt x="48" y="8"/>
                      </a:lnTo>
                      <a:lnTo>
                        <a:pt x="48" y="12"/>
                      </a:lnTo>
                      <a:lnTo>
                        <a:pt x="52" y="12"/>
                      </a:lnTo>
                      <a:lnTo>
                        <a:pt x="52" y="12"/>
                      </a:lnTo>
                      <a:lnTo>
                        <a:pt x="52" y="12"/>
                      </a:lnTo>
                      <a:lnTo>
                        <a:pt x="52" y="12"/>
                      </a:lnTo>
                      <a:lnTo>
                        <a:pt x="52" y="12"/>
                      </a:lnTo>
                      <a:lnTo>
                        <a:pt x="52" y="12"/>
                      </a:lnTo>
                      <a:lnTo>
                        <a:pt x="52" y="12"/>
                      </a:lnTo>
                      <a:lnTo>
                        <a:pt x="56" y="12"/>
                      </a:lnTo>
                      <a:lnTo>
                        <a:pt x="56" y="12"/>
                      </a:lnTo>
                      <a:lnTo>
                        <a:pt x="56" y="12"/>
                      </a:lnTo>
                      <a:lnTo>
                        <a:pt x="56" y="12"/>
                      </a:lnTo>
                      <a:lnTo>
                        <a:pt x="56" y="8"/>
                      </a:lnTo>
                      <a:lnTo>
                        <a:pt x="56" y="8"/>
                      </a:lnTo>
                      <a:lnTo>
                        <a:pt x="60" y="8"/>
                      </a:lnTo>
                      <a:lnTo>
                        <a:pt x="60" y="8"/>
                      </a:lnTo>
                      <a:lnTo>
                        <a:pt x="60" y="8"/>
                      </a:lnTo>
                      <a:lnTo>
                        <a:pt x="60" y="12"/>
                      </a:lnTo>
                      <a:lnTo>
                        <a:pt x="60" y="12"/>
                      </a:lnTo>
                      <a:lnTo>
                        <a:pt x="60" y="16"/>
                      </a:lnTo>
                      <a:lnTo>
                        <a:pt x="60" y="16"/>
                      </a:lnTo>
                      <a:lnTo>
                        <a:pt x="64" y="16"/>
                      </a:lnTo>
                      <a:lnTo>
                        <a:pt x="64" y="12"/>
                      </a:lnTo>
                      <a:lnTo>
                        <a:pt x="64" y="12"/>
                      </a:lnTo>
                      <a:lnTo>
                        <a:pt x="66" y="12"/>
                      </a:lnTo>
                      <a:lnTo>
                        <a:pt x="66" y="8"/>
                      </a:lnTo>
                      <a:lnTo>
                        <a:pt x="66" y="8"/>
                      </a:lnTo>
                      <a:lnTo>
                        <a:pt x="70" y="8"/>
                      </a:lnTo>
                      <a:lnTo>
                        <a:pt x="70" y="12"/>
                      </a:lnTo>
                      <a:lnTo>
                        <a:pt x="74" y="12"/>
                      </a:lnTo>
                      <a:lnTo>
                        <a:pt x="74" y="12"/>
                      </a:lnTo>
                      <a:lnTo>
                        <a:pt x="74" y="12"/>
                      </a:lnTo>
                      <a:lnTo>
                        <a:pt x="74" y="12"/>
                      </a:lnTo>
                      <a:lnTo>
                        <a:pt x="74" y="12"/>
                      </a:lnTo>
                      <a:lnTo>
                        <a:pt x="74" y="12"/>
                      </a:lnTo>
                      <a:lnTo>
                        <a:pt x="74" y="12"/>
                      </a:lnTo>
                      <a:lnTo>
                        <a:pt x="74" y="12"/>
                      </a:lnTo>
                      <a:lnTo>
                        <a:pt x="78" y="8"/>
                      </a:lnTo>
                      <a:lnTo>
                        <a:pt x="78" y="8"/>
                      </a:lnTo>
                      <a:lnTo>
                        <a:pt x="78" y="8"/>
                      </a:lnTo>
                      <a:lnTo>
                        <a:pt x="82" y="8"/>
                      </a:lnTo>
                      <a:lnTo>
                        <a:pt x="82" y="8"/>
                      </a:lnTo>
                      <a:lnTo>
                        <a:pt x="82" y="8"/>
                      </a:lnTo>
                      <a:lnTo>
                        <a:pt x="82" y="8"/>
                      </a:lnTo>
                      <a:lnTo>
                        <a:pt x="82" y="4"/>
                      </a:lnTo>
                      <a:lnTo>
                        <a:pt x="78" y="4"/>
                      </a:lnTo>
                      <a:lnTo>
                        <a:pt x="78" y="4"/>
                      </a:lnTo>
                      <a:lnTo>
                        <a:pt x="82" y="4"/>
                      </a:lnTo>
                      <a:lnTo>
                        <a:pt x="82" y="4"/>
                      </a:lnTo>
                      <a:lnTo>
                        <a:pt x="82" y="4"/>
                      </a:lnTo>
                      <a:lnTo>
                        <a:pt x="86" y="4"/>
                      </a:lnTo>
                      <a:lnTo>
                        <a:pt x="86" y="4"/>
                      </a:lnTo>
                      <a:lnTo>
                        <a:pt x="86" y="8"/>
                      </a:lnTo>
                      <a:lnTo>
                        <a:pt x="86" y="8"/>
                      </a:lnTo>
                      <a:lnTo>
                        <a:pt x="86" y="8"/>
                      </a:lnTo>
                      <a:lnTo>
                        <a:pt x="86" y="8"/>
                      </a:lnTo>
                      <a:lnTo>
                        <a:pt x="86" y="8"/>
                      </a:lnTo>
                      <a:lnTo>
                        <a:pt x="86" y="8"/>
                      </a:lnTo>
                      <a:lnTo>
                        <a:pt x="86" y="8"/>
                      </a:lnTo>
                      <a:lnTo>
                        <a:pt x="86" y="8"/>
                      </a:lnTo>
                      <a:lnTo>
                        <a:pt x="90" y="12"/>
                      </a:lnTo>
                      <a:lnTo>
                        <a:pt x="90" y="16"/>
                      </a:lnTo>
                      <a:lnTo>
                        <a:pt x="90" y="16"/>
                      </a:lnTo>
                      <a:lnTo>
                        <a:pt x="86" y="18"/>
                      </a:lnTo>
                      <a:lnTo>
                        <a:pt x="90" y="18"/>
                      </a:lnTo>
                      <a:lnTo>
                        <a:pt x="90" y="18"/>
                      </a:lnTo>
                      <a:lnTo>
                        <a:pt x="90" y="18"/>
                      </a:lnTo>
                      <a:lnTo>
                        <a:pt x="90" y="18"/>
                      </a:lnTo>
                      <a:lnTo>
                        <a:pt x="90" y="18"/>
                      </a:lnTo>
                      <a:lnTo>
                        <a:pt x="90" y="18"/>
                      </a:lnTo>
                      <a:lnTo>
                        <a:pt x="90" y="22"/>
                      </a:lnTo>
                      <a:lnTo>
                        <a:pt x="90" y="22"/>
                      </a:lnTo>
                      <a:lnTo>
                        <a:pt x="90" y="22"/>
                      </a:lnTo>
                      <a:lnTo>
                        <a:pt x="90" y="22"/>
                      </a:lnTo>
                      <a:lnTo>
                        <a:pt x="92" y="22"/>
                      </a:lnTo>
                      <a:lnTo>
                        <a:pt x="92" y="22"/>
                      </a:lnTo>
                      <a:lnTo>
                        <a:pt x="92" y="22"/>
                      </a:lnTo>
                      <a:lnTo>
                        <a:pt x="92" y="22"/>
                      </a:lnTo>
                      <a:lnTo>
                        <a:pt x="92" y="22"/>
                      </a:lnTo>
                      <a:lnTo>
                        <a:pt x="92" y="22"/>
                      </a:lnTo>
                      <a:lnTo>
                        <a:pt x="92" y="22"/>
                      </a:lnTo>
                      <a:lnTo>
                        <a:pt x="92" y="26"/>
                      </a:lnTo>
                      <a:lnTo>
                        <a:pt x="92" y="26"/>
                      </a:lnTo>
                      <a:lnTo>
                        <a:pt x="92" y="26"/>
                      </a:lnTo>
                      <a:lnTo>
                        <a:pt x="92" y="26"/>
                      </a:lnTo>
                      <a:lnTo>
                        <a:pt x="92" y="26"/>
                      </a:lnTo>
                      <a:lnTo>
                        <a:pt x="92" y="26"/>
                      </a:lnTo>
                      <a:lnTo>
                        <a:pt x="90" y="26"/>
                      </a:lnTo>
                      <a:lnTo>
                        <a:pt x="90" y="30"/>
                      </a:lnTo>
                      <a:lnTo>
                        <a:pt x="90" y="30"/>
                      </a:lnTo>
                      <a:lnTo>
                        <a:pt x="90" y="30"/>
                      </a:lnTo>
                      <a:lnTo>
                        <a:pt x="92" y="30"/>
                      </a:lnTo>
                      <a:lnTo>
                        <a:pt x="92" y="30"/>
                      </a:lnTo>
                      <a:lnTo>
                        <a:pt x="92" y="30"/>
                      </a:lnTo>
                      <a:lnTo>
                        <a:pt x="96" y="30"/>
                      </a:lnTo>
                      <a:lnTo>
                        <a:pt x="96" y="34"/>
                      </a:lnTo>
                      <a:lnTo>
                        <a:pt x="92" y="34"/>
                      </a:lnTo>
                      <a:lnTo>
                        <a:pt x="96" y="38"/>
                      </a:lnTo>
                      <a:lnTo>
                        <a:pt x="96" y="38"/>
                      </a:lnTo>
                      <a:lnTo>
                        <a:pt x="96" y="42"/>
                      </a:lnTo>
                      <a:lnTo>
                        <a:pt x="96" y="42"/>
                      </a:lnTo>
                      <a:lnTo>
                        <a:pt x="96" y="42"/>
                      </a:lnTo>
                      <a:lnTo>
                        <a:pt x="100" y="42"/>
                      </a:lnTo>
                      <a:lnTo>
                        <a:pt x="100" y="42"/>
                      </a:lnTo>
                      <a:lnTo>
                        <a:pt x="100" y="44"/>
                      </a:lnTo>
                      <a:lnTo>
                        <a:pt x="100" y="44"/>
                      </a:lnTo>
                      <a:lnTo>
                        <a:pt x="100" y="44"/>
                      </a:lnTo>
                      <a:lnTo>
                        <a:pt x="96" y="44"/>
                      </a:lnTo>
                      <a:lnTo>
                        <a:pt x="96" y="44"/>
                      </a:lnTo>
                      <a:lnTo>
                        <a:pt x="96" y="44"/>
                      </a:lnTo>
                      <a:lnTo>
                        <a:pt x="96" y="48"/>
                      </a:lnTo>
                      <a:lnTo>
                        <a:pt x="96" y="48"/>
                      </a:lnTo>
                      <a:lnTo>
                        <a:pt x="96" y="48"/>
                      </a:lnTo>
                      <a:lnTo>
                        <a:pt x="96" y="48"/>
                      </a:lnTo>
                      <a:lnTo>
                        <a:pt x="96" y="48"/>
                      </a:lnTo>
                      <a:lnTo>
                        <a:pt x="96" y="48"/>
                      </a:lnTo>
                      <a:lnTo>
                        <a:pt x="96" y="48"/>
                      </a:lnTo>
                      <a:lnTo>
                        <a:pt x="96" y="52"/>
                      </a:lnTo>
                      <a:lnTo>
                        <a:pt x="96" y="56"/>
                      </a:lnTo>
                      <a:lnTo>
                        <a:pt x="96" y="56"/>
                      </a:lnTo>
                      <a:lnTo>
                        <a:pt x="96" y="56"/>
                      </a:lnTo>
                      <a:lnTo>
                        <a:pt x="96" y="56"/>
                      </a:lnTo>
                      <a:lnTo>
                        <a:pt x="96" y="56"/>
                      </a:lnTo>
                      <a:lnTo>
                        <a:pt x="96" y="56"/>
                      </a:lnTo>
                      <a:lnTo>
                        <a:pt x="100" y="56"/>
                      </a:lnTo>
                      <a:lnTo>
                        <a:pt x="100" y="56"/>
                      </a:lnTo>
                      <a:lnTo>
                        <a:pt x="100" y="60"/>
                      </a:lnTo>
                      <a:lnTo>
                        <a:pt x="100" y="60"/>
                      </a:lnTo>
                      <a:lnTo>
                        <a:pt x="100" y="60"/>
                      </a:lnTo>
                      <a:lnTo>
                        <a:pt x="100" y="60"/>
                      </a:lnTo>
                      <a:lnTo>
                        <a:pt x="100" y="64"/>
                      </a:lnTo>
                      <a:lnTo>
                        <a:pt x="104" y="64"/>
                      </a:lnTo>
                      <a:lnTo>
                        <a:pt x="104" y="64"/>
                      </a:lnTo>
                      <a:lnTo>
                        <a:pt x="100" y="64"/>
                      </a:lnTo>
                      <a:lnTo>
                        <a:pt x="100" y="64"/>
                      </a:lnTo>
                      <a:lnTo>
                        <a:pt x="100" y="64"/>
                      </a:lnTo>
                      <a:lnTo>
                        <a:pt x="100" y="64"/>
                      </a:lnTo>
                      <a:lnTo>
                        <a:pt x="100" y="64"/>
                      </a:lnTo>
                      <a:lnTo>
                        <a:pt x="100" y="68"/>
                      </a:lnTo>
                      <a:lnTo>
                        <a:pt x="100" y="68"/>
                      </a:lnTo>
                      <a:lnTo>
                        <a:pt x="100" y="68"/>
                      </a:lnTo>
                      <a:lnTo>
                        <a:pt x="100" y="68"/>
                      </a:lnTo>
                      <a:lnTo>
                        <a:pt x="100" y="68"/>
                      </a:lnTo>
                      <a:lnTo>
                        <a:pt x="100" y="68"/>
                      </a:lnTo>
                      <a:lnTo>
                        <a:pt x="104" y="68"/>
                      </a:lnTo>
                      <a:lnTo>
                        <a:pt x="104" y="72"/>
                      </a:lnTo>
                      <a:lnTo>
                        <a:pt x="104" y="72"/>
                      </a:lnTo>
                      <a:lnTo>
                        <a:pt x="104" y="74"/>
                      </a:lnTo>
                      <a:lnTo>
                        <a:pt x="104" y="74"/>
                      </a:lnTo>
                      <a:lnTo>
                        <a:pt x="104" y="74"/>
                      </a:lnTo>
                      <a:lnTo>
                        <a:pt x="104" y="74"/>
                      </a:lnTo>
                      <a:lnTo>
                        <a:pt x="104" y="74"/>
                      </a:lnTo>
                      <a:lnTo>
                        <a:pt x="104" y="74"/>
                      </a:lnTo>
                      <a:lnTo>
                        <a:pt x="100" y="74"/>
                      </a:lnTo>
                      <a:lnTo>
                        <a:pt x="100" y="74"/>
                      </a:lnTo>
                      <a:lnTo>
                        <a:pt x="100" y="72"/>
                      </a:lnTo>
                      <a:lnTo>
                        <a:pt x="96" y="72"/>
                      </a:lnTo>
                      <a:lnTo>
                        <a:pt x="96" y="74"/>
                      </a:lnTo>
                      <a:lnTo>
                        <a:pt x="96" y="74"/>
                      </a:lnTo>
                      <a:lnTo>
                        <a:pt x="96" y="78"/>
                      </a:lnTo>
                      <a:lnTo>
                        <a:pt x="96" y="78"/>
                      </a:lnTo>
                      <a:lnTo>
                        <a:pt x="96" y="78"/>
                      </a:lnTo>
                      <a:lnTo>
                        <a:pt x="96" y="78"/>
                      </a:lnTo>
                      <a:lnTo>
                        <a:pt x="96" y="78"/>
                      </a:lnTo>
                      <a:lnTo>
                        <a:pt x="100" y="78"/>
                      </a:lnTo>
                      <a:lnTo>
                        <a:pt x="100" y="78"/>
                      </a:lnTo>
                      <a:lnTo>
                        <a:pt x="100" y="82"/>
                      </a:lnTo>
                      <a:lnTo>
                        <a:pt x="100" y="82"/>
                      </a:lnTo>
                      <a:lnTo>
                        <a:pt x="100" y="82"/>
                      </a:lnTo>
                      <a:lnTo>
                        <a:pt x="100" y="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03" name="Freeform 149"/>
                <p:cNvSpPr>
                  <a:spLocks noEditPoints="1"/>
                </p:cNvSpPr>
                <p:nvPr/>
              </p:nvSpPr>
              <p:spPr bwMode="auto">
                <a:xfrm>
                  <a:off x="4019550" y="4213293"/>
                  <a:ext cx="66675" cy="47625"/>
                </a:xfrm>
                <a:custGeom>
                  <a:avLst/>
                  <a:gdLst>
                    <a:gd name="T0" fmla="*/ 12 w 42"/>
                    <a:gd name="T1" fmla="*/ 16 h 30"/>
                    <a:gd name="T2" fmla="*/ 12 w 42"/>
                    <a:gd name="T3" fmla="*/ 12 h 30"/>
                    <a:gd name="T4" fmla="*/ 12 w 42"/>
                    <a:gd name="T5" fmla="*/ 12 h 30"/>
                    <a:gd name="T6" fmla="*/ 8 w 42"/>
                    <a:gd name="T7" fmla="*/ 16 h 30"/>
                    <a:gd name="T8" fmla="*/ 4 w 42"/>
                    <a:gd name="T9" fmla="*/ 12 h 30"/>
                    <a:gd name="T10" fmla="*/ 4 w 42"/>
                    <a:gd name="T11" fmla="*/ 8 h 30"/>
                    <a:gd name="T12" fmla="*/ 0 w 42"/>
                    <a:gd name="T13" fmla="*/ 8 h 30"/>
                    <a:gd name="T14" fmla="*/ 0 w 42"/>
                    <a:gd name="T15" fmla="*/ 8 h 30"/>
                    <a:gd name="T16" fmla="*/ 8 w 42"/>
                    <a:gd name="T17" fmla="*/ 4 h 30"/>
                    <a:gd name="T18" fmla="*/ 12 w 42"/>
                    <a:gd name="T19" fmla="*/ 4 h 30"/>
                    <a:gd name="T20" fmla="*/ 20 w 42"/>
                    <a:gd name="T21" fmla="*/ 0 h 30"/>
                    <a:gd name="T22" fmla="*/ 34 w 42"/>
                    <a:gd name="T23" fmla="*/ 0 h 30"/>
                    <a:gd name="T24" fmla="*/ 42 w 42"/>
                    <a:gd name="T25" fmla="*/ 0 h 30"/>
                    <a:gd name="T26" fmla="*/ 42 w 42"/>
                    <a:gd name="T27" fmla="*/ 4 h 30"/>
                    <a:gd name="T28" fmla="*/ 42 w 42"/>
                    <a:gd name="T29" fmla="*/ 8 h 30"/>
                    <a:gd name="T30" fmla="*/ 42 w 42"/>
                    <a:gd name="T31" fmla="*/ 12 h 30"/>
                    <a:gd name="T32" fmla="*/ 38 w 42"/>
                    <a:gd name="T33" fmla="*/ 18 h 30"/>
                    <a:gd name="T34" fmla="*/ 34 w 42"/>
                    <a:gd name="T35" fmla="*/ 18 h 30"/>
                    <a:gd name="T36" fmla="*/ 30 w 42"/>
                    <a:gd name="T37" fmla="*/ 22 h 30"/>
                    <a:gd name="T38" fmla="*/ 26 w 42"/>
                    <a:gd name="T39" fmla="*/ 26 h 30"/>
                    <a:gd name="T40" fmla="*/ 24 w 42"/>
                    <a:gd name="T41" fmla="*/ 30 h 30"/>
                    <a:gd name="T42" fmla="*/ 24 w 42"/>
                    <a:gd name="T43" fmla="*/ 26 h 30"/>
                    <a:gd name="T44" fmla="*/ 20 w 42"/>
                    <a:gd name="T45" fmla="*/ 30 h 30"/>
                    <a:gd name="T46" fmla="*/ 20 w 42"/>
                    <a:gd name="T47" fmla="*/ 26 h 30"/>
                    <a:gd name="T48" fmla="*/ 20 w 42"/>
                    <a:gd name="T49" fmla="*/ 26 h 30"/>
                    <a:gd name="T50" fmla="*/ 20 w 42"/>
                    <a:gd name="T51" fmla="*/ 22 h 30"/>
                    <a:gd name="T52" fmla="*/ 20 w 42"/>
                    <a:gd name="T53" fmla="*/ 22 h 30"/>
                    <a:gd name="T54" fmla="*/ 16 w 42"/>
                    <a:gd name="T55" fmla="*/ 22 h 30"/>
                    <a:gd name="T56" fmla="*/ 24 w 42"/>
                    <a:gd name="T57" fmla="*/ 18 h 30"/>
                    <a:gd name="T58" fmla="*/ 20 w 42"/>
                    <a:gd name="T59" fmla="*/ 18 h 30"/>
                    <a:gd name="T60" fmla="*/ 16 w 42"/>
                    <a:gd name="T61" fmla="*/ 18 h 30"/>
                    <a:gd name="T62" fmla="*/ 16 w 42"/>
                    <a:gd name="T63" fmla="*/ 18 h 30"/>
                    <a:gd name="T64" fmla="*/ 16 w 42"/>
                    <a:gd name="T65" fmla="*/ 16 h 30"/>
                    <a:gd name="T66" fmla="*/ 20 w 42"/>
                    <a:gd name="T67" fmla="*/ 16 h 30"/>
                    <a:gd name="T68" fmla="*/ 24 w 42"/>
                    <a:gd name="T69" fmla="*/ 16 h 30"/>
                    <a:gd name="T70" fmla="*/ 24 w 42"/>
                    <a:gd name="T71" fmla="*/ 16 h 30"/>
                    <a:gd name="T72" fmla="*/ 20 w 42"/>
                    <a:gd name="T73" fmla="*/ 16 h 30"/>
                    <a:gd name="T74" fmla="*/ 20 w 42"/>
                    <a:gd name="T75" fmla="*/ 12 h 30"/>
                    <a:gd name="T76" fmla="*/ 12 w 42"/>
                    <a:gd name="T77" fmla="*/ 16 h 30"/>
                    <a:gd name="T78" fmla="*/ 12 w 42"/>
                    <a:gd name="T79" fmla="*/ 26 h 30"/>
                    <a:gd name="T80" fmla="*/ 16 w 42"/>
                    <a:gd name="T81" fmla="*/ 26 h 30"/>
                    <a:gd name="T82" fmla="*/ 8 w 42"/>
                    <a:gd name="T83" fmla="*/ 16 h 30"/>
                    <a:gd name="T84" fmla="*/ 8 w 42"/>
                    <a:gd name="T85" fmla="*/ 16 h 30"/>
                    <a:gd name="T86" fmla="*/ 16 w 42"/>
                    <a:gd name="T87" fmla="*/ 18 h 30"/>
                    <a:gd name="T88" fmla="*/ 16 w 42"/>
                    <a:gd name="T89" fmla="*/ 18 h 30"/>
                    <a:gd name="T90" fmla="*/ 8 w 42"/>
                    <a:gd name="T91" fmla="*/ 18 h 30"/>
                    <a:gd name="T92" fmla="*/ 12 w 42"/>
                    <a:gd name="T93" fmla="*/ 22 h 30"/>
                    <a:gd name="T94" fmla="*/ 4 w 42"/>
                    <a:gd name="T95" fmla="*/ 22 h 30"/>
                    <a:gd name="T96" fmla="*/ 4 w 42"/>
                    <a:gd name="T97" fmla="*/ 18 h 30"/>
                    <a:gd name="T98" fmla="*/ 4 w 42"/>
                    <a:gd name="T99" fmla="*/ 18 h 30"/>
                    <a:gd name="T100" fmla="*/ 8 w 42"/>
                    <a:gd name="T101" fmla="*/ 30 h 30"/>
                    <a:gd name="T102" fmla="*/ 4 w 42"/>
                    <a:gd name="T103" fmla="*/ 26 h 30"/>
                    <a:gd name="T104" fmla="*/ 8 w 42"/>
                    <a:gd name="T105" fmla="*/ 26 h 30"/>
                    <a:gd name="T106" fmla="*/ 8 w 42"/>
                    <a:gd name="T107" fmla="*/ 3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42" h="30">
                      <a:moveTo>
                        <a:pt x="12" y="16"/>
                      </a:moveTo>
                      <a:lnTo>
                        <a:pt x="12" y="16"/>
                      </a:lnTo>
                      <a:lnTo>
                        <a:pt x="12" y="16"/>
                      </a:lnTo>
                      <a:lnTo>
                        <a:pt x="8" y="18"/>
                      </a:lnTo>
                      <a:lnTo>
                        <a:pt x="8" y="16"/>
                      </a:lnTo>
                      <a:lnTo>
                        <a:pt x="12" y="16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2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4" y="16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12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4" y="8"/>
                      </a:lnTo>
                      <a:lnTo>
                        <a:pt x="4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20" y="4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4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4" y="0"/>
                      </a:lnTo>
                      <a:lnTo>
                        <a:pt x="34" y="0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42" y="0"/>
                      </a:lnTo>
                      <a:lnTo>
                        <a:pt x="42" y="0"/>
                      </a:lnTo>
                      <a:lnTo>
                        <a:pt x="42" y="0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38" y="8"/>
                      </a:lnTo>
                      <a:lnTo>
                        <a:pt x="38" y="8"/>
                      </a:lnTo>
                      <a:lnTo>
                        <a:pt x="38" y="12"/>
                      </a:lnTo>
                      <a:lnTo>
                        <a:pt x="38" y="12"/>
                      </a:lnTo>
                      <a:lnTo>
                        <a:pt x="38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2" y="16"/>
                      </a:lnTo>
                      <a:lnTo>
                        <a:pt x="42" y="18"/>
                      </a:lnTo>
                      <a:lnTo>
                        <a:pt x="42" y="18"/>
                      </a:lnTo>
                      <a:lnTo>
                        <a:pt x="38" y="18"/>
                      </a:lnTo>
                      <a:lnTo>
                        <a:pt x="38" y="18"/>
                      </a:lnTo>
                      <a:lnTo>
                        <a:pt x="38" y="18"/>
                      </a:lnTo>
                      <a:lnTo>
                        <a:pt x="34" y="18"/>
                      </a:lnTo>
                      <a:lnTo>
                        <a:pt x="34" y="18"/>
                      </a:lnTo>
                      <a:lnTo>
                        <a:pt x="34" y="18"/>
                      </a:lnTo>
                      <a:lnTo>
                        <a:pt x="34" y="18"/>
                      </a:lnTo>
                      <a:lnTo>
                        <a:pt x="30" y="18"/>
                      </a:lnTo>
                      <a:lnTo>
                        <a:pt x="30" y="18"/>
                      </a:lnTo>
                      <a:lnTo>
                        <a:pt x="30" y="22"/>
                      </a:lnTo>
                      <a:lnTo>
                        <a:pt x="30" y="22"/>
                      </a:lnTo>
                      <a:lnTo>
                        <a:pt x="30" y="22"/>
                      </a:lnTo>
                      <a:lnTo>
                        <a:pt x="30" y="22"/>
                      </a:lnTo>
                      <a:lnTo>
                        <a:pt x="26" y="22"/>
                      </a:lnTo>
                      <a:lnTo>
                        <a:pt x="26" y="22"/>
                      </a:lnTo>
                      <a:lnTo>
                        <a:pt x="26" y="22"/>
                      </a:lnTo>
                      <a:lnTo>
                        <a:pt x="26" y="22"/>
                      </a:lnTo>
                      <a:lnTo>
                        <a:pt x="26" y="22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4" y="30"/>
                      </a:lnTo>
                      <a:lnTo>
                        <a:pt x="24" y="30"/>
                      </a:lnTo>
                      <a:lnTo>
                        <a:pt x="24" y="30"/>
                      </a:lnTo>
                      <a:lnTo>
                        <a:pt x="24" y="30"/>
                      </a:lnTo>
                      <a:lnTo>
                        <a:pt x="24" y="30"/>
                      </a:lnTo>
                      <a:lnTo>
                        <a:pt x="24" y="30"/>
                      </a:lnTo>
                      <a:lnTo>
                        <a:pt x="24" y="30"/>
                      </a:lnTo>
                      <a:lnTo>
                        <a:pt x="24" y="30"/>
                      </a:lnTo>
                      <a:lnTo>
                        <a:pt x="24" y="26"/>
                      </a:lnTo>
                      <a:lnTo>
                        <a:pt x="24" y="26"/>
                      </a:lnTo>
                      <a:lnTo>
                        <a:pt x="24" y="26"/>
                      </a:lnTo>
                      <a:lnTo>
                        <a:pt x="24" y="26"/>
                      </a:lnTo>
                      <a:lnTo>
                        <a:pt x="24" y="30"/>
                      </a:lnTo>
                      <a:lnTo>
                        <a:pt x="20" y="30"/>
                      </a:lnTo>
                      <a:lnTo>
                        <a:pt x="20" y="30"/>
                      </a:lnTo>
                      <a:lnTo>
                        <a:pt x="20" y="30"/>
                      </a:lnTo>
                      <a:lnTo>
                        <a:pt x="20" y="30"/>
                      </a:lnTo>
                      <a:lnTo>
                        <a:pt x="20" y="30"/>
                      </a:lnTo>
                      <a:lnTo>
                        <a:pt x="20" y="30"/>
                      </a:lnTo>
                      <a:lnTo>
                        <a:pt x="20" y="30"/>
                      </a:lnTo>
                      <a:lnTo>
                        <a:pt x="20" y="26"/>
                      </a:lnTo>
                      <a:lnTo>
                        <a:pt x="20" y="26"/>
                      </a:lnTo>
                      <a:lnTo>
                        <a:pt x="20" y="26"/>
                      </a:lnTo>
                      <a:lnTo>
                        <a:pt x="20" y="26"/>
                      </a:lnTo>
                      <a:lnTo>
                        <a:pt x="20" y="26"/>
                      </a:lnTo>
                      <a:lnTo>
                        <a:pt x="20" y="26"/>
                      </a:lnTo>
                      <a:lnTo>
                        <a:pt x="20" y="26"/>
                      </a:lnTo>
                      <a:lnTo>
                        <a:pt x="20" y="26"/>
                      </a:lnTo>
                      <a:lnTo>
                        <a:pt x="20" y="26"/>
                      </a:lnTo>
                      <a:lnTo>
                        <a:pt x="20" y="26"/>
                      </a:lnTo>
                      <a:lnTo>
                        <a:pt x="16" y="26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4" y="18"/>
                      </a:lnTo>
                      <a:lnTo>
                        <a:pt x="24" y="18"/>
                      </a:lnTo>
                      <a:lnTo>
                        <a:pt x="24" y="18"/>
                      </a:lnTo>
                      <a:lnTo>
                        <a:pt x="24" y="18"/>
                      </a:lnTo>
                      <a:lnTo>
                        <a:pt x="24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6"/>
                      </a:lnTo>
                      <a:lnTo>
                        <a:pt x="16" y="16"/>
                      </a:lnTo>
                      <a:lnTo>
                        <a:pt x="16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8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2"/>
                      </a:lnTo>
                      <a:lnTo>
                        <a:pt x="24" y="12"/>
                      </a:lnTo>
                      <a:lnTo>
                        <a:pt x="24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16" y="16"/>
                      </a:lnTo>
                      <a:lnTo>
                        <a:pt x="16" y="16"/>
                      </a:lnTo>
                      <a:lnTo>
                        <a:pt x="16" y="16"/>
                      </a:lnTo>
                      <a:lnTo>
                        <a:pt x="16" y="16"/>
                      </a:lnTo>
                      <a:lnTo>
                        <a:pt x="16" y="16"/>
                      </a:lnTo>
                      <a:lnTo>
                        <a:pt x="12" y="16"/>
                      </a:lnTo>
                      <a:lnTo>
                        <a:pt x="12" y="16"/>
                      </a:lnTo>
                      <a:lnTo>
                        <a:pt x="12" y="16"/>
                      </a:lnTo>
                      <a:close/>
                      <a:moveTo>
                        <a:pt x="12" y="26"/>
                      </a:move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6" y="26"/>
                      </a:lnTo>
                      <a:lnTo>
                        <a:pt x="16" y="26"/>
                      </a:lnTo>
                      <a:lnTo>
                        <a:pt x="16" y="26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2" y="26"/>
                      </a:lnTo>
                      <a:close/>
                      <a:moveTo>
                        <a:pt x="8" y="16"/>
                      </a:move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close/>
                      <a:moveTo>
                        <a:pt x="16" y="18"/>
                      </a:moveTo>
                      <a:lnTo>
                        <a:pt x="16" y="18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close/>
                      <a:moveTo>
                        <a:pt x="8" y="22"/>
                      </a:moveTo>
                      <a:lnTo>
                        <a:pt x="8" y="22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12" y="18"/>
                      </a:lnTo>
                      <a:lnTo>
                        <a:pt x="12" y="18"/>
                      </a:lnTo>
                      <a:lnTo>
                        <a:pt x="12" y="18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close/>
                      <a:moveTo>
                        <a:pt x="4" y="22"/>
                      </a:move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close/>
                      <a:moveTo>
                        <a:pt x="8" y="30"/>
                      </a:move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04" name="Freeform 150"/>
                <p:cNvSpPr>
                  <a:spLocks noEditPoints="1"/>
                </p:cNvSpPr>
                <p:nvPr/>
              </p:nvSpPr>
              <p:spPr bwMode="auto">
                <a:xfrm>
                  <a:off x="5156200" y="4432368"/>
                  <a:ext cx="177800" cy="254000"/>
                </a:xfrm>
                <a:custGeom>
                  <a:avLst/>
                  <a:gdLst>
                    <a:gd name="T0" fmla="*/ 0 w 112"/>
                    <a:gd name="T1" fmla="*/ 82 h 160"/>
                    <a:gd name="T2" fmla="*/ 0 w 112"/>
                    <a:gd name="T3" fmla="*/ 78 h 160"/>
                    <a:gd name="T4" fmla="*/ 4 w 112"/>
                    <a:gd name="T5" fmla="*/ 72 h 160"/>
                    <a:gd name="T6" fmla="*/ 8 w 112"/>
                    <a:gd name="T7" fmla="*/ 64 h 160"/>
                    <a:gd name="T8" fmla="*/ 12 w 112"/>
                    <a:gd name="T9" fmla="*/ 60 h 160"/>
                    <a:gd name="T10" fmla="*/ 12 w 112"/>
                    <a:gd name="T11" fmla="*/ 56 h 160"/>
                    <a:gd name="T12" fmla="*/ 12 w 112"/>
                    <a:gd name="T13" fmla="*/ 56 h 160"/>
                    <a:gd name="T14" fmla="*/ 16 w 112"/>
                    <a:gd name="T15" fmla="*/ 52 h 160"/>
                    <a:gd name="T16" fmla="*/ 12 w 112"/>
                    <a:gd name="T17" fmla="*/ 42 h 160"/>
                    <a:gd name="T18" fmla="*/ 12 w 112"/>
                    <a:gd name="T19" fmla="*/ 34 h 160"/>
                    <a:gd name="T20" fmla="*/ 8 w 112"/>
                    <a:gd name="T21" fmla="*/ 30 h 160"/>
                    <a:gd name="T22" fmla="*/ 8 w 112"/>
                    <a:gd name="T23" fmla="*/ 22 h 160"/>
                    <a:gd name="T24" fmla="*/ 4 w 112"/>
                    <a:gd name="T25" fmla="*/ 16 h 160"/>
                    <a:gd name="T26" fmla="*/ 0 w 112"/>
                    <a:gd name="T27" fmla="*/ 8 h 160"/>
                    <a:gd name="T28" fmla="*/ 8 w 112"/>
                    <a:gd name="T29" fmla="*/ 0 h 160"/>
                    <a:gd name="T30" fmla="*/ 16 w 112"/>
                    <a:gd name="T31" fmla="*/ 0 h 160"/>
                    <a:gd name="T32" fmla="*/ 22 w 112"/>
                    <a:gd name="T33" fmla="*/ 0 h 160"/>
                    <a:gd name="T34" fmla="*/ 26 w 112"/>
                    <a:gd name="T35" fmla="*/ 0 h 160"/>
                    <a:gd name="T36" fmla="*/ 38 w 112"/>
                    <a:gd name="T37" fmla="*/ 4 h 160"/>
                    <a:gd name="T38" fmla="*/ 46 w 112"/>
                    <a:gd name="T39" fmla="*/ 8 h 160"/>
                    <a:gd name="T40" fmla="*/ 60 w 112"/>
                    <a:gd name="T41" fmla="*/ 20 h 160"/>
                    <a:gd name="T42" fmla="*/ 72 w 112"/>
                    <a:gd name="T43" fmla="*/ 20 h 160"/>
                    <a:gd name="T44" fmla="*/ 74 w 112"/>
                    <a:gd name="T45" fmla="*/ 22 h 160"/>
                    <a:gd name="T46" fmla="*/ 78 w 112"/>
                    <a:gd name="T47" fmla="*/ 22 h 160"/>
                    <a:gd name="T48" fmla="*/ 82 w 112"/>
                    <a:gd name="T49" fmla="*/ 20 h 160"/>
                    <a:gd name="T50" fmla="*/ 94 w 112"/>
                    <a:gd name="T51" fmla="*/ 8 h 160"/>
                    <a:gd name="T52" fmla="*/ 100 w 112"/>
                    <a:gd name="T53" fmla="*/ 12 h 160"/>
                    <a:gd name="T54" fmla="*/ 104 w 112"/>
                    <a:gd name="T55" fmla="*/ 12 h 160"/>
                    <a:gd name="T56" fmla="*/ 112 w 112"/>
                    <a:gd name="T57" fmla="*/ 12 h 160"/>
                    <a:gd name="T58" fmla="*/ 112 w 112"/>
                    <a:gd name="T59" fmla="*/ 16 h 160"/>
                    <a:gd name="T60" fmla="*/ 100 w 112"/>
                    <a:gd name="T61" fmla="*/ 56 h 160"/>
                    <a:gd name="T62" fmla="*/ 108 w 112"/>
                    <a:gd name="T63" fmla="*/ 108 h 160"/>
                    <a:gd name="T64" fmla="*/ 104 w 112"/>
                    <a:gd name="T65" fmla="*/ 112 h 160"/>
                    <a:gd name="T66" fmla="*/ 98 w 112"/>
                    <a:gd name="T67" fmla="*/ 116 h 160"/>
                    <a:gd name="T68" fmla="*/ 98 w 112"/>
                    <a:gd name="T69" fmla="*/ 120 h 160"/>
                    <a:gd name="T70" fmla="*/ 98 w 112"/>
                    <a:gd name="T71" fmla="*/ 120 h 160"/>
                    <a:gd name="T72" fmla="*/ 94 w 112"/>
                    <a:gd name="T73" fmla="*/ 124 h 160"/>
                    <a:gd name="T74" fmla="*/ 90 w 112"/>
                    <a:gd name="T75" fmla="*/ 124 h 160"/>
                    <a:gd name="T76" fmla="*/ 86 w 112"/>
                    <a:gd name="T77" fmla="*/ 130 h 160"/>
                    <a:gd name="T78" fmla="*/ 86 w 112"/>
                    <a:gd name="T79" fmla="*/ 138 h 160"/>
                    <a:gd name="T80" fmla="*/ 82 w 112"/>
                    <a:gd name="T81" fmla="*/ 142 h 160"/>
                    <a:gd name="T82" fmla="*/ 82 w 112"/>
                    <a:gd name="T83" fmla="*/ 144 h 160"/>
                    <a:gd name="T84" fmla="*/ 74 w 112"/>
                    <a:gd name="T85" fmla="*/ 160 h 160"/>
                    <a:gd name="T86" fmla="*/ 68 w 112"/>
                    <a:gd name="T87" fmla="*/ 152 h 160"/>
                    <a:gd name="T88" fmla="*/ 52 w 112"/>
                    <a:gd name="T89" fmla="*/ 142 h 160"/>
                    <a:gd name="T90" fmla="*/ 52 w 112"/>
                    <a:gd name="T91" fmla="*/ 138 h 160"/>
                    <a:gd name="T92" fmla="*/ 52 w 112"/>
                    <a:gd name="T93" fmla="*/ 134 h 160"/>
                    <a:gd name="T94" fmla="*/ 46 w 112"/>
                    <a:gd name="T95" fmla="*/ 128 h 160"/>
                    <a:gd name="T96" fmla="*/ 30 w 112"/>
                    <a:gd name="T97" fmla="*/ 116 h 160"/>
                    <a:gd name="T98" fmla="*/ 8 w 112"/>
                    <a:gd name="T99" fmla="*/ 102 h 160"/>
                    <a:gd name="T100" fmla="*/ 0 w 112"/>
                    <a:gd name="T101" fmla="*/ 98 h 160"/>
                    <a:gd name="T102" fmla="*/ 100 w 112"/>
                    <a:gd name="T103" fmla="*/ 116 h 160"/>
                    <a:gd name="T104" fmla="*/ 100 w 112"/>
                    <a:gd name="T105" fmla="*/ 116 h 160"/>
                    <a:gd name="T106" fmla="*/ 100 w 112"/>
                    <a:gd name="T107" fmla="*/ 120 h 1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12" h="160">
                      <a:moveTo>
                        <a:pt x="0" y="98"/>
                      </a:moveTo>
                      <a:lnTo>
                        <a:pt x="0" y="98"/>
                      </a:lnTo>
                      <a:lnTo>
                        <a:pt x="0" y="90"/>
                      </a:lnTo>
                      <a:lnTo>
                        <a:pt x="0" y="86"/>
                      </a:lnTo>
                      <a:lnTo>
                        <a:pt x="0" y="82"/>
                      </a:lnTo>
                      <a:lnTo>
                        <a:pt x="0" y="82"/>
                      </a:lnTo>
                      <a:lnTo>
                        <a:pt x="0" y="82"/>
                      </a:lnTo>
                      <a:lnTo>
                        <a:pt x="0" y="78"/>
                      </a:lnTo>
                      <a:lnTo>
                        <a:pt x="0" y="78"/>
                      </a:lnTo>
                      <a:lnTo>
                        <a:pt x="0" y="78"/>
                      </a:lnTo>
                      <a:lnTo>
                        <a:pt x="0" y="78"/>
                      </a:lnTo>
                      <a:lnTo>
                        <a:pt x="0" y="78"/>
                      </a:lnTo>
                      <a:lnTo>
                        <a:pt x="0" y="76"/>
                      </a:lnTo>
                      <a:lnTo>
                        <a:pt x="0" y="76"/>
                      </a:lnTo>
                      <a:lnTo>
                        <a:pt x="4" y="72"/>
                      </a:lnTo>
                      <a:lnTo>
                        <a:pt x="4" y="72"/>
                      </a:lnTo>
                      <a:lnTo>
                        <a:pt x="4" y="72"/>
                      </a:lnTo>
                      <a:lnTo>
                        <a:pt x="4" y="72"/>
                      </a:lnTo>
                      <a:lnTo>
                        <a:pt x="8" y="68"/>
                      </a:lnTo>
                      <a:lnTo>
                        <a:pt x="8" y="68"/>
                      </a:lnTo>
                      <a:lnTo>
                        <a:pt x="8" y="64"/>
                      </a:lnTo>
                      <a:lnTo>
                        <a:pt x="8" y="64"/>
                      </a:lnTo>
                      <a:lnTo>
                        <a:pt x="8" y="64"/>
                      </a:lnTo>
                      <a:lnTo>
                        <a:pt x="8" y="64"/>
                      </a:lnTo>
                      <a:lnTo>
                        <a:pt x="8" y="64"/>
                      </a:lnTo>
                      <a:lnTo>
                        <a:pt x="8" y="60"/>
                      </a:lnTo>
                      <a:lnTo>
                        <a:pt x="8" y="60"/>
                      </a:lnTo>
                      <a:lnTo>
                        <a:pt x="8" y="60"/>
                      </a:lnTo>
                      <a:lnTo>
                        <a:pt x="12" y="60"/>
                      </a:lnTo>
                      <a:lnTo>
                        <a:pt x="12" y="60"/>
                      </a:lnTo>
                      <a:lnTo>
                        <a:pt x="12" y="60"/>
                      </a:lnTo>
                      <a:lnTo>
                        <a:pt x="12" y="60"/>
                      </a:lnTo>
                      <a:lnTo>
                        <a:pt x="12" y="60"/>
                      </a:lnTo>
                      <a:lnTo>
                        <a:pt x="12" y="60"/>
                      </a:lnTo>
                      <a:lnTo>
                        <a:pt x="12" y="60"/>
                      </a:lnTo>
                      <a:lnTo>
                        <a:pt x="12" y="56"/>
                      </a:lnTo>
                      <a:lnTo>
                        <a:pt x="12" y="56"/>
                      </a:lnTo>
                      <a:lnTo>
                        <a:pt x="12" y="56"/>
                      </a:lnTo>
                      <a:lnTo>
                        <a:pt x="12" y="56"/>
                      </a:lnTo>
                      <a:lnTo>
                        <a:pt x="12" y="56"/>
                      </a:lnTo>
                      <a:lnTo>
                        <a:pt x="12" y="56"/>
                      </a:lnTo>
                      <a:lnTo>
                        <a:pt x="12" y="56"/>
                      </a:lnTo>
                      <a:lnTo>
                        <a:pt x="12" y="52"/>
                      </a:lnTo>
                      <a:lnTo>
                        <a:pt x="12" y="52"/>
                      </a:lnTo>
                      <a:lnTo>
                        <a:pt x="16" y="52"/>
                      </a:lnTo>
                      <a:lnTo>
                        <a:pt x="16" y="52"/>
                      </a:lnTo>
                      <a:lnTo>
                        <a:pt x="16" y="52"/>
                      </a:lnTo>
                      <a:lnTo>
                        <a:pt x="16" y="52"/>
                      </a:lnTo>
                      <a:lnTo>
                        <a:pt x="16" y="48"/>
                      </a:lnTo>
                      <a:lnTo>
                        <a:pt x="16" y="46"/>
                      </a:lnTo>
                      <a:lnTo>
                        <a:pt x="16" y="42"/>
                      </a:lnTo>
                      <a:lnTo>
                        <a:pt x="16" y="42"/>
                      </a:lnTo>
                      <a:lnTo>
                        <a:pt x="12" y="42"/>
                      </a:lnTo>
                      <a:lnTo>
                        <a:pt x="12" y="42"/>
                      </a:lnTo>
                      <a:lnTo>
                        <a:pt x="12" y="38"/>
                      </a:lnTo>
                      <a:lnTo>
                        <a:pt x="12" y="38"/>
                      </a:lnTo>
                      <a:lnTo>
                        <a:pt x="12" y="38"/>
                      </a:lnTo>
                      <a:lnTo>
                        <a:pt x="12" y="34"/>
                      </a:lnTo>
                      <a:lnTo>
                        <a:pt x="12" y="34"/>
                      </a:lnTo>
                      <a:lnTo>
                        <a:pt x="12" y="34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2"/>
                      </a:lnTo>
                      <a:lnTo>
                        <a:pt x="0" y="12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4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8" y="4"/>
                      </a:lnTo>
                      <a:lnTo>
                        <a:pt x="38" y="4"/>
                      </a:lnTo>
                      <a:lnTo>
                        <a:pt x="38" y="4"/>
                      </a:lnTo>
                      <a:lnTo>
                        <a:pt x="42" y="4"/>
                      </a:lnTo>
                      <a:lnTo>
                        <a:pt x="46" y="4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56" y="16"/>
                      </a:lnTo>
                      <a:lnTo>
                        <a:pt x="56" y="20"/>
                      </a:lnTo>
                      <a:lnTo>
                        <a:pt x="56" y="20"/>
                      </a:lnTo>
                      <a:lnTo>
                        <a:pt x="60" y="20"/>
                      </a:lnTo>
                      <a:lnTo>
                        <a:pt x="60" y="20"/>
                      </a:lnTo>
                      <a:lnTo>
                        <a:pt x="64" y="20"/>
                      </a:lnTo>
                      <a:lnTo>
                        <a:pt x="64" y="20"/>
                      </a:lnTo>
                      <a:lnTo>
                        <a:pt x="68" y="20"/>
                      </a:lnTo>
                      <a:lnTo>
                        <a:pt x="68" y="20"/>
                      </a:lnTo>
                      <a:lnTo>
                        <a:pt x="68" y="20"/>
                      </a:lnTo>
                      <a:lnTo>
                        <a:pt x="72" y="20"/>
                      </a:lnTo>
                      <a:lnTo>
                        <a:pt x="72" y="20"/>
                      </a:lnTo>
                      <a:lnTo>
                        <a:pt x="72" y="20"/>
                      </a:lnTo>
                      <a:lnTo>
                        <a:pt x="72" y="20"/>
                      </a:lnTo>
                      <a:lnTo>
                        <a:pt x="72" y="20"/>
                      </a:lnTo>
                      <a:lnTo>
                        <a:pt x="74" y="22"/>
                      </a:lnTo>
                      <a:lnTo>
                        <a:pt x="74" y="22"/>
                      </a:lnTo>
                      <a:lnTo>
                        <a:pt x="74" y="22"/>
                      </a:lnTo>
                      <a:lnTo>
                        <a:pt x="74" y="22"/>
                      </a:lnTo>
                      <a:lnTo>
                        <a:pt x="74" y="20"/>
                      </a:lnTo>
                      <a:lnTo>
                        <a:pt x="74" y="22"/>
                      </a:lnTo>
                      <a:lnTo>
                        <a:pt x="78" y="22"/>
                      </a:lnTo>
                      <a:lnTo>
                        <a:pt x="78" y="22"/>
                      </a:lnTo>
                      <a:lnTo>
                        <a:pt x="78" y="22"/>
                      </a:lnTo>
                      <a:lnTo>
                        <a:pt x="78" y="22"/>
                      </a:lnTo>
                      <a:lnTo>
                        <a:pt x="78" y="22"/>
                      </a:lnTo>
                      <a:lnTo>
                        <a:pt x="78" y="22"/>
                      </a:lnTo>
                      <a:lnTo>
                        <a:pt x="78" y="20"/>
                      </a:lnTo>
                      <a:lnTo>
                        <a:pt x="82" y="20"/>
                      </a:lnTo>
                      <a:lnTo>
                        <a:pt x="82" y="16"/>
                      </a:lnTo>
                      <a:lnTo>
                        <a:pt x="86" y="12"/>
                      </a:lnTo>
                      <a:lnTo>
                        <a:pt x="86" y="12"/>
                      </a:lnTo>
                      <a:lnTo>
                        <a:pt x="90" y="12"/>
                      </a:lnTo>
                      <a:lnTo>
                        <a:pt x="90" y="12"/>
                      </a:lnTo>
                      <a:lnTo>
                        <a:pt x="94" y="8"/>
                      </a:lnTo>
                      <a:lnTo>
                        <a:pt x="98" y="8"/>
                      </a:lnTo>
                      <a:lnTo>
                        <a:pt x="98" y="8"/>
                      </a:lnTo>
                      <a:lnTo>
                        <a:pt x="98" y="8"/>
                      </a:lnTo>
                      <a:lnTo>
                        <a:pt x="100" y="12"/>
                      </a:lnTo>
                      <a:lnTo>
                        <a:pt x="100" y="12"/>
                      </a:lnTo>
                      <a:lnTo>
                        <a:pt x="100" y="12"/>
                      </a:lnTo>
                      <a:lnTo>
                        <a:pt x="100" y="12"/>
                      </a:lnTo>
                      <a:lnTo>
                        <a:pt x="100" y="12"/>
                      </a:lnTo>
                      <a:lnTo>
                        <a:pt x="100" y="12"/>
                      </a:lnTo>
                      <a:lnTo>
                        <a:pt x="100" y="12"/>
                      </a:lnTo>
                      <a:lnTo>
                        <a:pt x="100" y="12"/>
                      </a:lnTo>
                      <a:lnTo>
                        <a:pt x="104" y="12"/>
                      </a:lnTo>
                      <a:lnTo>
                        <a:pt x="104" y="12"/>
                      </a:lnTo>
                      <a:lnTo>
                        <a:pt x="104" y="12"/>
                      </a:lnTo>
                      <a:lnTo>
                        <a:pt x="108" y="12"/>
                      </a:lnTo>
                      <a:lnTo>
                        <a:pt x="108" y="12"/>
                      </a:lnTo>
                      <a:lnTo>
                        <a:pt x="108" y="12"/>
                      </a:lnTo>
                      <a:lnTo>
                        <a:pt x="112" y="12"/>
                      </a:lnTo>
                      <a:lnTo>
                        <a:pt x="112" y="12"/>
                      </a:lnTo>
                      <a:lnTo>
                        <a:pt x="112" y="12"/>
                      </a:lnTo>
                      <a:lnTo>
                        <a:pt x="112" y="12"/>
                      </a:lnTo>
                      <a:lnTo>
                        <a:pt x="112" y="12"/>
                      </a:lnTo>
                      <a:lnTo>
                        <a:pt x="112" y="12"/>
                      </a:lnTo>
                      <a:lnTo>
                        <a:pt x="112" y="16"/>
                      </a:lnTo>
                      <a:lnTo>
                        <a:pt x="104" y="26"/>
                      </a:lnTo>
                      <a:lnTo>
                        <a:pt x="104" y="26"/>
                      </a:lnTo>
                      <a:lnTo>
                        <a:pt x="100" y="34"/>
                      </a:lnTo>
                      <a:lnTo>
                        <a:pt x="100" y="34"/>
                      </a:lnTo>
                      <a:lnTo>
                        <a:pt x="100" y="42"/>
                      </a:lnTo>
                      <a:lnTo>
                        <a:pt x="100" y="56"/>
                      </a:lnTo>
                      <a:lnTo>
                        <a:pt x="100" y="78"/>
                      </a:lnTo>
                      <a:lnTo>
                        <a:pt x="100" y="94"/>
                      </a:lnTo>
                      <a:lnTo>
                        <a:pt x="100" y="98"/>
                      </a:lnTo>
                      <a:lnTo>
                        <a:pt x="104" y="104"/>
                      </a:lnTo>
                      <a:lnTo>
                        <a:pt x="108" y="108"/>
                      </a:lnTo>
                      <a:lnTo>
                        <a:pt x="108" y="108"/>
                      </a:lnTo>
                      <a:lnTo>
                        <a:pt x="108" y="108"/>
                      </a:lnTo>
                      <a:lnTo>
                        <a:pt x="104" y="112"/>
                      </a:lnTo>
                      <a:lnTo>
                        <a:pt x="104" y="112"/>
                      </a:lnTo>
                      <a:lnTo>
                        <a:pt x="104" y="112"/>
                      </a:lnTo>
                      <a:lnTo>
                        <a:pt x="104" y="112"/>
                      </a:lnTo>
                      <a:lnTo>
                        <a:pt x="104" y="112"/>
                      </a:lnTo>
                      <a:lnTo>
                        <a:pt x="104" y="112"/>
                      </a:lnTo>
                      <a:lnTo>
                        <a:pt x="104" y="116"/>
                      </a:lnTo>
                      <a:lnTo>
                        <a:pt x="100" y="116"/>
                      </a:lnTo>
                      <a:lnTo>
                        <a:pt x="100" y="116"/>
                      </a:lnTo>
                      <a:lnTo>
                        <a:pt x="100" y="116"/>
                      </a:lnTo>
                      <a:lnTo>
                        <a:pt x="98" y="116"/>
                      </a:lnTo>
                      <a:lnTo>
                        <a:pt x="98" y="116"/>
                      </a:lnTo>
                      <a:lnTo>
                        <a:pt x="98" y="120"/>
                      </a:lnTo>
                      <a:lnTo>
                        <a:pt x="98" y="120"/>
                      </a:lnTo>
                      <a:lnTo>
                        <a:pt x="100" y="120"/>
                      </a:lnTo>
                      <a:lnTo>
                        <a:pt x="98" y="120"/>
                      </a:lnTo>
                      <a:lnTo>
                        <a:pt x="98" y="120"/>
                      </a:lnTo>
                      <a:lnTo>
                        <a:pt x="98" y="120"/>
                      </a:lnTo>
                      <a:lnTo>
                        <a:pt x="98" y="120"/>
                      </a:lnTo>
                      <a:lnTo>
                        <a:pt x="98" y="120"/>
                      </a:lnTo>
                      <a:lnTo>
                        <a:pt x="98" y="120"/>
                      </a:lnTo>
                      <a:lnTo>
                        <a:pt x="98" y="120"/>
                      </a:lnTo>
                      <a:lnTo>
                        <a:pt x="98" y="120"/>
                      </a:lnTo>
                      <a:lnTo>
                        <a:pt x="98" y="120"/>
                      </a:lnTo>
                      <a:lnTo>
                        <a:pt x="98" y="120"/>
                      </a:lnTo>
                      <a:lnTo>
                        <a:pt x="98" y="120"/>
                      </a:lnTo>
                      <a:lnTo>
                        <a:pt x="94" y="124"/>
                      </a:lnTo>
                      <a:lnTo>
                        <a:pt x="94" y="124"/>
                      </a:lnTo>
                      <a:lnTo>
                        <a:pt x="94" y="124"/>
                      </a:lnTo>
                      <a:lnTo>
                        <a:pt x="94" y="124"/>
                      </a:lnTo>
                      <a:lnTo>
                        <a:pt x="94" y="124"/>
                      </a:lnTo>
                      <a:lnTo>
                        <a:pt x="90" y="124"/>
                      </a:lnTo>
                      <a:lnTo>
                        <a:pt x="90" y="124"/>
                      </a:lnTo>
                      <a:lnTo>
                        <a:pt x="90" y="124"/>
                      </a:lnTo>
                      <a:lnTo>
                        <a:pt x="90" y="124"/>
                      </a:lnTo>
                      <a:lnTo>
                        <a:pt x="90" y="128"/>
                      </a:lnTo>
                      <a:lnTo>
                        <a:pt x="90" y="128"/>
                      </a:lnTo>
                      <a:lnTo>
                        <a:pt x="90" y="128"/>
                      </a:lnTo>
                      <a:lnTo>
                        <a:pt x="86" y="128"/>
                      </a:lnTo>
                      <a:lnTo>
                        <a:pt x="86" y="130"/>
                      </a:lnTo>
                      <a:lnTo>
                        <a:pt x="86" y="130"/>
                      </a:lnTo>
                      <a:lnTo>
                        <a:pt x="86" y="130"/>
                      </a:lnTo>
                      <a:lnTo>
                        <a:pt x="86" y="134"/>
                      </a:lnTo>
                      <a:lnTo>
                        <a:pt x="86" y="134"/>
                      </a:lnTo>
                      <a:lnTo>
                        <a:pt x="86" y="134"/>
                      </a:lnTo>
                      <a:lnTo>
                        <a:pt x="86" y="134"/>
                      </a:lnTo>
                      <a:lnTo>
                        <a:pt x="86" y="138"/>
                      </a:lnTo>
                      <a:lnTo>
                        <a:pt x="86" y="138"/>
                      </a:lnTo>
                      <a:lnTo>
                        <a:pt x="86" y="138"/>
                      </a:lnTo>
                      <a:lnTo>
                        <a:pt x="86" y="138"/>
                      </a:lnTo>
                      <a:lnTo>
                        <a:pt x="86" y="138"/>
                      </a:lnTo>
                      <a:lnTo>
                        <a:pt x="82" y="142"/>
                      </a:lnTo>
                      <a:lnTo>
                        <a:pt x="82" y="142"/>
                      </a:lnTo>
                      <a:lnTo>
                        <a:pt x="82" y="142"/>
                      </a:lnTo>
                      <a:lnTo>
                        <a:pt x="82" y="142"/>
                      </a:lnTo>
                      <a:lnTo>
                        <a:pt x="82" y="144"/>
                      </a:lnTo>
                      <a:lnTo>
                        <a:pt x="82" y="144"/>
                      </a:lnTo>
                      <a:lnTo>
                        <a:pt x="82" y="144"/>
                      </a:lnTo>
                      <a:lnTo>
                        <a:pt x="82" y="144"/>
                      </a:lnTo>
                      <a:lnTo>
                        <a:pt x="82" y="148"/>
                      </a:lnTo>
                      <a:lnTo>
                        <a:pt x="82" y="148"/>
                      </a:lnTo>
                      <a:lnTo>
                        <a:pt x="82" y="148"/>
                      </a:lnTo>
                      <a:lnTo>
                        <a:pt x="78" y="156"/>
                      </a:lnTo>
                      <a:lnTo>
                        <a:pt x="78" y="160"/>
                      </a:lnTo>
                      <a:lnTo>
                        <a:pt x="74" y="160"/>
                      </a:lnTo>
                      <a:lnTo>
                        <a:pt x="74" y="160"/>
                      </a:lnTo>
                      <a:lnTo>
                        <a:pt x="74" y="160"/>
                      </a:lnTo>
                      <a:lnTo>
                        <a:pt x="74" y="160"/>
                      </a:lnTo>
                      <a:lnTo>
                        <a:pt x="74" y="160"/>
                      </a:lnTo>
                      <a:lnTo>
                        <a:pt x="72" y="156"/>
                      </a:lnTo>
                      <a:lnTo>
                        <a:pt x="68" y="152"/>
                      </a:lnTo>
                      <a:lnTo>
                        <a:pt x="68" y="152"/>
                      </a:lnTo>
                      <a:lnTo>
                        <a:pt x="64" y="152"/>
                      </a:lnTo>
                      <a:lnTo>
                        <a:pt x="64" y="148"/>
                      </a:lnTo>
                      <a:lnTo>
                        <a:pt x="56" y="142"/>
                      </a:lnTo>
                      <a:lnTo>
                        <a:pt x="52" y="142"/>
                      </a:lnTo>
                      <a:lnTo>
                        <a:pt x="52" y="142"/>
                      </a:lnTo>
                      <a:lnTo>
                        <a:pt x="52" y="142"/>
                      </a:lnTo>
                      <a:lnTo>
                        <a:pt x="52" y="142"/>
                      </a:lnTo>
                      <a:lnTo>
                        <a:pt x="52" y="142"/>
                      </a:lnTo>
                      <a:lnTo>
                        <a:pt x="52" y="142"/>
                      </a:lnTo>
                      <a:lnTo>
                        <a:pt x="52" y="142"/>
                      </a:lnTo>
                      <a:lnTo>
                        <a:pt x="52" y="138"/>
                      </a:lnTo>
                      <a:lnTo>
                        <a:pt x="52" y="138"/>
                      </a:lnTo>
                      <a:lnTo>
                        <a:pt x="52" y="138"/>
                      </a:lnTo>
                      <a:lnTo>
                        <a:pt x="52" y="138"/>
                      </a:lnTo>
                      <a:lnTo>
                        <a:pt x="52" y="138"/>
                      </a:lnTo>
                      <a:lnTo>
                        <a:pt x="52" y="134"/>
                      </a:lnTo>
                      <a:lnTo>
                        <a:pt x="52" y="134"/>
                      </a:lnTo>
                      <a:lnTo>
                        <a:pt x="52" y="130"/>
                      </a:lnTo>
                      <a:lnTo>
                        <a:pt x="52" y="130"/>
                      </a:lnTo>
                      <a:lnTo>
                        <a:pt x="48" y="130"/>
                      </a:lnTo>
                      <a:lnTo>
                        <a:pt x="48" y="130"/>
                      </a:lnTo>
                      <a:lnTo>
                        <a:pt x="48" y="130"/>
                      </a:lnTo>
                      <a:lnTo>
                        <a:pt x="46" y="128"/>
                      </a:lnTo>
                      <a:lnTo>
                        <a:pt x="46" y="128"/>
                      </a:lnTo>
                      <a:lnTo>
                        <a:pt x="46" y="128"/>
                      </a:lnTo>
                      <a:lnTo>
                        <a:pt x="38" y="124"/>
                      </a:lnTo>
                      <a:lnTo>
                        <a:pt x="34" y="120"/>
                      </a:lnTo>
                      <a:lnTo>
                        <a:pt x="30" y="120"/>
                      </a:lnTo>
                      <a:lnTo>
                        <a:pt x="30" y="116"/>
                      </a:lnTo>
                      <a:lnTo>
                        <a:pt x="26" y="116"/>
                      </a:lnTo>
                      <a:lnTo>
                        <a:pt x="22" y="112"/>
                      </a:lnTo>
                      <a:lnTo>
                        <a:pt x="20" y="108"/>
                      </a:lnTo>
                      <a:lnTo>
                        <a:pt x="12" y="104"/>
                      </a:lnTo>
                      <a:lnTo>
                        <a:pt x="8" y="102"/>
                      </a:lnTo>
                      <a:lnTo>
                        <a:pt x="8" y="102"/>
                      </a:lnTo>
                      <a:lnTo>
                        <a:pt x="0" y="98"/>
                      </a:lnTo>
                      <a:lnTo>
                        <a:pt x="0" y="98"/>
                      </a:lnTo>
                      <a:lnTo>
                        <a:pt x="0" y="98"/>
                      </a:lnTo>
                      <a:lnTo>
                        <a:pt x="0" y="98"/>
                      </a:lnTo>
                      <a:lnTo>
                        <a:pt x="0" y="98"/>
                      </a:lnTo>
                      <a:lnTo>
                        <a:pt x="0" y="98"/>
                      </a:lnTo>
                      <a:close/>
                      <a:moveTo>
                        <a:pt x="100" y="120"/>
                      </a:moveTo>
                      <a:lnTo>
                        <a:pt x="100" y="120"/>
                      </a:lnTo>
                      <a:lnTo>
                        <a:pt x="98" y="116"/>
                      </a:lnTo>
                      <a:lnTo>
                        <a:pt x="98" y="116"/>
                      </a:lnTo>
                      <a:lnTo>
                        <a:pt x="100" y="116"/>
                      </a:lnTo>
                      <a:lnTo>
                        <a:pt x="100" y="116"/>
                      </a:lnTo>
                      <a:lnTo>
                        <a:pt x="100" y="116"/>
                      </a:lnTo>
                      <a:lnTo>
                        <a:pt x="100" y="116"/>
                      </a:lnTo>
                      <a:lnTo>
                        <a:pt x="100" y="116"/>
                      </a:lnTo>
                      <a:lnTo>
                        <a:pt x="100" y="116"/>
                      </a:lnTo>
                      <a:lnTo>
                        <a:pt x="100" y="116"/>
                      </a:lnTo>
                      <a:lnTo>
                        <a:pt x="100" y="116"/>
                      </a:lnTo>
                      <a:lnTo>
                        <a:pt x="100" y="116"/>
                      </a:lnTo>
                      <a:lnTo>
                        <a:pt x="100" y="116"/>
                      </a:lnTo>
                      <a:lnTo>
                        <a:pt x="100" y="116"/>
                      </a:lnTo>
                      <a:lnTo>
                        <a:pt x="100" y="116"/>
                      </a:lnTo>
                      <a:lnTo>
                        <a:pt x="100" y="116"/>
                      </a:lnTo>
                      <a:lnTo>
                        <a:pt x="100" y="120"/>
                      </a:lnTo>
                      <a:lnTo>
                        <a:pt x="100" y="120"/>
                      </a:lnTo>
                      <a:lnTo>
                        <a:pt x="100" y="12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05" name="Freeform 151"/>
                <p:cNvSpPr>
                  <a:spLocks/>
                </p:cNvSpPr>
                <p:nvPr/>
              </p:nvSpPr>
              <p:spPr bwMode="auto">
                <a:xfrm>
                  <a:off x="5003800" y="5349943"/>
                  <a:ext cx="50800" cy="57150"/>
                </a:xfrm>
                <a:custGeom>
                  <a:avLst/>
                  <a:gdLst>
                    <a:gd name="T0" fmla="*/ 24 w 32"/>
                    <a:gd name="T1" fmla="*/ 26 h 36"/>
                    <a:gd name="T2" fmla="*/ 22 w 32"/>
                    <a:gd name="T3" fmla="*/ 30 h 36"/>
                    <a:gd name="T4" fmla="*/ 22 w 32"/>
                    <a:gd name="T5" fmla="*/ 30 h 36"/>
                    <a:gd name="T6" fmla="*/ 18 w 32"/>
                    <a:gd name="T7" fmla="*/ 30 h 36"/>
                    <a:gd name="T8" fmla="*/ 18 w 32"/>
                    <a:gd name="T9" fmla="*/ 30 h 36"/>
                    <a:gd name="T10" fmla="*/ 14 w 32"/>
                    <a:gd name="T11" fmla="*/ 34 h 36"/>
                    <a:gd name="T12" fmla="*/ 14 w 32"/>
                    <a:gd name="T13" fmla="*/ 36 h 36"/>
                    <a:gd name="T14" fmla="*/ 10 w 32"/>
                    <a:gd name="T15" fmla="*/ 36 h 36"/>
                    <a:gd name="T16" fmla="*/ 10 w 32"/>
                    <a:gd name="T17" fmla="*/ 36 h 36"/>
                    <a:gd name="T18" fmla="*/ 8 w 32"/>
                    <a:gd name="T19" fmla="*/ 36 h 36"/>
                    <a:gd name="T20" fmla="*/ 8 w 32"/>
                    <a:gd name="T21" fmla="*/ 34 h 36"/>
                    <a:gd name="T22" fmla="*/ 4 w 32"/>
                    <a:gd name="T23" fmla="*/ 34 h 36"/>
                    <a:gd name="T24" fmla="*/ 4 w 32"/>
                    <a:gd name="T25" fmla="*/ 30 h 36"/>
                    <a:gd name="T26" fmla="*/ 0 w 32"/>
                    <a:gd name="T27" fmla="*/ 26 h 36"/>
                    <a:gd name="T28" fmla="*/ 0 w 32"/>
                    <a:gd name="T29" fmla="*/ 26 h 36"/>
                    <a:gd name="T30" fmla="*/ 0 w 32"/>
                    <a:gd name="T31" fmla="*/ 22 h 36"/>
                    <a:gd name="T32" fmla="*/ 0 w 32"/>
                    <a:gd name="T33" fmla="*/ 22 h 36"/>
                    <a:gd name="T34" fmla="*/ 0 w 32"/>
                    <a:gd name="T35" fmla="*/ 18 h 36"/>
                    <a:gd name="T36" fmla="*/ 0 w 32"/>
                    <a:gd name="T37" fmla="*/ 18 h 36"/>
                    <a:gd name="T38" fmla="*/ 4 w 32"/>
                    <a:gd name="T39" fmla="*/ 18 h 36"/>
                    <a:gd name="T40" fmla="*/ 4 w 32"/>
                    <a:gd name="T41" fmla="*/ 14 h 36"/>
                    <a:gd name="T42" fmla="*/ 4 w 32"/>
                    <a:gd name="T43" fmla="*/ 14 h 36"/>
                    <a:gd name="T44" fmla="*/ 8 w 32"/>
                    <a:gd name="T45" fmla="*/ 10 h 36"/>
                    <a:gd name="T46" fmla="*/ 8 w 32"/>
                    <a:gd name="T47" fmla="*/ 10 h 36"/>
                    <a:gd name="T48" fmla="*/ 8 w 32"/>
                    <a:gd name="T49" fmla="*/ 6 h 36"/>
                    <a:gd name="T50" fmla="*/ 10 w 32"/>
                    <a:gd name="T51" fmla="*/ 6 h 36"/>
                    <a:gd name="T52" fmla="*/ 14 w 32"/>
                    <a:gd name="T53" fmla="*/ 4 h 36"/>
                    <a:gd name="T54" fmla="*/ 14 w 32"/>
                    <a:gd name="T55" fmla="*/ 4 h 36"/>
                    <a:gd name="T56" fmla="*/ 18 w 32"/>
                    <a:gd name="T57" fmla="*/ 4 h 36"/>
                    <a:gd name="T58" fmla="*/ 18 w 32"/>
                    <a:gd name="T59" fmla="*/ 0 h 36"/>
                    <a:gd name="T60" fmla="*/ 18 w 32"/>
                    <a:gd name="T61" fmla="*/ 0 h 36"/>
                    <a:gd name="T62" fmla="*/ 18 w 32"/>
                    <a:gd name="T63" fmla="*/ 0 h 36"/>
                    <a:gd name="T64" fmla="*/ 22 w 32"/>
                    <a:gd name="T65" fmla="*/ 0 h 36"/>
                    <a:gd name="T66" fmla="*/ 22 w 32"/>
                    <a:gd name="T67" fmla="*/ 4 h 36"/>
                    <a:gd name="T68" fmla="*/ 24 w 32"/>
                    <a:gd name="T69" fmla="*/ 4 h 36"/>
                    <a:gd name="T70" fmla="*/ 24 w 32"/>
                    <a:gd name="T71" fmla="*/ 4 h 36"/>
                    <a:gd name="T72" fmla="*/ 24 w 32"/>
                    <a:gd name="T73" fmla="*/ 6 h 36"/>
                    <a:gd name="T74" fmla="*/ 28 w 32"/>
                    <a:gd name="T75" fmla="*/ 6 h 36"/>
                    <a:gd name="T76" fmla="*/ 28 w 32"/>
                    <a:gd name="T77" fmla="*/ 10 h 36"/>
                    <a:gd name="T78" fmla="*/ 32 w 32"/>
                    <a:gd name="T79" fmla="*/ 14 h 36"/>
                    <a:gd name="T80" fmla="*/ 32 w 32"/>
                    <a:gd name="T81" fmla="*/ 14 h 36"/>
                    <a:gd name="T82" fmla="*/ 28 w 32"/>
                    <a:gd name="T83" fmla="*/ 14 h 36"/>
                    <a:gd name="T84" fmla="*/ 28 w 32"/>
                    <a:gd name="T85" fmla="*/ 18 h 36"/>
                    <a:gd name="T86" fmla="*/ 28 w 32"/>
                    <a:gd name="T87" fmla="*/ 18 h 36"/>
                    <a:gd name="T88" fmla="*/ 28 w 32"/>
                    <a:gd name="T89" fmla="*/ 18 h 36"/>
                    <a:gd name="T90" fmla="*/ 28 w 32"/>
                    <a:gd name="T91" fmla="*/ 22 h 36"/>
                    <a:gd name="T92" fmla="*/ 28 w 32"/>
                    <a:gd name="T93" fmla="*/ 22 h 36"/>
                    <a:gd name="T94" fmla="*/ 28 w 32"/>
                    <a:gd name="T95" fmla="*/ 22 h 36"/>
                    <a:gd name="T96" fmla="*/ 28 w 32"/>
                    <a:gd name="T97" fmla="*/ 22 h 36"/>
                    <a:gd name="T98" fmla="*/ 24 w 32"/>
                    <a:gd name="T99" fmla="*/ 26 h 36"/>
                    <a:gd name="T100" fmla="*/ 24 w 32"/>
                    <a:gd name="T101" fmla="*/ 26 h 36"/>
                    <a:gd name="T102" fmla="*/ 24 w 32"/>
                    <a:gd name="T103" fmla="*/ 26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32" h="36">
                      <a:moveTo>
                        <a:pt x="24" y="26"/>
                      </a:moveTo>
                      <a:lnTo>
                        <a:pt x="24" y="26"/>
                      </a:lnTo>
                      <a:lnTo>
                        <a:pt x="24" y="26"/>
                      </a:lnTo>
                      <a:lnTo>
                        <a:pt x="22" y="30"/>
                      </a:lnTo>
                      <a:lnTo>
                        <a:pt x="22" y="30"/>
                      </a:lnTo>
                      <a:lnTo>
                        <a:pt x="22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4" y="30"/>
                      </a:lnTo>
                      <a:lnTo>
                        <a:pt x="14" y="34"/>
                      </a:lnTo>
                      <a:lnTo>
                        <a:pt x="14" y="36"/>
                      </a:lnTo>
                      <a:lnTo>
                        <a:pt x="14" y="36"/>
                      </a:lnTo>
                      <a:lnTo>
                        <a:pt x="14" y="36"/>
                      </a:lnTo>
                      <a:lnTo>
                        <a:pt x="10" y="36"/>
                      </a:lnTo>
                      <a:lnTo>
                        <a:pt x="10" y="36"/>
                      </a:lnTo>
                      <a:lnTo>
                        <a:pt x="10" y="36"/>
                      </a:lnTo>
                      <a:lnTo>
                        <a:pt x="8" y="36"/>
                      </a:lnTo>
                      <a:lnTo>
                        <a:pt x="8" y="36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0"/>
                      </a:lnTo>
                      <a:lnTo>
                        <a:pt x="4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10" y="6"/>
                      </a:lnTo>
                      <a:lnTo>
                        <a:pt x="10" y="6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6"/>
                      </a:lnTo>
                      <a:lnTo>
                        <a:pt x="24" y="6"/>
                      </a:lnTo>
                      <a:lnTo>
                        <a:pt x="28" y="6"/>
                      </a:lnTo>
                      <a:lnTo>
                        <a:pt x="28" y="10"/>
                      </a:lnTo>
                      <a:lnTo>
                        <a:pt x="28" y="10"/>
                      </a:lnTo>
                      <a:lnTo>
                        <a:pt x="32" y="14"/>
                      </a:lnTo>
                      <a:lnTo>
                        <a:pt x="32" y="14"/>
                      </a:lnTo>
                      <a:lnTo>
                        <a:pt x="32" y="14"/>
                      </a:lnTo>
                      <a:lnTo>
                        <a:pt x="32" y="14"/>
                      </a:lnTo>
                      <a:lnTo>
                        <a:pt x="28" y="14"/>
                      </a:lnTo>
                      <a:lnTo>
                        <a:pt x="28" y="14"/>
                      </a:lnTo>
                      <a:lnTo>
                        <a:pt x="28" y="18"/>
                      </a:lnTo>
                      <a:lnTo>
                        <a:pt x="28" y="18"/>
                      </a:lnTo>
                      <a:lnTo>
                        <a:pt x="28" y="18"/>
                      </a:lnTo>
                      <a:lnTo>
                        <a:pt x="28" y="18"/>
                      </a:lnTo>
                      <a:lnTo>
                        <a:pt x="28" y="18"/>
                      </a:lnTo>
                      <a:lnTo>
                        <a:pt x="28" y="18"/>
                      </a:lnTo>
                      <a:lnTo>
                        <a:pt x="28" y="18"/>
                      </a:lnTo>
                      <a:lnTo>
                        <a:pt x="28" y="22"/>
                      </a:lnTo>
                      <a:lnTo>
                        <a:pt x="28" y="22"/>
                      </a:lnTo>
                      <a:lnTo>
                        <a:pt x="28" y="22"/>
                      </a:lnTo>
                      <a:lnTo>
                        <a:pt x="28" y="22"/>
                      </a:lnTo>
                      <a:lnTo>
                        <a:pt x="28" y="22"/>
                      </a:lnTo>
                      <a:lnTo>
                        <a:pt x="28" y="22"/>
                      </a:lnTo>
                      <a:lnTo>
                        <a:pt x="28" y="22"/>
                      </a:lnTo>
                      <a:lnTo>
                        <a:pt x="28" y="26"/>
                      </a:lnTo>
                      <a:lnTo>
                        <a:pt x="24" y="26"/>
                      </a:lnTo>
                      <a:lnTo>
                        <a:pt x="24" y="26"/>
                      </a:lnTo>
                      <a:lnTo>
                        <a:pt x="24" y="26"/>
                      </a:lnTo>
                      <a:lnTo>
                        <a:pt x="24" y="26"/>
                      </a:lnTo>
                      <a:lnTo>
                        <a:pt x="24" y="2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06" name="Freeform 152"/>
                <p:cNvSpPr>
                  <a:spLocks/>
                </p:cNvSpPr>
                <p:nvPr/>
              </p:nvSpPr>
              <p:spPr bwMode="auto">
                <a:xfrm>
                  <a:off x="4133850" y="4327593"/>
                  <a:ext cx="95250" cy="117475"/>
                </a:xfrm>
                <a:custGeom>
                  <a:avLst/>
                  <a:gdLst>
                    <a:gd name="T0" fmla="*/ 4 w 60"/>
                    <a:gd name="T1" fmla="*/ 26 h 74"/>
                    <a:gd name="T2" fmla="*/ 4 w 60"/>
                    <a:gd name="T3" fmla="*/ 22 h 74"/>
                    <a:gd name="T4" fmla="*/ 6 w 60"/>
                    <a:gd name="T5" fmla="*/ 22 h 74"/>
                    <a:gd name="T6" fmla="*/ 10 w 60"/>
                    <a:gd name="T7" fmla="*/ 18 h 74"/>
                    <a:gd name="T8" fmla="*/ 10 w 60"/>
                    <a:gd name="T9" fmla="*/ 18 h 74"/>
                    <a:gd name="T10" fmla="*/ 10 w 60"/>
                    <a:gd name="T11" fmla="*/ 14 h 74"/>
                    <a:gd name="T12" fmla="*/ 14 w 60"/>
                    <a:gd name="T13" fmla="*/ 10 h 74"/>
                    <a:gd name="T14" fmla="*/ 14 w 60"/>
                    <a:gd name="T15" fmla="*/ 6 h 74"/>
                    <a:gd name="T16" fmla="*/ 18 w 60"/>
                    <a:gd name="T17" fmla="*/ 2 h 74"/>
                    <a:gd name="T18" fmla="*/ 22 w 60"/>
                    <a:gd name="T19" fmla="*/ 2 h 74"/>
                    <a:gd name="T20" fmla="*/ 26 w 60"/>
                    <a:gd name="T21" fmla="*/ 0 h 74"/>
                    <a:gd name="T22" fmla="*/ 30 w 60"/>
                    <a:gd name="T23" fmla="*/ 6 h 74"/>
                    <a:gd name="T24" fmla="*/ 30 w 60"/>
                    <a:gd name="T25" fmla="*/ 10 h 74"/>
                    <a:gd name="T26" fmla="*/ 30 w 60"/>
                    <a:gd name="T27" fmla="*/ 14 h 74"/>
                    <a:gd name="T28" fmla="*/ 30 w 60"/>
                    <a:gd name="T29" fmla="*/ 18 h 74"/>
                    <a:gd name="T30" fmla="*/ 30 w 60"/>
                    <a:gd name="T31" fmla="*/ 22 h 74"/>
                    <a:gd name="T32" fmla="*/ 34 w 60"/>
                    <a:gd name="T33" fmla="*/ 22 h 74"/>
                    <a:gd name="T34" fmla="*/ 34 w 60"/>
                    <a:gd name="T35" fmla="*/ 22 h 74"/>
                    <a:gd name="T36" fmla="*/ 36 w 60"/>
                    <a:gd name="T37" fmla="*/ 22 h 74"/>
                    <a:gd name="T38" fmla="*/ 40 w 60"/>
                    <a:gd name="T39" fmla="*/ 18 h 74"/>
                    <a:gd name="T40" fmla="*/ 40 w 60"/>
                    <a:gd name="T41" fmla="*/ 14 h 74"/>
                    <a:gd name="T42" fmla="*/ 44 w 60"/>
                    <a:gd name="T43" fmla="*/ 14 h 74"/>
                    <a:gd name="T44" fmla="*/ 44 w 60"/>
                    <a:gd name="T45" fmla="*/ 18 h 74"/>
                    <a:gd name="T46" fmla="*/ 44 w 60"/>
                    <a:gd name="T47" fmla="*/ 22 h 74"/>
                    <a:gd name="T48" fmla="*/ 48 w 60"/>
                    <a:gd name="T49" fmla="*/ 26 h 74"/>
                    <a:gd name="T50" fmla="*/ 44 w 60"/>
                    <a:gd name="T51" fmla="*/ 28 h 74"/>
                    <a:gd name="T52" fmla="*/ 44 w 60"/>
                    <a:gd name="T53" fmla="*/ 32 h 74"/>
                    <a:gd name="T54" fmla="*/ 44 w 60"/>
                    <a:gd name="T55" fmla="*/ 32 h 74"/>
                    <a:gd name="T56" fmla="*/ 40 w 60"/>
                    <a:gd name="T57" fmla="*/ 36 h 74"/>
                    <a:gd name="T58" fmla="*/ 44 w 60"/>
                    <a:gd name="T59" fmla="*/ 36 h 74"/>
                    <a:gd name="T60" fmla="*/ 48 w 60"/>
                    <a:gd name="T61" fmla="*/ 40 h 74"/>
                    <a:gd name="T62" fmla="*/ 52 w 60"/>
                    <a:gd name="T63" fmla="*/ 40 h 74"/>
                    <a:gd name="T64" fmla="*/ 52 w 60"/>
                    <a:gd name="T65" fmla="*/ 44 h 74"/>
                    <a:gd name="T66" fmla="*/ 56 w 60"/>
                    <a:gd name="T67" fmla="*/ 48 h 74"/>
                    <a:gd name="T68" fmla="*/ 60 w 60"/>
                    <a:gd name="T69" fmla="*/ 48 h 74"/>
                    <a:gd name="T70" fmla="*/ 60 w 60"/>
                    <a:gd name="T71" fmla="*/ 52 h 74"/>
                    <a:gd name="T72" fmla="*/ 60 w 60"/>
                    <a:gd name="T73" fmla="*/ 52 h 74"/>
                    <a:gd name="T74" fmla="*/ 60 w 60"/>
                    <a:gd name="T75" fmla="*/ 54 h 74"/>
                    <a:gd name="T76" fmla="*/ 56 w 60"/>
                    <a:gd name="T77" fmla="*/ 62 h 74"/>
                    <a:gd name="T78" fmla="*/ 56 w 60"/>
                    <a:gd name="T79" fmla="*/ 66 h 74"/>
                    <a:gd name="T80" fmla="*/ 56 w 60"/>
                    <a:gd name="T81" fmla="*/ 74 h 74"/>
                    <a:gd name="T82" fmla="*/ 52 w 60"/>
                    <a:gd name="T83" fmla="*/ 70 h 74"/>
                    <a:gd name="T84" fmla="*/ 52 w 60"/>
                    <a:gd name="T85" fmla="*/ 70 h 74"/>
                    <a:gd name="T86" fmla="*/ 44 w 60"/>
                    <a:gd name="T87" fmla="*/ 66 h 74"/>
                    <a:gd name="T88" fmla="*/ 40 w 60"/>
                    <a:gd name="T89" fmla="*/ 62 h 74"/>
                    <a:gd name="T90" fmla="*/ 36 w 60"/>
                    <a:gd name="T91" fmla="*/ 62 h 74"/>
                    <a:gd name="T92" fmla="*/ 34 w 60"/>
                    <a:gd name="T93" fmla="*/ 58 h 74"/>
                    <a:gd name="T94" fmla="*/ 30 w 60"/>
                    <a:gd name="T95" fmla="*/ 54 h 74"/>
                    <a:gd name="T96" fmla="*/ 26 w 60"/>
                    <a:gd name="T97" fmla="*/ 52 h 74"/>
                    <a:gd name="T98" fmla="*/ 18 w 60"/>
                    <a:gd name="T99" fmla="*/ 44 h 74"/>
                    <a:gd name="T100" fmla="*/ 18 w 60"/>
                    <a:gd name="T101" fmla="*/ 40 h 74"/>
                    <a:gd name="T102" fmla="*/ 14 w 60"/>
                    <a:gd name="T103" fmla="*/ 40 h 74"/>
                    <a:gd name="T104" fmla="*/ 10 w 60"/>
                    <a:gd name="T105" fmla="*/ 40 h 74"/>
                    <a:gd name="T106" fmla="*/ 10 w 60"/>
                    <a:gd name="T107" fmla="*/ 36 h 74"/>
                    <a:gd name="T108" fmla="*/ 10 w 60"/>
                    <a:gd name="T109" fmla="*/ 36 h 74"/>
                    <a:gd name="T110" fmla="*/ 4 w 60"/>
                    <a:gd name="T111" fmla="*/ 32 h 74"/>
                    <a:gd name="T112" fmla="*/ 4 w 60"/>
                    <a:gd name="T113" fmla="*/ 28 h 74"/>
                    <a:gd name="T114" fmla="*/ 0 w 60"/>
                    <a:gd name="T115" fmla="*/ 28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60" h="74">
                      <a:moveTo>
                        <a:pt x="0" y="28"/>
                      </a:moveTo>
                      <a:lnTo>
                        <a:pt x="0" y="28"/>
                      </a:lnTo>
                      <a:lnTo>
                        <a:pt x="4" y="28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6" y="22"/>
                      </a:lnTo>
                      <a:lnTo>
                        <a:pt x="6" y="22"/>
                      </a:lnTo>
                      <a:lnTo>
                        <a:pt x="6" y="22"/>
                      </a:lnTo>
                      <a:lnTo>
                        <a:pt x="6" y="22"/>
                      </a:lnTo>
                      <a:lnTo>
                        <a:pt x="6" y="22"/>
                      </a:lnTo>
                      <a:lnTo>
                        <a:pt x="10" y="18"/>
                      </a:lnTo>
                      <a:lnTo>
                        <a:pt x="10" y="18"/>
                      </a:lnTo>
                      <a:lnTo>
                        <a:pt x="10" y="18"/>
                      </a:lnTo>
                      <a:lnTo>
                        <a:pt x="10" y="18"/>
                      </a:lnTo>
                      <a:lnTo>
                        <a:pt x="10" y="18"/>
                      </a:lnTo>
                      <a:lnTo>
                        <a:pt x="10" y="14"/>
                      </a:lnTo>
                      <a:lnTo>
                        <a:pt x="10" y="14"/>
                      </a:lnTo>
                      <a:lnTo>
                        <a:pt x="10" y="14"/>
                      </a:lnTo>
                      <a:lnTo>
                        <a:pt x="10" y="14"/>
                      </a:lnTo>
                      <a:lnTo>
                        <a:pt x="14" y="14"/>
                      </a:lnTo>
                      <a:lnTo>
                        <a:pt x="14" y="14"/>
                      </a:lnTo>
                      <a:lnTo>
                        <a:pt x="14" y="10"/>
                      </a:lnTo>
                      <a:lnTo>
                        <a:pt x="14" y="10"/>
                      </a:lnTo>
                      <a:lnTo>
                        <a:pt x="14" y="6"/>
                      </a:lnTo>
                      <a:lnTo>
                        <a:pt x="14" y="6"/>
                      </a:lnTo>
                      <a:lnTo>
                        <a:pt x="14" y="6"/>
                      </a:lnTo>
                      <a:lnTo>
                        <a:pt x="14" y="6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8" y="0"/>
                      </a:lnTo>
                      <a:lnTo>
                        <a:pt x="22" y="2"/>
                      </a:lnTo>
                      <a:lnTo>
                        <a:pt x="22" y="0"/>
                      </a:lnTo>
                      <a:lnTo>
                        <a:pt x="26" y="0"/>
                      </a:lnTo>
                      <a:lnTo>
                        <a:pt x="26" y="2"/>
                      </a:lnTo>
                      <a:lnTo>
                        <a:pt x="26" y="0"/>
                      </a:lnTo>
                      <a:lnTo>
                        <a:pt x="26" y="2"/>
                      </a:lnTo>
                      <a:lnTo>
                        <a:pt x="26" y="2"/>
                      </a:lnTo>
                      <a:lnTo>
                        <a:pt x="30" y="2"/>
                      </a:lnTo>
                      <a:lnTo>
                        <a:pt x="30" y="6"/>
                      </a:lnTo>
                      <a:lnTo>
                        <a:pt x="30" y="10"/>
                      </a:lnTo>
                      <a:lnTo>
                        <a:pt x="30" y="10"/>
                      </a:lnTo>
                      <a:lnTo>
                        <a:pt x="30" y="10"/>
                      </a:lnTo>
                      <a:lnTo>
                        <a:pt x="30" y="10"/>
                      </a:lnTo>
                      <a:lnTo>
                        <a:pt x="30" y="14"/>
                      </a:lnTo>
                      <a:lnTo>
                        <a:pt x="30" y="14"/>
                      </a:lnTo>
                      <a:lnTo>
                        <a:pt x="34" y="14"/>
                      </a:lnTo>
                      <a:lnTo>
                        <a:pt x="30" y="14"/>
                      </a:lnTo>
                      <a:lnTo>
                        <a:pt x="30" y="14"/>
                      </a:lnTo>
                      <a:lnTo>
                        <a:pt x="30" y="14"/>
                      </a:lnTo>
                      <a:lnTo>
                        <a:pt x="30" y="18"/>
                      </a:lnTo>
                      <a:lnTo>
                        <a:pt x="30" y="18"/>
                      </a:lnTo>
                      <a:lnTo>
                        <a:pt x="30" y="18"/>
                      </a:lnTo>
                      <a:lnTo>
                        <a:pt x="30" y="18"/>
                      </a:lnTo>
                      <a:lnTo>
                        <a:pt x="30" y="22"/>
                      </a:lnTo>
                      <a:lnTo>
                        <a:pt x="30" y="22"/>
                      </a:lnTo>
                      <a:lnTo>
                        <a:pt x="30" y="22"/>
                      </a:lnTo>
                      <a:lnTo>
                        <a:pt x="30" y="18"/>
                      </a:lnTo>
                      <a:lnTo>
                        <a:pt x="34" y="18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4" y="26"/>
                      </a:lnTo>
                      <a:lnTo>
                        <a:pt x="34" y="22"/>
                      </a:lnTo>
                      <a:lnTo>
                        <a:pt x="36" y="22"/>
                      </a:lnTo>
                      <a:lnTo>
                        <a:pt x="36" y="22"/>
                      </a:lnTo>
                      <a:lnTo>
                        <a:pt x="36" y="22"/>
                      </a:lnTo>
                      <a:lnTo>
                        <a:pt x="36" y="22"/>
                      </a:lnTo>
                      <a:lnTo>
                        <a:pt x="36" y="22"/>
                      </a:lnTo>
                      <a:lnTo>
                        <a:pt x="40" y="22"/>
                      </a:lnTo>
                      <a:lnTo>
                        <a:pt x="40" y="18"/>
                      </a:lnTo>
                      <a:lnTo>
                        <a:pt x="40" y="18"/>
                      </a:lnTo>
                      <a:lnTo>
                        <a:pt x="40" y="18"/>
                      </a:lnTo>
                      <a:lnTo>
                        <a:pt x="40" y="18"/>
                      </a:lnTo>
                      <a:lnTo>
                        <a:pt x="40" y="14"/>
                      </a:lnTo>
                      <a:lnTo>
                        <a:pt x="40" y="14"/>
                      </a:lnTo>
                      <a:lnTo>
                        <a:pt x="40" y="14"/>
                      </a:lnTo>
                      <a:lnTo>
                        <a:pt x="40" y="14"/>
                      </a:lnTo>
                      <a:lnTo>
                        <a:pt x="44" y="14"/>
                      </a:lnTo>
                      <a:lnTo>
                        <a:pt x="44" y="14"/>
                      </a:lnTo>
                      <a:lnTo>
                        <a:pt x="44" y="18"/>
                      </a:lnTo>
                      <a:lnTo>
                        <a:pt x="44" y="18"/>
                      </a:lnTo>
                      <a:lnTo>
                        <a:pt x="44" y="18"/>
                      </a:lnTo>
                      <a:lnTo>
                        <a:pt x="44" y="18"/>
                      </a:lnTo>
                      <a:lnTo>
                        <a:pt x="44" y="18"/>
                      </a:lnTo>
                      <a:lnTo>
                        <a:pt x="44" y="18"/>
                      </a:lnTo>
                      <a:lnTo>
                        <a:pt x="44" y="18"/>
                      </a:lnTo>
                      <a:lnTo>
                        <a:pt x="44" y="22"/>
                      </a:lnTo>
                      <a:lnTo>
                        <a:pt x="44" y="22"/>
                      </a:lnTo>
                      <a:lnTo>
                        <a:pt x="44" y="22"/>
                      </a:lnTo>
                      <a:lnTo>
                        <a:pt x="44" y="22"/>
                      </a:lnTo>
                      <a:lnTo>
                        <a:pt x="48" y="26"/>
                      </a:lnTo>
                      <a:lnTo>
                        <a:pt x="48" y="26"/>
                      </a:lnTo>
                      <a:lnTo>
                        <a:pt x="44" y="28"/>
                      </a:lnTo>
                      <a:lnTo>
                        <a:pt x="44" y="28"/>
                      </a:lnTo>
                      <a:lnTo>
                        <a:pt x="44" y="28"/>
                      </a:lnTo>
                      <a:lnTo>
                        <a:pt x="44" y="32"/>
                      </a:lnTo>
                      <a:lnTo>
                        <a:pt x="44" y="32"/>
                      </a:lnTo>
                      <a:lnTo>
                        <a:pt x="44" y="32"/>
                      </a:lnTo>
                      <a:lnTo>
                        <a:pt x="44" y="32"/>
                      </a:lnTo>
                      <a:lnTo>
                        <a:pt x="44" y="32"/>
                      </a:lnTo>
                      <a:lnTo>
                        <a:pt x="44" y="32"/>
                      </a:lnTo>
                      <a:lnTo>
                        <a:pt x="44" y="32"/>
                      </a:lnTo>
                      <a:lnTo>
                        <a:pt x="44" y="32"/>
                      </a:lnTo>
                      <a:lnTo>
                        <a:pt x="44" y="32"/>
                      </a:lnTo>
                      <a:lnTo>
                        <a:pt x="44" y="32"/>
                      </a:lnTo>
                      <a:lnTo>
                        <a:pt x="40" y="32"/>
                      </a:lnTo>
                      <a:lnTo>
                        <a:pt x="40" y="36"/>
                      </a:lnTo>
                      <a:lnTo>
                        <a:pt x="40" y="36"/>
                      </a:lnTo>
                      <a:lnTo>
                        <a:pt x="40" y="36"/>
                      </a:lnTo>
                      <a:lnTo>
                        <a:pt x="44" y="36"/>
                      </a:lnTo>
                      <a:lnTo>
                        <a:pt x="44" y="36"/>
                      </a:lnTo>
                      <a:lnTo>
                        <a:pt x="44" y="36"/>
                      </a:lnTo>
                      <a:lnTo>
                        <a:pt x="48" y="40"/>
                      </a:lnTo>
                      <a:lnTo>
                        <a:pt x="48" y="40"/>
                      </a:lnTo>
                      <a:lnTo>
                        <a:pt x="48" y="40"/>
                      </a:lnTo>
                      <a:lnTo>
                        <a:pt x="48" y="40"/>
                      </a:lnTo>
                      <a:lnTo>
                        <a:pt x="52" y="40"/>
                      </a:lnTo>
                      <a:lnTo>
                        <a:pt x="52" y="40"/>
                      </a:lnTo>
                      <a:lnTo>
                        <a:pt x="52" y="40"/>
                      </a:lnTo>
                      <a:lnTo>
                        <a:pt x="52" y="40"/>
                      </a:lnTo>
                      <a:lnTo>
                        <a:pt x="52" y="44"/>
                      </a:lnTo>
                      <a:lnTo>
                        <a:pt x="52" y="44"/>
                      </a:lnTo>
                      <a:lnTo>
                        <a:pt x="52" y="44"/>
                      </a:lnTo>
                      <a:lnTo>
                        <a:pt x="56" y="44"/>
                      </a:lnTo>
                      <a:lnTo>
                        <a:pt x="56" y="44"/>
                      </a:lnTo>
                      <a:lnTo>
                        <a:pt x="56" y="44"/>
                      </a:lnTo>
                      <a:lnTo>
                        <a:pt x="56" y="48"/>
                      </a:lnTo>
                      <a:lnTo>
                        <a:pt x="60" y="48"/>
                      </a:lnTo>
                      <a:lnTo>
                        <a:pt x="60" y="48"/>
                      </a:lnTo>
                      <a:lnTo>
                        <a:pt x="60" y="48"/>
                      </a:lnTo>
                      <a:lnTo>
                        <a:pt x="60" y="48"/>
                      </a:lnTo>
                      <a:lnTo>
                        <a:pt x="60" y="48"/>
                      </a:lnTo>
                      <a:lnTo>
                        <a:pt x="60" y="48"/>
                      </a:lnTo>
                      <a:lnTo>
                        <a:pt x="60" y="48"/>
                      </a:lnTo>
                      <a:lnTo>
                        <a:pt x="60" y="52"/>
                      </a:lnTo>
                      <a:lnTo>
                        <a:pt x="60" y="52"/>
                      </a:lnTo>
                      <a:lnTo>
                        <a:pt x="60" y="52"/>
                      </a:lnTo>
                      <a:lnTo>
                        <a:pt x="60" y="52"/>
                      </a:lnTo>
                      <a:lnTo>
                        <a:pt x="60" y="52"/>
                      </a:lnTo>
                      <a:lnTo>
                        <a:pt x="60" y="54"/>
                      </a:lnTo>
                      <a:lnTo>
                        <a:pt x="60" y="54"/>
                      </a:lnTo>
                      <a:lnTo>
                        <a:pt x="60" y="54"/>
                      </a:lnTo>
                      <a:lnTo>
                        <a:pt x="60" y="54"/>
                      </a:lnTo>
                      <a:lnTo>
                        <a:pt x="60" y="58"/>
                      </a:lnTo>
                      <a:lnTo>
                        <a:pt x="56" y="58"/>
                      </a:lnTo>
                      <a:lnTo>
                        <a:pt x="56" y="62"/>
                      </a:lnTo>
                      <a:lnTo>
                        <a:pt x="56" y="62"/>
                      </a:lnTo>
                      <a:lnTo>
                        <a:pt x="56" y="62"/>
                      </a:lnTo>
                      <a:lnTo>
                        <a:pt x="56" y="66"/>
                      </a:lnTo>
                      <a:lnTo>
                        <a:pt x="56" y="66"/>
                      </a:lnTo>
                      <a:lnTo>
                        <a:pt x="56" y="66"/>
                      </a:lnTo>
                      <a:lnTo>
                        <a:pt x="56" y="70"/>
                      </a:lnTo>
                      <a:lnTo>
                        <a:pt x="56" y="70"/>
                      </a:lnTo>
                      <a:lnTo>
                        <a:pt x="56" y="70"/>
                      </a:lnTo>
                      <a:lnTo>
                        <a:pt x="56" y="74"/>
                      </a:lnTo>
                      <a:lnTo>
                        <a:pt x="56" y="74"/>
                      </a:lnTo>
                      <a:lnTo>
                        <a:pt x="56" y="74"/>
                      </a:lnTo>
                      <a:lnTo>
                        <a:pt x="56" y="74"/>
                      </a:lnTo>
                      <a:lnTo>
                        <a:pt x="52" y="70"/>
                      </a:lnTo>
                      <a:lnTo>
                        <a:pt x="52" y="70"/>
                      </a:lnTo>
                      <a:lnTo>
                        <a:pt x="52" y="70"/>
                      </a:lnTo>
                      <a:lnTo>
                        <a:pt x="52" y="70"/>
                      </a:lnTo>
                      <a:lnTo>
                        <a:pt x="52" y="70"/>
                      </a:lnTo>
                      <a:lnTo>
                        <a:pt x="48" y="70"/>
                      </a:lnTo>
                      <a:lnTo>
                        <a:pt x="48" y="70"/>
                      </a:lnTo>
                      <a:lnTo>
                        <a:pt x="48" y="70"/>
                      </a:lnTo>
                      <a:lnTo>
                        <a:pt x="44" y="66"/>
                      </a:lnTo>
                      <a:lnTo>
                        <a:pt x="44" y="66"/>
                      </a:lnTo>
                      <a:lnTo>
                        <a:pt x="40" y="66"/>
                      </a:lnTo>
                      <a:lnTo>
                        <a:pt x="40" y="62"/>
                      </a:lnTo>
                      <a:lnTo>
                        <a:pt x="40" y="62"/>
                      </a:lnTo>
                      <a:lnTo>
                        <a:pt x="40" y="62"/>
                      </a:lnTo>
                      <a:lnTo>
                        <a:pt x="36" y="62"/>
                      </a:lnTo>
                      <a:lnTo>
                        <a:pt x="36" y="62"/>
                      </a:lnTo>
                      <a:lnTo>
                        <a:pt x="36" y="62"/>
                      </a:lnTo>
                      <a:lnTo>
                        <a:pt x="36" y="62"/>
                      </a:lnTo>
                      <a:lnTo>
                        <a:pt x="34" y="58"/>
                      </a:lnTo>
                      <a:lnTo>
                        <a:pt x="34" y="58"/>
                      </a:lnTo>
                      <a:lnTo>
                        <a:pt x="34" y="58"/>
                      </a:lnTo>
                      <a:lnTo>
                        <a:pt x="30" y="54"/>
                      </a:lnTo>
                      <a:lnTo>
                        <a:pt x="30" y="54"/>
                      </a:lnTo>
                      <a:lnTo>
                        <a:pt x="30" y="54"/>
                      </a:lnTo>
                      <a:lnTo>
                        <a:pt x="30" y="54"/>
                      </a:lnTo>
                      <a:lnTo>
                        <a:pt x="30" y="54"/>
                      </a:lnTo>
                      <a:lnTo>
                        <a:pt x="30" y="54"/>
                      </a:lnTo>
                      <a:lnTo>
                        <a:pt x="30" y="52"/>
                      </a:lnTo>
                      <a:lnTo>
                        <a:pt x="26" y="52"/>
                      </a:lnTo>
                      <a:lnTo>
                        <a:pt x="26" y="52"/>
                      </a:lnTo>
                      <a:lnTo>
                        <a:pt x="22" y="48"/>
                      </a:lnTo>
                      <a:lnTo>
                        <a:pt x="22" y="44"/>
                      </a:lnTo>
                      <a:lnTo>
                        <a:pt x="18" y="44"/>
                      </a:lnTo>
                      <a:lnTo>
                        <a:pt x="18" y="44"/>
                      </a:lnTo>
                      <a:lnTo>
                        <a:pt x="18" y="44"/>
                      </a:lnTo>
                      <a:lnTo>
                        <a:pt x="18" y="44"/>
                      </a:lnTo>
                      <a:lnTo>
                        <a:pt x="18" y="40"/>
                      </a:lnTo>
                      <a:lnTo>
                        <a:pt x="18" y="40"/>
                      </a:lnTo>
                      <a:lnTo>
                        <a:pt x="18" y="40"/>
                      </a:lnTo>
                      <a:lnTo>
                        <a:pt x="14" y="40"/>
                      </a:lnTo>
                      <a:lnTo>
                        <a:pt x="14" y="40"/>
                      </a:lnTo>
                      <a:lnTo>
                        <a:pt x="14" y="40"/>
                      </a:lnTo>
                      <a:lnTo>
                        <a:pt x="14" y="40"/>
                      </a:lnTo>
                      <a:lnTo>
                        <a:pt x="14" y="40"/>
                      </a:lnTo>
                      <a:lnTo>
                        <a:pt x="10" y="40"/>
                      </a:lnTo>
                      <a:lnTo>
                        <a:pt x="10" y="40"/>
                      </a:lnTo>
                      <a:lnTo>
                        <a:pt x="10" y="40"/>
                      </a:lnTo>
                      <a:lnTo>
                        <a:pt x="10" y="36"/>
                      </a:lnTo>
                      <a:lnTo>
                        <a:pt x="10" y="36"/>
                      </a:lnTo>
                      <a:lnTo>
                        <a:pt x="10" y="36"/>
                      </a:lnTo>
                      <a:lnTo>
                        <a:pt x="10" y="36"/>
                      </a:lnTo>
                      <a:lnTo>
                        <a:pt x="10" y="36"/>
                      </a:lnTo>
                      <a:lnTo>
                        <a:pt x="10" y="36"/>
                      </a:lnTo>
                      <a:lnTo>
                        <a:pt x="10" y="36"/>
                      </a:lnTo>
                      <a:lnTo>
                        <a:pt x="6" y="36"/>
                      </a:lnTo>
                      <a:lnTo>
                        <a:pt x="6" y="32"/>
                      </a:lnTo>
                      <a:lnTo>
                        <a:pt x="4" y="32"/>
                      </a:lnTo>
                      <a:lnTo>
                        <a:pt x="4" y="32"/>
                      </a:lnTo>
                      <a:lnTo>
                        <a:pt x="4" y="28"/>
                      </a:lnTo>
                      <a:lnTo>
                        <a:pt x="4" y="28"/>
                      </a:lnTo>
                      <a:lnTo>
                        <a:pt x="4" y="28"/>
                      </a:lnTo>
                      <a:lnTo>
                        <a:pt x="4" y="28"/>
                      </a:lnTo>
                      <a:lnTo>
                        <a:pt x="0" y="28"/>
                      </a:lnTo>
                      <a:lnTo>
                        <a:pt x="0" y="28"/>
                      </a:lnTo>
                      <a:lnTo>
                        <a:pt x="0" y="2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07" name="Freeform 153"/>
                <p:cNvSpPr>
                  <a:spLocks/>
                </p:cNvSpPr>
                <p:nvPr/>
              </p:nvSpPr>
              <p:spPr bwMode="auto">
                <a:xfrm>
                  <a:off x="4600575" y="3632268"/>
                  <a:ext cx="355600" cy="390525"/>
                </a:xfrm>
                <a:custGeom>
                  <a:avLst/>
                  <a:gdLst>
                    <a:gd name="T0" fmla="*/ 74 w 224"/>
                    <a:gd name="T1" fmla="*/ 12 h 246"/>
                    <a:gd name="T2" fmla="*/ 86 w 224"/>
                    <a:gd name="T3" fmla="*/ 20 h 246"/>
                    <a:gd name="T4" fmla="*/ 90 w 224"/>
                    <a:gd name="T5" fmla="*/ 34 h 246"/>
                    <a:gd name="T6" fmla="*/ 100 w 224"/>
                    <a:gd name="T7" fmla="*/ 38 h 246"/>
                    <a:gd name="T8" fmla="*/ 116 w 224"/>
                    <a:gd name="T9" fmla="*/ 38 h 246"/>
                    <a:gd name="T10" fmla="*/ 124 w 224"/>
                    <a:gd name="T11" fmla="*/ 46 h 246"/>
                    <a:gd name="T12" fmla="*/ 134 w 224"/>
                    <a:gd name="T13" fmla="*/ 52 h 246"/>
                    <a:gd name="T14" fmla="*/ 142 w 224"/>
                    <a:gd name="T15" fmla="*/ 52 h 246"/>
                    <a:gd name="T16" fmla="*/ 154 w 224"/>
                    <a:gd name="T17" fmla="*/ 42 h 246"/>
                    <a:gd name="T18" fmla="*/ 154 w 224"/>
                    <a:gd name="T19" fmla="*/ 26 h 246"/>
                    <a:gd name="T20" fmla="*/ 160 w 224"/>
                    <a:gd name="T21" fmla="*/ 12 h 246"/>
                    <a:gd name="T22" fmla="*/ 172 w 224"/>
                    <a:gd name="T23" fmla="*/ 8 h 246"/>
                    <a:gd name="T24" fmla="*/ 182 w 224"/>
                    <a:gd name="T25" fmla="*/ 4 h 246"/>
                    <a:gd name="T26" fmla="*/ 194 w 224"/>
                    <a:gd name="T27" fmla="*/ 8 h 246"/>
                    <a:gd name="T28" fmla="*/ 198 w 224"/>
                    <a:gd name="T29" fmla="*/ 20 h 246"/>
                    <a:gd name="T30" fmla="*/ 210 w 224"/>
                    <a:gd name="T31" fmla="*/ 22 h 246"/>
                    <a:gd name="T32" fmla="*/ 224 w 224"/>
                    <a:gd name="T33" fmla="*/ 22 h 246"/>
                    <a:gd name="T34" fmla="*/ 220 w 224"/>
                    <a:gd name="T35" fmla="*/ 34 h 246"/>
                    <a:gd name="T36" fmla="*/ 224 w 224"/>
                    <a:gd name="T37" fmla="*/ 50 h 246"/>
                    <a:gd name="T38" fmla="*/ 220 w 224"/>
                    <a:gd name="T39" fmla="*/ 64 h 246"/>
                    <a:gd name="T40" fmla="*/ 224 w 224"/>
                    <a:gd name="T41" fmla="*/ 78 h 246"/>
                    <a:gd name="T42" fmla="*/ 224 w 224"/>
                    <a:gd name="T43" fmla="*/ 102 h 246"/>
                    <a:gd name="T44" fmla="*/ 224 w 224"/>
                    <a:gd name="T45" fmla="*/ 120 h 246"/>
                    <a:gd name="T46" fmla="*/ 224 w 224"/>
                    <a:gd name="T47" fmla="*/ 150 h 246"/>
                    <a:gd name="T48" fmla="*/ 224 w 224"/>
                    <a:gd name="T49" fmla="*/ 176 h 246"/>
                    <a:gd name="T50" fmla="*/ 224 w 224"/>
                    <a:gd name="T51" fmla="*/ 238 h 246"/>
                    <a:gd name="T52" fmla="*/ 210 w 224"/>
                    <a:gd name="T53" fmla="*/ 238 h 246"/>
                    <a:gd name="T54" fmla="*/ 186 w 224"/>
                    <a:gd name="T55" fmla="*/ 232 h 246"/>
                    <a:gd name="T56" fmla="*/ 156 w 224"/>
                    <a:gd name="T57" fmla="*/ 218 h 246"/>
                    <a:gd name="T58" fmla="*/ 134 w 224"/>
                    <a:gd name="T59" fmla="*/ 202 h 246"/>
                    <a:gd name="T60" fmla="*/ 108 w 224"/>
                    <a:gd name="T61" fmla="*/ 188 h 246"/>
                    <a:gd name="T62" fmla="*/ 82 w 224"/>
                    <a:gd name="T63" fmla="*/ 184 h 246"/>
                    <a:gd name="T64" fmla="*/ 72 w 224"/>
                    <a:gd name="T65" fmla="*/ 192 h 246"/>
                    <a:gd name="T66" fmla="*/ 60 w 224"/>
                    <a:gd name="T67" fmla="*/ 184 h 246"/>
                    <a:gd name="T68" fmla="*/ 44 w 224"/>
                    <a:gd name="T69" fmla="*/ 180 h 246"/>
                    <a:gd name="T70" fmla="*/ 34 w 224"/>
                    <a:gd name="T71" fmla="*/ 162 h 246"/>
                    <a:gd name="T72" fmla="*/ 18 w 224"/>
                    <a:gd name="T73" fmla="*/ 158 h 246"/>
                    <a:gd name="T74" fmla="*/ 12 w 224"/>
                    <a:gd name="T75" fmla="*/ 154 h 246"/>
                    <a:gd name="T76" fmla="*/ 8 w 224"/>
                    <a:gd name="T77" fmla="*/ 138 h 246"/>
                    <a:gd name="T78" fmla="*/ 12 w 224"/>
                    <a:gd name="T79" fmla="*/ 120 h 246"/>
                    <a:gd name="T80" fmla="*/ 8 w 224"/>
                    <a:gd name="T81" fmla="*/ 108 h 246"/>
                    <a:gd name="T82" fmla="*/ 8 w 224"/>
                    <a:gd name="T83" fmla="*/ 94 h 246"/>
                    <a:gd name="T84" fmla="*/ 8 w 224"/>
                    <a:gd name="T85" fmla="*/ 78 h 246"/>
                    <a:gd name="T86" fmla="*/ 8 w 224"/>
                    <a:gd name="T87" fmla="*/ 64 h 246"/>
                    <a:gd name="T88" fmla="*/ 4 w 224"/>
                    <a:gd name="T89" fmla="*/ 56 h 246"/>
                    <a:gd name="T90" fmla="*/ 16 w 224"/>
                    <a:gd name="T91" fmla="*/ 46 h 246"/>
                    <a:gd name="T92" fmla="*/ 12 w 224"/>
                    <a:gd name="T93" fmla="*/ 34 h 246"/>
                    <a:gd name="T94" fmla="*/ 22 w 224"/>
                    <a:gd name="T95" fmla="*/ 22 h 246"/>
                    <a:gd name="T96" fmla="*/ 34 w 224"/>
                    <a:gd name="T97" fmla="*/ 16 h 246"/>
                    <a:gd name="T98" fmla="*/ 34 w 224"/>
                    <a:gd name="T99" fmla="*/ 0 h 246"/>
                    <a:gd name="T100" fmla="*/ 42 w 224"/>
                    <a:gd name="T101" fmla="*/ 8 h 246"/>
                    <a:gd name="T102" fmla="*/ 56 w 224"/>
                    <a:gd name="T103" fmla="*/ 8 h 246"/>
                    <a:gd name="T104" fmla="*/ 64 w 224"/>
                    <a:gd name="T105" fmla="*/ 8 h 2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224" h="246">
                      <a:moveTo>
                        <a:pt x="68" y="8"/>
                      </a:moveTo>
                      <a:lnTo>
                        <a:pt x="72" y="8"/>
                      </a:lnTo>
                      <a:lnTo>
                        <a:pt x="72" y="12"/>
                      </a:lnTo>
                      <a:lnTo>
                        <a:pt x="74" y="12"/>
                      </a:lnTo>
                      <a:lnTo>
                        <a:pt x="78" y="16"/>
                      </a:lnTo>
                      <a:lnTo>
                        <a:pt x="82" y="16"/>
                      </a:lnTo>
                      <a:lnTo>
                        <a:pt x="86" y="16"/>
                      </a:lnTo>
                      <a:lnTo>
                        <a:pt x="86" y="20"/>
                      </a:lnTo>
                      <a:lnTo>
                        <a:pt x="86" y="22"/>
                      </a:lnTo>
                      <a:lnTo>
                        <a:pt x="86" y="26"/>
                      </a:lnTo>
                      <a:lnTo>
                        <a:pt x="90" y="30"/>
                      </a:lnTo>
                      <a:lnTo>
                        <a:pt x="90" y="34"/>
                      </a:lnTo>
                      <a:lnTo>
                        <a:pt x="94" y="34"/>
                      </a:lnTo>
                      <a:lnTo>
                        <a:pt x="98" y="34"/>
                      </a:lnTo>
                      <a:lnTo>
                        <a:pt x="98" y="38"/>
                      </a:lnTo>
                      <a:lnTo>
                        <a:pt x="100" y="38"/>
                      </a:lnTo>
                      <a:lnTo>
                        <a:pt x="104" y="38"/>
                      </a:lnTo>
                      <a:lnTo>
                        <a:pt x="108" y="38"/>
                      </a:lnTo>
                      <a:lnTo>
                        <a:pt x="112" y="38"/>
                      </a:lnTo>
                      <a:lnTo>
                        <a:pt x="116" y="38"/>
                      </a:lnTo>
                      <a:lnTo>
                        <a:pt x="116" y="42"/>
                      </a:lnTo>
                      <a:lnTo>
                        <a:pt x="120" y="42"/>
                      </a:lnTo>
                      <a:lnTo>
                        <a:pt x="124" y="42"/>
                      </a:lnTo>
                      <a:lnTo>
                        <a:pt x="124" y="46"/>
                      </a:lnTo>
                      <a:lnTo>
                        <a:pt x="128" y="46"/>
                      </a:lnTo>
                      <a:lnTo>
                        <a:pt x="128" y="50"/>
                      </a:lnTo>
                      <a:lnTo>
                        <a:pt x="130" y="50"/>
                      </a:lnTo>
                      <a:lnTo>
                        <a:pt x="134" y="52"/>
                      </a:lnTo>
                      <a:lnTo>
                        <a:pt x="138" y="52"/>
                      </a:lnTo>
                      <a:lnTo>
                        <a:pt x="138" y="56"/>
                      </a:lnTo>
                      <a:lnTo>
                        <a:pt x="142" y="56"/>
                      </a:lnTo>
                      <a:lnTo>
                        <a:pt x="142" y="52"/>
                      </a:lnTo>
                      <a:lnTo>
                        <a:pt x="146" y="52"/>
                      </a:lnTo>
                      <a:lnTo>
                        <a:pt x="150" y="50"/>
                      </a:lnTo>
                      <a:lnTo>
                        <a:pt x="154" y="46"/>
                      </a:lnTo>
                      <a:lnTo>
                        <a:pt x="154" y="42"/>
                      </a:lnTo>
                      <a:lnTo>
                        <a:pt x="154" y="38"/>
                      </a:lnTo>
                      <a:lnTo>
                        <a:pt x="154" y="34"/>
                      </a:lnTo>
                      <a:lnTo>
                        <a:pt x="154" y="30"/>
                      </a:lnTo>
                      <a:lnTo>
                        <a:pt x="154" y="26"/>
                      </a:lnTo>
                      <a:lnTo>
                        <a:pt x="154" y="22"/>
                      </a:lnTo>
                      <a:lnTo>
                        <a:pt x="154" y="20"/>
                      </a:lnTo>
                      <a:lnTo>
                        <a:pt x="156" y="16"/>
                      </a:lnTo>
                      <a:lnTo>
                        <a:pt x="160" y="12"/>
                      </a:lnTo>
                      <a:lnTo>
                        <a:pt x="164" y="12"/>
                      </a:lnTo>
                      <a:lnTo>
                        <a:pt x="164" y="8"/>
                      </a:lnTo>
                      <a:lnTo>
                        <a:pt x="168" y="8"/>
                      </a:lnTo>
                      <a:lnTo>
                        <a:pt x="172" y="8"/>
                      </a:lnTo>
                      <a:lnTo>
                        <a:pt x="176" y="8"/>
                      </a:lnTo>
                      <a:lnTo>
                        <a:pt x="176" y="4"/>
                      </a:lnTo>
                      <a:lnTo>
                        <a:pt x="180" y="4"/>
                      </a:lnTo>
                      <a:lnTo>
                        <a:pt x="182" y="4"/>
                      </a:lnTo>
                      <a:lnTo>
                        <a:pt x="182" y="8"/>
                      </a:lnTo>
                      <a:lnTo>
                        <a:pt x="186" y="8"/>
                      </a:lnTo>
                      <a:lnTo>
                        <a:pt x="190" y="8"/>
                      </a:lnTo>
                      <a:lnTo>
                        <a:pt x="194" y="8"/>
                      </a:lnTo>
                      <a:lnTo>
                        <a:pt x="194" y="12"/>
                      </a:lnTo>
                      <a:lnTo>
                        <a:pt x="198" y="12"/>
                      </a:lnTo>
                      <a:lnTo>
                        <a:pt x="198" y="16"/>
                      </a:lnTo>
                      <a:lnTo>
                        <a:pt x="198" y="20"/>
                      </a:lnTo>
                      <a:lnTo>
                        <a:pt x="202" y="20"/>
                      </a:lnTo>
                      <a:lnTo>
                        <a:pt x="206" y="20"/>
                      </a:lnTo>
                      <a:lnTo>
                        <a:pt x="210" y="20"/>
                      </a:lnTo>
                      <a:lnTo>
                        <a:pt x="210" y="22"/>
                      </a:lnTo>
                      <a:lnTo>
                        <a:pt x="212" y="22"/>
                      </a:lnTo>
                      <a:lnTo>
                        <a:pt x="216" y="22"/>
                      </a:lnTo>
                      <a:lnTo>
                        <a:pt x="220" y="22"/>
                      </a:lnTo>
                      <a:lnTo>
                        <a:pt x="224" y="22"/>
                      </a:lnTo>
                      <a:lnTo>
                        <a:pt x="224" y="26"/>
                      </a:lnTo>
                      <a:lnTo>
                        <a:pt x="224" y="30"/>
                      </a:lnTo>
                      <a:lnTo>
                        <a:pt x="224" y="34"/>
                      </a:lnTo>
                      <a:lnTo>
                        <a:pt x="220" y="34"/>
                      </a:lnTo>
                      <a:lnTo>
                        <a:pt x="220" y="38"/>
                      </a:lnTo>
                      <a:lnTo>
                        <a:pt x="224" y="42"/>
                      </a:lnTo>
                      <a:lnTo>
                        <a:pt x="224" y="46"/>
                      </a:lnTo>
                      <a:lnTo>
                        <a:pt x="224" y="50"/>
                      </a:lnTo>
                      <a:lnTo>
                        <a:pt x="220" y="52"/>
                      </a:lnTo>
                      <a:lnTo>
                        <a:pt x="220" y="56"/>
                      </a:lnTo>
                      <a:lnTo>
                        <a:pt x="220" y="60"/>
                      </a:lnTo>
                      <a:lnTo>
                        <a:pt x="220" y="64"/>
                      </a:lnTo>
                      <a:lnTo>
                        <a:pt x="220" y="68"/>
                      </a:lnTo>
                      <a:lnTo>
                        <a:pt x="224" y="72"/>
                      </a:lnTo>
                      <a:lnTo>
                        <a:pt x="224" y="76"/>
                      </a:lnTo>
                      <a:lnTo>
                        <a:pt x="224" y="78"/>
                      </a:lnTo>
                      <a:lnTo>
                        <a:pt x="224" y="90"/>
                      </a:lnTo>
                      <a:lnTo>
                        <a:pt x="224" y="94"/>
                      </a:lnTo>
                      <a:lnTo>
                        <a:pt x="224" y="98"/>
                      </a:lnTo>
                      <a:lnTo>
                        <a:pt x="224" y="102"/>
                      </a:lnTo>
                      <a:lnTo>
                        <a:pt x="224" y="106"/>
                      </a:lnTo>
                      <a:lnTo>
                        <a:pt x="224" y="112"/>
                      </a:lnTo>
                      <a:lnTo>
                        <a:pt x="224" y="116"/>
                      </a:lnTo>
                      <a:lnTo>
                        <a:pt x="224" y="120"/>
                      </a:lnTo>
                      <a:lnTo>
                        <a:pt x="224" y="124"/>
                      </a:lnTo>
                      <a:lnTo>
                        <a:pt x="224" y="132"/>
                      </a:lnTo>
                      <a:lnTo>
                        <a:pt x="224" y="142"/>
                      </a:lnTo>
                      <a:lnTo>
                        <a:pt x="224" y="150"/>
                      </a:lnTo>
                      <a:lnTo>
                        <a:pt x="224" y="154"/>
                      </a:lnTo>
                      <a:lnTo>
                        <a:pt x="224" y="162"/>
                      </a:lnTo>
                      <a:lnTo>
                        <a:pt x="224" y="168"/>
                      </a:lnTo>
                      <a:lnTo>
                        <a:pt x="224" y="176"/>
                      </a:lnTo>
                      <a:lnTo>
                        <a:pt x="224" y="198"/>
                      </a:lnTo>
                      <a:lnTo>
                        <a:pt x="224" y="202"/>
                      </a:lnTo>
                      <a:lnTo>
                        <a:pt x="224" y="222"/>
                      </a:lnTo>
                      <a:lnTo>
                        <a:pt x="224" y="238"/>
                      </a:lnTo>
                      <a:lnTo>
                        <a:pt x="220" y="238"/>
                      </a:lnTo>
                      <a:lnTo>
                        <a:pt x="216" y="238"/>
                      </a:lnTo>
                      <a:lnTo>
                        <a:pt x="212" y="238"/>
                      </a:lnTo>
                      <a:lnTo>
                        <a:pt x="210" y="238"/>
                      </a:lnTo>
                      <a:lnTo>
                        <a:pt x="210" y="246"/>
                      </a:lnTo>
                      <a:lnTo>
                        <a:pt x="202" y="242"/>
                      </a:lnTo>
                      <a:lnTo>
                        <a:pt x="194" y="238"/>
                      </a:lnTo>
                      <a:lnTo>
                        <a:pt x="186" y="232"/>
                      </a:lnTo>
                      <a:lnTo>
                        <a:pt x="180" y="228"/>
                      </a:lnTo>
                      <a:lnTo>
                        <a:pt x="172" y="224"/>
                      </a:lnTo>
                      <a:lnTo>
                        <a:pt x="168" y="222"/>
                      </a:lnTo>
                      <a:lnTo>
                        <a:pt x="156" y="218"/>
                      </a:lnTo>
                      <a:lnTo>
                        <a:pt x="150" y="210"/>
                      </a:lnTo>
                      <a:lnTo>
                        <a:pt x="142" y="206"/>
                      </a:lnTo>
                      <a:lnTo>
                        <a:pt x="138" y="202"/>
                      </a:lnTo>
                      <a:lnTo>
                        <a:pt x="134" y="202"/>
                      </a:lnTo>
                      <a:lnTo>
                        <a:pt x="130" y="198"/>
                      </a:lnTo>
                      <a:lnTo>
                        <a:pt x="124" y="194"/>
                      </a:lnTo>
                      <a:lnTo>
                        <a:pt x="120" y="192"/>
                      </a:lnTo>
                      <a:lnTo>
                        <a:pt x="108" y="188"/>
                      </a:lnTo>
                      <a:lnTo>
                        <a:pt x="100" y="180"/>
                      </a:lnTo>
                      <a:lnTo>
                        <a:pt x="98" y="180"/>
                      </a:lnTo>
                      <a:lnTo>
                        <a:pt x="86" y="184"/>
                      </a:lnTo>
                      <a:lnTo>
                        <a:pt x="82" y="184"/>
                      </a:lnTo>
                      <a:lnTo>
                        <a:pt x="82" y="188"/>
                      </a:lnTo>
                      <a:lnTo>
                        <a:pt x="78" y="188"/>
                      </a:lnTo>
                      <a:lnTo>
                        <a:pt x="74" y="192"/>
                      </a:lnTo>
                      <a:lnTo>
                        <a:pt x="72" y="192"/>
                      </a:lnTo>
                      <a:lnTo>
                        <a:pt x="72" y="194"/>
                      </a:lnTo>
                      <a:lnTo>
                        <a:pt x="68" y="188"/>
                      </a:lnTo>
                      <a:lnTo>
                        <a:pt x="64" y="184"/>
                      </a:lnTo>
                      <a:lnTo>
                        <a:pt x="60" y="184"/>
                      </a:lnTo>
                      <a:lnTo>
                        <a:pt x="56" y="180"/>
                      </a:lnTo>
                      <a:lnTo>
                        <a:pt x="52" y="180"/>
                      </a:lnTo>
                      <a:lnTo>
                        <a:pt x="48" y="180"/>
                      </a:lnTo>
                      <a:lnTo>
                        <a:pt x="44" y="180"/>
                      </a:lnTo>
                      <a:lnTo>
                        <a:pt x="42" y="176"/>
                      </a:lnTo>
                      <a:lnTo>
                        <a:pt x="38" y="176"/>
                      </a:lnTo>
                      <a:lnTo>
                        <a:pt x="38" y="168"/>
                      </a:lnTo>
                      <a:lnTo>
                        <a:pt x="34" y="162"/>
                      </a:lnTo>
                      <a:lnTo>
                        <a:pt x="30" y="162"/>
                      </a:lnTo>
                      <a:lnTo>
                        <a:pt x="26" y="162"/>
                      </a:lnTo>
                      <a:lnTo>
                        <a:pt x="22" y="158"/>
                      </a:lnTo>
                      <a:lnTo>
                        <a:pt x="18" y="158"/>
                      </a:lnTo>
                      <a:lnTo>
                        <a:pt x="18" y="162"/>
                      </a:lnTo>
                      <a:lnTo>
                        <a:pt x="16" y="158"/>
                      </a:lnTo>
                      <a:lnTo>
                        <a:pt x="16" y="154"/>
                      </a:lnTo>
                      <a:lnTo>
                        <a:pt x="12" y="154"/>
                      </a:lnTo>
                      <a:lnTo>
                        <a:pt x="12" y="150"/>
                      </a:lnTo>
                      <a:lnTo>
                        <a:pt x="12" y="146"/>
                      </a:lnTo>
                      <a:lnTo>
                        <a:pt x="12" y="142"/>
                      </a:lnTo>
                      <a:lnTo>
                        <a:pt x="8" y="138"/>
                      </a:lnTo>
                      <a:lnTo>
                        <a:pt x="4" y="132"/>
                      </a:lnTo>
                      <a:lnTo>
                        <a:pt x="4" y="128"/>
                      </a:lnTo>
                      <a:lnTo>
                        <a:pt x="8" y="124"/>
                      </a:lnTo>
                      <a:lnTo>
                        <a:pt x="12" y="120"/>
                      </a:lnTo>
                      <a:lnTo>
                        <a:pt x="12" y="116"/>
                      </a:lnTo>
                      <a:lnTo>
                        <a:pt x="8" y="116"/>
                      </a:lnTo>
                      <a:lnTo>
                        <a:pt x="8" y="112"/>
                      </a:lnTo>
                      <a:lnTo>
                        <a:pt x="8" y="108"/>
                      </a:lnTo>
                      <a:lnTo>
                        <a:pt x="8" y="106"/>
                      </a:lnTo>
                      <a:lnTo>
                        <a:pt x="12" y="102"/>
                      </a:lnTo>
                      <a:lnTo>
                        <a:pt x="12" y="98"/>
                      </a:lnTo>
                      <a:lnTo>
                        <a:pt x="8" y="94"/>
                      </a:lnTo>
                      <a:lnTo>
                        <a:pt x="8" y="90"/>
                      </a:lnTo>
                      <a:lnTo>
                        <a:pt x="8" y="86"/>
                      </a:lnTo>
                      <a:lnTo>
                        <a:pt x="8" y="82"/>
                      </a:lnTo>
                      <a:lnTo>
                        <a:pt x="8" y="78"/>
                      </a:lnTo>
                      <a:lnTo>
                        <a:pt x="8" y="76"/>
                      </a:lnTo>
                      <a:lnTo>
                        <a:pt x="8" y="72"/>
                      </a:lnTo>
                      <a:lnTo>
                        <a:pt x="8" y="68"/>
                      </a:lnTo>
                      <a:lnTo>
                        <a:pt x="8" y="64"/>
                      </a:lnTo>
                      <a:lnTo>
                        <a:pt x="4" y="64"/>
                      </a:lnTo>
                      <a:lnTo>
                        <a:pt x="4" y="60"/>
                      </a:lnTo>
                      <a:lnTo>
                        <a:pt x="0" y="56"/>
                      </a:lnTo>
                      <a:lnTo>
                        <a:pt x="4" y="56"/>
                      </a:lnTo>
                      <a:lnTo>
                        <a:pt x="8" y="52"/>
                      </a:lnTo>
                      <a:lnTo>
                        <a:pt x="12" y="52"/>
                      </a:lnTo>
                      <a:lnTo>
                        <a:pt x="12" y="50"/>
                      </a:lnTo>
                      <a:lnTo>
                        <a:pt x="16" y="46"/>
                      </a:lnTo>
                      <a:lnTo>
                        <a:pt x="16" y="42"/>
                      </a:lnTo>
                      <a:lnTo>
                        <a:pt x="16" y="38"/>
                      </a:lnTo>
                      <a:lnTo>
                        <a:pt x="16" y="34"/>
                      </a:lnTo>
                      <a:lnTo>
                        <a:pt x="12" y="34"/>
                      </a:lnTo>
                      <a:lnTo>
                        <a:pt x="12" y="30"/>
                      </a:lnTo>
                      <a:lnTo>
                        <a:pt x="16" y="26"/>
                      </a:lnTo>
                      <a:lnTo>
                        <a:pt x="18" y="26"/>
                      </a:lnTo>
                      <a:lnTo>
                        <a:pt x="22" y="22"/>
                      </a:lnTo>
                      <a:lnTo>
                        <a:pt x="22" y="20"/>
                      </a:lnTo>
                      <a:lnTo>
                        <a:pt x="26" y="20"/>
                      </a:lnTo>
                      <a:lnTo>
                        <a:pt x="30" y="16"/>
                      </a:lnTo>
                      <a:lnTo>
                        <a:pt x="34" y="16"/>
                      </a:lnTo>
                      <a:lnTo>
                        <a:pt x="34" y="12"/>
                      </a:lnTo>
                      <a:lnTo>
                        <a:pt x="34" y="8"/>
                      </a:lnTo>
                      <a:lnTo>
                        <a:pt x="34" y="4"/>
                      </a:lnTo>
                      <a:lnTo>
                        <a:pt x="34" y="0"/>
                      </a:lnTo>
                      <a:lnTo>
                        <a:pt x="34" y="4"/>
                      </a:lnTo>
                      <a:lnTo>
                        <a:pt x="38" y="4"/>
                      </a:lnTo>
                      <a:lnTo>
                        <a:pt x="42" y="4"/>
                      </a:lnTo>
                      <a:lnTo>
                        <a:pt x="42" y="8"/>
                      </a:lnTo>
                      <a:lnTo>
                        <a:pt x="44" y="8"/>
                      </a:lnTo>
                      <a:lnTo>
                        <a:pt x="48" y="8"/>
                      </a:lnTo>
                      <a:lnTo>
                        <a:pt x="52" y="8"/>
                      </a:lnTo>
                      <a:lnTo>
                        <a:pt x="56" y="8"/>
                      </a:lnTo>
                      <a:lnTo>
                        <a:pt x="56" y="4"/>
                      </a:lnTo>
                      <a:lnTo>
                        <a:pt x="60" y="4"/>
                      </a:lnTo>
                      <a:lnTo>
                        <a:pt x="60" y="8"/>
                      </a:lnTo>
                      <a:lnTo>
                        <a:pt x="64" y="8"/>
                      </a:lnTo>
                      <a:lnTo>
                        <a:pt x="68" y="8"/>
                      </a:lnTo>
                      <a:lnTo>
                        <a:pt x="68" y="8"/>
                      </a:lnTo>
                      <a:lnTo>
                        <a:pt x="68" y="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08" name="Freeform 154"/>
                <p:cNvSpPr>
                  <a:spLocks noEditPoints="1"/>
                </p:cNvSpPr>
                <p:nvPr/>
              </p:nvSpPr>
              <p:spPr bwMode="auto">
                <a:xfrm>
                  <a:off x="5365750" y="4883218"/>
                  <a:ext cx="165100" cy="384175"/>
                </a:xfrm>
                <a:custGeom>
                  <a:avLst/>
                  <a:gdLst>
                    <a:gd name="T0" fmla="*/ 70 w 104"/>
                    <a:gd name="T1" fmla="*/ 26 h 242"/>
                    <a:gd name="T2" fmla="*/ 74 w 104"/>
                    <a:gd name="T3" fmla="*/ 152 h 242"/>
                    <a:gd name="T4" fmla="*/ 70 w 104"/>
                    <a:gd name="T5" fmla="*/ 168 h 242"/>
                    <a:gd name="T6" fmla="*/ 66 w 104"/>
                    <a:gd name="T7" fmla="*/ 182 h 242"/>
                    <a:gd name="T8" fmla="*/ 62 w 104"/>
                    <a:gd name="T9" fmla="*/ 194 h 242"/>
                    <a:gd name="T10" fmla="*/ 62 w 104"/>
                    <a:gd name="T11" fmla="*/ 208 h 242"/>
                    <a:gd name="T12" fmla="*/ 60 w 104"/>
                    <a:gd name="T13" fmla="*/ 220 h 242"/>
                    <a:gd name="T14" fmla="*/ 52 w 104"/>
                    <a:gd name="T15" fmla="*/ 232 h 242"/>
                    <a:gd name="T16" fmla="*/ 36 w 104"/>
                    <a:gd name="T17" fmla="*/ 236 h 242"/>
                    <a:gd name="T18" fmla="*/ 30 w 104"/>
                    <a:gd name="T19" fmla="*/ 242 h 242"/>
                    <a:gd name="T20" fmla="*/ 22 w 104"/>
                    <a:gd name="T21" fmla="*/ 236 h 242"/>
                    <a:gd name="T22" fmla="*/ 14 w 104"/>
                    <a:gd name="T23" fmla="*/ 236 h 242"/>
                    <a:gd name="T24" fmla="*/ 10 w 104"/>
                    <a:gd name="T25" fmla="*/ 224 h 242"/>
                    <a:gd name="T26" fmla="*/ 6 w 104"/>
                    <a:gd name="T27" fmla="*/ 208 h 242"/>
                    <a:gd name="T28" fmla="*/ 2 w 104"/>
                    <a:gd name="T29" fmla="*/ 198 h 242"/>
                    <a:gd name="T30" fmla="*/ 0 w 104"/>
                    <a:gd name="T31" fmla="*/ 186 h 242"/>
                    <a:gd name="T32" fmla="*/ 0 w 104"/>
                    <a:gd name="T33" fmla="*/ 172 h 242"/>
                    <a:gd name="T34" fmla="*/ 6 w 104"/>
                    <a:gd name="T35" fmla="*/ 164 h 242"/>
                    <a:gd name="T36" fmla="*/ 10 w 104"/>
                    <a:gd name="T37" fmla="*/ 152 h 242"/>
                    <a:gd name="T38" fmla="*/ 18 w 104"/>
                    <a:gd name="T39" fmla="*/ 138 h 242"/>
                    <a:gd name="T40" fmla="*/ 14 w 104"/>
                    <a:gd name="T41" fmla="*/ 130 h 242"/>
                    <a:gd name="T42" fmla="*/ 14 w 104"/>
                    <a:gd name="T43" fmla="*/ 116 h 242"/>
                    <a:gd name="T44" fmla="*/ 10 w 104"/>
                    <a:gd name="T45" fmla="*/ 104 h 242"/>
                    <a:gd name="T46" fmla="*/ 14 w 104"/>
                    <a:gd name="T47" fmla="*/ 94 h 242"/>
                    <a:gd name="T48" fmla="*/ 18 w 104"/>
                    <a:gd name="T49" fmla="*/ 82 h 242"/>
                    <a:gd name="T50" fmla="*/ 22 w 104"/>
                    <a:gd name="T51" fmla="*/ 74 h 242"/>
                    <a:gd name="T52" fmla="*/ 30 w 104"/>
                    <a:gd name="T53" fmla="*/ 74 h 242"/>
                    <a:gd name="T54" fmla="*/ 32 w 104"/>
                    <a:gd name="T55" fmla="*/ 70 h 242"/>
                    <a:gd name="T56" fmla="*/ 40 w 104"/>
                    <a:gd name="T57" fmla="*/ 70 h 242"/>
                    <a:gd name="T58" fmla="*/ 44 w 104"/>
                    <a:gd name="T59" fmla="*/ 70 h 242"/>
                    <a:gd name="T60" fmla="*/ 48 w 104"/>
                    <a:gd name="T61" fmla="*/ 60 h 242"/>
                    <a:gd name="T62" fmla="*/ 52 w 104"/>
                    <a:gd name="T63" fmla="*/ 64 h 242"/>
                    <a:gd name="T64" fmla="*/ 60 w 104"/>
                    <a:gd name="T65" fmla="*/ 52 h 242"/>
                    <a:gd name="T66" fmla="*/ 60 w 104"/>
                    <a:gd name="T67" fmla="*/ 52 h 242"/>
                    <a:gd name="T68" fmla="*/ 66 w 104"/>
                    <a:gd name="T69" fmla="*/ 48 h 242"/>
                    <a:gd name="T70" fmla="*/ 62 w 104"/>
                    <a:gd name="T71" fmla="*/ 44 h 242"/>
                    <a:gd name="T72" fmla="*/ 66 w 104"/>
                    <a:gd name="T73" fmla="*/ 40 h 242"/>
                    <a:gd name="T74" fmla="*/ 70 w 104"/>
                    <a:gd name="T75" fmla="*/ 30 h 242"/>
                    <a:gd name="T76" fmla="*/ 74 w 104"/>
                    <a:gd name="T77" fmla="*/ 30 h 242"/>
                    <a:gd name="T78" fmla="*/ 78 w 104"/>
                    <a:gd name="T79" fmla="*/ 18 h 242"/>
                    <a:gd name="T80" fmla="*/ 82 w 104"/>
                    <a:gd name="T81" fmla="*/ 10 h 242"/>
                    <a:gd name="T82" fmla="*/ 82 w 104"/>
                    <a:gd name="T83" fmla="*/ 4 h 242"/>
                    <a:gd name="T84" fmla="*/ 86 w 104"/>
                    <a:gd name="T85" fmla="*/ 8 h 242"/>
                    <a:gd name="T86" fmla="*/ 88 w 104"/>
                    <a:gd name="T87" fmla="*/ 10 h 242"/>
                    <a:gd name="T88" fmla="*/ 96 w 104"/>
                    <a:gd name="T89" fmla="*/ 18 h 242"/>
                    <a:gd name="T90" fmla="*/ 96 w 104"/>
                    <a:gd name="T91" fmla="*/ 26 h 242"/>
                    <a:gd name="T92" fmla="*/ 96 w 104"/>
                    <a:gd name="T93" fmla="*/ 40 h 242"/>
                    <a:gd name="T94" fmla="*/ 100 w 104"/>
                    <a:gd name="T95" fmla="*/ 48 h 242"/>
                    <a:gd name="T96" fmla="*/ 100 w 104"/>
                    <a:gd name="T97" fmla="*/ 64 h 242"/>
                    <a:gd name="T98" fmla="*/ 96 w 104"/>
                    <a:gd name="T99" fmla="*/ 66 h 242"/>
                    <a:gd name="T100" fmla="*/ 92 w 104"/>
                    <a:gd name="T101" fmla="*/ 66 h 242"/>
                    <a:gd name="T102" fmla="*/ 92 w 104"/>
                    <a:gd name="T103" fmla="*/ 82 h 242"/>
                    <a:gd name="T104" fmla="*/ 88 w 104"/>
                    <a:gd name="T105" fmla="*/ 94 h 242"/>
                    <a:gd name="T106" fmla="*/ 88 w 104"/>
                    <a:gd name="T107" fmla="*/ 108 h 242"/>
                    <a:gd name="T108" fmla="*/ 86 w 104"/>
                    <a:gd name="T109" fmla="*/ 122 h 242"/>
                    <a:gd name="T110" fmla="*/ 82 w 104"/>
                    <a:gd name="T111" fmla="*/ 134 h 242"/>
                    <a:gd name="T112" fmla="*/ 78 w 104"/>
                    <a:gd name="T113" fmla="*/ 146 h 242"/>
                    <a:gd name="T114" fmla="*/ 74 w 104"/>
                    <a:gd name="T115" fmla="*/ 150 h 242"/>
                    <a:gd name="T116" fmla="*/ 96 w 104"/>
                    <a:gd name="T117" fmla="*/ 90 h 2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04" h="242">
                      <a:moveTo>
                        <a:pt x="70" y="26"/>
                      </a:moveTo>
                      <a:lnTo>
                        <a:pt x="70" y="22"/>
                      </a:lnTo>
                      <a:lnTo>
                        <a:pt x="74" y="26"/>
                      </a:lnTo>
                      <a:lnTo>
                        <a:pt x="70" y="26"/>
                      </a:lnTo>
                      <a:lnTo>
                        <a:pt x="70" y="26"/>
                      </a:lnTo>
                      <a:lnTo>
                        <a:pt x="70" y="26"/>
                      </a:lnTo>
                      <a:close/>
                      <a:moveTo>
                        <a:pt x="74" y="150"/>
                      </a:moveTo>
                      <a:lnTo>
                        <a:pt x="74" y="152"/>
                      </a:lnTo>
                      <a:lnTo>
                        <a:pt x="74" y="156"/>
                      </a:lnTo>
                      <a:lnTo>
                        <a:pt x="74" y="160"/>
                      </a:lnTo>
                      <a:lnTo>
                        <a:pt x="74" y="164"/>
                      </a:lnTo>
                      <a:lnTo>
                        <a:pt x="70" y="168"/>
                      </a:lnTo>
                      <a:lnTo>
                        <a:pt x="70" y="172"/>
                      </a:lnTo>
                      <a:lnTo>
                        <a:pt x="70" y="176"/>
                      </a:lnTo>
                      <a:lnTo>
                        <a:pt x="66" y="180"/>
                      </a:lnTo>
                      <a:lnTo>
                        <a:pt x="66" y="182"/>
                      </a:lnTo>
                      <a:lnTo>
                        <a:pt x="66" y="186"/>
                      </a:lnTo>
                      <a:lnTo>
                        <a:pt x="66" y="190"/>
                      </a:lnTo>
                      <a:lnTo>
                        <a:pt x="66" y="194"/>
                      </a:lnTo>
                      <a:lnTo>
                        <a:pt x="62" y="194"/>
                      </a:lnTo>
                      <a:lnTo>
                        <a:pt x="62" y="198"/>
                      </a:lnTo>
                      <a:lnTo>
                        <a:pt x="62" y="202"/>
                      </a:lnTo>
                      <a:lnTo>
                        <a:pt x="62" y="206"/>
                      </a:lnTo>
                      <a:lnTo>
                        <a:pt x="62" y="208"/>
                      </a:lnTo>
                      <a:lnTo>
                        <a:pt x="60" y="208"/>
                      </a:lnTo>
                      <a:lnTo>
                        <a:pt x="60" y="212"/>
                      </a:lnTo>
                      <a:lnTo>
                        <a:pt x="60" y="216"/>
                      </a:lnTo>
                      <a:lnTo>
                        <a:pt x="60" y="220"/>
                      </a:lnTo>
                      <a:lnTo>
                        <a:pt x="56" y="224"/>
                      </a:lnTo>
                      <a:lnTo>
                        <a:pt x="56" y="228"/>
                      </a:lnTo>
                      <a:lnTo>
                        <a:pt x="56" y="232"/>
                      </a:lnTo>
                      <a:lnTo>
                        <a:pt x="52" y="232"/>
                      </a:lnTo>
                      <a:lnTo>
                        <a:pt x="48" y="236"/>
                      </a:lnTo>
                      <a:lnTo>
                        <a:pt x="44" y="236"/>
                      </a:lnTo>
                      <a:lnTo>
                        <a:pt x="40" y="236"/>
                      </a:lnTo>
                      <a:lnTo>
                        <a:pt x="36" y="236"/>
                      </a:lnTo>
                      <a:lnTo>
                        <a:pt x="36" y="238"/>
                      </a:lnTo>
                      <a:lnTo>
                        <a:pt x="32" y="238"/>
                      </a:lnTo>
                      <a:lnTo>
                        <a:pt x="32" y="242"/>
                      </a:lnTo>
                      <a:lnTo>
                        <a:pt x="30" y="242"/>
                      </a:lnTo>
                      <a:lnTo>
                        <a:pt x="26" y="242"/>
                      </a:lnTo>
                      <a:lnTo>
                        <a:pt x="26" y="238"/>
                      </a:lnTo>
                      <a:lnTo>
                        <a:pt x="22" y="238"/>
                      </a:lnTo>
                      <a:lnTo>
                        <a:pt x="22" y="236"/>
                      </a:lnTo>
                      <a:lnTo>
                        <a:pt x="18" y="236"/>
                      </a:lnTo>
                      <a:lnTo>
                        <a:pt x="14" y="236"/>
                      </a:lnTo>
                      <a:lnTo>
                        <a:pt x="18" y="236"/>
                      </a:lnTo>
                      <a:lnTo>
                        <a:pt x="14" y="236"/>
                      </a:lnTo>
                      <a:lnTo>
                        <a:pt x="14" y="232"/>
                      </a:lnTo>
                      <a:lnTo>
                        <a:pt x="10" y="232"/>
                      </a:lnTo>
                      <a:lnTo>
                        <a:pt x="10" y="228"/>
                      </a:lnTo>
                      <a:lnTo>
                        <a:pt x="10" y="224"/>
                      </a:lnTo>
                      <a:lnTo>
                        <a:pt x="6" y="220"/>
                      </a:lnTo>
                      <a:lnTo>
                        <a:pt x="6" y="216"/>
                      </a:lnTo>
                      <a:lnTo>
                        <a:pt x="6" y="212"/>
                      </a:lnTo>
                      <a:lnTo>
                        <a:pt x="6" y="208"/>
                      </a:lnTo>
                      <a:lnTo>
                        <a:pt x="6" y="206"/>
                      </a:lnTo>
                      <a:lnTo>
                        <a:pt x="6" y="202"/>
                      </a:lnTo>
                      <a:lnTo>
                        <a:pt x="2" y="202"/>
                      </a:lnTo>
                      <a:lnTo>
                        <a:pt x="2" y="198"/>
                      </a:lnTo>
                      <a:lnTo>
                        <a:pt x="2" y="194"/>
                      </a:lnTo>
                      <a:lnTo>
                        <a:pt x="2" y="190"/>
                      </a:lnTo>
                      <a:lnTo>
                        <a:pt x="0" y="190"/>
                      </a:lnTo>
                      <a:lnTo>
                        <a:pt x="0" y="186"/>
                      </a:lnTo>
                      <a:lnTo>
                        <a:pt x="0" y="182"/>
                      </a:lnTo>
                      <a:lnTo>
                        <a:pt x="0" y="180"/>
                      </a:lnTo>
                      <a:lnTo>
                        <a:pt x="0" y="176"/>
                      </a:lnTo>
                      <a:lnTo>
                        <a:pt x="0" y="172"/>
                      </a:lnTo>
                      <a:lnTo>
                        <a:pt x="2" y="172"/>
                      </a:lnTo>
                      <a:lnTo>
                        <a:pt x="2" y="168"/>
                      </a:lnTo>
                      <a:lnTo>
                        <a:pt x="2" y="164"/>
                      </a:lnTo>
                      <a:lnTo>
                        <a:pt x="6" y="164"/>
                      </a:lnTo>
                      <a:lnTo>
                        <a:pt x="6" y="160"/>
                      </a:lnTo>
                      <a:lnTo>
                        <a:pt x="10" y="160"/>
                      </a:lnTo>
                      <a:lnTo>
                        <a:pt x="10" y="156"/>
                      </a:lnTo>
                      <a:lnTo>
                        <a:pt x="10" y="152"/>
                      </a:lnTo>
                      <a:lnTo>
                        <a:pt x="14" y="150"/>
                      </a:lnTo>
                      <a:lnTo>
                        <a:pt x="14" y="146"/>
                      </a:lnTo>
                      <a:lnTo>
                        <a:pt x="18" y="142"/>
                      </a:lnTo>
                      <a:lnTo>
                        <a:pt x="18" y="138"/>
                      </a:lnTo>
                      <a:lnTo>
                        <a:pt x="14" y="138"/>
                      </a:lnTo>
                      <a:lnTo>
                        <a:pt x="18" y="134"/>
                      </a:lnTo>
                      <a:lnTo>
                        <a:pt x="18" y="130"/>
                      </a:lnTo>
                      <a:lnTo>
                        <a:pt x="14" y="130"/>
                      </a:lnTo>
                      <a:lnTo>
                        <a:pt x="14" y="126"/>
                      </a:lnTo>
                      <a:lnTo>
                        <a:pt x="14" y="122"/>
                      </a:lnTo>
                      <a:lnTo>
                        <a:pt x="14" y="120"/>
                      </a:lnTo>
                      <a:lnTo>
                        <a:pt x="14" y="116"/>
                      </a:lnTo>
                      <a:lnTo>
                        <a:pt x="10" y="116"/>
                      </a:lnTo>
                      <a:lnTo>
                        <a:pt x="10" y="112"/>
                      </a:lnTo>
                      <a:lnTo>
                        <a:pt x="10" y="108"/>
                      </a:lnTo>
                      <a:lnTo>
                        <a:pt x="10" y="104"/>
                      </a:lnTo>
                      <a:lnTo>
                        <a:pt x="10" y="100"/>
                      </a:lnTo>
                      <a:lnTo>
                        <a:pt x="10" y="96"/>
                      </a:lnTo>
                      <a:lnTo>
                        <a:pt x="10" y="94"/>
                      </a:lnTo>
                      <a:lnTo>
                        <a:pt x="14" y="94"/>
                      </a:lnTo>
                      <a:lnTo>
                        <a:pt x="14" y="90"/>
                      </a:lnTo>
                      <a:lnTo>
                        <a:pt x="14" y="86"/>
                      </a:lnTo>
                      <a:lnTo>
                        <a:pt x="18" y="86"/>
                      </a:lnTo>
                      <a:lnTo>
                        <a:pt x="18" y="82"/>
                      </a:lnTo>
                      <a:lnTo>
                        <a:pt x="18" y="78"/>
                      </a:lnTo>
                      <a:lnTo>
                        <a:pt x="14" y="78"/>
                      </a:lnTo>
                      <a:lnTo>
                        <a:pt x="18" y="74"/>
                      </a:lnTo>
                      <a:lnTo>
                        <a:pt x="22" y="74"/>
                      </a:lnTo>
                      <a:lnTo>
                        <a:pt x="26" y="74"/>
                      </a:lnTo>
                      <a:lnTo>
                        <a:pt x="26" y="70"/>
                      </a:lnTo>
                      <a:lnTo>
                        <a:pt x="30" y="70"/>
                      </a:lnTo>
                      <a:lnTo>
                        <a:pt x="30" y="74"/>
                      </a:lnTo>
                      <a:lnTo>
                        <a:pt x="30" y="70"/>
                      </a:lnTo>
                      <a:lnTo>
                        <a:pt x="32" y="70"/>
                      </a:lnTo>
                      <a:lnTo>
                        <a:pt x="32" y="74"/>
                      </a:lnTo>
                      <a:lnTo>
                        <a:pt x="32" y="70"/>
                      </a:lnTo>
                      <a:lnTo>
                        <a:pt x="32" y="66"/>
                      </a:lnTo>
                      <a:lnTo>
                        <a:pt x="36" y="66"/>
                      </a:lnTo>
                      <a:lnTo>
                        <a:pt x="36" y="70"/>
                      </a:lnTo>
                      <a:lnTo>
                        <a:pt x="40" y="70"/>
                      </a:lnTo>
                      <a:lnTo>
                        <a:pt x="40" y="66"/>
                      </a:lnTo>
                      <a:lnTo>
                        <a:pt x="44" y="66"/>
                      </a:lnTo>
                      <a:lnTo>
                        <a:pt x="40" y="66"/>
                      </a:lnTo>
                      <a:lnTo>
                        <a:pt x="44" y="70"/>
                      </a:lnTo>
                      <a:lnTo>
                        <a:pt x="44" y="66"/>
                      </a:lnTo>
                      <a:lnTo>
                        <a:pt x="44" y="64"/>
                      </a:lnTo>
                      <a:lnTo>
                        <a:pt x="48" y="64"/>
                      </a:lnTo>
                      <a:lnTo>
                        <a:pt x="48" y="60"/>
                      </a:lnTo>
                      <a:lnTo>
                        <a:pt x="52" y="60"/>
                      </a:lnTo>
                      <a:lnTo>
                        <a:pt x="56" y="60"/>
                      </a:lnTo>
                      <a:lnTo>
                        <a:pt x="52" y="60"/>
                      </a:lnTo>
                      <a:lnTo>
                        <a:pt x="52" y="64"/>
                      </a:lnTo>
                      <a:lnTo>
                        <a:pt x="56" y="64"/>
                      </a:lnTo>
                      <a:lnTo>
                        <a:pt x="56" y="60"/>
                      </a:lnTo>
                      <a:lnTo>
                        <a:pt x="56" y="56"/>
                      </a:lnTo>
                      <a:lnTo>
                        <a:pt x="60" y="52"/>
                      </a:lnTo>
                      <a:lnTo>
                        <a:pt x="56" y="52"/>
                      </a:lnTo>
                      <a:lnTo>
                        <a:pt x="60" y="52"/>
                      </a:lnTo>
                      <a:lnTo>
                        <a:pt x="60" y="48"/>
                      </a:lnTo>
                      <a:lnTo>
                        <a:pt x="60" y="52"/>
                      </a:lnTo>
                      <a:lnTo>
                        <a:pt x="60" y="56"/>
                      </a:lnTo>
                      <a:lnTo>
                        <a:pt x="62" y="52"/>
                      </a:lnTo>
                      <a:lnTo>
                        <a:pt x="62" y="48"/>
                      </a:lnTo>
                      <a:lnTo>
                        <a:pt x="66" y="48"/>
                      </a:lnTo>
                      <a:lnTo>
                        <a:pt x="66" y="52"/>
                      </a:lnTo>
                      <a:lnTo>
                        <a:pt x="66" y="48"/>
                      </a:lnTo>
                      <a:lnTo>
                        <a:pt x="62" y="48"/>
                      </a:lnTo>
                      <a:lnTo>
                        <a:pt x="62" y="44"/>
                      </a:lnTo>
                      <a:lnTo>
                        <a:pt x="62" y="40"/>
                      </a:lnTo>
                      <a:lnTo>
                        <a:pt x="66" y="40"/>
                      </a:lnTo>
                      <a:lnTo>
                        <a:pt x="66" y="38"/>
                      </a:lnTo>
                      <a:lnTo>
                        <a:pt x="66" y="40"/>
                      </a:lnTo>
                      <a:lnTo>
                        <a:pt x="66" y="38"/>
                      </a:lnTo>
                      <a:lnTo>
                        <a:pt x="66" y="34"/>
                      </a:lnTo>
                      <a:lnTo>
                        <a:pt x="66" y="30"/>
                      </a:lnTo>
                      <a:lnTo>
                        <a:pt x="70" y="30"/>
                      </a:lnTo>
                      <a:lnTo>
                        <a:pt x="70" y="34"/>
                      </a:lnTo>
                      <a:lnTo>
                        <a:pt x="74" y="30"/>
                      </a:lnTo>
                      <a:lnTo>
                        <a:pt x="70" y="30"/>
                      </a:lnTo>
                      <a:lnTo>
                        <a:pt x="74" y="30"/>
                      </a:lnTo>
                      <a:lnTo>
                        <a:pt x="74" y="26"/>
                      </a:lnTo>
                      <a:lnTo>
                        <a:pt x="78" y="26"/>
                      </a:lnTo>
                      <a:lnTo>
                        <a:pt x="78" y="22"/>
                      </a:lnTo>
                      <a:lnTo>
                        <a:pt x="78" y="18"/>
                      </a:lnTo>
                      <a:lnTo>
                        <a:pt x="82" y="18"/>
                      </a:lnTo>
                      <a:lnTo>
                        <a:pt x="82" y="14"/>
                      </a:lnTo>
                      <a:lnTo>
                        <a:pt x="78" y="10"/>
                      </a:lnTo>
                      <a:lnTo>
                        <a:pt x="82" y="10"/>
                      </a:lnTo>
                      <a:lnTo>
                        <a:pt x="82" y="8"/>
                      </a:lnTo>
                      <a:lnTo>
                        <a:pt x="86" y="8"/>
                      </a:lnTo>
                      <a:lnTo>
                        <a:pt x="86" y="4"/>
                      </a:lnTo>
                      <a:lnTo>
                        <a:pt x="82" y="4"/>
                      </a:lnTo>
                      <a:lnTo>
                        <a:pt x="86" y="4"/>
                      </a:lnTo>
                      <a:lnTo>
                        <a:pt x="86" y="0"/>
                      </a:lnTo>
                      <a:lnTo>
                        <a:pt x="86" y="4"/>
                      </a:lnTo>
                      <a:lnTo>
                        <a:pt x="86" y="8"/>
                      </a:lnTo>
                      <a:lnTo>
                        <a:pt x="86" y="4"/>
                      </a:lnTo>
                      <a:lnTo>
                        <a:pt x="86" y="8"/>
                      </a:lnTo>
                      <a:lnTo>
                        <a:pt x="88" y="8"/>
                      </a:lnTo>
                      <a:lnTo>
                        <a:pt x="88" y="10"/>
                      </a:lnTo>
                      <a:lnTo>
                        <a:pt x="88" y="14"/>
                      </a:lnTo>
                      <a:lnTo>
                        <a:pt x="92" y="14"/>
                      </a:lnTo>
                      <a:lnTo>
                        <a:pt x="92" y="18"/>
                      </a:lnTo>
                      <a:lnTo>
                        <a:pt x="96" y="18"/>
                      </a:lnTo>
                      <a:lnTo>
                        <a:pt x="96" y="22"/>
                      </a:lnTo>
                      <a:lnTo>
                        <a:pt x="92" y="22"/>
                      </a:lnTo>
                      <a:lnTo>
                        <a:pt x="96" y="22"/>
                      </a:lnTo>
                      <a:lnTo>
                        <a:pt x="96" y="26"/>
                      </a:lnTo>
                      <a:lnTo>
                        <a:pt x="96" y="30"/>
                      </a:lnTo>
                      <a:lnTo>
                        <a:pt x="96" y="34"/>
                      </a:lnTo>
                      <a:lnTo>
                        <a:pt x="96" y="38"/>
                      </a:lnTo>
                      <a:lnTo>
                        <a:pt x="96" y="40"/>
                      </a:lnTo>
                      <a:lnTo>
                        <a:pt x="100" y="40"/>
                      </a:lnTo>
                      <a:lnTo>
                        <a:pt x="100" y="44"/>
                      </a:lnTo>
                      <a:lnTo>
                        <a:pt x="96" y="44"/>
                      </a:lnTo>
                      <a:lnTo>
                        <a:pt x="100" y="48"/>
                      </a:lnTo>
                      <a:lnTo>
                        <a:pt x="100" y="52"/>
                      </a:lnTo>
                      <a:lnTo>
                        <a:pt x="100" y="56"/>
                      </a:lnTo>
                      <a:lnTo>
                        <a:pt x="104" y="60"/>
                      </a:lnTo>
                      <a:lnTo>
                        <a:pt x="100" y="64"/>
                      </a:lnTo>
                      <a:lnTo>
                        <a:pt x="100" y="66"/>
                      </a:lnTo>
                      <a:lnTo>
                        <a:pt x="100" y="70"/>
                      </a:lnTo>
                      <a:lnTo>
                        <a:pt x="96" y="70"/>
                      </a:lnTo>
                      <a:lnTo>
                        <a:pt x="96" y="66"/>
                      </a:lnTo>
                      <a:lnTo>
                        <a:pt x="92" y="64"/>
                      </a:lnTo>
                      <a:lnTo>
                        <a:pt x="88" y="64"/>
                      </a:lnTo>
                      <a:lnTo>
                        <a:pt x="88" y="66"/>
                      </a:lnTo>
                      <a:lnTo>
                        <a:pt x="92" y="66"/>
                      </a:lnTo>
                      <a:lnTo>
                        <a:pt x="92" y="70"/>
                      </a:lnTo>
                      <a:lnTo>
                        <a:pt x="92" y="74"/>
                      </a:lnTo>
                      <a:lnTo>
                        <a:pt x="92" y="78"/>
                      </a:lnTo>
                      <a:lnTo>
                        <a:pt x="92" y="82"/>
                      </a:lnTo>
                      <a:lnTo>
                        <a:pt x="92" y="86"/>
                      </a:lnTo>
                      <a:lnTo>
                        <a:pt x="88" y="86"/>
                      </a:lnTo>
                      <a:lnTo>
                        <a:pt x="88" y="90"/>
                      </a:lnTo>
                      <a:lnTo>
                        <a:pt x="88" y="94"/>
                      </a:lnTo>
                      <a:lnTo>
                        <a:pt x="88" y="96"/>
                      </a:lnTo>
                      <a:lnTo>
                        <a:pt x="88" y="100"/>
                      </a:lnTo>
                      <a:lnTo>
                        <a:pt x="88" y="104"/>
                      </a:lnTo>
                      <a:lnTo>
                        <a:pt x="88" y="108"/>
                      </a:lnTo>
                      <a:lnTo>
                        <a:pt x="86" y="112"/>
                      </a:lnTo>
                      <a:lnTo>
                        <a:pt x="86" y="116"/>
                      </a:lnTo>
                      <a:lnTo>
                        <a:pt x="86" y="120"/>
                      </a:lnTo>
                      <a:lnTo>
                        <a:pt x="86" y="122"/>
                      </a:lnTo>
                      <a:lnTo>
                        <a:pt x="82" y="122"/>
                      </a:lnTo>
                      <a:lnTo>
                        <a:pt x="82" y="126"/>
                      </a:lnTo>
                      <a:lnTo>
                        <a:pt x="82" y="130"/>
                      </a:lnTo>
                      <a:lnTo>
                        <a:pt x="82" y="134"/>
                      </a:lnTo>
                      <a:lnTo>
                        <a:pt x="78" y="134"/>
                      </a:lnTo>
                      <a:lnTo>
                        <a:pt x="78" y="138"/>
                      </a:lnTo>
                      <a:lnTo>
                        <a:pt x="78" y="142"/>
                      </a:lnTo>
                      <a:lnTo>
                        <a:pt x="78" y="146"/>
                      </a:lnTo>
                      <a:lnTo>
                        <a:pt x="78" y="150"/>
                      </a:lnTo>
                      <a:lnTo>
                        <a:pt x="74" y="150"/>
                      </a:lnTo>
                      <a:lnTo>
                        <a:pt x="74" y="150"/>
                      </a:lnTo>
                      <a:lnTo>
                        <a:pt x="74" y="150"/>
                      </a:lnTo>
                      <a:close/>
                      <a:moveTo>
                        <a:pt x="92" y="90"/>
                      </a:moveTo>
                      <a:lnTo>
                        <a:pt x="92" y="86"/>
                      </a:lnTo>
                      <a:lnTo>
                        <a:pt x="96" y="86"/>
                      </a:lnTo>
                      <a:lnTo>
                        <a:pt x="96" y="90"/>
                      </a:lnTo>
                      <a:lnTo>
                        <a:pt x="92" y="90"/>
                      </a:lnTo>
                      <a:lnTo>
                        <a:pt x="92" y="90"/>
                      </a:lnTo>
                      <a:lnTo>
                        <a:pt x="92" y="9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09" name="Freeform 155"/>
                <p:cNvSpPr>
                  <a:spLocks noEditPoints="1"/>
                </p:cNvSpPr>
                <p:nvPr/>
              </p:nvSpPr>
              <p:spPr bwMode="auto">
                <a:xfrm>
                  <a:off x="5127625" y="4816543"/>
                  <a:ext cx="69850" cy="212725"/>
                </a:xfrm>
                <a:custGeom>
                  <a:avLst/>
                  <a:gdLst>
                    <a:gd name="T0" fmla="*/ 4 w 44"/>
                    <a:gd name="T1" fmla="*/ 78 h 134"/>
                    <a:gd name="T2" fmla="*/ 0 w 44"/>
                    <a:gd name="T3" fmla="*/ 72 h 134"/>
                    <a:gd name="T4" fmla="*/ 4 w 44"/>
                    <a:gd name="T5" fmla="*/ 68 h 134"/>
                    <a:gd name="T6" fmla="*/ 4 w 44"/>
                    <a:gd name="T7" fmla="*/ 60 h 134"/>
                    <a:gd name="T8" fmla="*/ 4 w 44"/>
                    <a:gd name="T9" fmla="*/ 56 h 134"/>
                    <a:gd name="T10" fmla="*/ 10 w 44"/>
                    <a:gd name="T11" fmla="*/ 52 h 134"/>
                    <a:gd name="T12" fmla="*/ 10 w 44"/>
                    <a:gd name="T13" fmla="*/ 48 h 134"/>
                    <a:gd name="T14" fmla="*/ 10 w 44"/>
                    <a:gd name="T15" fmla="*/ 48 h 134"/>
                    <a:gd name="T16" fmla="*/ 6 w 44"/>
                    <a:gd name="T17" fmla="*/ 38 h 134"/>
                    <a:gd name="T18" fmla="*/ 10 w 44"/>
                    <a:gd name="T19" fmla="*/ 30 h 134"/>
                    <a:gd name="T20" fmla="*/ 6 w 44"/>
                    <a:gd name="T21" fmla="*/ 26 h 134"/>
                    <a:gd name="T22" fmla="*/ 10 w 44"/>
                    <a:gd name="T23" fmla="*/ 22 h 134"/>
                    <a:gd name="T24" fmla="*/ 14 w 44"/>
                    <a:gd name="T25" fmla="*/ 20 h 134"/>
                    <a:gd name="T26" fmla="*/ 10 w 44"/>
                    <a:gd name="T27" fmla="*/ 16 h 134"/>
                    <a:gd name="T28" fmla="*/ 6 w 44"/>
                    <a:gd name="T29" fmla="*/ 12 h 134"/>
                    <a:gd name="T30" fmla="*/ 6 w 44"/>
                    <a:gd name="T31" fmla="*/ 4 h 134"/>
                    <a:gd name="T32" fmla="*/ 6 w 44"/>
                    <a:gd name="T33" fmla="*/ 4 h 134"/>
                    <a:gd name="T34" fmla="*/ 4 w 44"/>
                    <a:gd name="T35" fmla="*/ 0 h 134"/>
                    <a:gd name="T36" fmla="*/ 4 w 44"/>
                    <a:gd name="T37" fmla="*/ 0 h 134"/>
                    <a:gd name="T38" fmla="*/ 10 w 44"/>
                    <a:gd name="T39" fmla="*/ 0 h 134"/>
                    <a:gd name="T40" fmla="*/ 14 w 44"/>
                    <a:gd name="T41" fmla="*/ 4 h 134"/>
                    <a:gd name="T42" fmla="*/ 18 w 44"/>
                    <a:gd name="T43" fmla="*/ 4 h 134"/>
                    <a:gd name="T44" fmla="*/ 18 w 44"/>
                    <a:gd name="T45" fmla="*/ 0 h 134"/>
                    <a:gd name="T46" fmla="*/ 26 w 44"/>
                    <a:gd name="T47" fmla="*/ 8 h 134"/>
                    <a:gd name="T48" fmla="*/ 26 w 44"/>
                    <a:gd name="T49" fmla="*/ 16 h 134"/>
                    <a:gd name="T50" fmla="*/ 26 w 44"/>
                    <a:gd name="T51" fmla="*/ 20 h 134"/>
                    <a:gd name="T52" fmla="*/ 26 w 44"/>
                    <a:gd name="T53" fmla="*/ 26 h 134"/>
                    <a:gd name="T54" fmla="*/ 30 w 44"/>
                    <a:gd name="T55" fmla="*/ 30 h 134"/>
                    <a:gd name="T56" fmla="*/ 34 w 44"/>
                    <a:gd name="T57" fmla="*/ 38 h 134"/>
                    <a:gd name="T58" fmla="*/ 26 w 44"/>
                    <a:gd name="T59" fmla="*/ 38 h 134"/>
                    <a:gd name="T60" fmla="*/ 26 w 44"/>
                    <a:gd name="T61" fmla="*/ 42 h 134"/>
                    <a:gd name="T62" fmla="*/ 22 w 44"/>
                    <a:gd name="T63" fmla="*/ 48 h 134"/>
                    <a:gd name="T64" fmla="*/ 26 w 44"/>
                    <a:gd name="T65" fmla="*/ 52 h 134"/>
                    <a:gd name="T66" fmla="*/ 26 w 44"/>
                    <a:gd name="T67" fmla="*/ 56 h 134"/>
                    <a:gd name="T68" fmla="*/ 26 w 44"/>
                    <a:gd name="T69" fmla="*/ 68 h 134"/>
                    <a:gd name="T70" fmla="*/ 30 w 44"/>
                    <a:gd name="T71" fmla="*/ 72 h 134"/>
                    <a:gd name="T72" fmla="*/ 40 w 44"/>
                    <a:gd name="T73" fmla="*/ 82 h 134"/>
                    <a:gd name="T74" fmla="*/ 44 w 44"/>
                    <a:gd name="T75" fmla="*/ 94 h 134"/>
                    <a:gd name="T76" fmla="*/ 44 w 44"/>
                    <a:gd name="T77" fmla="*/ 102 h 134"/>
                    <a:gd name="T78" fmla="*/ 44 w 44"/>
                    <a:gd name="T79" fmla="*/ 112 h 134"/>
                    <a:gd name="T80" fmla="*/ 40 w 44"/>
                    <a:gd name="T81" fmla="*/ 116 h 134"/>
                    <a:gd name="T82" fmla="*/ 38 w 44"/>
                    <a:gd name="T83" fmla="*/ 124 h 134"/>
                    <a:gd name="T84" fmla="*/ 38 w 44"/>
                    <a:gd name="T85" fmla="*/ 124 h 134"/>
                    <a:gd name="T86" fmla="*/ 38 w 44"/>
                    <a:gd name="T87" fmla="*/ 132 h 134"/>
                    <a:gd name="T88" fmla="*/ 34 w 44"/>
                    <a:gd name="T89" fmla="*/ 132 h 134"/>
                    <a:gd name="T90" fmla="*/ 34 w 44"/>
                    <a:gd name="T91" fmla="*/ 128 h 134"/>
                    <a:gd name="T92" fmla="*/ 30 w 44"/>
                    <a:gd name="T93" fmla="*/ 124 h 134"/>
                    <a:gd name="T94" fmla="*/ 26 w 44"/>
                    <a:gd name="T95" fmla="*/ 120 h 134"/>
                    <a:gd name="T96" fmla="*/ 26 w 44"/>
                    <a:gd name="T97" fmla="*/ 116 h 134"/>
                    <a:gd name="T98" fmla="*/ 22 w 44"/>
                    <a:gd name="T99" fmla="*/ 112 h 134"/>
                    <a:gd name="T100" fmla="*/ 22 w 44"/>
                    <a:gd name="T101" fmla="*/ 108 h 134"/>
                    <a:gd name="T102" fmla="*/ 26 w 44"/>
                    <a:gd name="T103" fmla="*/ 104 h 134"/>
                    <a:gd name="T104" fmla="*/ 26 w 44"/>
                    <a:gd name="T105" fmla="*/ 102 h 134"/>
                    <a:gd name="T106" fmla="*/ 26 w 44"/>
                    <a:gd name="T107" fmla="*/ 98 h 134"/>
                    <a:gd name="T108" fmla="*/ 26 w 44"/>
                    <a:gd name="T109" fmla="*/ 90 h 134"/>
                    <a:gd name="T110" fmla="*/ 22 w 44"/>
                    <a:gd name="T111" fmla="*/ 86 h 134"/>
                    <a:gd name="T112" fmla="*/ 14 w 44"/>
                    <a:gd name="T113" fmla="*/ 86 h 134"/>
                    <a:gd name="T114" fmla="*/ 6 w 44"/>
                    <a:gd name="T115" fmla="*/ 78 h 134"/>
                    <a:gd name="T116" fmla="*/ 26 w 44"/>
                    <a:gd name="T117" fmla="*/ 46 h 134"/>
                    <a:gd name="T118" fmla="*/ 30 w 44"/>
                    <a:gd name="T119" fmla="*/ 46 h 1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44" h="134">
                      <a:moveTo>
                        <a:pt x="6" y="78"/>
                      </a:moveTo>
                      <a:lnTo>
                        <a:pt x="6" y="78"/>
                      </a:lnTo>
                      <a:lnTo>
                        <a:pt x="6" y="78"/>
                      </a:lnTo>
                      <a:lnTo>
                        <a:pt x="6" y="78"/>
                      </a:lnTo>
                      <a:lnTo>
                        <a:pt x="6" y="78"/>
                      </a:lnTo>
                      <a:lnTo>
                        <a:pt x="4" y="78"/>
                      </a:lnTo>
                      <a:lnTo>
                        <a:pt x="4" y="76"/>
                      </a:lnTo>
                      <a:lnTo>
                        <a:pt x="4" y="76"/>
                      </a:lnTo>
                      <a:lnTo>
                        <a:pt x="0" y="72"/>
                      </a:lnTo>
                      <a:lnTo>
                        <a:pt x="0" y="72"/>
                      </a:lnTo>
                      <a:lnTo>
                        <a:pt x="0" y="72"/>
                      </a:lnTo>
                      <a:lnTo>
                        <a:pt x="0" y="72"/>
                      </a:lnTo>
                      <a:lnTo>
                        <a:pt x="0" y="72"/>
                      </a:lnTo>
                      <a:lnTo>
                        <a:pt x="0" y="72"/>
                      </a:lnTo>
                      <a:lnTo>
                        <a:pt x="4" y="72"/>
                      </a:lnTo>
                      <a:lnTo>
                        <a:pt x="4" y="72"/>
                      </a:lnTo>
                      <a:lnTo>
                        <a:pt x="4" y="68"/>
                      </a:lnTo>
                      <a:lnTo>
                        <a:pt x="4" y="68"/>
                      </a:lnTo>
                      <a:lnTo>
                        <a:pt x="4" y="64"/>
                      </a:lnTo>
                      <a:lnTo>
                        <a:pt x="4" y="64"/>
                      </a:lnTo>
                      <a:lnTo>
                        <a:pt x="4" y="64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56"/>
                      </a:lnTo>
                      <a:lnTo>
                        <a:pt x="4" y="52"/>
                      </a:lnTo>
                      <a:lnTo>
                        <a:pt x="4" y="52"/>
                      </a:lnTo>
                      <a:lnTo>
                        <a:pt x="6" y="52"/>
                      </a:lnTo>
                      <a:lnTo>
                        <a:pt x="6" y="52"/>
                      </a:lnTo>
                      <a:lnTo>
                        <a:pt x="6" y="52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0" y="48"/>
                      </a:lnTo>
                      <a:lnTo>
                        <a:pt x="10" y="48"/>
                      </a:lnTo>
                      <a:lnTo>
                        <a:pt x="10" y="48"/>
                      </a:lnTo>
                      <a:lnTo>
                        <a:pt x="10" y="48"/>
                      </a:lnTo>
                      <a:lnTo>
                        <a:pt x="10" y="48"/>
                      </a:lnTo>
                      <a:lnTo>
                        <a:pt x="10" y="48"/>
                      </a:lnTo>
                      <a:lnTo>
                        <a:pt x="10" y="48"/>
                      </a:lnTo>
                      <a:lnTo>
                        <a:pt x="10" y="48"/>
                      </a:lnTo>
                      <a:lnTo>
                        <a:pt x="10" y="48"/>
                      </a:lnTo>
                      <a:lnTo>
                        <a:pt x="10" y="48"/>
                      </a:lnTo>
                      <a:lnTo>
                        <a:pt x="6" y="46"/>
                      </a:lnTo>
                      <a:lnTo>
                        <a:pt x="6" y="46"/>
                      </a:lnTo>
                      <a:lnTo>
                        <a:pt x="6" y="46"/>
                      </a:lnTo>
                      <a:lnTo>
                        <a:pt x="6" y="42"/>
                      </a:lnTo>
                      <a:lnTo>
                        <a:pt x="6" y="38"/>
                      </a:lnTo>
                      <a:lnTo>
                        <a:pt x="6" y="38"/>
                      </a:lnTo>
                      <a:lnTo>
                        <a:pt x="6" y="38"/>
                      </a:lnTo>
                      <a:lnTo>
                        <a:pt x="6" y="38"/>
                      </a:lnTo>
                      <a:lnTo>
                        <a:pt x="6" y="34"/>
                      </a:lnTo>
                      <a:lnTo>
                        <a:pt x="6" y="34"/>
                      </a:lnTo>
                      <a:lnTo>
                        <a:pt x="6" y="34"/>
                      </a:lnTo>
                      <a:lnTo>
                        <a:pt x="10" y="30"/>
                      </a:lnTo>
                      <a:lnTo>
                        <a:pt x="10" y="30"/>
                      </a:lnTo>
                      <a:lnTo>
                        <a:pt x="10" y="30"/>
                      </a:lnTo>
                      <a:lnTo>
                        <a:pt x="10" y="30"/>
                      </a:lnTo>
                      <a:lnTo>
                        <a:pt x="10" y="30"/>
                      </a:lnTo>
                      <a:lnTo>
                        <a:pt x="10" y="26"/>
                      </a:lnTo>
                      <a:lnTo>
                        <a:pt x="6" y="26"/>
                      </a:lnTo>
                      <a:lnTo>
                        <a:pt x="6" y="22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14" y="20"/>
                      </a:lnTo>
                      <a:lnTo>
                        <a:pt x="14" y="20"/>
                      </a:lnTo>
                      <a:lnTo>
                        <a:pt x="14" y="20"/>
                      </a:lnTo>
                      <a:lnTo>
                        <a:pt x="14" y="20"/>
                      </a:lnTo>
                      <a:lnTo>
                        <a:pt x="14" y="20"/>
                      </a:lnTo>
                      <a:lnTo>
                        <a:pt x="14" y="20"/>
                      </a:lnTo>
                      <a:lnTo>
                        <a:pt x="14" y="20"/>
                      </a:lnTo>
                      <a:lnTo>
                        <a:pt x="10" y="16"/>
                      </a:lnTo>
                      <a:lnTo>
                        <a:pt x="10" y="16"/>
                      </a:lnTo>
                      <a:lnTo>
                        <a:pt x="10" y="16"/>
                      </a:lnTo>
                      <a:lnTo>
                        <a:pt x="10" y="16"/>
                      </a:lnTo>
                      <a:lnTo>
                        <a:pt x="10" y="16"/>
                      </a:lnTo>
                      <a:lnTo>
                        <a:pt x="10" y="12"/>
                      </a:lnTo>
                      <a:lnTo>
                        <a:pt x="10" y="12"/>
                      </a:lnTo>
                      <a:lnTo>
                        <a:pt x="10" y="12"/>
                      </a:lnTo>
                      <a:lnTo>
                        <a:pt x="6" y="12"/>
                      </a:lnTo>
                      <a:lnTo>
                        <a:pt x="6" y="8"/>
                      </a:lnTo>
                      <a:lnTo>
                        <a:pt x="10" y="8"/>
                      </a:lnTo>
                      <a:lnTo>
                        <a:pt x="6" y="8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4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22" y="0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8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26" y="8"/>
                      </a:lnTo>
                      <a:lnTo>
                        <a:pt x="26" y="12"/>
                      </a:lnTo>
                      <a:lnTo>
                        <a:pt x="26" y="16"/>
                      </a:lnTo>
                      <a:lnTo>
                        <a:pt x="26" y="16"/>
                      </a:lnTo>
                      <a:lnTo>
                        <a:pt x="26" y="16"/>
                      </a:lnTo>
                      <a:lnTo>
                        <a:pt x="26" y="20"/>
                      </a:lnTo>
                      <a:lnTo>
                        <a:pt x="26" y="20"/>
                      </a:lnTo>
                      <a:lnTo>
                        <a:pt x="26" y="20"/>
                      </a:lnTo>
                      <a:lnTo>
                        <a:pt x="26" y="20"/>
                      </a:lnTo>
                      <a:lnTo>
                        <a:pt x="26" y="20"/>
                      </a:lnTo>
                      <a:lnTo>
                        <a:pt x="30" y="20"/>
                      </a:lnTo>
                      <a:lnTo>
                        <a:pt x="30" y="20"/>
                      </a:lnTo>
                      <a:lnTo>
                        <a:pt x="30" y="22"/>
                      </a:lnTo>
                      <a:lnTo>
                        <a:pt x="30" y="22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30" y="30"/>
                      </a:ln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34" y="34"/>
                      </a:lnTo>
                      <a:lnTo>
                        <a:pt x="34" y="34"/>
                      </a:lnTo>
                      <a:lnTo>
                        <a:pt x="34" y="38"/>
                      </a:lnTo>
                      <a:lnTo>
                        <a:pt x="34" y="38"/>
                      </a:lnTo>
                      <a:lnTo>
                        <a:pt x="30" y="38"/>
                      </a:lnTo>
                      <a:lnTo>
                        <a:pt x="30" y="38"/>
                      </a:lnTo>
                      <a:lnTo>
                        <a:pt x="26" y="38"/>
                      </a:lnTo>
                      <a:lnTo>
                        <a:pt x="26" y="38"/>
                      </a:lnTo>
                      <a:lnTo>
                        <a:pt x="26" y="38"/>
                      </a:lnTo>
                      <a:lnTo>
                        <a:pt x="26" y="38"/>
                      </a:lnTo>
                      <a:lnTo>
                        <a:pt x="26" y="38"/>
                      </a:lnTo>
                      <a:lnTo>
                        <a:pt x="26" y="38"/>
                      </a:lnTo>
                      <a:lnTo>
                        <a:pt x="26" y="42"/>
                      </a:lnTo>
                      <a:lnTo>
                        <a:pt x="26" y="42"/>
                      </a:lnTo>
                      <a:lnTo>
                        <a:pt x="26" y="42"/>
                      </a:lnTo>
                      <a:lnTo>
                        <a:pt x="26" y="42"/>
                      </a:lnTo>
                      <a:lnTo>
                        <a:pt x="26" y="46"/>
                      </a:lnTo>
                      <a:lnTo>
                        <a:pt x="26" y="46"/>
                      </a:lnTo>
                      <a:lnTo>
                        <a:pt x="22" y="46"/>
                      </a:lnTo>
                      <a:lnTo>
                        <a:pt x="22" y="46"/>
                      </a:lnTo>
                      <a:lnTo>
                        <a:pt x="22" y="48"/>
                      </a:lnTo>
                      <a:lnTo>
                        <a:pt x="22" y="48"/>
                      </a:lnTo>
                      <a:lnTo>
                        <a:pt x="22" y="48"/>
                      </a:lnTo>
                      <a:lnTo>
                        <a:pt x="26" y="48"/>
                      </a:lnTo>
                      <a:lnTo>
                        <a:pt x="26" y="52"/>
                      </a:lnTo>
                      <a:lnTo>
                        <a:pt x="26" y="52"/>
                      </a:lnTo>
                      <a:lnTo>
                        <a:pt x="26" y="52"/>
                      </a:lnTo>
                      <a:lnTo>
                        <a:pt x="26" y="52"/>
                      </a:lnTo>
                      <a:lnTo>
                        <a:pt x="26" y="56"/>
                      </a:lnTo>
                      <a:lnTo>
                        <a:pt x="26" y="56"/>
                      </a:lnTo>
                      <a:lnTo>
                        <a:pt x="26" y="56"/>
                      </a:lnTo>
                      <a:lnTo>
                        <a:pt x="26" y="56"/>
                      </a:lnTo>
                      <a:lnTo>
                        <a:pt x="26" y="56"/>
                      </a:lnTo>
                      <a:lnTo>
                        <a:pt x="26" y="60"/>
                      </a:lnTo>
                      <a:lnTo>
                        <a:pt x="26" y="60"/>
                      </a:lnTo>
                      <a:lnTo>
                        <a:pt x="26" y="60"/>
                      </a:lnTo>
                      <a:lnTo>
                        <a:pt x="26" y="60"/>
                      </a:lnTo>
                      <a:lnTo>
                        <a:pt x="26" y="64"/>
                      </a:lnTo>
                      <a:lnTo>
                        <a:pt x="26" y="68"/>
                      </a:lnTo>
                      <a:lnTo>
                        <a:pt x="26" y="68"/>
                      </a:lnTo>
                      <a:lnTo>
                        <a:pt x="26" y="68"/>
                      </a:lnTo>
                      <a:lnTo>
                        <a:pt x="26" y="68"/>
                      </a:lnTo>
                      <a:lnTo>
                        <a:pt x="30" y="72"/>
                      </a:lnTo>
                      <a:lnTo>
                        <a:pt x="30" y="72"/>
                      </a:lnTo>
                      <a:lnTo>
                        <a:pt x="30" y="72"/>
                      </a:lnTo>
                      <a:lnTo>
                        <a:pt x="30" y="72"/>
                      </a:lnTo>
                      <a:lnTo>
                        <a:pt x="34" y="72"/>
                      </a:lnTo>
                      <a:lnTo>
                        <a:pt x="34" y="76"/>
                      </a:lnTo>
                      <a:lnTo>
                        <a:pt x="38" y="76"/>
                      </a:lnTo>
                      <a:lnTo>
                        <a:pt x="40" y="82"/>
                      </a:lnTo>
                      <a:lnTo>
                        <a:pt x="40" y="82"/>
                      </a:lnTo>
                      <a:lnTo>
                        <a:pt x="40" y="82"/>
                      </a:lnTo>
                      <a:lnTo>
                        <a:pt x="40" y="82"/>
                      </a:lnTo>
                      <a:lnTo>
                        <a:pt x="44" y="90"/>
                      </a:lnTo>
                      <a:lnTo>
                        <a:pt x="44" y="90"/>
                      </a:lnTo>
                      <a:lnTo>
                        <a:pt x="44" y="90"/>
                      </a:lnTo>
                      <a:lnTo>
                        <a:pt x="44" y="94"/>
                      </a:lnTo>
                      <a:lnTo>
                        <a:pt x="44" y="94"/>
                      </a:lnTo>
                      <a:lnTo>
                        <a:pt x="44" y="94"/>
                      </a:lnTo>
                      <a:lnTo>
                        <a:pt x="44" y="98"/>
                      </a:lnTo>
                      <a:lnTo>
                        <a:pt x="44" y="98"/>
                      </a:lnTo>
                      <a:lnTo>
                        <a:pt x="44" y="102"/>
                      </a:lnTo>
                      <a:lnTo>
                        <a:pt x="44" y="102"/>
                      </a:lnTo>
                      <a:lnTo>
                        <a:pt x="44" y="104"/>
                      </a:lnTo>
                      <a:lnTo>
                        <a:pt x="44" y="104"/>
                      </a:lnTo>
                      <a:lnTo>
                        <a:pt x="44" y="104"/>
                      </a:lnTo>
                      <a:lnTo>
                        <a:pt x="44" y="104"/>
                      </a:lnTo>
                      <a:lnTo>
                        <a:pt x="44" y="112"/>
                      </a:lnTo>
                      <a:lnTo>
                        <a:pt x="44" y="112"/>
                      </a:lnTo>
                      <a:lnTo>
                        <a:pt x="44" y="116"/>
                      </a:lnTo>
                      <a:lnTo>
                        <a:pt x="44" y="116"/>
                      </a:lnTo>
                      <a:lnTo>
                        <a:pt x="44" y="116"/>
                      </a:lnTo>
                      <a:lnTo>
                        <a:pt x="40" y="116"/>
                      </a:lnTo>
                      <a:lnTo>
                        <a:pt x="40" y="116"/>
                      </a:lnTo>
                      <a:lnTo>
                        <a:pt x="40" y="116"/>
                      </a:lnTo>
                      <a:lnTo>
                        <a:pt x="38" y="116"/>
                      </a:lnTo>
                      <a:lnTo>
                        <a:pt x="38" y="116"/>
                      </a:lnTo>
                      <a:lnTo>
                        <a:pt x="38" y="120"/>
                      </a:lnTo>
                      <a:lnTo>
                        <a:pt x="38" y="120"/>
                      </a:lnTo>
                      <a:lnTo>
                        <a:pt x="38" y="120"/>
                      </a:lnTo>
                      <a:lnTo>
                        <a:pt x="38" y="124"/>
                      </a:lnTo>
                      <a:lnTo>
                        <a:pt x="34" y="124"/>
                      </a:lnTo>
                      <a:lnTo>
                        <a:pt x="34" y="124"/>
                      </a:lnTo>
                      <a:lnTo>
                        <a:pt x="34" y="124"/>
                      </a:lnTo>
                      <a:lnTo>
                        <a:pt x="38" y="124"/>
                      </a:lnTo>
                      <a:lnTo>
                        <a:pt x="38" y="124"/>
                      </a:lnTo>
                      <a:lnTo>
                        <a:pt x="38" y="124"/>
                      </a:lnTo>
                      <a:lnTo>
                        <a:pt x="38" y="128"/>
                      </a:lnTo>
                      <a:lnTo>
                        <a:pt x="38" y="128"/>
                      </a:lnTo>
                      <a:lnTo>
                        <a:pt x="38" y="128"/>
                      </a:lnTo>
                      <a:lnTo>
                        <a:pt x="38" y="132"/>
                      </a:lnTo>
                      <a:lnTo>
                        <a:pt x="38" y="132"/>
                      </a:lnTo>
                      <a:lnTo>
                        <a:pt x="38" y="132"/>
                      </a:lnTo>
                      <a:lnTo>
                        <a:pt x="38" y="132"/>
                      </a:lnTo>
                      <a:lnTo>
                        <a:pt x="38" y="134"/>
                      </a:lnTo>
                      <a:lnTo>
                        <a:pt x="38" y="134"/>
                      </a:lnTo>
                      <a:lnTo>
                        <a:pt x="34" y="134"/>
                      </a:lnTo>
                      <a:lnTo>
                        <a:pt x="34" y="134"/>
                      </a:lnTo>
                      <a:lnTo>
                        <a:pt x="34" y="132"/>
                      </a:lnTo>
                      <a:lnTo>
                        <a:pt x="34" y="132"/>
                      </a:lnTo>
                      <a:lnTo>
                        <a:pt x="34" y="132"/>
                      </a:lnTo>
                      <a:lnTo>
                        <a:pt x="34" y="132"/>
                      </a:lnTo>
                      <a:lnTo>
                        <a:pt x="34" y="132"/>
                      </a:lnTo>
                      <a:lnTo>
                        <a:pt x="34" y="128"/>
                      </a:lnTo>
                      <a:lnTo>
                        <a:pt x="34" y="128"/>
                      </a:lnTo>
                      <a:lnTo>
                        <a:pt x="34" y="128"/>
                      </a:lnTo>
                      <a:lnTo>
                        <a:pt x="34" y="128"/>
                      </a:lnTo>
                      <a:lnTo>
                        <a:pt x="34" y="128"/>
                      </a:lnTo>
                      <a:lnTo>
                        <a:pt x="34" y="128"/>
                      </a:lnTo>
                      <a:lnTo>
                        <a:pt x="30" y="124"/>
                      </a:lnTo>
                      <a:lnTo>
                        <a:pt x="30" y="124"/>
                      </a:lnTo>
                      <a:lnTo>
                        <a:pt x="30" y="124"/>
                      </a:lnTo>
                      <a:lnTo>
                        <a:pt x="30" y="120"/>
                      </a:lnTo>
                      <a:lnTo>
                        <a:pt x="26" y="120"/>
                      </a:lnTo>
                      <a:lnTo>
                        <a:pt x="26" y="120"/>
                      </a:lnTo>
                      <a:lnTo>
                        <a:pt x="26" y="120"/>
                      </a:lnTo>
                      <a:lnTo>
                        <a:pt x="26" y="120"/>
                      </a:lnTo>
                      <a:lnTo>
                        <a:pt x="26" y="120"/>
                      </a:lnTo>
                      <a:lnTo>
                        <a:pt x="26" y="120"/>
                      </a:lnTo>
                      <a:lnTo>
                        <a:pt x="26" y="120"/>
                      </a:lnTo>
                      <a:lnTo>
                        <a:pt x="26" y="120"/>
                      </a:lnTo>
                      <a:lnTo>
                        <a:pt x="26" y="116"/>
                      </a:lnTo>
                      <a:lnTo>
                        <a:pt x="26" y="116"/>
                      </a:lnTo>
                      <a:lnTo>
                        <a:pt x="26" y="116"/>
                      </a:lnTo>
                      <a:lnTo>
                        <a:pt x="26" y="116"/>
                      </a:lnTo>
                      <a:lnTo>
                        <a:pt x="26" y="116"/>
                      </a:lnTo>
                      <a:lnTo>
                        <a:pt x="22" y="112"/>
                      </a:lnTo>
                      <a:lnTo>
                        <a:pt x="22" y="112"/>
                      </a:lnTo>
                      <a:lnTo>
                        <a:pt x="22" y="112"/>
                      </a:lnTo>
                      <a:lnTo>
                        <a:pt x="22" y="112"/>
                      </a:lnTo>
                      <a:lnTo>
                        <a:pt x="22" y="112"/>
                      </a:lnTo>
                      <a:lnTo>
                        <a:pt x="22" y="112"/>
                      </a:lnTo>
                      <a:lnTo>
                        <a:pt x="22" y="108"/>
                      </a:lnTo>
                      <a:lnTo>
                        <a:pt x="22" y="108"/>
                      </a:lnTo>
                      <a:lnTo>
                        <a:pt x="22" y="108"/>
                      </a:lnTo>
                      <a:lnTo>
                        <a:pt x="22" y="108"/>
                      </a:lnTo>
                      <a:lnTo>
                        <a:pt x="22" y="108"/>
                      </a:lnTo>
                      <a:lnTo>
                        <a:pt x="22" y="108"/>
                      </a:lnTo>
                      <a:lnTo>
                        <a:pt x="26" y="108"/>
                      </a:lnTo>
                      <a:lnTo>
                        <a:pt x="26" y="104"/>
                      </a:lnTo>
                      <a:lnTo>
                        <a:pt x="26" y="104"/>
                      </a:lnTo>
                      <a:lnTo>
                        <a:pt x="26" y="104"/>
                      </a:lnTo>
                      <a:lnTo>
                        <a:pt x="26" y="104"/>
                      </a:lnTo>
                      <a:lnTo>
                        <a:pt x="26" y="104"/>
                      </a:lnTo>
                      <a:lnTo>
                        <a:pt x="26" y="102"/>
                      </a:lnTo>
                      <a:lnTo>
                        <a:pt x="26" y="102"/>
                      </a:lnTo>
                      <a:lnTo>
                        <a:pt x="26" y="102"/>
                      </a:lnTo>
                      <a:lnTo>
                        <a:pt x="26" y="102"/>
                      </a:lnTo>
                      <a:lnTo>
                        <a:pt x="26" y="102"/>
                      </a:lnTo>
                      <a:lnTo>
                        <a:pt x="26" y="102"/>
                      </a:lnTo>
                      <a:lnTo>
                        <a:pt x="26" y="102"/>
                      </a:lnTo>
                      <a:lnTo>
                        <a:pt x="26" y="102"/>
                      </a:lnTo>
                      <a:lnTo>
                        <a:pt x="26" y="98"/>
                      </a:lnTo>
                      <a:lnTo>
                        <a:pt x="26" y="98"/>
                      </a:lnTo>
                      <a:lnTo>
                        <a:pt x="26" y="94"/>
                      </a:lnTo>
                      <a:lnTo>
                        <a:pt x="26" y="94"/>
                      </a:lnTo>
                      <a:lnTo>
                        <a:pt x="26" y="90"/>
                      </a:lnTo>
                      <a:lnTo>
                        <a:pt x="26" y="90"/>
                      </a:lnTo>
                      <a:lnTo>
                        <a:pt x="26" y="90"/>
                      </a:lnTo>
                      <a:lnTo>
                        <a:pt x="26" y="90"/>
                      </a:lnTo>
                      <a:lnTo>
                        <a:pt x="26" y="86"/>
                      </a:lnTo>
                      <a:lnTo>
                        <a:pt x="26" y="86"/>
                      </a:lnTo>
                      <a:lnTo>
                        <a:pt x="26" y="86"/>
                      </a:lnTo>
                      <a:lnTo>
                        <a:pt x="26" y="86"/>
                      </a:lnTo>
                      <a:lnTo>
                        <a:pt x="22" y="86"/>
                      </a:lnTo>
                      <a:lnTo>
                        <a:pt x="22" y="86"/>
                      </a:lnTo>
                      <a:lnTo>
                        <a:pt x="22" y="86"/>
                      </a:lnTo>
                      <a:lnTo>
                        <a:pt x="18" y="86"/>
                      </a:lnTo>
                      <a:lnTo>
                        <a:pt x="14" y="86"/>
                      </a:lnTo>
                      <a:lnTo>
                        <a:pt x="14" y="86"/>
                      </a:lnTo>
                      <a:lnTo>
                        <a:pt x="14" y="86"/>
                      </a:lnTo>
                      <a:lnTo>
                        <a:pt x="10" y="86"/>
                      </a:lnTo>
                      <a:lnTo>
                        <a:pt x="10" y="82"/>
                      </a:lnTo>
                      <a:lnTo>
                        <a:pt x="10" y="82"/>
                      </a:lnTo>
                      <a:lnTo>
                        <a:pt x="6" y="82"/>
                      </a:lnTo>
                      <a:lnTo>
                        <a:pt x="6" y="78"/>
                      </a:lnTo>
                      <a:lnTo>
                        <a:pt x="6" y="78"/>
                      </a:lnTo>
                      <a:lnTo>
                        <a:pt x="6" y="78"/>
                      </a:lnTo>
                      <a:lnTo>
                        <a:pt x="6" y="78"/>
                      </a:lnTo>
                      <a:close/>
                      <a:moveTo>
                        <a:pt x="26" y="46"/>
                      </a:moveTo>
                      <a:lnTo>
                        <a:pt x="26" y="46"/>
                      </a:lnTo>
                      <a:lnTo>
                        <a:pt x="26" y="46"/>
                      </a:lnTo>
                      <a:lnTo>
                        <a:pt x="26" y="46"/>
                      </a:lnTo>
                      <a:lnTo>
                        <a:pt x="26" y="46"/>
                      </a:lnTo>
                      <a:lnTo>
                        <a:pt x="26" y="46"/>
                      </a:lnTo>
                      <a:close/>
                      <a:moveTo>
                        <a:pt x="30" y="46"/>
                      </a:moveTo>
                      <a:lnTo>
                        <a:pt x="30" y="46"/>
                      </a:lnTo>
                      <a:lnTo>
                        <a:pt x="30" y="46"/>
                      </a:lnTo>
                      <a:lnTo>
                        <a:pt x="30" y="46"/>
                      </a:lnTo>
                      <a:lnTo>
                        <a:pt x="30" y="46"/>
                      </a:lnTo>
                      <a:lnTo>
                        <a:pt x="30" y="46"/>
                      </a:lnTo>
                      <a:lnTo>
                        <a:pt x="30" y="46"/>
                      </a:lnTo>
                      <a:lnTo>
                        <a:pt x="30" y="4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10" name="Freeform 156"/>
                <p:cNvSpPr>
                  <a:spLocks/>
                </p:cNvSpPr>
                <p:nvPr/>
              </p:nvSpPr>
              <p:spPr bwMode="auto">
                <a:xfrm>
                  <a:off x="4121150" y="3870393"/>
                  <a:ext cx="368300" cy="412750"/>
                </a:xfrm>
                <a:custGeom>
                  <a:avLst/>
                  <a:gdLst>
                    <a:gd name="T0" fmla="*/ 26 w 232"/>
                    <a:gd name="T1" fmla="*/ 226 h 260"/>
                    <a:gd name="T2" fmla="*/ 18 w 232"/>
                    <a:gd name="T3" fmla="*/ 224 h 260"/>
                    <a:gd name="T4" fmla="*/ 8 w 232"/>
                    <a:gd name="T5" fmla="*/ 224 h 260"/>
                    <a:gd name="T6" fmla="*/ 12 w 232"/>
                    <a:gd name="T7" fmla="*/ 208 h 260"/>
                    <a:gd name="T8" fmla="*/ 0 w 232"/>
                    <a:gd name="T9" fmla="*/ 200 h 260"/>
                    <a:gd name="T10" fmla="*/ 4 w 232"/>
                    <a:gd name="T11" fmla="*/ 190 h 260"/>
                    <a:gd name="T12" fmla="*/ 0 w 232"/>
                    <a:gd name="T13" fmla="*/ 182 h 260"/>
                    <a:gd name="T14" fmla="*/ 8 w 232"/>
                    <a:gd name="T15" fmla="*/ 168 h 260"/>
                    <a:gd name="T16" fmla="*/ 18 w 232"/>
                    <a:gd name="T17" fmla="*/ 174 h 260"/>
                    <a:gd name="T18" fmla="*/ 30 w 232"/>
                    <a:gd name="T19" fmla="*/ 170 h 260"/>
                    <a:gd name="T20" fmla="*/ 42 w 232"/>
                    <a:gd name="T21" fmla="*/ 168 h 260"/>
                    <a:gd name="T22" fmla="*/ 60 w 232"/>
                    <a:gd name="T23" fmla="*/ 168 h 260"/>
                    <a:gd name="T24" fmla="*/ 82 w 232"/>
                    <a:gd name="T25" fmla="*/ 168 h 260"/>
                    <a:gd name="T26" fmla="*/ 98 w 232"/>
                    <a:gd name="T27" fmla="*/ 152 h 260"/>
                    <a:gd name="T28" fmla="*/ 90 w 232"/>
                    <a:gd name="T29" fmla="*/ 122 h 260"/>
                    <a:gd name="T30" fmla="*/ 86 w 232"/>
                    <a:gd name="T31" fmla="*/ 92 h 260"/>
                    <a:gd name="T32" fmla="*/ 86 w 232"/>
                    <a:gd name="T33" fmla="*/ 68 h 260"/>
                    <a:gd name="T34" fmla="*/ 82 w 232"/>
                    <a:gd name="T35" fmla="*/ 42 h 260"/>
                    <a:gd name="T36" fmla="*/ 78 w 232"/>
                    <a:gd name="T37" fmla="*/ 12 h 260"/>
                    <a:gd name="T38" fmla="*/ 90 w 232"/>
                    <a:gd name="T39" fmla="*/ 0 h 260"/>
                    <a:gd name="T40" fmla="*/ 120 w 232"/>
                    <a:gd name="T41" fmla="*/ 12 h 260"/>
                    <a:gd name="T42" fmla="*/ 142 w 232"/>
                    <a:gd name="T43" fmla="*/ 34 h 260"/>
                    <a:gd name="T44" fmla="*/ 164 w 232"/>
                    <a:gd name="T45" fmla="*/ 52 h 260"/>
                    <a:gd name="T46" fmla="*/ 188 w 232"/>
                    <a:gd name="T47" fmla="*/ 72 h 260"/>
                    <a:gd name="T48" fmla="*/ 194 w 232"/>
                    <a:gd name="T49" fmla="*/ 78 h 260"/>
                    <a:gd name="T50" fmla="*/ 206 w 232"/>
                    <a:gd name="T51" fmla="*/ 86 h 260"/>
                    <a:gd name="T52" fmla="*/ 218 w 232"/>
                    <a:gd name="T53" fmla="*/ 96 h 260"/>
                    <a:gd name="T54" fmla="*/ 228 w 232"/>
                    <a:gd name="T55" fmla="*/ 104 h 260"/>
                    <a:gd name="T56" fmla="*/ 232 w 232"/>
                    <a:gd name="T57" fmla="*/ 130 h 260"/>
                    <a:gd name="T58" fmla="*/ 232 w 232"/>
                    <a:gd name="T59" fmla="*/ 152 h 260"/>
                    <a:gd name="T60" fmla="*/ 224 w 232"/>
                    <a:gd name="T61" fmla="*/ 164 h 260"/>
                    <a:gd name="T62" fmla="*/ 214 w 232"/>
                    <a:gd name="T63" fmla="*/ 168 h 260"/>
                    <a:gd name="T64" fmla="*/ 188 w 232"/>
                    <a:gd name="T65" fmla="*/ 174 h 260"/>
                    <a:gd name="T66" fmla="*/ 176 w 232"/>
                    <a:gd name="T67" fmla="*/ 178 h 260"/>
                    <a:gd name="T68" fmla="*/ 164 w 232"/>
                    <a:gd name="T69" fmla="*/ 174 h 260"/>
                    <a:gd name="T70" fmla="*/ 146 w 232"/>
                    <a:gd name="T71" fmla="*/ 186 h 260"/>
                    <a:gd name="T72" fmla="*/ 132 w 232"/>
                    <a:gd name="T73" fmla="*/ 194 h 260"/>
                    <a:gd name="T74" fmla="*/ 128 w 232"/>
                    <a:gd name="T75" fmla="*/ 200 h 260"/>
                    <a:gd name="T76" fmla="*/ 120 w 232"/>
                    <a:gd name="T77" fmla="*/ 204 h 260"/>
                    <a:gd name="T78" fmla="*/ 112 w 232"/>
                    <a:gd name="T79" fmla="*/ 212 h 260"/>
                    <a:gd name="T80" fmla="*/ 104 w 232"/>
                    <a:gd name="T81" fmla="*/ 226 h 260"/>
                    <a:gd name="T82" fmla="*/ 98 w 232"/>
                    <a:gd name="T83" fmla="*/ 242 h 260"/>
                    <a:gd name="T84" fmla="*/ 94 w 232"/>
                    <a:gd name="T85" fmla="*/ 256 h 260"/>
                    <a:gd name="T86" fmla="*/ 82 w 232"/>
                    <a:gd name="T87" fmla="*/ 256 h 260"/>
                    <a:gd name="T88" fmla="*/ 82 w 232"/>
                    <a:gd name="T89" fmla="*/ 250 h 260"/>
                    <a:gd name="T90" fmla="*/ 74 w 232"/>
                    <a:gd name="T91" fmla="*/ 260 h 260"/>
                    <a:gd name="T92" fmla="*/ 60 w 232"/>
                    <a:gd name="T93" fmla="*/ 256 h 260"/>
                    <a:gd name="T94" fmla="*/ 52 w 232"/>
                    <a:gd name="T95" fmla="*/ 250 h 260"/>
                    <a:gd name="T96" fmla="*/ 48 w 232"/>
                    <a:gd name="T97" fmla="*/ 242 h 260"/>
                    <a:gd name="T98" fmla="*/ 44 w 232"/>
                    <a:gd name="T99" fmla="*/ 234 h 260"/>
                    <a:gd name="T100" fmla="*/ 42 w 232"/>
                    <a:gd name="T101" fmla="*/ 220 h 260"/>
                    <a:gd name="T102" fmla="*/ 34 w 232"/>
                    <a:gd name="T103" fmla="*/ 226 h 2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32" h="260">
                      <a:moveTo>
                        <a:pt x="34" y="226"/>
                      </a:moveTo>
                      <a:lnTo>
                        <a:pt x="30" y="226"/>
                      </a:lnTo>
                      <a:lnTo>
                        <a:pt x="30" y="224"/>
                      </a:lnTo>
                      <a:lnTo>
                        <a:pt x="26" y="224"/>
                      </a:lnTo>
                      <a:lnTo>
                        <a:pt x="26" y="226"/>
                      </a:lnTo>
                      <a:lnTo>
                        <a:pt x="22" y="226"/>
                      </a:lnTo>
                      <a:lnTo>
                        <a:pt x="22" y="230"/>
                      </a:lnTo>
                      <a:lnTo>
                        <a:pt x="18" y="230"/>
                      </a:lnTo>
                      <a:lnTo>
                        <a:pt x="18" y="226"/>
                      </a:lnTo>
                      <a:lnTo>
                        <a:pt x="18" y="224"/>
                      </a:lnTo>
                      <a:lnTo>
                        <a:pt x="14" y="224"/>
                      </a:lnTo>
                      <a:lnTo>
                        <a:pt x="14" y="226"/>
                      </a:lnTo>
                      <a:lnTo>
                        <a:pt x="12" y="226"/>
                      </a:lnTo>
                      <a:lnTo>
                        <a:pt x="8" y="226"/>
                      </a:lnTo>
                      <a:lnTo>
                        <a:pt x="8" y="224"/>
                      </a:lnTo>
                      <a:lnTo>
                        <a:pt x="12" y="224"/>
                      </a:lnTo>
                      <a:lnTo>
                        <a:pt x="12" y="220"/>
                      </a:lnTo>
                      <a:lnTo>
                        <a:pt x="12" y="216"/>
                      </a:lnTo>
                      <a:lnTo>
                        <a:pt x="12" y="212"/>
                      </a:lnTo>
                      <a:lnTo>
                        <a:pt x="12" y="208"/>
                      </a:lnTo>
                      <a:lnTo>
                        <a:pt x="8" y="208"/>
                      </a:lnTo>
                      <a:lnTo>
                        <a:pt x="8" y="204"/>
                      </a:lnTo>
                      <a:lnTo>
                        <a:pt x="4" y="204"/>
                      </a:lnTo>
                      <a:lnTo>
                        <a:pt x="4" y="200"/>
                      </a:lnTo>
                      <a:lnTo>
                        <a:pt x="0" y="200"/>
                      </a:lnTo>
                      <a:lnTo>
                        <a:pt x="0" y="196"/>
                      </a:lnTo>
                      <a:lnTo>
                        <a:pt x="4" y="196"/>
                      </a:lnTo>
                      <a:lnTo>
                        <a:pt x="4" y="194"/>
                      </a:lnTo>
                      <a:lnTo>
                        <a:pt x="0" y="194"/>
                      </a:lnTo>
                      <a:lnTo>
                        <a:pt x="4" y="190"/>
                      </a:lnTo>
                      <a:lnTo>
                        <a:pt x="0" y="190"/>
                      </a:lnTo>
                      <a:lnTo>
                        <a:pt x="0" y="186"/>
                      </a:lnTo>
                      <a:lnTo>
                        <a:pt x="0" y="182"/>
                      </a:lnTo>
                      <a:lnTo>
                        <a:pt x="0" y="178"/>
                      </a:lnTo>
                      <a:lnTo>
                        <a:pt x="0" y="182"/>
                      </a:lnTo>
                      <a:lnTo>
                        <a:pt x="4" y="178"/>
                      </a:lnTo>
                      <a:lnTo>
                        <a:pt x="4" y="174"/>
                      </a:lnTo>
                      <a:lnTo>
                        <a:pt x="4" y="170"/>
                      </a:lnTo>
                      <a:lnTo>
                        <a:pt x="4" y="168"/>
                      </a:lnTo>
                      <a:lnTo>
                        <a:pt x="8" y="168"/>
                      </a:lnTo>
                      <a:lnTo>
                        <a:pt x="8" y="164"/>
                      </a:lnTo>
                      <a:lnTo>
                        <a:pt x="12" y="164"/>
                      </a:lnTo>
                      <a:lnTo>
                        <a:pt x="12" y="168"/>
                      </a:lnTo>
                      <a:lnTo>
                        <a:pt x="14" y="170"/>
                      </a:lnTo>
                      <a:lnTo>
                        <a:pt x="18" y="174"/>
                      </a:lnTo>
                      <a:lnTo>
                        <a:pt x="18" y="170"/>
                      </a:lnTo>
                      <a:lnTo>
                        <a:pt x="18" y="168"/>
                      </a:lnTo>
                      <a:lnTo>
                        <a:pt x="22" y="168"/>
                      </a:lnTo>
                      <a:lnTo>
                        <a:pt x="26" y="168"/>
                      </a:lnTo>
                      <a:lnTo>
                        <a:pt x="30" y="170"/>
                      </a:lnTo>
                      <a:lnTo>
                        <a:pt x="34" y="170"/>
                      </a:lnTo>
                      <a:lnTo>
                        <a:pt x="34" y="168"/>
                      </a:lnTo>
                      <a:lnTo>
                        <a:pt x="38" y="168"/>
                      </a:lnTo>
                      <a:lnTo>
                        <a:pt x="42" y="164"/>
                      </a:lnTo>
                      <a:lnTo>
                        <a:pt x="42" y="168"/>
                      </a:lnTo>
                      <a:lnTo>
                        <a:pt x="44" y="168"/>
                      </a:lnTo>
                      <a:lnTo>
                        <a:pt x="48" y="168"/>
                      </a:lnTo>
                      <a:lnTo>
                        <a:pt x="52" y="168"/>
                      </a:lnTo>
                      <a:lnTo>
                        <a:pt x="56" y="168"/>
                      </a:lnTo>
                      <a:lnTo>
                        <a:pt x="60" y="168"/>
                      </a:lnTo>
                      <a:lnTo>
                        <a:pt x="64" y="168"/>
                      </a:lnTo>
                      <a:lnTo>
                        <a:pt x="68" y="168"/>
                      </a:lnTo>
                      <a:lnTo>
                        <a:pt x="72" y="168"/>
                      </a:lnTo>
                      <a:lnTo>
                        <a:pt x="78" y="168"/>
                      </a:lnTo>
                      <a:lnTo>
                        <a:pt x="82" y="168"/>
                      </a:lnTo>
                      <a:lnTo>
                        <a:pt x="86" y="168"/>
                      </a:lnTo>
                      <a:lnTo>
                        <a:pt x="94" y="168"/>
                      </a:lnTo>
                      <a:lnTo>
                        <a:pt x="94" y="160"/>
                      </a:lnTo>
                      <a:lnTo>
                        <a:pt x="98" y="156"/>
                      </a:lnTo>
                      <a:lnTo>
                        <a:pt x="98" y="152"/>
                      </a:lnTo>
                      <a:lnTo>
                        <a:pt x="94" y="148"/>
                      </a:lnTo>
                      <a:lnTo>
                        <a:pt x="94" y="144"/>
                      </a:lnTo>
                      <a:lnTo>
                        <a:pt x="90" y="134"/>
                      </a:lnTo>
                      <a:lnTo>
                        <a:pt x="90" y="126"/>
                      </a:lnTo>
                      <a:lnTo>
                        <a:pt x="90" y="122"/>
                      </a:lnTo>
                      <a:lnTo>
                        <a:pt x="90" y="118"/>
                      </a:lnTo>
                      <a:lnTo>
                        <a:pt x="90" y="112"/>
                      </a:lnTo>
                      <a:lnTo>
                        <a:pt x="90" y="104"/>
                      </a:lnTo>
                      <a:lnTo>
                        <a:pt x="90" y="100"/>
                      </a:lnTo>
                      <a:lnTo>
                        <a:pt x="86" y="92"/>
                      </a:lnTo>
                      <a:lnTo>
                        <a:pt x="86" y="86"/>
                      </a:lnTo>
                      <a:lnTo>
                        <a:pt x="86" y="78"/>
                      </a:lnTo>
                      <a:lnTo>
                        <a:pt x="86" y="74"/>
                      </a:lnTo>
                      <a:lnTo>
                        <a:pt x="86" y="72"/>
                      </a:lnTo>
                      <a:lnTo>
                        <a:pt x="86" y="68"/>
                      </a:lnTo>
                      <a:lnTo>
                        <a:pt x="86" y="64"/>
                      </a:lnTo>
                      <a:lnTo>
                        <a:pt x="86" y="60"/>
                      </a:lnTo>
                      <a:lnTo>
                        <a:pt x="82" y="56"/>
                      </a:lnTo>
                      <a:lnTo>
                        <a:pt x="82" y="52"/>
                      </a:lnTo>
                      <a:lnTo>
                        <a:pt x="82" y="42"/>
                      </a:lnTo>
                      <a:lnTo>
                        <a:pt x="82" y="38"/>
                      </a:lnTo>
                      <a:lnTo>
                        <a:pt x="82" y="30"/>
                      </a:lnTo>
                      <a:lnTo>
                        <a:pt x="82" y="22"/>
                      </a:lnTo>
                      <a:lnTo>
                        <a:pt x="78" y="16"/>
                      </a:lnTo>
                      <a:lnTo>
                        <a:pt x="78" y="12"/>
                      </a:lnTo>
                      <a:lnTo>
                        <a:pt x="78" y="8"/>
                      </a:lnTo>
                      <a:lnTo>
                        <a:pt x="78" y="0"/>
                      </a:lnTo>
                      <a:lnTo>
                        <a:pt x="82" y="0"/>
                      </a:lnTo>
                      <a:lnTo>
                        <a:pt x="86" y="0"/>
                      </a:lnTo>
                      <a:lnTo>
                        <a:pt x="90" y="0"/>
                      </a:lnTo>
                      <a:lnTo>
                        <a:pt x="102" y="0"/>
                      </a:lnTo>
                      <a:lnTo>
                        <a:pt x="104" y="0"/>
                      </a:lnTo>
                      <a:lnTo>
                        <a:pt x="108" y="4"/>
                      </a:lnTo>
                      <a:lnTo>
                        <a:pt x="112" y="8"/>
                      </a:lnTo>
                      <a:lnTo>
                        <a:pt x="120" y="12"/>
                      </a:lnTo>
                      <a:lnTo>
                        <a:pt x="124" y="16"/>
                      </a:lnTo>
                      <a:lnTo>
                        <a:pt x="128" y="18"/>
                      </a:lnTo>
                      <a:lnTo>
                        <a:pt x="132" y="22"/>
                      </a:lnTo>
                      <a:lnTo>
                        <a:pt x="138" y="26"/>
                      </a:lnTo>
                      <a:lnTo>
                        <a:pt x="142" y="34"/>
                      </a:lnTo>
                      <a:lnTo>
                        <a:pt x="146" y="38"/>
                      </a:lnTo>
                      <a:lnTo>
                        <a:pt x="154" y="42"/>
                      </a:lnTo>
                      <a:lnTo>
                        <a:pt x="158" y="44"/>
                      </a:lnTo>
                      <a:lnTo>
                        <a:pt x="160" y="48"/>
                      </a:lnTo>
                      <a:lnTo>
                        <a:pt x="164" y="52"/>
                      </a:lnTo>
                      <a:lnTo>
                        <a:pt x="172" y="56"/>
                      </a:lnTo>
                      <a:lnTo>
                        <a:pt x="176" y="60"/>
                      </a:lnTo>
                      <a:lnTo>
                        <a:pt x="180" y="60"/>
                      </a:lnTo>
                      <a:lnTo>
                        <a:pt x="184" y="68"/>
                      </a:lnTo>
                      <a:lnTo>
                        <a:pt x="188" y="72"/>
                      </a:lnTo>
                      <a:lnTo>
                        <a:pt x="190" y="72"/>
                      </a:lnTo>
                      <a:lnTo>
                        <a:pt x="190" y="74"/>
                      </a:lnTo>
                      <a:lnTo>
                        <a:pt x="188" y="74"/>
                      </a:lnTo>
                      <a:lnTo>
                        <a:pt x="190" y="78"/>
                      </a:lnTo>
                      <a:lnTo>
                        <a:pt x="194" y="78"/>
                      </a:lnTo>
                      <a:lnTo>
                        <a:pt x="194" y="82"/>
                      </a:lnTo>
                      <a:lnTo>
                        <a:pt x="198" y="82"/>
                      </a:lnTo>
                      <a:lnTo>
                        <a:pt x="198" y="86"/>
                      </a:lnTo>
                      <a:lnTo>
                        <a:pt x="202" y="86"/>
                      </a:lnTo>
                      <a:lnTo>
                        <a:pt x="206" y="86"/>
                      </a:lnTo>
                      <a:lnTo>
                        <a:pt x="206" y="88"/>
                      </a:lnTo>
                      <a:lnTo>
                        <a:pt x="210" y="88"/>
                      </a:lnTo>
                      <a:lnTo>
                        <a:pt x="214" y="88"/>
                      </a:lnTo>
                      <a:lnTo>
                        <a:pt x="218" y="92"/>
                      </a:lnTo>
                      <a:lnTo>
                        <a:pt x="218" y="96"/>
                      </a:lnTo>
                      <a:lnTo>
                        <a:pt x="218" y="100"/>
                      </a:lnTo>
                      <a:lnTo>
                        <a:pt x="218" y="104"/>
                      </a:lnTo>
                      <a:lnTo>
                        <a:pt x="220" y="108"/>
                      </a:lnTo>
                      <a:lnTo>
                        <a:pt x="224" y="104"/>
                      </a:lnTo>
                      <a:lnTo>
                        <a:pt x="228" y="104"/>
                      </a:lnTo>
                      <a:lnTo>
                        <a:pt x="232" y="104"/>
                      </a:lnTo>
                      <a:lnTo>
                        <a:pt x="232" y="108"/>
                      </a:lnTo>
                      <a:lnTo>
                        <a:pt x="232" y="112"/>
                      </a:lnTo>
                      <a:lnTo>
                        <a:pt x="232" y="122"/>
                      </a:lnTo>
                      <a:lnTo>
                        <a:pt x="232" y="130"/>
                      </a:lnTo>
                      <a:lnTo>
                        <a:pt x="232" y="134"/>
                      </a:lnTo>
                      <a:lnTo>
                        <a:pt x="232" y="138"/>
                      </a:lnTo>
                      <a:lnTo>
                        <a:pt x="232" y="142"/>
                      </a:lnTo>
                      <a:lnTo>
                        <a:pt x="232" y="144"/>
                      </a:lnTo>
                      <a:lnTo>
                        <a:pt x="232" y="152"/>
                      </a:lnTo>
                      <a:lnTo>
                        <a:pt x="228" y="152"/>
                      </a:lnTo>
                      <a:lnTo>
                        <a:pt x="228" y="156"/>
                      </a:lnTo>
                      <a:lnTo>
                        <a:pt x="228" y="160"/>
                      </a:lnTo>
                      <a:lnTo>
                        <a:pt x="228" y="164"/>
                      </a:lnTo>
                      <a:lnTo>
                        <a:pt x="224" y="164"/>
                      </a:lnTo>
                      <a:lnTo>
                        <a:pt x="224" y="168"/>
                      </a:lnTo>
                      <a:lnTo>
                        <a:pt x="220" y="168"/>
                      </a:lnTo>
                      <a:lnTo>
                        <a:pt x="220" y="170"/>
                      </a:lnTo>
                      <a:lnTo>
                        <a:pt x="218" y="168"/>
                      </a:lnTo>
                      <a:lnTo>
                        <a:pt x="214" y="168"/>
                      </a:lnTo>
                      <a:lnTo>
                        <a:pt x="214" y="170"/>
                      </a:lnTo>
                      <a:lnTo>
                        <a:pt x="210" y="170"/>
                      </a:lnTo>
                      <a:lnTo>
                        <a:pt x="198" y="170"/>
                      </a:lnTo>
                      <a:lnTo>
                        <a:pt x="190" y="170"/>
                      </a:lnTo>
                      <a:lnTo>
                        <a:pt x="188" y="174"/>
                      </a:lnTo>
                      <a:lnTo>
                        <a:pt x="184" y="178"/>
                      </a:lnTo>
                      <a:lnTo>
                        <a:pt x="180" y="178"/>
                      </a:lnTo>
                      <a:lnTo>
                        <a:pt x="180" y="174"/>
                      </a:lnTo>
                      <a:lnTo>
                        <a:pt x="180" y="178"/>
                      </a:lnTo>
                      <a:lnTo>
                        <a:pt x="176" y="178"/>
                      </a:lnTo>
                      <a:lnTo>
                        <a:pt x="176" y="174"/>
                      </a:lnTo>
                      <a:lnTo>
                        <a:pt x="176" y="178"/>
                      </a:lnTo>
                      <a:lnTo>
                        <a:pt x="172" y="174"/>
                      </a:lnTo>
                      <a:lnTo>
                        <a:pt x="168" y="174"/>
                      </a:lnTo>
                      <a:lnTo>
                        <a:pt x="164" y="174"/>
                      </a:lnTo>
                      <a:lnTo>
                        <a:pt x="160" y="174"/>
                      </a:lnTo>
                      <a:lnTo>
                        <a:pt x="158" y="178"/>
                      </a:lnTo>
                      <a:lnTo>
                        <a:pt x="154" y="182"/>
                      </a:lnTo>
                      <a:lnTo>
                        <a:pt x="150" y="186"/>
                      </a:lnTo>
                      <a:lnTo>
                        <a:pt x="146" y="186"/>
                      </a:lnTo>
                      <a:lnTo>
                        <a:pt x="142" y="186"/>
                      </a:lnTo>
                      <a:lnTo>
                        <a:pt x="142" y="190"/>
                      </a:lnTo>
                      <a:lnTo>
                        <a:pt x="138" y="190"/>
                      </a:lnTo>
                      <a:lnTo>
                        <a:pt x="134" y="190"/>
                      </a:lnTo>
                      <a:lnTo>
                        <a:pt x="132" y="194"/>
                      </a:lnTo>
                      <a:lnTo>
                        <a:pt x="132" y="196"/>
                      </a:lnTo>
                      <a:lnTo>
                        <a:pt x="132" y="200"/>
                      </a:lnTo>
                      <a:lnTo>
                        <a:pt x="128" y="200"/>
                      </a:lnTo>
                      <a:lnTo>
                        <a:pt x="128" y="196"/>
                      </a:lnTo>
                      <a:lnTo>
                        <a:pt x="128" y="200"/>
                      </a:lnTo>
                      <a:lnTo>
                        <a:pt x="128" y="204"/>
                      </a:lnTo>
                      <a:lnTo>
                        <a:pt x="124" y="204"/>
                      </a:lnTo>
                      <a:lnTo>
                        <a:pt x="124" y="208"/>
                      </a:lnTo>
                      <a:lnTo>
                        <a:pt x="120" y="208"/>
                      </a:lnTo>
                      <a:lnTo>
                        <a:pt x="120" y="204"/>
                      </a:lnTo>
                      <a:lnTo>
                        <a:pt x="116" y="204"/>
                      </a:lnTo>
                      <a:lnTo>
                        <a:pt x="116" y="200"/>
                      </a:lnTo>
                      <a:lnTo>
                        <a:pt x="112" y="204"/>
                      </a:lnTo>
                      <a:lnTo>
                        <a:pt x="112" y="208"/>
                      </a:lnTo>
                      <a:lnTo>
                        <a:pt x="112" y="212"/>
                      </a:lnTo>
                      <a:lnTo>
                        <a:pt x="112" y="216"/>
                      </a:lnTo>
                      <a:lnTo>
                        <a:pt x="108" y="216"/>
                      </a:lnTo>
                      <a:lnTo>
                        <a:pt x="108" y="220"/>
                      </a:lnTo>
                      <a:lnTo>
                        <a:pt x="108" y="224"/>
                      </a:lnTo>
                      <a:lnTo>
                        <a:pt x="104" y="226"/>
                      </a:lnTo>
                      <a:lnTo>
                        <a:pt x="102" y="226"/>
                      </a:lnTo>
                      <a:lnTo>
                        <a:pt x="98" y="230"/>
                      </a:lnTo>
                      <a:lnTo>
                        <a:pt x="98" y="234"/>
                      </a:lnTo>
                      <a:lnTo>
                        <a:pt x="98" y="238"/>
                      </a:lnTo>
                      <a:lnTo>
                        <a:pt x="98" y="242"/>
                      </a:lnTo>
                      <a:lnTo>
                        <a:pt x="98" y="246"/>
                      </a:lnTo>
                      <a:lnTo>
                        <a:pt x="94" y="246"/>
                      </a:lnTo>
                      <a:lnTo>
                        <a:pt x="94" y="250"/>
                      </a:lnTo>
                      <a:lnTo>
                        <a:pt x="94" y="252"/>
                      </a:lnTo>
                      <a:lnTo>
                        <a:pt x="94" y="256"/>
                      </a:lnTo>
                      <a:lnTo>
                        <a:pt x="94" y="252"/>
                      </a:lnTo>
                      <a:lnTo>
                        <a:pt x="90" y="256"/>
                      </a:lnTo>
                      <a:lnTo>
                        <a:pt x="86" y="256"/>
                      </a:lnTo>
                      <a:lnTo>
                        <a:pt x="86" y="260"/>
                      </a:lnTo>
                      <a:lnTo>
                        <a:pt x="82" y="256"/>
                      </a:lnTo>
                      <a:lnTo>
                        <a:pt x="86" y="256"/>
                      </a:lnTo>
                      <a:lnTo>
                        <a:pt x="86" y="252"/>
                      </a:lnTo>
                      <a:lnTo>
                        <a:pt x="82" y="252"/>
                      </a:lnTo>
                      <a:lnTo>
                        <a:pt x="86" y="252"/>
                      </a:lnTo>
                      <a:lnTo>
                        <a:pt x="82" y="250"/>
                      </a:lnTo>
                      <a:lnTo>
                        <a:pt x="82" y="252"/>
                      </a:lnTo>
                      <a:lnTo>
                        <a:pt x="78" y="252"/>
                      </a:lnTo>
                      <a:lnTo>
                        <a:pt x="78" y="256"/>
                      </a:lnTo>
                      <a:lnTo>
                        <a:pt x="74" y="256"/>
                      </a:lnTo>
                      <a:lnTo>
                        <a:pt x="74" y="260"/>
                      </a:lnTo>
                      <a:lnTo>
                        <a:pt x="72" y="260"/>
                      </a:lnTo>
                      <a:lnTo>
                        <a:pt x="72" y="256"/>
                      </a:lnTo>
                      <a:lnTo>
                        <a:pt x="68" y="256"/>
                      </a:lnTo>
                      <a:lnTo>
                        <a:pt x="64" y="256"/>
                      </a:lnTo>
                      <a:lnTo>
                        <a:pt x="60" y="256"/>
                      </a:lnTo>
                      <a:lnTo>
                        <a:pt x="60" y="260"/>
                      </a:lnTo>
                      <a:lnTo>
                        <a:pt x="60" y="256"/>
                      </a:lnTo>
                      <a:lnTo>
                        <a:pt x="56" y="256"/>
                      </a:lnTo>
                      <a:lnTo>
                        <a:pt x="56" y="252"/>
                      </a:lnTo>
                      <a:lnTo>
                        <a:pt x="52" y="250"/>
                      </a:lnTo>
                      <a:lnTo>
                        <a:pt x="56" y="250"/>
                      </a:lnTo>
                      <a:lnTo>
                        <a:pt x="56" y="246"/>
                      </a:lnTo>
                      <a:lnTo>
                        <a:pt x="52" y="246"/>
                      </a:lnTo>
                      <a:lnTo>
                        <a:pt x="48" y="246"/>
                      </a:lnTo>
                      <a:lnTo>
                        <a:pt x="48" y="242"/>
                      </a:lnTo>
                      <a:lnTo>
                        <a:pt x="52" y="242"/>
                      </a:lnTo>
                      <a:lnTo>
                        <a:pt x="52" y="238"/>
                      </a:lnTo>
                      <a:lnTo>
                        <a:pt x="48" y="238"/>
                      </a:lnTo>
                      <a:lnTo>
                        <a:pt x="48" y="234"/>
                      </a:lnTo>
                      <a:lnTo>
                        <a:pt x="44" y="234"/>
                      </a:lnTo>
                      <a:lnTo>
                        <a:pt x="48" y="230"/>
                      </a:lnTo>
                      <a:lnTo>
                        <a:pt x="48" y="226"/>
                      </a:lnTo>
                      <a:lnTo>
                        <a:pt x="44" y="224"/>
                      </a:lnTo>
                      <a:lnTo>
                        <a:pt x="44" y="220"/>
                      </a:lnTo>
                      <a:lnTo>
                        <a:pt x="42" y="220"/>
                      </a:lnTo>
                      <a:lnTo>
                        <a:pt x="38" y="220"/>
                      </a:lnTo>
                      <a:lnTo>
                        <a:pt x="42" y="220"/>
                      </a:lnTo>
                      <a:lnTo>
                        <a:pt x="42" y="224"/>
                      </a:lnTo>
                      <a:lnTo>
                        <a:pt x="38" y="224"/>
                      </a:lnTo>
                      <a:lnTo>
                        <a:pt x="34" y="226"/>
                      </a:lnTo>
                      <a:lnTo>
                        <a:pt x="34" y="226"/>
                      </a:lnTo>
                      <a:lnTo>
                        <a:pt x="34" y="22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11" name="Freeform 157"/>
                <p:cNvSpPr>
                  <a:spLocks noEditPoints="1"/>
                </p:cNvSpPr>
                <p:nvPr/>
              </p:nvSpPr>
              <p:spPr bwMode="auto">
                <a:xfrm>
                  <a:off x="4006850" y="3803718"/>
                  <a:ext cx="279400" cy="355600"/>
                </a:xfrm>
                <a:custGeom>
                  <a:avLst/>
                  <a:gdLst>
                    <a:gd name="T0" fmla="*/ 90 w 176"/>
                    <a:gd name="T1" fmla="*/ 218 h 224"/>
                    <a:gd name="T2" fmla="*/ 84 w 176"/>
                    <a:gd name="T3" fmla="*/ 210 h 224"/>
                    <a:gd name="T4" fmla="*/ 80 w 176"/>
                    <a:gd name="T5" fmla="*/ 206 h 224"/>
                    <a:gd name="T6" fmla="*/ 76 w 176"/>
                    <a:gd name="T7" fmla="*/ 210 h 224"/>
                    <a:gd name="T8" fmla="*/ 76 w 176"/>
                    <a:gd name="T9" fmla="*/ 218 h 224"/>
                    <a:gd name="T10" fmla="*/ 72 w 176"/>
                    <a:gd name="T11" fmla="*/ 220 h 224"/>
                    <a:gd name="T12" fmla="*/ 64 w 176"/>
                    <a:gd name="T13" fmla="*/ 218 h 224"/>
                    <a:gd name="T14" fmla="*/ 60 w 176"/>
                    <a:gd name="T15" fmla="*/ 214 h 224"/>
                    <a:gd name="T16" fmla="*/ 60 w 176"/>
                    <a:gd name="T17" fmla="*/ 210 h 224"/>
                    <a:gd name="T18" fmla="*/ 54 w 176"/>
                    <a:gd name="T19" fmla="*/ 198 h 224"/>
                    <a:gd name="T20" fmla="*/ 50 w 176"/>
                    <a:gd name="T21" fmla="*/ 198 h 224"/>
                    <a:gd name="T22" fmla="*/ 38 w 176"/>
                    <a:gd name="T23" fmla="*/ 190 h 224"/>
                    <a:gd name="T24" fmla="*/ 30 w 176"/>
                    <a:gd name="T25" fmla="*/ 190 h 224"/>
                    <a:gd name="T26" fmla="*/ 26 w 176"/>
                    <a:gd name="T27" fmla="*/ 190 h 224"/>
                    <a:gd name="T28" fmla="*/ 20 w 176"/>
                    <a:gd name="T29" fmla="*/ 190 h 224"/>
                    <a:gd name="T30" fmla="*/ 16 w 176"/>
                    <a:gd name="T31" fmla="*/ 190 h 224"/>
                    <a:gd name="T32" fmla="*/ 12 w 176"/>
                    <a:gd name="T33" fmla="*/ 194 h 224"/>
                    <a:gd name="T34" fmla="*/ 8 w 176"/>
                    <a:gd name="T35" fmla="*/ 194 h 224"/>
                    <a:gd name="T36" fmla="*/ 12 w 176"/>
                    <a:gd name="T37" fmla="*/ 190 h 224"/>
                    <a:gd name="T38" fmla="*/ 16 w 176"/>
                    <a:gd name="T39" fmla="*/ 180 h 224"/>
                    <a:gd name="T40" fmla="*/ 16 w 176"/>
                    <a:gd name="T41" fmla="*/ 172 h 224"/>
                    <a:gd name="T42" fmla="*/ 16 w 176"/>
                    <a:gd name="T43" fmla="*/ 158 h 224"/>
                    <a:gd name="T44" fmla="*/ 16 w 176"/>
                    <a:gd name="T45" fmla="*/ 154 h 224"/>
                    <a:gd name="T46" fmla="*/ 12 w 176"/>
                    <a:gd name="T47" fmla="*/ 146 h 224"/>
                    <a:gd name="T48" fmla="*/ 12 w 176"/>
                    <a:gd name="T49" fmla="*/ 142 h 224"/>
                    <a:gd name="T50" fmla="*/ 12 w 176"/>
                    <a:gd name="T51" fmla="*/ 138 h 224"/>
                    <a:gd name="T52" fmla="*/ 12 w 176"/>
                    <a:gd name="T53" fmla="*/ 138 h 224"/>
                    <a:gd name="T54" fmla="*/ 12 w 176"/>
                    <a:gd name="T55" fmla="*/ 124 h 224"/>
                    <a:gd name="T56" fmla="*/ 8 w 176"/>
                    <a:gd name="T57" fmla="*/ 120 h 224"/>
                    <a:gd name="T58" fmla="*/ 4 w 176"/>
                    <a:gd name="T59" fmla="*/ 114 h 224"/>
                    <a:gd name="T60" fmla="*/ 0 w 176"/>
                    <a:gd name="T61" fmla="*/ 118 h 224"/>
                    <a:gd name="T62" fmla="*/ 4 w 176"/>
                    <a:gd name="T63" fmla="*/ 110 h 224"/>
                    <a:gd name="T64" fmla="*/ 30 w 176"/>
                    <a:gd name="T65" fmla="*/ 110 h 224"/>
                    <a:gd name="T66" fmla="*/ 60 w 176"/>
                    <a:gd name="T67" fmla="*/ 110 h 224"/>
                    <a:gd name="T68" fmla="*/ 56 w 176"/>
                    <a:gd name="T69" fmla="*/ 88 h 224"/>
                    <a:gd name="T70" fmla="*/ 60 w 176"/>
                    <a:gd name="T71" fmla="*/ 80 h 224"/>
                    <a:gd name="T72" fmla="*/ 72 w 176"/>
                    <a:gd name="T73" fmla="*/ 72 h 224"/>
                    <a:gd name="T74" fmla="*/ 72 w 176"/>
                    <a:gd name="T75" fmla="*/ 46 h 224"/>
                    <a:gd name="T76" fmla="*/ 72 w 176"/>
                    <a:gd name="T77" fmla="*/ 30 h 224"/>
                    <a:gd name="T78" fmla="*/ 102 w 176"/>
                    <a:gd name="T79" fmla="*/ 24 h 224"/>
                    <a:gd name="T80" fmla="*/ 120 w 176"/>
                    <a:gd name="T81" fmla="*/ 24 h 224"/>
                    <a:gd name="T82" fmla="*/ 120 w 176"/>
                    <a:gd name="T83" fmla="*/ 0 h 224"/>
                    <a:gd name="T84" fmla="*/ 142 w 176"/>
                    <a:gd name="T85" fmla="*/ 20 h 224"/>
                    <a:gd name="T86" fmla="*/ 166 w 176"/>
                    <a:gd name="T87" fmla="*/ 34 h 224"/>
                    <a:gd name="T88" fmla="*/ 172 w 176"/>
                    <a:gd name="T89" fmla="*/ 42 h 224"/>
                    <a:gd name="T90" fmla="*/ 150 w 176"/>
                    <a:gd name="T91" fmla="*/ 50 h 224"/>
                    <a:gd name="T92" fmla="*/ 154 w 176"/>
                    <a:gd name="T93" fmla="*/ 80 h 224"/>
                    <a:gd name="T94" fmla="*/ 158 w 176"/>
                    <a:gd name="T95" fmla="*/ 110 h 224"/>
                    <a:gd name="T96" fmla="*/ 162 w 176"/>
                    <a:gd name="T97" fmla="*/ 142 h 224"/>
                    <a:gd name="T98" fmla="*/ 162 w 176"/>
                    <a:gd name="T99" fmla="*/ 168 h 224"/>
                    <a:gd name="T100" fmla="*/ 166 w 176"/>
                    <a:gd name="T101" fmla="*/ 202 h 224"/>
                    <a:gd name="T102" fmla="*/ 154 w 176"/>
                    <a:gd name="T103" fmla="*/ 210 h 224"/>
                    <a:gd name="T104" fmla="*/ 132 w 176"/>
                    <a:gd name="T105" fmla="*/ 210 h 224"/>
                    <a:gd name="T106" fmla="*/ 116 w 176"/>
                    <a:gd name="T107" fmla="*/ 210 h 224"/>
                    <a:gd name="T108" fmla="*/ 110 w 176"/>
                    <a:gd name="T109" fmla="*/ 210 h 224"/>
                    <a:gd name="T110" fmla="*/ 106 w 176"/>
                    <a:gd name="T111" fmla="*/ 214 h 224"/>
                    <a:gd name="T112" fmla="*/ 98 w 176"/>
                    <a:gd name="T113" fmla="*/ 210 h 224"/>
                    <a:gd name="T114" fmla="*/ 90 w 176"/>
                    <a:gd name="T115" fmla="*/ 210 h 224"/>
                    <a:gd name="T116" fmla="*/ 12 w 176"/>
                    <a:gd name="T117" fmla="*/ 134 h 224"/>
                    <a:gd name="T118" fmla="*/ 12 w 176"/>
                    <a:gd name="T119" fmla="*/ 138 h 224"/>
                    <a:gd name="T120" fmla="*/ 12 w 176"/>
                    <a:gd name="T121" fmla="*/ 138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76" h="224">
                      <a:moveTo>
                        <a:pt x="90" y="210"/>
                      </a:moveTo>
                      <a:lnTo>
                        <a:pt x="90" y="214"/>
                      </a:lnTo>
                      <a:lnTo>
                        <a:pt x="90" y="214"/>
                      </a:lnTo>
                      <a:lnTo>
                        <a:pt x="90" y="214"/>
                      </a:lnTo>
                      <a:lnTo>
                        <a:pt x="90" y="214"/>
                      </a:lnTo>
                      <a:lnTo>
                        <a:pt x="90" y="218"/>
                      </a:lnTo>
                      <a:lnTo>
                        <a:pt x="90" y="218"/>
                      </a:lnTo>
                      <a:lnTo>
                        <a:pt x="86" y="214"/>
                      </a:lnTo>
                      <a:lnTo>
                        <a:pt x="86" y="214"/>
                      </a:lnTo>
                      <a:lnTo>
                        <a:pt x="86" y="214"/>
                      </a:lnTo>
                      <a:lnTo>
                        <a:pt x="86" y="214"/>
                      </a:lnTo>
                      <a:lnTo>
                        <a:pt x="86" y="214"/>
                      </a:lnTo>
                      <a:lnTo>
                        <a:pt x="84" y="210"/>
                      </a:lnTo>
                      <a:lnTo>
                        <a:pt x="84" y="210"/>
                      </a:lnTo>
                      <a:lnTo>
                        <a:pt x="84" y="210"/>
                      </a:lnTo>
                      <a:lnTo>
                        <a:pt x="84" y="210"/>
                      </a:lnTo>
                      <a:lnTo>
                        <a:pt x="84" y="210"/>
                      </a:lnTo>
                      <a:lnTo>
                        <a:pt x="84" y="210"/>
                      </a:lnTo>
                      <a:lnTo>
                        <a:pt x="84" y="206"/>
                      </a:lnTo>
                      <a:lnTo>
                        <a:pt x="84" y="206"/>
                      </a:lnTo>
                      <a:lnTo>
                        <a:pt x="80" y="206"/>
                      </a:lnTo>
                      <a:lnTo>
                        <a:pt x="80" y="210"/>
                      </a:lnTo>
                      <a:lnTo>
                        <a:pt x="80" y="210"/>
                      </a:lnTo>
                      <a:lnTo>
                        <a:pt x="80" y="210"/>
                      </a:lnTo>
                      <a:lnTo>
                        <a:pt x="80" y="210"/>
                      </a:lnTo>
                      <a:lnTo>
                        <a:pt x="80" y="210"/>
                      </a:lnTo>
                      <a:lnTo>
                        <a:pt x="80" y="210"/>
                      </a:lnTo>
                      <a:lnTo>
                        <a:pt x="76" y="210"/>
                      </a:lnTo>
                      <a:lnTo>
                        <a:pt x="76" y="210"/>
                      </a:lnTo>
                      <a:lnTo>
                        <a:pt x="76" y="214"/>
                      </a:lnTo>
                      <a:lnTo>
                        <a:pt x="76" y="214"/>
                      </a:lnTo>
                      <a:lnTo>
                        <a:pt x="76" y="218"/>
                      </a:lnTo>
                      <a:lnTo>
                        <a:pt x="76" y="218"/>
                      </a:lnTo>
                      <a:lnTo>
                        <a:pt x="76" y="218"/>
                      </a:lnTo>
                      <a:lnTo>
                        <a:pt x="76" y="218"/>
                      </a:lnTo>
                      <a:lnTo>
                        <a:pt x="76" y="220"/>
                      </a:lnTo>
                      <a:lnTo>
                        <a:pt x="76" y="220"/>
                      </a:lnTo>
                      <a:lnTo>
                        <a:pt x="76" y="220"/>
                      </a:lnTo>
                      <a:lnTo>
                        <a:pt x="76" y="220"/>
                      </a:lnTo>
                      <a:lnTo>
                        <a:pt x="72" y="224"/>
                      </a:lnTo>
                      <a:lnTo>
                        <a:pt x="72" y="224"/>
                      </a:lnTo>
                      <a:lnTo>
                        <a:pt x="72" y="220"/>
                      </a:lnTo>
                      <a:lnTo>
                        <a:pt x="72" y="220"/>
                      </a:lnTo>
                      <a:lnTo>
                        <a:pt x="68" y="220"/>
                      </a:lnTo>
                      <a:lnTo>
                        <a:pt x="68" y="220"/>
                      </a:lnTo>
                      <a:lnTo>
                        <a:pt x="68" y="220"/>
                      </a:lnTo>
                      <a:lnTo>
                        <a:pt x="68" y="220"/>
                      </a:lnTo>
                      <a:lnTo>
                        <a:pt x="68" y="218"/>
                      </a:lnTo>
                      <a:lnTo>
                        <a:pt x="64" y="218"/>
                      </a:lnTo>
                      <a:lnTo>
                        <a:pt x="64" y="218"/>
                      </a:lnTo>
                      <a:lnTo>
                        <a:pt x="64" y="218"/>
                      </a:lnTo>
                      <a:lnTo>
                        <a:pt x="64" y="218"/>
                      </a:lnTo>
                      <a:lnTo>
                        <a:pt x="60" y="218"/>
                      </a:lnTo>
                      <a:lnTo>
                        <a:pt x="60" y="214"/>
                      </a:lnTo>
                      <a:lnTo>
                        <a:pt x="60" y="214"/>
                      </a:lnTo>
                      <a:lnTo>
                        <a:pt x="60" y="214"/>
                      </a:lnTo>
                      <a:lnTo>
                        <a:pt x="60" y="214"/>
                      </a:lnTo>
                      <a:lnTo>
                        <a:pt x="60" y="214"/>
                      </a:lnTo>
                      <a:lnTo>
                        <a:pt x="60" y="214"/>
                      </a:lnTo>
                      <a:lnTo>
                        <a:pt x="60" y="214"/>
                      </a:lnTo>
                      <a:lnTo>
                        <a:pt x="60" y="214"/>
                      </a:lnTo>
                      <a:lnTo>
                        <a:pt x="60" y="214"/>
                      </a:lnTo>
                      <a:lnTo>
                        <a:pt x="60" y="210"/>
                      </a:lnTo>
                      <a:lnTo>
                        <a:pt x="56" y="210"/>
                      </a:lnTo>
                      <a:lnTo>
                        <a:pt x="56" y="210"/>
                      </a:lnTo>
                      <a:lnTo>
                        <a:pt x="56" y="210"/>
                      </a:lnTo>
                      <a:lnTo>
                        <a:pt x="56" y="206"/>
                      </a:lnTo>
                      <a:lnTo>
                        <a:pt x="56" y="206"/>
                      </a:lnTo>
                      <a:lnTo>
                        <a:pt x="54" y="202"/>
                      </a:lnTo>
                      <a:lnTo>
                        <a:pt x="54" y="198"/>
                      </a:lnTo>
                      <a:lnTo>
                        <a:pt x="54" y="198"/>
                      </a:lnTo>
                      <a:lnTo>
                        <a:pt x="50" y="198"/>
                      </a:lnTo>
                      <a:lnTo>
                        <a:pt x="50" y="198"/>
                      </a:lnTo>
                      <a:lnTo>
                        <a:pt x="50" y="198"/>
                      </a:lnTo>
                      <a:lnTo>
                        <a:pt x="50" y="198"/>
                      </a:lnTo>
                      <a:lnTo>
                        <a:pt x="50" y="198"/>
                      </a:lnTo>
                      <a:lnTo>
                        <a:pt x="50" y="198"/>
                      </a:lnTo>
                      <a:lnTo>
                        <a:pt x="50" y="198"/>
                      </a:lnTo>
                      <a:lnTo>
                        <a:pt x="46" y="198"/>
                      </a:lnTo>
                      <a:lnTo>
                        <a:pt x="46" y="194"/>
                      </a:lnTo>
                      <a:lnTo>
                        <a:pt x="46" y="194"/>
                      </a:lnTo>
                      <a:lnTo>
                        <a:pt x="42" y="190"/>
                      </a:lnTo>
                      <a:lnTo>
                        <a:pt x="42" y="190"/>
                      </a:lnTo>
                      <a:lnTo>
                        <a:pt x="38" y="190"/>
                      </a:lnTo>
                      <a:lnTo>
                        <a:pt x="38" y="190"/>
                      </a:lnTo>
                      <a:lnTo>
                        <a:pt x="38" y="190"/>
                      </a:lnTo>
                      <a:lnTo>
                        <a:pt x="34" y="190"/>
                      </a:lnTo>
                      <a:lnTo>
                        <a:pt x="34" y="190"/>
                      </a:lnTo>
                      <a:lnTo>
                        <a:pt x="34" y="190"/>
                      </a:lnTo>
                      <a:lnTo>
                        <a:pt x="30" y="190"/>
                      </a:lnTo>
                      <a:lnTo>
                        <a:pt x="30" y="190"/>
                      </a:lnTo>
                      <a:lnTo>
                        <a:pt x="30" y="190"/>
                      </a:lnTo>
                      <a:lnTo>
                        <a:pt x="30" y="190"/>
                      </a:lnTo>
                      <a:lnTo>
                        <a:pt x="30" y="188"/>
                      </a:lnTo>
                      <a:lnTo>
                        <a:pt x="30" y="190"/>
                      </a:lnTo>
                      <a:lnTo>
                        <a:pt x="30" y="190"/>
                      </a:lnTo>
                      <a:lnTo>
                        <a:pt x="30" y="190"/>
                      </a:lnTo>
                      <a:lnTo>
                        <a:pt x="26" y="190"/>
                      </a:lnTo>
                      <a:lnTo>
                        <a:pt x="26" y="190"/>
                      </a:lnTo>
                      <a:lnTo>
                        <a:pt x="24" y="190"/>
                      </a:lnTo>
                      <a:lnTo>
                        <a:pt x="24" y="190"/>
                      </a:lnTo>
                      <a:lnTo>
                        <a:pt x="24" y="190"/>
                      </a:lnTo>
                      <a:lnTo>
                        <a:pt x="24" y="190"/>
                      </a:lnTo>
                      <a:lnTo>
                        <a:pt x="20" y="190"/>
                      </a:lnTo>
                      <a:lnTo>
                        <a:pt x="20" y="190"/>
                      </a:lnTo>
                      <a:lnTo>
                        <a:pt x="20" y="190"/>
                      </a:lnTo>
                      <a:lnTo>
                        <a:pt x="20" y="190"/>
                      </a:lnTo>
                      <a:lnTo>
                        <a:pt x="20" y="190"/>
                      </a:lnTo>
                      <a:lnTo>
                        <a:pt x="16" y="190"/>
                      </a:lnTo>
                      <a:lnTo>
                        <a:pt x="16" y="190"/>
                      </a:lnTo>
                      <a:lnTo>
                        <a:pt x="16" y="190"/>
                      </a:lnTo>
                      <a:lnTo>
                        <a:pt x="16" y="190"/>
                      </a:lnTo>
                      <a:lnTo>
                        <a:pt x="16" y="190"/>
                      </a:lnTo>
                      <a:lnTo>
                        <a:pt x="12" y="190"/>
                      </a:lnTo>
                      <a:lnTo>
                        <a:pt x="12" y="190"/>
                      </a:lnTo>
                      <a:lnTo>
                        <a:pt x="12" y="194"/>
                      </a:lnTo>
                      <a:lnTo>
                        <a:pt x="12" y="194"/>
                      </a:lnTo>
                      <a:lnTo>
                        <a:pt x="12" y="194"/>
                      </a:lnTo>
                      <a:lnTo>
                        <a:pt x="12" y="194"/>
                      </a:lnTo>
                      <a:lnTo>
                        <a:pt x="12" y="198"/>
                      </a:lnTo>
                      <a:lnTo>
                        <a:pt x="8" y="198"/>
                      </a:lnTo>
                      <a:lnTo>
                        <a:pt x="8" y="198"/>
                      </a:lnTo>
                      <a:lnTo>
                        <a:pt x="8" y="198"/>
                      </a:lnTo>
                      <a:lnTo>
                        <a:pt x="8" y="194"/>
                      </a:lnTo>
                      <a:lnTo>
                        <a:pt x="8" y="194"/>
                      </a:lnTo>
                      <a:lnTo>
                        <a:pt x="8" y="194"/>
                      </a:lnTo>
                      <a:lnTo>
                        <a:pt x="8" y="194"/>
                      </a:lnTo>
                      <a:lnTo>
                        <a:pt x="8" y="194"/>
                      </a:lnTo>
                      <a:lnTo>
                        <a:pt x="12" y="190"/>
                      </a:lnTo>
                      <a:lnTo>
                        <a:pt x="12" y="190"/>
                      </a:lnTo>
                      <a:lnTo>
                        <a:pt x="12" y="190"/>
                      </a:lnTo>
                      <a:lnTo>
                        <a:pt x="12" y="190"/>
                      </a:lnTo>
                      <a:lnTo>
                        <a:pt x="12" y="190"/>
                      </a:lnTo>
                      <a:lnTo>
                        <a:pt x="12" y="188"/>
                      </a:lnTo>
                      <a:lnTo>
                        <a:pt x="12" y="188"/>
                      </a:lnTo>
                      <a:lnTo>
                        <a:pt x="12" y="184"/>
                      </a:lnTo>
                      <a:lnTo>
                        <a:pt x="12" y="184"/>
                      </a:lnTo>
                      <a:lnTo>
                        <a:pt x="12" y="184"/>
                      </a:lnTo>
                      <a:lnTo>
                        <a:pt x="12" y="184"/>
                      </a:lnTo>
                      <a:lnTo>
                        <a:pt x="16" y="180"/>
                      </a:lnTo>
                      <a:lnTo>
                        <a:pt x="16" y="180"/>
                      </a:lnTo>
                      <a:lnTo>
                        <a:pt x="16" y="176"/>
                      </a:lnTo>
                      <a:lnTo>
                        <a:pt x="16" y="176"/>
                      </a:lnTo>
                      <a:lnTo>
                        <a:pt x="16" y="176"/>
                      </a:lnTo>
                      <a:lnTo>
                        <a:pt x="16" y="172"/>
                      </a:lnTo>
                      <a:lnTo>
                        <a:pt x="16" y="172"/>
                      </a:lnTo>
                      <a:lnTo>
                        <a:pt x="16" y="172"/>
                      </a:lnTo>
                      <a:lnTo>
                        <a:pt x="16" y="168"/>
                      </a:lnTo>
                      <a:lnTo>
                        <a:pt x="16" y="164"/>
                      </a:lnTo>
                      <a:lnTo>
                        <a:pt x="16" y="164"/>
                      </a:lnTo>
                      <a:lnTo>
                        <a:pt x="16" y="160"/>
                      </a:lnTo>
                      <a:lnTo>
                        <a:pt x="16" y="160"/>
                      </a:lnTo>
                      <a:lnTo>
                        <a:pt x="16" y="160"/>
                      </a:lnTo>
                      <a:lnTo>
                        <a:pt x="16" y="158"/>
                      </a:lnTo>
                      <a:lnTo>
                        <a:pt x="16" y="158"/>
                      </a:lnTo>
                      <a:lnTo>
                        <a:pt x="16" y="158"/>
                      </a:lnTo>
                      <a:lnTo>
                        <a:pt x="16" y="158"/>
                      </a:lnTo>
                      <a:lnTo>
                        <a:pt x="16" y="158"/>
                      </a:lnTo>
                      <a:lnTo>
                        <a:pt x="16" y="158"/>
                      </a:lnTo>
                      <a:lnTo>
                        <a:pt x="16" y="154"/>
                      </a:lnTo>
                      <a:lnTo>
                        <a:pt x="16" y="154"/>
                      </a:lnTo>
                      <a:lnTo>
                        <a:pt x="16" y="150"/>
                      </a:lnTo>
                      <a:lnTo>
                        <a:pt x="16" y="150"/>
                      </a:lnTo>
                      <a:lnTo>
                        <a:pt x="16" y="150"/>
                      </a:lnTo>
                      <a:lnTo>
                        <a:pt x="12" y="150"/>
                      </a:lnTo>
                      <a:lnTo>
                        <a:pt x="12" y="146"/>
                      </a:lnTo>
                      <a:lnTo>
                        <a:pt x="12" y="146"/>
                      </a:lnTo>
                      <a:lnTo>
                        <a:pt x="12" y="146"/>
                      </a:lnTo>
                      <a:lnTo>
                        <a:pt x="12" y="146"/>
                      </a:lnTo>
                      <a:lnTo>
                        <a:pt x="12" y="146"/>
                      </a:lnTo>
                      <a:lnTo>
                        <a:pt x="12" y="146"/>
                      </a:lnTo>
                      <a:lnTo>
                        <a:pt x="12" y="142"/>
                      </a:lnTo>
                      <a:lnTo>
                        <a:pt x="8" y="142"/>
                      </a:lnTo>
                      <a:lnTo>
                        <a:pt x="8" y="142"/>
                      </a:lnTo>
                      <a:lnTo>
                        <a:pt x="12" y="142"/>
                      </a:lnTo>
                      <a:lnTo>
                        <a:pt x="12" y="142"/>
                      </a:lnTo>
                      <a:lnTo>
                        <a:pt x="12" y="142"/>
                      </a:lnTo>
                      <a:lnTo>
                        <a:pt x="12" y="142"/>
                      </a:lnTo>
                      <a:lnTo>
                        <a:pt x="12" y="138"/>
                      </a:lnTo>
                      <a:lnTo>
                        <a:pt x="12" y="138"/>
                      </a:lnTo>
                      <a:lnTo>
                        <a:pt x="12" y="138"/>
                      </a:lnTo>
                      <a:lnTo>
                        <a:pt x="12" y="138"/>
                      </a:lnTo>
                      <a:lnTo>
                        <a:pt x="12" y="142"/>
                      </a:lnTo>
                      <a:lnTo>
                        <a:pt x="12" y="142"/>
                      </a:lnTo>
                      <a:lnTo>
                        <a:pt x="12" y="142"/>
                      </a:lnTo>
                      <a:lnTo>
                        <a:pt x="12" y="142"/>
                      </a:lnTo>
                      <a:lnTo>
                        <a:pt x="12" y="138"/>
                      </a:lnTo>
                      <a:lnTo>
                        <a:pt x="12" y="138"/>
                      </a:lnTo>
                      <a:lnTo>
                        <a:pt x="12" y="138"/>
                      </a:lnTo>
                      <a:lnTo>
                        <a:pt x="12" y="138"/>
                      </a:lnTo>
                      <a:lnTo>
                        <a:pt x="12" y="134"/>
                      </a:lnTo>
                      <a:lnTo>
                        <a:pt x="12" y="132"/>
                      </a:lnTo>
                      <a:lnTo>
                        <a:pt x="12" y="132"/>
                      </a:lnTo>
                      <a:lnTo>
                        <a:pt x="16" y="128"/>
                      </a:lnTo>
                      <a:lnTo>
                        <a:pt x="12" y="128"/>
                      </a:lnTo>
                      <a:lnTo>
                        <a:pt x="12" y="124"/>
                      </a:lnTo>
                      <a:lnTo>
                        <a:pt x="12" y="124"/>
                      </a:lnTo>
                      <a:lnTo>
                        <a:pt x="12" y="120"/>
                      </a:lnTo>
                      <a:lnTo>
                        <a:pt x="12" y="120"/>
                      </a:lnTo>
                      <a:lnTo>
                        <a:pt x="12" y="120"/>
                      </a:lnTo>
                      <a:lnTo>
                        <a:pt x="8" y="120"/>
                      </a:lnTo>
                      <a:lnTo>
                        <a:pt x="8" y="118"/>
                      </a:lnTo>
                      <a:lnTo>
                        <a:pt x="8" y="120"/>
                      </a:lnTo>
                      <a:lnTo>
                        <a:pt x="8" y="120"/>
                      </a:lnTo>
                      <a:lnTo>
                        <a:pt x="8" y="120"/>
                      </a:lnTo>
                      <a:lnTo>
                        <a:pt x="8" y="120"/>
                      </a:lnTo>
                      <a:lnTo>
                        <a:pt x="8" y="120"/>
                      </a:lnTo>
                      <a:lnTo>
                        <a:pt x="8" y="120"/>
                      </a:lnTo>
                      <a:lnTo>
                        <a:pt x="4" y="114"/>
                      </a:lnTo>
                      <a:lnTo>
                        <a:pt x="4" y="114"/>
                      </a:lnTo>
                      <a:lnTo>
                        <a:pt x="4" y="110"/>
                      </a:lnTo>
                      <a:lnTo>
                        <a:pt x="4" y="114"/>
                      </a:lnTo>
                      <a:lnTo>
                        <a:pt x="0" y="114"/>
                      </a:lnTo>
                      <a:lnTo>
                        <a:pt x="4" y="114"/>
                      </a:lnTo>
                      <a:lnTo>
                        <a:pt x="0" y="118"/>
                      </a:lnTo>
                      <a:lnTo>
                        <a:pt x="0" y="118"/>
                      </a:lnTo>
                      <a:lnTo>
                        <a:pt x="0" y="118"/>
                      </a:lnTo>
                      <a:lnTo>
                        <a:pt x="0" y="118"/>
                      </a:lnTo>
                      <a:lnTo>
                        <a:pt x="0" y="118"/>
                      </a:lnTo>
                      <a:lnTo>
                        <a:pt x="0" y="114"/>
                      </a:lnTo>
                      <a:lnTo>
                        <a:pt x="0" y="114"/>
                      </a:lnTo>
                      <a:lnTo>
                        <a:pt x="4" y="114"/>
                      </a:lnTo>
                      <a:lnTo>
                        <a:pt x="4" y="110"/>
                      </a:lnTo>
                      <a:lnTo>
                        <a:pt x="4" y="110"/>
                      </a:lnTo>
                      <a:lnTo>
                        <a:pt x="8" y="110"/>
                      </a:lnTo>
                      <a:lnTo>
                        <a:pt x="16" y="110"/>
                      </a:lnTo>
                      <a:lnTo>
                        <a:pt x="16" y="110"/>
                      </a:lnTo>
                      <a:lnTo>
                        <a:pt x="20" y="110"/>
                      </a:lnTo>
                      <a:lnTo>
                        <a:pt x="20" y="110"/>
                      </a:lnTo>
                      <a:lnTo>
                        <a:pt x="26" y="110"/>
                      </a:lnTo>
                      <a:lnTo>
                        <a:pt x="30" y="110"/>
                      </a:lnTo>
                      <a:lnTo>
                        <a:pt x="34" y="110"/>
                      </a:lnTo>
                      <a:lnTo>
                        <a:pt x="38" y="110"/>
                      </a:lnTo>
                      <a:lnTo>
                        <a:pt x="42" y="110"/>
                      </a:lnTo>
                      <a:lnTo>
                        <a:pt x="42" y="110"/>
                      </a:lnTo>
                      <a:lnTo>
                        <a:pt x="46" y="110"/>
                      </a:lnTo>
                      <a:lnTo>
                        <a:pt x="54" y="110"/>
                      </a:lnTo>
                      <a:lnTo>
                        <a:pt x="60" y="110"/>
                      </a:lnTo>
                      <a:lnTo>
                        <a:pt x="60" y="106"/>
                      </a:lnTo>
                      <a:lnTo>
                        <a:pt x="60" y="98"/>
                      </a:lnTo>
                      <a:lnTo>
                        <a:pt x="56" y="94"/>
                      </a:lnTo>
                      <a:lnTo>
                        <a:pt x="56" y="94"/>
                      </a:lnTo>
                      <a:lnTo>
                        <a:pt x="56" y="90"/>
                      </a:lnTo>
                      <a:lnTo>
                        <a:pt x="56" y="90"/>
                      </a:lnTo>
                      <a:lnTo>
                        <a:pt x="56" y="88"/>
                      </a:lnTo>
                      <a:lnTo>
                        <a:pt x="56" y="88"/>
                      </a:lnTo>
                      <a:lnTo>
                        <a:pt x="56" y="88"/>
                      </a:lnTo>
                      <a:lnTo>
                        <a:pt x="56" y="84"/>
                      </a:lnTo>
                      <a:lnTo>
                        <a:pt x="56" y="84"/>
                      </a:lnTo>
                      <a:lnTo>
                        <a:pt x="56" y="80"/>
                      </a:lnTo>
                      <a:lnTo>
                        <a:pt x="56" y="80"/>
                      </a:lnTo>
                      <a:lnTo>
                        <a:pt x="60" y="80"/>
                      </a:lnTo>
                      <a:lnTo>
                        <a:pt x="64" y="76"/>
                      </a:lnTo>
                      <a:lnTo>
                        <a:pt x="64" y="76"/>
                      </a:lnTo>
                      <a:lnTo>
                        <a:pt x="64" y="72"/>
                      </a:lnTo>
                      <a:lnTo>
                        <a:pt x="64" y="72"/>
                      </a:lnTo>
                      <a:lnTo>
                        <a:pt x="68" y="72"/>
                      </a:lnTo>
                      <a:lnTo>
                        <a:pt x="72" y="72"/>
                      </a:lnTo>
                      <a:lnTo>
                        <a:pt x="72" y="72"/>
                      </a:lnTo>
                      <a:lnTo>
                        <a:pt x="72" y="72"/>
                      </a:lnTo>
                      <a:lnTo>
                        <a:pt x="72" y="64"/>
                      </a:lnTo>
                      <a:lnTo>
                        <a:pt x="72" y="60"/>
                      </a:lnTo>
                      <a:lnTo>
                        <a:pt x="72" y="54"/>
                      </a:lnTo>
                      <a:lnTo>
                        <a:pt x="72" y="54"/>
                      </a:lnTo>
                      <a:lnTo>
                        <a:pt x="72" y="46"/>
                      </a:lnTo>
                      <a:lnTo>
                        <a:pt x="72" y="46"/>
                      </a:lnTo>
                      <a:lnTo>
                        <a:pt x="72" y="46"/>
                      </a:lnTo>
                      <a:lnTo>
                        <a:pt x="72" y="38"/>
                      </a:lnTo>
                      <a:lnTo>
                        <a:pt x="72" y="38"/>
                      </a:lnTo>
                      <a:lnTo>
                        <a:pt x="72" y="38"/>
                      </a:lnTo>
                      <a:lnTo>
                        <a:pt x="72" y="30"/>
                      </a:lnTo>
                      <a:lnTo>
                        <a:pt x="72" y="30"/>
                      </a:lnTo>
                      <a:lnTo>
                        <a:pt x="72" y="30"/>
                      </a:lnTo>
                      <a:lnTo>
                        <a:pt x="72" y="24"/>
                      </a:lnTo>
                      <a:lnTo>
                        <a:pt x="80" y="24"/>
                      </a:lnTo>
                      <a:lnTo>
                        <a:pt x="84" y="24"/>
                      </a:lnTo>
                      <a:lnTo>
                        <a:pt x="90" y="24"/>
                      </a:lnTo>
                      <a:lnTo>
                        <a:pt x="94" y="24"/>
                      </a:lnTo>
                      <a:lnTo>
                        <a:pt x="102" y="24"/>
                      </a:lnTo>
                      <a:lnTo>
                        <a:pt x="102" y="24"/>
                      </a:lnTo>
                      <a:lnTo>
                        <a:pt x="102" y="24"/>
                      </a:lnTo>
                      <a:lnTo>
                        <a:pt x="102" y="24"/>
                      </a:lnTo>
                      <a:lnTo>
                        <a:pt x="106" y="24"/>
                      </a:lnTo>
                      <a:lnTo>
                        <a:pt x="106" y="24"/>
                      </a:lnTo>
                      <a:lnTo>
                        <a:pt x="110" y="24"/>
                      </a:lnTo>
                      <a:lnTo>
                        <a:pt x="110" y="24"/>
                      </a:lnTo>
                      <a:lnTo>
                        <a:pt x="120" y="24"/>
                      </a:lnTo>
                      <a:lnTo>
                        <a:pt x="120" y="24"/>
                      </a:lnTo>
                      <a:lnTo>
                        <a:pt x="120" y="24"/>
                      </a:lnTo>
                      <a:lnTo>
                        <a:pt x="120" y="16"/>
                      </a:lnTo>
                      <a:lnTo>
                        <a:pt x="120" y="8"/>
                      </a:lnTo>
                      <a:lnTo>
                        <a:pt x="120" y="8"/>
                      </a:lnTo>
                      <a:lnTo>
                        <a:pt x="120" y="0"/>
                      </a:lnTo>
                      <a:lnTo>
                        <a:pt x="120" y="0"/>
                      </a:lnTo>
                      <a:lnTo>
                        <a:pt x="128" y="4"/>
                      </a:lnTo>
                      <a:lnTo>
                        <a:pt x="128" y="8"/>
                      </a:lnTo>
                      <a:lnTo>
                        <a:pt x="136" y="12"/>
                      </a:lnTo>
                      <a:lnTo>
                        <a:pt x="136" y="12"/>
                      </a:lnTo>
                      <a:lnTo>
                        <a:pt x="140" y="16"/>
                      </a:lnTo>
                      <a:lnTo>
                        <a:pt x="142" y="16"/>
                      </a:lnTo>
                      <a:lnTo>
                        <a:pt x="142" y="20"/>
                      </a:lnTo>
                      <a:lnTo>
                        <a:pt x="146" y="20"/>
                      </a:lnTo>
                      <a:lnTo>
                        <a:pt x="150" y="24"/>
                      </a:lnTo>
                      <a:lnTo>
                        <a:pt x="154" y="28"/>
                      </a:lnTo>
                      <a:lnTo>
                        <a:pt x="154" y="28"/>
                      </a:lnTo>
                      <a:lnTo>
                        <a:pt x="162" y="30"/>
                      </a:lnTo>
                      <a:lnTo>
                        <a:pt x="162" y="30"/>
                      </a:lnTo>
                      <a:lnTo>
                        <a:pt x="166" y="34"/>
                      </a:lnTo>
                      <a:lnTo>
                        <a:pt x="170" y="38"/>
                      </a:lnTo>
                      <a:lnTo>
                        <a:pt x="172" y="42"/>
                      </a:lnTo>
                      <a:lnTo>
                        <a:pt x="172" y="42"/>
                      </a:lnTo>
                      <a:lnTo>
                        <a:pt x="176" y="42"/>
                      </a:lnTo>
                      <a:lnTo>
                        <a:pt x="176" y="42"/>
                      </a:lnTo>
                      <a:lnTo>
                        <a:pt x="176" y="42"/>
                      </a:lnTo>
                      <a:lnTo>
                        <a:pt x="172" y="42"/>
                      </a:lnTo>
                      <a:lnTo>
                        <a:pt x="162" y="42"/>
                      </a:lnTo>
                      <a:lnTo>
                        <a:pt x="158" y="42"/>
                      </a:lnTo>
                      <a:lnTo>
                        <a:pt x="154" y="42"/>
                      </a:lnTo>
                      <a:lnTo>
                        <a:pt x="154" y="42"/>
                      </a:lnTo>
                      <a:lnTo>
                        <a:pt x="150" y="42"/>
                      </a:lnTo>
                      <a:lnTo>
                        <a:pt x="150" y="42"/>
                      </a:lnTo>
                      <a:lnTo>
                        <a:pt x="150" y="50"/>
                      </a:lnTo>
                      <a:lnTo>
                        <a:pt x="150" y="50"/>
                      </a:lnTo>
                      <a:lnTo>
                        <a:pt x="150" y="54"/>
                      </a:lnTo>
                      <a:lnTo>
                        <a:pt x="150" y="58"/>
                      </a:lnTo>
                      <a:lnTo>
                        <a:pt x="154" y="64"/>
                      </a:lnTo>
                      <a:lnTo>
                        <a:pt x="154" y="72"/>
                      </a:lnTo>
                      <a:lnTo>
                        <a:pt x="154" y="80"/>
                      </a:lnTo>
                      <a:lnTo>
                        <a:pt x="154" y="80"/>
                      </a:lnTo>
                      <a:lnTo>
                        <a:pt x="154" y="80"/>
                      </a:lnTo>
                      <a:lnTo>
                        <a:pt x="154" y="84"/>
                      </a:lnTo>
                      <a:lnTo>
                        <a:pt x="154" y="94"/>
                      </a:lnTo>
                      <a:lnTo>
                        <a:pt x="154" y="98"/>
                      </a:lnTo>
                      <a:lnTo>
                        <a:pt x="158" y="102"/>
                      </a:lnTo>
                      <a:lnTo>
                        <a:pt x="158" y="106"/>
                      </a:lnTo>
                      <a:lnTo>
                        <a:pt x="158" y="110"/>
                      </a:lnTo>
                      <a:lnTo>
                        <a:pt x="158" y="114"/>
                      </a:lnTo>
                      <a:lnTo>
                        <a:pt x="158" y="118"/>
                      </a:lnTo>
                      <a:lnTo>
                        <a:pt x="158" y="120"/>
                      </a:lnTo>
                      <a:lnTo>
                        <a:pt x="158" y="128"/>
                      </a:lnTo>
                      <a:lnTo>
                        <a:pt x="158" y="134"/>
                      </a:lnTo>
                      <a:lnTo>
                        <a:pt x="158" y="134"/>
                      </a:lnTo>
                      <a:lnTo>
                        <a:pt x="162" y="142"/>
                      </a:lnTo>
                      <a:lnTo>
                        <a:pt x="162" y="146"/>
                      </a:lnTo>
                      <a:lnTo>
                        <a:pt x="162" y="146"/>
                      </a:lnTo>
                      <a:lnTo>
                        <a:pt x="162" y="154"/>
                      </a:lnTo>
                      <a:lnTo>
                        <a:pt x="162" y="154"/>
                      </a:lnTo>
                      <a:lnTo>
                        <a:pt x="162" y="160"/>
                      </a:lnTo>
                      <a:lnTo>
                        <a:pt x="162" y="164"/>
                      </a:lnTo>
                      <a:lnTo>
                        <a:pt x="162" y="168"/>
                      </a:lnTo>
                      <a:lnTo>
                        <a:pt x="162" y="176"/>
                      </a:lnTo>
                      <a:lnTo>
                        <a:pt x="166" y="188"/>
                      </a:lnTo>
                      <a:lnTo>
                        <a:pt x="166" y="190"/>
                      </a:lnTo>
                      <a:lnTo>
                        <a:pt x="170" y="194"/>
                      </a:lnTo>
                      <a:lnTo>
                        <a:pt x="170" y="198"/>
                      </a:lnTo>
                      <a:lnTo>
                        <a:pt x="170" y="198"/>
                      </a:lnTo>
                      <a:lnTo>
                        <a:pt x="166" y="202"/>
                      </a:lnTo>
                      <a:lnTo>
                        <a:pt x="166" y="210"/>
                      </a:lnTo>
                      <a:lnTo>
                        <a:pt x="166" y="210"/>
                      </a:lnTo>
                      <a:lnTo>
                        <a:pt x="166" y="210"/>
                      </a:lnTo>
                      <a:lnTo>
                        <a:pt x="166" y="210"/>
                      </a:lnTo>
                      <a:lnTo>
                        <a:pt x="158" y="210"/>
                      </a:lnTo>
                      <a:lnTo>
                        <a:pt x="154" y="210"/>
                      </a:lnTo>
                      <a:lnTo>
                        <a:pt x="154" y="210"/>
                      </a:lnTo>
                      <a:lnTo>
                        <a:pt x="154" y="210"/>
                      </a:lnTo>
                      <a:lnTo>
                        <a:pt x="150" y="210"/>
                      </a:lnTo>
                      <a:lnTo>
                        <a:pt x="142" y="210"/>
                      </a:lnTo>
                      <a:lnTo>
                        <a:pt x="140" y="210"/>
                      </a:lnTo>
                      <a:lnTo>
                        <a:pt x="140" y="210"/>
                      </a:lnTo>
                      <a:lnTo>
                        <a:pt x="136" y="210"/>
                      </a:lnTo>
                      <a:lnTo>
                        <a:pt x="132" y="210"/>
                      </a:lnTo>
                      <a:lnTo>
                        <a:pt x="128" y="210"/>
                      </a:lnTo>
                      <a:lnTo>
                        <a:pt x="124" y="210"/>
                      </a:lnTo>
                      <a:lnTo>
                        <a:pt x="124" y="210"/>
                      </a:lnTo>
                      <a:lnTo>
                        <a:pt x="120" y="210"/>
                      </a:lnTo>
                      <a:lnTo>
                        <a:pt x="116" y="210"/>
                      </a:lnTo>
                      <a:lnTo>
                        <a:pt x="116" y="210"/>
                      </a:lnTo>
                      <a:lnTo>
                        <a:pt x="116" y="210"/>
                      </a:lnTo>
                      <a:lnTo>
                        <a:pt x="112" y="210"/>
                      </a:lnTo>
                      <a:lnTo>
                        <a:pt x="112" y="210"/>
                      </a:lnTo>
                      <a:lnTo>
                        <a:pt x="112" y="210"/>
                      </a:lnTo>
                      <a:lnTo>
                        <a:pt x="112" y="210"/>
                      </a:lnTo>
                      <a:lnTo>
                        <a:pt x="112" y="206"/>
                      </a:lnTo>
                      <a:lnTo>
                        <a:pt x="112" y="206"/>
                      </a:lnTo>
                      <a:lnTo>
                        <a:pt x="110" y="210"/>
                      </a:lnTo>
                      <a:lnTo>
                        <a:pt x="110" y="210"/>
                      </a:lnTo>
                      <a:lnTo>
                        <a:pt x="110" y="210"/>
                      </a:lnTo>
                      <a:lnTo>
                        <a:pt x="106" y="210"/>
                      </a:lnTo>
                      <a:lnTo>
                        <a:pt x="106" y="210"/>
                      </a:lnTo>
                      <a:lnTo>
                        <a:pt x="106" y="214"/>
                      </a:lnTo>
                      <a:lnTo>
                        <a:pt x="106" y="214"/>
                      </a:lnTo>
                      <a:lnTo>
                        <a:pt x="106" y="214"/>
                      </a:lnTo>
                      <a:lnTo>
                        <a:pt x="102" y="214"/>
                      </a:lnTo>
                      <a:lnTo>
                        <a:pt x="102" y="214"/>
                      </a:lnTo>
                      <a:lnTo>
                        <a:pt x="102" y="214"/>
                      </a:lnTo>
                      <a:lnTo>
                        <a:pt x="102" y="214"/>
                      </a:lnTo>
                      <a:lnTo>
                        <a:pt x="98" y="210"/>
                      </a:lnTo>
                      <a:lnTo>
                        <a:pt x="98" y="210"/>
                      </a:lnTo>
                      <a:lnTo>
                        <a:pt x="98" y="210"/>
                      </a:lnTo>
                      <a:lnTo>
                        <a:pt x="94" y="210"/>
                      </a:lnTo>
                      <a:lnTo>
                        <a:pt x="94" y="210"/>
                      </a:lnTo>
                      <a:lnTo>
                        <a:pt x="94" y="210"/>
                      </a:lnTo>
                      <a:lnTo>
                        <a:pt x="94" y="210"/>
                      </a:lnTo>
                      <a:lnTo>
                        <a:pt x="90" y="210"/>
                      </a:lnTo>
                      <a:lnTo>
                        <a:pt x="90" y="210"/>
                      </a:lnTo>
                      <a:lnTo>
                        <a:pt x="90" y="210"/>
                      </a:lnTo>
                      <a:lnTo>
                        <a:pt x="90" y="210"/>
                      </a:lnTo>
                      <a:close/>
                      <a:moveTo>
                        <a:pt x="12" y="138"/>
                      </a:moveTo>
                      <a:lnTo>
                        <a:pt x="12" y="138"/>
                      </a:lnTo>
                      <a:lnTo>
                        <a:pt x="12" y="138"/>
                      </a:lnTo>
                      <a:lnTo>
                        <a:pt x="12" y="134"/>
                      </a:lnTo>
                      <a:lnTo>
                        <a:pt x="12" y="134"/>
                      </a:lnTo>
                      <a:lnTo>
                        <a:pt x="12" y="134"/>
                      </a:lnTo>
                      <a:lnTo>
                        <a:pt x="12" y="134"/>
                      </a:lnTo>
                      <a:lnTo>
                        <a:pt x="12" y="134"/>
                      </a:lnTo>
                      <a:lnTo>
                        <a:pt x="12" y="134"/>
                      </a:lnTo>
                      <a:lnTo>
                        <a:pt x="12" y="134"/>
                      </a:lnTo>
                      <a:lnTo>
                        <a:pt x="12" y="134"/>
                      </a:lnTo>
                      <a:lnTo>
                        <a:pt x="12" y="134"/>
                      </a:lnTo>
                      <a:lnTo>
                        <a:pt x="12" y="138"/>
                      </a:lnTo>
                      <a:lnTo>
                        <a:pt x="12" y="138"/>
                      </a:lnTo>
                      <a:lnTo>
                        <a:pt x="12" y="138"/>
                      </a:lnTo>
                      <a:lnTo>
                        <a:pt x="12" y="138"/>
                      </a:lnTo>
                      <a:lnTo>
                        <a:pt x="12" y="138"/>
                      </a:lnTo>
                      <a:lnTo>
                        <a:pt x="12" y="138"/>
                      </a:lnTo>
                      <a:lnTo>
                        <a:pt x="12" y="138"/>
                      </a:lnTo>
                      <a:lnTo>
                        <a:pt x="12" y="13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12" name="Freeform 158"/>
                <p:cNvSpPr>
                  <a:spLocks/>
                </p:cNvSpPr>
                <p:nvPr/>
              </p:nvSpPr>
              <p:spPr bwMode="auto">
                <a:xfrm>
                  <a:off x="4098925" y="3549718"/>
                  <a:ext cx="273050" cy="244475"/>
                </a:xfrm>
                <a:custGeom>
                  <a:avLst/>
                  <a:gdLst>
                    <a:gd name="T0" fmla="*/ 126 w 172"/>
                    <a:gd name="T1" fmla="*/ 16 h 154"/>
                    <a:gd name="T2" fmla="*/ 134 w 172"/>
                    <a:gd name="T3" fmla="*/ 16 h 154"/>
                    <a:gd name="T4" fmla="*/ 142 w 172"/>
                    <a:gd name="T5" fmla="*/ 16 h 154"/>
                    <a:gd name="T6" fmla="*/ 146 w 172"/>
                    <a:gd name="T7" fmla="*/ 16 h 154"/>
                    <a:gd name="T8" fmla="*/ 146 w 172"/>
                    <a:gd name="T9" fmla="*/ 16 h 154"/>
                    <a:gd name="T10" fmla="*/ 148 w 172"/>
                    <a:gd name="T11" fmla="*/ 16 h 154"/>
                    <a:gd name="T12" fmla="*/ 156 w 172"/>
                    <a:gd name="T13" fmla="*/ 20 h 154"/>
                    <a:gd name="T14" fmla="*/ 160 w 172"/>
                    <a:gd name="T15" fmla="*/ 26 h 154"/>
                    <a:gd name="T16" fmla="*/ 164 w 172"/>
                    <a:gd name="T17" fmla="*/ 38 h 154"/>
                    <a:gd name="T18" fmla="*/ 164 w 172"/>
                    <a:gd name="T19" fmla="*/ 46 h 154"/>
                    <a:gd name="T20" fmla="*/ 164 w 172"/>
                    <a:gd name="T21" fmla="*/ 56 h 154"/>
                    <a:gd name="T22" fmla="*/ 172 w 172"/>
                    <a:gd name="T23" fmla="*/ 64 h 154"/>
                    <a:gd name="T24" fmla="*/ 168 w 172"/>
                    <a:gd name="T25" fmla="*/ 72 h 154"/>
                    <a:gd name="T26" fmla="*/ 168 w 172"/>
                    <a:gd name="T27" fmla="*/ 76 h 154"/>
                    <a:gd name="T28" fmla="*/ 160 w 172"/>
                    <a:gd name="T29" fmla="*/ 72 h 154"/>
                    <a:gd name="T30" fmla="*/ 152 w 172"/>
                    <a:gd name="T31" fmla="*/ 72 h 154"/>
                    <a:gd name="T32" fmla="*/ 146 w 172"/>
                    <a:gd name="T33" fmla="*/ 76 h 154"/>
                    <a:gd name="T34" fmla="*/ 142 w 172"/>
                    <a:gd name="T35" fmla="*/ 78 h 154"/>
                    <a:gd name="T36" fmla="*/ 134 w 172"/>
                    <a:gd name="T37" fmla="*/ 78 h 154"/>
                    <a:gd name="T38" fmla="*/ 130 w 172"/>
                    <a:gd name="T39" fmla="*/ 86 h 154"/>
                    <a:gd name="T40" fmla="*/ 134 w 172"/>
                    <a:gd name="T41" fmla="*/ 94 h 154"/>
                    <a:gd name="T42" fmla="*/ 130 w 172"/>
                    <a:gd name="T43" fmla="*/ 94 h 154"/>
                    <a:gd name="T44" fmla="*/ 126 w 172"/>
                    <a:gd name="T45" fmla="*/ 98 h 154"/>
                    <a:gd name="T46" fmla="*/ 118 w 172"/>
                    <a:gd name="T47" fmla="*/ 102 h 154"/>
                    <a:gd name="T48" fmla="*/ 116 w 172"/>
                    <a:gd name="T49" fmla="*/ 108 h 154"/>
                    <a:gd name="T50" fmla="*/ 112 w 172"/>
                    <a:gd name="T51" fmla="*/ 112 h 154"/>
                    <a:gd name="T52" fmla="*/ 100 w 172"/>
                    <a:gd name="T53" fmla="*/ 116 h 154"/>
                    <a:gd name="T54" fmla="*/ 96 w 172"/>
                    <a:gd name="T55" fmla="*/ 116 h 154"/>
                    <a:gd name="T56" fmla="*/ 92 w 172"/>
                    <a:gd name="T57" fmla="*/ 120 h 154"/>
                    <a:gd name="T58" fmla="*/ 86 w 172"/>
                    <a:gd name="T59" fmla="*/ 120 h 154"/>
                    <a:gd name="T60" fmla="*/ 78 w 172"/>
                    <a:gd name="T61" fmla="*/ 124 h 154"/>
                    <a:gd name="T62" fmla="*/ 74 w 172"/>
                    <a:gd name="T63" fmla="*/ 124 h 154"/>
                    <a:gd name="T64" fmla="*/ 66 w 172"/>
                    <a:gd name="T65" fmla="*/ 130 h 154"/>
                    <a:gd name="T66" fmla="*/ 62 w 172"/>
                    <a:gd name="T67" fmla="*/ 154 h 154"/>
                    <a:gd name="T68" fmla="*/ 44 w 172"/>
                    <a:gd name="T69" fmla="*/ 154 h 154"/>
                    <a:gd name="T70" fmla="*/ 0 w 172"/>
                    <a:gd name="T71" fmla="*/ 154 h 154"/>
                    <a:gd name="T72" fmla="*/ 4 w 172"/>
                    <a:gd name="T73" fmla="*/ 150 h 154"/>
                    <a:gd name="T74" fmla="*/ 18 w 172"/>
                    <a:gd name="T75" fmla="*/ 146 h 154"/>
                    <a:gd name="T76" fmla="*/ 30 w 172"/>
                    <a:gd name="T77" fmla="*/ 134 h 154"/>
                    <a:gd name="T78" fmla="*/ 36 w 172"/>
                    <a:gd name="T79" fmla="*/ 130 h 154"/>
                    <a:gd name="T80" fmla="*/ 40 w 172"/>
                    <a:gd name="T81" fmla="*/ 124 h 154"/>
                    <a:gd name="T82" fmla="*/ 48 w 172"/>
                    <a:gd name="T83" fmla="*/ 116 h 154"/>
                    <a:gd name="T84" fmla="*/ 52 w 172"/>
                    <a:gd name="T85" fmla="*/ 104 h 154"/>
                    <a:gd name="T86" fmla="*/ 48 w 172"/>
                    <a:gd name="T87" fmla="*/ 98 h 154"/>
                    <a:gd name="T88" fmla="*/ 48 w 172"/>
                    <a:gd name="T89" fmla="*/ 86 h 154"/>
                    <a:gd name="T90" fmla="*/ 48 w 172"/>
                    <a:gd name="T91" fmla="*/ 78 h 154"/>
                    <a:gd name="T92" fmla="*/ 56 w 172"/>
                    <a:gd name="T93" fmla="*/ 64 h 154"/>
                    <a:gd name="T94" fmla="*/ 60 w 172"/>
                    <a:gd name="T95" fmla="*/ 60 h 154"/>
                    <a:gd name="T96" fmla="*/ 66 w 172"/>
                    <a:gd name="T97" fmla="*/ 52 h 154"/>
                    <a:gd name="T98" fmla="*/ 70 w 172"/>
                    <a:gd name="T99" fmla="*/ 50 h 154"/>
                    <a:gd name="T100" fmla="*/ 82 w 172"/>
                    <a:gd name="T101" fmla="*/ 42 h 154"/>
                    <a:gd name="T102" fmla="*/ 90 w 172"/>
                    <a:gd name="T103" fmla="*/ 38 h 154"/>
                    <a:gd name="T104" fmla="*/ 96 w 172"/>
                    <a:gd name="T105" fmla="*/ 22 h 154"/>
                    <a:gd name="T106" fmla="*/ 100 w 172"/>
                    <a:gd name="T107" fmla="*/ 12 h 154"/>
                    <a:gd name="T108" fmla="*/ 108 w 172"/>
                    <a:gd name="T109" fmla="*/ 4 h 154"/>
                    <a:gd name="T110" fmla="*/ 112 w 172"/>
                    <a:gd name="T111" fmla="*/ 4 h 154"/>
                    <a:gd name="T112" fmla="*/ 112 w 172"/>
                    <a:gd name="T113" fmla="*/ 8 h 154"/>
                    <a:gd name="T114" fmla="*/ 122 w 172"/>
                    <a:gd name="T115" fmla="*/ 16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72" h="154">
                      <a:moveTo>
                        <a:pt x="122" y="16"/>
                      </a:moveTo>
                      <a:lnTo>
                        <a:pt x="122" y="16"/>
                      </a:lnTo>
                      <a:lnTo>
                        <a:pt x="122" y="16"/>
                      </a:lnTo>
                      <a:lnTo>
                        <a:pt x="126" y="16"/>
                      </a:lnTo>
                      <a:lnTo>
                        <a:pt x="126" y="16"/>
                      </a:lnTo>
                      <a:lnTo>
                        <a:pt x="126" y="16"/>
                      </a:lnTo>
                      <a:lnTo>
                        <a:pt x="126" y="16"/>
                      </a:lnTo>
                      <a:lnTo>
                        <a:pt x="126" y="16"/>
                      </a:lnTo>
                      <a:lnTo>
                        <a:pt x="130" y="16"/>
                      </a:lnTo>
                      <a:lnTo>
                        <a:pt x="130" y="16"/>
                      </a:lnTo>
                      <a:lnTo>
                        <a:pt x="130" y="16"/>
                      </a:lnTo>
                      <a:lnTo>
                        <a:pt x="130" y="16"/>
                      </a:lnTo>
                      <a:lnTo>
                        <a:pt x="130" y="16"/>
                      </a:lnTo>
                      <a:lnTo>
                        <a:pt x="134" y="16"/>
                      </a:lnTo>
                      <a:lnTo>
                        <a:pt x="134" y="16"/>
                      </a:lnTo>
                      <a:lnTo>
                        <a:pt x="134" y="16"/>
                      </a:lnTo>
                      <a:lnTo>
                        <a:pt x="134" y="16"/>
                      </a:lnTo>
                      <a:lnTo>
                        <a:pt x="134" y="16"/>
                      </a:lnTo>
                      <a:lnTo>
                        <a:pt x="138" y="16"/>
                      </a:lnTo>
                      <a:lnTo>
                        <a:pt x="138" y="16"/>
                      </a:lnTo>
                      <a:lnTo>
                        <a:pt x="138" y="16"/>
                      </a:lnTo>
                      <a:lnTo>
                        <a:pt x="138" y="16"/>
                      </a:lnTo>
                      <a:lnTo>
                        <a:pt x="142" y="16"/>
                      </a:lnTo>
                      <a:lnTo>
                        <a:pt x="142" y="16"/>
                      </a:lnTo>
                      <a:lnTo>
                        <a:pt x="146" y="12"/>
                      </a:lnTo>
                      <a:lnTo>
                        <a:pt x="146" y="12"/>
                      </a:lnTo>
                      <a:lnTo>
                        <a:pt x="146" y="12"/>
                      </a:lnTo>
                      <a:lnTo>
                        <a:pt x="146" y="12"/>
                      </a:lnTo>
                      <a:lnTo>
                        <a:pt x="146" y="12"/>
                      </a:lnTo>
                      <a:lnTo>
                        <a:pt x="146" y="16"/>
                      </a:lnTo>
                      <a:lnTo>
                        <a:pt x="146" y="16"/>
                      </a:lnTo>
                      <a:lnTo>
                        <a:pt x="146" y="16"/>
                      </a:lnTo>
                      <a:lnTo>
                        <a:pt x="146" y="16"/>
                      </a:lnTo>
                      <a:lnTo>
                        <a:pt x="146" y="16"/>
                      </a:lnTo>
                      <a:lnTo>
                        <a:pt x="146" y="16"/>
                      </a:lnTo>
                      <a:lnTo>
                        <a:pt x="146" y="16"/>
                      </a:lnTo>
                      <a:lnTo>
                        <a:pt x="146" y="16"/>
                      </a:lnTo>
                      <a:lnTo>
                        <a:pt x="146" y="16"/>
                      </a:lnTo>
                      <a:lnTo>
                        <a:pt x="146" y="16"/>
                      </a:lnTo>
                      <a:lnTo>
                        <a:pt x="146" y="16"/>
                      </a:lnTo>
                      <a:lnTo>
                        <a:pt x="146" y="16"/>
                      </a:lnTo>
                      <a:lnTo>
                        <a:pt x="146" y="16"/>
                      </a:lnTo>
                      <a:lnTo>
                        <a:pt x="146" y="16"/>
                      </a:lnTo>
                      <a:lnTo>
                        <a:pt x="146" y="16"/>
                      </a:lnTo>
                      <a:lnTo>
                        <a:pt x="146" y="16"/>
                      </a:lnTo>
                      <a:lnTo>
                        <a:pt x="148" y="16"/>
                      </a:lnTo>
                      <a:lnTo>
                        <a:pt x="148" y="16"/>
                      </a:lnTo>
                      <a:lnTo>
                        <a:pt x="148" y="16"/>
                      </a:lnTo>
                      <a:lnTo>
                        <a:pt x="148" y="20"/>
                      </a:lnTo>
                      <a:lnTo>
                        <a:pt x="148" y="20"/>
                      </a:lnTo>
                      <a:lnTo>
                        <a:pt x="152" y="16"/>
                      </a:lnTo>
                      <a:lnTo>
                        <a:pt x="152" y="16"/>
                      </a:lnTo>
                      <a:lnTo>
                        <a:pt x="152" y="20"/>
                      </a:lnTo>
                      <a:lnTo>
                        <a:pt x="156" y="20"/>
                      </a:lnTo>
                      <a:lnTo>
                        <a:pt x="156" y="20"/>
                      </a:lnTo>
                      <a:lnTo>
                        <a:pt x="156" y="20"/>
                      </a:lnTo>
                      <a:lnTo>
                        <a:pt x="156" y="20"/>
                      </a:lnTo>
                      <a:lnTo>
                        <a:pt x="156" y="20"/>
                      </a:lnTo>
                      <a:lnTo>
                        <a:pt x="160" y="22"/>
                      </a:lnTo>
                      <a:lnTo>
                        <a:pt x="160" y="22"/>
                      </a:lnTo>
                      <a:lnTo>
                        <a:pt x="160" y="22"/>
                      </a:lnTo>
                      <a:lnTo>
                        <a:pt x="160" y="26"/>
                      </a:lnTo>
                      <a:lnTo>
                        <a:pt x="160" y="26"/>
                      </a:lnTo>
                      <a:lnTo>
                        <a:pt x="160" y="26"/>
                      </a:lnTo>
                      <a:lnTo>
                        <a:pt x="160" y="30"/>
                      </a:lnTo>
                      <a:lnTo>
                        <a:pt x="164" y="30"/>
                      </a:lnTo>
                      <a:lnTo>
                        <a:pt x="160" y="30"/>
                      </a:lnTo>
                      <a:lnTo>
                        <a:pt x="160" y="30"/>
                      </a:lnTo>
                      <a:lnTo>
                        <a:pt x="160" y="30"/>
                      </a:lnTo>
                      <a:lnTo>
                        <a:pt x="160" y="34"/>
                      </a:lnTo>
                      <a:lnTo>
                        <a:pt x="164" y="38"/>
                      </a:lnTo>
                      <a:lnTo>
                        <a:pt x="164" y="38"/>
                      </a:lnTo>
                      <a:lnTo>
                        <a:pt x="164" y="38"/>
                      </a:lnTo>
                      <a:lnTo>
                        <a:pt x="164" y="42"/>
                      </a:lnTo>
                      <a:lnTo>
                        <a:pt x="160" y="42"/>
                      </a:lnTo>
                      <a:lnTo>
                        <a:pt x="164" y="46"/>
                      </a:lnTo>
                      <a:lnTo>
                        <a:pt x="164" y="46"/>
                      </a:lnTo>
                      <a:lnTo>
                        <a:pt x="164" y="46"/>
                      </a:lnTo>
                      <a:lnTo>
                        <a:pt x="164" y="46"/>
                      </a:lnTo>
                      <a:lnTo>
                        <a:pt x="164" y="46"/>
                      </a:lnTo>
                      <a:lnTo>
                        <a:pt x="164" y="50"/>
                      </a:lnTo>
                      <a:lnTo>
                        <a:pt x="164" y="50"/>
                      </a:lnTo>
                      <a:lnTo>
                        <a:pt x="164" y="50"/>
                      </a:lnTo>
                      <a:lnTo>
                        <a:pt x="164" y="52"/>
                      </a:lnTo>
                      <a:lnTo>
                        <a:pt x="164" y="52"/>
                      </a:lnTo>
                      <a:lnTo>
                        <a:pt x="164" y="52"/>
                      </a:lnTo>
                      <a:lnTo>
                        <a:pt x="164" y="52"/>
                      </a:lnTo>
                      <a:lnTo>
                        <a:pt x="164" y="56"/>
                      </a:lnTo>
                      <a:lnTo>
                        <a:pt x="164" y="56"/>
                      </a:lnTo>
                      <a:lnTo>
                        <a:pt x="164" y="56"/>
                      </a:lnTo>
                      <a:lnTo>
                        <a:pt x="164" y="56"/>
                      </a:lnTo>
                      <a:lnTo>
                        <a:pt x="164" y="56"/>
                      </a:lnTo>
                      <a:lnTo>
                        <a:pt x="164" y="56"/>
                      </a:lnTo>
                      <a:lnTo>
                        <a:pt x="168" y="60"/>
                      </a:lnTo>
                      <a:lnTo>
                        <a:pt x="168" y="64"/>
                      </a:lnTo>
                      <a:lnTo>
                        <a:pt x="172" y="64"/>
                      </a:lnTo>
                      <a:lnTo>
                        <a:pt x="172" y="68"/>
                      </a:lnTo>
                      <a:lnTo>
                        <a:pt x="172" y="68"/>
                      </a:lnTo>
                      <a:lnTo>
                        <a:pt x="172" y="68"/>
                      </a:lnTo>
                      <a:lnTo>
                        <a:pt x="172" y="68"/>
                      </a:lnTo>
                      <a:lnTo>
                        <a:pt x="168" y="68"/>
                      </a:lnTo>
                      <a:lnTo>
                        <a:pt x="168" y="68"/>
                      </a:lnTo>
                      <a:lnTo>
                        <a:pt x="168" y="68"/>
                      </a:lnTo>
                      <a:lnTo>
                        <a:pt x="168" y="72"/>
                      </a:lnTo>
                      <a:lnTo>
                        <a:pt x="168" y="72"/>
                      </a:lnTo>
                      <a:lnTo>
                        <a:pt x="168" y="72"/>
                      </a:lnTo>
                      <a:lnTo>
                        <a:pt x="168" y="72"/>
                      </a:lnTo>
                      <a:lnTo>
                        <a:pt x="168" y="72"/>
                      </a:lnTo>
                      <a:lnTo>
                        <a:pt x="168" y="72"/>
                      </a:lnTo>
                      <a:lnTo>
                        <a:pt x="172" y="72"/>
                      </a:lnTo>
                      <a:lnTo>
                        <a:pt x="172" y="72"/>
                      </a:lnTo>
                      <a:lnTo>
                        <a:pt x="168" y="76"/>
                      </a:lnTo>
                      <a:lnTo>
                        <a:pt x="168" y="76"/>
                      </a:lnTo>
                      <a:lnTo>
                        <a:pt x="168" y="76"/>
                      </a:lnTo>
                      <a:lnTo>
                        <a:pt x="168" y="76"/>
                      </a:lnTo>
                      <a:lnTo>
                        <a:pt x="168" y="72"/>
                      </a:lnTo>
                      <a:lnTo>
                        <a:pt x="164" y="72"/>
                      </a:lnTo>
                      <a:lnTo>
                        <a:pt x="164" y="72"/>
                      </a:lnTo>
                      <a:lnTo>
                        <a:pt x="164" y="72"/>
                      </a:lnTo>
                      <a:lnTo>
                        <a:pt x="160" y="72"/>
                      </a:lnTo>
                      <a:lnTo>
                        <a:pt x="160" y="72"/>
                      </a:lnTo>
                      <a:lnTo>
                        <a:pt x="156" y="72"/>
                      </a:lnTo>
                      <a:lnTo>
                        <a:pt x="156" y="72"/>
                      </a:lnTo>
                      <a:lnTo>
                        <a:pt x="156" y="72"/>
                      </a:lnTo>
                      <a:lnTo>
                        <a:pt x="156" y="72"/>
                      </a:lnTo>
                      <a:lnTo>
                        <a:pt x="152" y="72"/>
                      </a:lnTo>
                      <a:lnTo>
                        <a:pt x="152" y="72"/>
                      </a:lnTo>
                      <a:lnTo>
                        <a:pt x="152" y="72"/>
                      </a:lnTo>
                      <a:lnTo>
                        <a:pt x="152" y="72"/>
                      </a:lnTo>
                      <a:lnTo>
                        <a:pt x="152" y="72"/>
                      </a:lnTo>
                      <a:lnTo>
                        <a:pt x="146" y="76"/>
                      </a:lnTo>
                      <a:lnTo>
                        <a:pt x="146" y="76"/>
                      </a:lnTo>
                      <a:lnTo>
                        <a:pt x="146" y="76"/>
                      </a:lnTo>
                      <a:lnTo>
                        <a:pt x="146" y="76"/>
                      </a:lnTo>
                      <a:lnTo>
                        <a:pt x="146" y="76"/>
                      </a:lnTo>
                      <a:lnTo>
                        <a:pt x="146" y="76"/>
                      </a:lnTo>
                      <a:lnTo>
                        <a:pt x="146" y="76"/>
                      </a:lnTo>
                      <a:lnTo>
                        <a:pt x="146" y="78"/>
                      </a:lnTo>
                      <a:lnTo>
                        <a:pt x="146" y="78"/>
                      </a:lnTo>
                      <a:lnTo>
                        <a:pt x="146" y="78"/>
                      </a:lnTo>
                      <a:lnTo>
                        <a:pt x="142" y="78"/>
                      </a:lnTo>
                      <a:lnTo>
                        <a:pt x="142" y="78"/>
                      </a:lnTo>
                      <a:lnTo>
                        <a:pt x="142" y="78"/>
                      </a:lnTo>
                      <a:lnTo>
                        <a:pt x="142" y="78"/>
                      </a:lnTo>
                      <a:lnTo>
                        <a:pt x="138" y="78"/>
                      </a:lnTo>
                      <a:lnTo>
                        <a:pt x="138" y="78"/>
                      </a:lnTo>
                      <a:lnTo>
                        <a:pt x="138" y="82"/>
                      </a:lnTo>
                      <a:lnTo>
                        <a:pt x="138" y="82"/>
                      </a:lnTo>
                      <a:lnTo>
                        <a:pt x="138" y="82"/>
                      </a:lnTo>
                      <a:lnTo>
                        <a:pt x="134" y="82"/>
                      </a:lnTo>
                      <a:lnTo>
                        <a:pt x="134" y="78"/>
                      </a:lnTo>
                      <a:lnTo>
                        <a:pt x="134" y="78"/>
                      </a:lnTo>
                      <a:lnTo>
                        <a:pt x="134" y="78"/>
                      </a:lnTo>
                      <a:lnTo>
                        <a:pt x="134" y="78"/>
                      </a:lnTo>
                      <a:lnTo>
                        <a:pt x="134" y="78"/>
                      </a:lnTo>
                      <a:lnTo>
                        <a:pt x="134" y="78"/>
                      </a:lnTo>
                      <a:lnTo>
                        <a:pt x="130" y="82"/>
                      </a:lnTo>
                      <a:lnTo>
                        <a:pt x="130" y="82"/>
                      </a:lnTo>
                      <a:lnTo>
                        <a:pt x="130" y="86"/>
                      </a:lnTo>
                      <a:lnTo>
                        <a:pt x="130" y="86"/>
                      </a:lnTo>
                      <a:lnTo>
                        <a:pt x="134" y="86"/>
                      </a:lnTo>
                      <a:lnTo>
                        <a:pt x="130" y="90"/>
                      </a:lnTo>
                      <a:lnTo>
                        <a:pt x="130" y="90"/>
                      </a:lnTo>
                      <a:lnTo>
                        <a:pt x="134" y="90"/>
                      </a:lnTo>
                      <a:lnTo>
                        <a:pt x="134" y="90"/>
                      </a:lnTo>
                      <a:lnTo>
                        <a:pt x="134" y="90"/>
                      </a:lnTo>
                      <a:lnTo>
                        <a:pt x="134" y="90"/>
                      </a:lnTo>
                      <a:lnTo>
                        <a:pt x="134" y="94"/>
                      </a:lnTo>
                      <a:lnTo>
                        <a:pt x="134" y="94"/>
                      </a:lnTo>
                      <a:lnTo>
                        <a:pt x="134" y="94"/>
                      </a:lnTo>
                      <a:lnTo>
                        <a:pt x="134" y="94"/>
                      </a:lnTo>
                      <a:lnTo>
                        <a:pt x="134" y="94"/>
                      </a:lnTo>
                      <a:lnTo>
                        <a:pt x="134" y="94"/>
                      </a:lnTo>
                      <a:lnTo>
                        <a:pt x="134" y="94"/>
                      </a:lnTo>
                      <a:lnTo>
                        <a:pt x="130" y="94"/>
                      </a:lnTo>
                      <a:lnTo>
                        <a:pt x="130" y="94"/>
                      </a:lnTo>
                      <a:lnTo>
                        <a:pt x="130" y="94"/>
                      </a:lnTo>
                      <a:lnTo>
                        <a:pt x="130" y="94"/>
                      </a:lnTo>
                      <a:lnTo>
                        <a:pt x="130" y="94"/>
                      </a:lnTo>
                      <a:lnTo>
                        <a:pt x="130" y="94"/>
                      </a:lnTo>
                      <a:lnTo>
                        <a:pt x="126" y="98"/>
                      </a:lnTo>
                      <a:lnTo>
                        <a:pt x="126" y="98"/>
                      </a:lnTo>
                      <a:lnTo>
                        <a:pt x="126" y="98"/>
                      </a:lnTo>
                      <a:lnTo>
                        <a:pt x="126" y="98"/>
                      </a:lnTo>
                      <a:lnTo>
                        <a:pt x="126" y="98"/>
                      </a:lnTo>
                      <a:lnTo>
                        <a:pt x="126" y="98"/>
                      </a:lnTo>
                      <a:lnTo>
                        <a:pt x="122" y="102"/>
                      </a:lnTo>
                      <a:lnTo>
                        <a:pt x="122" y="102"/>
                      </a:lnTo>
                      <a:lnTo>
                        <a:pt x="122" y="102"/>
                      </a:lnTo>
                      <a:lnTo>
                        <a:pt x="122" y="102"/>
                      </a:lnTo>
                      <a:lnTo>
                        <a:pt x="122" y="102"/>
                      </a:lnTo>
                      <a:lnTo>
                        <a:pt x="118" y="102"/>
                      </a:lnTo>
                      <a:lnTo>
                        <a:pt x="116" y="102"/>
                      </a:lnTo>
                      <a:lnTo>
                        <a:pt x="116" y="102"/>
                      </a:lnTo>
                      <a:lnTo>
                        <a:pt x="116" y="104"/>
                      </a:lnTo>
                      <a:lnTo>
                        <a:pt x="116" y="104"/>
                      </a:lnTo>
                      <a:lnTo>
                        <a:pt x="116" y="104"/>
                      </a:lnTo>
                      <a:lnTo>
                        <a:pt x="116" y="104"/>
                      </a:lnTo>
                      <a:lnTo>
                        <a:pt x="116" y="104"/>
                      </a:lnTo>
                      <a:lnTo>
                        <a:pt x="116" y="108"/>
                      </a:lnTo>
                      <a:lnTo>
                        <a:pt x="116" y="108"/>
                      </a:lnTo>
                      <a:lnTo>
                        <a:pt x="112" y="108"/>
                      </a:lnTo>
                      <a:lnTo>
                        <a:pt x="112" y="108"/>
                      </a:lnTo>
                      <a:lnTo>
                        <a:pt x="112" y="108"/>
                      </a:lnTo>
                      <a:lnTo>
                        <a:pt x="112" y="112"/>
                      </a:lnTo>
                      <a:lnTo>
                        <a:pt x="112" y="112"/>
                      </a:lnTo>
                      <a:lnTo>
                        <a:pt x="112" y="112"/>
                      </a:lnTo>
                      <a:lnTo>
                        <a:pt x="112" y="112"/>
                      </a:lnTo>
                      <a:lnTo>
                        <a:pt x="108" y="112"/>
                      </a:lnTo>
                      <a:lnTo>
                        <a:pt x="108" y="112"/>
                      </a:lnTo>
                      <a:lnTo>
                        <a:pt x="108" y="112"/>
                      </a:lnTo>
                      <a:lnTo>
                        <a:pt x="104" y="112"/>
                      </a:lnTo>
                      <a:lnTo>
                        <a:pt x="104" y="112"/>
                      </a:lnTo>
                      <a:lnTo>
                        <a:pt x="104" y="112"/>
                      </a:lnTo>
                      <a:lnTo>
                        <a:pt x="104" y="116"/>
                      </a:lnTo>
                      <a:lnTo>
                        <a:pt x="100" y="116"/>
                      </a:lnTo>
                      <a:lnTo>
                        <a:pt x="100" y="116"/>
                      </a:lnTo>
                      <a:lnTo>
                        <a:pt x="100" y="116"/>
                      </a:lnTo>
                      <a:lnTo>
                        <a:pt x="100" y="116"/>
                      </a:lnTo>
                      <a:lnTo>
                        <a:pt x="100" y="116"/>
                      </a:lnTo>
                      <a:lnTo>
                        <a:pt x="100" y="116"/>
                      </a:lnTo>
                      <a:lnTo>
                        <a:pt x="100" y="116"/>
                      </a:lnTo>
                      <a:lnTo>
                        <a:pt x="100" y="116"/>
                      </a:lnTo>
                      <a:lnTo>
                        <a:pt x="96" y="116"/>
                      </a:lnTo>
                      <a:lnTo>
                        <a:pt x="96" y="116"/>
                      </a:lnTo>
                      <a:lnTo>
                        <a:pt x="96" y="116"/>
                      </a:lnTo>
                      <a:lnTo>
                        <a:pt x="92" y="116"/>
                      </a:lnTo>
                      <a:lnTo>
                        <a:pt x="92" y="116"/>
                      </a:lnTo>
                      <a:lnTo>
                        <a:pt x="92" y="120"/>
                      </a:lnTo>
                      <a:lnTo>
                        <a:pt x="92" y="120"/>
                      </a:lnTo>
                      <a:lnTo>
                        <a:pt x="92" y="120"/>
                      </a:lnTo>
                      <a:lnTo>
                        <a:pt x="92" y="120"/>
                      </a:lnTo>
                      <a:lnTo>
                        <a:pt x="92" y="120"/>
                      </a:lnTo>
                      <a:lnTo>
                        <a:pt x="92" y="120"/>
                      </a:lnTo>
                      <a:lnTo>
                        <a:pt x="90" y="120"/>
                      </a:lnTo>
                      <a:lnTo>
                        <a:pt x="90" y="120"/>
                      </a:lnTo>
                      <a:lnTo>
                        <a:pt x="90" y="120"/>
                      </a:lnTo>
                      <a:lnTo>
                        <a:pt x="86" y="120"/>
                      </a:lnTo>
                      <a:lnTo>
                        <a:pt x="86" y="120"/>
                      </a:lnTo>
                      <a:lnTo>
                        <a:pt x="86" y="120"/>
                      </a:lnTo>
                      <a:lnTo>
                        <a:pt x="82" y="120"/>
                      </a:lnTo>
                      <a:lnTo>
                        <a:pt x="82" y="120"/>
                      </a:lnTo>
                      <a:lnTo>
                        <a:pt x="82" y="120"/>
                      </a:lnTo>
                      <a:lnTo>
                        <a:pt x="82" y="120"/>
                      </a:lnTo>
                      <a:lnTo>
                        <a:pt x="82" y="124"/>
                      </a:lnTo>
                      <a:lnTo>
                        <a:pt x="82" y="124"/>
                      </a:lnTo>
                      <a:lnTo>
                        <a:pt x="82" y="124"/>
                      </a:lnTo>
                      <a:lnTo>
                        <a:pt x="78" y="124"/>
                      </a:lnTo>
                      <a:lnTo>
                        <a:pt x="78" y="124"/>
                      </a:lnTo>
                      <a:lnTo>
                        <a:pt x="78" y="124"/>
                      </a:lnTo>
                      <a:lnTo>
                        <a:pt x="78" y="124"/>
                      </a:lnTo>
                      <a:lnTo>
                        <a:pt x="78" y="124"/>
                      </a:lnTo>
                      <a:lnTo>
                        <a:pt x="78" y="124"/>
                      </a:lnTo>
                      <a:lnTo>
                        <a:pt x="78" y="124"/>
                      </a:lnTo>
                      <a:lnTo>
                        <a:pt x="78" y="124"/>
                      </a:lnTo>
                      <a:lnTo>
                        <a:pt x="74" y="124"/>
                      </a:lnTo>
                      <a:lnTo>
                        <a:pt x="74" y="128"/>
                      </a:lnTo>
                      <a:lnTo>
                        <a:pt x="70" y="128"/>
                      </a:lnTo>
                      <a:lnTo>
                        <a:pt x="70" y="130"/>
                      </a:lnTo>
                      <a:lnTo>
                        <a:pt x="70" y="130"/>
                      </a:lnTo>
                      <a:lnTo>
                        <a:pt x="66" y="130"/>
                      </a:lnTo>
                      <a:lnTo>
                        <a:pt x="66" y="130"/>
                      </a:lnTo>
                      <a:lnTo>
                        <a:pt x="66" y="130"/>
                      </a:lnTo>
                      <a:lnTo>
                        <a:pt x="66" y="130"/>
                      </a:lnTo>
                      <a:lnTo>
                        <a:pt x="66" y="134"/>
                      </a:lnTo>
                      <a:lnTo>
                        <a:pt x="66" y="134"/>
                      </a:lnTo>
                      <a:lnTo>
                        <a:pt x="66" y="134"/>
                      </a:lnTo>
                      <a:lnTo>
                        <a:pt x="62" y="134"/>
                      </a:lnTo>
                      <a:lnTo>
                        <a:pt x="62" y="134"/>
                      </a:lnTo>
                      <a:lnTo>
                        <a:pt x="62" y="134"/>
                      </a:lnTo>
                      <a:lnTo>
                        <a:pt x="62" y="150"/>
                      </a:lnTo>
                      <a:lnTo>
                        <a:pt x="62" y="154"/>
                      </a:lnTo>
                      <a:lnTo>
                        <a:pt x="56" y="154"/>
                      </a:lnTo>
                      <a:lnTo>
                        <a:pt x="56" y="154"/>
                      </a:lnTo>
                      <a:lnTo>
                        <a:pt x="48" y="154"/>
                      </a:lnTo>
                      <a:lnTo>
                        <a:pt x="48" y="154"/>
                      </a:lnTo>
                      <a:lnTo>
                        <a:pt x="44" y="154"/>
                      </a:lnTo>
                      <a:lnTo>
                        <a:pt x="44" y="154"/>
                      </a:lnTo>
                      <a:lnTo>
                        <a:pt x="44" y="154"/>
                      </a:lnTo>
                      <a:lnTo>
                        <a:pt x="44" y="154"/>
                      </a:lnTo>
                      <a:lnTo>
                        <a:pt x="44" y="154"/>
                      </a:lnTo>
                      <a:lnTo>
                        <a:pt x="40" y="154"/>
                      </a:lnTo>
                      <a:lnTo>
                        <a:pt x="4" y="154"/>
                      </a:lnTo>
                      <a:lnTo>
                        <a:pt x="0" y="154"/>
                      </a:lnTo>
                      <a:lnTo>
                        <a:pt x="0" y="154"/>
                      </a:lnTo>
                      <a:lnTo>
                        <a:pt x="0" y="154"/>
                      </a:lnTo>
                      <a:lnTo>
                        <a:pt x="0" y="154"/>
                      </a:lnTo>
                      <a:lnTo>
                        <a:pt x="0" y="154"/>
                      </a:lnTo>
                      <a:lnTo>
                        <a:pt x="0" y="154"/>
                      </a:lnTo>
                      <a:lnTo>
                        <a:pt x="0" y="154"/>
                      </a:lnTo>
                      <a:lnTo>
                        <a:pt x="4" y="154"/>
                      </a:lnTo>
                      <a:lnTo>
                        <a:pt x="4" y="154"/>
                      </a:lnTo>
                      <a:lnTo>
                        <a:pt x="4" y="150"/>
                      </a:lnTo>
                      <a:lnTo>
                        <a:pt x="4" y="150"/>
                      </a:lnTo>
                      <a:lnTo>
                        <a:pt x="4" y="150"/>
                      </a:lnTo>
                      <a:lnTo>
                        <a:pt x="4" y="150"/>
                      </a:lnTo>
                      <a:lnTo>
                        <a:pt x="4" y="150"/>
                      </a:lnTo>
                      <a:lnTo>
                        <a:pt x="4" y="150"/>
                      </a:lnTo>
                      <a:lnTo>
                        <a:pt x="6" y="150"/>
                      </a:lnTo>
                      <a:lnTo>
                        <a:pt x="6" y="150"/>
                      </a:lnTo>
                      <a:lnTo>
                        <a:pt x="6" y="150"/>
                      </a:lnTo>
                      <a:lnTo>
                        <a:pt x="10" y="146"/>
                      </a:lnTo>
                      <a:lnTo>
                        <a:pt x="14" y="146"/>
                      </a:lnTo>
                      <a:lnTo>
                        <a:pt x="18" y="146"/>
                      </a:lnTo>
                      <a:lnTo>
                        <a:pt x="18" y="146"/>
                      </a:lnTo>
                      <a:lnTo>
                        <a:pt x="22" y="142"/>
                      </a:lnTo>
                      <a:lnTo>
                        <a:pt x="22" y="142"/>
                      </a:lnTo>
                      <a:lnTo>
                        <a:pt x="22" y="142"/>
                      </a:lnTo>
                      <a:lnTo>
                        <a:pt x="26" y="142"/>
                      </a:lnTo>
                      <a:lnTo>
                        <a:pt x="26" y="138"/>
                      </a:lnTo>
                      <a:lnTo>
                        <a:pt x="26" y="138"/>
                      </a:lnTo>
                      <a:lnTo>
                        <a:pt x="30" y="134"/>
                      </a:lnTo>
                      <a:lnTo>
                        <a:pt x="30" y="134"/>
                      </a:lnTo>
                      <a:lnTo>
                        <a:pt x="30" y="134"/>
                      </a:lnTo>
                      <a:lnTo>
                        <a:pt x="30" y="134"/>
                      </a:lnTo>
                      <a:lnTo>
                        <a:pt x="34" y="134"/>
                      </a:lnTo>
                      <a:lnTo>
                        <a:pt x="34" y="130"/>
                      </a:lnTo>
                      <a:lnTo>
                        <a:pt x="36" y="130"/>
                      </a:lnTo>
                      <a:lnTo>
                        <a:pt x="36" y="130"/>
                      </a:lnTo>
                      <a:lnTo>
                        <a:pt x="36" y="130"/>
                      </a:lnTo>
                      <a:lnTo>
                        <a:pt x="36" y="130"/>
                      </a:lnTo>
                      <a:lnTo>
                        <a:pt x="36" y="130"/>
                      </a:lnTo>
                      <a:lnTo>
                        <a:pt x="36" y="128"/>
                      </a:lnTo>
                      <a:lnTo>
                        <a:pt x="36" y="128"/>
                      </a:lnTo>
                      <a:lnTo>
                        <a:pt x="40" y="128"/>
                      </a:lnTo>
                      <a:lnTo>
                        <a:pt x="40" y="128"/>
                      </a:lnTo>
                      <a:lnTo>
                        <a:pt x="40" y="124"/>
                      </a:lnTo>
                      <a:lnTo>
                        <a:pt x="40" y="124"/>
                      </a:lnTo>
                      <a:lnTo>
                        <a:pt x="40" y="124"/>
                      </a:lnTo>
                      <a:lnTo>
                        <a:pt x="40" y="124"/>
                      </a:lnTo>
                      <a:lnTo>
                        <a:pt x="44" y="124"/>
                      </a:lnTo>
                      <a:lnTo>
                        <a:pt x="44" y="120"/>
                      </a:lnTo>
                      <a:lnTo>
                        <a:pt x="44" y="120"/>
                      </a:lnTo>
                      <a:lnTo>
                        <a:pt x="44" y="120"/>
                      </a:lnTo>
                      <a:lnTo>
                        <a:pt x="44" y="120"/>
                      </a:lnTo>
                      <a:lnTo>
                        <a:pt x="48" y="116"/>
                      </a:lnTo>
                      <a:lnTo>
                        <a:pt x="48" y="116"/>
                      </a:lnTo>
                      <a:lnTo>
                        <a:pt x="48" y="116"/>
                      </a:lnTo>
                      <a:lnTo>
                        <a:pt x="48" y="112"/>
                      </a:lnTo>
                      <a:lnTo>
                        <a:pt x="48" y="112"/>
                      </a:lnTo>
                      <a:lnTo>
                        <a:pt x="48" y="112"/>
                      </a:lnTo>
                      <a:lnTo>
                        <a:pt x="48" y="108"/>
                      </a:lnTo>
                      <a:lnTo>
                        <a:pt x="48" y="108"/>
                      </a:lnTo>
                      <a:lnTo>
                        <a:pt x="52" y="104"/>
                      </a:lnTo>
                      <a:lnTo>
                        <a:pt x="52" y="104"/>
                      </a:lnTo>
                      <a:lnTo>
                        <a:pt x="48" y="102"/>
                      </a:lnTo>
                      <a:lnTo>
                        <a:pt x="48" y="102"/>
                      </a:lnTo>
                      <a:lnTo>
                        <a:pt x="48" y="102"/>
                      </a:lnTo>
                      <a:lnTo>
                        <a:pt x="48" y="98"/>
                      </a:lnTo>
                      <a:lnTo>
                        <a:pt x="48" y="98"/>
                      </a:lnTo>
                      <a:lnTo>
                        <a:pt x="48" y="98"/>
                      </a:lnTo>
                      <a:lnTo>
                        <a:pt x="48" y="98"/>
                      </a:lnTo>
                      <a:lnTo>
                        <a:pt x="48" y="98"/>
                      </a:lnTo>
                      <a:lnTo>
                        <a:pt x="48" y="94"/>
                      </a:lnTo>
                      <a:lnTo>
                        <a:pt x="48" y="90"/>
                      </a:lnTo>
                      <a:lnTo>
                        <a:pt x="48" y="90"/>
                      </a:lnTo>
                      <a:lnTo>
                        <a:pt x="48" y="90"/>
                      </a:lnTo>
                      <a:lnTo>
                        <a:pt x="48" y="90"/>
                      </a:lnTo>
                      <a:lnTo>
                        <a:pt x="48" y="90"/>
                      </a:lnTo>
                      <a:lnTo>
                        <a:pt x="48" y="86"/>
                      </a:lnTo>
                      <a:lnTo>
                        <a:pt x="48" y="86"/>
                      </a:lnTo>
                      <a:lnTo>
                        <a:pt x="48" y="86"/>
                      </a:lnTo>
                      <a:lnTo>
                        <a:pt x="48" y="82"/>
                      </a:lnTo>
                      <a:lnTo>
                        <a:pt x="48" y="82"/>
                      </a:lnTo>
                      <a:lnTo>
                        <a:pt x="48" y="82"/>
                      </a:lnTo>
                      <a:lnTo>
                        <a:pt x="48" y="82"/>
                      </a:lnTo>
                      <a:lnTo>
                        <a:pt x="48" y="78"/>
                      </a:lnTo>
                      <a:lnTo>
                        <a:pt x="48" y="78"/>
                      </a:lnTo>
                      <a:lnTo>
                        <a:pt x="48" y="78"/>
                      </a:lnTo>
                      <a:lnTo>
                        <a:pt x="52" y="76"/>
                      </a:lnTo>
                      <a:lnTo>
                        <a:pt x="52" y="76"/>
                      </a:lnTo>
                      <a:lnTo>
                        <a:pt x="52" y="76"/>
                      </a:lnTo>
                      <a:lnTo>
                        <a:pt x="56" y="72"/>
                      </a:lnTo>
                      <a:lnTo>
                        <a:pt x="56" y="72"/>
                      </a:lnTo>
                      <a:lnTo>
                        <a:pt x="56" y="68"/>
                      </a:lnTo>
                      <a:lnTo>
                        <a:pt x="56" y="64"/>
                      </a:lnTo>
                      <a:lnTo>
                        <a:pt x="56" y="64"/>
                      </a:lnTo>
                      <a:lnTo>
                        <a:pt x="56" y="64"/>
                      </a:lnTo>
                      <a:lnTo>
                        <a:pt x="56" y="64"/>
                      </a:lnTo>
                      <a:lnTo>
                        <a:pt x="56" y="64"/>
                      </a:lnTo>
                      <a:lnTo>
                        <a:pt x="60" y="60"/>
                      </a:lnTo>
                      <a:lnTo>
                        <a:pt x="60" y="60"/>
                      </a:lnTo>
                      <a:lnTo>
                        <a:pt x="60" y="60"/>
                      </a:lnTo>
                      <a:lnTo>
                        <a:pt x="60" y="60"/>
                      </a:lnTo>
                      <a:lnTo>
                        <a:pt x="60" y="56"/>
                      </a:lnTo>
                      <a:lnTo>
                        <a:pt x="62" y="56"/>
                      </a:lnTo>
                      <a:lnTo>
                        <a:pt x="62" y="52"/>
                      </a:lnTo>
                      <a:lnTo>
                        <a:pt x="62" y="52"/>
                      </a:lnTo>
                      <a:lnTo>
                        <a:pt x="62" y="52"/>
                      </a:lnTo>
                      <a:lnTo>
                        <a:pt x="66" y="52"/>
                      </a:lnTo>
                      <a:lnTo>
                        <a:pt x="66" y="52"/>
                      </a:lnTo>
                      <a:lnTo>
                        <a:pt x="66" y="52"/>
                      </a:lnTo>
                      <a:lnTo>
                        <a:pt x="66" y="52"/>
                      </a:lnTo>
                      <a:lnTo>
                        <a:pt x="66" y="52"/>
                      </a:lnTo>
                      <a:lnTo>
                        <a:pt x="66" y="50"/>
                      </a:lnTo>
                      <a:lnTo>
                        <a:pt x="66" y="50"/>
                      </a:lnTo>
                      <a:lnTo>
                        <a:pt x="66" y="50"/>
                      </a:lnTo>
                      <a:lnTo>
                        <a:pt x="70" y="50"/>
                      </a:lnTo>
                      <a:lnTo>
                        <a:pt x="70" y="50"/>
                      </a:lnTo>
                      <a:lnTo>
                        <a:pt x="70" y="50"/>
                      </a:lnTo>
                      <a:lnTo>
                        <a:pt x="74" y="50"/>
                      </a:lnTo>
                      <a:lnTo>
                        <a:pt x="74" y="46"/>
                      </a:lnTo>
                      <a:lnTo>
                        <a:pt x="74" y="46"/>
                      </a:lnTo>
                      <a:lnTo>
                        <a:pt x="78" y="46"/>
                      </a:lnTo>
                      <a:lnTo>
                        <a:pt x="78" y="46"/>
                      </a:lnTo>
                      <a:lnTo>
                        <a:pt x="78" y="46"/>
                      </a:lnTo>
                      <a:lnTo>
                        <a:pt x="82" y="46"/>
                      </a:lnTo>
                      <a:lnTo>
                        <a:pt x="82" y="42"/>
                      </a:lnTo>
                      <a:lnTo>
                        <a:pt x="86" y="42"/>
                      </a:lnTo>
                      <a:lnTo>
                        <a:pt x="86" y="42"/>
                      </a:lnTo>
                      <a:lnTo>
                        <a:pt x="86" y="42"/>
                      </a:lnTo>
                      <a:lnTo>
                        <a:pt x="86" y="42"/>
                      </a:lnTo>
                      <a:lnTo>
                        <a:pt x="86" y="42"/>
                      </a:lnTo>
                      <a:lnTo>
                        <a:pt x="90" y="38"/>
                      </a:lnTo>
                      <a:lnTo>
                        <a:pt x="90" y="38"/>
                      </a:lnTo>
                      <a:lnTo>
                        <a:pt x="90" y="38"/>
                      </a:lnTo>
                      <a:lnTo>
                        <a:pt x="90" y="38"/>
                      </a:lnTo>
                      <a:lnTo>
                        <a:pt x="92" y="34"/>
                      </a:lnTo>
                      <a:lnTo>
                        <a:pt x="92" y="34"/>
                      </a:lnTo>
                      <a:lnTo>
                        <a:pt x="92" y="30"/>
                      </a:lnTo>
                      <a:lnTo>
                        <a:pt x="92" y="30"/>
                      </a:lnTo>
                      <a:lnTo>
                        <a:pt x="92" y="30"/>
                      </a:lnTo>
                      <a:lnTo>
                        <a:pt x="92" y="26"/>
                      </a:lnTo>
                      <a:lnTo>
                        <a:pt x="96" y="22"/>
                      </a:lnTo>
                      <a:lnTo>
                        <a:pt x="96" y="22"/>
                      </a:lnTo>
                      <a:lnTo>
                        <a:pt x="96" y="22"/>
                      </a:lnTo>
                      <a:lnTo>
                        <a:pt x="96" y="22"/>
                      </a:lnTo>
                      <a:lnTo>
                        <a:pt x="96" y="20"/>
                      </a:lnTo>
                      <a:lnTo>
                        <a:pt x="96" y="20"/>
                      </a:lnTo>
                      <a:lnTo>
                        <a:pt x="96" y="20"/>
                      </a:lnTo>
                      <a:lnTo>
                        <a:pt x="100" y="16"/>
                      </a:lnTo>
                      <a:lnTo>
                        <a:pt x="100" y="12"/>
                      </a:lnTo>
                      <a:lnTo>
                        <a:pt x="100" y="12"/>
                      </a:lnTo>
                      <a:lnTo>
                        <a:pt x="100" y="8"/>
                      </a:lnTo>
                      <a:lnTo>
                        <a:pt x="100" y="8"/>
                      </a:lnTo>
                      <a:lnTo>
                        <a:pt x="100" y="4"/>
                      </a:lnTo>
                      <a:lnTo>
                        <a:pt x="104" y="4"/>
                      </a:lnTo>
                      <a:lnTo>
                        <a:pt x="104" y="4"/>
                      </a:lnTo>
                      <a:lnTo>
                        <a:pt x="104" y="4"/>
                      </a:lnTo>
                      <a:lnTo>
                        <a:pt x="108" y="4"/>
                      </a:lnTo>
                      <a:lnTo>
                        <a:pt x="108" y="4"/>
                      </a:lnTo>
                      <a:lnTo>
                        <a:pt x="108" y="4"/>
                      </a:lnTo>
                      <a:lnTo>
                        <a:pt x="108" y="0"/>
                      </a:lnTo>
                      <a:lnTo>
                        <a:pt x="108" y="0"/>
                      </a:lnTo>
                      <a:lnTo>
                        <a:pt x="108" y="0"/>
                      </a:lnTo>
                      <a:lnTo>
                        <a:pt x="112" y="0"/>
                      </a:lnTo>
                      <a:lnTo>
                        <a:pt x="112" y="0"/>
                      </a:lnTo>
                      <a:lnTo>
                        <a:pt x="112" y="4"/>
                      </a:lnTo>
                      <a:lnTo>
                        <a:pt x="112" y="4"/>
                      </a:lnTo>
                      <a:lnTo>
                        <a:pt x="112" y="4"/>
                      </a:lnTo>
                      <a:lnTo>
                        <a:pt x="112" y="4"/>
                      </a:lnTo>
                      <a:lnTo>
                        <a:pt x="112" y="4"/>
                      </a:lnTo>
                      <a:lnTo>
                        <a:pt x="112" y="4"/>
                      </a:lnTo>
                      <a:lnTo>
                        <a:pt x="112" y="4"/>
                      </a:lnTo>
                      <a:lnTo>
                        <a:pt x="112" y="8"/>
                      </a:lnTo>
                      <a:lnTo>
                        <a:pt x="112" y="8"/>
                      </a:lnTo>
                      <a:lnTo>
                        <a:pt x="116" y="12"/>
                      </a:lnTo>
                      <a:lnTo>
                        <a:pt x="116" y="12"/>
                      </a:lnTo>
                      <a:lnTo>
                        <a:pt x="118" y="16"/>
                      </a:lnTo>
                      <a:lnTo>
                        <a:pt x="118" y="16"/>
                      </a:lnTo>
                      <a:lnTo>
                        <a:pt x="118" y="16"/>
                      </a:lnTo>
                      <a:lnTo>
                        <a:pt x="122" y="16"/>
                      </a:lnTo>
                      <a:lnTo>
                        <a:pt x="122" y="16"/>
                      </a:lnTo>
                      <a:lnTo>
                        <a:pt x="122" y="16"/>
                      </a:lnTo>
                      <a:lnTo>
                        <a:pt x="122" y="1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13" name="Freeform 159"/>
                <p:cNvSpPr>
                  <a:spLocks noEditPoints="1"/>
                </p:cNvSpPr>
                <p:nvPr/>
              </p:nvSpPr>
              <p:spPr bwMode="auto">
                <a:xfrm>
                  <a:off x="5073650" y="4845118"/>
                  <a:ext cx="238125" cy="457200"/>
                </a:xfrm>
                <a:custGeom>
                  <a:avLst/>
                  <a:gdLst>
                    <a:gd name="T0" fmla="*/ 22 w 150"/>
                    <a:gd name="T1" fmla="*/ 274 h 288"/>
                    <a:gd name="T2" fmla="*/ 22 w 150"/>
                    <a:gd name="T3" fmla="*/ 254 h 288"/>
                    <a:gd name="T4" fmla="*/ 22 w 150"/>
                    <a:gd name="T5" fmla="*/ 240 h 288"/>
                    <a:gd name="T6" fmla="*/ 18 w 150"/>
                    <a:gd name="T7" fmla="*/ 226 h 288"/>
                    <a:gd name="T8" fmla="*/ 22 w 150"/>
                    <a:gd name="T9" fmla="*/ 198 h 288"/>
                    <a:gd name="T10" fmla="*/ 34 w 150"/>
                    <a:gd name="T11" fmla="*/ 176 h 288"/>
                    <a:gd name="T12" fmla="*/ 38 w 150"/>
                    <a:gd name="T13" fmla="*/ 158 h 288"/>
                    <a:gd name="T14" fmla="*/ 38 w 150"/>
                    <a:gd name="T15" fmla="*/ 146 h 288"/>
                    <a:gd name="T16" fmla="*/ 42 w 150"/>
                    <a:gd name="T17" fmla="*/ 136 h 288"/>
                    <a:gd name="T18" fmla="*/ 38 w 150"/>
                    <a:gd name="T19" fmla="*/ 120 h 288"/>
                    <a:gd name="T20" fmla="*/ 34 w 150"/>
                    <a:gd name="T21" fmla="*/ 106 h 288"/>
                    <a:gd name="T22" fmla="*/ 22 w 150"/>
                    <a:gd name="T23" fmla="*/ 98 h 288"/>
                    <a:gd name="T24" fmla="*/ 8 w 150"/>
                    <a:gd name="T25" fmla="*/ 94 h 288"/>
                    <a:gd name="T26" fmla="*/ 0 w 150"/>
                    <a:gd name="T27" fmla="*/ 80 h 288"/>
                    <a:gd name="T28" fmla="*/ 12 w 150"/>
                    <a:gd name="T29" fmla="*/ 72 h 288"/>
                    <a:gd name="T30" fmla="*/ 26 w 150"/>
                    <a:gd name="T31" fmla="*/ 68 h 288"/>
                    <a:gd name="T32" fmla="*/ 44 w 150"/>
                    <a:gd name="T33" fmla="*/ 64 h 288"/>
                    <a:gd name="T34" fmla="*/ 60 w 150"/>
                    <a:gd name="T35" fmla="*/ 68 h 288"/>
                    <a:gd name="T36" fmla="*/ 60 w 150"/>
                    <a:gd name="T37" fmla="*/ 86 h 288"/>
                    <a:gd name="T38" fmla="*/ 60 w 150"/>
                    <a:gd name="T39" fmla="*/ 102 h 288"/>
                    <a:gd name="T40" fmla="*/ 68 w 150"/>
                    <a:gd name="T41" fmla="*/ 116 h 288"/>
                    <a:gd name="T42" fmla="*/ 68 w 150"/>
                    <a:gd name="T43" fmla="*/ 106 h 288"/>
                    <a:gd name="T44" fmla="*/ 78 w 150"/>
                    <a:gd name="T45" fmla="*/ 98 h 288"/>
                    <a:gd name="T46" fmla="*/ 78 w 150"/>
                    <a:gd name="T47" fmla="*/ 76 h 288"/>
                    <a:gd name="T48" fmla="*/ 68 w 150"/>
                    <a:gd name="T49" fmla="*/ 52 h 288"/>
                    <a:gd name="T50" fmla="*/ 60 w 150"/>
                    <a:gd name="T51" fmla="*/ 38 h 288"/>
                    <a:gd name="T52" fmla="*/ 60 w 150"/>
                    <a:gd name="T53" fmla="*/ 26 h 288"/>
                    <a:gd name="T54" fmla="*/ 70 w 150"/>
                    <a:gd name="T55" fmla="*/ 20 h 288"/>
                    <a:gd name="T56" fmla="*/ 90 w 150"/>
                    <a:gd name="T57" fmla="*/ 20 h 288"/>
                    <a:gd name="T58" fmla="*/ 108 w 150"/>
                    <a:gd name="T59" fmla="*/ 20 h 288"/>
                    <a:gd name="T60" fmla="*/ 112 w 150"/>
                    <a:gd name="T61" fmla="*/ 12 h 288"/>
                    <a:gd name="T62" fmla="*/ 128 w 150"/>
                    <a:gd name="T63" fmla="*/ 12 h 288"/>
                    <a:gd name="T64" fmla="*/ 138 w 150"/>
                    <a:gd name="T65" fmla="*/ 4 h 288"/>
                    <a:gd name="T66" fmla="*/ 146 w 150"/>
                    <a:gd name="T67" fmla="*/ 12 h 288"/>
                    <a:gd name="T68" fmla="*/ 146 w 150"/>
                    <a:gd name="T69" fmla="*/ 24 h 288"/>
                    <a:gd name="T70" fmla="*/ 142 w 150"/>
                    <a:gd name="T71" fmla="*/ 42 h 288"/>
                    <a:gd name="T72" fmla="*/ 146 w 150"/>
                    <a:gd name="T73" fmla="*/ 56 h 288"/>
                    <a:gd name="T74" fmla="*/ 146 w 150"/>
                    <a:gd name="T75" fmla="*/ 68 h 288"/>
                    <a:gd name="T76" fmla="*/ 146 w 150"/>
                    <a:gd name="T77" fmla="*/ 80 h 288"/>
                    <a:gd name="T78" fmla="*/ 142 w 150"/>
                    <a:gd name="T79" fmla="*/ 86 h 288"/>
                    <a:gd name="T80" fmla="*/ 134 w 150"/>
                    <a:gd name="T81" fmla="*/ 102 h 288"/>
                    <a:gd name="T82" fmla="*/ 124 w 150"/>
                    <a:gd name="T83" fmla="*/ 112 h 288"/>
                    <a:gd name="T84" fmla="*/ 108 w 150"/>
                    <a:gd name="T85" fmla="*/ 120 h 288"/>
                    <a:gd name="T86" fmla="*/ 94 w 150"/>
                    <a:gd name="T87" fmla="*/ 132 h 288"/>
                    <a:gd name="T88" fmla="*/ 86 w 150"/>
                    <a:gd name="T89" fmla="*/ 140 h 288"/>
                    <a:gd name="T90" fmla="*/ 82 w 150"/>
                    <a:gd name="T91" fmla="*/ 146 h 288"/>
                    <a:gd name="T92" fmla="*/ 70 w 150"/>
                    <a:gd name="T93" fmla="*/ 158 h 288"/>
                    <a:gd name="T94" fmla="*/ 64 w 150"/>
                    <a:gd name="T95" fmla="*/ 162 h 288"/>
                    <a:gd name="T96" fmla="*/ 68 w 150"/>
                    <a:gd name="T97" fmla="*/ 176 h 288"/>
                    <a:gd name="T98" fmla="*/ 70 w 150"/>
                    <a:gd name="T99" fmla="*/ 192 h 288"/>
                    <a:gd name="T100" fmla="*/ 70 w 150"/>
                    <a:gd name="T101" fmla="*/ 210 h 288"/>
                    <a:gd name="T102" fmla="*/ 74 w 150"/>
                    <a:gd name="T103" fmla="*/ 210 h 288"/>
                    <a:gd name="T104" fmla="*/ 70 w 150"/>
                    <a:gd name="T105" fmla="*/ 228 h 288"/>
                    <a:gd name="T106" fmla="*/ 74 w 150"/>
                    <a:gd name="T107" fmla="*/ 236 h 288"/>
                    <a:gd name="T108" fmla="*/ 68 w 150"/>
                    <a:gd name="T109" fmla="*/ 248 h 288"/>
                    <a:gd name="T110" fmla="*/ 52 w 150"/>
                    <a:gd name="T111" fmla="*/ 254 h 288"/>
                    <a:gd name="T112" fmla="*/ 38 w 150"/>
                    <a:gd name="T113" fmla="*/ 262 h 288"/>
                    <a:gd name="T114" fmla="*/ 34 w 150"/>
                    <a:gd name="T115" fmla="*/ 278 h 288"/>
                    <a:gd name="T116" fmla="*/ 38 w 150"/>
                    <a:gd name="T117" fmla="*/ 288 h 288"/>
                    <a:gd name="T118" fmla="*/ 26 w 150"/>
                    <a:gd name="T119" fmla="*/ 288 h 288"/>
                    <a:gd name="T120" fmla="*/ 74 w 150"/>
                    <a:gd name="T121" fmla="*/ 196 h 2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50" h="288">
                      <a:moveTo>
                        <a:pt x="26" y="288"/>
                      </a:moveTo>
                      <a:lnTo>
                        <a:pt x="26" y="280"/>
                      </a:lnTo>
                      <a:lnTo>
                        <a:pt x="26" y="278"/>
                      </a:lnTo>
                      <a:lnTo>
                        <a:pt x="26" y="274"/>
                      </a:lnTo>
                      <a:lnTo>
                        <a:pt x="22" y="274"/>
                      </a:lnTo>
                      <a:lnTo>
                        <a:pt x="22" y="270"/>
                      </a:lnTo>
                      <a:lnTo>
                        <a:pt x="22" y="266"/>
                      </a:lnTo>
                      <a:lnTo>
                        <a:pt x="22" y="262"/>
                      </a:lnTo>
                      <a:lnTo>
                        <a:pt x="26" y="254"/>
                      </a:lnTo>
                      <a:lnTo>
                        <a:pt x="22" y="254"/>
                      </a:lnTo>
                      <a:lnTo>
                        <a:pt x="22" y="252"/>
                      </a:lnTo>
                      <a:lnTo>
                        <a:pt x="22" y="248"/>
                      </a:lnTo>
                      <a:lnTo>
                        <a:pt x="26" y="244"/>
                      </a:lnTo>
                      <a:lnTo>
                        <a:pt x="22" y="244"/>
                      </a:lnTo>
                      <a:lnTo>
                        <a:pt x="22" y="240"/>
                      </a:lnTo>
                      <a:lnTo>
                        <a:pt x="22" y="236"/>
                      </a:lnTo>
                      <a:lnTo>
                        <a:pt x="22" y="232"/>
                      </a:lnTo>
                      <a:lnTo>
                        <a:pt x="18" y="232"/>
                      </a:lnTo>
                      <a:lnTo>
                        <a:pt x="18" y="228"/>
                      </a:lnTo>
                      <a:lnTo>
                        <a:pt x="18" y="226"/>
                      </a:lnTo>
                      <a:lnTo>
                        <a:pt x="18" y="222"/>
                      </a:lnTo>
                      <a:lnTo>
                        <a:pt x="14" y="210"/>
                      </a:lnTo>
                      <a:lnTo>
                        <a:pt x="14" y="206"/>
                      </a:lnTo>
                      <a:lnTo>
                        <a:pt x="18" y="202"/>
                      </a:lnTo>
                      <a:lnTo>
                        <a:pt x="22" y="198"/>
                      </a:lnTo>
                      <a:lnTo>
                        <a:pt x="30" y="188"/>
                      </a:lnTo>
                      <a:lnTo>
                        <a:pt x="30" y="184"/>
                      </a:lnTo>
                      <a:lnTo>
                        <a:pt x="30" y="180"/>
                      </a:lnTo>
                      <a:lnTo>
                        <a:pt x="30" y="176"/>
                      </a:lnTo>
                      <a:lnTo>
                        <a:pt x="34" y="176"/>
                      </a:lnTo>
                      <a:lnTo>
                        <a:pt x="34" y="172"/>
                      </a:lnTo>
                      <a:lnTo>
                        <a:pt x="38" y="168"/>
                      </a:lnTo>
                      <a:lnTo>
                        <a:pt x="38" y="166"/>
                      </a:lnTo>
                      <a:lnTo>
                        <a:pt x="38" y="162"/>
                      </a:lnTo>
                      <a:lnTo>
                        <a:pt x="38" y="158"/>
                      </a:lnTo>
                      <a:lnTo>
                        <a:pt x="34" y="158"/>
                      </a:lnTo>
                      <a:lnTo>
                        <a:pt x="34" y="154"/>
                      </a:lnTo>
                      <a:lnTo>
                        <a:pt x="38" y="154"/>
                      </a:lnTo>
                      <a:lnTo>
                        <a:pt x="38" y="150"/>
                      </a:lnTo>
                      <a:lnTo>
                        <a:pt x="38" y="146"/>
                      </a:lnTo>
                      <a:lnTo>
                        <a:pt x="34" y="146"/>
                      </a:lnTo>
                      <a:lnTo>
                        <a:pt x="34" y="142"/>
                      </a:lnTo>
                      <a:lnTo>
                        <a:pt x="38" y="142"/>
                      </a:lnTo>
                      <a:lnTo>
                        <a:pt x="38" y="140"/>
                      </a:lnTo>
                      <a:lnTo>
                        <a:pt x="42" y="136"/>
                      </a:lnTo>
                      <a:lnTo>
                        <a:pt x="38" y="136"/>
                      </a:lnTo>
                      <a:lnTo>
                        <a:pt x="38" y="132"/>
                      </a:lnTo>
                      <a:lnTo>
                        <a:pt x="38" y="128"/>
                      </a:lnTo>
                      <a:lnTo>
                        <a:pt x="38" y="124"/>
                      </a:lnTo>
                      <a:lnTo>
                        <a:pt x="38" y="120"/>
                      </a:lnTo>
                      <a:lnTo>
                        <a:pt x="38" y="116"/>
                      </a:lnTo>
                      <a:lnTo>
                        <a:pt x="38" y="112"/>
                      </a:lnTo>
                      <a:lnTo>
                        <a:pt x="38" y="110"/>
                      </a:lnTo>
                      <a:lnTo>
                        <a:pt x="34" y="110"/>
                      </a:lnTo>
                      <a:lnTo>
                        <a:pt x="34" y="106"/>
                      </a:lnTo>
                      <a:lnTo>
                        <a:pt x="30" y="106"/>
                      </a:lnTo>
                      <a:lnTo>
                        <a:pt x="30" y="102"/>
                      </a:lnTo>
                      <a:lnTo>
                        <a:pt x="26" y="102"/>
                      </a:lnTo>
                      <a:lnTo>
                        <a:pt x="22" y="102"/>
                      </a:lnTo>
                      <a:lnTo>
                        <a:pt x="22" y="98"/>
                      </a:lnTo>
                      <a:lnTo>
                        <a:pt x="18" y="98"/>
                      </a:lnTo>
                      <a:lnTo>
                        <a:pt x="14" y="98"/>
                      </a:lnTo>
                      <a:lnTo>
                        <a:pt x="14" y="94"/>
                      </a:lnTo>
                      <a:lnTo>
                        <a:pt x="12" y="94"/>
                      </a:lnTo>
                      <a:lnTo>
                        <a:pt x="8" y="94"/>
                      </a:lnTo>
                      <a:lnTo>
                        <a:pt x="0" y="94"/>
                      </a:lnTo>
                      <a:lnTo>
                        <a:pt x="0" y="90"/>
                      </a:lnTo>
                      <a:lnTo>
                        <a:pt x="0" y="86"/>
                      </a:lnTo>
                      <a:lnTo>
                        <a:pt x="0" y="82"/>
                      </a:lnTo>
                      <a:lnTo>
                        <a:pt x="0" y="8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8" y="76"/>
                      </a:lnTo>
                      <a:lnTo>
                        <a:pt x="8" y="72"/>
                      </a:lnTo>
                      <a:lnTo>
                        <a:pt x="12" y="72"/>
                      </a:lnTo>
                      <a:lnTo>
                        <a:pt x="14" y="72"/>
                      </a:lnTo>
                      <a:lnTo>
                        <a:pt x="18" y="72"/>
                      </a:lnTo>
                      <a:lnTo>
                        <a:pt x="18" y="68"/>
                      </a:lnTo>
                      <a:lnTo>
                        <a:pt x="22" y="68"/>
                      </a:lnTo>
                      <a:lnTo>
                        <a:pt x="26" y="68"/>
                      </a:lnTo>
                      <a:lnTo>
                        <a:pt x="30" y="64"/>
                      </a:lnTo>
                      <a:lnTo>
                        <a:pt x="38" y="60"/>
                      </a:lnTo>
                      <a:lnTo>
                        <a:pt x="42" y="60"/>
                      </a:lnTo>
                      <a:lnTo>
                        <a:pt x="42" y="64"/>
                      </a:lnTo>
                      <a:lnTo>
                        <a:pt x="44" y="64"/>
                      </a:lnTo>
                      <a:lnTo>
                        <a:pt x="44" y="68"/>
                      </a:lnTo>
                      <a:lnTo>
                        <a:pt x="48" y="68"/>
                      </a:lnTo>
                      <a:lnTo>
                        <a:pt x="52" y="68"/>
                      </a:lnTo>
                      <a:lnTo>
                        <a:pt x="56" y="68"/>
                      </a:lnTo>
                      <a:lnTo>
                        <a:pt x="60" y="68"/>
                      </a:lnTo>
                      <a:lnTo>
                        <a:pt x="60" y="72"/>
                      </a:lnTo>
                      <a:lnTo>
                        <a:pt x="60" y="76"/>
                      </a:lnTo>
                      <a:lnTo>
                        <a:pt x="60" y="80"/>
                      </a:lnTo>
                      <a:lnTo>
                        <a:pt x="60" y="82"/>
                      </a:lnTo>
                      <a:lnTo>
                        <a:pt x="60" y="86"/>
                      </a:lnTo>
                      <a:lnTo>
                        <a:pt x="60" y="90"/>
                      </a:lnTo>
                      <a:lnTo>
                        <a:pt x="56" y="90"/>
                      </a:lnTo>
                      <a:lnTo>
                        <a:pt x="56" y="94"/>
                      </a:lnTo>
                      <a:lnTo>
                        <a:pt x="60" y="98"/>
                      </a:lnTo>
                      <a:lnTo>
                        <a:pt x="60" y="102"/>
                      </a:lnTo>
                      <a:lnTo>
                        <a:pt x="64" y="102"/>
                      </a:lnTo>
                      <a:lnTo>
                        <a:pt x="64" y="106"/>
                      </a:lnTo>
                      <a:lnTo>
                        <a:pt x="68" y="110"/>
                      </a:lnTo>
                      <a:lnTo>
                        <a:pt x="68" y="112"/>
                      </a:lnTo>
                      <a:lnTo>
                        <a:pt x="68" y="116"/>
                      </a:lnTo>
                      <a:lnTo>
                        <a:pt x="70" y="116"/>
                      </a:lnTo>
                      <a:lnTo>
                        <a:pt x="70" y="112"/>
                      </a:lnTo>
                      <a:lnTo>
                        <a:pt x="70" y="110"/>
                      </a:lnTo>
                      <a:lnTo>
                        <a:pt x="70" y="106"/>
                      </a:lnTo>
                      <a:lnTo>
                        <a:pt x="68" y="106"/>
                      </a:lnTo>
                      <a:lnTo>
                        <a:pt x="70" y="106"/>
                      </a:lnTo>
                      <a:lnTo>
                        <a:pt x="70" y="102"/>
                      </a:lnTo>
                      <a:lnTo>
                        <a:pt x="70" y="98"/>
                      </a:lnTo>
                      <a:lnTo>
                        <a:pt x="74" y="98"/>
                      </a:lnTo>
                      <a:lnTo>
                        <a:pt x="78" y="98"/>
                      </a:lnTo>
                      <a:lnTo>
                        <a:pt x="78" y="94"/>
                      </a:lnTo>
                      <a:lnTo>
                        <a:pt x="78" y="86"/>
                      </a:lnTo>
                      <a:lnTo>
                        <a:pt x="78" y="82"/>
                      </a:lnTo>
                      <a:lnTo>
                        <a:pt x="78" y="80"/>
                      </a:lnTo>
                      <a:lnTo>
                        <a:pt x="78" y="76"/>
                      </a:lnTo>
                      <a:lnTo>
                        <a:pt x="78" y="72"/>
                      </a:lnTo>
                      <a:lnTo>
                        <a:pt x="74" y="64"/>
                      </a:lnTo>
                      <a:lnTo>
                        <a:pt x="70" y="56"/>
                      </a:lnTo>
                      <a:lnTo>
                        <a:pt x="68" y="56"/>
                      </a:lnTo>
                      <a:lnTo>
                        <a:pt x="68" y="52"/>
                      </a:lnTo>
                      <a:lnTo>
                        <a:pt x="64" y="52"/>
                      </a:lnTo>
                      <a:lnTo>
                        <a:pt x="60" y="50"/>
                      </a:lnTo>
                      <a:lnTo>
                        <a:pt x="60" y="46"/>
                      </a:lnTo>
                      <a:lnTo>
                        <a:pt x="60" y="42"/>
                      </a:lnTo>
                      <a:lnTo>
                        <a:pt x="60" y="38"/>
                      </a:lnTo>
                      <a:lnTo>
                        <a:pt x="60" y="34"/>
                      </a:lnTo>
                      <a:lnTo>
                        <a:pt x="60" y="30"/>
                      </a:lnTo>
                      <a:lnTo>
                        <a:pt x="56" y="30"/>
                      </a:lnTo>
                      <a:lnTo>
                        <a:pt x="56" y="26"/>
                      </a:lnTo>
                      <a:lnTo>
                        <a:pt x="60" y="26"/>
                      </a:lnTo>
                      <a:lnTo>
                        <a:pt x="60" y="24"/>
                      </a:lnTo>
                      <a:lnTo>
                        <a:pt x="60" y="20"/>
                      </a:lnTo>
                      <a:lnTo>
                        <a:pt x="64" y="20"/>
                      </a:lnTo>
                      <a:lnTo>
                        <a:pt x="68" y="20"/>
                      </a:lnTo>
                      <a:lnTo>
                        <a:pt x="70" y="20"/>
                      </a:lnTo>
                      <a:lnTo>
                        <a:pt x="74" y="20"/>
                      </a:lnTo>
                      <a:lnTo>
                        <a:pt x="78" y="16"/>
                      </a:lnTo>
                      <a:lnTo>
                        <a:pt x="82" y="20"/>
                      </a:lnTo>
                      <a:lnTo>
                        <a:pt x="86" y="20"/>
                      </a:lnTo>
                      <a:lnTo>
                        <a:pt x="90" y="20"/>
                      </a:lnTo>
                      <a:lnTo>
                        <a:pt x="94" y="20"/>
                      </a:lnTo>
                      <a:lnTo>
                        <a:pt x="98" y="20"/>
                      </a:lnTo>
                      <a:lnTo>
                        <a:pt x="100" y="20"/>
                      </a:lnTo>
                      <a:lnTo>
                        <a:pt x="104" y="20"/>
                      </a:lnTo>
                      <a:lnTo>
                        <a:pt x="108" y="20"/>
                      </a:lnTo>
                      <a:lnTo>
                        <a:pt x="108" y="16"/>
                      </a:lnTo>
                      <a:lnTo>
                        <a:pt x="104" y="16"/>
                      </a:lnTo>
                      <a:lnTo>
                        <a:pt x="108" y="16"/>
                      </a:lnTo>
                      <a:lnTo>
                        <a:pt x="108" y="12"/>
                      </a:lnTo>
                      <a:lnTo>
                        <a:pt x="112" y="12"/>
                      </a:lnTo>
                      <a:lnTo>
                        <a:pt x="112" y="16"/>
                      </a:lnTo>
                      <a:lnTo>
                        <a:pt x="116" y="16"/>
                      </a:lnTo>
                      <a:lnTo>
                        <a:pt x="120" y="12"/>
                      </a:lnTo>
                      <a:lnTo>
                        <a:pt x="124" y="12"/>
                      </a:lnTo>
                      <a:lnTo>
                        <a:pt x="128" y="12"/>
                      </a:lnTo>
                      <a:lnTo>
                        <a:pt x="128" y="8"/>
                      </a:lnTo>
                      <a:lnTo>
                        <a:pt x="130" y="8"/>
                      </a:lnTo>
                      <a:lnTo>
                        <a:pt x="134" y="8"/>
                      </a:lnTo>
                      <a:lnTo>
                        <a:pt x="134" y="4"/>
                      </a:lnTo>
                      <a:lnTo>
                        <a:pt x="138" y="4"/>
                      </a:lnTo>
                      <a:lnTo>
                        <a:pt x="142" y="0"/>
                      </a:lnTo>
                      <a:lnTo>
                        <a:pt x="146" y="0"/>
                      </a:lnTo>
                      <a:lnTo>
                        <a:pt x="146" y="4"/>
                      </a:lnTo>
                      <a:lnTo>
                        <a:pt x="146" y="8"/>
                      </a:lnTo>
                      <a:lnTo>
                        <a:pt x="146" y="12"/>
                      </a:lnTo>
                      <a:lnTo>
                        <a:pt x="142" y="12"/>
                      </a:lnTo>
                      <a:lnTo>
                        <a:pt x="142" y="16"/>
                      </a:lnTo>
                      <a:lnTo>
                        <a:pt x="146" y="16"/>
                      </a:lnTo>
                      <a:lnTo>
                        <a:pt x="142" y="20"/>
                      </a:lnTo>
                      <a:lnTo>
                        <a:pt x="146" y="24"/>
                      </a:lnTo>
                      <a:lnTo>
                        <a:pt x="146" y="30"/>
                      </a:lnTo>
                      <a:lnTo>
                        <a:pt x="146" y="34"/>
                      </a:lnTo>
                      <a:lnTo>
                        <a:pt x="146" y="38"/>
                      </a:lnTo>
                      <a:lnTo>
                        <a:pt x="146" y="42"/>
                      </a:lnTo>
                      <a:lnTo>
                        <a:pt x="142" y="42"/>
                      </a:lnTo>
                      <a:lnTo>
                        <a:pt x="146" y="42"/>
                      </a:lnTo>
                      <a:lnTo>
                        <a:pt x="146" y="46"/>
                      </a:lnTo>
                      <a:lnTo>
                        <a:pt x="146" y="50"/>
                      </a:lnTo>
                      <a:lnTo>
                        <a:pt x="146" y="52"/>
                      </a:lnTo>
                      <a:lnTo>
                        <a:pt x="146" y="56"/>
                      </a:lnTo>
                      <a:lnTo>
                        <a:pt x="146" y="60"/>
                      </a:lnTo>
                      <a:lnTo>
                        <a:pt x="146" y="64"/>
                      </a:lnTo>
                      <a:lnTo>
                        <a:pt x="150" y="64"/>
                      </a:lnTo>
                      <a:lnTo>
                        <a:pt x="150" y="68"/>
                      </a:lnTo>
                      <a:lnTo>
                        <a:pt x="146" y="68"/>
                      </a:lnTo>
                      <a:lnTo>
                        <a:pt x="150" y="68"/>
                      </a:lnTo>
                      <a:lnTo>
                        <a:pt x="150" y="72"/>
                      </a:lnTo>
                      <a:lnTo>
                        <a:pt x="150" y="76"/>
                      </a:lnTo>
                      <a:lnTo>
                        <a:pt x="150" y="80"/>
                      </a:lnTo>
                      <a:lnTo>
                        <a:pt x="146" y="80"/>
                      </a:lnTo>
                      <a:lnTo>
                        <a:pt x="146" y="82"/>
                      </a:lnTo>
                      <a:lnTo>
                        <a:pt x="146" y="80"/>
                      </a:lnTo>
                      <a:lnTo>
                        <a:pt x="146" y="82"/>
                      </a:lnTo>
                      <a:lnTo>
                        <a:pt x="146" y="86"/>
                      </a:lnTo>
                      <a:lnTo>
                        <a:pt x="142" y="86"/>
                      </a:lnTo>
                      <a:lnTo>
                        <a:pt x="142" y="90"/>
                      </a:lnTo>
                      <a:lnTo>
                        <a:pt x="138" y="94"/>
                      </a:lnTo>
                      <a:lnTo>
                        <a:pt x="138" y="98"/>
                      </a:lnTo>
                      <a:lnTo>
                        <a:pt x="134" y="98"/>
                      </a:lnTo>
                      <a:lnTo>
                        <a:pt x="134" y="102"/>
                      </a:lnTo>
                      <a:lnTo>
                        <a:pt x="134" y="106"/>
                      </a:lnTo>
                      <a:lnTo>
                        <a:pt x="130" y="106"/>
                      </a:lnTo>
                      <a:lnTo>
                        <a:pt x="128" y="110"/>
                      </a:lnTo>
                      <a:lnTo>
                        <a:pt x="124" y="110"/>
                      </a:lnTo>
                      <a:lnTo>
                        <a:pt x="124" y="112"/>
                      </a:lnTo>
                      <a:lnTo>
                        <a:pt x="120" y="112"/>
                      </a:lnTo>
                      <a:lnTo>
                        <a:pt x="116" y="116"/>
                      </a:lnTo>
                      <a:lnTo>
                        <a:pt x="112" y="116"/>
                      </a:lnTo>
                      <a:lnTo>
                        <a:pt x="108" y="116"/>
                      </a:lnTo>
                      <a:lnTo>
                        <a:pt x="108" y="120"/>
                      </a:lnTo>
                      <a:lnTo>
                        <a:pt x="104" y="120"/>
                      </a:lnTo>
                      <a:lnTo>
                        <a:pt x="100" y="124"/>
                      </a:lnTo>
                      <a:lnTo>
                        <a:pt x="98" y="124"/>
                      </a:lnTo>
                      <a:lnTo>
                        <a:pt x="98" y="128"/>
                      </a:lnTo>
                      <a:lnTo>
                        <a:pt x="94" y="132"/>
                      </a:lnTo>
                      <a:lnTo>
                        <a:pt x="94" y="128"/>
                      </a:lnTo>
                      <a:lnTo>
                        <a:pt x="94" y="132"/>
                      </a:lnTo>
                      <a:lnTo>
                        <a:pt x="94" y="136"/>
                      </a:lnTo>
                      <a:lnTo>
                        <a:pt x="90" y="140"/>
                      </a:lnTo>
                      <a:lnTo>
                        <a:pt x="86" y="140"/>
                      </a:lnTo>
                      <a:lnTo>
                        <a:pt x="86" y="142"/>
                      </a:lnTo>
                      <a:lnTo>
                        <a:pt x="86" y="146"/>
                      </a:lnTo>
                      <a:lnTo>
                        <a:pt x="82" y="146"/>
                      </a:lnTo>
                      <a:lnTo>
                        <a:pt x="82" y="142"/>
                      </a:lnTo>
                      <a:lnTo>
                        <a:pt x="82" y="146"/>
                      </a:lnTo>
                      <a:lnTo>
                        <a:pt x="78" y="146"/>
                      </a:lnTo>
                      <a:lnTo>
                        <a:pt x="78" y="150"/>
                      </a:lnTo>
                      <a:lnTo>
                        <a:pt x="74" y="150"/>
                      </a:lnTo>
                      <a:lnTo>
                        <a:pt x="74" y="154"/>
                      </a:lnTo>
                      <a:lnTo>
                        <a:pt x="70" y="158"/>
                      </a:lnTo>
                      <a:lnTo>
                        <a:pt x="68" y="162"/>
                      </a:lnTo>
                      <a:lnTo>
                        <a:pt x="64" y="162"/>
                      </a:lnTo>
                      <a:lnTo>
                        <a:pt x="60" y="158"/>
                      </a:lnTo>
                      <a:lnTo>
                        <a:pt x="60" y="162"/>
                      </a:lnTo>
                      <a:lnTo>
                        <a:pt x="64" y="162"/>
                      </a:lnTo>
                      <a:lnTo>
                        <a:pt x="64" y="166"/>
                      </a:lnTo>
                      <a:lnTo>
                        <a:pt x="64" y="168"/>
                      </a:lnTo>
                      <a:lnTo>
                        <a:pt x="64" y="172"/>
                      </a:lnTo>
                      <a:lnTo>
                        <a:pt x="64" y="176"/>
                      </a:lnTo>
                      <a:lnTo>
                        <a:pt x="68" y="176"/>
                      </a:lnTo>
                      <a:lnTo>
                        <a:pt x="68" y="180"/>
                      </a:lnTo>
                      <a:lnTo>
                        <a:pt x="68" y="184"/>
                      </a:lnTo>
                      <a:lnTo>
                        <a:pt x="68" y="188"/>
                      </a:lnTo>
                      <a:lnTo>
                        <a:pt x="68" y="192"/>
                      </a:lnTo>
                      <a:lnTo>
                        <a:pt x="70" y="192"/>
                      </a:lnTo>
                      <a:lnTo>
                        <a:pt x="70" y="196"/>
                      </a:lnTo>
                      <a:lnTo>
                        <a:pt x="70" y="198"/>
                      </a:lnTo>
                      <a:lnTo>
                        <a:pt x="70" y="202"/>
                      </a:lnTo>
                      <a:lnTo>
                        <a:pt x="70" y="206"/>
                      </a:lnTo>
                      <a:lnTo>
                        <a:pt x="70" y="210"/>
                      </a:lnTo>
                      <a:lnTo>
                        <a:pt x="70" y="206"/>
                      </a:lnTo>
                      <a:lnTo>
                        <a:pt x="70" y="202"/>
                      </a:lnTo>
                      <a:lnTo>
                        <a:pt x="74" y="202"/>
                      </a:lnTo>
                      <a:lnTo>
                        <a:pt x="74" y="206"/>
                      </a:lnTo>
                      <a:lnTo>
                        <a:pt x="74" y="210"/>
                      </a:lnTo>
                      <a:lnTo>
                        <a:pt x="74" y="214"/>
                      </a:lnTo>
                      <a:lnTo>
                        <a:pt x="74" y="218"/>
                      </a:lnTo>
                      <a:lnTo>
                        <a:pt x="74" y="222"/>
                      </a:lnTo>
                      <a:lnTo>
                        <a:pt x="74" y="226"/>
                      </a:lnTo>
                      <a:lnTo>
                        <a:pt x="70" y="228"/>
                      </a:lnTo>
                      <a:lnTo>
                        <a:pt x="70" y="232"/>
                      </a:lnTo>
                      <a:lnTo>
                        <a:pt x="70" y="236"/>
                      </a:lnTo>
                      <a:lnTo>
                        <a:pt x="70" y="232"/>
                      </a:lnTo>
                      <a:lnTo>
                        <a:pt x="74" y="232"/>
                      </a:lnTo>
                      <a:lnTo>
                        <a:pt x="74" y="236"/>
                      </a:lnTo>
                      <a:lnTo>
                        <a:pt x="74" y="240"/>
                      </a:lnTo>
                      <a:lnTo>
                        <a:pt x="70" y="240"/>
                      </a:lnTo>
                      <a:lnTo>
                        <a:pt x="70" y="244"/>
                      </a:lnTo>
                      <a:lnTo>
                        <a:pt x="70" y="248"/>
                      </a:lnTo>
                      <a:lnTo>
                        <a:pt x="68" y="248"/>
                      </a:lnTo>
                      <a:lnTo>
                        <a:pt x="64" y="252"/>
                      </a:lnTo>
                      <a:lnTo>
                        <a:pt x="60" y="252"/>
                      </a:lnTo>
                      <a:lnTo>
                        <a:pt x="56" y="252"/>
                      </a:lnTo>
                      <a:lnTo>
                        <a:pt x="56" y="254"/>
                      </a:lnTo>
                      <a:lnTo>
                        <a:pt x="52" y="254"/>
                      </a:lnTo>
                      <a:lnTo>
                        <a:pt x="48" y="254"/>
                      </a:lnTo>
                      <a:lnTo>
                        <a:pt x="44" y="258"/>
                      </a:lnTo>
                      <a:lnTo>
                        <a:pt x="42" y="258"/>
                      </a:lnTo>
                      <a:lnTo>
                        <a:pt x="42" y="262"/>
                      </a:lnTo>
                      <a:lnTo>
                        <a:pt x="38" y="262"/>
                      </a:lnTo>
                      <a:lnTo>
                        <a:pt x="38" y="266"/>
                      </a:lnTo>
                      <a:lnTo>
                        <a:pt x="34" y="266"/>
                      </a:lnTo>
                      <a:lnTo>
                        <a:pt x="34" y="270"/>
                      </a:lnTo>
                      <a:lnTo>
                        <a:pt x="34" y="274"/>
                      </a:lnTo>
                      <a:lnTo>
                        <a:pt x="34" y="278"/>
                      </a:lnTo>
                      <a:lnTo>
                        <a:pt x="38" y="278"/>
                      </a:lnTo>
                      <a:lnTo>
                        <a:pt x="38" y="274"/>
                      </a:lnTo>
                      <a:lnTo>
                        <a:pt x="38" y="278"/>
                      </a:lnTo>
                      <a:lnTo>
                        <a:pt x="38" y="284"/>
                      </a:lnTo>
                      <a:lnTo>
                        <a:pt x="38" y="288"/>
                      </a:lnTo>
                      <a:lnTo>
                        <a:pt x="34" y="288"/>
                      </a:lnTo>
                      <a:lnTo>
                        <a:pt x="30" y="288"/>
                      </a:lnTo>
                      <a:lnTo>
                        <a:pt x="26" y="288"/>
                      </a:lnTo>
                      <a:lnTo>
                        <a:pt x="26" y="288"/>
                      </a:lnTo>
                      <a:lnTo>
                        <a:pt x="26" y="288"/>
                      </a:lnTo>
                      <a:close/>
                      <a:moveTo>
                        <a:pt x="74" y="198"/>
                      </a:moveTo>
                      <a:lnTo>
                        <a:pt x="70" y="198"/>
                      </a:lnTo>
                      <a:lnTo>
                        <a:pt x="70" y="196"/>
                      </a:lnTo>
                      <a:lnTo>
                        <a:pt x="74" y="192"/>
                      </a:lnTo>
                      <a:lnTo>
                        <a:pt x="74" y="196"/>
                      </a:lnTo>
                      <a:lnTo>
                        <a:pt x="74" y="198"/>
                      </a:lnTo>
                      <a:lnTo>
                        <a:pt x="74" y="198"/>
                      </a:lnTo>
                      <a:lnTo>
                        <a:pt x="74" y="19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14" name="Freeform 160"/>
                <p:cNvSpPr>
                  <a:spLocks/>
                </p:cNvSpPr>
                <p:nvPr/>
              </p:nvSpPr>
              <p:spPr bwMode="auto">
                <a:xfrm>
                  <a:off x="4654550" y="5022918"/>
                  <a:ext cx="307975" cy="339725"/>
                </a:xfrm>
                <a:custGeom>
                  <a:avLst/>
                  <a:gdLst>
                    <a:gd name="T0" fmla="*/ 120 w 194"/>
                    <a:gd name="T1" fmla="*/ 124 h 214"/>
                    <a:gd name="T2" fmla="*/ 120 w 194"/>
                    <a:gd name="T3" fmla="*/ 140 h 214"/>
                    <a:gd name="T4" fmla="*/ 120 w 194"/>
                    <a:gd name="T5" fmla="*/ 154 h 214"/>
                    <a:gd name="T6" fmla="*/ 120 w 194"/>
                    <a:gd name="T7" fmla="*/ 184 h 214"/>
                    <a:gd name="T8" fmla="*/ 120 w 194"/>
                    <a:gd name="T9" fmla="*/ 202 h 214"/>
                    <a:gd name="T10" fmla="*/ 108 w 194"/>
                    <a:gd name="T11" fmla="*/ 210 h 214"/>
                    <a:gd name="T12" fmla="*/ 96 w 194"/>
                    <a:gd name="T13" fmla="*/ 214 h 214"/>
                    <a:gd name="T14" fmla="*/ 86 w 194"/>
                    <a:gd name="T15" fmla="*/ 210 h 214"/>
                    <a:gd name="T16" fmla="*/ 82 w 194"/>
                    <a:gd name="T17" fmla="*/ 198 h 214"/>
                    <a:gd name="T18" fmla="*/ 74 w 194"/>
                    <a:gd name="T19" fmla="*/ 198 h 214"/>
                    <a:gd name="T20" fmla="*/ 66 w 194"/>
                    <a:gd name="T21" fmla="*/ 206 h 214"/>
                    <a:gd name="T22" fmla="*/ 60 w 194"/>
                    <a:gd name="T23" fmla="*/ 194 h 214"/>
                    <a:gd name="T24" fmla="*/ 56 w 194"/>
                    <a:gd name="T25" fmla="*/ 190 h 214"/>
                    <a:gd name="T26" fmla="*/ 52 w 194"/>
                    <a:gd name="T27" fmla="*/ 176 h 214"/>
                    <a:gd name="T28" fmla="*/ 48 w 194"/>
                    <a:gd name="T29" fmla="*/ 166 h 214"/>
                    <a:gd name="T30" fmla="*/ 44 w 194"/>
                    <a:gd name="T31" fmla="*/ 154 h 214"/>
                    <a:gd name="T32" fmla="*/ 44 w 194"/>
                    <a:gd name="T33" fmla="*/ 140 h 214"/>
                    <a:gd name="T34" fmla="*/ 40 w 194"/>
                    <a:gd name="T35" fmla="*/ 128 h 214"/>
                    <a:gd name="T36" fmla="*/ 40 w 194"/>
                    <a:gd name="T37" fmla="*/ 114 h 214"/>
                    <a:gd name="T38" fmla="*/ 40 w 194"/>
                    <a:gd name="T39" fmla="*/ 98 h 214"/>
                    <a:gd name="T40" fmla="*/ 34 w 194"/>
                    <a:gd name="T41" fmla="*/ 86 h 214"/>
                    <a:gd name="T42" fmla="*/ 30 w 194"/>
                    <a:gd name="T43" fmla="*/ 76 h 214"/>
                    <a:gd name="T44" fmla="*/ 22 w 194"/>
                    <a:gd name="T45" fmla="*/ 64 h 214"/>
                    <a:gd name="T46" fmla="*/ 18 w 194"/>
                    <a:gd name="T47" fmla="*/ 54 h 214"/>
                    <a:gd name="T48" fmla="*/ 14 w 194"/>
                    <a:gd name="T49" fmla="*/ 42 h 214"/>
                    <a:gd name="T50" fmla="*/ 8 w 194"/>
                    <a:gd name="T51" fmla="*/ 30 h 214"/>
                    <a:gd name="T52" fmla="*/ 4 w 194"/>
                    <a:gd name="T53" fmla="*/ 20 h 214"/>
                    <a:gd name="T54" fmla="*/ 4 w 194"/>
                    <a:gd name="T55" fmla="*/ 8 h 214"/>
                    <a:gd name="T56" fmla="*/ 14 w 194"/>
                    <a:gd name="T57" fmla="*/ 4 h 214"/>
                    <a:gd name="T58" fmla="*/ 30 w 194"/>
                    <a:gd name="T59" fmla="*/ 4 h 214"/>
                    <a:gd name="T60" fmla="*/ 40 w 194"/>
                    <a:gd name="T61" fmla="*/ 8 h 214"/>
                    <a:gd name="T62" fmla="*/ 64 w 194"/>
                    <a:gd name="T63" fmla="*/ 8 h 214"/>
                    <a:gd name="T64" fmla="*/ 90 w 194"/>
                    <a:gd name="T65" fmla="*/ 8 h 214"/>
                    <a:gd name="T66" fmla="*/ 100 w 194"/>
                    <a:gd name="T67" fmla="*/ 16 h 214"/>
                    <a:gd name="T68" fmla="*/ 116 w 194"/>
                    <a:gd name="T69" fmla="*/ 16 h 214"/>
                    <a:gd name="T70" fmla="*/ 126 w 194"/>
                    <a:gd name="T71" fmla="*/ 20 h 214"/>
                    <a:gd name="T72" fmla="*/ 138 w 194"/>
                    <a:gd name="T73" fmla="*/ 20 h 214"/>
                    <a:gd name="T74" fmla="*/ 160 w 194"/>
                    <a:gd name="T75" fmla="*/ 12 h 214"/>
                    <a:gd name="T76" fmla="*/ 176 w 194"/>
                    <a:gd name="T77" fmla="*/ 8 h 214"/>
                    <a:gd name="T78" fmla="*/ 190 w 194"/>
                    <a:gd name="T79" fmla="*/ 8 h 214"/>
                    <a:gd name="T80" fmla="*/ 186 w 194"/>
                    <a:gd name="T81" fmla="*/ 16 h 214"/>
                    <a:gd name="T82" fmla="*/ 178 w 194"/>
                    <a:gd name="T83" fmla="*/ 20 h 214"/>
                    <a:gd name="T84" fmla="*/ 172 w 194"/>
                    <a:gd name="T85" fmla="*/ 28 h 214"/>
                    <a:gd name="T86" fmla="*/ 164 w 194"/>
                    <a:gd name="T87" fmla="*/ 20 h 214"/>
                    <a:gd name="T88" fmla="*/ 146 w 194"/>
                    <a:gd name="T89" fmla="*/ 24 h 214"/>
                    <a:gd name="T90" fmla="*/ 134 w 194"/>
                    <a:gd name="T91" fmla="*/ 30 h 214"/>
                    <a:gd name="T92" fmla="*/ 134 w 194"/>
                    <a:gd name="T93" fmla="*/ 68 h 214"/>
                    <a:gd name="T94" fmla="*/ 134 w 194"/>
                    <a:gd name="T95" fmla="*/ 86 h 214"/>
                    <a:gd name="T96" fmla="*/ 122 w 194"/>
                    <a:gd name="T97" fmla="*/ 90 h 214"/>
                    <a:gd name="T98" fmla="*/ 120 w 194"/>
                    <a:gd name="T99" fmla="*/ 102 h 214"/>
                    <a:gd name="T100" fmla="*/ 120 w 194"/>
                    <a:gd name="T101" fmla="*/ 114 h 2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94" h="214">
                      <a:moveTo>
                        <a:pt x="120" y="114"/>
                      </a:moveTo>
                      <a:lnTo>
                        <a:pt x="120" y="116"/>
                      </a:lnTo>
                      <a:lnTo>
                        <a:pt x="120" y="120"/>
                      </a:lnTo>
                      <a:lnTo>
                        <a:pt x="120" y="124"/>
                      </a:lnTo>
                      <a:lnTo>
                        <a:pt x="120" y="128"/>
                      </a:lnTo>
                      <a:lnTo>
                        <a:pt x="120" y="132"/>
                      </a:lnTo>
                      <a:lnTo>
                        <a:pt x="120" y="136"/>
                      </a:lnTo>
                      <a:lnTo>
                        <a:pt x="120" y="140"/>
                      </a:lnTo>
                      <a:lnTo>
                        <a:pt x="120" y="144"/>
                      </a:lnTo>
                      <a:lnTo>
                        <a:pt x="120" y="146"/>
                      </a:lnTo>
                      <a:lnTo>
                        <a:pt x="120" y="150"/>
                      </a:lnTo>
                      <a:lnTo>
                        <a:pt x="120" y="154"/>
                      </a:lnTo>
                      <a:lnTo>
                        <a:pt x="120" y="158"/>
                      </a:lnTo>
                      <a:lnTo>
                        <a:pt x="120" y="168"/>
                      </a:lnTo>
                      <a:lnTo>
                        <a:pt x="120" y="180"/>
                      </a:lnTo>
                      <a:lnTo>
                        <a:pt x="120" y="184"/>
                      </a:lnTo>
                      <a:lnTo>
                        <a:pt x="120" y="186"/>
                      </a:lnTo>
                      <a:lnTo>
                        <a:pt x="120" y="194"/>
                      </a:lnTo>
                      <a:lnTo>
                        <a:pt x="120" y="198"/>
                      </a:lnTo>
                      <a:lnTo>
                        <a:pt x="120" y="202"/>
                      </a:lnTo>
                      <a:lnTo>
                        <a:pt x="116" y="206"/>
                      </a:lnTo>
                      <a:lnTo>
                        <a:pt x="112" y="206"/>
                      </a:lnTo>
                      <a:lnTo>
                        <a:pt x="112" y="210"/>
                      </a:lnTo>
                      <a:lnTo>
                        <a:pt x="108" y="210"/>
                      </a:lnTo>
                      <a:lnTo>
                        <a:pt x="108" y="214"/>
                      </a:lnTo>
                      <a:lnTo>
                        <a:pt x="104" y="214"/>
                      </a:lnTo>
                      <a:lnTo>
                        <a:pt x="100" y="210"/>
                      </a:lnTo>
                      <a:lnTo>
                        <a:pt x="96" y="214"/>
                      </a:lnTo>
                      <a:lnTo>
                        <a:pt x="94" y="214"/>
                      </a:lnTo>
                      <a:lnTo>
                        <a:pt x="90" y="214"/>
                      </a:lnTo>
                      <a:lnTo>
                        <a:pt x="90" y="210"/>
                      </a:lnTo>
                      <a:lnTo>
                        <a:pt x="86" y="210"/>
                      </a:lnTo>
                      <a:lnTo>
                        <a:pt x="82" y="210"/>
                      </a:lnTo>
                      <a:lnTo>
                        <a:pt x="82" y="206"/>
                      </a:lnTo>
                      <a:lnTo>
                        <a:pt x="82" y="202"/>
                      </a:lnTo>
                      <a:lnTo>
                        <a:pt x="82" y="198"/>
                      </a:lnTo>
                      <a:lnTo>
                        <a:pt x="82" y="202"/>
                      </a:lnTo>
                      <a:lnTo>
                        <a:pt x="78" y="202"/>
                      </a:lnTo>
                      <a:lnTo>
                        <a:pt x="78" y="198"/>
                      </a:lnTo>
                      <a:lnTo>
                        <a:pt x="74" y="198"/>
                      </a:lnTo>
                      <a:lnTo>
                        <a:pt x="74" y="202"/>
                      </a:lnTo>
                      <a:lnTo>
                        <a:pt x="74" y="206"/>
                      </a:lnTo>
                      <a:lnTo>
                        <a:pt x="70" y="206"/>
                      </a:lnTo>
                      <a:lnTo>
                        <a:pt x="66" y="206"/>
                      </a:lnTo>
                      <a:lnTo>
                        <a:pt x="64" y="202"/>
                      </a:lnTo>
                      <a:lnTo>
                        <a:pt x="64" y="198"/>
                      </a:lnTo>
                      <a:lnTo>
                        <a:pt x="60" y="198"/>
                      </a:lnTo>
                      <a:lnTo>
                        <a:pt x="60" y="194"/>
                      </a:lnTo>
                      <a:lnTo>
                        <a:pt x="56" y="194"/>
                      </a:lnTo>
                      <a:lnTo>
                        <a:pt x="60" y="194"/>
                      </a:lnTo>
                      <a:lnTo>
                        <a:pt x="56" y="194"/>
                      </a:lnTo>
                      <a:lnTo>
                        <a:pt x="56" y="190"/>
                      </a:lnTo>
                      <a:lnTo>
                        <a:pt x="52" y="186"/>
                      </a:lnTo>
                      <a:lnTo>
                        <a:pt x="52" y="184"/>
                      </a:lnTo>
                      <a:lnTo>
                        <a:pt x="52" y="180"/>
                      </a:lnTo>
                      <a:lnTo>
                        <a:pt x="52" y="176"/>
                      </a:lnTo>
                      <a:lnTo>
                        <a:pt x="48" y="172"/>
                      </a:lnTo>
                      <a:lnTo>
                        <a:pt x="52" y="172"/>
                      </a:lnTo>
                      <a:lnTo>
                        <a:pt x="48" y="168"/>
                      </a:lnTo>
                      <a:lnTo>
                        <a:pt x="48" y="166"/>
                      </a:lnTo>
                      <a:lnTo>
                        <a:pt x="48" y="162"/>
                      </a:lnTo>
                      <a:lnTo>
                        <a:pt x="48" y="158"/>
                      </a:lnTo>
                      <a:lnTo>
                        <a:pt x="44" y="158"/>
                      </a:lnTo>
                      <a:lnTo>
                        <a:pt x="44" y="154"/>
                      </a:lnTo>
                      <a:lnTo>
                        <a:pt x="44" y="150"/>
                      </a:lnTo>
                      <a:lnTo>
                        <a:pt x="44" y="146"/>
                      </a:lnTo>
                      <a:lnTo>
                        <a:pt x="44" y="144"/>
                      </a:lnTo>
                      <a:lnTo>
                        <a:pt x="44" y="140"/>
                      </a:lnTo>
                      <a:lnTo>
                        <a:pt x="44" y="136"/>
                      </a:lnTo>
                      <a:lnTo>
                        <a:pt x="40" y="136"/>
                      </a:lnTo>
                      <a:lnTo>
                        <a:pt x="40" y="132"/>
                      </a:lnTo>
                      <a:lnTo>
                        <a:pt x="40" y="128"/>
                      </a:lnTo>
                      <a:lnTo>
                        <a:pt x="40" y="124"/>
                      </a:lnTo>
                      <a:lnTo>
                        <a:pt x="40" y="120"/>
                      </a:lnTo>
                      <a:lnTo>
                        <a:pt x="40" y="116"/>
                      </a:lnTo>
                      <a:lnTo>
                        <a:pt x="40" y="114"/>
                      </a:lnTo>
                      <a:lnTo>
                        <a:pt x="40" y="110"/>
                      </a:lnTo>
                      <a:lnTo>
                        <a:pt x="40" y="106"/>
                      </a:lnTo>
                      <a:lnTo>
                        <a:pt x="40" y="102"/>
                      </a:lnTo>
                      <a:lnTo>
                        <a:pt x="40" y="98"/>
                      </a:lnTo>
                      <a:lnTo>
                        <a:pt x="40" y="94"/>
                      </a:lnTo>
                      <a:lnTo>
                        <a:pt x="38" y="90"/>
                      </a:lnTo>
                      <a:lnTo>
                        <a:pt x="38" y="86"/>
                      </a:lnTo>
                      <a:lnTo>
                        <a:pt x="34" y="86"/>
                      </a:lnTo>
                      <a:lnTo>
                        <a:pt x="34" y="84"/>
                      </a:lnTo>
                      <a:lnTo>
                        <a:pt x="34" y="80"/>
                      </a:lnTo>
                      <a:lnTo>
                        <a:pt x="30" y="80"/>
                      </a:lnTo>
                      <a:lnTo>
                        <a:pt x="30" y="76"/>
                      </a:lnTo>
                      <a:lnTo>
                        <a:pt x="30" y="72"/>
                      </a:lnTo>
                      <a:lnTo>
                        <a:pt x="26" y="68"/>
                      </a:lnTo>
                      <a:lnTo>
                        <a:pt x="26" y="64"/>
                      </a:lnTo>
                      <a:lnTo>
                        <a:pt x="22" y="64"/>
                      </a:lnTo>
                      <a:lnTo>
                        <a:pt x="22" y="60"/>
                      </a:lnTo>
                      <a:lnTo>
                        <a:pt x="22" y="58"/>
                      </a:lnTo>
                      <a:lnTo>
                        <a:pt x="22" y="54"/>
                      </a:lnTo>
                      <a:lnTo>
                        <a:pt x="18" y="54"/>
                      </a:lnTo>
                      <a:lnTo>
                        <a:pt x="18" y="50"/>
                      </a:lnTo>
                      <a:lnTo>
                        <a:pt x="18" y="46"/>
                      </a:lnTo>
                      <a:lnTo>
                        <a:pt x="14" y="46"/>
                      </a:lnTo>
                      <a:lnTo>
                        <a:pt x="14" y="42"/>
                      </a:lnTo>
                      <a:lnTo>
                        <a:pt x="14" y="38"/>
                      </a:lnTo>
                      <a:lnTo>
                        <a:pt x="12" y="34"/>
                      </a:lnTo>
                      <a:lnTo>
                        <a:pt x="12" y="30"/>
                      </a:lnTo>
                      <a:lnTo>
                        <a:pt x="8" y="30"/>
                      </a:lnTo>
                      <a:lnTo>
                        <a:pt x="8" y="28"/>
                      </a:lnTo>
                      <a:lnTo>
                        <a:pt x="8" y="24"/>
                      </a:lnTo>
                      <a:lnTo>
                        <a:pt x="4" y="24"/>
                      </a:lnTo>
                      <a:lnTo>
                        <a:pt x="4" y="20"/>
                      </a:lnTo>
                      <a:lnTo>
                        <a:pt x="4" y="16"/>
                      </a:lnTo>
                      <a:lnTo>
                        <a:pt x="0" y="12"/>
                      </a:lnTo>
                      <a:lnTo>
                        <a:pt x="0" y="8"/>
                      </a:lnTo>
                      <a:lnTo>
                        <a:pt x="4" y="8"/>
                      </a:lnTo>
                      <a:lnTo>
                        <a:pt x="4" y="4"/>
                      </a:lnTo>
                      <a:lnTo>
                        <a:pt x="8" y="4"/>
                      </a:lnTo>
                      <a:lnTo>
                        <a:pt x="12" y="4"/>
                      </a:lnTo>
                      <a:lnTo>
                        <a:pt x="14" y="4"/>
                      </a:lnTo>
                      <a:lnTo>
                        <a:pt x="18" y="0"/>
                      </a:lnTo>
                      <a:lnTo>
                        <a:pt x="22" y="0"/>
                      </a:lnTo>
                      <a:lnTo>
                        <a:pt x="26" y="0"/>
                      </a:lnTo>
                      <a:lnTo>
                        <a:pt x="30" y="4"/>
                      </a:lnTo>
                      <a:lnTo>
                        <a:pt x="34" y="4"/>
                      </a:lnTo>
                      <a:lnTo>
                        <a:pt x="34" y="8"/>
                      </a:lnTo>
                      <a:lnTo>
                        <a:pt x="38" y="8"/>
                      </a:lnTo>
                      <a:lnTo>
                        <a:pt x="40" y="8"/>
                      </a:lnTo>
                      <a:lnTo>
                        <a:pt x="44" y="8"/>
                      </a:lnTo>
                      <a:lnTo>
                        <a:pt x="48" y="8"/>
                      </a:lnTo>
                      <a:lnTo>
                        <a:pt x="56" y="8"/>
                      </a:lnTo>
                      <a:lnTo>
                        <a:pt x="64" y="8"/>
                      </a:lnTo>
                      <a:lnTo>
                        <a:pt x="70" y="8"/>
                      </a:lnTo>
                      <a:lnTo>
                        <a:pt x="82" y="8"/>
                      </a:lnTo>
                      <a:lnTo>
                        <a:pt x="86" y="8"/>
                      </a:lnTo>
                      <a:lnTo>
                        <a:pt x="90" y="8"/>
                      </a:lnTo>
                      <a:lnTo>
                        <a:pt x="94" y="8"/>
                      </a:lnTo>
                      <a:lnTo>
                        <a:pt x="96" y="8"/>
                      </a:lnTo>
                      <a:lnTo>
                        <a:pt x="100" y="12"/>
                      </a:lnTo>
                      <a:lnTo>
                        <a:pt x="100" y="16"/>
                      </a:lnTo>
                      <a:lnTo>
                        <a:pt x="104" y="16"/>
                      </a:lnTo>
                      <a:lnTo>
                        <a:pt x="108" y="16"/>
                      </a:lnTo>
                      <a:lnTo>
                        <a:pt x="112" y="16"/>
                      </a:lnTo>
                      <a:lnTo>
                        <a:pt x="116" y="16"/>
                      </a:lnTo>
                      <a:lnTo>
                        <a:pt x="120" y="16"/>
                      </a:lnTo>
                      <a:lnTo>
                        <a:pt x="122" y="16"/>
                      </a:lnTo>
                      <a:lnTo>
                        <a:pt x="126" y="16"/>
                      </a:lnTo>
                      <a:lnTo>
                        <a:pt x="126" y="20"/>
                      </a:lnTo>
                      <a:lnTo>
                        <a:pt x="130" y="20"/>
                      </a:lnTo>
                      <a:lnTo>
                        <a:pt x="134" y="16"/>
                      </a:lnTo>
                      <a:lnTo>
                        <a:pt x="138" y="16"/>
                      </a:lnTo>
                      <a:lnTo>
                        <a:pt x="138" y="20"/>
                      </a:lnTo>
                      <a:lnTo>
                        <a:pt x="146" y="16"/>
                      </a:lnTo>
                      <a:lnTo>
                        <a:pt x="152" y="16"/>
                      </a:lnTo>
                      <a:lnTo>
                        <a:pt x="156" y="16"/>
                      </a:lnTo>
                      <a:lnTo>
                        <a:pt x="160" y="12"/>
                      </a:lnTo>
                      <a:lnTo>
                        <a:pt x="164" y="12"/>
                      </a:lnTo>
                      <a:lnTo>
                        <a:pt x="168" y="12"/>
                      </a:lnTo>
                      <a:lnTo>
                        <a:pt x="172" y="12"/>
                      </a:lnTo>
                      <a:lnTo>
                        <a:pt x="176" y="8"/>
                      </a:lnTo>
                      <a:lnTo>
                        <a:pt x="178" y="8"/>
                      </a:lnTo>
                      <a:lnTo>
                        <a:pt x="182" y="8"/>
                      </a:lnTo>
                      <a:lnTo>
                        <a:pt x="186" y="8"/>
                      </a:lnTo>
                      <a:lnTo>
                        <a:pt x="190" y="8"/>
                      </a:lnTo>
                      <a:lnTo>
                        <a:pt x="190" y="12"/>
                      </a:lnTo>
                      <a:lnTo>
                        <a:pt x="194" y="16"/>
                      </a:lnTo>
                      <a:lnTo>
                        <a:pt x="190" y="16"/>
                      </a:lnTo>
                      <a:lnTo>
                        <a:pt x="186" y="16"/>
                      </a:lnTo>
                      <a:lnTo>
                        <a:pt x="182" y="20"/>
                      </a:lnTo>
                      <a:lnTo>
                        <a:pt x="182" y="16"/>
                      </a:lnTo>
                      <a:lnTo>
                        <a:pt x="178" y="16"/>
                      </a:lnTo>
                      <a:lnTo>
                        <a:pt x="178" y="20"/>
                      </a:lnTo>
                      <a:lnTo>
                        <a:pt x="176" y="20"/>
                      </a:lnTo>
                      <a:lnTo>
                        <a:pt x="176" y="24"/>
                      </a:lnTo>
                      <a:lnTo>
                        <a:pt x="172" y="24"/>
                      </a:lnTo>
                      <a:lnTo>
                        <a:pt x="172" y="28"/>
                      </a:lnTo>
                      <a:lnTo>
                        <a:pt x="168" y="28"/>
                      </a:lnTo>
                      <a:lnTo>
                        <a:pt x="168" y="24"/>
                      </a:lnTo>
                      <a:lnTo>
                        <a:pt x="168" y="20"/>
                      </a:lnTo>
                      <a:lnTo>
                        <a:pt x="164" y="20"/>
                      </a:lnTo>
                      <a:lnTo>
                        <a:pt x="156" y="20"/>
                      </a:lnTo>
                      <a:lnTo>
                        <a:pt x="152" y="20"/>
                      </a:lnTo>
                      <a:lnTo>
                        <a:pt x="150" y="20"/>
                      </a:lnTo>
                      <a:lnTo>
                        <a:pt x="146" y="24"/>
                      </a:lnTo>
                      <a:lnTo>
                        <a:pt x="138" y="24"/>
                      </a:lnTo>
                      <a:lnTo>
                        <a:pt x="134" y="24"/>
                      </a:lnTo>
                      <a:lnTo>
                        <a:pt x="134" y="28"/>
                      </a:lnTo>
                      <a:lnTo>
                        <a:pt x="134" y="30"/>
                      </a:lnTo>
                      <a:lnTo>
                        <a:pt x="134" y="38"/>
                      </a:lnTo>
                      <a:lnTo>
                        <a:pt x="134" y="54"/>
                      </a:lnTo>
                      <a:lnTo>
                        <a:pt x="134" y="58"/>
                      </a:lnTo>
                      <a:lnTo>
                        <a:pt x="134" y="68"/>
                      </a:lnTo>
                      <a:lnTo>
                        <a:pt x="134" y="72"/>
                      </a:lnTo>
                      <a:lnTo>
                        <a:pt x="134" y="76"/>
                      </a:lnTo>
                      <a:lnTo>
                        <a:pt x="134" y="84"/>
                      </a:lnTo>
                      <a:lnTo>
                        <a:pt x="134" y="86"/>
                      </a:lnTo>
                      <a:lnTo>
                        <a:pt x="134" y="90"/>
                      </a:lnTo>
                      <a:lnTo>
                        <a:pt x="130" y="90"/>
                      </a:lnTo>
                      <a:lnTo>
                        <a:pt x="126" y="90"/>
                      </a:lnTo>
                      <a:lnTo>
                        <a:pt x="122" y="90"/>
                      </a:lnTo>
                      <a:lnTo>
                        <a:pt x="120" y="90"/>
                      </a:lnTo>
                      <a:lnTo>
                        <a:pt x="120" y="94"/>
                      </a:lnTo>
                      <a:lnTo>
                        <a:pt x="120" y="98"/>
                      </a:lnTo>
                      <a:lnTo>
                        <a:pt x="120" y="102"/>
                      </a:lnTo>
                      <a:lnTo>
                        <a:pt x="120" y="106"/>
                      </a:lnTo>
                      <a:lnTo>
                        <a:pt x="120" y="110"/>
                      </a:lnTo>
                      <a:lnTo>
                        <a:pt x="120" y="114"/>
                      </a:lnTo>
                      <a:lnTo>
                        <a:pt x="120" y="114"/>
                      </a:lnTo>
                      <a:lnTo>
                        <a:pt x="120" y="1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15" name="Freeform 161"/>
                <p:cNvSpPr>
                  <a:spLocks/>
                </p:cNvSpPr>
                <p:nvPr/>
              </p:nvSpPr>
              <p:spPr bwMode="auto">
                <a:xfrm>
                  <a:off x="4400550" y="3911668"/>
                  <a:ext cx="355600" cy="330200"/>
                </a:xfrm>
                <a:custGeom>
                  <a:avLst/>
                  <a:gdLst>
                    <a:gd name="T0" fmla="*/ 84 w 224"/>
                    <a:gd name="T1" fmla="*/ 174 h 208"/>
                    <a:gd name="T2" fmla="*/ 80 w 224"/>
                    <a:gd name="T3" fmla="*/ 172 h 208"/>
                    <a:gd name="T4" fmla="*/ 70 w 224"/>
                    <a:gd name="T5" fmla="*/ 172 h 208"/>
                    <a:gd name="T6" fmla="*/ 60 w 224"/>
                    <a:gd name="T7" fmla="*/ 172 h 208"/>
                    <a:gd name="T8" fmla="*/ 52 w 224"/>
                    <a:gd name="T9" fmla="*/ 186 h 208"/>
                    <a:gd name="T10" fmla="*/ 48 w 224"/>
                    <a:gd name="T11" fmla="*/ 202 h 208"/>
                    <a:gd name="T12" fmla="*/ 48 w 224"/>
                    <a:gd name="T13" fmla="*/ 208 h 208"/>
                    <a:gd name="T14" fmla="*/ 44 w 224"/>
                    <a:gd name="T15" fmla="*/ 204 h 208"/>
                    <a:gd name="T16" fmla="*/ 36 w 224"/>
                    <a:gd name="T17" fmla="*/ 198 h 208"/>
                    <a:gd name="T18" fmla="*/ 30 w 224"/>
                    <a:gd name="T19" fmla="*/ 198 h 208"/>
                    <a:gd name="T20" fmla="*/ 30 w 224"/>
                    <a:gd name="T21" fmla="*/ 202 h 208"/>
                    <a:gd name="T22" fmla="*/ 26 w 224"/>
                    <a:gd name="T23" fmla="*/ 190 h 208"/>
                    <a:gd name="T24" fmla="*/ 14 w 224"/>
                    <a:gd name="T25" fmla="*/ 186 h 208"/>
                    <a:gd name="T26" fmla="*/ 10 w 224"/>
                    <a:gd name="T27" fmla="*/ 178 h 208"/>
                    <a:gd name="T28" fmla="*/ 14 w 224"/>
                    <a:gd name="T29" fmla="*/ 178 h 208"/>
                    <a:gd name="T30" fmla="*/ 8 w 224"/>
                    <a:gd name="T31" fmla="*/ 174 h 208"/>
                    <a:gd name="T32" fmla="*/ 4 w 224"/>
                    <a:gd name="T33" fmla="*/ 164 h 208"/>
                    <a:gd name="T34" fmla="*/ 0 w 224"/>
                    <a:gd name="T35" fmla="*/ 156 h 208"/>
                    <a:gd name="T36" fmla="*/ 0 w 224"/>
                    <a:gd name="T37" fmla="*/ 148 h 208"/>
                    <a:gd name="T38" fmla="*/ 4 w 224"/>
                    <a:gd name="T39" fmla="*/ 152 h 208"/>
                    <a:gd name="T40" fmla="*/ 10 w 224"/>
                    <a:gd name="T41" fmla="*/ 148 h 208"/>
                    <a:gd name="T42" fmla="*/ 36 w 224"/>
                    <a:gd name="T43" fmla="*/ 144 h 208"/>
                    <a:gd name="T44" fmla="*/ 48 w 224"/>
                    <a:gd name="T45" fmla="*/ 142 h 208"/>
                    <a:gd name="T46" fmla="*/ 52 w 224"/>
                    <a:gd name="T47" fmla="*/ 138 h 208"/>
                    <a:gd name="T48" fmla="*/ 56 w 224"/>
                    <a:gd name="T49" fmla="*/ 126 h 208"/>
                    <a:gd name="T50" fmla="*/ 56 w 224"/>
                    <a:gd name="T51" fmla="*/ 112 h 208"/>
                    <a:gd name="T52" fmla="*/ 56 w 224"/>
                    <a:gd name="T53" fmla="*/ 78 h 208"/>
                    <a:gd name="T54" fmla="*/ 74 w 224"/>
                    <a:gd name="T55" fmla="*/ 74 h 208"/>
                    <a:gd name="T56" fmla="*/ 88 w 224"/>
                    <a:gd name="T57" fmla="*/ 60 h 208"/>
                    <a:gd name="T58" fmla="*/ 118 w 224"/>
                    <a:gd name="T59" fmla="*/ 38 h 208"/>
                    <a:gd name="T60" fmla="*/ 144 w 224"/>
                    <a:gd name="T61" fmla="*/ 16 h 208"/>
                    <a:gd name="T62" fmla="*/ 168 w 224"/>
                    <a:gd name="T63" fmla="*/ 0 h 208"/>
                    <a:gd name="T64" fmla="*/ 182 w 224"/>
                    <a:gd name="T65" fmla="*/ 4 h 208"/>
                    <a:gd name="T66" fmla="*/ 190 w 224"/>
                    <a:gd name="T67" fmla="*/ 8 h 208"/>
                    <a:gd name="T68" fmla="*/ 204 w 224"/>
                    <a:gd name="T69" fmla="*/ 12 h 208"/>
                    <a:gd name="T70" fmla="*/ 212 w 224"/>
                    <a:gd name="T71" fmla="*/ 26 h 208"/>
                    <a:gd name="T72" fmla="*/ 216 w 224"/>
                    <a:gd name="T73" fmla="*/ 44 h 208"/>
                    <a:gd name="T74" fmla="*/ 216 w 224"/>
                    <a:gd name="T75" fmla="*/ 48 h 208"/>
                    <a:gd name="T76" fmla="*/ 220 w 224"/>
                    <a:gd name="T77" fmla="*/ 60 h 208"/>
                    <a:gd name="T78" fmla="*/ 216 w 224"/>
                    <a:gd name="T79" fmla="*/ 86 h 208"/>
                    <a:gd name="T80" fmla="*/ 216 w 224"/>
                    <a:gd name="T81" fmla="*/ 118 h 208"/>
                    <a:gd name="T82" fmla="*/ 200 w 224"/>
                    <a:gd name="T83" fmla="*/ 138 h 208"/>
                    <a:gd name="T84" fmla="*/ 190 w 224"/>
                    <a:gd name="T85" fmla="*/ 152 h 208"/>
                    <a:gd name="T86" fmla="*/ 190 w 224"/>
                    <a:gd name="T87" fmla="*/ 160 h 208"/>
                    <a:gd name="T88" fmla="*/ 186 w 224"/>
                    <a:gd name="T89" fmla="*/ 160 h 208"/>
                    <a:gd name="T90" fmla="*/ 182 w 224"/>
                    <a:gd name="T91" fmla="*/ 174 h 208"/>
                    <a:gd name="T92" fmla="*/ 174 w 224"/>
                    <a:gd name="T93" fmla="*/ 178 h 208"/>
                    <a:gd name="T94" fmla="*/ 174 w 224"/>
                    <a:gd name="T95" fmla="*/ 182 h 208"/>
                    <a:gd name="T96" fmla="*/ 164 w 224"/>
                    <a:gd name="T97" fmla="*/ 182 h 208"/>
                    <a:gd name="T98" fmla="*/ 156 w 224"/>
                    <a:gd name="T99" fmla="*/ 178 h 208"/>
                    <a:gd name="T100" fmla="*/ 152 w 224"/>
                    <a:gd name="T101" fmla="*/ 178 h 208"/>
                    <a:gd name="T102" fmla="*/ 148 w 224"/>
                    <a:gd name="T103" fmla="*/ 178 h 208"/>
                    <a:gd name="T104" fmla="*/ 144 w 224"/>
                    <a:gd name="T105" fmla="*/ 178 h 208"/>
                    <a:gd name="T106" fmla="*/ 138 w 224"/>
                    <a:gd name="T107" fmla="*/ 182 h 208"/>
                    <a:gd name="T108" fmla="*/ 134 w 224"/>
                    <a:gd name="T109" fmla="*/ 190 h 208"/>
                    <a:gd name="T110" fmla="*/ 122 w 224"/>
                    <a:gd name="T111" fmla="*/ 186 h 208"/>
                    <a:gd name="T112" fmla="*/ 114 w 224"/>
                    <a:gd name="T113" fmla="*/ 182 h 208"/>
                    <a:gd name="T114" fmla="*/ 110 w 224"/>
                    <a:gd name="T115" fmla="*/ 182 h 208"/>
                    <a:gd name="T116" fmla="*/ 100 w 224"/>
                    <a:gd name="T117" fmla="*/ 182 h 2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24" h="208">
                      <a:moveTo>
                        <a:pt x="96" y="186"/>
                      </a:moveTo>
                      <a:lnTo>
                        <a:pt x="92" y="186"/>
                      </a:lnTo>
                      <a:lnTo>
                        <a:pt x="92" y="182"/>
                      </a:lnTo>
                      <a:lnTo>
                        <a:pt x="92" y="182"/>
                      </a:lnTo>
                      <a:lnTo>
                        <a:pt x="88" y="178"/>
                      </a:lnTo>
                      <a:lnTo>
                        <a:pt x="88" y="178"/>
                      </a:lnTo>
                      <a:lnTo>
                        <a:pt x="84" y="174"/>
                      </a:lnTo>
                      <a:lnTo>
                        <a:pt x="84" y="174"/>
                      </a:lnTo>
                      <a:lnTo>
                        <a:pt x="84" y="174"/>
                      </a:lnTo>
                      <a:lnTo>
                        <a:pt x="84" y="174"/>
                      </a:lnTo>
                      <a:lnTo>
                        <a:pt x="84" y="174"/>
                      </a:lnTo>
                      <a:lnTo>
                        <a:pt x="80" y="174"/>
                      </a:lnTo>
                      <a:lnTo>
                        <a:pt x="80" y="172"/>
                      </a:lnTo>
                      <a:lnTo>
                        <a:pt x="80" y="172"/>
                      </a:lnTo>
                      <a:lnTo>
                        <a:pt x="78" y="172"/>
                      </a:lnTo>
                      <a:lnTo>
                        <a:pt x="78" y="172"/>
                      </a:lnTo>
                      <a:lnTo>
                        <a:pt x="74" y="172"/>
                      </a:lnTo>
                      <a:lnTo>
                        <a:pt x="74" y="172"/>
                      </a:lnTo>
                      <a:lnTo>
                        <a:pt x="74" y="172"/>
                      </a:lnTo>
                      <a:lnTo>
                        <a:pt x="70" y="172"/>
                      </a:lnTo>
                      <a:lnTo>
                        <a:pt x="70" y="172"/>
                      </a:lnTo>
                      <a:lnTo>
                        <a:pt x="70" y="172"/>
                      </a:lnTo>
                      <a:lnTo>
                        <a:pt x="70" y="172"/>
                      </a:lnTo>
                      <a:lnTo>
                        <a:pt x="66" y="172"/>
                      </a:lnTo>
                      <a:lnTo>
                        <a:pt x="66" y="172"/>
                      </a:lnTo>
                      <a:lnTo>
                        <a:pt x="66" y="172"/>
                      </a:lnTo>
                      <a:lnTo>
                        <a:pt x="64" y="172"/>
                      </a:lnTo>
                      <a:lnTo>
                        <a:pt x="60" y="172"/>
                      </a:lnTo>
                      <a:lnTo>
                        <a:pt x="56" y="174"/>
                      </a:lnTo>
                      <a:lnTo>
                        <a:pt x="56" y="174"/>
                      </a:lnTo>
                      <a:lnTo>
                        <a:pt x="56" y="178"/>
                      </a:lnTo>
                      <a:lnTo>
                        <a:pt x="56" y="178"/>
                      </a:lnTo>
                      <a:lnTo>
                        <a:pt x="56" y="182"/>
                      </a:lnTo>
                      <a:lnTo>
                        <a:pt x="56" y="186"/>
                      </a:lnTo>
                      <a:lnTo>
                        <a:pt x="52" y="186"/>
                      </a:lnTo>
                      <a:lnTo>
                        <a:pt x="52" y="190"/>
                      </a:lnTo>
                      <a:lnTo>
                        <a:pt x="52" y="190"/>
                      </a:lnTo>
                      <a:lnTo>
                        <a:pt x="48" y="194"/>
                      </a:lnTo>
                      <a:lnTo>
                        <a:pt x="48" y="194"/>
                      </a:lnTo>
                      <a:lnTo>
                        <a:pt x="48" y="198"/>
                      </a:lnTo>
                      <a:lnTo>
                        <a:pt x="48" y="198"/>
                      </a:lnTo>
                      <a:lnTo>
                        <a:pt x="48" y="202"/>
                      </a:lnTo>
                      <a:lnTo>
                        <a:pt x="48" y="202"/>
                      </a:lnTo>
                      <a:lnTo>
                        <a:pt x="48" y="202"/>
                      </a:lnTo>
                      <a:lnTo>
                        <a:pt x="48" y="204"/>
                      </a:lnTo>
                      <a:lnTo>
                        <a:pt x="48" y="204"/>
                      </a:lnTo>
                      <a:lnTo>
                        <a:pt x="48" y="204"/>
                      </a:lnTo>
                      <a:lnTo>
                        <a:pt x="48" y="204"/>
                      </a:lnTo>
                      <a:lnTo>
                        <a:pt x="48" y="208"/>
                      </a:lnTo>
                      <a:lnTo>
                        <a:pt x="48" y="208"/>
                      </a:lnTo>
                      <a:lnTo>
                        <a:pt x="44" y="204"/>
                      </a:lnTo>
                      <a:lnTo>
                        <a:pt x="44" y="204"/>
                      </a:lnTo>
                      <a:lnTo>
                        <a:pt x="44" y="204"/>
                      </a:lnTo>
                      <a:lnTo>
                        <a:pt x="44" y="204"/>
                      </a:lnTo>
                      <a:lnTo>
                        <a:pt x="44" y="204"/>
                      </a:lnTo>
                      <a:lnTo>
                        <a:pt x="44" y="204"/>
                      </a:lnTo>
                      <a:lnTo>
                        <a:pt x="44" y="204"/>
                      </a:lnTo>
                      <a:lnTo>
                        <a:pt x="40" y="204"/>
                      </a:lnTo>
                      <a:lnTo>
                        <a:pt x="40" y="202"/>
                      </a:lnTo>
                      <a:lnTo>
                        <a:pt x="40" y="202"/>
                      </a:lnTo>
                      <a:lnTo>
                        <a:pt x="40" y="202"/>
                      </a:lnTo>
                      <a:lnTo>
                        <a:pt x="36" y="198"/>
                      </a:lnTo>
                      <a:lnTo>
                        <a:pt x="36" y="198"/>
                      </a:lnTo>
                      <a:lnTo>
                        <a:pt x="36" y="194"/>
                      </a:lnTo>
                      <a:lnTo>
                        <a:pt x="36" y="198"/>
                      </a:lnTo>
                      <a:lnTo>
                        <a:pt x="34" y="198"/>
                      </a:lnTo>
                      <a:lnTo>
                        <a:pt x="34" y="198"/>
                      </a:lnTo>
                      <a:lnTo>
                        <a:pt x="34" y="198"/>
                      </a:lnTo>
                      <a:lnTo>
                        <a:pt x="34" y="198"/>
                      </a:lnTo>
                      <a:lnTo>
                        <a:pt x="30" y="198"/>
                      </a:lnTo>
                      <a:lnTo>
                        <a:pt x="30" y="198"/>
                      </a:lnTo>
                      <a:lnTo>
                        <a:pt x="30" y="202"/>
                      </a:lnTo>
                      <a:lnTo>
                        <a:pt x="30" y="202"/>
                      </a:lnTo>
                      <a:lnTo>
                        <a:pt x="30" y="204"/>
                      </a:lnTo>
                      <a:lnTo>
                        <a:pt x="30" y="204"/>
                      </a:lnTo>
                      <a:lnTo>
                        <a:pt x="30" y="204"/>
                      </a:lnTo>
                      <a:lnTo>
                        <a:pt x="30" y="202"/>
                      </a:lnTo>
                      <a:lnTo>
                        <a:pt x="26" y="198"/>
                      </a:lnTo>
                      <a:lnTo>
                        <a:pt x="26" y="198"/>
                      </a:lnTo>
                      <a:lnTo>
                        <a:pt x="26" y="194"/>
                      </a:lnTo>
                      <a:lnTo>
                        <a:pt x="26" y="194"/>
                      </a:lnTo>
                      <a:lnTo>
                        <a:pt x="30" y="194"/>
                      </a:lnTo>
                      <a:lnTo>
                        <a:pt x="26" y="194"/>
                      </a:lnTo>
                      <a:lnTo>
                        <a:pt x="26" y="190"/>
                      </a:lnTo>
                      <a:lnTo>
                        <a:pt x="26" y="190"/>
                      </a:lnTo>
                      <a:lnTo>
                        <a:pt x="26" y="190"/>
                      </a:lnTo>
                      <a:lnTo>
                        <a:pt x="26" y="190"/>
                      </a:lnTo>
                      <a:lnTo>
                        <a:pt x="22" y="190"/>
                      </a:lnTo>
                      <a:lnTo>
                        <a:pt x="22" y="194"/>
                      </a:lnTo>
                      <a:lnTo>
                        <a:pt x="18" y="190"/>
                      </a:lnTo>
                      <a:lnTo>
                        <a:pt x="14" y="186"/>
                      </a:lnTo>
                      <a:lnTo>
                        <a:pt x="10" y="186"/>
                      </a:lnTo>
                      <a:lnTo>
                        <a:pt x="10" y="186"/>
                      </a:lnTo>
                      <a:lnTo>
                        <a:pt x="10" y="182"/>
                      </a:lnTo>
                      <a:lnTo>
                        <a:pt x="10" y="182"/>
                      </a:lnTo>
                      <a:lnTo>
                        <a:pt x="10" y="178"/>
                      </a:lnTo>
                      <a:lnTo>
                        <a:pt x="10" y="178"/>
                      </a:lnTo>
                      <a:lnTo>
                        <a:pt x="10" y="178"/>
                      </a:lnTo>
                      <a:lnTo>
                        <a:pt x="10" y="178"/>
                      </a:lnTo>
                      <a:lnTo>
                        <a:pt x="10" y="178"/>
                      </a:lnTo>
                      <a:lnTo>
                        <a:pt x="10" y="178"/>
                      </a:lnTo>
                      <a:lnTo>
                        <a:pt x="10" y="178"/>
                      </a:lnTo>
                      <a:lnTo>
                        <a:pt x="14" y="178"/>
                      </a:lnTo>
                      <a:lnTo>
                        <a:pt x="14" y="178"/>
                      </a:lnTo>
                      <a:lnTo>
                        <a:pt x="14" y="178"/>
                      </a:lnTo>
                      <a:lnTo>
                        <a:pt x="10" y="178"/>
                      </a:lnTo>
                      <a:lnTo>
                        <a:pt x="10" y="178"/>
                      </a:lnTo>
                      <a:lnTo>
                        <a:pt x="10" y="178"/>
                      </a:lnTo>
                      <a:lnTo>
                        <a:pt x="10" y="174"/>
                      </a:lnTo>
                      <a:lnTo>
                        <a:pt x="10" y="174"/>
                      </a:lnTo>
                      <a:lnTo>
                        <a:pt x="10" y="174"/>
                      </a:lnTo>
                      <a:lnTo>
                        <a:pt x="8" y="174"/>
                      </a:lnTo>
                      <a:lnTo>
                        <a:pt x="4" y="174"/>
                      </a:lnTo>
                      <a:lnTo>
                        <a:pt x="4" y="172"/>
                      </a:lnTo>
                      <a:lnTo>
                        <a:pt x="4" y="172"/>
                      </a:lnTo>
                      <a:lnTo>
                        <a:pt x="4" y="168"/>
                      </a:lnTo>
                      <a:lnTo>
                        <a:pt x="0" y="164"/>
                      </a:lnTo>
                      <a:lnTo>
                        <a:pt x="0" y="164"/>
                      </a:lnTo>
                      <a:lnTo>
                        <a:pt x="4" y="164"/>
                      </a:lnTo>
                      <a:lnTo>
                        <a:pt x="0" y="164"/>
                      </a:lnTo>
                      <a:lnTo>
                        <a:pt x="0" y="160"/>
                      </a:lnTo>
                      <a:lnTo>
                        <a:pt x="0" y="160"/>
                      </a:lnTo>
                      <a:lnTo>
                        <a:pt x="0" y="160"/>
                      </a:lnTo>
                      <a:lnTo>
                        <a:pt x="0" y="160"/>
                      </a:lnTo>
                      <a:lnTo>
                        <a:pt x="0" y="160"/>
                      </a:lnTo>
                      <a:lnTo>
                        <a:pt x="0" y="156"/>
                      </a:lnTo>
                      <a:lnTo>
                        <a:pt x="0" y="156"/>
                      </a:lnTo>
                      <a:lnTo>
                        <a:pt x="0" y="152"/>
                      </a:lnTo>
                      <a:lnTo>
                        <a:pt x="0" y="152"/>
                      </a:lnTo>
                      <a:lnTo>
                        <a:pt x="0" y="152"/>
                      </a:lnTo>
                      <a:lnTo>
                        <a:pt x="0" y="152"/>
                      </a:lnTo>
                      <a:lnTo>
                        <a:pt x="0" y="152"/>
                      </a:lnTo>
                      <a:lnTo>
                        <a:pt x="0" y="148"/>
                      </a:lnTo>
                      <a:lnTo>
                        <a:pt x="0" y="148"/>
                      </a:lnTo>
                      <a:lnTo>
                        <a:pt x="0" y="152"/>
                      </a:lnTo>
                      <a:lnTo>
                        <a:pt x="4" y="152"/>
                      </a:lnTo>
                      <a:lnTo>
                        <a:pt x="4" y="148"/>
                      </a:lnTo>
                      <a:lnTo>
                        <a:pt x="4" y="148"/>
                      </a:lnTo>
                      <a:lnTo>
                        <a:pt x="4" y="152"/>
                      </a:lnTo>
                      <a:lnTo>
                        <a:pt x="4" y="152"/>
                      </a:lnTo>
                      <a:lnTo>
                        <a:pt x="8" y="152"/>
                      </a:lnTo>
                      <a:lnTo>
                        <a:pt x="8" y="152"/>
                      </a:lnTo>
                      <a:lnTo>
                        <a:pt x="8" y="152"/>
                      </a:lnTo>
                      <a:lnTo>
                        <a:pt x="10" y="148"/>
                      </a:lnTo>
                      <a:lnTo>
                        <a:pt x="10" y="148"/>
                      </a:lnTo>
                      <a:lnTo>
                        <a:pt x="10" y="148"/>
                      </a:lnTo>
                      <a:lnTo>
                        <a:pt x="10" y="148"/>
                      </a:lnTo>
                      <a:lnTo>
                        <a:pt x="14" y="144"/>
                      </a:lnTo>
                      <a:lnTo>
                        <a:pt x="22" y="144"/>
                      </a:lnTo>
                      <a:lnTo>
                        <a:pt x="22" y="144"/>
                      </a:lnTo>
                      <a:lnTo>
                        <a:pt x="34" y="144"/>
                      </a:lnTo>
                      <a:lnTo>
                        <a:pt x="34" y="144"/>
                      </a:lnTo>
                      <a:lnTo>
                        <a:pt x="36" y="144"/>
                      </a:lnTo>
                      <a:lnTo>
                        <a:pt x="36" y="144"/>
                      </a:lnTo>
                      <a:lnTo>
                        <a:pt x="36" y="142"/>
                      </a:lnTo>
                      <a:lnTo>
                        <a:pt x="40" y="142"/>
                      </a:lnTo>
                      <a:lnTo>
                        <a:pt x="44" y="144"/>
                      </a:lnTo>
                      <a:lnTo>
                        <a:pt x="44" y="144"/>
                      </a:lnTo>
                      <a:lnTo>
                        <a:pt x="44" y="144"/>
                      </a:lnTo>
                      <a:lnTo>
                        <a:pt x="44" y="142"/>
                      </a:lnTo>
                      <a:lnTo>
                        <a:pt x="48" y="142"/>
                      </a:lnTo>
                      <a:lnTo>
                        <a:pt x="48" y="138"/>
                      </a:lnTo>
                      <a:lnTo>
                        <a:pt x="48" y="138"/>
                      </a:lnTo>
                      <a:lnTo>
                        <a:pt x="48" y="138"/>
                      </a:lnTo>
                      <a:lnTo>
                        <a:pt x="52" y="138"/>
                      </a:lnTo>
                      <a:lnTo>
                        <a:pt x="52" y="138"/>
                      </a:lnTo>
                      <a:lnTo>
                        <a:pt x="52" y="138"/>
                      </a:lnTo>
                      <a:lnTo>
                        <a:pt x="52" y="138"/>
                      </a:lnTo>
                      <a:lnTo>
                        <a:pt x="52" y="138"/>
                      </a:lnTo>
                      <a:lnTo>
                        <a:pt x="52" y="134"/>
                      </a:lnTo>
                      <a:lnTo>
                        <a:pt x="52" y="130"/>
                      </a:lnTo>
                      <a:lnTo>
                        <a:pt x="52" y="126"/>
                      </a:lnTo>
                      <a:lnTo>
                        <a:pt x="56" y="126"/>
                      </a:lnTo>
                      <a:lnTo>
                        <a:pt x="56" y="126"/>
                      </a:lnTo>
                      <a:lnTo>
                        <a:pt x="56" y="126"/>
                      </a:lnTo>
                      <a:lnTo>
                        <a:pt x="56" y="126"/>
                      </a:lnTo>
                      <a:lnTo>
                        <a:pt x="56" y="126"/>
                      </a:lnTo>
                      <a:lnTo>
                        <a:pt x="56" y="118"/>
                      </a:lnTo>
                      <a:lnTo>
                        <a:pt x="56" y="118"/>
                      </a:lnTo>
                      <a:lnTo>
                        <a:pt x="56" y="116"/>
                      </a:lnTo>
                      <a:lnTo>
                        <a:pt x="56" y="116"/>
                      </a:lnTo>
                      <a:lnTo>
                        <a:pt x="56" y="112"/>
                      </a:lnTo>
                      <a:lnTo>
                        <a:pt x="56" y="108"/>
                      </a:lnTo>
                      <a:lnTo>
                        <a:pt x="56" y="104"/>
                      </a:lnTo>
                      <a:lnTo>
                        <a:pt x="56" y="96"/>
                      </a:lnTo>
                      <a:lnTo>
                        <a:pt x="56" y="86"/>
                      </a:lnTo>
                      <a:lnTo>
                        <a:pt x="56" y="86"/>
                      </a:lnTo>
                      <a:lnTo>
                        <a:pt x="56" y="82"/>
                      </a:lnTo>
                      <a:lnTo>
                        <a:pt x="56" y="78"/>
                      </a:lnTo>
                      <a:lnTo>
                        <a:pt x="56" y="78"/>
                      </a:lnTo>
                      <a:lnTo>
                        <a:pt x="60" y="78"/>
                      </a:lnTo>
                      <a:lnTo>
                        <a:pt x="60" y="78"/>
                      </a:lnTo>
                      <a:lnTo>
                        <a:pt x="66" y="74"/>
                      </a:lnTo>
                      <a:lnTo>
                        <a:pt x="70" y="74"/>
                      </a:lnTo>
                      <a:lnTo>
                        <a:pt x="74" y="74"/>
                      </a:lnTo>
                      <a:lnTo>
                        <a:pt x="74" y="74"/>
                      </a:lnTo>
                      <a:lnTo>
                        <a:pt x="78" y="74"/>
                      </a:lnTo>
                      <a:lnTo>
                        <a:pt x="78" y="74"/>
                      </a:lnTo>
                      <a:lnTo>
                        <a:pt x="80" y="70"/>
                      </a:lnTo>
                      <a:lnTo>
                        <a:pt x="80" y="70"/>
                      </a:lnTo>
                      <a:lnTo>
                        <a:pt x="84" y="66"/>
                      </a:lnTo>
                      <a:lnTo>
                        <a:pt x="88" y="62"/>
                      </a:lnTo>
                      <a:lnTo>
                        <a:pt x="88" y="60"/>
                      </a:lnTo>
                      <a:lnTo>
                        <a:pt x="92" y="56"/>
                      </a:lnTo>
                      <a:lnTo>
                        <a:pt x="100" y="48"/>
                      </a:lnTo>
                      <a:lnTo>
                        <a:pt x="104" y="44"/>
                      </a:lnTo>
                      <a:lnTo>
                        <a:pt x="104" y="44"/>
                      </a:lnTo>
                      <a:lnTo>
                        <a:pt x="108" y="44"/>
                      </a:lnTo>
                      <a:lnTo>
                        <a:pt x="110" y="42"/>
                      </a:lnTo>
                      <a:lnTo>
                        <a:pt x="118" y="38"/>
                      </a:lnTo>
                      <a:lnTo>
                        <a:pt x="118" y="34"/>
                      </a:lnTo>
                      <a:lnTo>
                        <a:pt x="122" y="30"/>
                      </a:lnTo>
                      <a:lnTo>
                        <a:pt x="130" y="26"/>
                      </a:lnTo>
                      <a:lnTo>
                        <a:pt x="134" y="22"/>
                      </a:lnTo>
                      <a:lnTo>
                        <a:pt x="138" y="18"/>
                      </a:lnTo>
                      <a:lnTo>
                        <a:pt x="140" y="18"/>
                      </a:lnTo>
                      <a:lnTo>
                        <a:pt x="144" y="16"/>
                      </a:lnTo>
                      <a:lnTo>
                        <a:pt x="148" y="16"/>
                      </a:lnTo>
                      <a:lnTo>
                        <a:pt x="148" y="12"/>
                      </a:lnTo>
                      <a:lnTo>
                        <a:pt x="152" y="12"/>
                      </a:lnTo>
                      <a:lnTo>
                        <a:pt x="160" y="4"/>
                      </a:lnTo>
                      <a:lnTo>
                        <a:pt x="164" y="4"/>
                      </a:lnTo>
                      <a:lnTo>
                        <a:pt x="164" y="0"/>
                      </a:lnTo>
                      <a:lnTo>
                        <a:pt x="168" y="0"/>
                      </a:lnTo>
                      <a:lnTo>
                        <a:pt x="170" y="4"/>
                      </a:lnTo>
                      <a:lnTo>
                        <a:pt x="170" y="4"/>
                      </a:lnTo>
                      <a:lnTo>
                        <a:pt x="170" y="4"/>
                      </a:lnTo>
                      <a:lnTo>
                        <a:pt x="170" y="4"/>
                      </a:lnTo>
                      <a:lnTo>
                        <a:pt x="174" y="4"/>
                      </a:lnTo>
                      <a:lnTo>
                        <a:pt x="178" y="4"/>
                      </a:lnTo>
                      <a:lnTo>
                        <a:pt x="182" y="4"/>
                      </a:lnTo>
                      <a:lnTo>
                        <a:pt x="186" y="8"/>
                      </a:lnTo>
                      <a:lnTo>
                        <a:pt x="186" y="8"/>
                      </a:lnTo>
                      <a:lnTo>
                        <a:pt x="186" y="8"/>
                      </a:lnTo>
                      <a:lnTo>
                        <a:pt x="186" y="8"/>
                      </a:lnTo>
                      <a:lnTo>
                        <a:pt x="186" y="8"/>
                      </a:lnTo>
                      <a:lnTo>
                        <a:pt x="186" y="8"/>
                      </a:lnTo>
                      <a:lnTo>
                        <a:pt x="190" y="8"/>
                      </a:lnTo>
                      <a:lnTo>
                        <a:pt x="190" y="8"/>
                      </a:lnTo>
                      <a:lnTo>
                        <a:pt x="194" y="12"/>
                      </a:lnTo>
                      <a:lnTo>
                        <a:pt x="198" y="18"/>
                      </a:lnTo>
                      <a:lnTo>
                        <a:pt x="198" y="16"/>
                      </a:lnTo>
                      <a:lnTo>
                        <a:pt x="200" y="16"/>
                      </a:lnTo>
                      <a:lnTo>
                        <a:pt x="200" y="16"/>
                      </a:lnTo>
                      <a:lnTo>
                        <a:pt x="204" y="12"/>
                      </a:lnTo>
                      <a:lnTo>
                        <a:pt x="204" y="12"/>
                      </a:lnTo>
                      <a:lnTo>
                        <a:pt x="208" y="12"/>
                      </a:lnTo>
                      <a:lnTo>
                        <a:pt x="208" y="12"/>
                      </a:lnTo>
                      <a:lnTo>
                        <a:pt x="208" y="12"/>
                      </a:lnTo>
                      <a:lnTo>
                        <a:pt x="208" y="16"/>
                      </a:lnTo>
                      <a:lnTo>
                        <a:pt x="212" y="26"/>
                      </a:lnTo>
                      <a:lnTo>
                        <a:pt x="212" y="26"/>
                      </a:lnTo>
                      <a:lnTo>
                        <a:pt x="212" y="30"/>
                      </a:lnTo>
                      <a:lnTo>
                        <a:pt x="212" y="34"/>
                      </a:lnTo>
                      <a:lnTo>
                        <a:pt x="212" y="34"/>
                      </a:lnTo>
                      <a:lnTo>
                        <a:pt x="212" y="38"/>
                      </a:lnTo>
                      <a:lnTo>
                        <a:pt x="212" y="38"/>
                      </a:lnTo>
                      <a:lnTo>
                        <a:pt x="212" y="38"/>
                      </a:lnTo>
                      <a:lnTo>
                        <a:pt x="216" y="44"/>
                      </a:lnTo>
                      <a:lnTo>
                        <a:pt x="216" y="44"/>
                      </a:lnTo>
                      <a:lnTo>
                        <a:pt x="216" y="44"/>
                      </a:lnTo>
                      <a:lnTo>
                        <a:pt x="216" y="48"/>
                      </a:lnTo>
                      <a:lnTo>
                        <a:pt x="216" y="48"/>
                      </a:lnTo>
                      <a:lnTo>
                        <a:pt x="216" y="48"/>
                      </a:lnTo>
                      <a:lnTo>
                        <a:pt x="216" y="48"/>
                      </a:lnTo>
                      <a:lnTo>
                        <a:pt x="216" y="48"/>
                      </a:lnTo>
                      <a:lnTo>
                        <a:pt x="216" y="48"/>
                      </a:lnTo>
                      <a:lnTo>
                        <a:pt x="216" y="48"/>
                      </a:lnTo>
                      <a:lnTo>
                        <a:pt x="216" y="52"/>
                      </a:lnTo>
                      <a:lnTo>
                        <a:pt x="216" y="52"/>
                      </a:lnTo>
                      <a:lnTo>
                        <a:pt x="224" y="56"/>
                      </a:lnTo>
                      <a:lnTo>
                        <a:pt x="224" y="56"/>
                      </a:lnTo>
                      <a:lnTo>
                        <a:pt x="220" y="60"/>
                      </a:lnTo>
                      <a:lnTo>
                        <a:pt x="220" y="62"/>
                      </a:lnTo>
                      <a:lnTo>
                        <a:pt x="220" y="62"/>
                      </a:lnTo>
                      <a:lnTo>
                        <a:pt x="220" y="66"/>
                      </a:lnTo>
                      <a:lnTo>
                        <a:pt x="220" y="70"/>
                      </a:lnTo>
                      <a:lnTo>
                        <a:pt x="216" y="82"/>
                      </a:lnTo>
                      <a:lnTo>
                        <a:pt x="216" y="82"/>
                      </a:lnTo>
                      <a:lnTo>
                        <a:pt x="216" y="86"/>
                      </a:lnTo>
                      <a:lnTo>
                        <a:pt x="216" y="92"/>
                      </a:lnTo>
                      <a:lnTo>
                        <a:pt x="216" y="92"/>
                      </a:lnTo>
                      <a:lnTo>
                        <a:pt x="216" y="96"/>
                      </a:lnTo>
                      <a:lnTo>
                        <a:pt x="216" y="108"/>
                      </a:lnTo>
                      <a:lnTo>
                        <a:pt x="216" y="116"/>
                      </a:lnTo>
                      <a:lnTo>
                        <a:pt x="216" y="118"/>
                      </a:lnTo>
                      <a:lnTo>
                        <a:pt x="216" y="118"/>
                      </a:lnTo>
                      <a:lnTo>
                        <a:pt x="216" y="118"/>
                      </a:lnTo>
                      <a:lnTo>
                        <a:pt x="212" y="118"/>
                      </a:lnTo>
                      <a:lnTo>
                        <a:pt x="212" y="122"/>
                      </a:lnTo>
                      <a:lnTo>
                        <a:pt x="208" y="122"/>
                      </a:lnTo>
                      <a:lnTo>
                        <a:pt x="208" y="126"/>
                      </a:lnTo>
                      <a:lnTo>
                        <a:pt x="200" y="134"/>
                      </a:lnTo>
                      <a:lnTo>
                        <a:pt x="200" y="138"/>
                      </a:lnTo>
                      <a:lnTo>
                        <a:pt x="198" y="142"/>
                      </a:lnTo>
                      <a:lnTo>
                        <a:pt x="198" y="142"/>
                      </a:lnTo>
                      <a:lnTo>
                        <a:pt x="194" y="144"/>
                      </a:lnTo>
                      <a:lnTo>
                        <a:pt x="194" y="144"/>
                      </a:lnTo>
                      <a:lnTo>
                        <a:pt x="194" y="148"/>
                      </a:lnTo>
                      <a:lnTo>
                        <a:pt x="190" y="152"/>
                      </a:lnTo>
                      <a:lnTo>
                        <a:pt x="190" y="152"/>
                      </a:lnTo>
                      <a:lnTo>
                        <a:pt x="190" y="152"/>
                      </a:lnTo>
                      <a:lnTo>
                        <a:pt x="190" y="156"/>
                      </a:lnTo>
                      <a:lnTo>
                        <a:pt x="190" y="156"/>
                      </a:lnTo>
                      <a:lnTo>
                        <a:pt x="190" y="156"/>
                      </a:lnTo>
                      <a:lnTo>
                        <a:pt x="190" y="156"/>
                      </a:lnTo>
                      <a:lnTo>
                        <a:pt x="190" y="156"/>
                      </a:lnTo>
                      <a:lnTo>
                        <a:pt x="190" y="160"/>
                      </a:lnTo>
                      <a:lnTo>
                        <a:pt x="190" y="160"/>
                      </a:lnTo>
                      <a:lnTo>
                        <a:pt x="190" y="160"/>
                      </a:lnTo>
                      <a:lnTo>
                        <a:pt x="186" y="160"/>
                      </a:lnTo>
                      <a:lnTo>
                        <a:pt x="186" y="160"/>
                      </a:lnTo>
                      <a:lnTo>
                        <a:pt x="186" y="160"/>
                      </a:lnTo>
                      <a:lnTo>
                        <a:pt x="186" y="160"/>
                      </a:lnTo>
                      <a:lnTo>
                        <a:pt x="186" y="160"/>
                      </a:lnTo>
                      <a:lnTo>
                        <a:pt x="186" y="160"/>
                      </a:lnTo>
                      <a:lnTo>
                        <a:pt x="186" y="168"/>
                      </a:lnTo>
                      <a:lnTo>
                        <a:pt x="190" y="172"/>
                      </a:lnTo>
                      <a:lnTo>
                        <a:pt x="190" y="172"/>
                      </a:lnTo>
                      <a:lnTo>
                        <a:pt x="186" y="172"/>
                      </a:lnTo>
                      <a:lnTo>
                        <a:pt x="182" y="174"/>
                      </a:lnTo>
                      <a:lnTo>
                        <a:pt x="182" y="174"/>
                      </a:lnTo>
                      <a:lnTo>
                        <a:pt x="182" y="174"/>
                      </a:lnTo>
                      <a:lnTo>
                        <a:pt x="182" y="174"/>
                      </a:lnTo>
                      <a:lnTo>
                        <a:pt x="182" y="174"/>
                      </a:lnTo>
                      <a:lnTo>
                        <a:pt x="178" y="174"/>
                      </a:lnTo>
                      <a:lnTo>
                        <a:pt x="178" y="174"/>
                      </a:lnTo>
                      <a:lnTo>
                        <a:pt x="178" y="174"/>
                      </a:lnTo>
                      <a:lnTo>
                        <a:pt x="174" y="178"/>
                      </a:lnTo>
                      <a:lnTo>
                        <a:pt x="174" y="178"/>
                      </a:lnTo>
                      <a:lnTo>
                        <a:pt x="174" y="178"/>
                      </a:lnTo>
                      <a:lnTo>
                        <a:pt x="174" y="178"/>
                      </a:lnTo>
                      <a:lnTo>
                        <a:pt x="174" y="178"/>
                      </a:lnTo>
                      <a:lnTo>
                        <a:pt x="174" y="182"/>
                      </a:lnTo>
                      <a:lnTo>
                        <a:pt x="174" y="182"/>
                      </a:lnTo>
                      <a:lnTo>
                        <a:pt x="174" y="182"/>
                      </a:lnTo>
                      <a:lnTo>
                        <a:pt x="170" y="182"/>
                      </a:lnTo>
                      <a:lnTo>
                        <a:pt x="170" y="182"/>
                      </a:lnTo>
                      <a:lnTo>
                        <a:pt x="170" y="182"/>
                      </a:lnTo>
                      <a:lnTo>
                        <a:pt x="170" y="182"/>
                      </a:lnTo>
                      <a:lnTo>
                        <a:pt x="168" y="182"/>
                      </a:lnTo>
                      <a:lnTo>
                        <a:pt x="168" y="182"/>
                      </a:lnTo>
                      <a:lnTo>
                        <a:pt x="164" y="182"/>
                      </a:lnTo>
                      <a:lnTo>
                        <a:pt x="164" y="178"/>
                      </a:lnTo>
                      <a:lnTo>
                        <a:pt x="160" y="178"/>
                      </a:lnTo>
                      <a:lnTo>
                        <a:pt x="160" y="178"/>
                      </a:lnTo>
                      <a:lnTo>
                        <a:pt x="160" y="178"/>
                      </a:lnTo>
                      <a:lnTo>
                        <a:pt x="156" y="178"/>
                      </a:lnTo>
                      <a:lnTo>
                        <a:pt x="156" y="178"/>
                      </a:lnTo>
                      <a:lnTo>
                        <a:pt x="156" y="178"/>
                      </a:lnTo>
                      <a:lnTo>
                        <a:pt x="156" y="178"/>
                      </a:lnTo>
                      <a:lnTo>
                        <a:pt x="156" y="178"/>
                      </a:lnTo>
                      <a:lnTo>
                        <a:pt x="156" y="178"/>
                      </a:lnTo>
                      <a:lnTo>
                        <a:pt x="152" y="178"/>
                      </a:lnTo>
                      <a:lnTo>
                        <a:pt x="152" y="178"/>
                      </a:lnTo>
                      <a:lnTo>
                        <a:pt x="152" y="178"/>
                      </a:lnTo>
                      <a:lnTo>
                        <a:pt x="152" y="178"/>
                      </a:lnTo>
                      <a:lnTo>
                        <a:pt x="152" y="178"/>
                      </a:lnTo>
                      <a:lnTo>
                        <a:pt x="152" y="178"/>
                      </a:lnTo>
                      <a:lnTo>
                        <a:pt x="152" y="178"/>
                      </a:lnTo>
                      <a:lnTo>
                        <a:pt x="152" y="178"/>
                      </a:lnTo>
                      <a:lnTo>
                        <a:pt x="148" y="178"/>
                      </a:lnTo>
                      <a:lnTo>
                        <a:pt x="148" y="178"/>
                      </a:lnTo>
                      <a:lnTo>
                        <a:pt x="148" y="178"/>
                      </a:lnTo>
                      <a:lnTo>
                        <a:pt x="148" y="178"/>
                      </a:lnTo>
                      <a:lnTo>
                        <a:pt x="148" y="178"/>
                      </a:lnTo>
                      <a:lnTo>
                        <a:pt x="148" y="178"/>
                      </a:lnTo>
                      <a:lnTo>
                        <a:pt x="144" y="178"/>
                      </a:lnTo>
                      <a:lnTo>
                        <a:pt x="144" y="178"/>
                      </a:lnTo>
                      <a:lnTo>
                        <a:pt x="144" y="178"/>
                      </a:lnTo>
                      <a:lnTo>
                        <a:pt x="144" y="178"/>
                      </a:lnTo>
                      <a:lnTo>
                        <a:pt x="144" y="178"/>
                      </a:lnTo>
                      <a:lnTo>
                        <a:pt x="144" y="178"/>
                      </a:lnTo>
                      <a:lnTo>
                        <a:pt x="140" y="178"/>
                      </a:lnTo>
                      <a:lnTo>
                        <a:pt x="140" y="178"/>
                      </a:lnTo>
                      <a:lnTo>
                        <a:pt x="140" y="178"/>
                      </a:lnTo>
                      <a:lnTo>
                        <a:pt x="140" y="178"/>
                      </a:lnTo>
                      <a:lnTo>
                        <a:pt x="138" y="182"/>
                      </a:lnTo>
                      <a:lnTo>
                        <a:pt x="138" y="182"/>
                      </a:lnTo>
                      <a:lnTo>
                        <a:pt x="138" y="182"/>
                      </a:lnTo>
                      <a:lnTo>
                        <a:pt x="138" y="182"/>
                      </a:lnTo>
                      <a:lnTo>
                        <a:pt x="134" y="182"/>
                      </a:lnTo>
                      <a:lnTo>
                        <a:pt x="134" y="186"/>
                      </a:lnTo>
                      <a:lnTo>
                        <a:pt x="134" y="190"/>
                      </a:lnTo>
                      <a:lnTo>
                        <a:pt x="134" y="190"/>
                      </a:lnTo>
                      <a:lnTo>
                        <a:pt x="130" y="190"/>
                      </a:lnTo>
                      <a:lnTo>
                        <a:pt x="126" y="186"/>
                      </a:lnTo>
                      <a:lnTo>
                        <a:pt x="126" y="186"/>
                      </a:lnTo>
                      <a:lnTo>
                        <a:pt x="122" y="186"/>
                      </a:lnTo>
                      <a:lnTo>
                        <a:pt x="122" y="186"/>
                      </a:lnTo>
                      <a:lnTo>
                        <a:pt x="122" y="186"/>
                      </a:lnTo>
                      <a:lnTo>
                        <a:pt x="122" y="186"/>
                      </a:lnTo>
                      <a:lnTo>
                        <a:pt x="118" y="186"/>
                      </a:lnTo>
                      <a:lnTo>
                        <a:pt x="118" y="186"/>
                      </a:lnTo>
                      <a:lnTo>
                        <a:pt x="118" y="186"/>
                      </a:lnTo>
                      <a:lnTo>
                        <a:pt x="118" y="186"/>
                      </a:lnTo>
                      <a:lnTo>
                        <a:pt x="118" y="186"/>
                      </a:lnTo>
                      <a:lnTo>
                        <a:pt x="114" y="182"/>
                      </a:lnTo>
                      <a:lnTo>
                        <a:pt x="114" y="182"/>
                      </a:lnTo>
                      <a:lnTo>
                        <a:pt x="114" y="182"/>
                      </a:lnTo>
                      <a:lnTo>
                        <a:pt x="114" y="182"/>
                      </a:lnTo>
                      <a:lnTo>
                        <a:pt x="114" y="182"/>
                      </a:lnTo>
                      <a:lnTo>
                        <a:pt x="114" y="182"/>
                      </a:lnTo>
                      <a:lnTo>
                        <a:pt x="114" y="182"/>
                      </a:lnTo>
                      <a:lnTo>
                        <a:pt x="110" y="182"/>
                      </a:lnTo>
                      <a:lnTo>
                        <a:pt x="110" y="182"/>
                      </a:lnTo>
                      <a:lnTo>
                        <a:pt x="110" y="182"/>
                      </a:lnTo>
                      <a:lnTo>
                        <a:pt x="110" y="178"/>
                      </a:lnTo>
                      <a:lnTo>
                        <a:pt x="110" y="178"/>
                      </a:lnTo>
                      <a:lnTo>
                        <a:pt x="110" y="178"/>
                      </a:lnTo>
                      <a:lnTo>
                        <a:pt x="108" y="178"/>
                      </a:lnTo>
                      <a:lnTo>
                        <a:pt x="100" y="182"/>
                      </a:lnTo>
                      <a:lnTo>
                        <a:pt x="100" y="182"/>
                      </a:lnTo>
                      <a:lnTo>
                        <a:pt x="96" y="182"/>
                      </a:lnTo>
                      <a:lnTo>
                        <a:pt x="96" y="182"/>
                      </a:lnTo>
                      <a:lnTo>
                        <a:pt x="96" y="186"/>
                      </a:lnTo>
                      <a:lnTo>
                        <a:pt x="96" y="186"/>
                      </a:lnTo>
                      <a:lnTo>
                        <a:pt x="96" y="186"/>
                      </a:lnTo>
                      <a:lnTo>
                        <a:pt x="96" y="18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16" name="Freeform 162"/>
                <p:cNvSpPr>
                  <a:spLocks noEditPoints="1"/>
                </p:cNvSpPr>
                <p:nvPr/>
              </p:nvSpPr>
              <p:spPr bwMode="auto">
                <a:xfrm>
                  <a:off x="4454525" y="4184718"/>
                  <a:ext cx="269875" cy="260350"/>
                </a:xfrm>
                <a:custGeom>
                  <a:avLst/>
                  <a:gdLst>
                    <a:gd name="T0" fmla="*/ 126 w 170"/>
                    <a:gd name="T1" fmla="*/ 122 h 164"/>
                    <a:gd name="T2" fmla="*/ 118 w 170"/>
                    <a:gd name="T3" fmla="*/ 122 h 164"/>
                    <a:gd name="T4" fmla="*/ 110 w 170"/>
                    <a:gd name="T5" fmla="*/ 114 h 164"/>
                    <a:gd name="T6" fmla="*/ 102 w 170"/>
                    <a:gd name="T7" fmla="*/ 118 h 164"/>
                    <a:gd name="T8" fmla="*/ 96 w 170"/>
                    <a:gd name="T9" fmla="*/ 126 h 164"/>
                    <a:gd name="T10" fmla="*/ 88 w 170"/>
                    <a:gd name="T11" fmla="*/ 140 h 164"/>
                    <a:gd name="T12" fmla="*/ 80 w 170"/>
                    <a:gd name="T13" fmla="*/ 152 h 164"/>
                    <a:gd name="T14" fmla="*/ 76 w 170"/>
                    <a:gd name="T15" fmla="*/ 156 h 164"/>
                    <a:gd name="T16" fmla="*/ 70 w 170"/>
                    <a:gd name="T17" fmla="*/ 160 h 164"/>
                    <a:gd name="T18" fmla="*/ 62 w 170"/>
                    <a:gd name="T19" fmla="*/ 156 h 164"/>
                    <a:gd name="T20" fmla="*/ 58 w 170"/>
                    <a:gd name="T21" fmla="*/ 160 h 164"/>
                    <a:gd name="T22" fmla="*/ 58 w 170"/>
                    <a:gd name="T23" fmla="*/ 160 h 164"/>
                    <a:gd name="T24" fmla="*/ 58 w 170"/>
                    <a:gd name="T25" fmla="*/ 156 h 164"/>
                    <a:gd name="T26" fmla="*/ 50 w 170"/>
                    <a:gd name="T27" fmla="*/ 160 h 164"/>
                    <a:gd name="T28" fmla="*/ 40 w 170"/>
                    <a:gd name="T29" fmla="*/ 156 h 164"/>
                    <a:gd name="T30" fmla="*/ 36 w 170"/>
                    <a:gd name="T31" fmla="*/ 148 h 164"/>
                    <a:gd name="T32" fmla="*/ 40 w 170"/>
                    <a:gd name="T33" fmla="*/ 144 h 164"/>
                    <a:gd name="T34" fmla="*/ 36 w 170"/>
                    <a:gd name="T35" fmla="*/ 140 h 164"/>
                    <a:gd name="T36" fmla="*/ 30 w 170"/>
                    <a:gd name="T37" fmla="*/ 130 h 164"/>
                    <a:gd name="T38" fmla="*/ 18 w 170"/>
                    <a:gd name="T39" fmla="*/ 126 h 164"/>
                    <a:gd name="T40" fmla="*/ 18 w 170"/>
                    <a:gd name="T41" fmla="*/ 122 h 164"/>
                    <a:gd name="T42" fmla="*/ 10 w 170"/>
                    <a:gd name="T43" fmla="*/ 126 h 164"/>
                    <a:gd name="T44" fmla="*/ 0 w 170"/>
                    <a:gd name="T45" fmla="*/ 122 h 164"/>
                    <a:gd name="T46" fmla="*/ 2 w 170"/>
                    <a:gd name="T47" fmla="*/ 110 h 164"/>
                    <a:gd name="T48" fmla="*/ 0 w 170"/>
                    <a:gd name="T49" fmla="*/ 96 h 164"/>
                    <a:gd name="T50" fmla="*/ 2 w 170"/>
                    <a:gd name="T51" fmla="*/ 82 h 164"/>
                    <a:gd name="T52" fmla="*/ 10 w 170"/>
                    <a:gd name="T53" fmla="*/ 70 h 164"/>
                    <a:gd name="T54" fmla="*/ 14 w 170"/>
                    <a:gd name="T55" fmla="*/ 58 h 164"/>
                    <a:gd name="T56" fmla="*/ 14 w 170"/>
                    <a:gd name="T57" fmla="*/ 52 h 164"/>
                    <a:gd name="T58" fmla="*/ 10 w 170"/>
                    <a:gd name="T59" fmla="*/ 36 h 164"/>
                    <a:gd name="T60" fmla="*/ 14 w 170"/>
                    <a:gd name="T61" fmla="*/ 26 h 164"/>
                    <a:gd name="T62" fmla="*/ 22 w 170"/>
                    <a:gd name="T63" fmla="*/ 14 h 164"/>
                    <a:gd name="T64" fmla="*/ 26 w 170"/>
                    <a:gd name="T65" fmla="*/ 0 h 164"/>
                    <a:gd name="T66" fmla="*/ 40 w 170"/>
                    <a:gd name="T67" fmla="*/ 0 h 164"/>
                    <a:gd name="T68" fmla="*/ 50 w 170"/>
                    <a:gd name="T69" fmla="*/ 2 h 164"/>
                    <a:gd name="T70" fmla="*/ 62 w 170"/>
                    <a:gd name="T71" fmla="*/ 14 h 164"/>
                    <a:gd name="T72" fmla="*/ 76 w 170"/>
                    <a:gd name="T73" fmla="*/ 6 h 164"/>
                    <a:gd name="T74" fmla="*/ 88 w 170"/>
                    <a:gd name="T75" fmla="*/ 14 h 164"/>
                    <a:gd name="T76" fmla="*/ 100 w 170"/>
                    <a:gd name="T77" fmla="*/ 14 h 164"/>
                    <a:gd name="T78" fmla="*/ 110 w 170"/>
                    <a:gd name="T79" fmla="*/ 6 h 164"/>
                    <a:gd name="T80" fmla="*/ 126 w 170"/>
                    <a:gd name="T81" fmla="*/ 6 h 164"/>
                    <a:gd name="T82" fmla="*/ 136 w 170"/>
                    <a:gd name="T83" fmla="*/ 10 h 164"/>
                    <a:gd name="T84" fmla="*/ 148 w 170"/>
                    <a:gd name="T85" fmla="*/ 2 h 164"/>
                    <a:gd name="T86" fmla="*/ 158 w 170"/>
                    <a:gd name="T87" fmla="*/ 6 h 164"/>
                    <a:gd name="T88" fmla="*/ 162 w 170"/>
                    <a:gd name="T89" fmla="*/ 22 h 164"/>
                    <a:gd name="T90" fmla="*/ 170 w 170"/>
                    <a:gd name="T91" fmla="*/ 28 h 164"/>
                    <a:gd name="T92" fmla="*/ 166 w 170"/>
                    <a:gd name="T93" fmla="*/ 32 h 164"/>
                    <a:gd name="T94" fmla="*/ 162 w 170"/>
                    <a:gd name="T95" fmla="*/ 40 h 164"/>
                    <a:gd name="T96" fmla="*/ 156 w 170"/>
                    <a:gd name="T97" fmla="*/ 52 h 164"/>
                    <a:gd name="T98" fmla="*/ 148 w 170"/>
                    <a:gd name="T99" fmla="*/ 62 h 164"/>
                    <a:gd name="T100" fmla="*/ 144 w 170"/>
                    <a:gd name="T101" fmla="*/ 74 h 164"/>
                    <a:gd name="T102" fmla="*/ 140 w 170"/>
                    <a:gd name="T103" fmla="*/ 88 h 164"/>
                    <a:gd name="T104" fmla="*/ 132 w 170"/>
                    <a:gd name="T105" fmla="*/ 96 h 164"/>
                    <a:gd name="T106" fmla="*/ 132 w 170"/>
                    <a:gd name="T107" fmla="*/ 104 h 164"/>
                    <a:gd name="T108" fmla="*/ 128 w 170"/>
                    <a:gd name="T109" fmla="*/ 110 h 164"/>
                    <a:gd name="T110" fmla="*/ 62 w 170"/>
                    <a:gd name="T111" fmla="*/ 160 h 1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70" h="164">
                      <a:moveTo>
                        <a:pt x="128" y="110"/>
                      </a:moveTo>
                      <a:lnTo>
                        <a:pt x="128" y="114"/>
                      </a:lnTo>
                      <a:lnTo>
                        <a:pt x="126" y="118"/>
                      </a:lnTo>
                      <a:lnTo>
                        <a:pt x="126" y="122"/>
                      </a:lnTo>
                      <a:lnTo>
                        <a:pt x="122" y="122"/>
                      </a:lnTo>
                      <a:lnTo>
                        <a:pt x="122" y="126"/>
                      </a:lnTo>
                      <a:lnTo>
                        <a:pt x="118" y="126"/>
                      </a:lnTo>
                      <a:lnTo>
                        <a:pt x="118" y="122"/>
                      </a:lnTo>
                      <a:lnTo>
                        <a:pt x="118" y="118"/>
                      </a:lnTo>
                      <a:lnTo>
                        <a:pt x="114" y="118"/>
                      </a:lnTo>
                      <a:lnTo>
                        <a:pt x="114" y="114"/>
                      </a:lnTo>
                      <a:lnTo>
                        <a:pt x="110" y="114"/>
                      </a:lnTo>
                      <a:lnTo>
                        <a:pt x="110" y="118"/>
                      </a:lnTo>
                      <a:lnTo>
                        <a:pt x="106" y="118"/>
                      </a:lnTo>
                      <a:lnTo>
                        <a:pt x="106" y="114"/>
                      </a:lnTo>
                      <a:lnTo>
                        <a:pt x="102" y="118"/>
                      </a:lnTo>
                      <a:lnTo>
                        <a:pt x="100" y="118"/>
                      </a:lnTo>
                      <a:lnTo>
                        <a:pt x="100" y="122"/>
                      </a:lnTo>
                      <a:lnTo>
                        <a:pt x="100" y="126"/>
                      </a:lnTo>
                      <a:lnTo>
                        <a:pt x="96" y="126"/>
                      </a:lnTo>
                      <a:lnTo>
                        <a:pt x="92" y="130"/>
                      </a:lnTo>
                      <a:lnTo>
                        <a:pt x="88" y="134"/>
                      </a:lnTo>
                      <a:lnTo>
                        <a:pt x="88" y="138"/>
                      </a:lnTo>
                      <a:lnTo>
                        <a:pt x="88" y="140"/>
                      </a:lnTo>
                      <a:lnTo>
                        <a:pt x="88" y="144"/>
                      </a:lnTo>
                      <a:lnTo>
                        <a:pt x="84" y="148"/>
                      </a:lnTo>
                      <a:lnTo>
                        <a:pt x="84" y="152"/>
                      </a:lnTo>
                      <a:lnTo>
                        <a:pt x="80" y="152"/>
                      </a:lnTo>
                      <a:lnTo>
                        <a:pt x="80" y="156"/>
                      </a:lnTo>
                      <a:lnTo>
                        <a:pt x="80" y="152"/>
                      </a:lnTo>
                      <a:lnTo>
                        <a:pt x="76" y="152"/>
                      </a:lnTo>
                      <a:lnTo>
                        <a:pt x="76" y="156"/>
                      </a:lnTo>
                      <a:lnTo>
                        <a:pt x="80" y="156"/>
                      </a:lnTo>
                      <a:lnTo>
                        <a:pt x="76" y="160"/>
                      </a:lnTo>
                      <a:lnTo>
                        <a:pt x="72" y="160"/>
                      </a:lnTo>
                      <a:lnTo>
                        <a:pt x="70" y="160"/>
                      </a:lnTo>
                      <a:lnTo>
                        <a:pt x="70" y="156"/>
                      </a:lnTo>
                      <a:lnTo>
                        <a:pt x="66" y="160"/>
                      </a:lnTo>
                      <a:lnTo>
                        <a:pt x="62" y="160"/>
                      </a:lnTo>
                      <a:lnTo>
                        <a:pt x="62" y="156"/>
                      </a:lnTo>
                      <a:lnTo>
                        <a:pt x="62" y="160"/>
                      </a:lnTo>
                      <a:lnTo>
                        <a:pt x="62" y="156"/>
                      </a:lnTo>
                      <a:lnTo>
                        <a:pt x="58" y="156"/>
                      </a:lnTo>
                      <a:lnTo>
                        <a:pt x="58" y="160"/>
                      </a:lnTo>
                      <a:lnTo>
                        <a:pt x="62" y="160"/>
                      </a:lnTo>
                      <a:lnTo>
                        <a:pt x="58" y="160"/>
                      </a:lnTo>
                      <a:lnTo>
                        <a:pt x="58" y="156"/>
                      </a:lnTo>
                      <a:lnTo>
                        <a:pt x="58" y="160"/>
                      </a:lnTo>
                      <a:lnTo>
                        <a:pt x="58" y="164"/>
                      </a:lnTo>
                      <a:lnTo>
                        <a:pt x="54" y="160"/>
                      </a:lnTo>
                      <a:lnTo>
                        <a:pt x="58" y="160"/>
                      </a:lnTo>
                      <a:lnTo>
                        <a:pt x="58" y="156"/>
                      </a:lnTo>
                      <a:lnTo>
                        <a:pt x="54" y="160"/>
                      </a:lnTo>
                      <a:lnTo>
                        <a:pt x="54" y="164"/>
                      </a:lnTo>
                      <a:lnTo>
                        <a:pt x="50" y="164"/>
                      </a:lnTo>
                      <a:lnTo>
                        <a:pt x="50" y="160"/>
                      </a:lnTo>
                      <a:lnTo>
                        <a:pt x="50" y="164"/>
                      </a:lnTo>
                      <a:lnTo>
                        <a:pt x="46" y="164"/>
                      </a:lnTo>
                      <a:lnTo>
                        <a:pt x="44" y="160"/>
                      </a:lnTo>
                      <a:lnTo>
                        <a:pt x="40" y="156"/>
                      </a:lnTo>
                      <a:lnTo>
                        <a:pt x="40" y="152"/>
                      </a:lnTo>
                      <a:lnTo>
                        <a:pt x="36" y="148"/>
                      </a:lnTo>
                      <a:lnTo>
                        <a:pt x="40" y="148"/>
                      </a:lnTo>
                      <a:lnTo>
                        <a:pt x="36" y="148"/>
                      </a:lnTo>
                      <a:lnTo>
                        <a:pt x="36" y="144"/>
                      </a:lnTo>
                      <a:lnTo>
                        <a:pt x="40" y="144"/>
                      </a:lnTo>
                      <a:lnTo>
                        <a:pt x="40" y="140"/>
                      </a:lnTo>
                      <a:lnTo>
                        <a:pt x="40" y="144"/>
                      </a:lnTo>
                      <a:lnTo>
                        <a:pt x="36" y="144"/>
                      </a:lnTo>
                      <a:lnTo>
                        <a:pt x="36" y="140"/>
                      </a:lnTo>
                      <a:lnTo>
                        <a:pt x="40" y="140"/>
                      </a:lnTo>
                      <a:lnTo>
                        <a:pt x="36" y="140"/>
                      </a:lnTo>
                      <a:lnTo>
                        <a:pt x="32" y="138"/>
                      </a:lnTo>
                      <a:lnTo>
                        <a:pt x="32" y="134"/>
                      </a:lnTo>
                      <a:lnTo>
                        <a:pt x="30" y="134"/>
                      </a:lnTo>
                      <a:lnTo>
                        <a:pt x="30" y="130"/>
                      </a:lnTo>
                      <a:lnTo>
                        <a:pt x="26" y="130"/>
                      </a:lnTo>
                      <a:lnTo>
                        <a:pt x="26" y="126"/>
                      </a:lnTo>
                      <a:lnTo>
                        <a:pt x="22" y="126"/>
                      </a:lnTo>
                      <a:lnTo>
                        <a:pt x="18" y="126"/>
                      </a:lnTo>
                      <a:lnTo>
                        <a:pt x="14" y="126"/>
                      </a:lnTo>
                      <a:lnTo>
                        <a:pt x="10" y="126"/>
                      </a:lnTo>
                      <a:lnTo>
                        <a:pt x="14" y="126"/>
                      </a:lnTo>
                      <a:lnTo>
                        <a:pt x="18" y="122"/>
                      </a:lnTo>
                      <a:lnTo>
                        <a:pt x="14" y="122"/>
                      </a:lnTo>
                      <a:lnTo>
                        <a:pt x="10" y="126"/>
                      </a:lnTo>
                      <a:lnTo>
                        <a:pt x="10" y="122"/>
                      </a:lnTo>
                      <a:lnTo>
                        <a:pt x="10" y="126"/>
                      </a:lnTo>
                      <a:lnTo>
                        <a:pt x="6" y="126"/>
                      </a:lnTo>
                      <a:lnTo>
                        <a:pt x="2" y="126"/>
                      </a:lnTo>
                      <a:lnTo>
                        <a:pt x="0" y="126"/>
                      </a:lnTo>
                      <a:lnTo>
                        <a:pt x="0" y="122"/>
                      </a:lnTo>
                      <a:lnTo>
                        <a:pt x="0" y="118"/>
                      </a:lnTo>
                      <a:lnTo>
                        <a:pt x="0" y="114"/>
                      </a:lnTo>
                      <a:lnTo>
                        <a:pt x="2" y="114"/>
                      </a:lnTo>
                      <a:lnTo>
                        <a:pt x="2" y="110"/>
                      </a:lnTo>
                      <a:lnTo>
                        <a:pt x="0" y="108"/>
                      </a:lnTo>
                      <a:lnTo>
                        <a:pt x="0" y="104"/>
                      </a:lnTo>
                      <a:lnTo>
                        <a:pt x="0" y="100"/>
                      </a:lnTo>
                      <a:lnTo>
                        <a:pt x="0" y="96"/>
                      </a:lnTo>
                      <a:lnTo>
                        <a:pt x="0" y="92"/>
                      </a:lnTo>
                      <a:lnTo>
                        <a:pt x="0" y="88"/>
                      </a:lnTo>
                      <a:lnTo>
                        <a:pt x="0" y="84"/>
                      </a:lnTo>
                      <a:lnTo>
                        <a:pt x="2" y="82"/>
                      </a:lnTo>
                      <a:lnTo>
                        <a:pt x="6" y="82"/>
                      </a:lnTo>
                      <a:lnTo>
                        <a:pt x="6" y="78"/>
                      </a:lnTo>
                      <a:lnTo>
                        <a:pt x="6" y="74"/>
                      </a:lnTo>
                      <a:lnTo>
                        <a:pt x="10" y="70"/>
                      </a:lnTo>
                      <a:lnTo>
                        <a:pt x="10" y="66"/>
                      </a:lnTo>
                      <a:lnTo>
                        <a:pt x="14" y="66"/>
                      </a:lnTo>
                      <a:lnTo>
                        <a:pt x="14" y="62"/>
                      </a:lnTo>
                      <a:lnTo>
                        <a:pt x="14" y="58"/>
                      </a:lnTo>
                      <a:lnTo>
                        <a:pt x="14" y="56"/>
                      </a:lnTo>
                      <a:lnTo>
                        <a:pt x="18" y="56"/>
                      </a:lnTo>
                      <a:lnTo>
                        <a:pt x="18" y="52"/>
                      </a:lnTo>
                      <a:lnTo>
                        <a:pt x="14" y="52"/>
                      </a:lnTo>
                      <a:lnTo>
                        <a:pt x="14" y="48"/>
                      </a:lnTo>
                      <a:lnTo>
                        <a:pt x="14" y="44"/>
                      </a:lnTo>
                      <a:lnTo>
                        <a:pt x="10" y="40"/>
                      </a:lnTo>
                      <a:lnTo>
                        <a:pt x="10" y="36"/>
                      </a:lnTo>
                      <a:lnTo>
                        <a:pt x="14" y="36"/>
                      </a:lnTo>
                      <a:lnTo>
                        <a:pt x="14" y="32"/>
                      </a:lnTo>
                      <a:lnTo>
                        <a:pt x="14" y="28"/>
                      </a:lnTo>
                      <a:lnTo>
                        <a:pt x="14" y="26"/>
                      </a:lnTo>
                      <a:lnTo>
                        <a:pt x="14" y="22"/>
                      </a:lnTo>
                      <a:lnTo>
                        <a:pt x="18" y="18"/>
                      </a:lnTo>
                      <a:lnTo>
                        <a:pt x="18" y="14"/>
                      </a:lnTo>
                      <a:lnTo>
                        <a:pt x="22" y="14"/>
                      </a:lnTo>
                      <a:lnTo>
                        <a:pt x="22" y="10"/>
                      </a:lnTo>
                      <a:lnTo>
                        <a:pt x="22" y="6"/>
                      </a:lnTo>
                      <a:lnTo>
                        <a:pt x="22" y="2"/>
                      </a:lnTo>
                      <a:lnTo>
                        <a:pt x="26" y="0"/>
                      </a:lnTo>
                      <a:lnTo>
                        <a:pt x="30" y="0"/>
                      </a:lnTo>
                      <a:lnTo>
                        <a:pt x="32" y="0"/>
                      </a:lnTo>
                      <a:lnTo>
                        <a:pt x="36" y="0"/>
                      </a:lnTo>
                      <a:lnTo>
                        <a:pt x="40" y="0"/>
                      </a:lnTo>
                      <a:lnTo>
                        <a:pt x="44" y="0"/>
                      </a:lnTo>
                      <a:lnTo>
                        <a:pt x="46" y="0"/>
                      </a:lnTo>
                      <a:lnTo>
                        <a:pt x="46" y="2"/>
                      </a:lnTo>
                      <a:lnTo>
                        <a:pt x="50" y="2"/>
                      </a:lnTo>
                      <a:lnTo>
                        <a:pt x="54" y="6"/>
                      </a:lnTo>
                      <a:lnTo>
                        <a:pt x="58" y="10"/>
                      </a:lnTo>
                      <a:lnTo>
                        <a:pt x="58" y="14"/>
                      </a:lnTo>
                      <a:lnTo>
                        <a:pt x="62" y="14"/>
                      </a:lnTo>
                      <a:lnTo>
                        <a:pt x="62" y="10"/>
                      </a:lnTo>
                      <a:lnTo>
                        <a:pt x="66" y="10"/>
                      </a:lnTo>
                      <a:lnTo>
                        <a:pt x="72" y="6"/>
                      </a:lnTo>
                      <a:lnTo>
                        <a:pt x="76" y="6"/>
                      </a:lnTo>
                      <a:lnTo>
                        <a:pt x="76" y="10"/>
                      </a:lnTo>
                      <a:lnTo>
                        <a:pt x="80" y="10"/>
                      </a:lnTo>
                      <a:lnTo>
                        <a:pt x="84" y="14"/>
                      </a:lnTo>
                      <a:lnTo>
                        <a:pt x="88" y="14"/>
                      </a:lnTo>
                      <a:lnTo>
                        <a:pt x="92" y="14"/>
                      </a:lnTo>
                      <a:lnTo>
                        <a:pt x="96" y="18"/>
                      </a:lnTo>
                      <a:lnTo>
                        <a:pt x="100" y="18"/>
                      </a:lnTo>
                      <a:lnTo>
                        <a:pt x="100" y="14"/>
                      </a:lnTo>
                      <a:lnTo>
                        <a:pt x="100" y="10"/>
                      </a:lnTo>
                      <a:lnTo>
                        <a:pt x="102" y="10"/>
                      </a:lnTo>
                      <a:lnTo>
                        <a:pt x="106" y="6"/>
                      </a:lnTo>
                      <a:lnTo>
                        <a:pt x="110" y="6"/>
                      </a:lnTo>
                      <a:lnTo>
                        <a:pt x="114" y="6"/>
                      </a:lnTo>
                      <a:lnTo>
                        <a:pt x="118" y="6"/>
                      </a:lnTo>
                      <a:lnTo>
                        <a:pt x="122" y="6"/>
                      </a:lnTo>
                      <a:lnTo>
                        <a:pt x="126" y="6"/>
                      </a:lnTo>
                      <a:lnTo>
                        <a:pt x="128" y="6"/>
                      </a:lnTo>
                      <a:lnTo>
                        <a:pt x="128" y="10"/>
                      </a:lnTo>
                      <a:lnTo>
                        <a:pt x="132" y="10"/>
                      </a:lnTo>
                      <a:lnTo>
                        <a:pt x="136" y="10"/>
                      </a:lnTo>
                      <a:lnTo>
                        <a:pt x="140" y="10"/>
                      </a:lnTo>
                      <a:lnTo>
                        <a:pt x="140" y="6"/>
                      </a:lnTo>
                      <a:lnTo>
                        <a:pt x="144" y="2"/>
                      </a:lnTo>
                      <a:lnTo>
                        <a:pt x="148" y="2"/>
                      </a:lnTo>
                      <a:lnTo>
                        <a:pt x="152" y="0"/>
                      </a:lnTo>
                      <a:lnTo>
                        <a:pt x="156" y="0"/>
                      </a:lnTo>
                      <a:lnTo>
                        <a:pt x="156" y="2"/>
                      </a:lnTo>
                      <a:lnTo>
                        <a:pt x="158" y="6"/>
                      </a:lnTo>
                      <a:lnTo>
                        <a:pt x="158" y="10"/>
                      </a:lnTo>
                      <a:lnTo>
                        <a:pt x="162" y="14"/>
                      </a:lnTo>
                      <a:lnTo>
                        <a:pt x="162" y="18"/>
                      </a:lnTo>
                      <a:lnTo>
                        <a:pt x="162" y="22"/>
                      </a:lnTo>
                      <a:lnTo>
                        <a:pt x="162" y="26"/>
                      </a:lnTo>
                      <a:lnTo>
                        <a:pt x="166" y="26"/>
                      </a:lnTo>
                      <a:lnTo>
                        <a:pt x="170" y="26"/>
                      </a:lnTo>
                      <a:lnTo>
                        <a:pt x="170" y="28"/>
                      </a:lnTo>
                      <a:lnTo>
                        <a:pt x="166" y="28"/>
                      </a:lnTo>
                      <a:lnTo>
                        <a:pt x="170" y="28"/>
                      </a:lnTo>
                      <a:lnTo>
                        <a:pt x="170" y="32"/>
                      </a:lnTo>
                      <a:lnTo>
                        <a:pt x="166" y="32"/>
                      </a:lnTo>
                      <a:lnTo>
                        <a:pt x="166" y="36"/>
                      </a:lnTo>
                      <a:lnTo>
                        <a:pt x="170" y="36"/>
                      </a:lnTo>
                      <a:lnTo>
                        <a:pt x="166" y="40"/>
                      </a:lnTo>
                      <a:lnTo>
                        <a:pt x="162" y="40"/>
                      </a:lnTo>
                      <a:lnTo>
                        <a:pt x="162" y="44"/>
                      </a:lnTo>
                      <a:lnTo>
                        <a:pt x="158" y="44"/>
                      </a:lnTo>
                      <a:lnTo>
                        <a:pt x="156" y="48"/>
                      </a:lnTo>
                      <a:lnTo>
                        <a:pt x="156" y="52"/>
                      </a:lnTo>
                      <a:lnTo>
                        <a:pt x="152" y="56"/>
                      </a:lnTo>
                      <a:lnTo>
                        <a:pt x="152" y="58"/>
                      </a:lnTo>
                      <a:lnTo>
                        <a:pt x="152" y="62"/>
                      </a:lnTo>
                      <a:lnTo>
                        <a:pt x="148" y="62"/>
                      </a:lnTo>
                      <a:lnTo>
                        <a:pt x="148" y="66"/>
                      </a:lnTo>
                      <a:lnTo>
                        <a:pt x="148" y="70"/>
                      </a:lnTo>
                      <a:lnTo>
                        <a:pt x="148" y="74"/>
                      </a:lnTo>
                      <a:lnTo>
                        <a:pt x="144" y="74"/>
                      </a:lnTo>
                      <a:lnTo>
                        <a:pt x="144" y="78"/>
                      </a:lnTo>
                      <a:lnTo>
                        <a:pt x="144" y="82"/>
                      </a:lnTo>
                      <a:lnTo>
                        <a:pt x="144" y="84"/>
                      </a:lnTo>
                      <a:lnTo>
                        <a:pt x="140" y="88"/>
                      </a:lnTo>
                      <a:lnTo>
                        <a:pt x="136" y="88"/>
                      </a:lnTo>
                      <a:lnTo>
                        <a:pt x="136" y="92"/>
                      </a:lnTo>
                      <a:lnTo>
                        <a:pt x="132" y="92"/>
                      </a:lnTo>
                      <a:lnTo>
                        <a:pt x="132" y="96"/>
                      </a:lnTo>
                      <a:lnTo>
                        <a:pt x="136" y="96"/>
                      </a:lnTo>
                      <a:lnTo>
                        <a:pt x="132" y="96"/>
                      </a:lnTo>
                      <a:lnTo>
                        <a:pt x="132" y="100"/>
                      </a:lnTo>
                      <a:lnTo>
                        <a:pt x="132" y="104"/>
                      </a:lnTo>
                      <a:lnTo>
                        <a:pt x="132" y="108"/>
                      </a:lnTo>
                      <a:lnTo>
                        <a:pt x="128" y="108"/>
                      </a:lnTo>
                      <a:lnTo>
                        <a:pt x="128" y="110"/>
                      </a:lnTo>
                      <a:lnTo>
                        <a:pt x="128" y="110"/>
                      </a:lnTo>
                      <a:lnTo>
                        <a:pt x="128" y="110"/>
                      </a:lnTo>
                      <a:close/>
                      <a:moveTo>
                        <a:pt x="62" y="160"/>
                      </a:moveTo>
                      <a:lnTo>
                        <a:pt x="66" y="160"/>
                      </a:lnTo>
                      <a:lnTo>
                        <a:pt x="62" y="160"/>
                      </a:lnTo>
                      <a:lnTo>
                        <a:pt x="62" y="160"/>
                      </a:lnTo>
                      <a:lnTo>
                        <a:pt x="62" y="16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17" name="Freeform 163"/>
                <p:cNvSpPr>
                  <a:spLocks/>
                </p:cNvSpPr>
                <p:nvPr/>
              </p:nvSpPr>
              <p:spPr bwMode="auto">
                <a:xfrm>
                  <a:off x="5045075" y="4587943"/>
                  <a:ext cx="41275" cy="47625"/>
                </a:xfrm>
                <a:custGeom>
                  <a:avLst/>
                  <a:gdLst>
                    <a:gd name="T0" fmla="*/ 0 w 26"/>
                    <a:gd name="T1" fmla="*/ 30 h 30"/>
                    <a:gd name="T2" fmla="*/ 0 w 26"/>
                    <a:gd name="T3" fmla="*/ 30 h 30"/>
                    <a:gd name="T4" fmla="*/ 0 w 26"/>
                    <a:gd name="T5" fmla="*/ 22 h 30"/>
                    <a:gd name="T6" fmla="*/ 4 w 26"/>
                    <a:gd name="T7" fmla="*/ 22 h 30"/>
                    <a:gd name="T8" fmla="*/ 4 w 26"/>
                    <a:gd name="T9" fmla="*/ 18 h 30"/>
                    <a:gd name="T10" fmla="*/ 4 w 26"/>
                    <a:gd name="T11" fmla="*/ 18 h 30"/>
                    <a:gd name="T12" fmla="*/ 4 w 26"/>
                    <a:gd name="T13" fmla="*/ 14 h 30"/>
                    <a:gd name="T14" fmla="*/ 4 w 26"/>
                    <a:gd name="T15" fmla="*/ 14 h 30"/>
                    <a:gd name="T16" fmla="*/ 4 w 26"/>
                    <a:gd name="T17" fmla="*/ 6 h 30"/>
                    <a:gd name="T18" fmla="*/ 8 w 26"/>
                    <a:gd name="T19" fmla="*/ 6 h 30"/>
                    <a:gd name="T20" fmla="*/ 8 w 26"/>
                    <a:gd name="T21" fmla="*/ 6 h 30"/>
                    <a:gd name="T22" fmla="*/ 8 w 26"/>
                    <a:gd name="T23" fmla="*/ 6 h 30"/>
                    <a:gd name="T24" fmla="*/ 10 w 26"/>
                    <a:gd name="T25" fmla="*/ 6 h 30"/>
                    <a:gd name="T26" fmla="*/ 10 w 26"/>
                    <a:gd name="T27" fmla="*/ 6 h 30"/>
                    <a:gd name="T28" fmla="*/ 14 w 26"/>
                    <a:gd name="T29" fmla="*/ 6 h 30"/>
                    <a:gd name="T30" fmla="*/ 14 w 26"/>
                    <a:gd name="T31" fmla="*/ 6 h 30"/>
                    <a:gd name="T32" fmla="*/ 18 w 26"/>
                    <a:gd name="T33" fmla="*/ 4 h 30"/>
                    <a:gd name="T34" fmla="*/ 18 w 26"/>
                    <a:gd name="T35" fmla="*/ 4 h 30"/>
                    <a:gd name="T36" fmla="*/ 22 w 26"/>
                    <a:gd name="T37" fmla="*/ 0 h 30"/>
                    <a:gd name="T38" fmla="*/ 22 w 26"/>
                    <a:gd name="T39" fmla="*/ 4 h 30"/>
                    <a:gd name="T40" fmla="*/ 22 w 26"/>
                    <a:gd name="T41" fmla="*/ 6 h 30"/>
                    <a:gd name="T42" fmla="*/ 26 w 26"/>
                    <a:gd name="T43" fmla="*/ 6 h 30"/>
                    <a:gd name="T44" fmla="*/ 26 w 26"/>
                    <a:gd name="T45" fmla="*/ 10 h 30"/>
                    <a:gd name="T46" fmla="*/ 26 w 26"/>
                    <a:gd name="T47" fmla="*/ 14 h 30"/>
                    <a:gd name="T48" fmla="*/ 26 w 26"/>
                    <a:gd name="T49" fmla="*/ 18 h 30"/>
                    <a:gd name="T50" fmla="*/ 26 w 26"/>
                    <a:gd name="T51" fmla="*/ 22 h 30"/>
                    <a:gd name="T52" fmla="*/ 26 w 26"/>
                    <a:gd name="T53" fmla="*/ 22 h 30"/>
                    <a:gd name="T54" fmla="*/ 26 w 26"/>
                    <a:gd name="T55" fmla="*/ 22 h 30"/>
                    <a:gd name="T56" fmla="*/ 22 w 26"/>
                    <a:gd name="T57" fmla="*/ 22 h 30"/>
                    <a:gd name="T58" fmla="*/ 22 w 26"/>
                    <a:gd name="T59" fmla="*/ 22 h 30"/>
                    <a:gd name="T60" fmla="*/ 18 w 26"/>
                    <a:gd name="T61" fmla="*/ 22 h 30"/>
                    <a:gd name="T62" fmla="*/ 14 w 26"/>
                    <a:gd name="T63" fmla="*/ 26 h 30"/>
                    <a:gd name="T64" fmla="*/ 14 w 26"/>
                    <a:gd name="T65" fmla="*/ 22 h 30"/>
                    <a:gd name="T66" fmla="*/ 14 w 26"/>
                    <a:gd name="T67" fmla="*/ 30 h 30"/>
                    <a:gd name="T68" fmla="*/ 10 w 26"/>
                    <a:gd name="T69" fmla="*/ 30 h 30"/>
                    <a:gd name="T70" fmla="*/ 10 w 26"/>
                    <a:gd name="T71" fmla="*/ 30 h 30"/>
                    <a:gd name="T72" fmla="*/ 8 w 26"/>
                    <a:gd name="T73" fmla="*/ 30 h 30"/>
                    <a:gd name="T74" fmla="*/ 8 w 26"/>
                    <a:gd name="T75" fmla="*/ 30 h 30"/>
                    <a:gd name="T76" fmla="*/ 4 w 26"/>
                    <a:gd name="T77" fmla="*/ 30 h 30"/>
                    <a:gd name="T78" fmla="*/ 4 w 26"/>
                    <a:gd name="T79" fmla="*/ 30 h 30"/>
                    <a:gd name="T80" fmla="*/ 4 w 26"/>
                    <a:gd name="T81" fmla="*/ 30 h 30"/>
                    <a:gd name="T82" fmla="*/ 0 w 26"/>
                    <a:gd name="T83" fmla="*/ 26 h 30"/>
                    <a:gd name="T84" fmla="*/ 0 w 26"/>
                    <a:gd name="T85" fmla="*/ 30 h 30"/>
                    <a:gd name="T86" fmla="*/ 0 w 26"/>
                    <a:gd name="T87" fmla="*/ 3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6" h="30">
                      <a:moveTo>
                        <a:pt x="0" y="30"/>
                      </a:move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26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0"/>
                      </a:lnTo>
                      <a:lnTo>
                        <a:pt x="4" y="10"/>
                      </a:lnTo>
                      <a:lnTo>
                        <a:pt x="4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10" y="6"/>
                      </a:lnTo>
                      <a:lnTo>
                        <a:pt x="10" y="6"/>
                      </a:lnTo>
                      <a:lnTo>
                        <a:pt x="10" y="6"/>
                      </a:lnTo>
                      <a:lnTo>
                        <a:pt x="10" y="6"/>
                      </a:lnTo>
                      <a:lnTo>
                        <a:pt x="10" y="6"/>
                      </a:lnTo>
                      <a:lnTo>
                        <a:pt x="10" y="6"/>
                      </a:lnTo>
                      <a:lnTo>
                        <a:pt x="10" y="6"/>
                      </a:lnTo>
                      <a:lnTo>
                        <a:pt x="10" y="6"/>
                      </a:lnTo>
                      <a:lnTo>
                        <a:pt x="14" y="6"/>
                      </a:lnTo>
                      <a:lnTo>
                        <a:pt x="14" y="6"/>
                      </a:lnTo>
                      <a:lnTo>
                        <a:pt x="14" y="6"/>
                      </a:lnTo>
                      <a:lnTo>
                        <a:pt x="14" y="6"/>
                      </a:lnTo>
                      <a:lnTo>
                        <a:pt x="14" y="6"/>
                      </a:lnTo>
                      <a:lnTo>
                        <a:pt x="18" y="6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6"/>
                      </a:lnTo>
                      <a:lnTo>
                        <a:pt x="22" y="6"/>
                      </a:lnTo>
                      <a:lnTo>
                        <a:pt x="22" y="6"/>
                      </a:lnTo>
                      <a:lnTo>
                        <a:pt x="26" y="6"/>
                      </a:lnTo>
                      <a:lnTo>
                        <a:pt x="26" y="6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4"/>
                      </a:lnTo>
                      <a:lnTo>
                        <a:pt x="26" y="14"/>
                      </a:lnTo>
                      <a:lnTo>
                        <a:pt x="26" y="14"/>
                      </a:lnTo>
                      <a:lnTo>
                        <a:pt x="26" y="18"/>
                      </a:lnTo>
                      <a:lnTo>
                        <a:pt x="26" y="18"/>
                      </a:lnTo>
                      <a:lnTo>
                        <a:pt x="26" y="18"/>
                      </a:lnTo>
                      <a:lnTo>
                        <a:pt x="26" y="22"/>
                      </a:lnTo>
                      <a:lnTo>
                        <a:pt x="26" y="22"/>
                      </a:lnTo>
                      <a:lnTo>
                        <a:pt x="26" y="22"/>
                      </a:lnTo>
                      <a:lnTo>
                        <a:pt x="26" y="22"/>
                      </a:lnTo>
                      <a:lnTo>
                        <a:pt x="26" y="22"/>
                      </a:lnTo>
                      <a:lnTo>
                        <a:pt x="26" y="22"/>
                      </a:lnTo>
                      <a:lnTo>
                        <a:pt x="26" y="22"/>
                      </a:lnTo>
                      <a:lnTo>
                        <a:pt x="26" y="22"/>
                      </a:lnTo>
                      <a:lnTo>
                        <a:pt x="26" y="22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18" y="22"/>
                      </a:lnTo>
                      <a:lnTo>
                        <a:pt x="18" y="22"/>
                      </a:lnTo>
                      <a:lnTo>
                        <a:pt x="18" y="22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2"/>
                      </a:lnTo>
                      <a:lnTo>
                        <a:pt x="14" y="22"/>
                      </a:lnTo>
                      <a:lnTo>
                        <a:pt x="14" y="22"/>
                      </a:lnTo>
                      <a:lnTo>
                        <a:pt x="14" y="22"/>
                      </a:lnTo>
                      <a:lnTo>
                        <a:pt x="14" y="26"/>
                      </a:lnTo>
                      <a:lnTo>
                        <a:pt x="14" y="30"/>
                      </a:lnTo>
                      <a:lnTo>
                        <a:pt x="14" y="30"/>
                      </a:lnTo>
                      <a:lnTo>
                        <a:pt x="10" y="30"/>
                      </a:lnTo>
                      <a:lnTo>
                        <a:pt x="10" y="30"/>
                      </a:lnTo>
                      <a:lnTo>
                        <a:pt x="10" y="30"/>
                      </a:lnTo>
                      <a:lnTo>
                        <a:pt x="10" y="30"/>
                      </a:lnTo>
                      <a:lnTo>
                        <a:pt x="10" y="30"/>
                      </a:lnTo>
                      <a:lnTo>
                        <a:pt x="10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18" name="Freeform 164"/>
                <p:cNvSpPr>
                  <a:spLocks noEditPoints="1"/>
                </p:cNvSpPr>
                <p:nvPr/>
              </p:nvSpPr>
              <p:spPr bwMode="auto">
                <a:xfrm>
                  <a:off x="4540250" y="4514918"/>
                  <a:ext cx="19050" cy="41275"/>
                </a:xfrm>
                <a:custGeom>
                  <a:avLst/>
                  <a:gdLst>
                    <a:gd name="T0" fmla="*/ 12 w 12"/>
                    <a:gd name="T1" fmla="*/ 0 h 26"/>
                    <a:gd name="T2" fmla="*/ 12 w 12"/>
                    <a:gd name="T3" fmla="*/ 0 h 26"/>
                    <a:gd name="T4" fmla="*/ 12 w 12"/>
                    <a:gd name="T5" fmla="*/ 0 h 26"/>
                    <a:gd name="T6" fmla="*/ 12 w 12"/>
                    <a:gd name="T7" fmla="*/ 0 h 26"/>
                    <a:gd name="T8" fmla="*/ 12 w 12"/>
                    <a:gd name="T9" fmla="*/ 0 h 26"/>
                    <a:gd name="T10" fmla="*/ 12 w 12"/>
                    <a:gd name="T11" fmla="*/ 0 h 26"/>
                    <a:gd name="T12" fmla="*/ 12 w 12"/>
                    <a:gd name="T13" fmla="*/ 0 h 26"/>
                    <a:gd name="T14" fmla="*/ 12 w 12"/>
                    <a:gd name="T15" fmla="*/ 0 h 26"/>
                    <a:gd name="T16" fmla="*/ 12 w 12"/>
                    <a:gd name="T17" fmla="*/ 0 h 26"/>
                    <a:gd name="T18" fmla="*/ 12 w 12"/>
                    <a:gd name="T19" fmla="*/ 0 h 26"/>
                    <a:gd name="T20" fmla="*/ 12 w 12"/>
                    <a:gd name="T21" fmla="*/ 0 h 26"/>
                    <a:gd name="T22" fmla="*/ 12 w 12"/>
                    <a:gd name="T23" fmla="*/ 0 h 26"/>
                    <a:gd name="T24" fmla="*/ 12 w 12"/>
                    <a:gd name="T25" fmla="*/ 0 h 26"/>
                    <a:gd name="T26" fmla="*/ 0 w 12"/>
                    <a:gd name="T27" fmla="*/ 26 h 26"/>
                    <a:gd name="T28" fmla="*/ 0 w 12"/>
                    <a:gd name="T29" fmla="*/ 26 h 26"/>
                    <a:gd name="T30" fmla="*/ 0 w 12"/>
                    <a:gd name="T31" fmla="*/ 26 h 26"/>
                    <a:gd name="T32" fmla="*/ 0 w 12"/>
                    <a:gd name="T33" fmla="*/ 26 h 26"/>
                    <a:gd name="T34" fmla="*/ 0 w 12"/>
                    <a:gd name="T35" fmla="*/ 22 h 26"/>
                    <a:gd name="T36" fmla="*/ 0 w 12"/>
                    <a:gd name="T37" fmla="*/ 22 h 26"/>
                    <a:gd name="T38" fmla="*/ 0 w 12"/>
                    <a:gd name="T39" fmla="*/ 22 h 26"/>
                    <a:gd name="T40" fmla="*/ 0 w 12"/>
                    <a:gd name="T41" fmla="*/ 22 h 26"/>
                    <a:gd name="T42" fmla="*/ 0 w 12"/>
                    <a:gd name="T43" fmla="*/ 22 h 26"/>
                    <a:gd name="T44" fmla="*/ 0 w 12"/>
                    <a:gd name="T45" fmla="*/ 22 h 26"/>
                    <a:gd name="T46" fmla="*/ 0 w 12"/>
                    <a:gd name="T47" fmla="*/ 22 h 26"/>
                    <a:gd name="T48" fmla="*/ 4 w 12"/>
                    <a:gd name="T49" fmla="*/ 22 h 26"/>
                    <a:gd name="T50" fmla="*/ 4 w 12"/>
                    <a:gd name="T51" fmla="*/ 22 h 26"/>
                    <a:gd name="T52" fmla="*/ 4 w 12"/>
                    <a:gd name="T53" fmla="*/ 22 h 26"/>
                    <a:gd name="T54" fmla="*/ 4 w 12"/>
                    <a:gd name="T55" fmla="*/ 22 h 26"/>
                    <a:gd name="T56" fmla="*/ 4 w 12"/>
                    <a:gd name="T57" fmla="*/ 26 h 26"/>
                    <a:gd name="T58" fmla="*/ 0 w 12"/>
                    <a:gd name="T59" fmla="*/ 26 h 26"/>
                    <a:gd name="T60" fmla="*/ 0 w 12"/>
                    <a:gd name="T61" fmla="*/ 26 h 26"/>
                    <a:gd name="T62" fmla="*/ 0 w 12"/>
                    <a:gd name="T63" fmla="*/ 26 h 26"/>
                    <a:gd name="T64" fmla="*/ 0 w 12"/>
                    <a:gd name="T65" fmla="*/ 26 h 26"/>
                    <a:gd name="T66" fmla="*/ 0 w 12"/>
                    <a:gd name="T67" fmla="*/ 26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2" h="26">
                      <a:moveTo>
                        <a:pt x="12" y="0"/>
                      </a:move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close/>
                      <a:moveTo>
                        <a:pt x="0" y="26"/>
                      </a:move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19" name="Freeform 165"/>
                <p:cNvSpPr>
                  <a:spLocks/>
                </p:cNvSpPr>
                <p:nvPr/>
              </p:nvSpPr>
              <p:spPr bwMode="auto">
                <a:xfrm>
                  <a:off x="3997325" y="4102168"/>
                  <a:ext cx="142875" cy="120650"/>
                </a:xfrm>
                <a:custGeom>
                  <a:avLst/>
                  <a:gdLst>
                    <a:gd name="T0" fmla="*/ 82 w 90"/>
                    <a:gd name="T1" fmla="*/ 76 h 76"/>
                    <a:gd name="T2" fmla="*/ 78 w 90"/>
                    <a:gd name="T3" fmla="*/ 76 h 76"/>
                    <a:gd name="T4" fmla="*/ 70 w 90"/>
                    <a:gd name="T5" fmla="*/ 76 h 76"/>
                    <a:gd name="T6" fmla="*/ 64 w 90"/>
                    <a:gd name="T7" fmla="*/ 74 h 76"/>
                    <a:gd name="T8" fmla="*/ 60 w 90"/>
                    <a:gd name="T9" fmla="*/ 70 h 76"/>
                    <a:gd name="T10" fmla="*/ 44 w 90"/>
                    <a:gd name="T11" fmla="*/ 70 h 76"/>
                    <a:gd name="T12" fmla="*/ 30 w 90"/>
                    <a:gd name="T13" fmla="*/ 74 h 76"/>
                    <a:gd name="T14" fmla="*/ 22 w 90"/>
                    <a:gd name="T15" fmla="*/ 74 h 76"/>
                    <a:gd name="T16" fmla="*/ 14 w 90"/>
                    <a:gd name="T17" fmla="*/ 76 h 76"/>
                    <a:gd name="T18" fmla="*/ 14 w 90"/>
                    <a:gd name="T19" fmla="*/ 70 h 76"/>
                    <a:gd name="T20" fmla="*/ 22 w 90"/>
                    <a:gd name="T21" fmla="*/ 74 h 76"/>
                    <a:gd name="T22" fmla="*/ 26 w 90"/>
                    <a:gd name="T23" fmla="*/ 74 h 76"/>
                    <a:gd name="T24" fmla="*/ 30 w 90"/>
                    <a:gd name="T25" fmla="*/ 70 h 76"/>
                    <a:gd name="T26" fmla="*/ 30 w 90"/>
                    <a:gd name="T27" fmla="*/ 70 h 76"/>
                    <a:gd name="T28" fmla="*/ 26 w 90"/>
                    <a:gd name="T29" fmla="*/ 70 h 76"/>
                    <a:gd name="T30" fmla="*/ 22 w 90"/>
                    <a:gd name="T31" fmla="*/ 70 h 76"/>
                    <a:gd name="T32" fmla="*/ 14 w 90"/>
                    <a:gd name="T33" fmla="*/ 70 h 76"/>
                    <a:gd name="T34" fmla="*/ 12 w 90"/>
                    <a:gd name="T35" fmla="*/ 74 h 76"/>
                    <a:gd name="T36" fmla="*/ 12 w 90"/>
                    <a:gd name="T37" fmla="*/ 66 h 76"/>
                    <a:gd name="T38" fmla="*/ 26 w 90"/>
                    <a:gd name="T39" fmla="*/ 62 h 76"/>
                    <a:gd name="T40" fmla="*/ 34 w 90"/>
                    <a:gd name="T41" fmla="*/ 58 h 76"/>
                    <a:gd name="T42" fmla="*/ 38 w 90"/>
                    <a:gd name="T43" fmla="*/ 54 h 76"/>
                    <a:gd name="T44" fmla="*/ 42 w 90"/>
                    <a:gd name="T45" fmla="*/ 58 h 76"/>
                    <a:gd name="T46" fmla="*/ 44 w 90"/>
                    <a:gd name="T47" fmla="*/ 62 h 76"/>
                    <a:gd name="T48" fmla="*/ 52 w 90"/>
                    <a:gd name="T49" fmla="*/ 58 h 76"/>
                    <a:gd name="T50" fmla="*/ 56 w 90"/>
                    <a:gd name="T51" fmla="*/ 54 h 76"/>
                    <a:gd name="T52" fmla="*/ 48 w 90"/>
                    <a:gd name="T53" fmla="*/ 54 h 76"/>
                    <a:gd name="T54" fmla="*/ 44 w 90"/>
                    <a:gd name="T55" fmla="*/ 54 h 76"/>
                    <a:gd name="T56" fmla="*/ 42 w 90"/>
                    <a:gd name="T57" fmla="*/ 54 h 76"/>
                    <a:gd name="T58" fmla="*/ 42 w 90"/>
                    <a:gd name="T59" fmla="*/ 52 h 76"/>
                    <a:gd name="T60" fmla="*/ 34 w 90"/>
                    <a:gd name="T61" fmla="*/ 52 h 76"/>
                    <a:gd name="T62" fmla="*/ 30 w 90"/>
                    <a:gd name="T63" fmla="*/ 54 h 76"/>
                    <a:gd name="T64" fmla="*/ 14 w 90"/>
                    <a:gd name="T65" fmla="*/ 54 h 76"/>
                    <a:gd name="T66" fmla="*/ 14 w 90"/>
                    <a:gd name="T67" fmla="*/ 52 h 76"/>
                    <a:gd name="T68" fmla="*/ 14 w 90"/>
                    <a:gd name="T69" fmla="*/ 48 h 76"/>
                    <a:gd name="T70" fmla="*/ 18 w 90"/>
                    <a:gd name="T71" fmla="*/ 44 h 76"/>
                    <a:gd name="T72" fmla="*/ 14 w 90"/>
                    <a:gd name="T73" fmla="*/ 48 h 76"/>
                    <a:gd name="T74" fmla="*/ 12 w 90"/>
                    <a:gd name="T75" fmla="*/ 40 h 76"/>
                    <a:gd name="T76" fmla="*/ 8 w 90"/>
                    <a:gd name="T77" fmla="*/ 36 h 76"/>
                    <a:gd name="T78" fmla="*/ 4 w 90"/>
                    <a:gd name="T79" fmla="*/ 36 h 76"/>
                    <a:gd name="T80" fmla="*/ 8 w 90"/>
                    <a:gd name="T81" fmla="*/ 32 h 76"/>
                    <a:gd name="T82" fmla="*/ 12 w 90"/>
                    <a:gd name="T83" fmla="*/ 22 h 76"/>
                    <a:gd name="T84" fmla="*/ 14 w 90"/>
                    <a:gd name="T85" fmla="*/ 18 h 76"/>
                    <a:gd name="T86" fmla="*/ 18 w 90"/>
                    <a:gd name="T87" fmla="*/ 6 h 76"/>
                    <a:gd name="T88" fmla="*/ 22 w 90"/>
                    <a:gd name="T89" fmla="*/ 2 h 76"/>
                    <a:gd name="T90" fmla="*/ 30 w 90"/>
                    <a:gd name="T91" fmla="*/ 2 h 76"/>
                    <a:gd name="T92" fmla="*/ 38 w 90"/>
                    <a:gd name="T93" fmla="*/ 2 h 76"/>
                    <a:gd name="T94" fmla="*/ 44 w 90"/>
                    <a:gd name="T95" fmla="*/ 2 h 76"/>
                    <a:gd name="T96" fmla="*/ 56 w 90"/>
                    <a:gd name="T97" fmla="*/ 10 h 76"/>
                    <a:gd name="T98" fmla="*/ 60 w 90"/>
                    <a:gd name="T99" fmla="*/ 14 h 76"/>
                    <a:gd name="T100" fmla="*/ 68 w 90"/>
                    <a:gd name="T101" fmla="*/ 26 h 76"/>
                    <a:gd name="T102" fmla="*/ 68 w 90"/>
                    <a:gd name="T103" fmla="*/ 28 h 76"/>
                    <a:gd name="T104" fmla="*/ 74 w 90"/>
                    <a:gd name="T105" fmla="*/ 32 h 76"/>
                    <a:gd name="T106" fmla="*/ 78 w 90"/>
                    <a:gd name="T107" fmla="*/ 40 h 76"/>
                    <a:gd name="T108" fmla="*/ 82 w 90"/>
                    <a:gd name="T109" fmla="*/ 48 h 76"/>
                    <a:gd name="T110" fmla="*/ 78 w 90"/>
                    <a:gd name="T111" fmla="*/ 52 h 76"/>
                    <a:gd name="T112" fmla="*/ 82 w 90"/>
                    <a:gd name="T113" fmla="*/ 58 h 76"/>
                    <a:gd name="T114" fmla="*/ 86 w 90"/>
                    <a:gd name="T115" fmla="*/ 62 h 76"/>
                    <a:gd name="T116" fmla="*/ 90 w 90"/>
                    <a:gd name="T117" fmla="*/ 70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90" h="76">
                      <a:moveTo>
                        <a:pt x="90" y="74"/>
                      </a:moveTo>
                      <a:lnTo>
                        <a:pt x="90" y="74"/>
                      </a:lnTo>
                      <a:lnTo>
                        <a:pt x="86" y="74"/>
                      </a:lnTo>
                      <a:lnTo>
                        <a:pt x="86" y="74"/>
                      </a:lnTo>
                      <a:lnTo>
                        <a:pt x="86" y="74"/>
                      </a:lnTo>
                      <a:lnTo>
                        <a:pt x="86" y="74"/>
                      </a:lnTo>
                      <a:lnTo>
                        <a:pt x="86" y="76"/>
                      </a:lnTo>
                      <a:lnTo>
                        <a:pt x="82" y="76"/>
                      </a:lnTo>
                      <a:lnTo>
                        <a:pt x="82" y="76"/>
                      </a:lnTo>
                      <a:lnTo>
                        <a:pt x="82" y="76"/>
                      </a:lnTo>
                      <a:lnTo>
                        <a:pt x="82" y="74"/>
                      </a:lnTo>
                      <a:lnTo>
                        <a:pt x="78" y="74"/>
                      </a:lnTo>
                      <a:lnTo>
                        <a:pt x="78" y="76"/>
                      </a:lnTo>
                      <a:lnTo>
                        <a:pt x="78" y="76"/>
                      </a:lnTo>
                      <a:lnTo>
                        <a:pt x="78" y="76"/>
                      </a:lnTo>
                      <a:lnTo>
                        <a:pt x="78" y="76"/>
                      </a:lnTo>
                      <a:lnTo>
                        <a:pt x="74" y="76"/>
                      </a:lnTo>
                      <a:lnTo>
                        <a:pt x="74" y="76"/>
                      </a:lnTo>
                      <a:lnTo>
                        <a:pt x="74" y="76"/>
                      </a:lnTo>
                      <a:lnTo>
                        <a:pt x="74" y="76"/>
                      </a:lnTo>
                      <a:lnTo>
                        <a:pt x="74" y="74"/>
                      </a:lnTo>
                      <a:lnTo>
                        <a:pt x="74" y="74"/>
                      </a:lnTo>
                      <a:lnTo>
                        <a:pt x="70" y="76"/>
                      </a:lnTo>
                      <a:lnTo>
                        <a:pt x="70" y="76"/>
                      </a:lnTo>
                      <a:lnTo>
                        <a:pt x="70" y="74"/>
                      </a:lnTo>
                      <a:lnTo>
                        <a:pt x="68" y="74"/>
                      </a:lnTo>
                      <a:lnTo>
                        <a:pt x="68" y="74"/>
                      </a:lnTo>
                      <a:lnTo>
                        <a:pt x="68" y="74"/>
                      </a:lnTo>
                      <a:lnTo>
                        <a:pt x="68" y="74"/>
                      </a:lnTo>
                      <a:lnTo>
                        <a:pt x="68" y="74"/>
                      </a:lnTo>
                      <a:lnTo>
                        <a:pt x="68" y="74"/>
                      </a:lnTo>
                      <a:lnTo>
                        <a:pt x="64" y="74"/>
                      </a:lnTo>
                      <a:lnTo>
                        <a:pt x="64" y="74"/>
                      </a:lnTo>
                      <a:lnTo>
                        <a:pt x="64" y="74"/>
                      </a:lnTo>
                      <a:lnTo>
                        <a:pt x="64" y="74"/>
                      </a:lnTo>
                      <a:lnTo>
                        <a:pt x="68" y="74"/>
                      </a:lnTo>
                      <a:lnTo>
                        <a:pt x="64" y="70"/>
                      </a:lnTo>
                      <a:lnTo>
                        <a:pt x="64" y="70"/>
                      </a:lnTo>
                      <a:lnTo>
                        <a:pt x="60" y="70"/>
                      </a:lnTo>
                      <a:lnTo>
                        <a:pt x="60" y="70"/>
                      </a:lnTo>
                      <a:lnTo>
                        <a:pt x="56" y="70"/>
                      </a:lnTo>
                      <a:lnTo>
                        <a:pt x="56" y="70"/>
                      </a:lnTo>
                      <a:lnTo>
                        <a:pt x="52" y="70"/>
                      </a:lnTo>
                      <a:lnTo>
                        <a:pt x="52" y="70"/>
                      </a:lnTo>
                      <a:lnTo>
                        <a:pt x="48" y="70"/>
                      </a:lnTo>
                      <a:lnTo>
                        <a:pt x="48" y="70"/>
                      </a:lnTo>
                      <a:lnTo>
                        <a:pt x="44" y="70"/>
                      </a:lnTo>
                      <a:lnTo>
                        <a:pt x="44" y="70"/>
                      </a:lnTo>
                      <a:lnTo>
                        <a:pt x="42" y="70"/>
                      </a:lnTo>
                      <a:lnTo>
                        <a:pt x="42" y="70"/>
                      </a:lnTo>
                      <a:lnTo>
                        <a:pt x="38" y="70"/>
                      </a:lnTo>
                      <a:lnTo>
                        <a:pt x="34" y="70"/>
                      </a:lnTo>
                      <a:lnTo>
                        <a:pt x="34" y="70"/>
                      </a:lnTo>
                      <a:lnTo>
                        <a:pt x="34" y="74"/>
                      </a:lnTo>
                      <a:lnTo>
                        <a:pt x="30" y="74"/>
                      </a:lnTo>
                      <a:lnTo>
                        <a:pt x="30" y="74"/>
                      </a:lnTo>
                      <a:lnTo>
                        <a:pt x="26" y="74"/>
                      </a:lnTo>
                      <a:lnTo>
                        <a:pt x="26" y="74"/>
                      </a:lnTo>
                      <a:lnTo>
                        <a:pt x="26" y="74"/>
                      </a:lnTo>
                      <a:lnTo>
                        <a:pt x="22" y="74"/>
                      </a:lnTo>
                      <a:lnTo>
                        <a:pt x="22" y="74"/>
                      </a:lnTo>
                      <a:lnTo>
                        <a:pt x="22" y="74"/>
                      </a:lnTo>
                      <a:lnTo>
                        <a:pt x="22" y="74"/>
                      </a:lnTo>
                      <a:lnTo>
                        <a:pt x="22" y="74"/>
                      </a:lnTo>
                      <a:lnTo>
                        <a:pt x="22" y="74"/>
                      </a:lnTo>
                      <a:lnTo>
                        <a:pt x="18" y="74"/>
                      </a:lnTo>
                      <a:lnTo>
                        <a:pt x="18" y="76"/>
                      </a:lnTo>
                      <a:lnTo>
                        <a:pt x="14" y="76"/>
                      </a:lnTo>
                      <a:lnTo>
                        <a:pt x="14" y="76"/>
                      </a:lnTo>
                      <a:lnTo>
                        <a:pt x="14" y="76"/>
                      </a:lnTo>
                      <a:lnTo>
                        <a:pt x="14" y="76"/>
                      </a:lnTo>
                      <a:lnTo>
                        <a:pt x="14" y="76"/>
                      </a:lnTo>
                      <a:lnTo>
                        <a:pt x="14" y="76"/>
                      </a:lnTo>
                      <a:lnTo>
                        <a:pt x="14" y="76"/>
                      </a:lnTo>
                      <a:lnTo>
                        <a:pt x="12" y="74"/>
                      </a:lnTo>
                      <a:lnTo>
                        <a:pt x="12" y="74"/>
                      </a:lnTo>
                      <a:lnTo>
                        <a:pt x="12" y="74"/>
                      </a:lnTo>
                      <a:lnTo>
                        <a:pt x="12" y="74"/>
                      </a:lnTo>
                      <a:lnTo>
                        <a:pt x="12" y="74"/>
                      </a:lnTo>
                      <a:lnTo>
                        <a:pt x="14" y="70"/>
                      </a:lnTo>
                      <a:lnTo>
                        <a:pt x="14" y="74"/>
                      </a:lnTo>
                      <a:lnTo>
                        <a:pt x="18" y="74"/>
                      </a:lnTo>
                      <a:lnTo>
                        <a:pt x="18" y="74"/>
                      </a:lnTo>
                      <a:lnTo>
                        <a:pt x="18" y="74"/>
                      </a:lnTo>
                      <a:lnTo>
                        <a:pt x="18" y="74"/>
                      </a:lnTo>
                      <a:lnTo>
                        <a:pt x="18" y="74"/>
                      </a:lnTo>
                      <a:lnTo>
                        <a:pt x="22" y="74"/>
                      </a:lnTo>
                      <a:lnTo>
                        <a:pt x="22" y="74"/>
                      </a:lnTo>
                      <a:lnTo>
                        <a:pt x="22" y="70"/>
                      </a:lnTo>
                      <a:lnTo>
                        <a:pt x="22" y="70"/>
                      </a:lnTo>
                      <a:lnTo>
                        <a:pt x="22" y="74"/>
                      </a:lnTo>
                      <a:lnTo>
                        <a:pt x="26" y="74"/>
                      </a:lnTo>
                      <a:lnTo>
                        <a:pt x="26" y="74"/>
                      </a:lnTo>
                      <a:lnTo>
                        <a:pt x="26" y="74"/>
                      </a:lnTo>
                      <a:lnTo>
                        <a:pt x="26" y="74"/>
                      </a:lnTo>
                      <a:lnTo>
                        <a:pt x="26" y="74"/>
                      </a:lnTo>
                      <a:lnTo>
                        <a:pt x="26" y="74"/>
                      </a:lnTo>
                      <a:lnTo>
                        <a:pt x="30" y="74"/>
                      </a:lnTo>
                      <a:lnTo>
                        <a:pt x="30" y="74"/>
                      </a:lnTo>
                      <a:lnTo>
                        <a:pt x="30" y="74"/>
                      </a:lnTo>
                      <a:lnTo>
                        <a:pt x="30" y="70"/>
                      </a:lnTo>
                      <a:lnTo>
                        <a:pt x="30" y="70"/>
                      </a:lnTo>
                      <a:lnTo>
                        <a:pt x="30" y="70"/>
                      </a:lnTo>
                      <a:lnTo>
                        <a:pt x="30" y="70"/>
                      </a:lnTo>
                      <a:lnTo>
                        <a:pt x="30" y="70"/>
                      </a:lnTo>
                      <a:lnTo>
                        <a:pt x="34" y="70"/>
                      </a:lnTo>
                      <a:lnTo>
                        <a:pt x="34" y="66"/>
                      </a:lnTo>
                      <a:lnTo>
                        <a:pt x="30" y="66"/>
                      </a:lnTo>
                      <a:lnTo>
                        <a:pt x="30" y="70"/>
                      </a:lnTo>
                      <a:lnTo>
                        <a:pt x="30" y="70"/>
                      </a:lnTo>
                      <a:lnTo>
                        <a:pt x="30" y="70"/>
                      </a:lnTo>
                      <a:lnTo>
                        <a:pt x="30" y="70"/>
                      </a:lnTo>
                      <a:lnTo>
                        <a:pt x="30" y="70"/>
                      </a:lnTo>
                      <a:lnTo>
                        <a:pt x="30" y="70"/>
                      </a:lnTo>
                      <a:lnTo>
                        <a:pt x="30" y="74"/>
                      </a:lnTo>
                      <a:lnTo>
                        <a:pt x="30" y="74"/>
                      </a:lnTo>
                      <a:lnTo>
                        <a:pt x="30" y="74"/>
                      </a:lnTo>
                      <a:lnTo>
                        <a:pt x="30" y="74"/>
                      </a:lnTo>
                      <a:lnTo>
                        <a:pt x="26" y="70"/>
                      </a:lnTo>
                      <a:lnTo>
                        <a:pt x="26" y="70"/>
                      </a:lnTo>
                      <a:lnTo>
                        <a:pt x="26" y="74"/>
                      </a:lnTo>
                      <a:lnTo>
                        <a:pt x="26" y="74"/>
                      </a:lnTo>
                      <a:lnTo>
                        <a:pt x="22" y="70"/>
                      </a:lnTo>
                      <a:lnTo>
                        <a:pt x="22" y="70"/>
                      </a:lnTo>
                      <a:lnTo>
                        <a:pt x="22" y="70"/>
                      </a:lnTo>
                      <a:lnTo>
                        <a:pt x="22" y="70"/>
                      </a:lnTo>
                      <a:lnTo>
                        <a:pt x="22" y="70"/>
                      </a:lnTo>
                      <a:lnTo>
                        <a:pt x="22" y="70"/>
                      </a:lnTo>
                      <a:lnTo>
                        <a:pt x="22" y="74"/>
                      </a:lnTo>
                      <a:lnTo>
                        <a:pt x="22" y="70"/>
                      </a:lnTo>
                      <a:lnTo>
                        <a:pt x="18" y="74"/>
                      </a:lnTo>
                      <a:lnTo>
                        <a:pt x="18" y="74"/>
                      </a:lnTo>
                      <a:lnTo>
                        <a:pt x="18" y="74"/>
                      </a:lnTo>
                      <a:lnTo>
                        <a:pt x="18" y="74"/>
                      </a:lnTo>
                      <a:lnTo>
                        <a:pt x="18" y="74"/>
                      </a:lnTo>
                      <a:lnTo>
                        <a:pt x="14" y="70"/>
                      </a:lnTo>
                      <a:lnTo>
                        <a:pt x="14" y="70"/>
                      </a:lnTo>
                      <a:lnTo>
                        <a:pt x="14" y="70"/>
                      </a:lnTo>
                      <a:lnTo>
                        <a:pt x="14" y="70"/>
                      </a:lnTo>
                      <a:lnTo>
                        <a:pt x="14" y="70"/>
                      </a:lnTo>
                      <a:lnTo>
                        <a:pt x="14" y="70"/>
                      </a:lnTo>
                      <a:lnTo>
                        <a:pt x="14" y="70"/>
                      </a:lnTo>
                      <a:lnTo>
                        <a:pt x="14" y="74"/>
                      </a:lnTo>
                      <a:lnTo>
                        <a:pt x="12" y="74"/>
                      </a:lnTo>
                      <a:lnTo>
                        <a:pt x="12" y="74"/>
                      </a:lnTo>
                      <a:lnTo>
                        <a:pt x="12" y="70"/>
                      </a:lnTo>
                      <a:lnTo>
                        <a:pt x="12" y="70"/>
                      </a:lnTo>
                      <a:lnTo>
                        <a:pt x="12" y="66"/>
                      </a:lnTo>
                      <a:lnTo>
                        <a:pt x="12" y="66"/>
                      </a:lnTo>
                      <a:lnTo>
                        <a:pt x="12" y="66"/>
                      </a:lnTo>
                      <a:lnTo>
                        <a:pt x="12" y="66"/>
                      </a:lnTo>
                      <a:lnTo>
                        <a:pt x="12" y="66"/>
                      </a:lnTo>
                      <a:lnTo>
                        <a:pt x="12" y="62"/>
                      </a:lnTo>
                      <a:lnTo>
                        <a:pt x="12" y="62"/>
                      </a:lnTo>
                      <a:lnTo>
                        <a:pt x="14" y="62"/>
                      </a:lnTo>
                      <a:lnTo>
                        <a:pt x="14" y="62"/>
                      </a:lnTo>
                      <a:lnTo>
                        <a:pt x="22" y="62"/>
                      </a:lnTo>
                      <a:lnTo>
                        <a:pt x="26" y="62"/>
                      </a:lnTo>
                      <a:lnTo>
                        <a:pt x="26" y="62"/>
                      </a:lnTo>
                      <a:lnTo>
                        <a:pt x="26" y="62"/>
                      </a:lnTo>
                      <a:lnTo>
                        <a:pt x="26" y="62"/>
                      </a:lnTo>
                      <a:lnTo>
                        <a:pt x="26" y="58"/>
                      </a:lnTo>
                      <a:lnTo>
                        <a:pt x="30" y="58"/>
                      </a:lnTo>
                      <a:lnTo>
                        <a:pt x="34" y="58"/>
                      </a:lnTo>
                      <a:lnTo>
                        <a:pt x="34" y="58"/>
                      </a:lnTo>
                      <a:lnTo>
                        <a:pt x="34" y="58"/>
                      </a:lnTo>
                      <a:lnTo>
                        <a:pt x="34" y="58"/>
                      </a:lnTo>
                      <a:lnTo>
                        <a:pt x="34" y="58"/>
                      </a:lnTo>
                      <a:lnTo>
                        <a:pt x="34" y="58"/>
                      </a:lnTo>
                      <a:lnTo>
                        <a:pt x="34" y="58"/>
                      </a:lnTo>
                      <a:lnTo>
                        <a:pt x="34" y="58"/>
                      </a:lnTo>
                      <a:lnTo>
                        <a:pt x="34" y="54"/>
                      </a:lnTo>
                      <a:lnTo>
                        <a:pt x="34" y="54"/>
                      </a:lnTo>
                      <a:lnTo>
                        <a:pt x="34" y="54"/>
                      </a:lnTo>
                      <a:lnTo>
                        <a:pt x="38" y="54"/>
                      </a:lnTo>
                      <a:lnTo>
                        <a:pt x="38" y="54"/>
                      </a:lnTo>
                      <a:lnTo>
                        <a:pt x="38" y="54"/>
                      </a:lnTo>
                      <a:lnTo>
                        <a:pt x="38" y="54"/>
                      </a:lnTo>
                      <a:lnTo>
                        <a:pt x="38" y="54"/>
                      </a:lnTo>
                      <a:lnTo>
                        <a:pt x="38" y="54"/>
                      </a:lnTo>
                      <a:lnTo>
                        <a:pt x="38" y="58"/>
                      </a:lnTo>
                      <a:lnTo>
                        <a:pt x="38" y="58"/>
                      </a:lnTo>
                      <a:lnTo>
                        <a:pt x="42" y="58"/>
                      </a:lnTo>
                      <a:lnTo>
                        <a:pt x="42" y="58"/>
                      </a:lnTo>
                      <a:lnTo>
                        <a:pt x="42" y="58"/>
                      </a:lnTo>
                      <a:lnTo>
                        <a:pt x="42" y="58"/>
                      </a:lnTo>
                      <a:lnTo>
                        <a:pt x="42" y="58"/>
                      </a:lnTo>
                      <a:lnTo>
                        <a:pt x="42" y="58"/>
                      </a:lnTo>
                      <a:lnTo>
                        <a:pt x="42" y="58"/>
                      </a:lnTo>
                      <a:lnTo>
                        <a:pt x="44" y="58"/>
                      </a:lnTo>
                      <a:lnTo>
                        <a:pt x="44" y="58"/>
                      </a:lnTo>
                      <a:lnTo>
                        <a:pt x="44" y="62"/>
                      </a:lnTo>
                      <a:lnTo>
                        <a:pt x="48" y="62"/>
                      </a:lnTo>
                      <a:lnTo>
                        <a:pt x="48" y="62"/>
                      </a:lnTo>
                      <a:lnTo>
                        <a:pt x="48" y="62"/>
                      </a:lnTo>
                      <a:lnTo>
                        <a:pt x="48" y="62"/>
                      </a:lnTo>
                      <a:lnTo>
                        <a:pt x="48" y="58"/>
                      </a:lnTo>
                      <a:lnTo>
                        <a:pt x="52" y="58"/>
                      </a:lnTo>
                      <a:lnTo>
                        <a:pt x="52" y="58"/>
                      </a:lnTo>
                      <a:lnTo>
                        <a:pt x="52" y="58"/>
                      </a:lnTo>
                      <a:lnTo>
                        <a:pt x="52" y="58"/>
                      </a:lnTo>
                      <a:lnTo>
                        <a:pt x="52" y="58"/>
                      </a:lnTo>
                      <a:lnTo>
                        <a:pt x="52" y="58"/>
                      </a:lnTo>
                      <a:lnTo>
                        <a:pt x="56" y="58"/>
                      </a:lnTo>
                      <a:lnTo>
                        <a:pt x="56" y="58"/>
                      </a:lnTo>
                      <a:lnTo>
                        <a:pt x="56" y="58"/>
                      </a:lnTo>
                      <a:lnTo>
                        <a:pt x="56" y="58"/>
                      </a:lnTo>
                      <a:lnTo>
                        <a:pt x="56" y="54"/>
                      </a:lnTo>
                      <a:lnTo>
                        <a:pt x="52" y="54"/>
                      </a:lnTo>
                      <a:lnTo>
                        <a:pt x="52" y="54"/>
                      </a:lnTo>
                      <a:lnTo>
                        <a:pt x="52" y="54"/>
                      </a:lnTo>
                      <a:lnTo>
                        <a:pt x="52" y="54"/>
                      </a:lnTo>
                      <a:lnTo>
                        <a:pt x="52" y="54"/>
                      </a:lnTo>
                      <a:lnTo>
                        <a:pt x="52" y="54"/>
                      </a:lnTo>
                      <a:lnTo>
                        <a:pt x="48" y="54"/>
                      </a:lnTo>
                      <a:lnTo>
                        <a:pt x="48" y="54"/>
                      </a:lnTo>
                      <a:lnTo>
                        <a:pt x="48" y="54"/>
                      </a:lnTo>
                      <a:lnTo>
                        <a:pt x="48" y="54"/>
                      </a:lnTo>
                      <a:lnTo>
                        <a:pt x="48" y="58"/>
                      </a:lnTo>
                      <a:lnTo>
                        <a:pt x="44" y="58"/>
                      </a:lnTo>
                      <a:lnTo>
                        <a:pt x="44" y="54"/>
                      </a:lnTo>
                      <a:lnTo>
                        <a:pt x="44" y="54"/>
                      </a:lnTo>
                      <a:lnTo>
                        <a:pt x="44" y="54"/>
                      </a:lnTo>
                      <a:lnTo>
                        <a:pt x="44" y="54"/>
                      </a:lnTo>
                      <a:lnTo>
                        <a:pt x="44" y="54"/>
                      </a:lnTo>
                      <a:lnTo>
                        <a:pt x="44" y="54"/>
                      </a:lnTo>
                      <a:lnTo>
                        <a:pt x="44" y="54"/>
                      </a:lnTo>
                      <a:lnTo>
                        <a:pt x="44" y="54"/>
                      </a:lnTo>
                      <a:lnTo>
                        <a:pt x="44" y="54"/>
                      </a:lnTo>
                      <a:lnTo>
                        <a:pt x="44" y="54"/>
                      </a:lnTo>
                      <a:lnTo>
                        <a:pt x="44" y="54"/>
                      </a:lnTo>
                      <a:lnTo>
                        <a:pt x="42" y="54"/>
                      </a:lnTo>
                      <a:lnTo>
                        <a:pt x="42" y="54"/>
                      </a:lnTo>
                      <a:lnTo>
                        <a:pt x="42" y="54"/>
                      </a:lnTo>
                      <a:lnTo>
                        <a:pt x="42" y="54"/>
                      </a:lnTo>
                      <a:lnTo>
                        <a:pt x="42" y="54"/>
                      </a:lnTo>
                      <a:lnTo>
                        <a:pt x="42" y="54"/>
                      </a:lnTo>
                      <a:lnTo>
                        <a:pt x="42" y="52"/>
                      </a:lnTo>
                      <a:lnTo>
                        <a:pt x="42" y="52"/>
                      </a:lnTo>
                      <a:lnTo>
                        <a:pt x="42" y="52"/>
                      </a:lnTo>
                      <a:lnTo>
                        <a:pt x="42" y="52"/>
                      </a:lnTo>
                      <a:lnTo>
                        <a:pt x="42" y="52"/>
                      </a:lnTo>
                      <a:lnTo>
                        <a:pt x="42" y="52"/>
                      </a:lnTo>
                      <a:lnTo>
                        <a:pt x="38" y="52"/>
                      </a:lnTo>
                      <a:lnTo>
                        <a:pt x="38" y="52"/>
                      </a:lnTo>
                      <a:lnTo>
                        <a:pt x="34" y="52"/>
                      </a:lnTo>
                      <a:lnTo>
                        <a:pt x="34" y="52"/>
                      </a:lnTo>
                      <a:lnTo>
                        <a:pt x="34" y="52"/>
                      </a:lnTo>
                      <a:lnTo>
                        <a:pt x="34" y="52"/>
                      </a:lnTo>
                      <a:lnTo>
                        <a:pt x="34" y="52"/>
                      </a:lnTo>
                      <a:lnTo>
                        <a:pt x="34" y="52"/>
                      </a:lnTo>
                      <a:lnTo>
                        <a:pt x="34" y="52"/>
                      </a:lnTo>
                      <a:lnTo>
                        <a:pt x="30" y="52"/>
                      </a:lnTo>
                      <a:lnTo>
                        <a:pt x="30" y="52"/>
                      </a:lnTo>
                      <a:lnTo>
                        <a:pt x="30" y="52"/>
                      </a:lnTo>
                      <a:lnTo>
                        <a:pt x="30" y="54"/>
                      </a:lnTo>
                      <a:lnTo>
                        <a:pt x="30" y="54"/>
                      </a:lnTo>
                      <a:lnTo>
                        <a:pt x="30" y="54"/>
                      </a:lnTo>
                      <a:lnTo>
                        <a:pt x="30" y="54"/>
                      </a:lnTo>
                      <a:lnTo>
                        <a:pt x="30" y="54"/>
                      </a:lnTo>
                      <a:lnTo>
                        <a:pt x="26" y="54"/>
                      </a:lnTo>
                      <a:lnTo>
                        <a:pt x="22" y="54"/>
                      </a:lnTo>
                      <a:lnTo>
                        <a:pt x="22" y="54"/>
                      </a:lnTo>
                      <a:lnTo>
                        <a:pt x="14" y="54"/>
                      </a:lnTo>
                      <a:lnTo>
                        <a:pt x="14" y="54"/>
                      </a:lnTo>
                      <a:lnTo>
                        <a:pt x="14" y="52"/>
                      </a:lnTo>
                      <a:lnTo>
                        <a:pt x="14" y="52"/>
                      </a:lnTo>
                      <a:lnTo>
                        <a:pt x="14" y="52"/>
                      </a:lnTo>
                      <a:lnTo>
                        <a:pt x="14" y="52"/>
                      </a:lnTo>
                      <a:lnTo>
                        <a:pt x="14" y="52"/>
                      </a:lnTo>
                      <a:lnTo>
                        <a:pt x="14" y="52"/>
                      </a:lnTo>
                      <a:lnTo>
                        <a:pt x="14" y="52"/>
                      </a:lnTo>
                      <a:lnTo>
                        <a:pt x="14" y="52"/>
                      </a:lnTo>
                      <a:lnTo>
                        <a:pt x="14" y="48"/>
                      </a:lnTo>
                      <a:lnTo>
                        <a:pt x="14" y="52"/>
                      </a:lnTo>
                      <a:lnTo>
                        <a:pt x="14" y="52"/>
                      </a:lnTo>
                      <a:lnTo>
                        <a:pt x="12" y="52"/>
                      </a:lnTo>
                      <a:lnTo>
                        <a:pt x="12" y="52"/>
                      </a:lnTo>
                      <a:lnTo>
                        <a:pt x="12" y="48"/>
                      </a:lnTo>
                      <a:lnTo>
                        <a:pt x="14" y="48"/>
                      </a:lnTo>
                      <a:lnTo>
                        <a:pt x="14" y="48"/>
                      </a:lnTo>
                      <a:lnTo>
                        <a:pt x="14" y="48"/>
                      </a:lnTo>
                      <a:lnTo>
                        <a:pt x="14" y="48"/>
                      </a:lnTo>
                      <a:lnTo>
                        <a:pt x="14" y="48"/>
                      </a:lnTo>
                      <a:lnTo>
                        <a:pt x="14" y="48"/>
                      </a:lnTo>
                      <a:lnTo>
                        <a:pt x="14" y="48"/>
                      </a:lnTo>
                      <a:lnTo>
                        <a:pt x="14" y="48"/>
                      </a:lnTo>
                      <a:lnTo>
                        <a:pt x="18" y="44"/>
                      </a:lnTo>
                      <a:lnTo>
                        <a:pt x="18" y="44"/>
                      </a:lnTo>
                      <a:lnTo>
                        <a:pt x="18" y="44"/>
                      </a:lnTo>
                      <a:lnTo>
                        <a:pt x="18" y="44"/>
                      </a:lnTo>
                      <a:lnTo>
                        <a:pt x="18" y="44"/>
                      </a:lnTo>
                      <a:lnTo>
                        <a:pt x="14" y="44"/>
                      </a:lnTo>
                      <a:lnTo>
                        <a:pt x="14" y="48"/>
                      </a:lnTo>
                      <a:lnTo>
                        <a:pt x="14" y="48"/>
                      </a:lnTo>
                      <a:lnTo>
                        <a:pt x="14" y="48"/>
                      </a:lnTo>
                      <a:lnTo>
                        <a:pt x="14" y="48"/>
                      </a:lnTo>
                      <a:lnTo>
                        <a:pt x="12" y="48"/>
                      </a:lnTo>
                      <a:lnTo>
                        <a:pt x="12" y="48"/>
                      </a:lnTo>
                      <a:lnTo>
                        <a:pt x="12" y="44"/>
                      </a:lnTo>
                      <a:lnTo>
                        <a:pt x="12" y="44"/>
                      </a:lnTo>
                      <a:lnTo>
                        <a:pt x="12" y="44"/>
                      </a:lnTo>
                      <a:lnTo>
                        <a:pt x="12" y="44"/>
                      </a:lnTo>
                      <a:lnTo>
                        <a:pt x="12" y="40"/>
                      </a:lnTo>
                      <a:lnTo>
                        <a:pt x="12" y="40"/>
                      </a:lnTo>
                      <a:lnTo>
                        <a:pt x="8" y="40"/>
                      </a:lnTo>
                      <a:lnTo>
                        <a:pt x="8" y="40"/>
                      </a:lnTo>
                      <a:lnTo>
                        <a:pt x="8" y="40"/>
                      </a:lnTo>
                      <a:lnTo>
                        <a:pt x="8" y="40"/>
                      </a:lnTo>
                      <a:lnTo>
                        <a:pt x="8" y="40"/>
                      </a:lnTo>
                      <a:lnTo>
                        <a:pt x="8" y="36"/>
                      </a:lnTo>
                      <a:lnTo>
                        <a:pt x="8" y="36"/>
                      </a:lnTo>
                      <a:lnTo>
                        <a:pt x="8" y="36"/>
                      </a:lnTo>
                      <a:lnTo>
                        <a:pt x="8" y="36"/>
                      </a:lnTo>
                      <a:lnTo>
                        <a:pt x="8" y="36"/>
                      </a:lnTo>
                      <a:lnTo>
                        <a:pt x="4" y="36"/>
                      </a:lnTo>
                      <a:lnTo>
                        <a:pt x="4" y="36"/>
                      </a:lnTo>
                      <a:lnTo>
                        <a:pt x="4" y="36"/>
                      </a:lnTo>
                      <a:lnTo>
                        <a:pt x="4" y="36"/>
                      </a:lnTo>
                      <a:lnTo>
                        <a:pt x="4" y="36"/>
                      </a:lnTo>
                      <a:lnTo>
                        <a:pt x="4" y="36"/>
                      </a:lnTo>
                      <a:lnTo>
                        <a:pt x="0" y="36"/>
                      </a:lnTo>
                      <a:lnTo>
                        <a:pt x="4" y="32"/>
                      </a:lnTo>
                      <a:lnTo>
                        <a:pt x="4" y="32"/>
                      </a:lnTo>
                      <a:lnTo>
                        <a:pt x="4" y="32"/>
                      </a:lnTo>
                      <a:lnTo>
                        <a:pt x="4" y="32"/>
                      </a:lnTo>
                      <a:lnTo>
                        <a:pt x="8" y="32"/>
                      </a:lnTo>
                      <a:lnTo>
                        <a:pt x="8" y="32"/>
                      </a:lnTo>
                      <a:lnTo>
                        <a:pt x="8" y="32"/>
                      </a:lnTo>
                      <a:lnTo>
                        <a:pt x="8" y="32"/>
                      </a:lnTo>
                      <a:lnTo>
                        <a:pt x="8" y="32"/>
                      </a:lnTo>
                      <a:lnTo>
                        <a:pt x="12" y="28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4" y="22"/>
                      </a:lnTo>
                      <a:lnTo>
                        <a:pt x="14" y="22"/>
                      </a:lnTo>
                      <a:lnTo>
                        <a:pt x="14" y="22"/>
                      </a:lnTo>
                      <a:lnTo>
                        <a:pt x="14" y="22"/>
                      </a:lnTo>
                      <a:lnTo>
                        <a:pt x="14" y="18"/>
                      </a:lnTo>
                      <a:lnTo>
                        <a:pt x="14" y="18"/>
                      </a:lnTo>
                      <a:lnTo>
                        <a:pt x="14" y="18"/>
                      </a:lnTo>
                      <a:lnTo>
                        <a:pt x="14" y="18"/>
                      </a:lnTo>
                      <a:lnTo>
                        <a:pt x="14" y="14"/>
                      </a:lnTo>
                      <a:lnTo>
                        <a:pt x="14" y="10"/>
                      </a:lnTo>
                      <a:lnTo>
                        <a:pt x="14" y="10"/>
                      </a:lnTo>
                      <a:lnTo>
                        <a:pt x="18" y="10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22" y="2"/>
                      </a:lnTo>
                      <a:lnTo>
                        <a:pt x="22" y="2"/>
                      </a:lnTo>
                      <a:lnTo>
                        <a:pt x="22" y="2"/>
                      </a:lnTo>
                      <a:lnTo>
                        <a:pt x="22" y="2"/>
                      </a:lnTo>
                      <a:lnTo>
                        <a:pt x="22" y="2"/>
                      </a:lnTo>
                      <a:lnTo>
                        <a:pt x="26" y="2"/>
                      </a:lnTo>
                      <a:lnTo>
                        <a:pt x="26" y="2"/>
                      </a:lnTo>
                      <a:lnTo>
                        <a:pt x="26" y="2"/>
                      </a:lnTo>
                      <a:lnTo>
                        <a:pt x="26" y="2"/>
                      </a:lnTo>
                      <a:lnTo>
                        <a:pt x="26" y="2"/>
                      </a:lnTo>
                      <a:lnTo>
                        <a:pt x="30" y="2"/>
                      </a:lnTo>
                      <a:lnTo>
                        <a:pt x="30" y="2"/>
                      </a:lnTo>
                      <a:lnTo>
                        <a:pt x="30" y="2"/>
                      </a:lnTo>
                      <a:lnTo>
                        <a:pt x="30" y="2"/>
                      </a:lnTo>
                      <a:lnTo>
                        <a:pt x="34" y="2"/>
                      </a:lnTo>
                      <a:lnTo>
                        <a:pt x="34" y="2"/>
                      </a:lnTo>
                      <a:lnTo>
                        <a:pt x="38" y="2"/>
                      </a:lnTo>
                      <a:lnTo>
                        <a:pt x="38" y="2"/>
                      </a:lnTo>
                      <a:lnTo>
                        <a:pt x="38" y="2"/>
                      </a:lnTo>
                      <a:lnTo>
                        <a:pt x="38" y="0"/>
                      </a:lnTo>
                      <a:lnTo>
                        <a:pt x="38" y="2"/>
                      </a:lnTo>
                      <a:lnTo>
                        <a:pt x="38" y="2"/>
                      </a:lnTo>
                      <a:lnTo>
                        <a:pt x="38" y="2"/>
                      </a:lnTo>
                      <a:lnTo>
                        <a:pt x="38" y="2"/>
                      </a:lnTo>
                      <a:lnTo>
                        <a:pt x="42" y="2"/>
                      </a:lnTo>
                      <a:lnTo>
                        <a:pt x="42" y="2"/>
                      </a:lnTo>
                      <a:lnTo>
                        <a:pt x="42" y="2"/>
                      </a:lnTo>
                      <a:lnTo>
                        <a:pt x="44" y="2"/>
                      </a:lnTo>
                      <a:lnTo>
                        <a:pt x="44" y="2"/>
                      </a:lnTo>
                      <a:lnTo>
                        <a:pt x="44" y="2"/>
                      </a:lnTo>
                      <a:lnTo>
                        <a:pt x="48" y="2"/>
                      </a:lnTo>
                      <a:lnTo>
                        <a:pt x="48" y="2"/>
                      </a:lnTo>
                      <a:lnTo>
                        <a:pt x="52" y="6"/>
                      </a:lnTo>
                      <a:lnTo>
                        <a:pt x="52" y="6"/>
                      </a:lnTo>
                      <a:lnTo>
                        <a:pt x="52" y="10"/>
                      </a:lnTo>
                      <a:lnTo>
                        <a:pt x="56" y="10"/>
                      </a:lnTo>
                      <a:lnTo>
                        <a:pt x="56" y="10"/>
                      </a:lnTo>
                      <a:lnTo>
                        <a:pt x="56" y="10"/>
                      </a:lnTo>
                      <a:lnTo>
                        <a:pt x="56" y="10"/>
                      </a:lnTo>
                      <a:lnTo>
                        <a:pt x="56" y="10"/>
                      </a:lnTo>
                      <a:lnTo>
                        <a:pt x="56" y="10"/>
                      </a:lnTo>
                      <a:lnTo>
                        <a:pt x="56" y="10"/>
                      </a:lnTo>
                      <a:lnTo>
                        <a:pt x="60" y="10"/>
                      </a:lnTo>
                      <a:lnTo>
                        <a:pt x="60" y="10"/>
                      </a:lnTo>
                      <a:lnTo>
                        <a:pt x="60" y="14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64" y="22"/>
                      </a:lnTo>
                      <a:lnTo>
                        <a:pt x="64" y="22"/>
                      </a:lnTo>
                      <a:lnTo>
                        <a:pt x="64" y="22"/>
                      </a:lnTo>
                      <a:lnTo>
                        <a:pt x="68" y="22"/>
                      </a:lnTo>
                      <a:lnTo>
                        <a:pt x="68" y="26"/>
                      </a:lnTo>
                      <a:lnTo>
                        <a:pt x="68" y="26"/>
                      </a:lnTo>
                      <a:lnTo>
                        <a:pt x="68" y="26"/>
                      </a:lnTo>
                      <a:lnTo>
                        <a:pt x="68" y="26"/>
                      </a:lnTo>
                      <a:lnTo>
                        <a:pt x="68" y="26"/>
                      </a:lnTo>
                      <a:lnTo>
                        <a:pt x="68" y="26"/>
                      </a:lnTo>
                      <a:lnTo>
                        <a:pt x="68" y="26"/>
                      </a:lnTo>
                      <a:lnTo>
                        <a:pt x="68" y="26"/>
                      </a:lnTo>
                      <a:lnTo>
                        <a:pt x="68" y="26"/>
                      </a:lnTo>
                      <a:lnTo>
                        <a:pt x="68" y="28"/>
                      </a:lnTo>
                      <a:lnTo>
                        <a:pt x="70" y="28"/>
                      </a:lnTo>
                      <a:lnTo>
                        <a:pt x="70" y="28"/>
                      </a:lnTo>
                      <a:lnTo>
                        <a:pt x="70" y="28"/>
                      </a:lnTo>
                      <a:lnTo>
                        <a:pt x="70" y="28"/>
                      </a:lnTo>
                      <a:lnTo>
                        <a:pt x="74" y="28"/>
                      </a:lnTo>
                      <a:lnTo>
                        <a:pt x="74" y="32"/>
                      </a:lnTo>
                      <a:lnTo>
                        <a:pt x="74" y="32"/>
                      </a:lnTo>
                      <a:lnTo>
                        <a:pt x="74" y="32"/>
                      </a:lnTo>
                      <a:lnTo>
                        <a:pt x="74" y="32"/>
                      </a:lnTo>
                      <a:lnTo>
                        <a:pt x="78" y="32"/>
                      </a:lnTo>
                      <a:lnTo>
                        <a:pt x="78" y="36"/>
                      </a:lnTo>
                      <a:lnTo>
                        <a:pt x="78" y="36"/>
                      </a:lnTo>
                      <a:lnTo>
                        <a:pt x="78" y="40"/>
                      </a:lnTo>
                      <a:lnTo>
                        <a:pt x="78" y="40"/>
                      </a:lnTo>
                      <a:lnTo>
                        <a:pt x="78" y="40"/>
                      </a:lnTo>
                      <a:lnTo>
                        <a:pt x="78" y="40"/>
                      </a:lnTo>
                      <a:lnTo>
                        <a:pt x="78" y="44"/>
                      </a:lnTo>
                      <a:lnTo>
                        <a:pt x="82" y="44"/>
                      </a:lnTo>
                      <a:lnTo>
                        <a:pt x="82" y="44"/>
                      </a:lnTo>
                      <a:lnTo>
                        <a:pt x="78" y="48"/>
                      </a:lnTo>
                      <a:lnTo>
                        <a:pt x="78" y="48"/>
                      </a:lnTo>
                      <a:lnTo>
                        <a:pt x="78" y="48"/>
                      </a:lnTo>
                      <a:lnTo>
                        <a:pt x="82" y="48"/>
                      </a:lnTo>
                      <a:lnTo>
                        <a:pt x="82" y="48"/>
                      </a:lnTo>
                      <a:lnTo>
                        <a:pt x="82" y="48"/>
                      </a:lnTo>
                      <a:lnTo>
                        <a:pt x="82" y="52"/>
                      </a:lnTo>
                      <a:lnTo>
                        <a:pt x="82" y="52"/>
                      </a:lnTo>
                      <a:lnTo>
                        <a:pt x="82" y="52"/>
                      </a:lnTo>
                      <a:lnTo>
                        <a:pt x="82" y="52"/>
                      </a:lnTo>
                      <a:lnTo>
                        <a:pt x="82" y="52"/>
                      </a:lnTo>
                      <a:lnTo>
                        <a:pt x="82" y="52"/>
                      </a:lnTo>
                      <a:lnTo>
                        <a:pt x="78" y="52"/>
                      </a:lnTo>
                      <a:lnTo>
                        <a:pt x="78" y="52"/>
                      </a:lnTo>
                      <a:lnTo>
                        <a:pt x="78" y="52"/>
                      </a:lnTo>
                      <a:lnTo>
                        <a:pt x="78" y="54"/>
                      </a:lnTo>
                      <a:lnTo>
                        <a:pt x="78" y="54"/>
                      </a:lnTo>
                      <a:lnTo>
                        <a:pt x="78" y="54"/>
                      </a:lnTo>
                      <a:lnTo>
                        <a:pt x="82" y="54"/>
                      </a:lnTo>
                      <a:lnTo>
                        <a:pt x="82" y="58"/>
                      </a:lnTo>
                      <a:lnTo>
                        <a:pt x="82" y="58"/>
                      </a:lnTo>
                      <a:lnTo>
                        <a:pt x="82" y="58"/>
                      </a:lnTo>
                      <a:lnTo>
                        <a:pt x="82" y="58"/>
                      </a:lnTo>
                      <a:lnTo>
                        <a:pt x="82" y="58"/>
                      </a:lnTo>
                      <a:lnTo>
                        <a:pt x="86" y="58"/>
                      </a:lnTo>
                      <a:lnTo>
                        <a:pt x="86" y="58"/>
                      </a:lnTo>
                      <a:lnTo>
                        <a:pt x="86" y="58"/>
                      </a:lnTo>
                      <a:lnTo>
                        <a:pt x="86" y="58"/>
                      </a:lnTo>
                      <a:lnTo>
                        <a:pt x="86" y="62"/>
                      </a:lnTo>
                      <a:lnTo>
                        <a:pt x="86" y="62"/>
                      </a:lnTo>
                      <a:lnTo>
                        <a:pt x="86" y="62"/>
                      </a:lnTo>
                      <a:lnTo>
                        <a:pt x="86" y="62"/>
                      </a:lnTo>
                      <a:lnTo>
                        <a:pt x="90" y="62"/>
                      </a:lnTo>
                      <a:lnTo>
                        <a:pt x="90" y="66"/>
                      </a:lnTo>
                      <a:lnTo>
                        <a:pt x="90" y="66"/>
                      </a:lnTo>
                      <a:lnTo>
                        <a:pt x="90" y="66"/>
                      </a:lnTo>
                      <a:lnTo>
                        <a:pt x="90" y="70"/>
                      </a:lnTo>
                      <a:lnTo>
                        <a:pt x="90" y="74"/>
                      </a:lnTo>
                      <a:lnTo>
                        <a:pt x="90" y="74"/>
                      </a:lnTo>
                      <a:lnTo>
                        <a:pt x="90" y="74"/>
                      </a:lnTo>
                      <a:lnTo>
                        <a:pt x="90" y="74"/>
                      </a:lnTo>
                      <a:lnTo>
                        <a:pt x="90" y="74"/>
                      </a:lnTo>
                      <a:lnTo>
                        <a:pt x="90" y="7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20" name="Freeform 166"/>
                <p:cNvSpPr>
                  <a:spLocks noEditPoints="1"/>
                </p:cNvSpPr>
                <p:nvPr/>
              </p:nvSpPr>
              <p:spPr bwMode="auto">
                <a:xfrm>
                  <a:off x="5429250" y="4680018"/>
                  <a:ext cx="212725" cy="136525"/>
                </a:xfrm>
                <a:custGeom>
                  <a:avLst/>
                  <a:gdLst>
                    <a:gd name="T0" fmla="*/ 4 w 134"/>
                    <a:gd name="T1" fmla="*/ 86 h 86"/>
                    <a:gd name="T2" fmla="*/ 4 w 134"/>
                    <a:gd name="T3" fmla="*/ 86 h 86"/>
                    <a:gd name="T4" fmla="*/ 0 w 134"/>
                    <a:gd name="T5" fmla="*/ 86 h 86"/>
                    <a:gd name="T6" fmla="*/ 0 w 134"/>
                    <a:gd name="T7" fmla="*/ 86 h 86"/>
                    <a:gd name="T8" fmla="*/ 0 w 134"/>
                    <a:gd name="T9" fmla="*/ 86 h 86"/>
                    <a:gd name="T10" fmla="*/ 0 w 134"/>
                    <a:gd name="T11" fmla="*/ 86 h 86"/>
                    <a:gd name="T12" fmla="*/ 0 w 134"/>
                    <a:gd name="T13" fmla="*/ 86 h 86"/>
                    <a:gd name="T14" fmla="*/ 0 w 134"/>
                    <a:gd name="T15" fmla="*/ 86 h 86"/>
                    <a:gd name="T16" fmla="*/ 0 w 134"/>
                    <a:gd name="T17" fmla="*/ 86 h 86"/>
                    <a:gd name="T18" fmla="*/ 4 w 134"/>
                    <a:gd name="T19" fmla="*/ 86 h 86"/>
                    <a:gd name="T20" fmla="*/ 4 w 134"/>
                    <a:gd name="T21" fmla="*/ 86 h 86"/>
                    <a:gd name="T22" fmla="*/ 4 w 134"/>
                    <a:gd name="T23" fmla="*/ 86 h 86"/>
                    <a:gd name="T24" fmla="*/ 4 w 134"/>
                    <a:gd name="T25" fmla="*/ 86 h 86"/>
                    <a:gd name="T26" fmla="*/ 4 w 134"/>
                    <a:gd name="T27" fmla="*/ 82 h 86"/>
                    <a:gd name="T28" fmla="*/ 4 w 134"/>
                    <a:gd name="T29" fmla="*/ 82 h 86"/>
                    <a:gd name="T30" fmla="*/ 4 w 134"/>
                    <a:gd name="T31" fmla="*/ 82 h 86"/>
                    <a:gd name="T32" fmla="*/ 8 w 134"/>
                    <a:gd name="T33" fmla="*/ 82 h 86"/>
                    <a:gd name="T34" fmla="*/ 8 w 134"/>
                    <a:gd name="T35" fmla="*/ 86 h 86"/>
                    <a:gd name="T36" fmla="*/ 8 w 134"/>
                    <a:gd name="T37" fmla="*/ 86 h 86"/>
                    <a:gd name="T38" fmla="*/ 4 w 134"/>
                    <a:gd name="T39" fmla="*/ 86 h 86"/>
                    <a:gd name="T40" fmla="*/ 4 w 134"/>
                    <a:gd name="T41" fmla="*/ 86 h 86"/>
                    <a:gd name="T42" fmla="*/ 4 w 134"/>
                    <a:gd name="T43" fmla="*/ 86 h 86"/>
                    <a:gd name="T44" fmla="*/ 4 w 134"/>
                    <a:gd name="T45" fmla="*/ 86 h 86"/>
                    <a:gd name="T46" fmla="*/ 4 w 134"/>
                    <a:gd name="T47" fmla="*/ 86 h 86"/>
                    <a:gd name="T48" fmla="*/ 4 w 134"/>
                    <a:gd name="T49" fmla="*/ 86 h 86"/>
                    <a:gd name="T50" fmla="*/ 4 w 134"/>
                    <a:gd name="T51" fmla="*/ 86 h 86"/>
                    <a:gd name="T52" fmla="*/ 4 w 134"/>
                    <a:gd name="T53" fmla="*/ 86 h 86"/>
                    <a:gd name="T54" fmla="*/ 4 w 134"/>
                    <a:gd name="T55" fmla="*/ 86 h 86"/>
                    <a:gd name="T56" fmla="*/ 4 w 134"/>
                    <a:gd name="T57" fmla="*/ 86 h 86"/>
                    <a:gd name="T58" fmla="*/ 4 w 134"/>
                    <a:gd name="T59" fmla="*/ 86 h 86"/>
                    <a:gd name="T60" fmla="*/ 134 w 134"/>
                    <a:gd name="T61" fmla="*/ 4 h 86"/>
                    <a:gd name="T62" fmla="*/ 134 w 134"/>
                    <a:gd name="T63" fmla="*/ 4 h 86"/>
                    <a:gd name="T64" fmla="*/ 134 w 134"/>
                    <a:gd name="T65" fmla="*/ 4 h 86"/>
                    <a:gd name="T66" fmla="*/ 134 w 134"/>
                    <a:gd name="T67" fmla="*/ 4 h 86"/>
                    <a:gd name="T68" fmla="*/ 130 w 134"/>
                    <a:gd name="T69" fmla="*/ 4 h 86"/>
                    <a:gd name="T70" fmla="*/ 130 w 134"/>
                    <a:gd name="T71" fmla="*/ 0 h 86"/>
                    <a:gd name="T72" fmla="*/ 130 w 134"/>
                    <a:gd name="T73" fmla="*/ 0 h 86"/>
                    <a:gd name="T74" fmla="*/ 134 w 134"/>
                    <a:gd name="T75" fmla="*/ 0 h 86"/>
                    <a:gd name="T76" fmla="*/ 134 w 134"/>
                    <a:gd name="T77" fmla="*/ 4 h 86"/>
                    <a:gd name="T78" fmla="*/ 134 w 134"/>
                    <a:gd name="T79" fmla="*/ 4 h 86"/>
                    <a:gd name="T80" fmla="*/ 134 w 134"/>
                    <a:gd name="T81" fmla="*/ 4 h 86"/>
                    <a:gd name="T82" fmla="*/ 134 w 134"/>
                    <a:gd name="T83" fmla="*/ 4 h 86"/>
                    <a:gd name="T84" fmla="*/ 134 w 134"/>
                    <a:gd name="T85" fmla="*/ 4 h 86"/>
                    <a:gd name="T86" fmla="*/ 134 w 134"/>
                    <a:gd name="T87" fmla="*/ 4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34" h="86">
                      <a:moveTo>
                        <a:pt x="4" y="86"/>
                      </a:moveTo>
                      <a:lnTo>
                        <a:pt x="4" y="86"/>
                      </a:lnTo>
                      <a:lnTo>
                        <a:pt x="0" y="86"/>
                      </a:lnTo>
                      <a:lnTo>
                        <a:pt x="0" y="86"/>
                      </a:lnTo>
                      <a:lnTo>
                        <a:pt x="0" y="86"/>
                      </a:lnTo>
                      <a:lnTo>
                        <a:pt x="0" y="86"/>
                      </a:lnTo>
                      <a:lnTo>
                        <a:pt x="0" y="86"/>
                      </a:lnTo>
                      <a:lnTo>
                        <a:pt x="0" y="86"/>
                      </a:lnTo>
                      <a:lnTo>
                        <a:pt x="0" y="86"/>
                      </a:lnTo>
                      <a:lnTo>
                        <a:pt x="4" y="86"/>
                      </a:lnTo>
                      <a:lnTo>
                        <a:pt x="4" y="86"/>
                      </a:lnTo>
                      <a:lnTo>
                        <a:pt x="4" y="86"/>
                      </a:lnTo>
                      <a:lnTo>
                        <a:pt x="4" y="86"/>
                      </a:lnTo>
                      <a:lnTo>
                        <a:pt x="4" y="82"/>
                      </a:lnTo>
                      <a:lnTo>
                        <a:pt x="4" y="82"/>
                      </a:lnTo>
                      <a:lnTo>
                        <a:pt x="4" y="82"/>
                      </a:lnTo>
                      <a:lnTo>
                        <a:pt x="8" y="82"/>
                      </a:lnTo>
                      <a:lnTo>
                        <a:pt x="8" y="86"/>
                      </a:lnTo>
                      <a:lnTo>
                        <a:pt x="8" y="86"/>
                      </a:lnTo>
                      <a:lnTo>
                        <a:pt x="4" y="86"/>
                      </a:lnTo>
                      <a:lnTo>
                        <a:pt x="4" y="86"/>
                      </a:lnTo>
                      <a:lnTo>
                        <a:pt x="4" y="86"/>
                      </a:lnTo>
                      <a:lnTo>
                        <a:pt x="4" y="86"/>
                      </a:lnTo>
                      <a:lnTo>
                        <a:pt x="4" y="86"/>
                      </a:lnTo>
                      <a:lnTo>
                        <a:pt x="4" y="86"/>
                      </a:lnTo>
                      <a:lnTo>
                        <a:pt x="4" y="86"/>
                      </a:lnTo>
                      <a:lnTo>
                        <a:pt x="4" y="86"/>
                      </a:lnTo>
                      <a:lnTo>
                        <a:pt x="4" y="86"/>
                      </a:lnTo>
                      <a:lnTo>
                        <a:pt x="4" y="86"/>
                      </a:lnTo>
                      <a:lnTo>
                        <a:pt x="4" y="86"/>
                      </a:lnTo>
                      <a:close/>
                      <a:moveTo>
                        <a:pt x="134" y="4"/>
                      </a:moveTo>
                      <a:lnTo>
                        <a:pt x="134" y="4"/>
                      </a:lnTo>
                      <a:lnTo>
                        <a:pt x="134" y="4"/>
                      </a:lnTo>
                      <a:lnTo>
                        <a:pt x="134" y="4"/>
                      </a:lnTo>
                      <a:lnTo>
                        <a:pt x="130" y="4"/>
                      </a:lnTo>
                      <a:lnTo>
                        <a:pt x="130" y="0"/>
                      </a:lnTo>
                      <a:lnTo>
                        <a:pt x="130" y="0"/>
                      </a:lnTo>
                      <a:lnTo>
                        <a:pt x="134" y="0"/>
                      </a:lnTo>
                      <a:lnTo>
                        <a:pt x="134" y="4"/>
                      </a:lnTo>
                      <a:lnTo>
                        <a:pt x="134" y="4"/>
                      </a:lnTo>
                      <a:lnTo>
                        <a:pt x="134" y="4"/>
                      </a:lnTo>
                      <a:lnTo>
                        <a:pt x="134" y="4"/>
                      </a:lnTo>
                      <a:lnTo>
                        <a:pt x="134" y="4"/>
                      </a:lnTo>
                      <a:lnTo>
                        <a:pt x="134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21" name="Freeform 167"/>
                <p:cNvSpPr>
                  <a:spLocks noEditPoints="1"/>
                </p:cNvSpPr>
                <p:nvPr/>
              </p:nvSpPr>
              <p:spPr bwMode="auto">
                <a:xfrm>
                  <a:off x="4098925" y="4289493"/>
                  <a:ext cx="63500" cy="85725"/>
                </a:xfrm>
                <a:custGeom>
                  <a:avLst/>
                  <a:gdLst>
                    <a:gd name="T0" fmla="*/ 22 w 40"/>
                    <a:gd name="T1" fmla="*/ 50 h 54"/>
                    <a:gd name="T2" fmla="*/ 18 w 40"/>
                    <a:gd name="T3" fmla="*/ 50 h 54"/>
                    <a:gd name="T4" fmla="*/ 10 w 40"/>
                    <a:gd name="T5" fmla="*/ 46 h 54"/>
                    <a:gd name="T6" fmla="*/ 10 w 40"/>
                    <a:gd name="T7" fmla="*/ 42 h 54"/>
                    <a:gd name="T8" fmla="*/ 10 w 40"/>
                    <a:gd name="T9" fmla="*/ 42 h 54"/>
                    <a:gd name="T10" fmla="*/ 14 w 40"/>
                    <a:gd name="T11" fmla="*/ 42 h 54"/>
                    <a:gd name="T12" fmla="*/ 10 w 40"/>
                    <a:gd name="T13" fmla="*/ 42 h 54"/>
                    <a:gd name="T14" fmla="*/ 6 w 40"/>
                    <a:gd name="T15" fmla="*/ 38 h 54"/>
                    <a:gd name="T16" fmla="*/ 4 w 40"/>
                    <a:gd name="T17" fmla="*/ 34 h 54"/>
                    <a:gd name="T18" fmla="*/ 4 w 40"/>
                    <a:gd name="T19" fmla="*/ 30 h 54"/>
                    <a:gd name="T20" fmla="*/ 4 w 40"/>
                    <a:gd name="T21" fmla="*/ 30 h 54"/>
                    <a:gd name="T22" fmla="*/ 0 w 40"/>
                    <a:gd name="T23" fmla="*/ 26 h 54"/>
                    <a:gd name="T24" fmla="*/ 0 w 40"/>
                    <a:gd name="T25" fmla="*/ 26 h 54"/>
                    <a:gd name="T26" fmla="*/ 0 w 40"/>
                    <a:gd name="T27" fmla="*/ 26 h 54"/>
                    <a:gd name="T28" fmla="*/ 4 w 40"/>
                    <a:gd name="T29" fmla="*/ 22 h 54"/>
                    <a:gd name="T30" fmla="*/ 4 w 40"/>
                    <a:gd name="T31" fmla="*/ 22 h 54"/>
                    <a:gd name="T32" fmla="*/ 0 w 40"/>
                    <a:gd name="T33" fmla="*/ 22 h 54"/>
                    <a:gd name="T34" fmla="*/ 0 w 40"/>
                    <a:gd name="T35" fmla="*/ 20 h 54"/>
                    <a:gd name="T36" fmla="*/ 0 w 40"/>
                    <a:gd name="T37" fmla="*/ 16 h 54"/>
                    <a:gd name="T38" fmla="*/ 0 w 40"/>
                    <a:gd name="T39" fmla="*/ 16 h 54"/>
                    <a:gd name="T40" fmla="*/ 0 w 40"/>
                    <a:gd name="T41" fmla="*/ 16 h 54"/>
                    <a:gd name="T42" fmla="*/ 4 w 40"/>
                    <a:gd name="T43" fmla="*/ 12 h 54"/>
                    <a:gd name="T44" fmla="*/ 4 w 40"/>
                    <a:gd name="T45" fmla="*/ 12 h 54"/>
                    <a:gd name="T46" fmla="*/ 6 w 40"/>
                    <a:gd name="T47" fmla="*/ 8 h 54"/>
                    <a:gd name="T48" fmla="*/ 6 w 40"/>
                    <a:gd name="T49" fmla="*/ 4 h 54"/>
                    <a:gd name="T50" fmla="*/ 14 w 40"/>
                    <a:gd name="T51" fmla="*/ 0 h 54"/>
                    <a:gd name="T52" fmla="*/ 14 w 40"/>
                    <a:gd name="T53" fmla="*/ 0 h 54"/>
                    <a:gd name="T54" fmla="*/ 22 w 40"/>
                    <a:gd name="T55" fmla="*/ 0 h 54"/>
                    <a:gd name="T56" fmla="*/ 26 w 40"/>
                    <a:gd name="T57" fmla="*/ 0 h 54"/>
                    <a:gd name="T58" fmla="*/ 30 w 40"/>
                    <a:gd name="T59" fmla="*/ 4 h 54"/>
                    <a:gd name="T60" fmla="*/ 34 w 40"/>
                    <a:gd name="T61" fmla="*/ 8 h 54"/>
                    <a:gd name="T62" fmla="*/ 36 w 40"/>
                    <a:gd name="T63" fmla="*/ 12 h 54"/>
                    <a:gd name="T64" fmla="*/ 34 w 40"/>
                    <a:gd name="T65" fmla="*/ 16 h 54"/>
                    <a:gd name="T66" fmla="*/ 36 w 40"/>
                    <a:gd name="T67" fmla="*/ 16 h 54"/>
                    <a:gd name="T68" fmla="*/ 36 w 40"/>
                    <a:gd name="T69" fmla="*/ 20 h 54"/>
                    <a:gd name="T70" fmla="*/ 36 w 40"/>
                    <a:gd name="T71" fmla="*/ 22 h 54"/>
                    <a:gd name="T72" fmla="*/ 36 w 40"/>
                    <a:gd name="T73" fmla="*/ 26 h 54"/>
                    <a:gd name="T74" fmla="*/ 40 w 40"/>
                    <a:gd name="T75" fmla="*/ 26 h 54"/>
                    <a:gd name="T76" fmla="*/ 40 w 40"/>
                    <a:gd name="T77" fmla="*/ 30 h 54"/>
                    <a:gd name="T78" fmla="*/ 36 w 40"/>
                    <a:gd name="T79" fmla="*/ 30 h 54"/>
                    <a:gd name="T80" fmla="*/ 36 w 40"/>
                    <a:gd name="T81" fmla="*/ 34 h 54"/>
                    <a:gd name="T82" fmla="*/ 34 w 40"/>
                    <a:gd name="T83" fmla="*/ 38 h 54"/>
                    <a:gd name="T84" fmla="*/ 34 w 40"/>
                    <a:gd name="T85" fmla="*/ 42 h 54"/>
                    <a:gd name="T86" fmla="*/ 30 w 40"/>
                    <a:gd name="T87" fmla="*/ 46 h 54"/>
                    <a:gd name="T88" fmla="*/ 30 w 40"/>
                    <a:gd name="T89" fmla="*/ 46 h 54"/>
                    <a:gd name="T90" fmla="*/ 26 w 40"/>
                    <a:gd name="T91" fmla="*/ 50 h 54"/>
                    <a:gd name="T92" fmla="*/ 26 w 40"/>
                    <a:gd name="T93" fmla="*/ 54 h 54"/>
                    <a:gd name="T94" fmla="*/ 22 w 40"/>
                    <a:gd name="T95" fmla="*/ 54 h 54"/>
                    <a:gd name="T96" fmla="*/ 6 w 40"/>
                    <a:gd name="T97" fmla="*/ 38 h 54"/>
                    <a:gd name="T98" fmla="*/ 10 w 40"/>
                    <a:gd name="T99" fmla="*/ 42 h 54"/>
                    <a:gd name="T100" fmla="*/ 6 w 40"/>
                    <a:gd name="T101" fmla="*/ 42 h 54"/>
                    <a:gd name="T102" fmla="*/ 6 w 40"/>
                    <a:gd name="T103" fmla="*/ 42 h 54"/>
                    <a:gd name="T104" fmla="*/ 6 w 40"/>
                    <a:gd name="T105" fmla="*/ 42 h 54"/>
                    <a:gd name="T106" fmla="*/ 4 w 40"/>
                    <a:gd name="T107" fmla="*/ 42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40" h="54">
                      <a:moveTo>
                        <a:pt x="22" y="54"/>
                      </a:moveTo>
                      <a:lnTo>
                        <a:pt x="22" y="54"/>
                      </a:lnTo>
                      <a:lnTo>
                        <a:pt x="22" y="54"/>
                      </a:lnTo>
                      <a:lnTo>
                        <a:pt x="22" y="50"/>
                      </a:lnTo>
                      <a:lnTo>
                        <a:pt x="22" y="50"/>
                      </a:lnTo>
                      <a:lnTo>
                        <a:pt x="18" y="50"/>
                      </a:lnTo>
                      <a:lnTo>
                        <a:pt x="18" y="50"/>
                      </a:lnTo>
                      <a:lnTo>
                        <a:pt x="18" y="50"/>
                      </a:lnTo>
                      <a:lnTo>
                        <a:pt x="18" y="50"/>
                      </a:lnTo>
                      <a:lnTo>
                        <a:pt x="10" y="46"/>
                      </a:lnTo>
                      <a:lnTo>
                        <a:pt x="10" y="46"/>
                      </a:lnTo>
                      <a:lnTo>
                        <a:pt x="10" y="46"/>
                      </a:lnTo>
                      <a:lnTo>
                        <a:pt x="10" y="46"/>
                      </a:lnTo>
                      <a:lnTo>
                        <a:pt x="10" y="46"/>
                      </a:lnTo>
                      <a:lnTo>
                        <a:pt x="10" y="42"/>
                      </a:lnTo>
                      <a:lnTo>
                        <a:pt x="10" y="42"/>
                      </a:lnTo>
                      <a:lnTo>
                        <a:pt x="10" y="42"/>
                      </a:lnTo>
                      <a:lnTo>
                        <a:pt x="10" y="42"/>
                      </a:lnTo>
                      <a:lnTo>
                        <a:pt x="10" y="42"/>
                      </a:lnTo>
                      <a:lnTo>
                        <a:pt x="10" y="42"/>
                      </a:lnTo>
                      <a:lnTo>
                        <a:pt x="14" y="42"/>
                      </a:lnTo>
                      <a:lnTo>
                        <a:pt x="14" y="42"/>
                      </a:lnTo>
                      <a:lnTo>
                        <a:pt x="14" y="42"/>
                      </a:lnTo>
                      <a:lnTo>
                        <a:pt x="14" y="42"/>
                      </a:lnTo>
                      <a:lnTo>
                        <a:pt x="10" y="42"/>
                      </a:lnTo>
                      <a:lnTo>
                        <a:pt x="10" y="42"/>
                      </a:lnTo>
                      <a:lnTo>
                        <a:pt x="10" y="42"/>
                      </a:lnTo>
                      <a:lnTo>
                        <a:pt x="10" y="42"/>
                      </a:lnTo>
                      <a:lnTo>
                        <a:pt x="10" y="42"/>
                      </a:lnTo>
                      <a:lnTo>
                        <a:pt x="6" y="38"/>
                      </a:lnTo>
                      <a:lnTo>
                        <a:pt x="6" y="38"/>
                      </a:lnTo>
                      <a:lnTo>
                        <a:pt x="6" y="38"/>
                      </a:lnTo>
                      <a:lnTo>
                        <a:pt x="6" y="38"/>
                      </a:lnTo>
                      <a:lnTo>
                        <a:pt x="4" y="38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0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6" y="8"/>
                      </a:lnTo>
                      <a:lnTo>
                        <a:pt x="6" y="8"/>
                      </a:lnTo>
                      <a:lnTo>
                        <a:pt x="6" y="8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4" y="4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12"/>
                      </a:lnTo>
                      <a:lnTo>
                        <a:pt x="36" y="12"/>
                      </a:lnTo>
                      <a:lnTo>
                        <a:pt x="36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4" y="16"/>
                      </a:lnTo>
                      <a:lnTo>
                        <a:pt x="34" y="16"/>
                      </a:lnTo>
                      <a:lnTo>
                        <a:pt x="34" y="16"/>
                      </a:lnTo>
                      <a:lnTo>
                        <a:pt x="36" y="16"/>
                      </a:lnTo>
                      <a:lnTo>
                        <a:pt x="36" y="16"/>
                      </a:lnTo>
                      <a:lnTo>
                        <a:pt x="36" y="16"/>
                      </a:lnTo>
                      <a:lnTo>
                        <a:pt x="36" y="16"/>
                      </a:lnTo>
                      <a:lnTo>
                        <a:pt x="36" y="16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2"/>
                      </a:lnTo>
                      <a:lnTo>
                        <a:pt x="36" y="22"/>
                      </a:lnTo>
                      <a:lnTo>
                        <a:pt x="36" y="22"/>
                      </a:lnTo>
                      <a:lnTo>
                        <a:pt x="34" y="26"/>
                      </a:lnTo>
                      <a:lnTo>
                        <a:pt x="34" y="26"/>
                      </a:lnTo>
                      <a:lnTo>
                        <a:pt x="36" y="26"/>
                      </a:lnTo>
                      <a:lnTo>
                        <a:pt x="36" y="26"/>
                      </a:lnTo>
                      <a:lnTo>
                        <a:pt x="36" y="26"/>
                      </a:lnTo>
                      <a:lnTo>
                        <a:pt x="36" y="26"/>
                      </a:lnTo>
                      <a:lnTo>
                        <a:pt x="36" y="26"/>
                      </a:lnTo>
                      <a:lnTo>
                        <a:pt x="40" y="26"/>
                      </a:lnTo>
                      <a:lnTo>
                        <a:pt x="40" y="22"/>
                      </a:lnTo>
                      <a:lnTo>
                        <a:pt x="40" y="26"/>
                      </a:lnTo>
                      <a:lnTo>
                        <a:pt x="40" y="26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36" y="30"/>
                      </a:lnTo>
                      <a:lnTo>
                        <a:pt x="36" y="30"/>
                      </a:lnTo>
                      <a:lnTo>
                        <a:pt x="36" y="30"/>
                      </a:lnTo>
                      <a:lnTo>
                        <a:pt x="36" y="30"/>
                      </a:lnTo>
                      <a:lnTo>
                        <a:pt x="36" y="34"/>
                      </a:lnTo>
                      <a:lnTo>
                        <a:pt x="36" y="34"/>
                      </a:lnTo>
                      <a:lnTo>
                        <a:pt x="36" y="38"/>
                      </a:lnTo>
                      <a:lnTo>
                        <a:pt x="36" y="38"/>
                      </a:lnTo>
                      <a:lnTo>
                        <a:pt x="34" y="38"/>
                      </a:lnTo>
                      <a:lnTo>
                        <a:pt x="34" y="38"/>
                      </a:lnTo>
                      <a:lnTo>
                        <a:pt x="34" y="38"/>
                      </a:lnTo>
                      <a:lnTo>
                        <a:pt x="34" y="38"/>
                      </a:lnTo>
                      <a:lnTo>
                        <a:pt x="34" y="42"/>
                      </a:lnTo>
                      <a:lnTo>
                        <a:pt x="34" y="42"/>
                      </a:lnTo>
                      <a:lnTo>
                        <a:pt x="34" y="42"/>
                      </a:lnTo>
                      <a:lnTo>
                        <a:pt x="34" y="42"/>
                      </a:lnTo>
                      <a:lnTo>
                        <a:pt x="34" y="42"/>
                      </a:lnTo>
                      <a:lnTo>
                        <a:pt x="30" y="46"/>
                      </a:lnTo>
                      <a:lnTo>
                        <a:pt x="30" y="46"/>
                      </a:lnTo>
                      <a:lnTo>
                        <a:pt x="30" y="46"/>
                      </a:lnTo>
                      <a:lnTo>
                        <a:pt x="30" y="46"/>
                      </a:lnTo>
                      <a:lnTo>
                        <a:pt x="30" y="46"/>
                      </a:lnTo>
                      <a:lnTo>
                        <a:pt x="26" y="46"/>
                      </a:lnTo>
                      <a:lnTo>
                        <a:pt x="26" y="46"/>
                      </a:lnTo>
                      <a:lnTo>
                        <a:pt x="26" y="46"/>
                      </a:lnTo>
                      <a:lnTo>
                        <a:pt x="26" y="50"/>
                      </a:lnTo>
                      <a:lnTo>
                        <a:pt x="26" y="50"/>
                      </a:lnTo>
                      <a:lnTo>
                        <a:pt x="26" y="50"/>
                      </a:lnTo>
                      <a:lnTo>
                        <a:pt x="26" y="50"/>
                      </a:lnTo>
                      <a:lnTo>
                        <a:pt x="26" y="54"/>
                      </a:lnTo>
                      <a:lnTo>
                        <a:pt x="22" y="54"/>
                      </a:lnTo>
                      <a:lnTo>
                        <a:pt x="22" y="54"/>
                      </a:lnTo>
                      <a:lnTo>
                        <a:pt x="22" y="54"/>
                      </a:lnTo>
                      <a:lnTo>
                        <a:pt x="22" y="54"/>
                      </a:lnTo>
                      <a:close/>
                      <a:moveTo>
                        <a:pt x="4" y="42"/>
                      </a:moveTo>
                      <a:lnTo>
                        <a:pt x="6" y="38"/>
                      </a:lnTo>
                      <a:lnTo>
                        <a:pt x="6" y="38"/>
                      </a:lnTo>
                      <a:lnTo>
                        <a:pt x="6" y="38"/>
                      </a:lnTo>
                      <a:lnTo>
                        <a:pt x="6" y="38"/>
                      </a:lnTo>
                      <a:lnTo>
                        <a:pt x="6" y="38"/>
                      </a:lnTo>
                      <a:lnTo>
                        <a:pt x="6" y="42"/>
                      </a:lnTo>
                      <a:lnTo>
                        <a:pt x="10" y="42"/>
                      </a:lnTo>
                      <a:lnTo>
                        <a:pt x="10" y="42"/>
                      </a:lnTo>
                      <a:lnTo>
                        <a:pt x="6" y="42"/>
                      </a:lnTo>
                      <a:lnTo>
                        <a:pt x="6" y="42"/>
                      </a:lnTo>
                      <a:lnTo>
                        <a:pt x="6" y="42"/>
                      </a:lnTo>
                      <a:lnTo>
                        <a:pt x="6" y="42"/>
                      </a:lnTo>
                      <a:lnTo>
                        <a:pt x="6" y="42"/>
                      </a:lnTo>
                      <a:lnTo>
                        <a:pt x="6" y="42"/>
                      </a:lnTo>
                      <a:lnTo>
                        <a:pt x="6" y="42"/>
                      </a:lnTo>
                      <a:lnTo>
                        <a:pt x="6" y="42"/>
                      </a:lnTo>
                      <a:lnTo>
                        <a:pt x="6" y="42"/>
                      </a:lnTo>
                      <a:lnTo>
                        <a:pt x="6" y="42"/>
                      </a:lnTo>
                      <a:lnTo>
                        <a:pt x="6" y="42"/>
                      </a:lnTo>
                      <a:lnTo>
                        <a:pt x="4" y="42"/>
                      </a:lnTo>
                      <a:lnTo>
                        <a:pt x="4" y="42"/>
                      </a:lnTo>
                      <a:lnTo>
                        <a:pt x="4" y="42"/>
                      </a:lnTo>
                      <a:lnTo>
                        <a:pt x="4" y="42"/>
                      </a:lnTo>
                      <a:lnTo>
                        <a:pt x="4" y="42"/>
                      </a:lnTo>
                      <a:lnTo>
                        <a:pt x="4" y="4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22" name="Freeform 168"/>
                <p:cNvSpPr>
                  <a:spLocks/>
                </p:cNvSpPr>
                <p:nvPr/>
              </p:nvSpPr>
              <p:spPr bwMode="auto">
                <a:xfrm>
                  <a:off x="5318125" y="4229168"/>
                  <a:ext cx="228600" cy="374650"/>
                </a:xfrm>
                <a:custGeom>
                  <a:avLst/>
                  <a:gdLst>
                    <a:gd name="T0" fmla="*/ 78 w 144"/>
                    <a:gd name="T1" fmla="*/ 24 h 236"/>
                    <a:gd name="T2" fmla="*/ 92 w 144"/>
                    <a:gd name="T3" fmla="*/ 16 h 236"/>
                    <a:gd name="T4" fmla="*/ 108 w 144"/>
                    <a:gd name="T5" fmla="*/ 12 h 236"/>
                    <a:gd name="T6" fmla="*/ 118 w 144"/>
                    <a:gd name="T7" fmla="*/ 12 h 236"/>
                    <a:gd name="T8" fmla="*/ 134 w 144"/>
                    <a:gd name="T9" fmla="*/ 8 h 236"/>
                    <a:gd name="T10" fmla="*/ 140 w 144"/>
                    <a:gd name="T11" fmla="*/ 4 h 236"/>
                    <a:gd name="T12" fmla="*/ 140 w 144"/>
                    <a:gd name="T13" fmla="*/ 16 h 236"/>
                    <a:gd name="T14" fmla="*/ 140 w 144"/>
                    <a:gd name="T15" fmla="*/ 30 h 236"/>
                    <a:gd name="T16" fmla="*/ 140 w 144"/>
                    <a:gd name="T17" fmla="*/ 30 h 236"/>
                    <a:gd name="T18" fmla="*/ 136 w 144"/>
                    <a:gd name="T19" fmla="*/ 46 h 236"/>
                    <a:gd name="T20" fmla="*/ 130 w 144"/>
                    <a:gd name="T21" fmla="*/ 58 h 236"/>
                    <a:gd name="T22" fmla="*/ 126 w 144"/>
                    <a:gd name="T23" fmla="*/ 68 h 236"/>
                    <a:gd name="T24" fmla="*/ 122 w 144"/>
                    <a:gd name="T25" fmla="*/ 80 h 236"/>
                    <a:gd name="T26" fmla="*/ 114 w 144"/>
                    <a:gd name="T27" fmla="*/ 88 h 236"/>
                    <a:gd name="T28" fmla="*/ 110 w 144"/>
                    <a:gd name="T29" fmla="*/ 102 h 236"/>
                    <a:gd name="T30" fmla="*/ 104 w 144"/>
                    <a:gd name="T31" fmla="*/ 120 h 236"/>
                    <a:gd name="T32" fmla="*/ 96 w 144"/>
                    <a:gd name="T33" fmla="*/ 128 h 236"/>
                    <a:gd name="T34" fmla="*/ 88 w 144"/>
                    <a:gd name="T35" fmla="*/ 140 h 236"/>
                    <a:gd name="T36" fmla="*/ 82 w 144"/>
                    <a:gd name="T37" fmla="*/ 150 h 236"/>
                    <a:gd name="T38" fmla="*/ 74 w 144"/>
                    <a:gd name="T39" fmla="*/ 162 h 236"/>
                    <a:gd name="T40" fmla="*/ 62 w 144"/>
                    <a:gd name="T41" fmla="*/ 170 h 236"/>
                    <a:gd name="T42" fmla="*/ 56 w 144"/>
                    <a:gd name="T43" fmla="*/ 176 h 236"/>
                    <a:gd name="T44" fmla="*/ 44 w 144"/>
                    <a:gd name="T45" fmla="*/ 188 h 236"/>
                    <a:gd name="T46" fmla="*/ 36 w 144"/>
                    <a:gd name="T47" fmla="*/ 196 h 236"/>
                    <a:gd name="T48" fmla="*/ 26 w 144"/>
                    <a:gd name="T49" fmla="*/ 206 h 236"/>
                    <a:gd name="T50" fmla="*/ 18 w 144"/>
                    <a:gd name="T51" fmla="*/ 214 h 236"/>
                    <a:gd name="T52" fmla="*/ 10 w 144"/>
                    <a:gd name="T53" fmla="*/ 226 h 236"/>
                    <a:gd name="T54" fmla="*/ 6 w 144"/>
                    <a:gd name="T55" fmla="*/ 236 h 236"/>
                    <a:gd name="T56" fmla="*/ 0 w 144"/>
                    <a:gd name="T57" fmla="*/ 206 h 236"/>
                    <a:gd name="T58" fmla="*/ 4 w 144"/>
                    <a:gd name="T59" fmla="*/ 154 h 236"/>
                    <a:gd name="T60" fmla="*/ 14 w 144"/>
                    <a:gd name="T61" fmla="*/ 136 h 236"/>
                    <a:gd name="T62" fmla="*/ 26 w 144"/>
                    <a:gd name="T63" fmla="*/ 132 h 236"/>
                    <a:gd name="T64" fmla="*/ 32 w 144"/>
                    <a:gd name="T65" fmla="*/ 124 h 236"/>
                    <a:gd name="T66" fmla="*/ 48 w 144"/>
                    <a:gd name="T67" fmla="*/ 124 h 236"/>
                    <a:gd name="T68" fmla="*/ 62 w 144"/>
                    <a:gd name="T69" fmla="*/ 114 h 236"/>
                    <a:gd name="T70" fmla="*/ 70 w 144"/>
                    <a:gd name="T71" fmla="*/ 102 h 236"/>
                    <a:gd name="T72" fmla="*/ 92 w 144"/>
                    <a:gd name="T73" fmla="*/ 76 h 236"/>
                    <a:gd name="T74" fmla="*/ 82 w 144"/>
                    <a:gd name="T75" fmla="*/ 72 h 236"/>
                    <a:gd name="T76" fmla="*/ 70 w 144"/>
                    <a:gd name="T77" fmla="*/ 64 h 236"/>
                    <a:gd name="T78" fmla="*/ 48 w 144"/>
                    <a:gd name="T79" fmla="*/ 58 h 236"/>
                    <a:gd name="T80" fmla="*/ 32 w 144"/>
                    <a:gd name="T81" fmla="*/ 46 h 236"/>
                    <a:gd name="T82" fmla="*/ 26 w 144"/>
                    <a:gd name="T83" fmla="*/ 34 h 236"/>
                    <a:gd name="T84" fmla="*/ 26 w 144"/>
                    <a:gd name="T85" fmla="*/ 24 h 236"/>
                    <a:gd name="T86" fmla="*/ 30 w 144"/>
                    <a:gd name="T87" fmla="*/ 12 h 236"/>
                    <a:gd name="T88" fmla="*/ 36 w 144"/>
                    <a:gd name="T89" fmla="*/ 24 h 236"/>
                    <a:gd name="T90" fmla="*/ 48 w 144"/>
                    <a:gd name="T91" fmla="*/ 30 h 236"/>
                    <a:gd name="T92" fmla="*/ 56 w 144"/>
                    <a:gd name="T93" fmla="*/ 28 h 236"/>
                    <a:gd name="T94" fmla="*/ 62 w 144"/>
                    <a:gd name="T95" fmla="*/ 24 h 2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44" h="236">
                      <a:moveTo>
                        <a:pt x="66" y="24"/>
                      </a:moveTo>
                      <a:lnTo>
                        <a:pt x="70" y="24"/>
                      </a:lnTo>
                      <a:lnTo>
                        <a:pt x="74" y="24"/>
                      </a:lnTo>
                      <a:lnTo>
                        <a:pt x="78" y="24"/>
                      </a:lnTo>
                      <a:lnTo>
                        <a:pt x="82" y="20"/>
                      </a:lnTo>
                      <a:lnTo>
                        <a:pt x="84" y="20"/>
                      </a:lnTo>
                      <a:lnTo>
                        <a:pt x="88" y="16"/>
                      </a:lnTo>
                      <a:lnTo>
                        <a:pt x="92" y="16"/>
                      </a:lnTo>
                      <a:lnTo>
                        <a:pt x="96" y="16"/>
                      </a:lnTo>
                      <a:lnTo>
                        <a:pt x="100" y="16"/>
                      </a:lnTo>
                      <a:lnTo>
                        <a:pt x="104" y="12"/>
                      </a:lnTo>
                      <a:lnTo>
                        <a:pt x="108" y="12"/>
                      </a:lnTo>
                      <a:lnTo>
                        <a:pt x="108" y="16"/>
                      </a:lnTo>
                      <a:lnTo>
                        <a:pt x="110" y="16"/>
                      </a:lnTo>
                      <a:lnTo>
                        <a:pt x="114" y="16"/>
                      </a:lnTo>
                      <a:lnTo>
                        <a:pt x="118" y="12"/>
                      </a:lnTo>
                      <a:lnTo>
                        <a:pt x="122" y="12"/>
                      </a:lnTo>
                      <a:lnTo>
                        <a:pt x="126" y="12"/>
                      </a:lnTo>
                      <a:lnTo>
                        <a:pt x="130" y="8"/>
                      </a:lnTo>
                      <a:lnTo>
                        <a:pt x="134" y="8"/>
                      </a:lnTo>
                      <a:lnTo>
                        <a:pt x="134" y="4"/>
                      </a:lnTo>
                      <a:lnTo>
                        <a:pt x="136" y="0"/>
                      </a:lnTo>
                      <a:lnTo>
                        <a:pt x="136" y="4"/>
                      </a:lnTo>
                      <a:lnTo>
                        <a:pt x="140" y="4"/>
                      </a:lnTo>
                      <a:lnTo>
                        <a:pt x="144" y="4"/>
                      </a:lnTo>
                      <a:lnTo>
                        <a:pt x="140" y="8"/>
                      </a:lnTo>
                      <a:lnTo>
                        <a:pt x="140" y="12"/>
                      </a:lnTo>
                      <a:lnTo>
                        <a:pt x="140" y="16"/>
                      </a:lnTo>
                      <a:lnTo>
                        <a:pt x="140" y="20"/>
                      </a:lnTo>
                      <a:lnTo>
                        <a:pt x="140" y="24"/>
                      </a:lnTo>
                      <a:lnTo>
                        <a:pt x="140" y="28"/>
                      </a:lnTo>
                      <a:lnTo>
                        <a:pt x="140" y="30"/>
                      </a:lnTo>
                      <a:lnTo>
                        <a:pt x="140" y="28"/>
                      </a:lnTo>
                      <a:lnTo>
                        <a:pt x="144" y="28"/>
                      </a:lnTo>
                      <a:lnTo>
                        <a:pt x="144" y="30"/>
                      </a:lnTo>
                      <a:lnTo>
                        <a:pt x="140" y="30"/>
                      </a:lnTo>
                      <a:lnTo>
                        <a:pt x="136" y="30"/>
                      </a:lnTo>
                      <a:lnTo>
                        <a:pt x="136" y="34"/>
                      </a:lnTo>
                      <a:lnTo>
                        <a:pt x="136" y="42"/>
                      </a:lnTo>
                      <a:lnTo>
                        <a:pt x="136" y="46"/>
                      </a:lnTo>
                      <a:lnTo>
                        <a:pt x="136" y="50"/>
                      </a:lnTo>
                      <a:lnTo>
                        <a:pt x="134" y="50"/>
                      </a:lnTo>
                      <a:lnTo>
                        <a:pt x="134" y="54"/>
                      </a:lnTo>
                      <a:lnTo>
                        <a:pt x="130" y="58"/>
                      </a:lnTo>
                      <a:lnTo>
                        <a:pt x="130" y="60"/>
                      </a:lnTo>
                      <a:lnTo>
                        <a:pt x="130" y="64"/>
                      </a:lnTo>
                      <a:lnTo>
                        <a:pt x="126" y="64"/>
                      </a:lnTo>
                      <a:lnTo>
                        <a:pt x="126" y="68"/>
                      </a:lnTo>
                      <a:lnTo>
                        <a:pt x="126" y="72"/>
                      </a:lnTo>
                      <a:lnTo>
                        <a:pt x="122" y="72"/>
                      </a:lnTo>
                      <a:lnTo>
                        <a:pt x="122" y="76"/>
                      </a:lnTo>
                      <a:lnTo>
                        <a:pt x="122" y="80"/>
                      </a:lnTo>
                      <a:lnTo>
                        <a:pt x="118" y="80"/>
                      </a:lnTo>
                      <a:lnTo>
                        <a:pt x="118" y="84"/>
                      </a:lnTo>
                      <a:lnTo>
                        <a:pt x="118" y="88"/>
                      </a:lnTo>
                      <a:lnTo>
                        <a:pt x="114" y="88"/>
                      </a:lnTo>
                      <a:lnTo>
                        <a:pt x="114" y="90"/>
                      </a:lnTo>
                      <a:lnTo>
                        <a:pt x="114" y="94"/>
                      </a:lnTo>
                      <a:lnTo>
                        <a:pt x="110" y="98"/>
                      </a:lnTo>
                      <a:lnTo>
                        <a:pt x="110" y="102"/>
                      </a:lnTo>
                      <a:lnTo>
                        <a:pt x="108" y="110"/>
                      </a:lnTo>
                      <a:lnTo>
                        <a:pt x="108" y="114"/>
                      </a:lnTo>
                      <a:lnTo>
                        <a:pt x="104" y="118"/>
                      </a:lnTo>
                      <a:lnTo>
                        <a:pt x="104" y="120"/>
                      </a:lnTo>
                      <a:lnTo>
                        <a:pt x="100" y="120"/>
                      </a:lnTo>
                      <a:lnTo>
                        <a:pt x="100" y="124"/>
                      </a:lnTo>
                      <a:lnTo>
                        <a:pt x="100" y="128"/>
                      </a:lnTo>
                      <a:lnTo>
                        <a:pt x="96" y="128"/>
                      </a:lnTo>
                      <a:lnTo>
                        <a:pt x="96" y="132"/>
                      </a:lnTo>
                      <a:lnTo>
                        <a:pt x="92" y="136"/>
                      </a:lnTo>
                      <a:lnTo>
                        <a:pt x="92" y="140"/>
                      </a:lnTo>
                      <a:lnTo>
                        <a:pt x="88" y="140"/>
                      </a:lnTo>
                      <a:lnTo>
                        <a:pt x="88" y="144"/>
                      </a:lnTo>
                      <a:lnTo>
                        <a:pt x="84" y="146"/>
                      </a:lnTo>
                      <a:lnTo>
                        <a:pt x="84" y="150"/>
                      </a:lnTo>
                      <a:lnTo>
                        <a:pt x="82" y="150"/>
                      </a:lnTo>
                      <a:lnTo>
                        <a:pt x="78" y="154"/>
                      </a:lnTo>
                      <a:lnTo>
                        <a:pt x="78" y="158"/>
                      </a:lnTo>
                      <a:lnTo>
                        <a:pt x="74" y="158"/>
                      </a:lnTo>
                      <a:lnTo>
                        <a:pt x="74" y="162"/>
                      </a:lnTo>
                      <a:lnTo>
                        <a:pt x="70" y="162"/>
                      </a:lnTo>
                      <a:lnTo>
                        <a:pt x="70" y="166"/>
                      </a:lnTo>
                      <a:lnTo>
                        <a:pt x="66" y="170"/>
                      </a:lnTo>
                      <a:lnTo>
                        <a:pt x="62" y="170"/>
                      </a:lnTo>
                      <a:lnTo>
                        <a:pt x="62" y="174"/>
                      </a:lnTo>
                      <a:lnTo>
                        <a:pt x="58" y="174"/>
                      </a:lnTo>
                      <a:lnTo>
                        <a:pt x="58" y="176"/>
                      </a:lnTo>
                      <a:lnTo>
                        <a:pt x="56" y="176"/>
                      </a:lnTo>
                      <a:lnTo>
                        <a:pt x="52" y="176"/>
                      </a:lnTo>
                      <a:lnTo>
                        <a:pt x="48" y="180"/>
                      </a:lnTo>
                      <a:lnTo>
                        <a:pt x="44" y="184"/>
                      </a:lnTo>
                      <a:lnTo>
                        <a:pt x="44" y="188"/>
                      </a:lnTo>
                      <a:lnTo>
                        <a:pt x="40" y="188"/>
                      </a:lnTo>
                      <a:lnTo>
                        <a:pt x="40" y="192"/>
                      </a:lnTo>
                      <a:lnTo>
                        <a:pt x="36" y="192"/>
                      </a:lnTo>
                      <a:lnTo>
                        <a:pt x="36" y="196"/>
                      </a:lnTo>
                      <a:lnTo>
                        <a:pt x="32" y="200"/>
                      </a:lnTo>
                      <a:lnTo>
                        <a:pt x="30" y="200"/>
                      </a:lnTo>
                      <a:lnTo>
                        <a:pt x="30" y="204"/>
                      </a:lnTo>
                      <a:lnTo>
                        <a:pt x="26" y="206"/>
                      </a:lnTo>
                      <a:lnTo>
                        <a:pt x="26" y="210"/>
                      </a:lnTo>
                      <a:lnTo>
                        <a:pt x="22" y="210"/>
                      </a:lnTo>
                      <a:lnTo>
                        <a:pt x="22" y="214"/>
                      </a:lnTo>
                      <a:lnTo>
                        <a:pt x="18" y="214"/>
                      </a:lnTo>
                      <a:lnTo>
                        <a:pt x="18" y="218"/>
                      </a:lnTo>
                      <a:lnTo>
                        <a:pt x="14" y="222"/>
                      </a:lnTo>
                      <a:lnTo>
                        <a:pt x="14" y="226"/>
                      </a:lnTo>
                      <a:lnTo>
                        <a:pt x="10" y="226"/>
                      </a:lnTo>
                      <a:lnTo>
                        <a:pt x="10" y="230"/>
                      </a:lnTo>
                      <a:lnTo>
                        <a:pt x="10" y="234"/>
                      </a:lnTo>
                      <a:lnTo>
                        <a:pt x="6" y="234"/>
                      </a:lnTo>
                      <a:lnTo>
                        <a:pt x="6" y="236"/>
                      </a:lnTo>
                      <a:lnTo>
                        <a:pt x="4" y="234"/>
                      </a:lnTo>
                      <a:lnTo>
                        <a:pt x="0" y="226"/>
                      </a:lnTo>
                      <a:lnTo>
                        <a:pt x="0" y="222"/>
                      </a:lnTo>
                      <a:lnTo>
                        <a:pt x="0" y="206"/>
                      </a:lnTo>
                      <a:lnTo>
                        <a:pt x="0" y="184"/>
                      </a:lnTo>
                      <a:lnTo>
                        <a:pt x="0" y="170"/>
                      </a:lnTo>
                      <a:lnTo>
                        <a:pt x="0" y="162"/>
                      </a:lnTo>
                      <a:lnTo>
                        <a:pt x="4" y="154"/>
                      </a:lnTo>
                      <a:lnTo>
                        <a:pt x="10" y="144"/>
                      </a:lnTo>
                      <a:lnTo>
                        <a:pt x="10" y="140"/>
                      </a:lnTo>
                      <a:lnTo>
                        <a:pt x="14" y="140"/>
                      </a:lnTo>
                      <a:lnTo>
                        <a:pt x="14" y="136"/>
                      </a:lnTo>
                      <a:lnTo>
                        <a:pt x="18" y="136"/>
                      </a:lnTo>
                      <a:lnTo>
                        <a:pt x="22" y="136"/>
                      </a:lnTo>
                      <a:lnTo>
                        <a:pt x="26" y="136"/>
                      </a:lnTo>
                      <a:lnTo>
                        <a:pt x="26" y="132"/>
                      </a:lnTo>
                      <a:lnTo>
                        <a:pt x="26" y="128"/>
                      </a:lnTo>
                      <a:lnTo>
                        <a:pt x="30" y="128"/>
                      </a:lnTo>
                      <a:lnTo>
                        <a:pt x="32" y="128"/>
                      </a:lnTo>
                      <a:lnTo>
                        <a:pt x="32" y="124"/>
                      </a:lnTo>
                      <a:lnTo>
                        <a:pt x="36" y="124"/>
                      </a:lnTo>
                      <a:lnTo>
                        <a:pt x="40" y="124"/>
                      </a:lnTo>
                      <a:lnTo>
                        <a:pt x="44" y="124"/>
                      </a:lnTo>
                      <a:lnTo>
                        <a:pt x="48" y="124"/>
                      </a:lnTo>
                      <a:lnTo>
                        <a:pt x="56" y="124"/>
                      </a:lnTo>
                      <a:lnTo>
                        <a:pt x="56" y="120"/>
                      </a:lnTo>
                      <a:lnTo>
                        <a:pt x="58" y="118"/>
                      </a:lnTo>
                      <a:lnTo>
                        <a:pt x="62" y="114"/>
                      </a:lnTo>
                      <a:lnTo>
                        <a:pt x="62" y="110"/>
                      </a:lnTo>
                      <a:lnTo>
                        <a:pt x="66" y="106"/>
                      </a:lnTo>
                      <a:lnTo>
                        <a:pt x="70" y="106"/>
                      </a:lnTo>
                      <a:lnTo>
                        <a:pt x="70" y="102"/>
                      </a:lnTo>
                      <a:lnTo>
                        <a:pt x="78" y="94"/>
                      </a:lnTo>
                      <a:lnTo>
                        <a:pt x="82" y="88"/>
                      </a:lnTo>
                      <a:lnTo>
                        <a:pt x="88" y="80"/>
                      </a:lnTo>
                      <a:lnTo>
                        <a:pt x="92" y="76"/>
                      </a:lnTo>
                      <a:lnTo>
                        <a:pt x="96" y="72"/>
                      </a:lnTo>
                      <a:lnTo>
                        <a:pt x="92" y="72"/>
                      </a:lnTo>
                      <a:lnTo>
                        <a:pt x="84" y="72"/>
                      </a:lnTo>
                      <a:lnTo>
                        <a:pt x="82" y="72"/>
                      </a:lnTo>
                      <a:lnTo>
                        <a:pt x="82" y="68"/>
                      </a:lnTo>
                      <a:lnTo>
                        <a:pt x="78" y="68"/>
                      </a:lnTo>
                      <a:lnTo>
                        <a:pt x="74" y="68"/>
                      </a:lnTo>
                      <a:lnTo>
                        <a:pt x="70" y="64"/>
                      </a:lnTo>
                      <a:lnTo>
                        <a:pt x="62" y="64"/>
                      </a:lnTo>
                      <a:lnTo>
                        <a:pt x="58" y="60"/>
                      </a:lnTo>
                      <a:lnTo>
                        <a:pt x="56" y="60"/>
                      </a:lnTo>
                      <a:lnTo>
                        <a:pt x="48" y="58"/>
                      </a:lnTo>
                      <a:lnTo>
                        <a:pt x="40" y="54"/>
                      </a:lnTo>
                      <a:lnTo>
                        <a:pt x="36" y="50"/>
                      </a:lnTo>
                      <a:lnTo>
                        <a:pt x="32" y="50"/>
                      </a:lnTo>
                      <a:lnTo>
                        <a:pt x="32" y="46"/>
                      </a:lnTo>
                      <a:lnTo>
                        <a:pt x="30" y="42"/>
                      </a:lnTo>
                      <a:lnTo>
                        <a:pt x="30" y="38"/>
                      </a:lnTo>
                      <a:lnTo>
                        <a:pt x="26" y="38"/>
                      </a:lnTo>
                      <a:lnTo>
                        <a:pt x="26" y="34"/>
                      </a:lnTo>
                      <a:lnTo>
                        <a:pt x="22" y="30"/>
                      </a:lnTo>
                      <a:lnTo>
                        <a:pt x="22" y="28"/>
                      </a:lnTo>
                      <a:lnTo>
                        <a:pt x="22" y="24"/>
                      </a:lnTo>
                      <a:lnTo>
                        <a:pt x="26" y="24"/>
                      </a:lnTo>
                      <a:lnTo>
                        <a:pt x="26" y="20"/>
                      </a:lnTo>
                      <a:lnTo>
                        <a:pt x="26" y="16"/>
                      </a:lnTo>
                      <a:lnTo>
                        <a:pt x="30" y="16"/>
                      </a:lnTo>
                      <a:lnTo>
                        <a:pt x="30" y="12"/>
                      </a:lnTo>
                      <a:lnTo>
                        <a:pt x="32" y="12"/>
                      </a:lnTo>
                      <a:lnTo>
                        <a:pt x="32" y="16"/>
                      </a:lnTo>
                      <a:lnTo>
                        <a:pt x="36" y="20"/>
                      </a:lnTo>
                      <a:lnTo>
                        <a:pt x="36" y="24"/>
                      </a:lnTo>
                      <a:lnTo>
                        <a:pt x="40" y="24"/>
                      </a:lnTo>
                      <a:lnTo>
                        <a:pt x="44" y="28"/>
                      </a:lnTo>
                      <a:lnTo>
                        <a:pt x="44" y="30"/>
                      </a:lnTo>
                      <a:lnTo>
                        <a:pt x="48" y="30"/>
                      </a:lnTo>
                      <a:lnTo>
                        <a:pt x="52" y="28"/>
                      </a:lnTo>
                      <a:lnTo>
                        <a:pt x="52" y="30"/>
                      </a:lnTo>
                      <a:lnTo>
                        <a:pt x="56" y="30"/>
                      </a:lnTo>
                      <a:lnTo>
                        <a:pt x="56" y="28"/>
                      </a:lnTo>
                      <a:lnTo>
                        <a:pt x="58" y="28"/>
                      </a:lnTo>
                      <a:lnTo>
                        <a:pt x="58" y="24"/>
                      </a:lnTo>
                      <a:lnTo>
                        <a:pt x="58" y="28"/>
                      </a:lnTo>
                      <a:lnTo>
                        <a:pt x="62" y="24"/>
                      </a:lnTo>
                      <a:lnTo>
                        <a:pt x="66" y="24"/>
                      </a:lnTo>
                      <a:lnTo>
                        <a:pt x="66" y="24"/>
                      </a:lnTo>
                      <a:lnTo>
                        <a:pt x="66" y="2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23" name="Freeform 169"/>
                <p:cNvSpPr>
                  <a:spLocks/>
                </p:cNvSpPr>
                <p:nvPr/>
              </p:nvSpPr>
              <p:spPr bwMode="auto">
                <a:xfrm>
                  <a:off x="5086350" y="5267393"/>
                  <a:ext cx="28575" cy="47625"/>
                </a:xfrm>
                <a:custGeom>
                  <a:avLst/>
                  <a:gdLst>
                    <a:gd name="T0" fmla="*/ 0 w 18"/>
                    <a:gd name="T1" fmla="*/ 18 h 30"/>
                    <a:gd name="T2" fmla="*/ 0 w 18"/>
                    <a:gd name="T3" fmla="*/ 22 h 30"/>
                    <a:gd name="T4" fmla="*/ 0 w 18"/>
                    <a:gd name="T5" fmla="*/ 22 h 30"/>
                    <a:gd name="T6" fmla="*/ 0 w 18"/>
                    <a:gd name="T7" fmla="*/ 18 h 30"/>
                    <a:gd name="T8" fmla="*/ 0 w 18"/>
                    <a:gd name="T9" fmla="*/ 18 h 30"/>
                    <a:gd name="T10" fmla="*/ 0 w 18"/>
                    <a:gd name="T11" fmla="*/ 18 h 30"/>
                    <a:gd name="T12" fmla="*/ 0 w 18"/>
                    <a:gd name="T13" fmla="*/ 18 h 30"/>
                    <a:gd name="T14" fmla="*/ 0 w 18"/>
                    <a:gd name="T15" fmla="*/ 14 h 30"/>
                    <a:gd name="T16" fmla="*/ 0 w 18"/>
                    <a:gd name="T17" fmla="*/ 14 h 30"/>
                    <a:gd name="T18" fmla="*/ 0 w 18"/>
                    <a:gd name="T19" fmla="*/ 14 h 30"/>
                    <a:gd name="T20" fmla="*/ 0 w 18"/>
                    <a:gd name="T21" fmla="*/ 14 h 30"/>
                    <a:gd name="T22" fmla="*/ 0 w 18"/>
                    <a:gd name="T23" fmla="*/ 12 h 30"/>
                    <a:gd name="T24" fmla="*/ 4 w 18"/>
                    <a:gd name="T25" fmla="*/ 12 h 30"/>
                    <a:gd name="T26" fmla="*/ 4 w 18"/>
                    <a:gd name="T27" fmla="*/ 12 h 30"/>
                    <a:gd name="T28" fmla="*/ 4 w 18"/>
                    <a:gd name="T29" fmla="*/ 8 h 30"/>
                    <a:gd name="T30" fmla="*/ 4 w 18"/>
                    <a:gd name="T31" fmla="*/ 8 h 30"/>
                    <a:gd name="T32" fmla="*/ 4 w 18"/>
                    <a:gd name="T33" fmla="*/ 8 h 30"/>
                    <a:gd name="T34" fmla="*/ 4 w 18"/>
                    <a:gd name="T35" fmla="*/ 8 h 30"/>
                    <a:gd name="T36" fmla="*/ 4 w 18"/>
                    <a:gd name="T37" fmla="*/ 8 h 30"/>
                    <a:gd name="T38" fmla="*/ 4 w 18"/>
                    <a:gd name="T39" fmla="*/ 4 h 30"/>
                    <a:gd name="T40" fmla="*/ 6 w 18"/>
                    <a:gd name="T41" fmla="*/ 0 h 30"/>
                    <a:gd name="T42" fmla="*/ 6 w 18"/>
                    <a:gd name="T43" fmla="*/ 0 h 30"/>
                    <a:gd name="T44" fmla="*/ 10 w 18"/>
                    <a:gd name="T45" fmla="*/ 4 h 30"/>
                    <a:gd name="T46" fmla="*/ 10 w 18"/>
                    <a:gd name="T47" fmla="*/ 4 h 30"/>
                    <a:gd name="T48" fmla="*/ 14 w 18"/>
                    <a:gd name="T49" fmla="*/ 4 h 30"/>
                    <a:gd name="T50" fmla="*/ 14 w 18"/>
                    <a:gd name="T51" fmla="*/ 4 h 30"/>
                    <a:gd name="T52" fmla="*/ 14 w 18"/>
                    <a:gd name="T53" fmla="*/ 8 h 30"/>
                    <a:gd name="T54" fmla="*/ 14 w 18"/>
                    <a:gd name="T55" fmla="*/ 4 h 30"/>
                    <a:gd name="T56" fmla="*/ 14 w 18"/>
                    <a:gd name="T57" fmla="*/ 8 h 30"/>
                    <a:gd name="T58" fmla="*/ 18 w 18"/>
                    <a:gd name="T59" fmla="*/ 8 h 30"/>
                    <a:gd name="T60" fmla="*/ 18 w 18"/>
                    <a:gd name="T61" fmla="*/ 8 h 30"/>
                    <a:gd name="T62" fmla="*/ 18 w 18"/>
                    <a:gd name="T63" fmla="*/ 12 h 30"/>
                    <a:gd name="T64" fmla="*/ 18 w 18"/>
                    <a:gd name="T65" fmla="*/ 14 h 30"/>
                    <a:gd name="T66" fmla="*/ 18 w 18"/>
                    <a:gd name="T67" fmla="*/ 14 h 30"/>
                    <a:gd name="T68" fmla="*/ 18 w 18"/>
                    <a:gd name="T69" fmla="*/ 14 h 30"/>
                    <a:gd name="T70" fmla="*/ 18 w 18"/>
                    <a:gd name="T71" fmla="*/ 22 h 30"/>
                    <a:gd name="T72" fmla="*/ 18 w 18"/>
                    <a:gd name="T73" fmla="*/ 22 h 30"/>
                    <a:gd name="T74" fmla="*/ 18 w 18"/>
                    <a:gd name="T75" fmla="*/ 22 h 30"/>
                    <a:gd name="T76" fmla="*/ 14 w 18"/>
                    <a:gd name="T77" fmla="*/ 22 h 30"/>
                    <a:gd name="T78" fmla="*/ 14 w 18"/>
                    <a:gd name="T79" fmla="*/ 26 h 30"/>
                    <a:gd name="T80" fmla="*/ 14 w 18"/>
                    <a:gd name="T81" fmla="*/ 26 h 30"/>
                    <a:gd name="T82" fmla="*/ 14 w 18"/>
                    <a:gd name="T83" fmla="*/ 26 h 30"/>
                    <a:gd name="T84" fmla="*/ 14 w 18"/>
                    <a:gd name="T85" fmla="*/ 30 h 30"/>
                    <a:gd name="T86" fmla="*/ 14 w 18"/>
                    <a:gd name="T87" fmla="*/ 30 h 30"/>
                    <a:gd name="T88" fmla="*/ 14 w 18"/>
                    <a:gd name="T89" fmla="*/ 30 h 30"/>
                    <a:gd name="T90" fmla="*/ 14 w 18"/>
                    <a:gd name="T91" fmla="*/ 30 h 30"/>
                    <a:gd name="T92" fmla="*/ 14 w 18"/>
                    <a:gd name="T93" fmla="*/ 30 h 30"/>
                    <a:gd name="T94" fmla="*/ 14 w 18"/>
                    <a:gd name="T95" fmla="*/ 30 h 30"/>
                    <a:gd name="T96" fmla="*/ 10 w 18"/>
                    <a:gd name="T97" fmla="*/ 30 h 30"/>
                    <a:gd name="T98" fmla="*/ 10 w 18"/>
                    <a:gd name="T99" fmla="*/ 30 h 30"/>
                    <a:gd name="T100" fmla="*/ 6 w 18"/>
                    <a:gd name="T101" fmla="*/ 30 h 30"/>
                    <a:gd name="T102" fmla="*/ 6 w 18"/>
                    <a:gd name="T103" fmla="*/ 30 h 30"/>
                    <a:gd name="T104" fmla="*/ 4 w 18"/>
                    <a:gd name="T105" fmla="*/ 30 h 30"/>
                    <a:gd name="T106" fmla="*/ 4 w 18"/>
                    <a:gd name="T107" fmla="*/ 30 h 30"/>
                    <a:gd name="T108" fmla="*/ 4 w 18"/>
                    <a:gd name="T109" fmla="*/ 26 h 30"/>
                    <a:gd name="T110" fmla="*/ 4 w 18"/>
                    <a:gd name="T111" fmla="*/ 22 h 30"/>
                    <a:gd name="T112" fmla="*/ 0 w 18"/>
                    <a:gd name="T113" fmla="*/ 22 h 30"/>
                    <a:gd name="T114" fmla="*/ 0 w 18"/>
                    <a:gd name="T115" fmla="*/ 18 h 30"/>
                    <a:gd name="T116" fmla="*/ 0 w 18"/>
                    <a:gd name="T117" fmla="*/ 18 h 30"/>
                    <a:gd name="T118" fmla="*/ 0 w 18"/>
                    <a:gd name="T119" fmla="*/ 18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8" h="30">
                      <a:moveTo>
                        <a:pt x="0" y="18"/>
                      </a:move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4"/>
                      </a:lnTo>
                      <a:lnTo>
                        <a:pt x="0" y="14"/>
                      </a:lnTo>
                      <a:lnTo>
                        <a:pt x="0" y="14"/>
                      </a:lnTo>
                      <a:lnTo>
                        <a:pt x="0" y="14"/>
                      </a:lnTo>
                      <a:lnTo>
                        <a:pt x="0" y="12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4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4" y="8"/>
                      </a:lnTo>
                      <a:lnTo>
                        <a:pt x="14" y="4"/>
                      </a:lnTo>
                      <a:lnTo>
                        <a:pt x="14" y="8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8" y="12"/>
                      </a:lnTo>
                      <a:lnTo>
                        <a:pt x="18" y="14"/>
                      </a:lnTo>
                      <a:lnTo>
                        <a:pt x="18" y="14"/>
                      </a:lnTo>
                      <a:lnTo>
                        <a:pt x="18" y="14"/>
                      </a:lnTo>
                      <a:lnTo>
                        <a:pt x="18" y="22"/>
                      </a:lnTo>
                      <a:lnTo>
                        <a:pt x="18" y="22"/>
                      </a:lnTo>
                      <a:lnTo>
                        <a:pt x="18" y="22"/>
                      </a:lnTo>
                      <a:lnTo>
                        <a:pt x="14" y="22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30"/>
                      </a:lnTo>
                      <a:lnTo>
                        <a:pt x="14" y="30"/>
                      </a:lnTo>
                      <a:lnTo>
                        <a:pt x="14" y="30"/>
                      </a:lnTo>
                      <a:lnTo>
                        <a:pt x="14" y="30"/>
                      </a:lnTo>
                      <a:lnTo>
                        <a:pt x="14" y="30"/>
                      </a:lnTo>
                      <a:lnTo>
                        <a:pt x="14" y="30"/>
                      </a:lnTo>
                      <a:lnTo>
                        <a:pt x="10" y="30"/>
                      </a:lnTo>
                      <a:lnTo>
                        <a:pt x="10" y="30"/>
                      </a:lnTo>
                      <a:lnTo>
                        <a:pt x="6" y="30"/>
                      </a:lnTo>
                      <a:lnTo>
                        <a:pt x="6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26"/>
                      </a:lnTo>
                      <a:lnTo>
                        <a:pt x="4" y="22"/>
                      </a:lnTo>
                      <a:lnTo>
                        <a:pt x="0" y="22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24" name="Freeform 170"/>
                <p:cNvSpPr>
                  <a:spLocks noEditPoints="1"/>
                </p:cNvSpPr>
                <p:nvPr/>
              </p:nvSpPr>
              <p:spPr bwMode="auto">
                <a:xfrm>
                  <a:off x="5048250" y="4587943"/>
                  <a:ext cx="250825" cy="288925"/>
                </a:xfrm>
                <a:custGeom>
                  <a:avLst/>
                  <a:gdLst>
                    <a:gd name="T0" fmla="*/ 64 w 158"/>
                    <a:gd name="T1" fmla="*/ 148 h 182"/>
                    <a:gd name="T2" fmla="*/ 52 w 158"/>
                    <a:gd name="T3" fmla="*/ 144 h 182"/>
                    <a:gd name="T4" fmla="*/ 42 w 158"/>
                    <a:gd name="T5" fmla="*/ 136 h 182"/>
                    <a:gd name="T6" fmla="*/ 30 w 158"/>
                    <a:gd name="T7" fmla="*/ 130 h 182"/>
                    <a:gd name="T8" fmla="*/ 22 w 158"/>
                    <a:gd name="T9" fmla="*/ 122 h 182"/>
                    <a:gd name="T10" fmla="*/ 20 w 158"/>
                    <a:gd name="T11" fmla="*/ 110 h 182"/>
                    <a:gd name="T12" fmla="*/ 16 w 158"/>
                    <a:gd name="T13" fmla="*/ 100 h 182"/>
                    <a:gd name="T14" fmla="*/ 4 w 158"/>
                    <a:gd name="T15" fmla="*/ 88 h 182"/>
                    <a:gd name="T16" fmla="*/ 4 w 158"/>
                    <a:gd name="T17" fmla="*/ 74 h 182"/>
                    <a:gd name="T18" fmla="*/ 0 w 158"/>
                    <a:gd name="T19" fmla="*/ 62 h 182"/>
                    <a:gd name="T20" fmla="*/ 12 w 158"/>
                    <a:gd name="T21" fmla="*/ 54 h 182"/>
                    <a:gd name="T22" fmla="*/ 20 w 158"/>
                    <a:gd name="T23" fmla="*/ 44 h 182"/>
                    <a:gd name="T24" fmla="*/ 22 w 158"/>
                    <a:gd name="T25" fmla="*/ 34 h 182"/>
                    <a:gd name="T26" fmla="*/ 20 w 158"/>
                    <a:gd name="T27" fmla="*/ 22 h 182"/>
                    <a:gd name="T28" fmla="*/ 22 w 158"/>
                    <a:gd name="T29" fmla="*/ 10 h 182"/>
                    <a:gd name="T30" fmla="*/ 20 w 158"/>
                    <a:gd name="T31" fmla="*/ 0 h 182"/>
                    <a:gd name="T32" fmla="*/ 34 w 158"/>
                    <a:gd name="T33" fmla="*/ 0 h 182"/>
                    <a:gd name="T34" fmla="*/ 56 w 158"/>
                    <a:gd name="T35" fmla="*/ 0 h 182"/>
                    <a:gd name="T36" fmla="*/ 80 w 158"/>
                    <a:gd name="T37" fmla="*/ 6 h 182"/>
                    <a:gd name="T38" fmla="*/ 98 w 158"/>
                    <a:gd name="T39" fmla="*/ 18 h 182"/>
                    <a:gd name="T40" fmla="*/ 112 w 158"/>
                    <a:gd name="T41" fmla="*/ 30 h 182"/>
                    <a:gd name="T42" fmla="*/ 120 w 158"/>
                    <a:gd name="T43" fmla="*/ 40 h 182"/>
                    <a:gd name="T44" fmla="*/ 132 w 158"/>
                    <a:gd name="T45" fmla="*/ 54 h 182"/>
                    <a:gd name="T46" fmla="*/ 142 w 158"/>
                    <a:gd name="T47" fmla="*/ 66 h 182"/>
                    <a:gd name="T48" fmla="*/ 136 w 158"/>
                    <a:gd name="T49" fmla="*/ 80 h 182"/>
                    <a:gd name="T50" fmla="*/ 140 w 158"/>
                    <a:gd name="T51" fmla="*/ 92 h 182"/>
                    <a:gd name="T52" fmla="*/ 146 w 158"/>
                    <a:gd name="T53" fmla="*/ 104 h 182"/>
                    <a:gd name="T54" fmla="*/ 142 w 158"/>
                    <a:gd name="T55" fmla="*/ 114 h 182"/>
                    <a:gd name="T56" fmla="*/ 142 w 158"/>
                    <a:gd name="T57" fmla="*/ 126 h 182"/>
                    <a:gd name="T58" fmla="*/ 142 w 158"/>
                    <a:gd name="T59" fmla="*/ 134 h 182"/>
                    <a:gd name="T60" fmla="*/ 146 w 158"/>
                    <a:gd name="T61" fmla="*/ 140 h 182"/>
                    <a:gd name="T62" fmla="*/ 150 w 158"/>
                    <a:gd name="T63" fmla="*/ 156 h 182"/>
                    <a:gd name="T64" fmla="*/ 158 w 158"/>
                    <a:gd name="T65" fmla="*/ 156 h 182"/>
                    <a:gd name="T66" fmla="*/ 150 w 158"/>
                    <a:gd name="T67" fmla="*/ 166 h 182"/>
                    <a:gd name="T68" fmla="*/ 142 w 158"/>
                    <a:gd name="T69" fmla="*/ 174 h 182"/>
                    <a:gd name="T70" fmla="*/ 128 w 158"/>
                    <a:gd name="T71" fmla="*/ 178 h 182"/>
                    <a:gd name="T72" fmla="*/ 120 w 158"/>
                    <a:gd name="T73" fmla="*/ 178 h 182"/>
                    <a:gd name="T74" fmla="*/ 116 w 158"/>
                    <a:gd name="T75" fmla="*/ 182 h 182"/>
                    <a:gd name="T76" fmla="*/ 102 w 158"/>
                    <a:gd name="T77" fmla="*/ 182 h 182"/>
                    <a:gd name="T78" fmla="*/ 86 w 158"/>
                    <a:gd name="T79" fmla="*/ 182 h 182"/>
                    <a:gd name="T80" fmla="*/ 80 w 158"/>
                    <a:gd name="T81" fmla="*/ 174 h 182"/>
                    <a:gd name="T82" fmla="*/ 80 w 158"/>
                    <a:gd name="T83" fmla="*/ 164 h 182"/>
                    <a:gd name="T84" fmla="*/ 76 w 158"/>
                    <a:gd name="T85" fmla="*/ 152 h 182"/>
                    <a:gd name="T86" fmla="*/ 72 w 158"/>
                    <a:gd name="T87" fmla="*/ 144 h 182"/>
                    <a:gd name="T88" fmla="*/ 150 w 158"/>
                    <a:gd name="T89" fmla="*/ 70 h 182"/>
                    <a:gd name="T90" fmla="*/ 150 w 158"/>
                    <a:gd name="T91" fmla="*/ 74 h 182"/>
                    <a:gd name="T92" fmla="*/ 142 w 158"/>
                    <a:gd name="T93" fmla="*/ 84 h 182"/>
                    <a:gd name="T94" fmla="*/ 146 w 158"/>
                    <a:gd name="T95" fmla="*/ 88 h 182"/>
                    <a:gd name="T96" fmla="*/ 142 w 158"/>
                    <a:gd name="T97" fmla="*/ 84 h 182"/>
                    <a:gd name="T98" fmla="*/ 150 w 158"/>
                    <a:gd name="T99" fmla="*/ 114 h 182"/>
                    <a:gd name="T100" fmla="*/ 146 w 158"/>
                    <a:gd name="T101" fmla="*/ 118 h 1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58" h="182">
                      <a:moveTo>
                        <a:pt x="72" y="144"/>
                      </a:moveTo>
                      <a:lnTo>
                        <a:pt x="68" y="144"/>
                      </a:lnTo>
                      <a:lnTo>
                        <a:pt x="68" y="148"/>
                      </a:lnTo>
                      <a:lnTo>
                        <a:pt x="64" y="148"/>
                      </a:lnTo>
                      <a:lnTo>
                        <a:pt x="60" y="148"/>
                      </a:lnTo>
                      <a:lnTo>
                        <a:pt x="60" y="144"/>
                      </a:lnTo>
                      <a:lnTo>
                        <a:pt x="56" y="144"/>
                      </a:lnTo>
                      <a:lnTo>
                        <a:pt x="52" y="144"/>
                      </a:lnTo>
                      <a:lnTo>
                        <a:pt x="50" y="140"/>
                      </a:lnTo>
                      <a:lnTo>
                        <a:pt x="46" y="140"/>
                      </a:lnTo>
                      <a:lnTo>
                        <a:pt x="46" y="136"/>
                      </a:lnTo>
                      <a:lnTo>
                        <a:pt x="42" y="136"/>
                      </a:lnTo>
                      <a:lnTo>
                        <a:pt x="38" y="136"/>
                      </a:lnTo>
                      <a:lnTo>
                        <a:pt x="38" y="134"/>
                      </a:lnTo>
                      <a:lnTo>
                        <a:pt x="34" y="134"/>
                      </a:lnTo>
                      <a:lnTo>
                        <a:pt x="30" y="130"/>
                      </a:lnTo>
                      <a:lnTo>
                        <a:pt x="26" y="130"/>
                      </a:lnTo>
                      <a:lnTo>
                        <a:pt x="22" y="130"/>
                      </a:lnTo>
                      <a:lnTo>
                        <a:pt x="22" y="126"/>
                      </a:lnTo>
                      <a:lnTo>
                        <a:pt x="22" y="122"/>
                      </a:lnTo>
                      <a:lnTo>
                        <a:pt x="22" y="118"/>
                      </a:lnTo>
                      <a:lnTo>
                        <a:pt x="20" y="118"/>
                      </a:lnTo>
                      <a:lnTo>
                        <a:pt x="20" y="114"/>
                      </a:lnTo>
                      <a:lnTo>
                        <a:pt x="20" y="110"/>
                      </a:lnTo>
                      <a:lnTo>
                        <a:pt x="16" y="110"/>
                      </a:lnTo>
                      <a:lnTo>
                        <a:pt x="16" y="108"/>
                      </a:lnTo>
                      <a:lnTo>
                        <a:pt x="16" y="104"/>
                      </a:lnTo>
                      <a:lnTo>
                        <a:pt x="16" y="100"/>
                      </a:lnTo>
                      <a:lnTo>
                        <a:pt x="12" y="100"/>
                      </a:lnTo>
                      <a:lnTo>
                        <a:pt x="8" y="96"/>
                      </a:lnTo>
                      <a:lnTo>
                        <a:pt x="4" y="92"/>
                      </a:lnTo>
                      <a:lnTo>
                        <a:pt x="4" y="88"/>
                      </a:lnTo>
                      <a:lnTo>
                        <a:pt x="4" y="84"/>
                      </a:lnTo>
                      <a:lnTo>
                        <a:pt x="4" y="80"/>
                      </a:lnTo>
                      <a:lnTo>
                        <a:pt x="4" y="78"/>
                      </a:lnTo>
                      <a:lnTo>
                        <a:pt x="4" y="74"/>
                      </a:lnTo>
                      <a:lnTo>
                        <a:pt x="4" y="70"/>
                      </a:lnTo>
                      <a:lnTo>
                        <a:pt x="0" y="70"/>
                      </a:lnTo>
                      <a:lnTo>
                        <a:pt x="0" y="66"/>
                      </a:lnTo>
                      <a:lnTo>
                        <a:pt x="0" y="62"/>
                      </a:lnTo>
                      <a:lnTo>
                        <a:pt x="4" y="62"/>
                      </a:lnTo>
                      <a:lnTo>
                        <a:pt x="4" y="58"/>
                      </a:lnTo>
                      <a:lnTo>
                        <a:pt x="8" y="58"/>
                      </a:lnTo>
                      <a:lnTo>
                        <a:pt x="12" y="54"/>
                      </a:lnTo>
                      <a:lnTo>
                        <a:pt x="16" y="50"/>
                      </a:lnTo>
                      <a:lnTo>
                        <a:pt x="16" y="48"/>
                      </a:lnTo>
                      <a:lnTo>
                        <a:pt x="16" y="44"/>
                      </a:lnTo>
                      <a:lnTo>
                        <a:pt x="20" y="44"/>
                      </a:lnTo>
                      <a:lnTo>
                        <a:pt x="20" y="40"/>
                      </a:lnTo>
                      <a:lnTo>
                        <a:pt x="22" y="40"/>
                      </a:lnTo>
                      <a:lnTo>
                        <a:pt x="22" y="36"/>
                      </a:lnTo>
                      <a:lnTo>
                        <a:pt x="22" y="34"/>
                      </a:lnTo>
                      <a:lnTo>
                        <a:pt x="20" y="34"/>
                      </a:lnTo>
                      <a:lnTo>
                        <a:pt x="16" y="34"/>
                      </a:lnTo>
                      <a:lnTo>
                        <a:pt x="20" y="26"/>
                      </a:lnTo>
                      <a:lnTo>
                        <a:pt x="20" y="22"/>
                      </a:lnTo>
                      <a:lnTo>
                        <a:pt x="22" y="22"/>
                      </a:lnTo>
                      <a:lnTo>
                        <a:pt x="22" y="18"/>
                      </a:lnTo>
                      <a:lnTo>
                        <a:pt x="22" y="14"/>
                      </a:lnTo>
                      <a:lnTo>
                        <a:pt x="22" y="10"/>
                      </a:lnTo>
                      <a:lnTo>
                        <a:pt x="22" y="6"/>
                      </a:lnTo>
                      <a:lnTo>
                        <a:pt x="20" y="6"/>
                      </a:lnTo>
                      <a:lnTo>
                        <a:pt x="20" y="4"/>
                      </a:lnTo>
                      <a:lnTo>
                        <a:pt x="20" y="0"/>
                      </a:lnTo>
                      <a:lnTo>
                        <a:pt x="22" y="0"/>
                      </a:lnTo>
                      <a:lnTo>
                        <a:pt x="26" y="0"/>
                      </a:lnTo>
                      <a:lnTo>
                        <a:pt x="30" y="0"/>
                      </a:lnTo>
                      <a:lnTo>
                        <a:pt x="34" y="0"/>
                      </a:lnTo>
                      <a:lnTo>
                        <a:pt x="46" y="0"/>
                      </a:lnTo>
                      <a:lnTo>
                        <a:pt x="50" y="0"/>
                      </a:lnTo>
                      <a:lnTo>
                        <a:pt x="52" y="0"/>
                      </a:lnTo>
                      <a:lnTo>
                        <a:pt x="56" y="0"/>
                      </a:lnTo>
                      <a:lnTo>
                        <a:pt x="60" y="0"/>
                      </a:lnTo>
                      <a:lnTo>
                        <a:pt x="68" y="0"/>
                      </a:lnTo>
                      <a:lnTo>
                        <a:pt x="76" y="4"/>
                      </a:lnTo>
                      <a:lnTo>
                        <a:pt x="80" y="6"/>
                      </a:lnTo>
                      <a:lnTo>
                        <a:pt x="86" y="10"/>
                      </a:lnTo>
                      <a:lnTo>
                        <a:pt x="90" y="14"/>
                      </a:lnTo>
                      <a:lnTo>
                        <a:pt x="94" y="18"/>
                      </a:lnTo>
                      <a:lnTo>
                        <a:pt x="98" y="18"/>
                      </a:lnTo>
                      <a:lnTo>
                        <a:pt x="98" y="22"/>
                      </a:lnTo>
                      <a:lnTo>
                        <a:pt x="102" y="22"/>
                      </a:lnTo>
                      <a:lnTo>
                        <a:pt x="106" y="26"/>
                      </a:lnTo>
                      <a:lnTo>
                        <a:pt x="112" y="30"/>
                      </a:lnTo>
                      <a:lnTo>
                        <a:pt x="116" y="34"/>
                      </a:lnTo>
                      <a:lnTo>
                        <a:pt x="120" y="34"/>
                      </a:lnTo>
                      <a:lnTo>
                        <a:pt x="120" y="36"/>
                      </a:lnTo>
                      <a:lnTo>
                        <a:pt x="120" y="40"/>
                      </a:lnTo>
                      <a:lnTo>
                        <a:pt x="120" y="44"/>
                      </a:lnTo>
                      <a:lnTo>
                        <a:pt x="124" y="44"/>
                      </a:lnTo>
                      <a:lnTo>
                        <a:pt x="132" y="50"/>
                      </a:lnTo>
                      <a:lnTo>
                        <a:pt x="132" y="54"/>
                      </a:lnTo>
                      <a:lnTo>
                        <a:pt x="136" y="54"/>
                      </a:lnTo>
                      <a:lnTo>
                        <a:pt x="140" y="58"/>
                      </a:lnTo>
                      <a:lnTo>
                        <a:pt x="142" y="62"/>
                      </a:lnTo>
                      <a:lnTo>
                        <a:pt x="142" y="66"/>
                      </a:lnTo>
                      <a:lnTo>
                        <a:pt x="140" y="70"/>
                      </a:lnTo>
                      <a:lnTo>
                        <a:pt x="140" y="74"/>
                      </a:lnTo>
                      <a:lnTo>
                        <a:pt x="140" y="78"/>
                      </a:lnTo>
                      <a:lnTo>
                        <a:pt x="136" y="80"/>
                      </a:lnTo>
                      <a:lnTo>
                        <a:pt x="136" y="84"/>
                      </a:lnTo>
                      <a:lnTo>
                        <a:pt x="136" y="88"/>
                      </a:lnTo>
                      <a:lnTo>
                        <a:pt x="136" y="92"/>
                      </a:lnTo>
                      <a:lnTo>
                        <a:pt x="140" y="92"/>
                      </a:lnTo>
                      <a:lnTo>
                        <a:pt x="142" y="96"/>
                      </a:lnTo>
                      <a:lnTo>
                        <a:pt x="142" y="100"/>
                      </a:lnTo>
                      <a:lnTo>
                        <a:pt x="146" y="100"/>
                      </a:lnTo>
                      <a:lnTo>
                        <a:pt x="146" y="104"/>
                      </a:lnTo>
                      <a:lnTo>
                        <a:pt x="146" y="108"/>
                      </a:lnTo>
                      <a:lnTo>
                        <a:pt x="142" y="108"/>
                      </a:lnTo>
                      <a:lnTo>
                        <a:pt x="142" y="110"/>
                      </a:lnTo>
                      <a:lnTo>
                        <a:pt x="142" y="114"/>
                      </a:lnTo>
                      <a:lnTo>
                        <a:pt x="146" y="114"/>
                      </a:lnTo>
                      <a:lnTo>
                        <a:pt x="146" y="118"/>
                      </a:lnTo>
                      <a:lnTo>
                        <a:pt x="142" y="122"/>
                      </a:lnTo>
                      <a:lnTo>
                        <a:pt x="142" y="126"/>
                      </a:lnTo>
                      <a:lnTo>
                        <a:pt x="142" y="122"/>
                      </a:lnTo>
                      <a:lnTo>
                        <a:pt x="142" y="126"/>
                      </a:lnTo>
                      <a:lnTo>
                        <a:pt x="142" y="130"/>
                      </a:lnTo>
                      <a:lnTo>
                        <a:pt x="142" y="134"/>
                      </a:lnTo>
                      <a:lnTo>
                        <a:pt x="146" y="134"/>
                      </a:lnTo>
                      <a:lnTo>
                        <a:pt x="142" y="134"/>
                      </a:lnTo>
                      <a:lnTo>
                        <a:pt x="146" y="136"/>
                      </a:lnTo>
                      <a:lnTo>
                        <a:pt x="146" y="140"/>
                      </a:lnTo>
                      <a:lnTo>
                        <a:pt x="150" y="144"/>
                      </a:lnTo>
                      <a:lnTo>
                        <a:pt x="150" y="148"/>
                      </a:lnTo>
                      <a:lnTo>
                        <a:pt x="150" y="152"/>
                      </a:lnTo>
                      <a:lnTo>
                        <a:pt x="150" y="156"/>
                      </a:lnTo>
                      <a:lnTo>
                        <a:pt x="154" y="156"/>
                      </a:lnTo>
                      <a:lnTo>
                        <a:pt x="154" y="160"/>
                      </a:lnTo>
                      <a:lnTo>
                        <a:pt x="158" y="160"/>
                      </a:lnTo>
                      <a:lnTo>
                        <a:pt x="158" y="156"/>
                      </a:lnTo>
                      <a:lnTo>
                        <a:pt x="158" y="160"/>
                      </a:lnTo>
                      <a:lnTo>
                        <a:pt x="158" y="164"/>
                      </a:lnTo>
                      <a:lnTo>
                        <a:pt x="154" y="166"/>
                      </a:lnTo>
                      <a:lnTo>
                        <a:pt x="150" y="166"/>
                      </a:lnTo>
                      <a:lnTo>
                        <a:pt x="150" y="170"/>
                      </a:lnTo>
                      <a:lnTo>
                        <a:pt x="146" y="170"/>
                      </a:lnTo>
                      <a:lnTo>
                        <a:pt x="142" y="170"/>
                      </a:lnTo>
                      <a:lnTo>
                        <a:pt x="142" y="174"/>
                      </a:lnTo>
                      <a:lnTo>
                        <a:pt x="140" y="174"/>
                      </a:lnTo>
                      <a:lnTo>
                        <a:pt x="136" y="174"/>
                      </a:lnTo>
                      <a:lnTo>
                        <a:pt x="132" y="178"/>
                      </a:lnTo>
                      <a:lnTo>
                        <a:pt x="128" y="178"/>
                      </a:lnTo>
                      <a:lnTo>
                        <a:pt x="128" y="174"/>
                      </a:lnTo>
                      <a:lnTo>
                        <a:pt x="124" y="174"/>
                      </a:lnTo>
                      <a:lnTo>
                        <a:pt x="124" y="178"/>
                      </a:lnTo>
                      <a:lnTo>
                        <a:pt x="120" y="178"/>
                      </a:lnTo>
                      <a:lnTo>
                        <a:pt x="124" y="178"/>
                      </a:lnTo>
                      <a:lnTo>
                        <a:pt x="124" y="182"/>
                      </a:lnTo>
                      <a:lnTo>
                        <a:pt x="120" y="182"/>
                      </a:lnTo>
                      <a:lnTo>
                        <a:pt x="116" y="182"/>
                      </a:lnTo>
                      <a:lnTo>
                        <a:pt x="112" y="182"/>
                      </a:lnTo>
                      <a:lnTo>
                        <a:pt x="110" y="182"/>
                      </a:lnTo>
                      <a:lnTo>
                        <a:pt x="106" y="182"/>
                      </a:lnTo>
                      <a:lnTo>
                        <a:pt x="102" y="182"/>
                      </a:lnTo>
                      <a:lnTo>
                        <a:pt x="98" y="182"/>
                      </a:lnTo>
                      <a:lnTo>
                        <a:pt x="94" y="178"/>
                      </a:lnTo>
                      <a:lnTo>
                        <a:pt x="90" y="182"/>
                      </a:lnTo>
                      <a:lnTo>
                        <a:pt x="86" y="182"/>
                      </a:lnTo>
                      <a:lnTo>
                        <a:pt x="82" y="182"/>
                      </a:lnTo>
                      <a:lnTo>
                        <a:pt x="82" y="178"/>
                      </a:lnTo>
                      <a:lnTo>
                        <a:pt x="80" y="178"/>
                      </a:lnTo>
                      <a:lnTo>
                        <a:pt x="80" y="174"/>
                      </a:lnTo>
                      <a:lnTo>
                        <a:pt x="76" y="174"/>
                      </a:lnTo>
                      <a:lnTo>
                        <a:pt x="76" y="170"/>
                      </a:lnTo>
                      <a:lnTo>
                        <a:pt x="80" y="166"/>
                      </a:lnTo>
                      <a:lnTo>
                        <a:pt x="80" y="164"/>
                      </a:lnTo>
                      <a:lnTo>
                        <a:pt x="76" y="164"/>
                      </a:lnTo>
                      <a:lnTo>
                        <a:pt x="76" y="160"/>
                      </a:lnTo>
                      <a:lnTo>
                        <a:pt x="76" y="156"/>
                      </a:lnTo>
                      <a:lnTo>
                        <a:pt x="76" y="152"/>
                      </a:lnTo>
                      <a:lnTo>
                        <a:pt x="72" y="152"/>
                      </a:lnTo>
                      <a:lnTo>
                        <a:pt x="72" y="148"/>
                      </a:lnTo>
                      <a:lnTo>
                        <a:pt x="72" y="144"/>
                      </a:lnTo>
                      <a:lnTo>
                        <a:pt x="72" y="144"/>
                      </a:lnTo>
                      <a:lnTo>
                        <a:pt x="72" y="144"/>
                      </a:lnTo>
                      <a:close/>
                      <a:moveTo>
                        <a:pt x="150" y="70"/>
                      </a:moveTo>
                      <a:lnTo>
                        <a:pt x="150" y="66"/>
                      </a:lnTo>
                      <a:lnTo>
                        <a:pt x="150" y="70"/>
                      </a:lnTo>
                      <a:lnTo>
                        <a:pt x="150" y="74"/>
                      </a:lnTo>
                      <a:lnTo>
                        <a:pt x="150" y="78"/>
                      </a:lnTo>
                      <a:lnTo>
                        <a:pt x="146" y="74"/>
                      </a:lnTo>
                      <a:lnTo>
                        <a:pt x="150" y="74"/>
                      </a:lnTo>
                      <a:lnTo>
                        <a:pt x="150" y="70"/>
                      </a:lnTo>
                      <a:lnTo>
                        <a:pt x="150" y="70"/>
                      </a:lnTo>
                      <a:lnTo>
                        <a:pt x="150" y="70"/>
                      </a:lnTo>
                      <a:close/>
                      <a:moveTo>
                        <a:pt x="142" y="84"/>
                      </a:moveTo>
                      <a:lnTo>
                        <a:pt x="142" y="80"/>
                      </a:lnTo>
                      <a:lnTo>
                        <a:pt x="142" y="84"/>
                      </a:lnTo>
                      <a:lnTo>
                        <a:pt x="146" y="84"/>
                      </a:lnTo>
                      <a:lnTo>
                        <a:pt x="146" y="88"/>
                      </a:lnTo>
                      <a:lnTo>
                        <a:pt x="146" y="92"/>
                      </a:lnTo>
                      <a:lnTo>
                        <a:pt x="146" y="88"/>
                      </a:lnTo>
                      <a:lnTo>
                        <a:pt x="142" y="88"/>
                      </a:lnTo>
                      <a:lnTo>
                        <a:pt x="142" y="84"/>
                      </a:lnTo>
                      <a:lnTo>
                        <a:pt x="142" y="84"/>
                      </a:lnTo>
                      <a:lnTo>
                        <a:pt x="142" y="84"/>
                      </a:lnTo>
                      <a:close/>
                      <a:moveTo>
                        <a:pt x="146" y="118"/>
                      </a:moveTo>
                      <a:lnTo>
                        <a:pt x="150" y="114"/>
                      </a:lnTo>
                      <a:lnTo>
                        <a:pt x="150" y="118"/>
                      </a:lnTo>
                      <a:lnTo>
                        <a:pt x="146" y="118"/>
                      </a:lnTo>
                      <a:lnTo>
                        <a:pt x="146" y="118"/>
                      </a:lnTo>
                      <a:lnTo>
                        <a:pt x="146" y="11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25" name="Freeform 171"/>
                <p:cNvSpPr>
                  <a:spLocks/>
                </p:cNvSpPr>
                <p:nvPr/>
              </p:nvSpPr>
              <p:spPr bwMode="auto">
                <a:xfrm>
                  <a:off x="4013200" y="4184718"/>
                  <a:ext cx="73025" cy="15875"/>
                </a:xfrm>
                <a:custGeom>
                  <a:avLst/>
                  <a:gdLst>
                    <a:gd name="T0" fmla="*/ 4 w 46"/>
                    <a:gd name="T1" fmla="*/ 6 h 10"/>
                    <a:gd name="T2" fmla="*/ 4 w 46"/>
                    <a:gd name="T3" fmla="*/ 6 h 10"/>
                    <a:gd name="T4" fmla="*/ 4 w 46"/>
                    <a:gd name="T5" fmla="*/ 6 h 10"/>
                    <a:gd name="T6" fmla="*/ 8 w 46"/>
                    <a:gd name="T7" fmla="*/ 10 h 10"/>
                    <a:gd name="T8" fmla="*/ 8 w 46"/>
                    <a:gd name="T9" fmla="*/ 6 h 10"/>
                    <a:gd name="T10" fmla="*/ 12 w 46"/>
                    <a:gd name="T11" fmla="*/ 6 h 10"/>
                    <a:gd name="T12" fmla="*/ 12 w 46"/>
                    <a:gd name="T13" fmla="*/ 6 h 10"/>
                    <a:gd name="T14" fmla="*/ 8 w 46"/>
                    <a:gd name="T15" fmla="*/ 6 h 10"/>
                    <a:gd name="T16" fmla="*/ 12 w 46"/>
                    <a:gd name="T17" fmla="*/ 6 h 10"/>
                    <a:gd name="T18" fmla="*/ 20 w 46"/>
                    <a:gd name="T19" fmla="*/ 6 h 10"/>
                    <a:gd name="T20" fmla="*/ 24 w 46"/>
                    <a:gd name="T21" fmla="*/ 6 h 10"/>
                    <a:gd name="T22" fmla="*/ 24 w 46"/>
                    <a:gd name="T23" fmla="*/ 6 h 10"/>
                    <a:gd name="T24" fmla="*/ 24 w 46"/>
                    <a:gd name="T25" fmla="*/ 2 h 10"/>
                    <a:gd name="T26" fmla="*/ 24 w 46"/>
                    <a:gd name="T27" fmla="*/ 6 h 10"/>
                    <a:gd name="T28" fmla="*/ 20 w 46"/>
                    <a:gd name="T29" fmla="*/ 2 h 10"/>
                    <a:gd name="T30" fmla="*/ 12 w 46"/>
                    <a:gd name="T31" fmla="*/ 6 h 10"/>
                    <a:gd name="T32" fmla="*/ 12 w 46"/>
                    <a:gd name="T33" fmla="*/ 6 h 10"/>
                    <a:gd name="T34" fmla="*/ 8 w 46"/>
                    <a:gd name="T35" fmla="*/ 6 h 10"/>
                    <a:gd name="T36" fmla="*/ 4 w 46"/>
                    <a:gd name="T37" fmla="*/ 6 h 10"/>
                    <a:gd name="T38" fmla="*/ 4 w 46"/>
                    <a:gd name="T39" fmla="*/ 2 h 10"/>
                    <a:gd name="T40" fmla="*/ 12 w 46"/>
                    <a:gd name="T41" fmla="*/ 2 h 10"/>
                    <a:gd name="T42" fmla="*/ 20 w 46"/>
                    <a:gd name="T43" fmla="*/ 2 h 10"/>
                    <a:gd name="T44" fmla="*/ 20 w 46"/>
                    <a:gd name="T45" fmla="*/ 2 h 10"/>
                    <a:gd name="T46" fmla="*/ 20 w 46"/>
                    <a:gd name="T47" fmla="*/ 0 h 10"/>
                    <a:gd name="T48" fmla="*/ 24 w 46"/>
                    <a:gd name="T49" fmla="*/ 0 h 10"/>
                    <a:gd name="T50" fmla="*/ 24 w 46"/>
                    <a:gd name="T51" fmla="*/ 0 h 10"/>
                    <a:gd name="T52" fmla="*/ 26 w 46"/>
                    <a:gd name="T53" fmla="*/ 0 h 10"/>
                    <a:gd name="T54" fmla="*/ 30 w 46"/>
                    <a:gd name="T55" fmla="*/ 0 h 10"/>
                    <a:gd name="T56" fmla="*/ 30 w 46"/>
                    <a:gd name="T57" fmla="*/ 0 h 10"/>
                    <a:gd name="T58" fmla="*/ 30 w 46"/>
                    <a:gd name="T59" fmla="*/ 2 h 10"/>
                    <a:gd name="T60" fmla="*/ 30 w 46"/>
                    <a:gd name="T61" fmla="*/ 2 h 10"/>
                    <a:gd name="T62" fmla="*/ 34 w 46"/>
                    <a:gd name="T63" fmla="*/ 2 h 10"/>
                    <a:gd name="T64" fmla="*/ 34 w 46"/>
                    <a:gd name="T65" fmla="*/ 2 h 10"/>
                    <a:gd name="T66" fmla="*/ 34 w 46"/>
                    <a:gd name="T67" fmla="*/ 2 h 10"/>
                    <a:gd name="T68" fmla="*/ 34 w 46"/>
                    <a:gd name="T69" fmla="*/ 6 h 10"/>
                    <a:gd name="T70" fmla="*/ 38 w 46"/>
                    <a:gd name="T71" fmla="*/ 2 h 10"/>
                    <a:gd name="T72" fmla="*/ 42 w 46"/>
                    <a:gd name="T73" fmla="*/ 2 h 10"/>
                    <a:gd name="T74" fmla="*/ 42 w 46"/>
                    <a:gd name="T75" fmla="*/ 2 h 10"/>
                    <a:gd name="T76" fmla="*/ 46 w 46"/>
                    <a:gd name="T77" fmla="*/ 2 h 10"/>
                    <a:gd name="T78" fmla="*/ 46 w 46"/>
                    <a:gd name="T79" fmla="*/ 6 h 10"/>
                    <a:gd name="T80" fmla="*/ 42 w 46"/>
                    <a:gd name="T81" fmla="*/ 6 h 10"/>
                    <a:gd name="T82" fmla="*/ 42 w 46"/>
                    <a:gd name="T83" fmla="*/ 6 h 10"/>
                    <a:gd name="T84" fmla="*/ 38 w 46"/>
                    <a:gd name="T85" fmla="*/ 10 h 10"/>
                    <a:gd name="T86" fmla="*/ 38 w 46"/>
                    <a:gd name="T87" fmla="*/ 10 h 10"/>
                    <a:gd name="T88" fmla="*/ 34 w 46"/>
                    <a:gd name="T89" fmla="*/ 6 h 10"/>
                    <a:gd name="T90" fmla="*/ 30 w 46"/>
                    <a:gd name="T91" fmla="*/ 6 h 10"/>
                    <a:gd name="T92" fmla="*/ 30 w 46"/>
                    <a:gd name="T93" fmla="*/ 6 h 10"/>
                    <a:gd name="T94" fmla="*/ 26 w 46"/>
                    <a:gd name="T95" fmla="*/ 6 h 10"/>
                    <a:gd name="T96" fmla="*/ 26 w 46"/>
                    <a:gd name="T97" fmla="*/ 2 h 10"/>
                    <a:gd name="T98" fmla="*/ 26 w 46"/>
                    <a:gd name="T99" fmla="*/ 2 h 10"/>
                    <a:gd name="T100" fmla="*/ 24 w 46"/>
                    <a:gd name="T101" fmla="*/ 2 h 10"/>
                    <a:gd name="T102" fmla="*/ 24 w 46"/>
                    <a:gd name="T103" fmla="*/ 6 h 10"/>
                    <a:gd name="T104" fmla="*/ 24 w 46"/>
                    <a:gd name="T105" fmla="*/ 6 h 10"/>
                    <a:gd name="T106" fmla="*/ 20 w 46"/>
                    <a:gd name="T107" fmla="*/ 6 h 10"/>
                    <a:gd name="T108" fmla="*/ 16 w 46"/>
                    <a:gd name="T109" fmla="*/ 10 h 10"/>
                    <a:gd name="T110" fmla="*/ 12 w 46"/>
                    <a:gd name="T111" fmla="*/ 10 h 10"/>
                    <a:gd name="T112" fmla="*/ 0 w 46"/>
                    <a:gd name="T113" fmla="*/ 10 h 10"/>
                    <a:gd name="T114" fmla="*/ 0 w 46"/>
                    <a:gd name="T115" fmla="*/ 6 h 10"/>
                    <a:gd name="T116" fmla="*/ 0 w 46"/>
                    <a:gd name="T117" fmla="*/ 6 h 10"/>
                    <a:gd name="T118" fmla="*/ 4 w 46"/>
                    <a:gd name="T119" fmla="*/ 2 h 10"/>
                    <a:gd name="T120" fmla="*/ 4 w 46"/>
                    <a:gd name="T121" fmla="*/ 6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46" h="10">
                      <a:moveTo>
                        <a:pt x="4" y="6"/>
                      </a:move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8" y="10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12" y="10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6" y="6"/>
                      </a:lnTo>
                      <a:lnTo>
                        <a:pt x="20" y="6"/>
                      </a:lnTo>
                      <a:lnTo>
                        <a:pt x="20" y="2"/>
                      </a:lnTo>
                      <a:lnTo>
                        <a:pt x="20" y="2"/>
                      </a:lnTo>
                      <a:lnTo>
                        <a:pt x="24" y="6"/>
                      </a:lnTo>
                      <a:lnTo>
                        <a:pt x="24" y="6"/>
                      </a:lnTo>
                      <a:lnTo>
                        <a:pt x="24" y="6"/>
                      </a:lnTo>
                      <a:lnTo>
                        <a:pt x="24" y="6"/>
                      </a:lnTo>
                      <a:lnTo>
                        <a:pt x="24" y="2"/>
                      </a:lnTo>
                      <a:lnTo>
                        <a:pt x="24" y="2"/>
                      </a:lnTo>
                      <a:lnTo>
                        <a:pt x="24" y="2"/>
                      </a:lnTo>
                      <a:lnTo>
                        <a:pt x="24" y="6"/>
                      </a:lnTo>
                      <a:lnTo>
                        <a:pt x="24" y="6"/>
                      </a:lnTo>
                      <a:lnTo>
                        <a:pt x="24" y="6"/>
                      </a:lnTo>
                      <a:lnTo>
                        <a:pt x="20" y="2"/>
                      </a:lnTo>
                      <a:lnTo>
                        <a:pt x="20" y="2"/>
                      </a:lnTo>
                      <a:lnTo>
                        <a:pt x="20" y="2"/>
                      </a:lnTo>
                      <a:lnTo>
                        <a:pt x="16" y="2"/>
                      </a:lnTo>
                      <a:lnTo>
                        <a:pt x="16" y="6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16" y="2"/>
                      </a:lnTo>
                      <a:lnTo>
                        <a:pt x="20" y="2"/>
                      </a:lnTo>
                      <a:lnTo>
                        <a:pt x="20" y="2"/>
                      </a:lnTo>
                      <a:lnTo>
                        <a:pt x="20" y="2"/>
                      </a:lnTo>
                      <a:lnTo>
                        <a:pt x="20" y="2"/>
                      </a:lnTo>
                      <a:lnTo>
                        <a:pt x="20" y="2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0" y="2"/>
                      </a:lnTo>
                      <a:lnTo>
                        <a:pt x="30" y="2"/>
                      </a:lnTo>
                      <a:lnTo>
                        <a:pt x="30" y="2"/>
                      </a:lnTo>
                      <a:lnTo>
                        <a:pt x="30" y="2"/>
                      </a:lnTo>
                      <a:lnTo>
                        <a:pt x="30" y="2"/>
                      </a:lnTo>
                      <a:lnTo>
                        <a:pt x="30" y="2"/>
                      </a:lnTo>
                      <a:lnTo>
                        <a:pt x="34" y="2"/>
                      </a:lnTo>
                      <a:lnTo>
                        <a:pt x="34" y="2"/>
                      </a:lnTo>
                      <a:lnTo>
                        <a:pt x="34" y="2"/>
                      </a:lnTo>
                      <a:lnTo>
                        <a:pt x="34" y="2"/>
                      </a:lnTo>
                      <a:lnTo>
                        <a:pt x="34" y="2"/>
                      </a:lnTo>
                      <a:lnTo>
                        <a:pt x="34" y="2"/>
                      </a:lnTo>
                      <a:lnTo>
                        <a:pt x="34" y="2"/>
                      </a:lnTo>
                      <a:lnTo>
                        <a:pt x="34" y="2"/>
                      </a:lnTo>
                      <a:lnTo>
                        <a:pt x="34" y="2"/>
                      </a:lnTo>
                      <a:lnTo>
                        <a:pt x="34" y="2"/>
                      </a:lnTo>
                      <a:lnTo>
                        <a:pt x="34" y="2"/>
                      </a:lnTo>
                      <a:lnTo>
                        <a:pt x="34" y="6"/>
                      </a:lnTo>
                      <a:lnTo>
                        <a:pt x="38" y="6"/>
                      </a:lnTo>
                      <a:lnTo>
                        <a:pt x="38" y="2"/>
                      </a:lnTo>
                      <a:lnTo>
                        <a:pt x="38" y="2"/>
                      </a:lnTo>
                      <a:lnTo>
                        <a:pt x="38" y="2"/>
                      </a:lnTo>
                      <a:lnTo>
                        <a:pt x="38" y="2"/>
                      </a:lnTo>
                      <a:lnTo>
                        <a:pt x="42" y="2"/>
                      </a:lnTo>
                      <a:lnTo>
                        <a:pt x="42" y="2"/>
                      </a:lnTo>
                      <a:lnTo>
                        <a:pt x="42" y="2"/>
                      </a:lnTo>
                      <a:lnTo>
                        <a:pt x="42" y="2"/>
                      </a:lnTo>
                      <a:lnTo>
                        <a:pt x="42" y="2"/>
                      </a:lnTo>
                      <a:lnTo>
                        <a:pt x="42" y="2"/>
                      </a:lnTo>
                      <a:lnTo>
                        <a:pt x="46" y="2"/>
                      </a:lnTo>
                      <a:lnTo>
                        <a:pt x="46" y="6"/>
                      </a:lnTo>
                      <a:lnTo>
                        <a:pt x="46" y="6"/>
                      </a:lnTo>
                      <a:lnTo>
                        <a:pt x="46" y="6"/>
                      </a:lnTo>
                      <a:lnTo>
                        <a:pt x="46" y="6"/>
                      </a:lnTo>
                      <a:lnTo>
                        <a:pt x="42" y="6"/>
                      </a:lnTo>
                      <a:lnTo>
                        <a:pt x="42" y="6"/>
                      </a:lnTo>
                      <a:lnTo>
                        <a:pt x="42" y="6"/>
                      </a:lnTo>
                      <a:lnTo>
                        <a:pt x="42" y="6"/>
                      </a:lnTo>
                      <a:lnTo>
                        <a:pt x="42" y="6"/>
                      </a:lnTo>
                      <a:lnTo>
                        <a:pt x="42" y="6"/>
                      </a:lnTo>
                      <a:lnTo>
                        <a:pt x="38" y="6"/>
                      </a:lnTo>
                      <a:lnTo>
                        <a:pt x="38" y="10"/>
                      </a:lnTo>
                      <a:lnTo>
                        <a:pt x="38" y="10"/>
                      </a:lnTo>
                      <a:lnTo>
                        <a:pt x="38" y="10"/>
                      </a:lnTo>
                      <a:lnTo>
                        <a:pt x="38" y="10"/>
                      </a:lnTo>
                      <a:lnTo>
                        <a:pt x="34" y="10"/>
                      </a:lnTo>
                      <a:lnTo>
                        <a:pt x="34" y="6"/>
                      </a:lnTo>
                      <a:lnTo>
                        <a:pt x="34" y="6"/>
                      </a:lnTo>
                      <a:lnTo>
                        <a:pt x="30" y="6"/>
                      </a:lnTo>
                      <a:lnTo>
                        <a:pt x="30" y="6"/>
                      </a:lnTo>
                      <a:lnTo>
                        <a:pt x="30" y="6"/>
                      </a:lnTo>
                      <a:lnTo>
                        <a:pt x="30" y="6"/>
                      </a:lnTo>
                      <a:lnTo>
                        <a:pt x="30" y="6"/>
                      </a:lnTo>
                      <a:lnTo>
                        <a:pt x="30" y="6"/>
                      </a:lnTo>
                      <a:lnTo>
                        <a:pt x="30" y="6"/>
                      </a:lnTo>
                      <a:lnTo>
                        <a:pt x="26" y="6"/>
                      </a:lnTo>
                      <a:lnTo>
                        <a:pt x="26" y="6"/>
                      </a:lnTo>
                      <a:lnTo>
                        <a:pt x="26" y="2"/>
                      </a:lnTo>
                      <a:lnTo>
                        <a:pt x="26" y="2"/>
                      </a:lnTo>
                      <a:lnTo>
                        <a:pt x="26" y="2"/>
                      </a:lnTo>
                      <a:lnTo>
                        <a:pt x="26" y="2"/>
                      </a:lnTo>
                      <a:lnTo>
                        <a:pt x="26" y="2"/>
                      </a:lnTo>
                      <a:lnTo>
                        <a:pt x="26" y="2"/>
                      </a:lnTo>
                      <a:lnTo>
                        <a:pt x="24" y="2"/>
                      </a:lnTo>
                      <a:lnTo>
                        <a:pt x="24" y="2"/>
                      </a:lnTo>
                      <a:lnTo>
                        <a:pt x="24" y="2"/>
                      </a:lnTo>
                      <a:lnTo>
                        <a:pt x="24" y="6"/>
                      </a:lnTo>
                      <a:lnTo>
                        <a:pt x="24" y="6"/>
                      </a:lnTo>
                      <a:lnTo>
                        <a:pt x="24" y="6"/>
                      </a:lnTo>
                      <a:lnTo>
                        <a:pt x="24" y="6"/>
                      </a:lnTo>
                      <a:lnTo>
                        <a:pt x="24" y="6"/>
                      </a:lnTo>
                      <a:lnTo>
                        <a:pt x="24" y="6"/>
                      </a:lnTo>
                      <a:lnTo>
                        <a:pt x="24" y="6"/>
                      </a:lnTo>
                      <a:lnTo>
                        <a:pt x="24" y="6"/>
                      </a:lnTo>
                      <a:lnTo>
                        <a:pt x="20" y="6"/>
                      </a:lnTo>
                      <a:lnTo>
                        <a:pt x="16" y="6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2" y="10"/>
                      </a:lnTo>
                      <a:lnTo>
                        <a:pt x="4" y="10"/>
                      </a:lnTo>
                      <a:lnTo>
                        <a:pt x="4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26" name="Freeform 172"/>
                <p:cNvSpPr>
                  <a:spLocks/>
                </p:cNvSpPr>
                <p:nvPr/>
              </p:nvSpPr>
              <p:spPr bwMode="auto">
                <a:xfrm>
                  <a:off x="4387850" y="4254568"/>
                  <a:ext cx="47625" cy="142875"/>
                </a:xfrm>
                <a:custGeom>
                  <a:avLst/>
                  <a:gdLst>
                    <a:gd name="T0" fmla="*/ 26 w 30"/>
                    <a:gd name="T1" fmla="*/ 68 h 90"/>
                    <a:gd name="T2" fmla="*/ 26 w 30"/>
                    <a:gd name="T3" fmla="*/ 74 h 90"/>
                    <a:gd name="T4" fmla="*/ 26 w 30"/>
                    <a:gd name="T5" fmla="*/ 78 h 90"/>
                    <a:gd name="T6" fmla="*/ 26 w 30"/>
                    <a:gd name="T7" fmla="*/ 78 h 90"/>
                    <a:gd name="T8" fmla="*/ 30 w 30"/>
                    <a:gd name="T9" fmla="*/ 82 h 90"/>
                    <a:gd name="T10" fmla="*/ 26 w 30"/>
                    <a:gd name="T11" fmla="*/ 86 h 90"/>
                    <a:gd name="T12" fmla="*/ 26 w 30"/>
                    <a:gd name="T13" fmla="*/ 86 h 90"/>
                    <a:gd name="T14" fmla="*/ 24 w 30"/>
                    <a:gd name="T15" fmla="*/ 86 h 90"/>
                    <a:gd name="T16" fmla="*/ 20 w 30"/>
                    <a:gd name="T17" fmla="*/ 86 h 90"/>
                    <a:gd name="T18" fmla="*/ 16 w 30"/>
                    <a:gd name="T19" fmla="*/ 82 h 90"/>
                    <a:gd name="T20" fmla="*/ 16 w 30"/>
                    <a:gd name="T21" fmla="*/ 82 h 90"/>
                    <a:gd name="T22" fmla="*/ 16 w 30"/>
                    <a:gd name="T23" fmla="*/ 78 h 90"/>
                    <a:gd name="T24" fmla="*/ 12 w 30"/>
                    <a:gd name="T25" fmla="*/ 78 h 90"/>
                    <a:gd name="T26" fmla="*/ 12 w 30"/>
                    <a:gd name="T27" fmla="*/ 70 h 90"/>
                    <a:gd name="T28" fmla="*/ 12 w 30"/>
                    <a:gd name="T29" fmla="*/ 68 h 90"/>
                    <a:gd name="T30" fmla="*/ 12 w 30"/>
                    <a:gd name="T31" fmla="*/ 64 h 90"/>
                    <a:gd name="T32" fmla="*/ 12 w 30"/>
                    <a:gd name="T33" fmla="*/ 64 h 90"/>
                    <a:gd name="T34" fmla="*/ 12 w 30"/>
                    <a:gd name="T35" fmla="*/ 52 h 90"/>
                    <a:gd name="T36" fmla="*/ 16 w 30"/>
                    <a:gd name="T37" fmla="*/ 48 h 90"/>
                    <a:gd name="T38" fmla="*/ 12 w 30"/>
                    <a:gd name="T39" fmla="*/ 48 h 90"/>
                    <a:gd name="T40" fmla="*/ 8 w 30"/>
                    <a:gd name="T41" fmla="*/ 42 h 90"/>
                    <a:gd name="T42" fmla="*/ 12 w 30"/>
                    <a:gd name="T43" fmla="*/ 42 h 90"/>
                    <a:gd name="T44" fmla="*/ 12 w 30"/>
                    <a:gd name="T45" fmla="*/ 38 h 90"/>
                    <a:gd name="T46" fmla="*/ 12 w 30"/>
                    <a:gd name="T47" fmla="*/ 30 h 90"/>
                    <a:gd name="T48" fmla="*/ 12 w 30"/>
                    <a:gd name="T49" fmla="*/ 30 h 90"/>
                    <a:gd name="T50" fmla="*/ 8 w 30"/>
                    <a:gd name="T51" fmla="*/ 30 h 90"/>
                    <a:gd name="T52" fmla="*/ 8 w 30"/>
                    <a:gd name="T53" fmla="*/ 26 h 90"/>
                    <a:gd name="T54" fmla="*/ 12 w 30"/>
                    <a:gd name="T55" fmla="*/ 18 h 90"/>
                    <a:gd name="T56" fmla="*/ 8 w 30"/>
                    <a:gd name="T57" fmla="*/ 18 h 90"/>
                    <a:gd name="T58" fmla="*/ 8 w 30"/>
                    <a:gd name="T59" fmla="*/ 16 h 90"/>
                    <a:gd name="T60" fmla="*/ 4 w 30"/>
                    <a:gd name="T61" fmla="*/ 12 h 90"/>
                    <a:gd name="T62" fmla="*/ 4 w 30"/>
                    <a:gd name="T63" fmla="*/ 8 h 90"/>
                    <a:gd name="T64" fmla="*/ 4 w 30"/>
                    <a:gd name="T65" fmla="*/ 4 h 90"/>
                    <a:gd name="T66" fmla="*/ 4 w 30"/>
                    <a:gd name="T67" fmla="*/ 4 h 90"/>
                    <a:gd name="T68" fmla="*/ 4 w 30"/>
                    <a:gd name="T69" fmla="*/ 0 h 90"/>
                    <a:gd name="T70" fmla="*/ 12 w 30"/>
                    <a:gd name="T71" fmla="*/ 4 h 90"/>
                    <a:gd name="T72" fmla="*/ 12 w 30"/>
                    <a:gd name="T73" fmla="*/ 4 h 90"/>
                    <a:gd name="T74" fmla="*/ 16 w 30"/>
                    <a:gd name="T75" fmla="*/ 4 h 90"/>
                    <a:gd name="T76" fmla="*/ 16 w 30"/>
                    <a:gd name="T77" fmla="*/ 8 h 90"/>
                    <a:gd name="T78" fmla="*/ 16 w 30"/>
                    <a:gd name="T79" fmla="*/ 12 h 90"/>
                    <a:gd name="T80" fmla="*/ 16 w 30"/>
                    <a:gd name="T81" fmla="*/ 12 h 90"/>
                    <a:gd name="T82" fmla="*/ 20 w 30"/>
                    <a:gd name="T83" fmla="*/ 18 h 90"/>
                    <a:gd name="T84" fmla="*/ 24 w 30"/>
                    <a:gd name="T85" fmla="*/ 22 h 90"/>
                    <a:gd name="T86" fmla="*/ 24 w 30"/>
                    <a:gd name="T87" fmla="*/ 30 h 90"/>
                    <a:gd name="T88" fmla="*/ 24 w 30"/>
                    <a:gd name="T89" fmla="*/ 30 h 90"/>
                    <a:gd name="T90" fmla="*/ 26 w 30"/>
                    <a:gd name="T91" fmla="*/ 34 h 90"/>
                    <a:gd name="T92" fmla="*/ 26 w 30"/>
                    <a:gd name="T93" fmla="*/ 34 h 90"/>
                    <a:gd name="T94" fmla="*/ 26 w 30"/>
                    <a:gd name="T95" fmla="*/ 42 h 90"/>
                    <a:gd name="T96" fmla="*/ 26 w 30"/>
                    <a:gd name="T97" fmla="*/ 48 h 90"/>
                    <a:gd name="T98" fmla="*/ 26 w 30"/>
                    <a:gd name="T99" fmla="*/ 64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30" h="90">
                      <a:moveTo>
                        <a:pt x="26" y="64"/>
                      </a:moveTo>
                      <a:lnTo>
                        <a:pt x="26" y="64"/>
                      </a:lnTo>
                      <a:lnTo>
                        <a:pt x="26" y="64"/>
                      </a:lnTo>
                      <a:lnTo>
                        <a:pt x="26" y="68"/>
                      </a:lnTo>
                      <a:lnTo>
                        <a:pt x="26" y="68"/>
                      </a:lnTo>
                      <a:lnTo>
                        <a:pt x="26" y="70"/>
                      </a:lnTo>
                      <a:lnTo>
                        <a:pt x="26" y="70"/>
                      </a:lnTo>
                      <a:lnTo>
                        <a:pt x="26" y="74"/>
                      </a:lnTo>
                      <a:lnTo>
                        <a:pt x="26" y="74"/>
                      </a:lnTo>
                      <a:lnTo>
                        <a:pt x="26" y="74"/>
                      </a:lnTo>
                      <a:lnTo>
                        <a:pt x="26" y="74"/>
                      </a:lnTo>
                      <a:lnTo>
                        <a:pt x="26" y="78"/>
                      </a:lnTo>
                      <a:lnTo>
                        <a:pt x="26" y="78"/>
                      </a:lnTo>
                      <a:lnTo>
                        <a:pt x="26" y="78"/>
                      </a:lnTo>
                      <a:lnTo>
                        <a:pt x="26" y="78"/>
                      </a:lnTo>
                      <a:lnTo>
                        <a:pt x="26" y="78"/>
                      </a:lnTo>
                      <a:lnTo>
                        <a:pt x="26" y="78"/>
                      </a:lnTo>
                      <a:lnTo>
                        <a:pt x="26" y="78"/>
                      </a:lnTo>
                      <a:lnTo>
                        <a:pt x="30" y="82"/>
                      </a:lnTo>
                      <a:lnTo>
                        <a:pt x="30" y="82"/>
                      </a:lnTo>
                      <a:lnTo>
                        <a:pt x="30" y="86"/>
                      </a:lnTo>
                      <a:lnTo>
                        <a:pt x="30" y="86"/>
                      </a:lnTo>
                      <a:lnTo>
                        <a:pt x="30" y="86"/>
                      </a:lnTo>
                      <a:lnTo>
                        <a:pt x="26" y="86"/>
                      </a:lnTo>
                      <a:lnTo>
                        <a:pt x="26" y="86"/>
                      </a:lnTo>
                      <a:lnTo>
                        <a:pt x="26" y="86"/>
                      </a:lnTo>
                      <a:lnTo>
                        <a:pt x="26" y="86"/>
                      </a:lnTo>
                      <a:lnTo>
                        <a:pt x="26" y="86"/>
                      </a:lnTo>
                      <a:lnTo>
                        <a:pt x="26" y="86"/>
                      </a:lnTo>
                      <a:lnTo>
                        <a:pt x="24" y="86"/>
                      </a:lnTo>
                      <a:lnTo>
                        <a:pt x="24" y="86"/>
                      </a:lnTo>
                      <a:lnTo>
                        <a:pt x="24" y="86"/>
                      </a:lnTo>
                      <a:lnTo>
                        <a:pt x="24" y="90"/>
                      </a:lnTo>
                      <a:lnTo>
                        <a:pt x="24" y="86"/>
                      </a:lnTo>
                      <a:lnTo>
                        <a:pt x="24" y="86"/>
                      </a:lnTo>
                      <a:lnTo>
                        <a:pt x="20" y="86"/>
                      </a:lnTo>
                      <a:lnTo>
                        <a:pt x="20" y="86"/>
                      </a:lnTo>
                      <a:lnTo>
                        <a:pt x="20" y="86"/>
                      </a:lnTo>
                      <a:lnTo>
                        <a:pt x="20" y="82"/>
                      </a:lnTo>
                      <a:lnTo>
                        <a:pt x="16" y="82"/>
                      </a:lnTo>
                      <a:lnTo>
                        <a:pt x="16" y="82"/>
                      </a:lnTo>
                      <a:lnTo>
                        <a:pt x="16" y="82"/>
                      </a:lnTo>
                      <a:lnTo>
                        <a:pt x="16" y="82"/>
                      </a:lnTo>
                      <a:lnTo>
                        <a:pt x="16" y="82"/>
                      </a:lnTo>
                      <a:lnTo>
                        <a:pt x="16" y="82"/>
                      </a:lnTo>
                      <a:lnTo>
                        <a:pt x="16" y="78"/>
                      </a:lnTo>
                      <a:lnTo>
                        <a:pt x="16" y="78"/>
                      </a:lnTo>
                      <a:lnTo>
                        <a:pt x="16" y="78"/>
                      </a:lnTo>
                      <a:lnTo>
                        <a:pt x="16" y="78"/>
                      </a:lnTo>
                      <a:lnTo>
                        <a:pt x="12" y="78"/>
                      </a:lnTo>
                      <a:lnTo>
                        <a:pt x="12" y="78"/>
                      </a:lnTo>
                      <a:lnTo>
                        <a:pt x="12" y="78"/>
                      </a:lnTo>
                      <a:lnTo>
                        <a:pt x="12" y="78"/>
                      </a:lnTo>
                      <a:lnTo>
                        <a:pt x="12" y="74"/>
                      </a:lnTo>
                      <a:lnTo>
                        <a:pt x="12" y="74"/>
                      </a:lnTo>
                      <a:lnTo>
                        <a:pt x="12" y="70"/>
                      </a:lnTo>
                      <a:lnTo>
                        <a:pt x="12" y="70"/>
                      </a:lnTo>
                      <a:lnTo>
                        <a:pt x="12" y="68"/>
                      </a:lnTo>
                      <a:lnTo>
                        <a:pt x="12" y="68"/>
                      </a:lnTo>
                      <a:lnTo>
                        <a:pt x="12" y="68"/>
                      </a:lnTo>
                      <a:lnTo>
                        <a:pt x="12" y="68"/>
                      </a:lnTo>
                      <a:lnTo>
                        <a:pt x="12" y="68"/>
                      </a:lnTo>
                      <a:lnTo>
                        <a:pt x="12" y="68"/>
                      </a:lnTo>
                      <a:lnTo>
                        <a:pt x="12" y="64"/>
                      </a:lnTo>
                      <a:lnTo>
                        <a:pt x="12" y="64"/>
                      </a:lnTo>
                      <a:lnTo>
                        <a:pt x="12" y="64"/>
                      </a:lnTo>
                      <a:lnTo>
                        <a:pt x="12" y="64"/>
                      </a:lnTo>
                      <a:lnTo>
                        <a:pt x="12" y="64"/>
                      </a:lnTo>
                      <a:lnTo>
                        <a:pt x="12" y="60"/>
                      </a:lnTo>
                      <a:lnTo>
                        <a:pt x="12" y="56"/>
                      </a:lnTo>
                      <a:lnTo>
                        <a:pt x="12" y="52"/>
                      </a:lnTo>
                      <a:lnTo>
                        <a:pt x="12" y="52"/>
                      </a:lnTo>
                      <a:lnTo>
                        <a:pt x="12" y="52"/>
                      </a:lnTo>
                      <a:lnTo>
                        <a:pt x="16" y="52"/>
                      </a:lnTo>
                      <a:lnTo>
                        <a:pt x="16" y="52"/>
                      </a:lnTo>
                      <a:lnTo>
                        <a:pt x="16" y="48"/>
                      </a:lnTo>
                      <a:lnTo>
                        <a:pt x="16" y="48"/>
                      </a:lnTo>
                      <a:lnTo>
                        <a:pt x="16" y="48"/>
                      </a:lnTo>
                      <a:lnTo>
                        <a:pt x="12" y="48"/>
                      </a:lnTo>
                      <a:lnTo>
                        <a:pt x="12" y="48"/>
                      </a:lnTo>
                      <a:lnTo>
                        <a:pt x="12" y="44"/>
                      </a:lnTo>
                      <a:lnTo>
                        <a:pt x="12" y="44"/>
                      </a:lnTo>
                      <a:lnTo>
                        <a:pt x="12" y="44"/>
                      </a:lnTo>
                      <a:lnTo>
                        <a:pt x="8" y="42"/>
                      </a:lnTo>
                      <a:lnTo>
                        <a:pt x="8" y="42"/>
                      </a:lnTo>
                      <a:lnTo>
                        <a:pt x="12" y="42"/>
                      </a:lnTo>
                      <a:lnTo>
                        <a:pt x="12" y="42"/>
                      </a:lnTo>
                      <a:lnTo>
                        <a:pt x="12" y="42"/>
                      </a:lnTo>
                      <a:lnTo>
                        <a:pt x="12" y="42"/>
                      </a:lnTo>
                      <a:lnTo>
                        <a:pt x="12" y="42"/>
                      </a:lnTo>
                      <a:lnTo>
                        <a:pt x="12" y="38"/>
                      </a:lnTo>
                      <a:lnTo>
                        <a:pt x="12" y="38"/>
                      </a:lnTo>
                      <a:lnTo>
                        <a:pt x="12" y="34"/>
                      </a:lnTo>
                      <a:lnTo>
                        <a:pt x="12" y="34"/>
                      </a:lnTo>
                      <a:lnTo>
                        <a:pt x="12" y="34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18"/>
                      </a:lnTo>
                      <a:lnTo>
                        <a:pt x="12" y="18"/>
                      </a:lnTo>
                      <a:lnTo>
                        <a:pt x="12" y="18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4" y="12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12"/>
                      </a:lnTo>
                      <a:lnTo>
                        <a:pt x="16" y="12"/>
                      </a:lnTo>
                      <a:lnTo>
                        <a:pt x="16" y="12"/>
                      </a:lnTo>
                      <a:lnTo>
                        <a:pt x="16" y="12"/>
                      </a:lnTo>
                      <a:lnTo>
                        <a:pt x="16" y="12"/>
                      </a:lnTo>
                      <a:lnTo>
                        <a:pt x="16" y="16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4" y="18"/>
                      </a:lnTo>
                      <a:lnTo>
                        <a:pt x="24" y="18"/>
                      </a:lnTo>
                      <a:lnTo>
                        <a:pt x="24" y="22"/>
                      </a:lnTo>
                      <a:lnTo>
                        <a:pt x="24" y="22"/>
                      </a:lnTo>
                      <a:lnTo>
                        <a:pt x="24" y="26"/>
                      </a:lnTo>
                      <a:lnTo>
                        <a:pt x="24" y="26"/>
                      </a:lnTo>
                      <a:lnTo>
                        <a:pt x="24" y="30"/>
                      </a:lnTo>
                      <a:lnTo>
                        <a:pt x="24" y="30"/>
                      </a:lnTo>
                      <a:lnTo>
                        <a:pt x="24" y="30"/>
                      </a:lnTo>
                      <a:lnTo>
                        <a:pt x="24" y="30"/>
                      </a:lnTo>
                      <a:lnTo>
                        <a:pt x="24" y="30"/>
                      </a:lnTo>
                      <a:lnTo>
                        <a:pt x="24" y="30"/>
                      </a:lnTo>
                      <a:lnTo>
                        <a:pt x="24" y="34"/>
                      </a:lnTo>
                      <a:lnTo>
                        <a:pt x="24" y="34"/>
                      </a:lnTo>
                      <a:lnTo>
                        <a:pt x="24" y="34"/>
                      </a:lnTo>
                      <a:lnTo>
                        <a:pt x="26" y="34"/>
                      </a:lnTo>
                      <a:lnTo>
                        <a:pt x="26" y="34"/>
                      </a:lnTo>
                      <a:lnTo>
                        <a:pt x="26" y="34"/>
                      </a:lnTo>
                      <a:lnTo>
                        <a:pt x="26" y="34"/>
                      </a:lnTo>
                      <a:lnTo>
                        <a:pt x="26" y="34"/>
                      </a:lnTo>
                      <a:lnTo>
                        <a:pt x="26" y="38"/>
                      </a:lnTo>
                      <a:lnTo>
                        <a:pt x="26" y="38"/>
                      </a:lnTo>
                      <a:lnTo>
                        <a:pt x="26" y="42"/>
                      </a:lnTo>
                      <a:lnTo>
                        <a:pt x="26" y="42"/>
                      </a:lnTo>
                      <a:lnTo>
                        <a:pt x="26" y="44"/>
                      </a:lnTo>
                      <a:lnTo>
                        <a:pt x="26" y="48"/>
                      </a:lnTo>
                      <a:lnTo>
                        <a:pt x="26" y="48"/>
                      </a:lnTo>
                      <a:lnTo>
                        <a:pt x="26" y="48"/>
                      </a:lnTo>
                      <a:lnTo>
                        <a:pt x="26" y="56"/>
                      </a:lnTo>
                      <a:lnTo>
                        <a:pt x="26" y="60"/>
                      </a:lnTo>
                      <a:lnTo>
                        <a:pt x="26" y="64"/>
                      </a:lnTo>
                      <a:lnTo>
                        <a:pt x="26" y="64"/>
                      </a:lnTo>
                      <a:lnTo>
                        <a:pt x="26" y="64"/>
                      </a:lnTo>
                      <a:lnTo>
                        <a:pt x="26" y="64"/>
                      </a:lnTo>
                      <a:lnTo>
                        <a:pt x="26" y="6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27" name="Freeform 173"/>
                <p:cNvSpPr>
                  <a:spLocks noEditPoints="1"/>
                </p:cNvSpPr>
                <p:nvPr/>
              </p:nvSpPr>
              <p:spPr bwMode="auto">
                <a:xfrm>
                  <a:off x="4559300" y="3508443"/>
                  <a:ext cx="95250" cy="215900"/>
                </a:xfrm>
                <a:custGeom>
                  <a:avLst/>
                  <a:gdLst>
                    <a:gd name="T0" fmla="*/ 40 w 60"/>
                    <a:gd name="T1" fmla="*/ 12 h 136"/>
                    <a:gd name="T2" fmla="*/ 44 w 60"/>
                    <a:gd name="T3" fmla="*/ 12 h 136"/>
                    <a:gd name="T4" fmla="*/ 44 w 60"/>
                    <a:gd name="T5" fmla="*/ 8 h 136"/>
                    <a:gd name="T6" fmla="*/ 48 w 60"/>
                    <a:gd name="T7" fmla="*/ 8 h 136"/>
                    <a:gd name="T8" fmla="*/ 48 w 60"/>
                    <a:gd name="T9" fmla="*/ 14 h 136"/>
                    <a:gd name="T10" fmla="*/ 48 w 60"/>
                    <a:gd name="T11" fmla="*/ 18 h 136"/>
                    <a:gd name="T12" fmla="*/ 44 w 60"/>
                    <a:gd name="T13" fmla="*/ 18 h 136"/>
                    <a:gd name="T14" fmla="*/ 44 w 60"/>
                    <a:gd name="T15" fmla="*/ 30 h 136"/>
                    <a:gd name="T16" fmla="*/ 48 w 60"/>
                    <a:gd name="T17" fmla="*/ 34 h 136"/>
                    <a:gd name="T18" fmla="*/ 52 w 60"/>
                    <a:gd name="T19" fmla="*/ 34 h 136"/>
                    <a:gd name="T20" fmla="*/ 52 w 60"/>
                    <a:gd name="T21" fmla="*/ 42 h 136"/>
                    <a:gd name="T22" fmla="*/ 48 w 60"/>
                    <a:gd name="T23" fmla="*/ 52 h 136"/>
                    <a:gd name="T24" fmla="*/ 44 w 60"/>
                    <a:gd name="T25" fmla="*/ 56 h 136"/>
                    <a:gd name="T26" fmla="*/ 38 w 60"/>
                    <a:gd name="T27" fmla="*/ 60 h 136"/>
                    <a:gd name="T28" fmla="*/ 38 w 60"/>
                    <a:gd name="T29" fmla="*/ 64 h 136"/>
                    <a:gd name="T30" fmla="*/ 40 w 60"/>
                    <a:gd name="T31" fmla="*/ 72 h 136"/>
                    <a:gd name="T32" fmla="*/ 44 w 60"/>
                    <a:gd name="T33" fmla="*/ 72 h 136"/>
                    <a:gd name="T34" fmla="*/ 48 w 60"/>
                    <a:gd name="T35" fmla="*/ 74 h 136"/>
                    <a:gd name="T36" fmla="*/ 52 w 60"/>
                    <a:gd name="T37" fmla="*/ 72 h 136"/>
                    <a:gd name="T38" fmla="*/ 52 w 60"/>
                    <a:gd name="T39" fmla="*/ 74 h 136"/>
                    <a:gd name="T40" fmla="*/ 56 w 60"/>
                    <a:gd name="T41" fmla="*/ 78 h 136"/>
                    <a:gd name="T42" fmla="*/ 60 w 60"/>
                    <a:gd name="T43" fmla="*/ 82 h 136"/>
                    <a:gd name="T44" fmla="*/ 60 w 60"/>
                    <a:gd name="T45" fmla="*/ 90 h 136"/>
                    <a:gd name="T46" fmla="*/ 60 w 60"/>
                    <a:gd name="T47" fmla="*/ 94 h 136"/>
                    <a:gd name="T48" fmla="*/ 48 w 60"/>
                    <a:gd name="T49" fmla="*/ 102 h 136"/>
                    <a:gd name="T50" fmla="*/ 44 w 60"/>
                    <a:gd name="T51" fmla="*/ 106 h 136"/>
                    <a:gd name="T52" fmla="*/ 38 w 60"/>
                    <a:gd name="T53" fmla="*/ 108 h 136"/>
                    <a:gd name="T54" fmla="*/ 40 w 60"/>
                    <a:gd name="T55" fmla="*/ 124 h 136"/>
                    <a:gd name="T56" fmla="*/ 34 w 60"/>
                    <a:gd name="T57" fmla="*/ 132 h 136"/>
                    <a:gd name="T58" fmla="*/ 30 w 60"/>
                    <a:gd name="T59" fmla="*/ 124 h 136"/>
                    <a:gd name="T60" fmla="*/ 22 w 60"/>
                    <a:gd name="T61" fmla="*/ 102 h 136"/>
                    <a:gd name="T62" fmla="*/ 14 w 60"/>
                    <a:gd name="T63" fmla="*/ 90 h 136"/>
                    <a:gd name="T64" fmla="*/ 10 w 60"/>
                    <a:gd name="T65" fmla="*/ 82 h 136"/>
                    <a:gd name="T66" fmla="*/ 4 w 60"/>
                    <a:gd name="T67" fmla="*/ 78 h 136"/>
                    <a:gd name="T68" fmla="*/ 4 w 60"/>
                    <a:gd name="T69" fmla="*/ 68 h 136"/>
                    <a:gd name="T70" fmla="*/ 4 w 60"/>
                    <a:gd name="T71" fmla="*/ 64 h 136"/>
                    <a:gd name="T72" fmla="*/ 4 w 60"/>
                    <a:gd name="T73" fmla="*/ 60 h 136"/>
                    <a:gd name="T74" fmla="*/ 10 w 60"/>
                    <a:gd name="T75" fmla="*/ 52 h 136"/>
                    <a:gd name="T76" fmla="*/ 10 w 60"/>
                    <a:gd name="T77" fmla="*/ 48 h 136"/>
                    <a:gd name="T78" fmla="*/ 14 w 60"/>
                    <a:gd name="T79" fmla="*/ 42 h 136"/>
                    <a:gd name="T80" fmla="*/ 14 w 60"/>
                    <a:gd name="T81" fmla="*/ 34 h 136"/>
                    <a:gd name="T82" fmla="*/ 10 w 60"/>
                    <a:gd name="T83" fmla="*/ 30 h 136"/>
                    <a:gd name="T84" fmla="*/ 14 w 60"/>
                    <a:gd name="T85" fmla="*/ 22 h 136"/>
                    <a:gd name="T86" fmla="*/ 10 w 60"/>
                    <a:gd name="T87" fmla="*/ 14 h 136"/>
                    <a:gd name="T88" fmla="*/ 10 w 60"/>
                    <a:gd name="T89" fmla="*/ 14 h 136"/>
                    <a:gd name="T90" fmla="*/ 18 w 60"/>
                    <a:gd name="T91" fmla="*/ 8 h 136"/>
                    <a:gd name="T92" fmla="*/ 22 w 60"/>
                    <a:gd name="T93" fmla="*/ 8 h 136"/>
                    <a:gd name="T94" fmla="*/ 22 w 60"/>
                    <a:gd name="T95" fmla="*/ 4 h 136"/>
                    <a:gd name="T96" fmla="*/ 34 w 60"/>
                    <a:gd name="T97" fmla="*/ 0 h 136"/>
                    <a:gd name="T98" fmla="*/ 34 w 60"/>
                    <a:gd name="T99" fmla="*/ 4 h 136"/>
                    <a:gd name="T100" fmla="*/ 40 w 60"/>
                    <a:gd name="T101" fmla="*/ 4 h 136"/>
                    <a:gd name="T102" fmla="*/ 40 w 60"/>
                    <a:gd name="T103" fmla="*/ 8 h 136"/>
                    <a:gd name="T104" fmla="*/ 52 w 60"/>
                    <a:gd name="T105" fmla="*/ 52 h 136"/>
                    <a:gd name="T106" fmla="*/ 56 w 60"/>
                    <a:gd name="T107" fmla="*/ 48 h 136"/>
                    <a:gd name="T108" fmla="*/ 52 w 60"/>
                    <a:gd name="T109" fmla="*/ 52 h 136"/>
                    <a:gd name="T110" fmla="*/ 48 w 60"/>
                    <a:gd name="T111" fmla="*/ 68 h 136"/>
                    <a:gd name="T112" fmla="*/ 48 w 60"/>
                    <a:gd name="T113" fmla="*/ 68 h 136"/>
                    <a:gd name="T114" fmla="*/ 48 w 60"/>
                    <a:gd name="T115" fmla="*/ 68 h 136"/>
                    <a:gd name="T116" fmla="*/ 52 w 60"/>
                    <a:gd name="T117" fmla="*/ 68 h 136"/>
                    <a:gd name="T118" fmla="*/ 48 w 60"/>
                    <a:gd name="T119" fmla="*/ 72 h 1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60" h="136">
                      <a:moveTo>
                        <a:pt x="40" y="8"/>
                      </a:moveTo>
                      <a:lnTo>
                        <a:pt x="40" y="8"/>
                      </a:lnTo>
                      <a:lnTo>
                        <a:pt x="40" y="12"/>
                      </a:lnTo>
                      <a:lnTo>
                        <a:pt x="40" y="12"/>
                      </a:lnTo>
                      <a:lnTo>
                        <a:pt x="40" y="12"/>
                      </a:lnTo>
                      <a:lnTo>
                        <a:pt x="40" y="12"/>
                      </a:lnTo>
                      <a:lnTo>
                        <a:pt x="40" y="12"/>
                      </a:lnTo>
                      <a:lnTo>
                        <a:pt x="40" y="12"/>
                      </a:lnTo>
                      <a:lnTo>
                        <a:pt x="40" y="12"/>
                      </a:lnTo>
                      <a:lnTo>
                        <a:pt x="40" y="12"/>
                      </a:lnTo>
                      <a:lnTo>
                        <a:pt x="40" y="12"/>
                      </a:lnTo>
                      <a:lnTo>
                        <a:pt x="40" y="12"/>
                      </a:lnTo>
                      <a:lnTo>
                        <a:pt x="40" y="12"/>
                      </a:lnTo>
                      <a:lnTo>
                        <a:pt x="44" y="12"/>
                      </a:lnTo>
                      <a:lnTo>
                        <a:pt x="44" y="12"/>
                      </a:lnTo>
                      <a:lnTo>
                        <a:pt x="44" y="12"/>
                      </a:lnTo>
                      <a:lnTo>
                        <a:pt x="44" y="12"/>
                      </a:lnTo>
                      <a:lnTo>
                        <a:pt x="44" y="12"/>
                      </a:lnTo>
                      <a:lnTo>
                        <a:pt x="44" y="12"/>
                      </a:lnTo>
                      <a:lnTo>
                        <a:pt x="44" y="12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48" y="8"/>
                      </a:lnTo>
                      <a:lnTo>
                        <a:pt x="48" y="8"/>
                      </a:lnTo>
                      <a:lnTo>
                        <a:pt x="48" y="8"/>
                      </a:lnTo>
                      <a:lnTo>
                        <a:pt x="48" y="8"/>
                      </a:lnTo>
                      <a:lnTo>
                        <a:pt x="48" y="8"/>
                      </a:lnTo>
                      <a:lnTo>
                        <a:pt x="52" y="4"/>
                      </a:lnTo>
                      <a:lnTo>
                        <a:pt x="52" y="8"/>
                      </a:lnTo>
                      <a:lnTo>
                        <a:pt x="52" y="8"/>
                      </a:lnTo>
                      <a:lnTo>
                        <a:pt x="52" y="12"/>
                      </a:lnTo>
                      <a:lnTo>
                        <a:pt x="52" y="12"/>
                      </a:lnTo>
                      <a:lnTo>
                        <a:pt x="52" y="12"/>
                      </a:lnTo>
                      <a:lnTo>
                        <a:pt x="48" y="14"/>
                      </a:lnTo>
                      <a:lnTo>
                        <a:pt x="48" y="14"/>
                      </a:lnTo>
                      <a:lnTo>
                        <a:pt x="48" y="14"/>
                      </a:lnTo>
                      <a:lnTo>
                        <a:pt x="48" y="14"/>
                      </a:lnTo>
                      <a:lnTo>
                        <a:pt x="48" y="14"/>
                      </a:lnTo>
                      <a:lnTo>
                        <a:pt x="48" y="18"/>
                      </a:lnTo>
                      <a:lnTo>
                        <a:pt x="48" y="18"/>
                      </a:lnTo>
                      <a:lnTo>
                        <a:pt x="48" y="18"/>
                      </a:lnTo>
                      <a:lnTo>
                        <a:pt x="44" y="18"/>
                      </a:lnTo>
                      <a:lnTo>
                        <a:pt x="44" y="18"/>
                      </a:lnTo>
                      <a:lnTo>
                        <a:pt x="44" y="18"/>
                      </a:lnTo>
                      <a:lnTo>
                        <a:pt x="44" y="18"/>
                      </a:lnTo>
                      <a:lnTo>
                        <a:pt x="44" y="18"/>
                      </a:lnTo>
                      <a:lnTo>
                        <a:pt x="44" y="18"/>
                      </a:lnTo>
                      <a:lnTo>
                        <a:pt x="44" y="18"/>
                      </a:lnTo>
                      <a:lnTo>
                        <a:pt x="44" y="22"/>
                      </a:lnTo>
                      <a:lnTo>
                        <a:pt x="44" y="22"/>
                      </a:lnTo>
                      <a:lnTo>
                        <a:pt x="44" y="22"/>
                      </a:lnTo>
                      <a:lnTo>
                        <a:pt x="44" y="26"/>
                      </a:lnTo>
                      <a:lnTo>
                        <a:pt x="44" y="26"/>
                      </a:lnTo>
                      <a:lnTo>
                        <a:pt x="44" y="30"/>
                      </a:lnTo>
                      <a:lnTo>
                        <a:pt x="44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4"/>
                      </a:lnTo>
                      <a:lnTo>
                        <a:pt x="48" y="34"/>
                      </a:lnTo>
                      <a:lnTo>
                        <a:pt x="48" y="34"/>
                      </a:lnTo>
                      <a:lnTo>
                        <a:pt x="52" y="34"/>
                      </a:lnTo>
                      <a:lnTo>
                        <a:pt x="52" y="34"/>
                      </a:lnTo>
                      <a:lnTo>
                        <a:pt x="52" y="34"/>
                      </a:lnTo>
                      <a:lnTo>
                        <a:pt x="52" y="34"/>
                      </a:lnTo>
                      <a:lnTo>
                        <a:pt x="52" y="34"/>
                      </a:lnTo>
                      <a:lnTo>
                        <a:pt x="52" y="34"/>
                      </a:lnTo>
                      <a:lnTo>
                        <a:pt x="52" y="38"/>
                      </a:lnTo>
                      <a:lnTo>
                        <a:pt x="52" y="38"/>
                      </a:lnTo>
                      <a:lnTo>
                        <a:pt x="52" y="38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2"/>
                      </a:lnTo>
                      <a:lnTo>
                        <a:pt x="52" y="44"/>
                      </a:lnTo>
                      <a:lnTo>
                        <a:pt x="52" y="44"/>
                      </a:lnTo>
                      <a:lnTo>
                        <a:pt x="48" y="48"/>
                      </a:lnTo>
                      <a:lnTo>
                        <a:pt x="48" y="48"/>
                      </a:lnTo>
                      <a:lnTo>
                        <a:pt x="48" y="52"/>
                      </a:lnTo>
                      <a:lnTo>
                        <a:pt x="48" y="52"/>
                      </a:lnTo>
                      <a:lnTo>
                        <a:pt x="48" y="52"/>
                      </a:lnTo>
                      <a:lnTo>
                        <a:pt x="44" y="52"/>
                      </a:lnTo>
                      <a:lnTo>
                        <a:pt x="44" y="52"/>
                      </a:lnTo>
                      <a:lnTo>
                        <a:pt x="44" y="52"/>
                      </a:lnTo>
                      <a:lnTo>
                        <a:pt x="44" y="52"/>
                      </a:lnTo>
                      <a:lnTo>
                        <a:pt x="44" y="56"/>
                      </a:lnTo>
                      <a:lnTo>
                        <a:pt x="40" y="56"/>
                      </a:lnTo>
                      <a:lnTo>
                        <a:pt x="40" y="56"/>
                      </a:lnTo>
                      <a:lnTo>
                        <a:pt x="40" y="56"/>
                      </a:lnTo>
                      <a:lnTo>
                        <a:pt x="40" y="56"/>
                      </a:lnTo>
                      <a:lnTo>
                        <a:pt x="38" y="56"/>
                      </a:lnTo>
                      <a:lnTo>
                        <a:pt x="38" y="60"/>
                      </a:lnTo>
                      <a:lnTo>
                        <a:pt x="38" y="60"/>
                      </a:lnTo>
                      <a:lnTo>
                        <a:pt x="38" y="60"/>
                      </a:lnTo>
                      <a:lnTo>
                        <a:pt x="38" y="60"/>
                      </a:lnTo>
                      <a:lnTo>
                        <a:pt x="38" y="60"/>
                      </a:lnTo>
                      <a:lnTo>
                        <a:pt x="38" y="64"/>
                      </a:lnTo>
                      <a:lnTo>
                        <a:pt x="38" y="64"/>
                      </a:lnTo>
                      <a:lnTo>
                        <a:pt x="38" y="64"/>
                      </a:lnTo>
                      <a:lnTo>
                        <a:pt x="38" y="64"/>
                      </a:lnTo>
                      <a:lnTo>
                        <a:pt x="38" y="64"/>
                      </a:lnTo>
                      <a:lnTo>
                        <a:pt x="38" y="64"/>
                      </a:lnTo>
                      <a:lnTo>
                        <a:pt x="40" y="68"/>
                      </a:lnTo>
                      <a:lnTo>
                        <a:pt x="40" y="68"/>
                      </a:lnTo>
                      <a:lnTo>
                        <a:pt x="40" y="68"/>
                      </a:lnTo>
                      <a:lnTo>
                        <a:pt x="40" y="72"/>
                      </a:lnTo>
                      <a:lnTo>
                        <a:pt x="40" y="72"/>
                      </a:lnTo>
                      <a:lnTo>
                        <a:pt x="40" y="72"/>
                      </a:lnTo>
                      <a:lnTo>
                        <a:pt x="44" y="72"/>
                      </a:lnTo>
                      <a:lnTo>
                        <a:pt x="44" y="72"/>
                      </a:lnTo>
                      <a:lnTo>
                        <a:pt x="44" y="72"/>
                      </a:lnTo>
                      <a:lnTo>
                        <a:pt x="44" y="72"/>
                      </a:lnTo>
                      <a:lnTo>
                        <a:pt x="44" y="72"/>
                      </a:lnTo>
                      <a:lnTo>
                        <a:pt x="44" y="72"/>
                      </a:lnTo>
                      <a:lnTo>
                        <a:pt x="48" y="68"/>
                      </a:lnTo>
                      <a:lnTo>
                        <a:pt x="48" y="68"/>
                      </a:lnTo>
                      <a:lnTo>
                        <a:pt x="48" y="72"/>
                      </a:lnTo>
                      <a:lnTo>
                        <a:pt x="48" y="72"/>
                      </a:lnTo>
                      <a:lnTo>
                        <a:pt x="48" y="72"/>
                      </a:lnTo>
                      <a:lnTo>
                        <a:pt x="48" y="72"/>
                      </a:lnTo>
                      <a:lnTo>
                        <a:pt x="48" y="74"/>
                      </a:lnTo>
                      <a:lnTo>
                        <a:pt x="48" y="74"/>
                      </a:lnTo>
                      <a:lnTo>
                        <a:pt x="48" y="72"/>
                      </a:lnTo>
                      <a:lnTo>
                        <a:pt x="48" y="72"/>
                      </a:lnTo>
                      <a:lnTo>
                        <a:pt x="48" y="72"/>
                      </a:lnTo>
                      <a:lnTo>
                        <a:pt x="48" y="72"/>
                      </a:lnTo>
                      <a:lnTo>
                        <a:pt x="48" y="72"/>
                      </a:lnTo>
                      <a:lnTo>
                        <a:pt x="52" y="72"/>
                      </a:lnTo>
                      <a:lnTo>
                        <a:pt x="52" y="72"/>
                      </a:lnTo>
                      <a:lnTo>
                        <a:pt x="52" y="72"/>
                      </a:lnTo>
                      <a:lnTo>
                        <a:pt x="52" y="72"/>
                      </a:lnTo>
                      <a:lnTo>
                        <a:pt x="52" y="72"/>
                      </a:lnTo>
                      <a:lnTo>
                        <a:pt x="52" y="72"/>
                      </a:lnTo>
                      <a:lnTo>
                        <a:pt x="52" y="72"/>
                      </a:lnTo>
                      <a:lnTo>
                        <a:pt x="52" y="74"/>
                      </a:lnTo>
                      <a:lnTo>
                        <a:pt x="52" y="74"/>
                      </a:lnTo>
                      <a:lnTo>
                        <a:pt x="52" y="74"/>
                      </a:lnTo>
                      <a:lnTo>
                        <a:pt x="52" y="78"/>
                      </a:lnTo>
                      <a:lnTo>
                        <a:pt x="52" y="78"/>
                      </a:lnTo>
                      <a:lnTo>
                        <a:pt x="56" y="78"/>
                      </a:lnTo>
                      <a:lnTo>
                        <a:pt x="56" y="78"/>
                      </a:lnTo>
                      <a:lnTo>
                        <a:pt x="56" y="78"/>
                      </a:lnTo>
                      <a:lnTo>
                        <a:pt x="60" y="78"/>
                      </a:lnTo>
                      <a:lnTo>
                        <a:pt x="60" y="78"/>
                      </a:lnTo>
                      <a:lnTo>
                        <a:pt x="60" y="78"/>
                      </a:lnTo>
                      <a:lnTo>
                        <a:pt x="60" y="78"/>
                      </a:lnTo>
                      <a:lnTo>
                        <a:pt x="60" y="82"/>
                      </a:lnTo>
                      <a:lnTo>
                        <a:pt x="60" y="82"/>
                      </a:lnTo>
                      <a:lnTo>
                        <a:pt x="60" y="82"/>
                      </a:lnTo>
                      <a:lnTo>
                        <a:pt x="60" y="82"/>
                      </a:lnTo>
                      <a:lnTo>
                        <a:pt x="60" y="86"/>
                      </a:lnTo>
                      <a:lnTo>
                        <a:pt x="60" y="90"/>
                      </a:lnTo>
                      <a:lnTo>
                        <a:pt x="60" y="90"/>
                      </a:lnTo>
                      <a:lnTo>
                        <a:pt x="60" y="90"/>
                      </a:lnTo>
                      <a:lnTo>
                        <a:pt x="60" y="90"/>
                      </a:lnTo>
                      <a:lnTo>
                        <a:pt x="60" y="90"/>
                      </a:lnTo>
                      <a:lnTo>
                        <a:pt x="60" y="90"/>
                      </a:lnTo>
                      <a:lnTo>
                        <a:pt x="60" y="90"/>
                      </a:lnTo>
                      <a:lnTo>
                        <a:pt x="60" y="94"/>
                      </a:lnTo>
                      <a:lnTo>
                        <a:pt x="60" y="94"/>
                      </a:lnTo>
                      <a:lnTo>
                        <a:pt x="60" y="94"/>
                      </a:lnTo>
                      <a:lnTo>
                        <a:pt x="60" y="94"/>
                      </a:lnTo>
                      <a:lnTo>
                        <a:pt x="60" y="94"/>
                      </a:lnTo>
                      <a:lnTo>
                        <a:pt x="56" y="94"/>
                      </a:lnTo>
                      <a:lnTo>
                        <a:pt x="56" y="94"/>
                      </a:lnTo>
                      <a:lnTo>
                        <a:pt x="52" y="98"/>
                      </a:lnTo>
                      <a:lnTo>
                        <a:pt x="52" y="98"/>
                      </a:lnTo>
                      <a:lnTo>
                        <a:pt x="52" y="98"/>
                      </a:lnTo>
                      <a:lnTo>
                        <a:pt x="48" y="98"/>
                      </a:lnTo>
                      <a:lnTo>
                        <a:pt x="48" y="102"/>
                      </a:lnTo>
                      <a:lnTo>
                        <a:pt x="48" y="102"/>
                      </a:lnTo>
                      <a:lnTo>
                        <a:pt x="48" y="102"/>
                      </a:lnTo>
                      <a:lnTo>
                        <a:pt x="48" y="102"/>
                      </a:lnTo>
                      <a:lnTo>
                        <a:pt x="44" y="106"/>
                      </a:lnTo>
                      <a:lnTo>
                        <a:pt x="44" y="106"/>
                      </a:lnTo>
                      <a:lnTo>
                        <a:pt x="44" y="106"/>
                      </a:lnTo>
                      <a:lnTo>
                        <a:pt x="44" y="106"/>
                      </a:lnTo>
                      <a:lnTo>
                        <a:pt x="44" y="106"/>
                      </a:lnTo>
                      <a:lnTo>
                        <a:pt x="44" y="106"/>
                      </a:lnTo>
                      <a:lnTo>
                        <a:pt x="40" y="106"/>
                      </a:lnTo>
                      <a:lnTo>
                        <a:pt x="40" y="106"/>
                      </a:lnTo>
                      <a:lnTo>
                        <a:pt x="40" y="106"/>
                      </a:lnTo>
                      <a:lnTo>
                        <a:pt x="40" y="106"/>
                      </a:lnTo>
                      <a:lnTo>
                        <a:pt x="38" y="108"/>
                      </a:lnTo>
                      <a:lnTo>
                        <a:pt x="38" y="112"/>
                      </a:lnTo>
                      <a:lnTo>
                        <a:pt x="40" y="112"/>
                      </a:lnTo>
                      <a:lnTo>
                        <a:pt x="40" y="116"/>
                      </a:lnTo>
                      <a:lnTo>
                        <a:pt x="40" y="120"/>
                      </a:lnTo>
                      <a:lnTo>
                        <a:pt x="40" y="120"/>
                      </a:lnTo>
                      <a:lnTo>
                        <a:pt x="40" y="124"/>
                      </a:lnTo>
                      <a:lnTo>
                        <a:pt x="40" y="124"/>
                      </a:lnTo>
                      <a:lnTo>
                        <a:pt x="40" y="124"/>
                      </a:lnTo>
                      <a:lnTo>
                        <a:pt x="38" y="128"/>
                      </a:lnTo>
                      <a:lnTo>
                        <a:pt x="38" y="132"/>
                      </a:lnTo>
                      <a:lnTo>
                        <a:pt x="38" y="132"/>
                      </a:lnTo>
                      <a:lnTo>
                        <a:pt x="34" y="132"/>
                      </a:lnTo>
                      <a:lnTo>
                        <a:pt x="34" y="132"/>
                      </a:lnTo>
                      <a:lnTo>
                        <a:pt x="34" y="132"/>
                      </a:lnTo>
                      <a:lnTo>
                        <a:pt x="34" y="132"/>
                      </a:lnTo>
                      <a:lnTo>
                        <a:pt x="30" y="136"/>
                      </a:lnTo>
                      <a:lnTo>
                        <a:pt x="30" y="136"/>
                      </a:lnTo>
                      <a:lnTo>
                        <a:pt x="30" y="132"/>
                      </a:lnTo>
                      <a:lnTo>
                        <a:pt x="30" y="128"/>
                      </a:lnTo>
                      <a:lnTo>
                        <a:pt x="30" y="128"/>
                      </a:lnTo>
                      <a:lnTo>
                        <a:pt x="30" y="124"/>
                      </a:lnTo>
                      <a:lnTo>
                        <a:pt x="26" y="120"/>
                      </a:lnTo>
                      <a:lnTo>
                        <a:pt x="26" y="116"/>
                      </a:lnTo>
                      <a:lnTo>
                        <a:pt x="26" y="108"/>
                      </a:lnTo>
                      <a:lnTo>
                        <a:pt x="26" y="108"/>
                      </a:lnTo>
                      <a:lnTo>
                        <a:pt x="26" y="102"/>
                      </a:lnTo>
                      <a:lnTo>
                        <a:pt x="22" y="102"/>
                      </a:lnTo>
                      <a:lnTo>
                        <a:pt x="22" y="102"/>
                      </a:lnTo>
                      <a:lnTo>
                        <a:pt x="22" y="98"/>
                      </a:lnTo>
                      <a:lnTo>
                        <a:pt x="22" y="98"/>
                      </a:lnTo>
                      <a:lnTo>
                        <a:pt x="18" y="94"/>
                      </a:lnTo>
                      <a:lnTo>
                        <a:pt x="14" y="94"/>
                      </a:lnTo>
                      <a:lnTo>
                        <a:pt x="14" y="94"/>
                      </a:lnTo>
                      <a:lnTo>
                        <a:pt x="14" y="90"/>
                      </a:lnTo>
                      <a:lnTo>
                        <a:pt x="14" y="90"/>
                      </a:lnTo>
                      <a:lnTo>
                        <a:pt x="14" y="90"/>
                      </a:lnTo>
                      <a:lnTo>
                        <a:pt x="14" y="86"/>
                      </a:lnTo>
                      <a:lnTo>
                        <a:pt x="14" y="86"/>
                      </a:lnTo>
                      <a:lnTo>
                        <a:pt x="14" y="86"/>
                      </a:lnTo>
                      <a:lnTo>
                        <a:pt x="14" y="86"/>
                      </a:lnTo>
                      <a:lnTo>
                        <a:pt x="10" y="86"/>
                      </a:lnTo>
                      <a:lnTo>
                        <a:pt x="10" y="82"/>
                      </a:lnTo>
                      <a:lnTo>
                        <a:pt x="10" y="78"/>
                      </a:lnTo>
                      <a:lnTo>
                        <a:pt x="10" y="78"/>
                      </a:lnTo>
                      <a:lnTo>
                        <a:pt x="6" y="78"/>
                      </a:lnTo>
                      <a:lnTo>
                        <a:pt x="4" y="78"/>
                      </a:lnTo>
                      <a:lnTo>
                        <a:pt x="4" y="78"/>
                      </a:lnTo>
                      <a:lnTo>
                        <a:pt x="4" y="78"/>
                      </a:lnTo>
                      <a:lnTo>
                        <a:pt x="4" y="78"/>
                      </a:lnTo>
                      <a:lnTo>
                        <a:pt x="4" y="74"/>
                      </a:lnTo>
                      <a:lnTo>
                        <a:pt x="4" y="74"/>
                      </a:lnTo>
                      <a:lnTo>
                        <a:pt x="4" y="74"/>
                      </a:lnTo>
                      <a:lnTo>
                        <a:pt x="4" y="74"/>
                      </a:lnTo>
                      <a:lnTo>
                        <a:pt x="4" y="72"/>
                      </a:lnTo>
                      <a:lnTo>
                        <a:pt x="4" y="72"/>
                      </a:lnTo>
                      <a:lnTo>
                        <a:pt x="4" y="68"/>
                      </a:lnTo>
                      <a:lnTo>
                        <a:pt x="0" y="68"/>
                      </a:lnTo>
                      <a:lnTo>
                        <a:pt x="0" y="64"/>
                      </a:lnTo>
                      <a:lnTo>
                        <a:pt x="0" y="64"/>
                      </a:lnTo>
                      <a:lnTo>
                        <a:pt x="0" y="64"/>
                      </a:lnTo>
                      <a:lnTo>
                        <a:pt x="4" y="64"/>
                      </a:lnTo>
                      <a:lnTo>
                        <a:pt x="4" y="64"/>
                      </a:lnTo>
                      <a:lnTo>
                        <a:pt x="4" y="64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4" y="60"/>
                      </a:lnTo>
                      <a:lnTo>
                        <a:pt x="6" y="60"/>
                      </a:lnTo>
                      <a:lnTo>
                        <a:pt x="6" y="56"/>
                      </a:lnTo>
                      <a:lnTo>
                        <a:pt x="6" y="56"/>
                      </a:lnTo>
                      <a:lnTo>
                        <a:pt x="6" y="56"/>
                      </a:lnTo>
                      <a:lnTo>
                        <a:pt x="6" y="56"/>
                      </a:lnTo>
                      <a:lnTo>
                        <a:pt x="6" y="52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10" y="48"/>
                      </a:lnTo>
                      <a:lnTo>
                        <a:pt x="10" y="48"/>
                      </a:lnTo>
                      <a:lnTo>
                        <a:pt x="10" y="48"/>
                      </a:lnTo>
                      <a:lnTo>
                        <a:pt x="10" y="48"/>
                      </a:lnTo>
                      <a:lnTo>
                        <a:pt x="10" y="48"/>
                      </a:lnTo>
                      <a:lnTo>
                        <a:pt x="10" y="44"/>
                      </a:lnTo>
                      <a:lnTo>
                        <a:pt x="14" y="42"/>
                      </a:lnTo>
                      <a:lnTo>
                        <a:pt x="14" y="42"/>
                      </a:lnTo>
                      <a:lnTo>
                        <a:pt x="14" y="42"/>
                      </a:lnTo>
                      <a:lnTo>
                        <a:pt x="14" y="38"/>
                      </a:lnTo>
                      <a:lnTo>
                        <a:pt x="14" y="38"/>
                      </a:lnTo>
                      <a:lnTo>
                        <a:pt x="14" y="38"/>
                      </a:lnTo>
                      <a:lnTo>
                        <a:pt x="14" y="38"/>
                      </a:lnTo>
                      <a:lnTo>
                        <a:pt x="14" y="38"/>
                      </a:lnTo>
                      <a:lnTo>
                        <a:pt x="14" y="38"/>
                      </a:lnTo>
                      <a:lnTo>
                        <a:pt x="14" y="34"/>
                      </a:lnTo>
                      <a:lnTo>
                        <a:pt x="14" y="34"/>
                      </a:lnTo>
                      <a:lnTo>
                        <a:pt x="14" y="34"/>
                      </a:lnTo>
                      <a:lnTo>
                        <a:pt x="14" y="34"/>
                      </a:lnTo>
                      <a:lnTo>
                        <a:pt x="14" y="30"/>
                      </a:lnTo>
                      <a:lnTo>
                        <a:pt x="10" y="30"/>
                      </a:lnTo>
                      <a:lnTo>
                        <a:pt x="10" y="30"/>
                      </a:lnTo>
                      <a:lnTo>
                        <a:pt x="10" y="30"/>
                      </a:lnTo>
                      <a:lnTo>
                        <a:pt x="10" y="30"/>
                      </a:lnTo>
                      <a:lnTo>
                        <a:pt x="10" y="30"/>
                      </a:lnTo>
                      <a:lnTo>
                        <a:pt x="10" y="26"/>
                      </a:lnTo>
                      <a:lnTo>
                        <a:pt x="10" y="26"/>
                      </a:lnTo>
                      <a:lnTo>
                        <a:pt x="10" y="26"/>
                      </a:lnTo>
                      <a:lnTo>
                        <a:pt x="10" y="26"/>
                      </a:lnTo>
                      <a:lnTo>
                        <a:pt x="14" y="22"/>
                      </a:lnTo>
                      <a:lnTo>
                        <a:pt x="14" y="22"/>
                      </a:lnTo>
                      <a:lnTo>
                        <a:pt x="14" y="18"/>
                      </a:lnTo>
                      <a:lnTo>
                        <a:pt x="14" y="18"/>
                      </a:lnTo>
                      <a:lnTo>
                        <a:pt x="14" y="18"/>
                      </a:lnTo>
                      <a:lnTo>
                        <a:pt x="14" y="18"/>
                      </a:lnTo>
                      <a:lnTo>
                        <a:pt x="14" y="18"/>
                      </a:lnTo>
                      <a:lnTo>
                        <a:pt x="10" y="14"/>
                      </a:lnTo>
                      <a:lnTo>
                        <a:pt x="10" y="18"/>
                      </a:lnTo>
                      <a:lnTo>
                        <a:pt x="10" y="14"/>
                      </a:lnTo>
                      <a:lnTo>
                        <a:pt x="10" y="14"/>
                      </a:lnTo>
                      <a:lnTo>
                        <a:pt x="10" y="14"/>
                      </a:lnTo>
                      <a:lnTo>
                        <a:pt x="10" y="14"/>
                      </a:lnTo>
                      <a:lnTo>
                        <a:pt x="10" y="14"/>
                      </a:lnTo>
                      <a:lnTo>
                        <a:pt x="10" y="14"/>
                      </a:lnTo>
                      <a:lnTo>
                        <a:pt x="14" y="14"/>
                      </a:lnTo>
                      <a:lnTo>
                        <a:pt x="14" y="14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8" y="12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22" y="8"/>
                      </a:lnTo>
                      <a:lnTo>
                        <a:pt x="22" y="8"/>
                      </a:lnTo>
                      <a:lnTo>
                        <a:pt x="22" y="8"/>
                      </a:lnTo>
                      <a:lnTo>
                        <a:pt x="22" y="8"/>
                      </a:lnTo>
                      <a:lnTo>
                        <a:pt x="22" y="8"/>
                      </a:lnTo>
                      <a:lnTo>
                        <a:pt x="22" y="8"/>
                      </a:lnTo>
                      <a:lnTo>
                        <a:pt x="22" y="8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30" y="0"/>
                      </a:lnTo>
                      <a:lnTo>
                        <a:pt x="34" y="0"/>
                      </a:lnTo>
                      <a:lnTo>
                        <a:pt x="34" y="0"/>
                      </a:lnTo>
                      <a:lnTo>
                        <a:pt x="34" y="0"/>
                      </a:lnTo>
                      <a:lnTo>
                        <a:pt x="34" y="0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8" y="4"/>
                      </a:lnTo>
                      <a:lnTo>
                        <a:pt x="38" y="4"/>
                      </a:lnTo>
                      <a:lnTo>
                        <a:pt x="38" y="4"/>
                      </a:lnTo>
                      <a:lnTo>
                        <a:pt x="34" y="4"/>
                      </a:lnTo>
                      <a:lnTo>
                        <a:pt x="38" y="4"/>
                      </a:lnTo>
                      <a:lnTo>
                        <a:pt x="38" y="4"/>
                      </a:lnTo>
                      <a:lnTo>
                        <a:pt x="40" y="4"/>
                      </a:lnTo>
                      <a:lnTo>
                        <a:pt x="40" y="4"/>
                      </a:lnTo>
                      <a:lnTo>
                        <a:pt x="40" y="4"/>
                      </a:lnTo>
                      <a:lnTo>
                        <a:pt x="40" y="4"/>
                      </a:lnTo>
                      <a:lnTo>
                        <a:pt x="38" y="4"/>
                      </a:lnTo>
                      <a:lnTo>
                        <a:pt x="40" y="4"/>
                      </a:lnTo>
                      <a:lnTo>
                        <a:pt x="40" y="4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40" y="8"/>
                      </a:lnTo>
                      <a:close/>
                      <a:moveTo>
                        <a:pt x="52" y="52"/>
                      </a:move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2" y="48"/>
                      </a:lnTo>
                      <a:lnTo>
                        <a:pt x="56" y="48"/>
                      </a:lnTo>
                      <a:lnTo>
                        <a:pt x="56" y="48"/>
                      </a:lnTo>
                      <a:lnTo>
                        <a:pt x="56" y="48"/>
                      </a:lnTo>
                      <a:lnTo>
                        <a:pt x="56" y="48"/>
                      </a:lnTo>
                      <a:lnTo>
                        <a:pt x="56" y="48"/>
                      </a:lnTo>
                      <a:lnTo>
                        <a:pt x="56" y="48"/>
                      </a:lnTo>
                      <a:lnTo>
                        <a:pt x="56" y="48"/>
                      </a:lnTo>
                      <a:lnTo>
                        <a:pt x="52" y="48"/>
                      </a:lnTo>
                      <a:lnTo>
                        <a:pt x="52" y="48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2" y="52"/>
                      </a:lnTo>
                      <a:close/>
                      <a:moveTo>
                        <a:pt x="48" y="72"/>
                      </a:moveTo>
                      <a:lnTo>
                        <a:pt x="48" y="72"/>
                      </a:lnTo>
                      <a:lnTo>
                        <a:pt x="48" y="72"/>
                      </a:lnTo>
                      <a:lnTo>
                        <a:pt x="48" y="68"/>
                      </a:lnTo>
                      <a:lnTo>
                        <a:pt x="48" y="68"/>
                      </a:lnTo>
                      <a:lnTo>
                        <a:pt x="48" y="68"/>
                      </a:lnTo>
                      <a:lnTo>
                        <a:pt x="48" y="68"/>
                      </a:lnTo>
                      <a:lnTo>
                        <a:pt x="48" y="68"/>
                      </a:lnTo>
                      <a:lnTo>
                        <a:pt x="48" y="68"/>
                      </a:lnTo>
                      <a:lnTo>
                        <a:pt x="48" y="68"/>
                      </a:lnTo>
                      <a:lnTo>
                        <a:pt x="48" y="68"/>
                      </a:lnTo>
                      <a:lnTo>
                        <a:pt x="48" y="68"/>
                      </a:lnTo>
                      <a:lnTo>
                        <a:pt x="48" y="68"/>
                      </a:lnTo>
                      <a:lnTo>
                        <a:pt x="48" y="68"/>
                      </a:lnTo>
                      <a:lnTo>
                        <a:pt x="48" y="68"/>
                      </a:lnTo>
                      <a:lnTo>
                        <a:pt x="48" y="68"/>
                      </a:lnTo>
                      <a:lnTo>
                        <a:pt x="48" y="68"/>
                      </a:lnTo>
                      <a:lnTo>
                        <a:pt x="48" y="68"/>
                      </a:lnTo>
                      <a:lnTo>
                        <a:pt x="48" y="68"/>
                      </a:lnTo>
                      <a:lnTo>
                        <a:pt x="48" y="68"/>
                      </a:lnTo>
                      <a:lnTo>
                        <a:pt x="48" y="68"/>
                      </a:lnTo>
                      <a:lnTo>
                        <a:pt x="52" y="68"/>
                      </a:lnTo>
                      <a:lnTo>
                        <a:pt x="52" y="68"/>
                      </a:lnTo>
                      <a:lnTo>
                        <a:pt x="52" y="68"/>
                      </a:lnTo>
                      <a:lnTo>
                        <a:pt x="52" y="68"/>
                      </a:lnTo>
                      <a:lnTo>
                        <a:pt x="52" y="68"/>
                      </a:lnTo>
                      <a:lnTo>
                        <a:pt x="52" y="68"/>
                      </a:lnTo>
                      <a:lnTo>
                        <a:pt x="52" y="68"/>
                      </a:lnTo>
                      <a:lnTo>
                        <a:pt x="52" y="68"/>
                      </a:lnTo>
                      <a:lnTo>
                        <a:pt x="48" y="72"/>
                      </a:lnTo>
                      <a:lnTo>
                        <a:pt x="48" y="72"/>
                      </a:lnTo>
                      <a:lnTo>
                        <a:pt x="48" y="72"/>
                      </a:lnTo>
                      <a:lnTo>
                        <a:pt x="48" y="72"/>
                      </a:lnTo>
                      <a:lnTo>
                        <a:pt x="48" y="7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28" name="Freeform 174"/>
                <p:cNvSpPr>
                  <a:spLocks/>
                </p:cNvSpPr>
                <p:nvPr/>
              </p:nvSpPr>
              <p:spPr bwMode="auto">
                <a:xfrm>
                  <a:off x="5054600" y="4445068"/>
                  <a:ext cx="127000" cy="155575"/>
                </a:xfrm>
                <a:custGeom>
                  <a:avLst/>
                  <a:gdLst>
                    <a:gd name="T0" fmla="*/ 42 w 80"/>
                    <a:gd name="T1" fmla="*/ 90 h 98"/>
                    <a:gd name="T2" fmla="*/ 22 w 80"/>
                    <a:gd name="T3" fmla="*/ 90 h 98"/>
                    <a:gd name="T4" fmla="*/ 16 w 80"/>
                    <a:gd name="T5" fmla="*/ 90 h 98"/>
                    <a:gd name="T6" fmla="*/ 12 w 80"/>
                    <a:gd name="T7" fmla="*/ 94 h 98"/>
                    <a:gd name="T8" fmla="*/ 8 w 80"/>
                    <a:gd name="T9" fmla="*/ 98 h 98"/>
                    <a:gd name="T10" fmla="*/ 4 w 80"/>
                    <a:gd name="T11" fmla="*/ 98 h 98"/>
                    <a:gd name="T12" fmla="*/ 4 w 80"/>
                    <a:gd name="T13" fmla="*/ 98 h 98"/>
                    <a:gd name="T14" fmla="*/ 0 w 80"/>
                    <a:gd name="T15" fmla="*/ 98 h 98"/>
                    <a:gd name="T16" fmla="*/ 0 w 80"/>
                    <a:gd name="T17" fmla="*/ 90 h 98"/>
                    <a:gd name="T18" fmla="*/ 4 w 80"/>
                    <a:gd name="T19" fmla="*/ 82 h 98"/>
                    <a:gd name="T20" fmla="*/ 4 w 80"/>
                    <a:gd name="T21" fmla="*/ 74 h 98"/>
                    <a:gd name="T22" fmla="*/ 4 w 80"/>
                    <a:gd name="T23" fmla="*/ 70 h 98"/>
                    <a:gd name="T24" fmla="*/ 8 w 80"/>
                    <a:gd name="T25" fmla="*/ 64 h 98"/>
                    <a:gd name="T26" fmla="*/ 8 w 80"/>
                    <a:gd name="T27" fmla="*/ 60 h 98"/>
                    <a:gd name="T28" fmla="*/ 8 w 80"/>
                    <a:gd name="T29" fmla="*/ 56 h 98"/>
                    <a:gd name="T30" fmla="*/ 12 w 80"/>
                    <a:gd name="T31" fmla="*/ 52 h 98"/>
                    <a:gd name="T32" fmla="*/ 16 w 80"/>
                    <a:gd name="T33" fmla="*/ 52 h 98"/>
                    <a:gd name="T34" fmla="*/ 22 w 80"/>
                    <a:gd name="T35" fmla="*/ 40 h 98"/>
                    <a:gd name="T36" fmla="*/ 22 w 80"/>
                    <a:gd name="T37" fmla="*/ 34 h 98"/>
                    <a:gd name="T38" fmla="*/ 20 w 80"/>
                    <a:gd name="T39" fmla="*/ 34 h 98"/>
                    <a:gd name="T40" fmla="*/ 20 w 80"/>
                    <a:gd name="T41" fmla="*/ 30 h 98"/>
                    <a:gd name="T42" fmla="*/ 20 w 80"/>
                    <a:gd name="T43" fmla="*/ 22 h 98"/>
                    <a:gd name="T44" fmla="*/ 20 w 80"/>
                    <a:gd name="T45" fmla="*/ 18 h 98"/>
                    <a:gd name="T46" fmla="*/ 20 w 80"/>
                    <a:gd name="T47" fmla="*/ 10 h 98"/>
                    <a:gd name="T48" fmla="*/ 20 w 80"/>
                    <a:gd name="T49" fmla="*/ 10 h 98"/>
                    <a:gd name="T50" fmla="*/ 26 w 80"/>
                    <a:gd name="T51" fmla="*/ 6 h 98"/>
                    <a:gd name="T52" fmla="*/ 34 w 80"/>
                    <a:gd name="T53" fmla="*/ 6 h 98"/>
                    <a:gd name="T54" fmla="*/ 34 w 80"/>
                    <a:gd name="T55" fmla="*/ 10 h 98"/>
                    <a:gd name="T56" fmla="*/ 38 w 80"/>
                    <a:gd name="T57" fmla="*/ 10 h 98"/>
                    <a:gd name="T58" fmla="*/ 42 w 80"/>
                    <a:gd name="T59" fmla="*/ 6 h 98"/>
                    <a:gd name="T60" fmla="*/ 46 w 80"/>
                    <a:gd name="T61" fmla="*/ 6 h 98"/>
                    <a:gd name="T62" fmla="*/ 50 w 80"/>
                    <a:gd name="T63" fmla="*/ 6 h 98"/>
                    <a:gd name="T64" fmla="*/ 56 w 80"/>
                    <a:gd name="T65" fmla="*/ 6 h 98"/>
                    <a:gd name="T66" fmla="*/ 64 w 80"/>
                    <a:gd name="T67" fmla="*/ 0 h 98"/>
                    <a:gd name="T68" fmla="*/ 68 w 80"/>
                    <a:gd name="T69" fmla="*/ 6 h 98"/>
                    <a:gd name="T70" fmla="*/ 72 w 80"/>
                    <a:gd name="T71" fmla="*/ 10 h 98"/>
                    <a:gd name="T72" fmla="*/ 72 w 80"/>
                    <a:gd name="T73" fmla="*/ 18 h 98"/>
                    <a:gd name="T74" fmla="*/ 76 w 80"/>
                    <a:gd name="T75" fmla="*/ 22 h 98"/>
                    <a:gd name="T76" fmla="*/ 76 w 80"/>
                    <a:gd name="T77" fmla="*/ 26 h 98"/>
                    <a:gd name="T78" fmla="*/ 76 w 80"/>
                    <a:gd name="T79" fmla="*/ 34 h 98"/>
                    <a:gd name="T80" fmla="*/ 80 w 80"/>
                    <a:gd name="T81" fmla="*/ 40 h 98"/>
                    <a:gd name="T82" fmla="*/ 76 w 80"/>
                    <a:gd name="T83" fmla="*/ 44 h 98"/>
                    <a:gd name="T84" fmla="*/ 76 w 80"/>
                    <a:gd name="T85" fmla="*/ 48 h 98"/>
                    <a:gd name="T86" fmla="*/ 76 w 80"/>
                    <a:gd name="T87" fmla="*/ 52 h 98"/>
                    <a:gd name="T88" fmla="*/ 76 w 80"/>
                    <a:gd name="T89" fmla="*/ 52 h 98"/>
                    <a:gd name="T90" fmla="*/ 72 w 80"/>
                    <a:gd name="T91" fmla="*/ 56 h 98"/>
                    <a:gd name="T92" fmla="*/ 72 w 80"/>
                    <a:gd name="T93" fmla="*/ 60 h 98"/>
                    <a:gd name="T94" fmla="*/ 64 w 80"/>
                    <a:gd name="T95" fmla="*/ 66 h 98"/>
                    <a:gd name="T96" fmla="*/ 64 w 80"/>
                    <a:gd name="T97" fmla="*/ 70 h 98"/>
                    <a:gd name="T98" fmla="*/ 64 w 80"/>
                    <a:gd name="T99" fmla="*/ 78 h 98"/>
                    <a:gd name="T100" fmla="*/ 56 w 80"/>
                    <a:gd name="T101" fmla="*/ 90 h 98"/>
                    <a:gd name="T102" fmla="*/ 52 w 80"/>
                    <a:gd name="T103" fmla="*/ 90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80" h="98">
                      <a:moveTo>
                        <a:pt x="50" y="90"/>
                      </a:moveTo>
                      <a:lnTo>
                        <a:pt x="46" y="90"/>
                      </a:lnTo>
                      <a:lnTo>
                        <a:pt x="46" y="90"/>
                      </a:lnTo>
                      <a:lnTo>
                        <a:pt x="46" y="90"/>
                      </a:lnTo>
                      <a:lnTo>
                        <a:pt x="42" y="90"/>
                      </a:lnTo>
                      <a:lnTo>
                        <a:pt x="30" y="90"/>
                      </a:lnTo>
                      <a:lnTo>
                        <a:pt x="30" y="90"/>
                      </a:lnTo>
                      <a:lnTo>
                        <a:pt x="26" y="90"/>
                      </a:lnTo>
                      <a:lnTo>
                        <a:pt x="26" y="90"/>
                      </a:lnTo>
                      <a:lnTo>
                        <a:pt x="22" y="90"/>
                      </a:lnTo>
                      <a:lnTo>
                        <a:pt x="20" y="90"/>
                      </a:lnTo>
                      <a:lnTo>
                        <a:pt x="20" y="90"/>
                      </a:lnTo>
                      <a:lnTo>
                        <a:pt x="16" y="90"/>
                      </a:lnTo>
                      <a:lnTo>
                        <a:pt x="16" y="90"/>
                      </a:lnTo>
                      <a:lnTo>
                        <a:pt x="16" y="90"/>
                      </a:lnTo>
                      <a:lnTo>
                        <a:pt x="16" y="90"/>
                      </a:lnTo>
                      <a:lnTo>
                        <a:pt x="16" y="90"/>
                      </a:lnTo>
                      <a:lnTo>
                        <a:pt x="12" y="90"/>
                      </a:lnTo>
                      <a:lnTo>
                        <a:pt x="12" y="94"/>
                      </a:lnTo>
                      <a:lnTo>
                        <a:pt x="12" y="94"/>
                      </a:lnTo>
                      <a:lnTo>
                        <a:pt x="12" y="94"/>
                      </a:lnTo>
                      <a:lnTo>
                        <a:pt x="12" y="94"/>
                      </a:lnTo>
                      <a:lnTo>
                        <a:pt x="12" y="98"/>
                      </a:lnTo>
                      <a:lnTo>
                        <a:pt x="8" y="98"/>
                      </a:lnTo>
                      <a:lnTo>
                        <a:pt x="8" y="98"/>
                      </a:lnTo>
                      <a:lnTo>
                        <a:pt x="8" y="98"/>
                      </a:lnTo>
                      <a:lnTo>
                        <a:pt x="8" y="98"/>
                      </a:lnTo>
                      <a:lnTo>
                        <a:pt x="8" y="98"/>
                      </a:lnTo>
                      <a:lnTo>
                        <a:pt x="4" y="98"/>
                      </a:lnTo>
                      <a:lnTo>
                        <a:pt x="4" y="98"/>
                      </a:lnTo>
                      <a:lnTo>
                        <a:pt x="4" y="98"/>
                      </a:lnTo>
                      <a:lnTo>
                        <a:pt x="4" y="98"/>
                      </a:lnTo>
                      <a:lnTo>
                        <a:pt x="4" y="98"/>
                      </a:lnTo>
                      <a:lnTo>
                        <a:pt x="4" y="98"/>
                      </a:lnTo>
                      <a:lnTo>
                        <a:pt x="4" y="98"/>
                      </a:lnTo>
                      <a:lnTo>
                        <a:pt x="4" y="98"/>
                      </a:lnTo>
                      <a:lnTo>
                        <a:pt x="0" y="98"/>
                      </a:lnTo>
                      <a:lnTo>
                        <a:pt x="0" y="98"/>
                      </a:lnTo>
                      <a:lnTo>
                        <a:pt x="0" y="98"/>
                      </a:lnTo>
                      <a:lnTo>
                        <a:pt x="0" y="98"/>
                      </a:lnTo>
                      <a:lnTo>
                        <a:pt x="0" y="94"/>
                      </a:lnTo>
                      <a:lnTo>
                        <a:pt x="0" y="94"/>
                      </a:lnTo>
                      <a:lnTo>
                        <a:pt x="0" y="90"/>
                      </a:lnTo>
                      <a:lnTo>
                        <a:pt x="0" y="90"/>
                      </a:lnTo>
                      <a:lnTo>
                        <a:pt x="0" y="90"/>
                      </a:lnTo>
                      <a:lnTo>
                        <a:pt x="0" y="86"/>
                      </a:lnTo>
                      <a:lnTo>
                        <a:pt x="0" y="86"/>
                      </a:lnTo>
                      <a:lnTo>
                        <a:pt x="0" y="82"/>
                      </a:lnTo>
                      <a:lnTo>
                        <a:pt x="4" y="82"/>
                      </a:lnTo>
                      <a:lnTo>
                        <a:pt x="4" y="82"/>
                      </a:lnTo>
                      <a:lnTo>
                        <a:pt x="4" y="82"/>
                      </a:lnTo>
                      <a:lnTo>
                        <a:pt x="4" y="78"/>
                      </a:lnTo>
                      <a:lnTo>
                        <a:pt x="4" y="74"/>
                      </a:lnTo>
                      <a:lnTo>
                        <a:pt x="4" y="74"/>
                      </a:lnTo>
                      <a:lnTo>
                        <a:pt x="4" y="74"/>
                      </a:lnTo>
                      <a:lnTo>
                        <a:pt x="4" y="70"/>
                      </a:lnTo>
                      <a:lnTo>
                        <a:pt x="4" y="70"/>
                      </a:lnTo>
                      <a:lnTo>
                        <a:pt x="4" y="70"/>
                      </a:lnTo>
                      <a:lnTo>
                        <a:pt x="4" y="70"/>
                      </a:lnTo>
                      <a:lnTo>
                        <a:pt x="4" y="70"/>
                      </a:lnTo>
                      <a:lnTo>
                        <a:pt x="4" y="66"/>
                      </a:lnTo>
                      <a:lnTo>
                        <a:pt x="4" y="66"/>
                      </a:lnTo>
                      <a:lnTo>
                        <a:pt x="8" y="66"/>
                      </a:lnTo>
                      <a:lnTo>
                        <a:pt x="8" y="64"/>
                      </a:lnTo>
                      <a:lnTo>
                        <a:pt x="8" y="64"/>
                      </a:lnTo>
                      <a:lnTo>
                        <a:pt x="8" y="64"/>
                      </a:lnTo>
                      <a:lnTo>
                        <a:pt x="8" y="60"/>
                      </a:lnTo>
                      <a:lnTo>
                        <a:pt x="8" y="60"/>
                      </a:lnTo>
                      <a:lnTo>
                        <a:pt x="8" y="60"/>
                      </a:lnTo>
                      <a:lnTo>
                        <a:pt x="8" y="60"/>
                      </a:lnTo>
                      <a:lnTo>
                        <a:pt x="8" y="60"/>
                      </a:lnTo>
                      <a:lnTo>
                        <a:pt x="8" y="60"/>
                      </a:lnTo>
                      <a:lnTo>
                        <a:pt x="8" y="56"/>
                      </a:lnTo>
                      <a:lnTo>
                        <a:pt x="8" y="56"/>
                      </a:lnTo>
                      <a:lnTo>
                        <a:pt x="8" y="56"/>
                      </a:lnTo>
                      <a:lnTo>
                        <a:pt x="8" y="56"/>
                      </a:lnTo>
                      <a:lnTo>
                        <a:pt x="12" y="56"/>
                      </a:lnTo>
                      <a:lnTo>
                        <a:pt x="12" y="56"/>
                      </a:lnTo>
                      <a:lnTo>
                        <a:pt x="12" y="56"/>
                      </a:lnTo>
                      <a:lnTo>
                        <a:pt x="12" y="52"/>
                      </a:lnTo>
                      <a:lnTo>
                        <a:pt x="12" y="52"/>
                      </a:lnTo>
                      <a:lnTo>
                        <a:pt x="12" y="52"/>
                      </a:lnTo>
                      <a:lnTo>
                        <a:pt x="16" y="52"/>
                      </a:lnTo>
                      <a:lnTo>
                        <a:pt x="16" y="52"/>
                      </a:lnTo>
                      <a:lnTo>
                        <a:pt x="16" y="52"/>
                      </a:lnTo>
                      <a:lnTo>
                        <a:pt x="16" y="48"/>
                      </a:lnTo>
                      <a:lnTo>
                        <a:pt x="16" y="48"/>
                      </a:lnTo>
                      <a:lnTo>
                        <a:pt x="16" y="48"/>
                      </a:lnTo>
                      <a:lnTo>
                        <a:pt x="20" y="44"/>
                      </a:lnTo>
                      <a:lnTo>
                        <a:pt x="22" y="40"/>
                      </a:lnTo>
                      <a:lnTo>
                        <a:pt x="22" y="36"/>
                      </a:lnTo>
                      <a:lnTo>
                        <a:pt x="26" y="36"/>
                      </a:lnTo>
                      <a:lnTo>
                        <a:pt x="26" y="36"/>
                      </a:lnTo>
                      <a:lnTo>
                        <a:pt x="22" y="34"/>
                      </a:lnTo>
                      <a:lnTo>
                        <a:pt x="22" y="34"/>
                      </a:lnTo>
                      <a:lnTo>
                        <a:pt x="22" y="34"/>
                      </a:lnTo>
                      <a:lnTo>
                        <a:pt x="22" y="30"/>
                      </a:lnTo>
                      <a:lnTo>
                        <a:pt x="22" y="30"/>
                      </a:lnTo>
                      <a:lnTo>
                        <a:pt x="20" y="34"/>
                      </a:lnTo>
                      <a:lnTo>
                        <a:pt x="20" y="34"/>
                      </a:lnTo>
                      <a:lnTo>
                        <a:pt x="20" y="34"/>
                      </a:lnTo>
                      <a:lnTo>
                        <a:pt x="20" y="34"/>
                      </a:lnTo>
                      <a:lnTo>
                        <a:pt x="20" y="30"/>
                      </a:lnTo>
                      <a:lnTo>
                        <a:pt x="20" y="30"/>
                      </a:lnTo>
                      <a:lnTo>
                        <a:pt x="20" y="30"/>
                      </a:lnTo>
                      <a:lnTo>
                        <a:pt x="20" y="26"/>
                      </a:lnTo>
                      <a:lnTo>
                        <a:pt x="20" y="26"/>
                      </a:lnTo>
                      <a:lnTo>
                        <a:pt x="20" y="26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4"/>
                      </a:lnTo>
                      <a:lnTo>
                        <a:pt x="20" y="14"/>
                      </a:lnTo>
                      <a:lnTo>
                        <a:pt x="20" y="14"/>
                      </a:lnTo>
                      <a:lnTo>
                        <a:pt x="20" y="10"/>
                      </a:lnTo>
                      <a:lnTo>
                        <a:pt x="20" y="10"/>
                      </a:lnTo>
                      <a:lnTo>
                        <a:pt x="20" y="10"/>
                      </a:lnTo>
                      <a:lnTo>
                        <a:pt x="20" y="10"/>
                      </a:lnTo>
                      <a:lnTo>
                        <a:pt x="20" y="10"/>
                      </a:lnTo>
                      <a:lnTo>
                        <a:pt x="20" y="10"/>
                      </a:lnTo>
                      <a:lnTo>
                        <a:pt x="22" y="10"/>
                      </a:lnTo>
                      <a:lnTo>
                        <a:pt x="22" y="6"/>
                      </a:lnTo>
                      <a:lnTo>
                        <a:pt x="22" y="6"/>
                      </a:lnTo>
                      <a:lnTo>
                        <a:pt x="26" y="6"/>
                      </a:lnTo>
                      <a:lnTo>
                        <a:pt x="26" y="6"/>
                      </a:lnTo>
                      <a:lnTo>
                        <a:pt x="26" y="10"/>
                      </a:lnTo>
                      <a:lnTo>
                        <a:pt x="30" y="10"/>
                      </a:lnTo>
                      <a:lnTo>
                        <a:pt x="30" y="6"/>
                      </a:lnTo>
                      <a:lnTo>
                        <a:pt x="30" y="6"/>
                      </a:lnTo>
                      <a:lnTo>
                        <a:pt x="34" y="6"/>
                      </a:lnTo>
                      <a:lnTo>
                        <a:pt x="34" y="6"/>
                      </a:lnTo>
                      <a:lnTo>
                        <a:pt x="34" y="6"/>
                      </a:lnTo>
                      <a:lnTo>
                        <a:pt x="34" y="10"/>
                      </a:lnTo>
                      <a:lnTo>
                        <a:pt x="34" y="10"/>
                      </a:lnTo>
                      <a:lnTo>
                        <a:pt x="34" y="10"/>
                      </a:lnTo>
                      <a:lnTo>
                        <a:pt x="38" y="10"/>
                      </a:lnTo>
                      <a:lnTo>
                        <a:pt x="38" y="10"/>
                      </a:lnTo>
                      <a:lnTo>
                        <a:pt x="38" y="10"/>
                      </a:lnTo>
                      <a:lnTo>
                        <a:pt x="38" y="10"/>
                      </a:lnTo>
                      <a:lnTo>
                        <a:pt x="38" y="10"/>
                      </a:lnTo>
                      <a:lnTo>
                        <a:pt x="38" y="10"/>
                      </a:lnTo>
                      <a:lnTo>
                        <a:pt x="38" y="10"/>
                      </a:lnTo>
                      <a:lnTo>
                        <a:pt x="38" y="10"/>
                      </a:lnTo>
                      <a:lnTo>
                        <a:pt x="38" y="10"/>
                      </a:lnTo>
                      <a:lnTo>
                        <a:pt x="42" y="6"/>
                      </a:lnTo>
                      <a:lnTo>
                        <a:pt x="42" y="6"/>
                      </a:lnTo>
                      <a:lnTo>
                        <a:pt x="46" y="6"/>
                      </a:lnTo>
                      <a:lnTo>
                        <a:pt x="46" y="6"/>
                      </a:lnTo>
                      <a:lnTo>
                        <a:pt x="46" y="6"/>
                      </a:lnTo>
                      <a:lnTo>
                        <a:pt x="46" y="6"/>
                      </a:lnTo>
                      <a:lnTo>
                        <a:pt x="50" y="6"/>
                      </a:lnTo>
                      <a:lnTo>
                        <a:pt x="50" y="6"/>
                      </a:lnTo>
                      <a:lnTo>
                        <a:pt x="50" y="6"/>
                      </a:lnTo>
                      <a:lnTo>
                        <a:pt x="50" y="6"/>
                      </a:lnTo>
                      <a:lnTo>
                        <a:pt x="50" y="6"/>
                      </a:lnTo>
                      <a:lnTo>
                        <a:pt x="52" y="6"/>
                      </a:lnTo>
                      <a:lnTo>
                        <a:pt x="52" y="6"/>
                      </a:lnTo>
                      <a:lnTo>
                        <a:pt x="52" y="6"/>
                      </a:lnTo>
                      <a:lnTo>
                        <a:pt x="56" y="6"/>
                      </a:lnTo>
                      <a:lnTo>
                        <a:pt x="56" y="6"/>
                      </a:lnTo>
                      <a:lnTo>
                        <a:pt x="56" y="6"/>
                      </a:lnTo>
                      <a:lnTo>
                        <a:pt x="64" y="0"/>
                      </a:lnTo>
                      <a:lnTo>
                        <a:pt x="64" y="0"/>
                      </a:lnTo>
                      <a:lnTo>
                        <a:pt x="64" y="0"/>
                      </a:lnTo>
                      <a:lnTo>
                        <a:pt x="64" y="0"/>
                      </a:lnTo>
                      <a:lnTo>
                        <a:pt x="64" y="2"/>
                      </a:lnTo>
                      <a:lnTo>
                        <a:pt x="68" y="2"/>
                      </a:lnTo>
                      <a:lnTo>
                        <a:pt x="68" y="6"/>
                      </a:lnTo>
                      <a:lnTo>
                        <a:pt x="68" y="6"/>
                      </a:lnTo>
                      <a:lnTo>
                        <a:pt x="68" y="6"/>
                      </a:lnTo>
                      <a:lnTo>
                        <a:pt x="68" y="6"/>
                      </a:lnTo>
                      <a:lnTo>
                        <a:pt x="72" y="10"/>
                      </a:lnTo>
                      <a:lnTo>
                        <a:pt x="72" y="10"/>
                      </a:lnTo>
                      <a:lnTo>
                        <a:pt x="72" y="10"/>
                      </a:lnTo>
                      <a:lnTo>
                        <a:pt x="72" y="10"/>
                      </a:lnTo>
                      <a:lnTo>
                        <a:pt x="72" y="14"/>
                      </a:lnTo>
                      <a:lnTo>
                        <a:pt x="72" y="14"/>
                      </a:lnTo>
                      <a:lnTo>
                        <a:pt x="72" y="18"/>
                      </a:lnTo>
                      <a:lnTo>
                        <a:pt x="72" y="18"/>
                      </a:lnTo>
                      <a:lnTo>
                        <a:pt x="72" y="18"/>
                      </a:lnTo>
                      <a:lnTo>
                        <a:pt x="72" y="18"/>
                      </a:lnTo>
                      <a:lnTo>
                        <a:pt x="72" y="18"/>
                      </a:lnTo>
                      <a:lnTo>
                        <a:pt x="72" y="22"/>
                      </a:lnTo>
                      <a:lnTo>
                        <a:pt x="72" y="22"/>
                      </a:lnTo>
                      <a:lnTo>
                        <a:pt x="76" y="22"/>
                      </a:lnTo>
                      <a:lnTo>
                        <a:pt x="76" y="22"/>
                      </a:lnTo>
                      <a:lnTo>
                        <a:pt x="76" y="22"/>
                      </a:lnTo>
                      <a:lnTo>
                        <a:pt x="76" y="22"/>
                      </a:lnTo>
                      <a:lnTo>
                        <a:pt x="76" y="26"/>
                      </a:lnTo>
                      <a:lnTo>
                        <a:pt x="76" y="26"/>
                      </a:lnTo>
                      <a:lnTo>
                        <a:pt x="76" y="26"/>
                      </a:lnTo>
                      <a:lnTo>
                        <a:pt x="76" y="30"/>
                      </a:lnTo>
                      <a:lnTo>
                        <a:pt x="76" y="30"/>
                      </a:lnTo>
                      <a:lnTo>
                        <a:pt x="76" y="30"/>
                      </a:lnTo>
                      <a:lnTo>
                        <a:pt x="76" y="34"/>
                      </a:lnTo>
                      <a:lnTo>
                        <a:pt x="76" y="34"/>
                      </a:lnTo>
                      <a:lnTo>
                        <a:pt x="80" y="34"/>
                      </a:lnTo>
                      <a:lnTo>
                        <a:pt x="80" y="34"/>
                      </a:lnTo>
                      <a:lnTo>
                        <a:pt x="80" y="36"/>
                      </a:lnTo>
                      <a:lnTo>
                        <a:pt x="80" y="40"/>
                      </a:lnTo>
                      <a:lnTo>
                        <a:pt x="80" y="44"/>
                      </a:lnTo>
                      <a:lnTo>
                        <a:pt x="80" y="44"/>
                      </a:lnTo>
                      <a:lnTo>
                        <a:pt x="80" y="44"/>
                      </a:lnTo>
                      <a:lnTo>
                        <a:pt x="80" y="44"/>
                      </a:lnTo>
                      <a:lnTo>
                        <a:pt x="76" y="44"/>
                      </a:lnTo>
                      <a:lnTo>
                        <a:pt x="76" y="44"/>
                      </a:lnTo>
                      <a:lnTo>
                        <a:pt x="76" y="48"/>
                      </a:lnTo>
                      <a:lnTo>
                        <a:pt x="76" y="48"/>
                      </a:lnTo>
                      <a:lnTo>
                        <a:pt x="76" y="48"/>
                      </a:lnTo>
                      <a:lnTo>
                        <a:pt x="76" y="48"/>
                      </a:lnTo>
                      <a:lnTo>
                        <a:pt x="76" y="48"/>
                      </a:lnTo>
                      <a:lnTo>
                        <a:pt x="76" y="48"/>
                      </a:lnTo>
                      <a:lnTo>
                        <a:pt x="76" y="48"/>
                      </a:lnTo>
                      <a:lnTo>
                        <a:pt x="76" y="52"/>
                      </a:lnTo>
                      <a:lnTo>
                        <a:pt x="76" y="52"/>
                      </a:lnTo>
                      <a:lnTo>
                        <a:pt x="76" y="52"/>
                      </a:lnTo>
                      <a:lnTo>
                        <a:pt x="76" y="52"/>
                      </a:lnTo>
                      <a:lnTo>
                        <a:pt x="76" y="52"/>
                      </a:lnTo>
                      <a:lnTo>
                        <a:pt x="76" y="52"/>
                      </a:lnTo>
                      <a:lnTo>
                        <a:pt x="76" y="52"/>
                      </a:lnTo>
                      <a:lnTo>
                        <a:pt x="72" y="52"/>
                      </a:lnTo>
                      <a:lnTo>
                        <a:pt x="72" y="52"/>
                      </a:lnTo>
                      <a:lnTo>
                        <a:pt x="72" y="52"/>
                      </a:lnTo>
                      <a:lnTo>
                        <a:pt x="72" y="56"/>
                      </a:lnTo>
                      <a:lnTo>
                        <a:pt x="72" y="56"/>
                      </a:lnTo>
                      <a:lnTo>
                        <a:pt x="72" y="56"/>
                      </a:lnTo>
                      <a:lnTo>
                        <a:pt x="72" y="56"/>
                      </a:lnTo>
                      <a:lnTo>
                        <a:pt x="72" y="56"/>
                      </a:lnTo>
                      <a:lnTo>
                        <a:pt x="72" y="60"/>
                      </a:lnTo>
                      <a:lnTo>
                        <a:pt x="72" y="60"/>
                      </a:lnTo>
                      <a:lnTo>
                        <a:pt x="68" y="64"/>
                      </a:lnTo>
                      <a:lnTo>
                        <a:pt x="68" y="64"/>
                      </a:lnTo>
                      <a:lnTo>
                        <a:pt x="68" y="64"/>
                      </a:lnTo>
                      <a:lnTo>
                        <a:pt x="68" y="64"/>
                      </a:lnTo>
                      <a:lnTo>
                        <a:pt x="64" y="66"/>
                      </a:lnTo>
                      <a:lnTo>
                        <a:pt x="64" y="66"/>
                      </a:lnTo>
                      <a:lnTo>
                        <a:pt x="64" y="70"/>
                      </a:lnTo>
                      <a:lnTo>
                        <a:pt x="64" y="70"/>
                      </a:lnTo>
                      <a:lnTo>
                        <a:pt x="64" y="70"/>
                      </a:lnTo>
                      <a:lnTo>
                        <a:pt x="64" y="70"/>
                      </a:lnTo>
                      <a:lnTo>
                        <a:pt x="64" y="70"/>
                      </a:lnTo>
                      <a:lnTo>
                        <a:pt x="64" y="74"/>
                      </a:lnTo>
                      <a:lnTo>
                        <a:pt x="64" y="74"/>
                      </a:lnTo>
                      <a:lnTo>
                        <a:pt x="64" y="74"/>
                      </a:lnTo>
                      <a:lnTo>
                        <a:pt x="64" y="78"/>
                      </a:lnTo>
                      <a:lnTo>
                        <a:pt x="64" y="82"/>
                      </a:lnTo>
                      <a:lnTo>
                        <a:pt x="64" y="90"/>
                      </a:lnTo>
                      <a:lnTo>
                        <a:pt x="64" y="90"/>
                      </a:lnTo>
                      <a:lnTo>
                        <a:pt x="64" y="90"/>
                      </a:lnTo>
                      <a:lnTo>
                        <a:pt x="56" y="90"/>
                      </a:lnTo>
                      <a:lnTo>
                        <a:pt x="56" y="90"/>
                      </a:lnTo>
                      <a:lnTo>
                        <a:pt x="56" y="90"/>
                      </a:lnTo>
                      <a:lnTo>
                        <a:pt x="52" y="90"/>
                      </a:lnTo>
                      <a:lnTo>
                        <a:pt x="52" y="90"/>
                      </a:lnTo>
                      <a:lnTo>
                        <a:pt x="52" y="90"/>
                      </a:lnTo>
                      <a:lnTo>
                        <a:pt x="50" y="90"/>
                      </a:lnTo>
                      <a:lnTo>
                        <a:pt x="50" y="90"/>
                      </a:lnTo>
                      <a:lnTo>
                        <a:pt x="50" y="90"/>
                      </a:lnTo>
                      <a:lnTo>
                        <a:pt x="50" y="9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29" name="Freeform 175"/>
                <p:cNvSpPr>
                  <a:spLocks/>
                </p:cNvSpPr>
                <p:nvPr/>
              </p:nvSpPr>
              <p:spPr bwMode="auto">
                <a:xfrm>
                  <a:off x="4006850" y="3794193"/>
                  <a:ext cx="190500" cy="196850"/>
                </a:xfrm>
                <a:custGeom>
                  <a:avLst/>
                  <a:gdLst>
                    <a:gd name="T0" fmla="*/ 0 w 120"/>
                    <a:gd name="T1" fmla="*/ 120 h 124"/>
                    <a:gd name="T2" fmla="*/ 0 w 120"/>
                    <a:gd name="T3" fmla="*/ 112 h 124"/>
                    <a:gd name="T4" fmla="*/ 4 w 120"/>
                    <a:gd name="T5" fmla="*/ 108 h 124"/>
                    <a:gd name="T6" fmla="*/ 4 w 120"/>
                    <a:gd name="T7" fmla="*/ 104 h 124"/>
                    <a:gd name="T8" fmla="*/ 8 w 120"/>
                    <a:gd name="T9" fmla="*/ 96 h 124"/>
                    <a:gd name="T10" fmla="*/ 12 w 120"/>
                    <a:gd name="T11" fmla="*/ 96 h 124"/>
                    <a:gd name="T12" fmla="*/ 12 w 120"/>
                    <a:gd name="T13" fmla="*/ 94 h 124"/>
                    <a:gd name="T14" fmla="*/ 12 w 120"/>
                    <a:gd name="T15" fmla="*/ 90 h 124"/>
                    <a:gd name="T16" fmla="*/ 16 w 120"/>
                    <a:gd name="T17" fmla="*/ 86 h 124"/>
                    <a:gd name="T18" fmla="*/ 16 w 120"/>
                    <a:gd name="T19" fmla="*/ 82 h 124"/>
                    <a:gd name="T20" fmla="*/ 16 w 120"/>
                    <a:gd name="T21" fmla="*/ 78 h 124"/>
                    <a:gd name="T22" fmla="*/ 16 w 120"/>
                    <a:gd name="T23" fmla="*/ 78 h 124"/>
                    <a:gd name="T24" fmla="*/ 20 w 120"/>
                    <a:gd name="T25" fmla="*/ 74 h 124"/>
                    <a:gd name="T26" fmla="*/ 20 w 120"/>
                    <a:gd name="T27" fmla="*/ 70 h 124"/>
                    <a:gd name="T28" fmla="*/ 20 w 120"/>
                    <a:gd name="T29" fmla="*/ 70 h 124"/>
                    <a:gd name="T30" fmla="*/ 20 w 120"/>
                    <a:gd name="T31" fmla="*/ 70 h 124"/>
                    <a:gd name="T32" fmla="*/ 20 w 120"/>
                    <a:gd name="T33" fmla="*/ 66 h 124"/>
                    <a:gd name="T34" fmla="*/ 28 w 120"/>
                    <a:gd name="T35" fmla="*/ 64 h 124"/>
                    <a:gd name="T36" fmla="*/ 28 w 120"/>
                    <a:gd name="T37" fmla="*/ 60 h 124"/>
                    <a:gd name="T38" fmla="*/ 30 w 120"/>
                    <a:gd name="T39" fmla="*/ 56 h 124"/>
                    <a:gd name="T40" fmla="*/ 34 w 120"/>
                    <a:gd name="T41" fmla="*/ 52 h 124"/>
                    <a:gd name="T42" fmla="*/ 34 w 120"/>
                    <a:gd name="T43" fmla="*/ 48 h 124"/>
                    <a:gd name="T44" fmla="*/ 34 w 120"/>
                    <a:gd name="T45" fmla="*/ 40 h 124"/>
                    <a:gd name="T46" fmla="*/ 34 w 120"/>
                    <a:gd name="T47" fmla="*/ 34 h 124"/>
                    <a:gd name="T48" fmla="*/ 38 w 120"/>
                    <a:gd name="T49" fmla="*/ 34 h 124"/>
                    <a:gd name="T50" fmla="*/ 38 w 120"/>
                    <a:gd name="T51" fmla="*/ 30 h 124"/>
                    <a:gd name="T52" fmla="*/ 38 w 120"/>
                    <a:gd name="T53" fmla="*/ 30 h 124"/>
                    <a:gd name="T54" fmla="*/ 42 w 120"/>
                    <a:gd name="T55" fmla="*/ 26 h 124"/>
                    <a:gd name="T56" fmla="*/ 42 w 120"/>
                    <a:gd name="T57" fmla="*/ 26 h 124"/>
                    <a:gd name="T58" fmla="*/ 46 w 120"/>
                    <a:gd name="T59" fmla="*/ 22 h 124"/>
                    <a:gd name="T60" fmla="*/ 50 w 120"/>
                    <a:gd name="T61" fmla="*/ 18 h 124"/>
                    <a:gd name="T62" fmla="*/ 54 w 120"/>
                    <a:gd name="T63" fmla="*/ 14 h 124"/>
                    <a:gd name="T64" fmla="*/ 54 w 120"/>
                    <a:gd name="T65" fmla="*/ 10 h 124"/>
                    <a:gd name="T66" fmla="*/ 54 w 120"/>
                    <a:gd name="T67" fmla="*/ 6 h 124"/>
                    <a:gd name="T68" fmla="*/ 58 w 120"/>
                    <a:gd name="T69" fmla="*/ 4 h 124"/>
                    <a:gd name="T70" fmla="*/ 58 w 120"/>
                    <a:gd name="T71" fmla="*/ 0 h 124"/>
                    <a:gd name="T72" fmla="*/ 102 w 120"/>
                    <a:gd name="T73" fmla="*/ 0 h 124"/>
                    <a:gd name="T74" fmla="*/ 106 w 120"/>
                    <a:gd name="T75" fmla="*/ 0 h 124"/>
                    <a:gd name="T76" fmla="*/ 120 w 120"/>
                    <a:gd name="T77" fmla="*/ 0 h 124"/>
                    <a:gd name="T78" fmla="*/ 120 w 120"/>
                    <a:gd name="T79" fmla="*/ 14 h 124"/>
                    <a:gd name="T80" fmla="*/ 120 w 120"/>
                    <a:gd name="T81" fmla="*/ 30 h 124"/>
                    <a:gd name="T82" fmla="*/ 106 w 120"/>
                    <a:gd name="T83" fmla="*/ 30 h 124"/>
                    <a:gd name="T84" fmla="*/ 102 w 120"/>
                    <a:gd name="T85" fmla="*/ 30 h 124"/>
                    <a:gd name="T86" fmla="*/ 84 w 120"/>
                    <a:gd name="T87" fmla="*/ 30 h 124"/>
                    <a:gd name="T88" fmla="*/ 72 w 120"/>
                    <a:gd name="T89" fmla="*/ 36 h 124"/>
                    <a:gd name="T90" fmla="*/ 72 w 120"/>
                    <a:gd name="T91" fmla="*/ 44 h 124"/>
                    <a:gd name="T92" fmla="*/ 72 w 120"/>
                    <a:gd name="T93" fmla="*/ 60 h 124"/>
                    <a:gd name="T94" fmla="*/ 72 w 120"/>
                    <a:gd name="T95" fmla="*/ 78 h 124"/>
                    <a:gd name="T96" fmla="*/ 64 w 120"/>
                    <a:gd name="T97" fmla="*/ 78 h 124"/>
                    <a:gd name="T98" fmla="*/ 60 w 120"/>
                    <a:gd name="T99" fmla="*/ 86 h 124"/>
                    <a:gd name="T100" fmla="*/ 58 w 120"/>
                    <a:gd name="T101" fmla="*/ 90 h 124"/>
                    <a:gd name="T102" fmla="*/ 58 w 120"/>
                    <a:gd name="T103" fmla="*/ 96 h 124"/>
                    <a:gd name="T104" fmla="*/ 60 w 120"/>
                    <a:gd name="T105" fmla="*/ 104 h 124"/>
                    <a:gd name="T106" fmla="*/ 46 w 120"/>
                    <a:gd name="T107" fmla="*/ 116 h 124"/>
                    <a:gd name="T108" fmla="*/ 34 w 120"/>
                    <a:gd name="T109" fmla="*/ 116 h 124"/>
                    <a:gd name="T110" fmla="*/ 20 w 120"/>
                    <a:gd name="T111" fmla="*/ 116 h 124"/>
                    <a:gd name="T112" fmla="*/ 4 w 120"/>
                    <a:gd name="T113" fmla="*/ 116 h 124"/>
                    <a:gd name="T114" fmla="*/ 0 w 120"/>
                    <a:gd name="T115" fmla="*/ 120 h 124"/>
                    <a:gd name="T116" fmla="*/ 0 w 120"/>
                    <a:gd name="T117" fmla="*/ 124 h 1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20" h="124">
                      <a:moveTo>
                        <a:pt x="0" y="124"/>
                      </a:moveTo>
                      <a:lnTo>
                        <a:pt x="0" y="124"/>
                      </a:lnTo>
                      <a:lnTo>
                        <a:pt x="0" y="124"/>
                      </a:lnTo>
                      <a:lnTo>
                        <a:pt x="0" y="120"/>
                      </a:lnTo>
                      <a:lnTo>
                        <a:pt x="0" y="120"/>
                      </a:lnTo>
                      <a:lnTo>
                        <a:pt x="0" y="116"/>
                      </a:lnTo>
                      <a:lnTo>
                        <a:pt x="0" y="112"/>
                      </a:lnTo>
                      <a:lnTo>
                        <a:pt x="0" y="112"/>
                      </a:lnTo>
                      <a:lnTo>
                        <a:pt x="0" y="112"/>
                      </a:lnTo>
                      <a:lnTo>
                        <a:pt x="4" y="112"/>
                      </a:lnTo>
                      <a:lnTo>
                        <a:pt x="4" y="108"/>
                      </a:lnTo>
                      <a:lnTo>
                        <a:pt x="4" y="108"/>
                      </a:lnTo>
                      <a:lnTo>
                        <a:pt x="4" y="108"/>
                      </a:lnTo>
                      <a:lnTo>
                        <a:pt x="4" y="104"/>
                      </a:lnTo>
                      <a:lnTo>
                        <a:pt x="4" y="104"/>
                      </a:lnTo>
                      <a:lnTo>
                        <a:pt x="4" y="104"/>
                      </a:lnTo>
                      <a:lnTo>
                        <a:pt x="4" y="100"/>
                      </a:lnTo>
                      <a:lnTo>
                        <a:pt x="8" y="96"/>
                      </a:lnTo>
                      <a:lnTo>
                        <a:pt x="8" y="96"/>
                      </a:lnTo>
                      <a:lnTo>
                        <a:pt x="8" y="96"/>
                      </a:lnTo>
                      <a:lnTo>
                        <a:pt x="8" y="96"/>
                      </a:lnTo>
                      <a:lnTo>
                        <a:pt x="8" y="96"/>
                      </a:lnTo>
                      <a:lnTo>
                        <a:pt x="8" y="96"/>
                      </a:lnTo>
                      <a:lnTo>
                        <a:pt x="12" y="96"/>
                      </a:lnTo>
                      <a:lnTo>
                        <a:pt x="12" y="96"/>
                      </a:lnTo>
                      <a:lnTo>
                        <a:pt x="12" y="94"/>
                      </a:lnTo>
                      <a:lnTo>
                        <a:pt x="12" y="94"/>
                      </a:lnTo>
                      <a:lnTo>
                        <a:pt x="12" y="94"/>
                      </a:lnTo>
                      <a:lnTo>
                        <a:pt x="12" y="90"/>
                      </a:lnTo>
                      <a:lnTo>
                        <a:pt x="12" y="90"/>
                      </a:lnTo>
                      <a:lnTo>
                        <a:pt x="12" y="90"/>
                      </a:lnTo>
                      <a:lnTo>
                        <a:pt x="12" y="90"/>
                      </a:lnTo>
                      <a:lnTo>
                        <a:pt x="12" y="90"/>
                      </a:lnTo>
                      <a:lnTo>
                        <a:pt x="12" y="86"/>
                      </a:lnTo>
                      <a:lnTo>
                        <a:pt x="12" y="86"/>
                      </a:lnTo>
                      <a:lnTo>
                        <a:pt x="16" y="86"/>
                      </a:lnTo>
                      <a:lnTo>
                        <a:pt x="16" y="86"/>
                      </a:lnTo>
                      <a:lnTo>
                        <a:pt x="16" y="86"/>
                      </a:lnTo>
                      <a:lnTo>
                        <a:pt x="16" y="86"/>
                      </a:lnTo>
                      <a:lnTo>
                        <a:pt x="16" y="82"/>
                      </a:lnTo>
                      <a:lnTo>
                        <a:pt x="16" y="82"/>
                      </a:lnTo>
                      <a:lnTo>
                        <a:pt x="16" y="82"/>
                      </a:lnTo>
                      <a:lnTo>
                        <a:pt x="16" y="78"/>
                      </a:lnTo>
                      <a:lnTo>
                        <a:pt x="16" y="78"/>
                      </a:lnTo>
                      <a:lnTo>
                        <a:pt x="16" y="78"/>
                      </a:lnTo>
                      <a:lnTo>
                        <a:pt x="16" y="78"/>
                      </a:lnTo>
                      <a:lnTo>
                        <a:pt x="16" y="78"/>
                      </a:lnTo>
                      <a:lnTo>
                        <a:pt x="16" y="78"/>
                      </a:lnTo>
                      <a:lnTo>
                        <a:pt x="16" y="74"/>
                      </a:lnTo>
                      <a:lnTo>
                        <a:pt x="16" y="74"/>
                      </a:lnTo>
                      <a:lnTo>
                        <a:pt x="20" y="74"/>
                      </a:lnTo>
                      <a:lnTo>
                        <a:pt x="20" y="74"/>
                      </a:lnTo>
                      <a:lnTo>
                        <a:pt x="20" y="74"/>
                      </a:lnTo>
                      <a:lnTo>
                        <a:pt x="20" y="70"/>
                      </a:lnTo>
                      <a:lnTo>
                        <a:pt x="20" y="70"/>
                      </a:lnTo>
                      <a:lnTo>
                        <a:pt x="20" y="70"/>
                      </a:lnTo>
                      <a:lnTo>
                        <a:pt x="20" y="66"/>
                      </a:lnTo>
                      <a:lnTo>
                        <a:pt x="20" y="70"/>
                      </a:lnTo>
                      <a:lnTo>
                        <a:pt x="20" y="70"/>
                      </a:lnTo>
                      <a:lnTo>
                        <a:pt x="20" y="70"/>
                      </a:lnTo>
                      <a:lnTo>
                        <a:pt x="20" y="70"/>
                      </a:lnTo>
                      <a:lnTo>
                        <a:pt x="20" y="70"/>
                      </a:lnTo>
                      <a:lnTo>
                        <a:pt x="16" y="74"/>
                      </a:lnTo>
                      <a:lnTo>
                        <a:pt x="20" y="70"/>
                      </a:lnTo>
                      <a:lnTo>
                        <a:pt x="20" y="70"/>
                      </a:lnTo>
                      <a:lnTo>
                        <a:pt x="20" y="70"/>
                      </a:lnTo>
                      <a:lnTo>
                        <a:pt x="20" y="66"/>
                      </a:lnTo>
                      <a:lnTo>
                        <a:pt x="20" y="66"/>
                      </a:lnTo>
                      <a:lnTo>
                        <a:pt x="24" y="66"/>
                      </a:lnTo>
                      <a:lnTo>
                        <a:pt x="24" y="64"/>
                      </a:lnTo>
                      <a:lnTo>
                        <a:pt x="24" y="64"/>
                      </a:lnTo>
                      <a:lnTo>
                        <a:pt x="28" y="64"/>
                      </a:lnTo>
                      <a:lnTo>
                        <a:pt x="28" y="60"/>
                      </a:lnTo>
                      <a:lnTo>
                        <a:pt x="28" y="60"/>
                      </a:lnTo>
                      <a:lnTo>
                        <a:pt x="28" y="60"/>
                      </a:lnTo>
                      <a:lnTo>
                        <a:pt x="28" y="60"/>
                      </a:lnTo>
                      <a:lnTo>
                        <a:pt x="28" y="60"/>
                      </a:lnTo>
                      <a:lnTo>
                        <a:pt x="28" y="60"/>
                      </a:lnTo>
                      <a:lnTo>
                        <a:pt x="30" y="56"/>
                      </a:lnTo>
                      <a:lnTo>
                        <a:pt x="30" y="56"/>
                      </a:lnTo>
                      <a:lnTo>
                        <a:pt x="30" y="56"/>
                      </a:lnTo>
                      <a:lnTo>
                        <a:pt x="30" y="56"/>
                      </a:lnTo>
                      <a:lnTo>
                        <a:pt x="30" y="56"/>
                      </a:lnTo>
                      <a:lnTo>
                        <a:pt x="34" y="52"/>
                      </a:lnTo>
                      <a:lnTo>
                        <a:pt x="34" y="48"/>
                      </a:lnTo>
                      <a:lnTo>
                        <a:pt x="34" y="48"/>
                      </a:lnTo>
                      <a:lnTo>
                        <a:pt x="34" y="48"/>
                      </a:lnTo>
                      <a:lnTo>
                        <a:pt x="34" y="48"/>
                      </a:lnTo>
                      <a:lnTo>
                        <a:pt x="34" y="44"/>
                      </a:lnTo>
                      <a:lnTo>
                        <a:pt x="34" y="44"/>
                      </a:lnTo>
                      <a:lnTo>
                        <a:pt x="34" y="40"/>
                      </a:lnTo>
                      <a:lnTo>
                        <a:pt x="34" y="40"/>
                      </a:lnTo>
                      <a:lnTo>
                        <a:pt x="34" y="40"/>
                      </a:lnTo>
                      <a:lnTo>
                        <a:pt x="34" y="36"/>
                      </a:lnTo>
                      <a:lnTo>
                        <a:pt x="34" y="36"/>
                      </a:lnTo>
                      <a:lnTo>
                        <a:pt x="34" y="34"/>
                      </a:lnTo>
                      <a:lnTo>
                        <a:pt x="38" y="34"/>
                      </a:lnTo>
                      <a:lnTo>
                        <a:pt x="38" y="34"/>
                      </a:lnTo>
                      <a:lnTo>
                        <a:pt x="38" y="34"/>
                      </a:lnTo>
                      <a:lnTo>
                        <a:pt x="38" y="34"/>
                      </a:lnTo>
                      <a:lnTo>
                        <a:pt x="38" y="34"/>
                      </a:lnTo>
                      <a:lnTo>
                        <a:pt x="38" y="30"/>
                      </a:lnTo>
                      <a:lnTo>
                        <a:pt x="38" y="30"/>
                      </a:lnTo>
                      <a:lnTo>
                        <a:pt x="38" y="30"/>
                      </a:lnTo>
                      <a:lnTo>
                        <a:pt x="38" y="30"/>
                      </a:lnTo>
                      <a:lnTo>
                        <a:pt x="38" y="30"/>
                      </a:lnTo>
                      <a:lnTo>
                        <a:pt x="38" y="30"/>
                      </a:lnTo>
                      <a:lnTo>
                        <a:pt x="38" y="30"/>
                      </a:lnTo>
                      <a:lnTo>
                        <a:pt x="38" y="26"/>
                      </a:lnTo>
                      <a:lnTo>
                        <a:pt x="38" y="26"/>
                      </a:lnTo>
                      <a:lnTo>
                        <a:pt x="38" y="26"/>
                      </a:lnTo>
                      <a:lnTo>
                        <a:pt x="42" y="26"/>
                      </a:lnTo>
                      <a:lnTo>
                        <a:pt x="42" y="26"/>
                      </a:lnTo>
                      <a:lnTo>
                        <a:pt x="42" y="26"/>
                      </a:lnTo>
                      <a:lnTo>
                        <a:pt x="42" y="26"/>
                      </a:lnTo>
                      <a:lnTo>
                        <a:pt x="42" y="26"/>
                      </a:lnTo>
                      <a:lnTo>
                        <a:pt x="42" y="22"/>
                      </a:lnTo>
                      <a:lnTo>
                        <a:pt x="42" y="22"/>
                      </a:lnTo>
                      <a:lnTo>
                        <a:pt x="46" y="22"/>
                      </a:lnTo>
                      <a:lnTo>
                        <a:pt x="46" y="22"/>
                      </a:lnTo>
                      <a:lnTo>
                        <a:pt x="46" y="22"/>
                      </a:lnTo>
                      <a:lnTo>
                        <a:pt x="50" y="18"/>
                      </a:lnTo>
                      <a:lnTo>
                        <a:pt x="50" y="18"/>
                      </a:lnTo>
                      <a:lnTo>
                        <a:pt x="50" y="18"/>
                      </a:lnTo>
                      <a:lnTo>
                        <a:pt x="50" y="18"/>
                      </a:lnTo>
                      <a:lnTo>
                        <a:pt x="54" y="18"/>
                      </a:lnTo>
                      <a:lnTo>
                        <a:pt x="54" y="14"/>
                      </a:lnTo>
                      <a:lnTo>
                        <a:pt x="54" y="14"/>
                      </a:lnTo>
                      <a:lnTo>
                        <a:pt x="54" y="14"/>
                      </a:lnTo>
                      <a:lnTo>
                        <a:pt x="54" y="10"/>
                      </a:lnTo>
                      <a:lnTo>
                        <a:pt x="54" y="10"/>
                      </a:lnTo>
                      <a:lnTo>
                        <a:pt x="54" y="10"/>
                      </a:lnTo>
                      <a:lnTo>
                        <a:pt x="54" y="10"/>
                      </a:lnTo>
                      <a:lnTo>
                        <a:pt x="54" y="10"/>
                      </a:lnTo>
                      <a:lnTo>
                        <a:pt x="54" y="10"/>
                      </a:lnTo>
                      <a:lnTo>
                        <a:pt x="54" y="6"/>
                      </a:lnTo>
                      <a:lnTo>
                        <a:pt x="54" y="6"/>
                      </a:lnTo>
                      <a:lnTo>
                        <a:pt x="54" y="6"/>
                      </a:lnTo>
                      <a:lnTo>
                        <a:pt x="58" y="6"/>
                      </a:lnTo>
                      <a:lnTo>
                        <a:pt x="58" y="4"/>
                      </a:lnTo>
                      <a:lnTo>
                        <a:pt x="58" y="4"/>
                      </a:lnTo>
                      <a:lnTo>
                        <a:pt x="58" y="0"/>
                      </a:lnTo>
                      <a:lnTo>
                        <a:pt x="58" y="0"/>
                      </a:lnTo>
                      <a:lnTo>
                        <a:pt x="58" y="0"/>
                      </a:lnTo>
                      <a:lnTo>
                        <a:pt x="60" y="0"/>
                      </a:lnTo>
                      <a:lnTo>
                        <a:pt x="98" y="0"/>
                      </a:lnTo>
                      <a:lnTo>
                        <a:pt x="102" y="0"/>
                      </a:lnTo>
                      <a:lnTo>
                        <a:pt x="102" y="0"/>
                      </a:lnTo>
                      <a:lnTo>
                        <a:pt x="102" y="0"/>
                      </a:lnTo>
                      <a:lnTo>
                        <a:pt x="102" y="0"/>
                      </a:lnTo>
                      <a:lnTo>
                        <a:pt x="102" y="0"/>
                      </a:lnTo>
                      <a:lnTo>
                        <a:pt x="106" y="0"/>
                      </a:lnTo>
                      <a:lnTo>
                        <a:pt x="106" y="0"/>
                      </a:lnTo>
                      <a:lnTo>
                        <a:pt x="114" y="0"/>
                      </a:lnTo>
                      <a:lnTo>
                        <a:pt x="114" y="0"/>
                      </a:lnTo>
                      <a:lnTo>
                        <a:pt x="120" y="0"/>
                      </a:lnTo>
                      <a:lnTo>
                        <a:pt x="120" y="4"/>
                      </a:lnTo>
                      <a:lnTo>
                        <a:pt x="120" y="4"/>
                      </a:lnTo>
                      <a:lnTo>
                        <a:pt x="120" y="6"/>
                      </a:lnTo>
                      <a:lnTo>
                        <a:pt x="120" y="14"/>
                      </a:lnTo>
                      <a:lnTo>
                        <a:pt x="120" y="14"/>
                      </a:lnTo>
                      <a:lnTo>
                        <a:pt x="120" y="22"/>
                      </a:lnTo>
                      <a:lnTo>
                        <a:pt x="120" y="30"/>
                      </a:lnTo>
                      <a:lnTo>
                        <a:pt x="120" y="30"/>
                      </a:lnTo>
                      <a:lnTo>
                        <a:pt x="120" y="30"/>
                      </a:lnTo>
                      <a:lnTo>
                        <a:pt x="110" y="30"/>
                      </a:lnTo>
                      <a:lnTo>
                        <a:pt x="110" y="30"/>
                      </a:lnTo>
                      <a:lnTo>
                        <a:pt x="106" y="30"/>
                      </a:lnTo>
                      <a:lnTo>
                        <a:pt x="106" y="30"/>
                      </a:lnTo>
                      <a:lnTo>
                        <a:pt x="102" y="30"/>
                      </a:lnTo>
                      <a:lnTo>
                        <a:pt x="102" y="30"/>
                      </a:lnTo>
                      <a:lnTo>
                        <a:pt x="102" y="30"/>
                      </a:lnTo>
                      <a:lnTo>
                        <a:pt x="102" y="30"/>
                      </a:lnTo>
                      <a:lnTo>
                        <a:pt x="94" y="30"/>
                      </a:lnTo>
                      <a:lnTo>
                        <a:pt x="90" y="30"/>
                      </a:lnTo>
                      <a:lnTo>
                        <a:pt x="84" y="30"/>
                      </a:lnTo>
                      <a:lnTo>
                        <a:pt x="80" y="30"/>
                      </a:lnTo>
                      <a:lnTo>
                        <a:pt x="72" y="30"/>
                      </a:lnTo>
                      <a:lnTo>
                        <a:pt x="72" y="36"/>
                      </a:lnTo>
                      <a:lnTo>
                        <a:pt x="72" y="36"/>
                      </a:lnTo>
                      <a:lnTo>
                        <a:pt x="72" y="36"/>
                      </a:lnTo>
                      <a:lnTo>
                        <a:pt x="72" y="44"/>
                      </a:lnTo>
                      <a:lnTo>
                        <a:pt x="72" y="44"/>
                      </a:lnTo>
                      <a:lnTo>
                        <a:pt x="72" y="44"/>
                      </a:lnTo>
                      <a:lnTo>
                        <a:pt x="72" y="52"/>
                      </a:lnTo>
                      <a:lnTo>
                        <a:pt x="72" y="52"/>
                      </a:lnTo>
                      <a:lnTo>
                        <a:pt x="72" y="52"/>
                      </a:lnTo>
                      <a:lnTo>
                        <a:pt x="72" y="60"/>
                      </a:lnTo>
                      <a:lnTo>
                        <a:pt x="72" y="60"/>
                      </a:lnTo>
                      <a:lnTo>
                        <a:pt x="72" y="66"/>
                      </a:lnTo>
                      <a:lnTo>
                        <a:pt x="72" y="70"/>
                      </a:lnTo>
                      <a:lnTo>
                        <a:pt x="72" y="78"/>
                      </a:lnTo>
                      <a:lnTo>
                        <a:pt x="72" y="78"/>
                      </a:lnTo>
                      <a:lnTo>
                        <a:pt x="72" y="78"/>
                      </a:lnTo>
                      <a:lnTo>
                        <a:pt x="68" y="78"/>
                      </a:lnTo>
                      <a:lnTo>
                        <a:pt x="64" y="78"/>
                      </a:lnTo>
                      <a:lnTo>
                        <a:pt x="64" y="78"/>
                      </a:lnTo>
                      <a:lnTo>
                        <a:pt x="64" y="82"/>
                      </a:lnTo>
                      <a:lnTo>
                        <a:pt x="64" y="82"/>
                      </a:lnTo>
                      <a:lnTo>
                        <a:pt x="60" y="86"/>
                      </a:lnTo>
                      <a:lnTo>
                        <a:pt x="58" y="86"/>
                      </a:lnTo>
                      <a:lnTo>
                        <a:pt x="58" y="86"/>
                      </a:lnTo>
                      <a:lnTo>
                        <a:pt x="58" y="90"/>
                      </a:lnTo>
                      <a:lnTo>
                        <a:pt x="58" y="90"/>
                      </a:lnTo>
                      <a:lnTo>
                        <a:pt x="58" y="94"/>
                      </a:lnTo>
                      <a:lnTo>
                        <a:pt x="58" y="94"/>
                      </a:lnTo>
                      <a:lnTo>
                        <a:pt x="58" y="94"/>
                      </a:lnTo>
                      <a:lnTo>
                        <a:pt x="58" y="96"/>
                      </a:lnTo>
                      <a:lnTo>
                        <a:pt x="58" y="96"/>
                      </a:lnTo>
                      <a:lnTo>
                        <a:pt x="58" y="100"/>
                      </a:lnTo>
                      <a:lnTo>
                        <a:pt x="58" y="100"/>
                      </a:lnTo>
                      <a:lnTo>
                        <a:pt x="60" y="104"/>
                      </a:lnTo>
                      <a:lnTo>
                        <a:pt x="60" y="112"/>
                      </a:lnTo>
                      <a:lnTo>
                        <a:pt x="60" y="116"/>
                      </a:lnTo>
                      <a:lnTo>
                        <a:pt x="54" y="116"/>
                      </a:lnTo>
                      <a:lnTo>
                        <a:pt x="46" y="116"/>
                      </a:lnTo>
                      <a:lnTo>
                        <a:pt x="42" y="116"/>
                      </a:lnTo>
                      <a:lnTo>
                        <a:pt x="42" y="116"/>
                      </a:lnTo>
                      <a:lnTo>
                        <a:pt x="38" y="116"/>
                      </a:lnTo>
                      <a:lnTo>
                        <a:pt x="34" y="116"/>
                      </a:lnTo>
                      <a:lnTo>
                        <a:pt x="30" y="116"/>
                      </a:lnTo>
                      <a:lnTo>
                        <a:pt x="28" y="116"/>
                      </a:lnTo>
                      <a:lnTo>
                        <a:pt x="20" y="116"/>
                      </a:lnTo>
                      <a:lnTo>
                        <a:pt x="20" y="116"/>
                      </a:lnTo>
                      <a:lnTo>
                        <a:pt x="16" y="116"/>
                      </a:lnTo>
                      <a:lnTo>
                        <a:pt x="16" y="116"/>
                      </a:lnTo>
                      <a:lnTo>
                        <a:pt x="8" y="116"/>
                      </a:lnTo>
                      <a:lnTo>
                        <a:pt x="4" y="116"/>
                      </a:lnTo>
                      <a:lnTo>
                        <a:pt x="4" y="116"/>
                      </a:lnTo>
                      <a:lnTo>
                        <a:pt x="4" y="120"/>
                      </a:lnTo>
                      <a:lnTo>
                        <a:pt x="0" y="120"/>
                      </a:lnTo>
                      <a:lnTo>
                        <a:pt x="0" y="120"/>
                      </a:lnTo>
                      <a:lnTo>
                        <a:pt x="0" y="124"/>
                      </a:lnTo>
                      <a:lnTo>
                        <a:pt x="0" y="124"/>
                      </a:lnTo>
                      <a:lnTo>
                        <a:pt x="0" y="124"/>
                      </a:lnTo>
                      <a:lnTo>
                        <a:pt x="0" y="124"/>
                      </a:lnTo>
                      <a:lnTo>
                        <a:pt x="0" y="12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30" name="Freeform 176"/>
                <p:cNvSpPr>
                  <a:spLocks/>
                </p:cNvSpPr>
                <p:nvPr/>
              </p:nvSpPr>
              <p:spPr bwMode="auto">
                <a:xfrm>
                  <a:off x="4883150" y="4781618"/>
                  <a:ext cx="266700" cy="273050"/>
                </a:xfrm>
                <a:custGeom>
                  <a:avLst/>
                  <a:gdLst>
                    <a:gd name="T0" fmla="*/ 120 w 168"/>
                    <a:gd name="T1" fmla="*/ 130 h 172"/>
                    <a:gd name="T2" fmla="*/ 108 w 168"/>
                    <a:gd name="T3" fmla="*/ 130 h 172"/>
                    <a:gd name="T4" fmla="*/ 98 w 168"/>
                    <a:gd name="T5" fmla="*/ 138 h 172"/>
                    <a:gd name="T6" fmla="*/ 90 w 168"/>
                    <a:gd name="T7" fmla="*/ 148 h 172"/>
                    <a:gd name="T8" fmla="*/ 84 w 168"/>
                    <a:gd name="T9" fmla="*/ 160 h 172"/>
                    <a:gd name="T10" fmla="*/ 72 w 168"/>
                    <a:gd name="T11" fmla="*/ 168 h 172"/>
                    <a:gd name="T12" fmla="*/ 60 w 168"/>
                    <a:gd name="T13" fmla="*/ 168 h 172"/>
                    <a:gd name="T14" fmla="*/ 54 w 168"/>
                    <a:gd name="T15" fmla="*/ 168 h 172"/>
                    <a:gd name="T16" fmla="*/ 42 w 168"/>
                    <a:gd name="T17" fmla="*/ 160 h 172"/>
                    <a:gd name="T18" fmla="*/ 28 w 168"/>
                    <a:gd name="T19" fmla="*/ 164 h 172"/>
                    <a:gd name="T20" fmla="*/ 8 w 168"/>
                    <a:gd name="T21" fmla="*/ 148 h 172"/>
                    <a:gd name="T22" fmla="*/ 4 w 168"/>
                    <a:gd name="T23" fmla="*/ 138 h 172"/>
                    <a:gd name="T24" fmla="*/ 0 w 168"/>
                    <a:gd name="T25" fmla="*/ 116 h 172"/>
                    <a:gd name="T26" fmla="*/ 0 w 168"/>
                    <a:gd name="T27" fmla="*/ 96 h 172"/>
                    <a:gd name="T28" fmla="*/ 16 w 168"/>
                    <a:gd name="T29" fmla="*/ 82 h 172"/>
                    <a:gd name="T30" fmla="*/ 30 w 168"/>
                    <a:gd name="T31" fmla="*/ 82 h 172"/>
                    <a:gd name="T32" fmla="*/ 30 w 168"/>
                    <a:gd name="T33" fmla="*/ 62 h 172"/>
                    <a:gd name="T34" fmla="*/ 30 w 168"/>
                    <a:gd name="T35" fmla="*/ 48 h 172"/>
                    <a:gd name="T36" fmla="*/ 38 w 168"/>
                    <a:gd name="T37" fmla="*/ 48 h 172"/>
                    <a:gd name="T38" fmla="*/ 42 w 168"/>
                    <a:gd name="T39" fmla="*/ 56 h 172"/>
                    <a:gd name="T40" fmla="*/ 50 w 168"/>
                    <a:gd name="T41" fmla="*/ 60 h 172"/>
                    <a:gd name="T42" fmla="*/ 64 w 168"/>
                    <a:gd name="T43" fmla="*/ 62 h 172"/>
                    <a:gd name="T44" fmla="*/ 76 w 168"/>
                    <a:gd name="T45" fmla="*/ 60 h 172"/>
                    <a:gd name="T46" fmla="*/ 84 w 168"/>
                    <a:gd name="T47" fmla="*/ 70 h 172"/>
                    <a:gd name="T48" fmla="*/ 94 w 168"/>
                    <a:gd name="T49" fmla="*/ 78 h 172"/>
                    <a:gd name="T50" fmla="*/ 102 w 168"/>
                    <a:gd name="T51" fmla="*/ 90 h 172"/>
                    <a:gd name="T52" fmla="*/ 112 w 168"/>
                    <a:gd name="T53" fmla="*/ 90 h 172"/>
                    <a:gd name="T54" fmla="*/ 112 w 168"/>
                    <a:gd name="T55" fmla="*/ 78 h 172"/>
                    <a:gd name="T56" fmla="*/ 108 w 168"/>
                    <a:gd name="T57" fmla="*/ 70 h 172"/>
                    <a:gd name="T58" fmla="*/ 98 w 168"/>
                    <a:gd name="T59" fmla="*/ 66 h 172"/>
                    <a:gd name="T60" fmla="*/ 94 w 168"/>
                    <a:gd name="T61" fmla="*/ 56 h 172"/>
                    <a:gd name="T62" fmla="*/ 98 w 168"/>
                    <a:gd name="T63" fmla="*/ 44 h 172"/>
                    <a:gd name="T64" fmla="*/ 98 w 168"/>
                    <a:gd name="T65" fmla="*/ 30 h 172"/>
                    <a:gd name="T66" fmla="*/ 98 w 168"/>
                    <a:gd name="T67" fmla="*/ 14 h 172"/>
                    <a:gd name="T68" fmla="*/ 102 w 168"/>
                    <a:gd name="T69" fmla="*/ 4 h 172"/>
                    <a:gd name="T70" fmla="*/ 120 w 168"/>
                    <a:gd name="T71" fmla="*/ 0 h 172"/>
                    <a:gd name="T72" fmla="*/ 128 w 168"/>
                    <a:gd name="T73" fmla="*/ 6 h 172"/>
                    <a:gd name="T74" fmla="*/ 142 w 168"/>
                    <a:gd name="T75" fmla="*/ 10 h 172"/>
                    <a:gd name="T76" fmla="*/ 150 w 168"/>
                    <a:gd name="T77" fmla="*/ 18 h 172"/>
                    <a:gd name="T78" fmla="*/ 162 w 168"/>
                    <a:gd name="T79" fmla="*/ 26 h 172"/>
                    <a:gd name="T80" fmla="*/ 162 w 168"/>
                    <a:gd name="T81" fmla="*/ 32 h 172"/>
                    <a:gd name="T82" fmla="*/ 166 w 168"/>
                    <a:gd name="T83" fmla="*/ 44 h 172"/>
                    <a:gd name="T84" fmla="*/ 166 w 168"/>
                    <a:gd name="T85" fmla="*/ 52 h 172"/>
                    <a:gd name="T86" fmla="*/ 162 w 168"/>
                    <a:gd name="T87" fmla="*/ 66 h 172"/>
                    <a:gd name="T88" fmla="*/ 158 w 168"/>
                    <a:gd name="T89" fmla="*/ 74 h 172"/>
                    <a:gd name="T90" fmla="*/ 158 w 168"/>
                    <a:gd name="T91" fmla="*/ 90 h 172"/>
                    <a:gd name="T92" fmla="*/ 158 w 168"/>
                    <a:gd name="T93" fmla="*/ 100 h 172"/>
                    <a:gd name="T94" fmla="*/ 146 w 168"/>
                    <a:gd name="T95" fmla="*/ 108 h 172"/>
                    <a:gd name="T96" fmla="*/ 136 w 168"/>
                    <a:gd name="T97" fmla="*/ 112 h 172"/>
                    <a:gd name="T98" fmla="*/ 124 w 168"/>
                    <a:gd name="T99" fmla="*/ 116 h 172"/>
                    <a:gd name="T100" fmla="*/ 120 w 168"/>
                    <a:gd name="T101" fmla="*/ 118 h 1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68" h="172">
                      <a:moveTo>
                        <a:pt x="120" y="118"/>
                      </a:moveTo>
                      <a:lnTo>
                        <a:pt x="120" y="122"/>
                      </a:lnTo>
                      <a:lnTo>
                        <a:pt x="120" y="126"/>
                      </a:lnTo>
                      <a:lnTo>
                        <a:pt x="120" y="130"/>
                      </a:lnTo>
                      <a:lnTo>
                        <a:pt x="116" y="130"/>
                      </a:lnTo>
                      <a:lnTo>
                        <a:pt x="112" y="126"/>
                      </a:lnTo>
                      <a:lnTo>
                        <a:pt x="112" y="130"/>
                      </a:lnTo>
                      <a:lnTo>
                        <a:pt x="108" y="130"/>
                      </a:lnTo>
                      <a:lnTo>
                        <a:pt x="104" y="130"/>
                      </a:lnTo>
                      <a:lnTo>
                        <a:pt x="102" y="134"/>
                      </a:lnTo>
                      <a:lnTo>
                        <a:pt x="102" y="138"/>
                      </a:lnTo>
                      <a:lnTo>
                        <a:pt x="98" y="138"/>
                      </a:lnTo>
                      <a:lnTo>
                        <a:pt x="98" y="142"/>
                      </a:lnTo>
                      <a:lnTo>
                        <a:pt x="98" y="146"/>
                      </a:lnTo>
                      <a:lnTo>
                        <a:pt x="94" y="146"/>
                      </a:lnTo>
                      <a:lnTo>
                        <a:pt x="90" y="148"/>
                      </a:lnTo>
                      <a:lnTo>
                        <a:pt x="88" y="148"/>
                      </a:lnTo>
                      <a:lnTo>
                        <a:pt x="88" y="152"/>
                      </a:lnTo>
                      <a:lnTo>
                        <a:pt x="84" y="156"/>
                      </a:lnTo>
                      <a:lnTo>
                        <a:pt x="84" y="160"/>
                      </a:lnTo>
                      <a:lnTo>
                        <a:pt x="80" y="160"/>
                      </a:lnTo>
                      <a:lnTo>
                        <a:pt x="80" y="164"/>
                      </a:lnTo>
                      <a:lnTo>
                        <a:pt x="76" y="168"/>
                      </a:lnTo>
                      <a:lnTo>
                        <a:pt x="72" y="168"/>
                      </a:lnTo>
                      <a:lnTo>
                        <a:pt x="72" y="172"/>
                      </a:lnTo>
                      <a:lnTo>
                        <a:pt x="68" y="172"/>
                      </a:lnTo>
                      <a:lnTo>
                        <a:pt x="64" y="168"/>
                      </a:lnTo>
                      <a:lnTo>
                        <a:pt x="60" y="168"/>
                      </a:lnTo>
                      <a:lnTo>
                        <a:pt x="60" y="172"/>
                      </a:lnTo>
                      <a:lnTo>
                        <a:pt x="58" y="172"/>
                      </a:lnTo>
                      <a:lnTo>
                        <a:pt x="58" y="168"/>
                      </a:lnTo>
                      <a:lnTo>
                        <a:pt x="54" y="168"/>
                      </a:lnTo>
                      <a:lnTo>
                        <a:pt x="50" y="168"/>
                      </a:lnTo>
                      <a:lnTo>
                        <a:pt x="46" y="164"/>
                      </a:lnTo>
                      <a:lnTo>
                        <a:pt x="46" y="160"/>
                      </a:lnTo>
                      <a:lnTo>
                        <a:pt x="42" y="160"/>
                      </a:lnTo>
                      <a:lnTo>
                        <a:pt x="38" y="160"/>
                      </a:lnTo>
                      <a:lnTo>
                        <a:pt x="34" y="160"/>
                      </a:lnTo>
                      <a:lnTo>
                        <a:pt x="30" y="160"/>
                      </a:lnTo>
                      <a:lnTo>
                        <a:pt x="28" y="164"/>
                      </a:lnTo>
                      <a:lnTo>
                        <a:pt x="24" y="164"/>
                      </a:lnTo>
                      <a:lnTo>
                        <a:pt x="20" y="160"/>
                      </a:lnTo>
                      <a:lnTo>
                        <a:pt x="12" y="152"/>
                      </a:lnTo>
                      <a:lnTo>
                        <a:pt x="8" y="148"/>
                      </a:lnTo>
                      <a:lnTo>
                        <a:pt x="8" y="146"/>
                      </a:lnTo>
                      <a:lnTo>
                        <a:pt x="4" y="146"/>
                      </a:lnTo>
                      <a:lnTo>
                        <a:pt x="4" y="142"/>
                      </a:lnTo>
                      <a:lnTo>
                        <a:pt x="4" y="138"/>
                      </a:lnTo>
                      <a:lnTo>
                        <a:pt x="0" y="138"/>
                      </a:lnTo>
                      <a:lnTo>
                        <a:pt x="0" y="134"/>
                      </a:lnTo>
                      <a:lnTo>
                        <a:pt x="0" y="126"/>
                      </a:lnTo>
                      <a:lnTo>
                        <a:pt x="0" y="116"/>
                      </a:lnTo>
                      <a:lnTo>
                        <a:pt x="0" y="112"/>
                      </a:lnTo>
                      <a:lnTo>
                        <a:pt x="0" y="108"/>
                      </a:lnTo>
                      <a:lnTo>
                        <a:pt x="0" y="100"/>
                      </a:lnTo>
                      <a:lnTo>
                        <a:pt x="0" y="96"/>
                      </a:lnTo>
                      <a:lnTo>
                        <a:pt x="0" y="90"/>
                      </a:lnTo>
                      <a:lnTo>
                        <a:pt x="0" y="82"/>
                      </a:lnTo>
                      <a:lnTo>
                        <a:pt x="8" y="82"/>
                      </a:lnTo>
                      <a:lnTo>
                        <a:pt x="16" y="82"/>
                      </a:lnTo>
                      <a:lnTo>
                        <a:pt x="20" y="82"/>
                      </a:lnTo>
                      <a:lnTo>
                        <a:pt x="24" y="82"/>
                      </a:lnTo>
                      <a:lnTo>
                        <a:pt x="28" y="82"/>
                      </a:lnTo>
                      <a:lnTo>
                        <a:pt x="30" y="82"/>
                      </a:lnTo>
                      <a:lnTo>
                        <a:pt x="30" y="78"/>
                      </a:lnTo>
                      <a:lnTo>
                        <a:pt x="30" y="74"/>
                      </a:lnTo>
                      <a:lnTo>
                        <a:pt x="30" y="70"/>
                      </a:lnTo>
                      <a:lnTo>
                        <a:pt x="30" y="62"/>
                      </a:lnTo>
                      <a:lnTo>
                        <a:pt x="30" y="60"/>
                      </a:lnTo>
                      <a:lnTo>
                        <a:pt x="30" y="56"/>
                      </a:lnTo>
                      <a:lnTo>
                        <a:pt x="30" y="52"/>
                      </a:lnTo>
                      <a:lnTo>
                        <a:pt x="30" y="48"/>
                      </a:lnTo>
                      <a:lnTo>
                        <a:pt x="30" y="44"/>
                      </a:lnTo>
                      <a:lnTo>
                        <a:pt x="30" y="48"/>
                      </a:lnTo>
                      <a:lnTo>
                        <a:pt x="34" y="48"/>
                      </a:lnTo>
                      <a:lnTo>
                        <a:pt x="38" y="48"/>
                      </a:lnTo>
                      <a:lnTo>
                        <a:pt x="38" y="52"/>
                      </a:lnTo>
                      <a:lnTo>
                        <a:pt x="34" y="56"/>
                      </a:lnTo>
                      <a:lnTo>
                        <a:pt x="38" y="56"/>
                      </a:lnTo>
                      <a:lnTo>
                        <a:pt x="42" y="56"/>
                      </a:lnTo>
                      <a:lnTo>
                        <a:pt x="46" y="52"/>
                      </a:lnTo>
                      <a:lnTo>
                        <a:pt x="50" y="52"/>
                      </a:lnTo>
                      <a:lnTo>
                        <a:pt x="50" y="56"/>
                      </a:lnTo>
                      <a:lnTo>
                        <a:pt x="50" y="60"/>
                      </a:lnTo>
                      <a:lnTo>
                        <a:pt x="54" y="60"/>
                      </a:lnTo>
                      <a:lnTo>
                        <a:pt x="58" y="62"/>
                      </a:lnTo>
                      <a:lnTo>
                        <a:pt x="60" y="62"/>
                      </a:lnTo>
                      <a:lnTo>
                        <a:pt x="64" y="62"/>
                      </a:lnTo>
                      <a:lnTo>
                        <a:pt x="68" y="66"/>
                      </a:lnTo>
                      <a:lnTo>
                        <a:pt x="72" y="66"/>
                      </a:lnTo>
                      <a:lnTo>
                        <a:pt x="72" y="62"/>
                      </a:lnTo>
                      <a:lnTo>
                        <a:pt x="76" y="60"/>
                      </a:lnTo>
                      <a:lnTo>
                        <a:pt x="76" y="62"/>
                      </a:lnTo>
                      <a:lnTo>
                        <a:pt x="80" y="62"/>
                      </a:lnTo>
                      <a:lnTo>
                        <a:pt x="80" y="66"/>
                      </a:lnTo>
                      <a:lnTo>
                        <a:pt x="84" y="70"/>
                      </a:lnTo>
                      <a:lnTo>
                        <a:pt x="88" y="70"/>
                      </a:lnTo>
                      <a:lnTo>
                        <a:pt x="90" y="74"/>
                      </a:lnTo>
                      <a:lnTo>
                        <a:pt x="94" y="74"/>
                      </a:lnTo>
                      <a:lnTo>
                        <a:pt x="94" y="78"/>
                      </a:lnTo>
                      <a:lnTo>
                        <a:pt x="94" y="82"/>
                      </a:lnTo>
                      <a:lnTo>
                        <a:pt x="98" y="82"/>
                      </a:lnTo>
                      <a:lnTo>
                        <a:pt x="102" y="86"/>
                      </a:lnTo>
                      <a:lnTo>
                        <a:pt x="102" y="90"/>
                      </a:lnTo>
                      <a:lnTo>
                        <a:pt x="104" y="90"/>
                      </a:lnTo>
                      <a:lnTo>
                        <a:pt x="108" y="90"/>
                      </a:lnTo>
                      <a:lnTo>
                        <a:pt x="108" y="86"/>
                      </a:lnTo>
                      <a:lnTo>
                        <a:pt x="112" y="90"/>
                      </a:lnTo>
                      <a:lnTo>
                        <a:pt x="108" y="90"/>
                      </a:lnTo>
                      <a:lnTo>
                        <a:pt x="112" y="90"/>
                      </a:lnTo>
                      <a:lnTo>
                        <a:pt x="112" y="86"/>
                      </a:lnTo>
                      <a:lnTo>
                        <a:pt x="112" y="78"/>
                      </a:lnTo>
                      <a:lnTo>
                        <a:pt x="112" y="74"/>
                      </a:lnTo>
                      <a:lnTo>
                        <a:pt x="112" y="70"/>
                      </a:lnTo>
                      <a:lnTo>
                        <a:pt x="112" y="66"/>
                      </a:lnTo>
                      <a:lnTo>
                        <a:pt x="108" y="70"/>
                      </a:lnTo>
                      <a:lnTo>
                        <a:pt x="108" y="74"/>
                      </a:lnTo>
                      <a:lnTo>
                        <a:pt x="104" y="70"/>
                      </a:lnTo>
                      <a:lnTo>
                        <a:pt x="102" y="70"/>
                      </a:lnTo>
                      <a:lnTo>
                        <a:pt x="98" y="66"/>
                      </a:lnTo>
                      <a:lnTo>
                        <a:pt x="98" y="62"/>
                      </a:lnTo>
                      <a:lnTo>
                        <a:pt x="94" y="62"/>
                      </a:lnTo>
                      <a:lnTo>
                        <a:pt x="94" y="60"/>
                      </a:lnTo>
                      <a:lnTo>
                        <a:pt x="94" y="56"/>
                      </a:lnTo>
                      <a:lnTo>
                        <a:pt x="94" y="52"/>
                      </a:lnTo>
                      <a:lnTo>
                        <a:pt x="94" y="48"/>
                      </a:lnTo>
                      <a:lnTo>
                        <a:pt x="94" y="44"/>
                      </a:lnTo>
                      <a:lnTo>
                        <a:pt x="98" y="44"/>
                      </a:lnTo>
                      <a:lnTo>
                        <a:pt x="98" y="40"/>
                      </a:lnTo>
                      <a:lnTo>
                        <a:pt x="98" y="36"/>
                      </a:lnTo>
                      <a:lnTo>
                        <a:pt x="98" y="32"/>
                      </a:lnTo>
                      <a:lnTo>
                        <a:pt x="98" y="30"/>
                      </a:lnTo>
                      <a:lnTo>
                        <a:pt x="98" y="26"/>
                      </a:lnTo>
                      <a:lnTo>
                        <a:pt x="94" y="22"/>
                      </a:lnTo>
                      <a:lnTo>
                        <a:pt x="94" y="18"/>
                      </a:lnTo>
                      <a:lnTo>
                        <a:pt x="98" y="14"/>
                      </a:lnTo>
                      <a:lnTo>
                        <a:pt x="98" y="10"/>
                      </a:lnTo>
                      <a:lnTo>
                        <a:pt x="102" y="10"/>
                      </a:lnTo>
                      <a:lnTo>
                        <a:pt x="102" y="6"/>
                      </a:lnTo>
                      <a:lnTo>
                        <a:pt x="102" y="4"/>
                      </a:lnTo>
                      <a:lnTo>
                        <a:pt x="104" y="4"/>
                      </a:lnTo>
                      <a:lnTo>
                        <a:pt x="108" y="4"/>
                      </a:lnTo>
                      <a:lnTo>
                        <a:pt x="116" y="4"/>
                      </a:lnTo>
                      <a:lnTo>
                        <a:pt x="120" y="0"/>
                      </a:lnTo>
                      <a:lnTo>
                        <a:pt x="124" y="0"/>
                      </a:lnTo>
                      <a:lnTo>
                        <a:pt x="128" y="0"/>
                      </a:lnTo>
                      <a:lnTo>
                        <a:pt x="128" y="4"/>
                      </a:lnTo>
                      <a:lnTo>
                        <a:pt x="128" y="6"/>
                      </a:lnTo>
                      <a:lnTo>
                        <a:pt x="132" y="6"/>
                      </a:lnTo>
                      <a:lnTo>
                        <a:pt x="136" y="6"/>
                      </a:lnTo>
                      <a:lnTo>
                        <a:pt x="138" y="10"/>
                      </a:lnTo>
                      <a:lnTo>
                        <a:pt x="142" y="10"/>
                      </a:lnTo>
                      <a:lnTo>
                        <a:pt x="142" y="14"/>
                      </a:lnTo>
                      <a:lnTo>
                        <a:pt x="146" y="14"/>
                      </a:lnTo>
                      <a:lnTo>
                        <a:pt x="150" y="14"/>
                      </a:lnTo>
                      <a:lnTo>
                        <a:pt x="150" y="18"/>
                      </a:lnTo>
                      <a:lnTo>
                        <a:pt x="154" y="18"/>
                      </a:lnTo>
                      <a:lnTo>
                        <a:pt x="158" y="22"/>
                      </a:lnTo>
                      <a:lnTo>
                        <a:pt x="158" y="26"/>
                      </a:lnTo>
                      <a:lnTo>
                        <a:pt x="162" y="26"/>
                      </a:lnTo>
                      <a:lnTo>
                        <a:pt x="162" y="30"/>
                      </a:lnTo>
                      <a:lnTo>
                        <a:pt x="166" y="30"/>
                      </a:lnTo>
                      <a:lnTo>
                        <a:pt x="162" y="30"/>
                      </a:lnTo>
                      <a:lnTo>
                        <a:pt x="162" y="32"/>
                      </a:lnTo>
                      <a:lnTo>
                        <a:pt x="166" y="32"/>
                      </a:lnTo>
                      <a:lnTo>
                        <a:pt x="166" y="36"/>
                      </a:lnTo>
                      <a:lnTo>
                        <a:pt x="168" y="40"/>
                      </a:lnTo>
                      <a:lnTo>
                        <a:pt x="166" y="44"/>
                      </a:lnTo>
                      <a:lnTo>
                        <a:pt x="162" y="44"/>
                      </a:lnTo>
                      <a:lnTo>
                        <a:pt x="162" y="48"/>
                      </a:lnTo>
                      <a:lnTo>
                        <a:pt x="166" y="48"/>
                      </a:lnTo>
                      <a:lnTo>
                        <a:pt x="166" y="52"/>
                      </a:lnTo>
                      <a:lnTo>
                        <a:pt x="162" y="56"/>
                      </a:lnTo>
                      <a:lnTo>
                        <a:pt x="162" y="60"/>
                      </a:lnTo>
                      <a:lnTo>
                        <a:pt x="162" y="62"/>
                      </a:lnTo>
                      <a:lnTo>
                        <a:pt x="162" y="66"/>
                      </a:lnTo>
                      <a:lnTo>
                        <a:pt x="166" y="70"/>
                      </a:lnTo>
                      <a:lnTo>
                        <a:pt x="166" y="74"/>
                      </a:lnTo>
                      <a:lnTo>
                        <a:pt x="162" y="74"/>
                      </a:lnTo>
                      <a:lnTo>
                        <a:pt x="158" y="74"/>
                      </a:lnTo>
                      <a:lnTo>
                        <a:pt x="158" y="78"/>
                      </a:lnTo>
                      <a:lnTo>
                        <a:pt x="158" y="82"/>
                      </a:lnTo>
                      <a:lnTo>
                        <a:pt x="158" y="86"/>
                      </a:lnTo>
                      <a:lnTo>
                        <a:pt x="158" y="90"/>
                      </a:lnTo>
                      <a:lnTo>
                        <a:pt x="158" y="92"/>
                      </a:lnTo>
                      <a:lnTo>
                        <a:pt x="154" y="92"/>
                      </a:lnTo>
                      <a:lnTo>
                        <a:pt x="158" y="96"/>
                      </a:lnTo>
                      <a:lnTo>
                        <a:pt x="158" y="100"/>
                      </a:lnTo>
                      <a:lnTo>
                        <a:pt x="162" y="100"/>
                      </a:lnTo>
                      <a:lnTo>
                        <a:pt x="158" y="100"/>
                      </a:lnTo>
                      <a:lnTo>
                        <a:pt x="150" y="104"/>
                      </a:lnTo>
                      <a:lnTo>
                        <a:pt x="146" y="108"/>
                      </a:lnTo>
                      <a:lnTo>
                        <a:pt x="142" y="108"/>
                      </a:lnTo>
                      <a:lnTo>
                        <a:pt x="138" y="108"/>
                      </a:lnTo>
                      <a:lnTo>
                        <a:pt x="138" y="112"/>
                      </a:lnTo>
                      <a:lnTo>
                        <a:pt x="136" y="112"/>
                      </a:lnTo>
                      <a:lnTo>
                        <a:pt x="132" y="112"/>
                      </a:lnTo>
                      <a:lnTo>
                        <a:pt x="128" y="112"/>
                      </a:lnTo>
                      <a:lnTo>
                        <a:pt x="128" y="116"/>
                      </a:lnTo>
                      <a:lnTo>
                        <a:pt x="124" y="116"/>
                      </a:lnTo>
                      <a:lnTo>
                        <a:pt x="120" y="116"/>
                      </a:lnTo>
                      <a:lnTo>
                        <a:pt x="120" y="118"/>
                      </a:lnTo>
                      <a:lnTo>
                        <a:pt x="120" y="118"/>
                      </a:lnTo>
                      <a:lnTo>
                        <a:pt x="120" y="11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31" name="Freeform 177"/>
                <p:cNvSpPr>
                  <a:spLocks/>
                </p:cNvSpPr>
                <p:nvPr/>
              </p:nvSpPr>
              <p:spPr bwMode="auto">
                <a:xfrm>
                  <a:off x="4962525" y="4984818"/>
                  <a:ext cx="177800" cy="193675"/>
                </a:xfrm>
                <a:custGeom>
                  <a:avLst/>
                  <a:gdLst>
                    <a:gd name="T0" fmla="*/ 88 w 112"/>
                    <a:gd name="T1" fmla="*/ 114 h 122"/>
                    <a:gd name="T2" fmla="*/ 84 w 112"/>
                    <a:gd name="T3" fmla="*/ 118 h 122"/>
                    <a:gd name="T4" fmla="*/ 82 w 112"/>
                    <a:gd name="T5" fmla="*/ 118 h 122"/>
                    <a:gd name="T6" fmla="*/ 74 w 112"/>
                    <a:gd name="T7" fmla="*/ 118 h 122"/>
                    <a:gd name="T8" fmla="*/ 70 w 112"/>
                    <a:gd name="T9" fmla="*/ 118 h 122"/>
                    <a:gd name="T10" fmla="*/ 62 w 112"/>
                    <a:gd name="T11" fmla="*/ 114 h 122"/>
                    <a:gd name="T12" fmla="*/ 54 w 112"/>
                    <a:gd name="T13" fmla="*/ 114 h 122"/>
                    <a:gd name="T14" fmla="*/ 52 w 112"/>
                    <a:gd name="T15" fmla="*/ 114 h 122"/>
                    <a:gd name="T16" fmla="*/ 52 w 112"/>
                    <a:gd name="T17" fmla="*/ 110 h 122"/>
                    <a:gd name="T18" fmla="*/ 52 w 112"/>
                    <a:gd name="T19" fmla="*/ 108 h 122"/>
                    <a:gd name="T20" fmla="*/ 44 w 112"/>
                    <a:gd name="T21" fmla="*/ 108 h 122"/>
                    <a:gd name="T22" fmla="*/ 40 w 112"/>
                    <a:gd name="T23" fmla="*/ 108 h 122"/>
                    <a:gd name="T24" fmla="*/ 38 w 112"/>
                    <a:gd name="T25" fmla="*/ 104 h 122"/>
                    <a:gd name="T26" fmla="*/ 34 w 112"/>
                    <a:gd name="T27" fmla="*/ 96 h 122"/>
                    <a:gd name="T28" fmla="*/ 34 w 112"/>
                    <a:gd name="T29" fmla="*/ 92 h 122"/>
                    <a:gd name="T30" fmla="*/ 30 w 112"/>
                    <a:gd name="T31" fmla="*/ 84 h 122"/>
                    <a:gd name="T32" fmla="*/ 30 w 112"/>
                    <a:gd name="T33" fmla="*/ 84 h 122"/>
                    <a:gd name="T34" fmla="*/ 26 w 112"/>
                    <a:gd name="T35" fmla="*/ 78 h 122"/>
                    <a:gd name="T36" fmla="*/ 18 w 112"/>
                    <a:gd name="T37" fmla="*/ 74 h 122"/>
                    <a:gd name="T38" fmla="*/ 14 w 112"/>
                    <a:gd name="T39" fmla="*/ 70 h 122"/>
                    <a:gd name="T40" fmla="*/ 12 w 112"/>
                    <a:gd name="T41" fmla="*/ 66 h 122"/>
                    <a:gd name="T42" fmla="*/ 12 w 112"/>
                    <a:gd name="T43" fmla="*/ 58 h 122"/>
                    <a:gd name="T44" fmla="*/ 8 w 112"/>
                    <a:gd name="T45" fmla="*/ 52 h 122"/>
                    <a:gd name="T46" fmla="*/ 4 w 112"/>
                    <a:gd name="T47" fmla="*/ 48 h 122"/>
                    <a:gd name="T48" fmla="*/ 0 w 112"/>
                    <a:gd name="T49" fmla="*/ 44 h 122"/>
                    <a:gd name="T50" fmla="*/ 0 w 112"/>
                    <a:gd name="T51" fmla="*/ 40 h 122"/>
                    <a:gd name="T52" fmla="*/ 4 w 112"/>
                    <a:gd name="T53" fmla="*/ 40 h 122"/>
                    <a:gd name="T54" fmla="*/ 12 w 112"/>
                    <a:gd name="T55" fmla="*/ 44 h 122"/>
                    <a:gd name="T56" fmla="*/ 14 w 112"/>
                    <a:gd name="T57" fmla="*/ 40 h 122"/>
                    <a:gd name="T58" fmla="*/ 22 w 112"/>
                    <a:gd name="T59" fmla="*/ 44 h 122"/>
                    <a:gd name="T60" fmla="*/ 26 w 112"/>
                    <a:gd name="T61" fmla="*/ 40 h 122"/>
                    <a:gd name="T62" fmla="*/ 38 w 112"/>
                    <a:gd name="T63" fmla="*/ 26 h 122"/>
                    <a:gd name="T64" fmla="*/ 48 w 112"/>
                    <a:gd name="T65" fmla="*/ 18 h 122"/>
                    <a:gd name="T66" fmla="*/ 48 w 112"/>
                    <a:gd name="T67" fmla="*/ 10 h 122"/>
                    <a:gd name="T68" fmla="*/ 52 w 112"/>
                    <a:gd name="T69" fmla="*/ 6 h 122"/>
                    <a:gd name="T70" fmla="*/ 62 w 112"/>
                    <a:gd name="T71" fmla="*/ 2 h 122"/>
                    <a:gd name="T72" fmla="*/ 70 w 112"/>
                    <a:gd name="T73" fmla="*/ 2 h 122"/>
                    <a:gd name="T74" fmla="*/ 78 w 112"/>
                    <a:gd name="T75" fmla="*/ 6 h 122"/>
                    <a:gd name="T76" fmla="*/ 84 w 112"/>
                    <a:gd name="T77" fmla="*/ 10 h 122"/>
                    <a:gd name="T78" fmla="*/ 88 w 112"/>
                    <a:gd name="T79" fmla="*/ 10 h 122"/>
                    <a:gd name="T80" fmla="*/ 96 w 112"/>
                    <a:gd name="T81" fmla="*/ 14 h 122"/>
                    <a:gd name="T82" fmla="*/ 100 w 112"/>
                    <a:gd name="T83" fmla="*/ 14 h 122"/>
                    <a:gd name="T84" fmla="*/ 104 w 112"/>
                    <a:gd name="T85" fmla="*/ 22 h 122"/>
                    <a:gd name="T86" fmla="*/ 108 w 112"/>
                    <a:gd name="T87" fmla="*/ 22 h 122"/>
                    <a:gd name="T88" fmla="*/ 108 w 112"/>
                    <a:gd name="T89" fmla="*/ 26 h 122"/>
                    <a:gd name="T90" fmla="*/ 108 w 112"/>
                    <a:gd name="T91" fmla="*/ 28 h 122"/>
                    <a:gd name="T92" fmla="*/ 108 w 112"/>
                    <a:gd name="T93" fmla="*/ 32 h 122"/>
                    <a:gd name="T94" fmla="*/ 108 w 112"/>
                    <a:gd name="T95" fmla="*/ 40 h 122"/>
                    <a:gd name="T96" fmla="*/ 108 w 112"/>
                    <a:gd name="T97" fmla="*/ 44 h 122"/>
                    <a:gd name="T98" fmla="*/ 108 w 112"/>
                    <a:gd name="T99" fmla="*/ 52 h 122"/>
                    <a:gd name="T100" fmla="*/ 108 w 112"/>
                    <a:gd name="T101" fmla="*/ 54 h 122"/>
                    <a:gd name="T102" fmla="*/ 104 w 112"/>
                    <a:gd name="T103" fmla="*/ 54 h 122"/>
                    <a:gd name="T104" fmla="*/ 108 w 112"/>
                    <a:gd name="T105" fmla="*/ 58 h 122"/>
                    <a:gd name="T106" fmla="*/ 108 w 112"/>
                    <a:gd name="T107" fmla="*/ 70 h 122"/>
                    <a:gd name="T108" fmla="*/ 108 w 112"/>
                    <a:gd name="T109" fmla="*/ 78 h 122"/>
                    <a:gd name="T110" fmla="*/ 104 w 112"/>
                    <a:gd name="T111" fmla="*/ 84 h 122"/>
                    <a:gd name="T112" fmla="*/ 100 w 112"/>
                    <a:gd name="T113" fmla="*/ 92 h 122"/>
                    <a:gd name="T114" fmla="*/ 100 w 112"/>
                    <a:gd name="T115" fmla="*/ 100 h 1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12" h="122">
                      <a:moveTo>
                        <a:pt x="100" y="100"/>
                      </a:moveTo>
                      <a:lnTo>
                        <a:pt x="100" y="100"/>
                      </a:lnTo>
                      <a:lnTo>
                        <a:pt x="100" y="100"/>
                      </a:lnTo>
                      <a:lnTo>
                        <a:pt x="100" y="100"/>
                      </a:lnTo>
                      <a:lnTo>
                        <a:pt x="92" y="110"/>
                      </a:lnTo>
                      <a:lnTo>
                        <a:pt x="88" y="114"/>
                      </a:lnTo>
                      <a:lnTo>
                        <a:pt x="84" y="118"/>
                      </a:lnTo>
                      <a:lnTo>
                        <a:pt x="84" y="118"/>
                      </a:lnTo>
                      <a:lnTo>
                        <a:pt x="84" y="118"/>
                      </a:lnTo>
                      <a:lnTo>
                        <a:pt x="84" y="122"/>
                      </a:lnTo>
                      <a:lnTo>
                        <a:pt x="84" y="118"/>
                      </a:lnTo>
                      <a:lnTo>
                        <a:pt x="84" y="118"/>
                      </a:lnTo>
                      <a:lnTo>
                        <a:pt x="82" y="118"/>
                      </a:lnTo>
                      <a:lnTo>
                        <a:pt x="82" y="118"/>
                      </a:lnTo>
                      <a:lnTo>
                        <a:pt x="82" y="118"/>
                      </a:lnTo>
                      <a:lnTo>
                        <a:pt x="82" y="118"/>
                      </a:lnTo>
                      <a:lnTo>
                        <a:pt x="82" y="118"/>
                      </a:lnTo>
                      <a:lnTo>
                        <a:pt x="82" y="118"/>
                      </a:lnTo>
                      <a:lnTo>
                        <a:pt x="78" y="118"/>
                      </a:lnTo>
                      <a:lnTo>
                        <a:pt x="78" y="118"/>
                      </a:lnTo>
                      <a:lnTo>
                        <a:pt x="78" y="118"/>
                      </a:lnTo>
                      <a:lnTo>
                        <a:pt x="78" y="118"/>
                      </a:lnTo>
                      <a:lnTo>
                        <a:pt x="78" y="118"/>
                      </a:lnTo>
                      <a:lnTo>
                        <a:pt x="74" y="118"/>
                      </a:lnTo>
                      <a:lnTo>
                        <a:pt x="74" y="118"/>
                      </a:lnTo>
                      <a:lnTo>
                        <a:pt x="74" y="118"/>
                      </a:lnTo>
                      <a:lnTo>
                        <a:pt x="74" y="118"/>
                      </a:lnTo>
                      <a:lnTo>
                        <a:pt x="74" y="118"/>
                      </a:lnTo>
                      <a:lnTo>
                        <a:pt x="70" y="118"/>
                      </a:lnTo>
                      <a:lnTo>
                        <a:pt x="70" y="118"/>
                      </a:lnTo>
                      <a:lnTo>
                        <a:pt x="70" y="118"/>
                      </a:lnTo>
                      <a:lnTo>
                        <a:pt x="66" y="118"/>
                      </a:lnTo>
                      <a:lnTo>
                        <a:pt x="66" y="114"/>
                      </a:lnTo>
                      <a:lnTo>
                        <a:pt x="62" y="114"/>
                      </a:lnTo>
                      <a:lnTo>
                        <a:pt x="62" y="114"/>
                      </a:lnTo>
                      <a:lnTo>
                        <a:pt x="62" y="114"/>
                      </a:lnTo>
                      <a:lnTo>
                        <a:pt x="62" y="114"/>
                      </a:lnTo>
                      <a:lnTo>
                        <a:pt x="62" y="114"/>
                      </a:lnTo>
                      <a:lnTo>
                        <a:pt x="58" y="114"/>
                      </a:lnTo>
                      <a:lnTo>
                        <a:pt x="54" y="114"/>
                      </a:lnTo>
                      <a:lnTo>
                        <a:pt x="54" y="114"/>
                      </a:lnTo>
                      <a:lnTo>
                        <a:pt x="54" y="114"/>
                      </a:lnTo>
                      <a:lnTo>
                        <a:pt x="54" y="114"/>
                      </a:lnTo>
                      <a:lnTo>
                        <a:pt x="54" y="114"/>
                      </a:lnTo>
                      <a:lnTo>
                        <a:pt x="54" y="114"/>
                      </a:lnTo>
                      <a:lnTo>
                        <a:pt x="54" y="114"/>
                      </a:lnTo>
                      <a:lnTo>
                        <a:pt x="52" y="114"/>
                      </a:lnTo>
                      <a:lnTo>
                        <a:pt x="52" y="114"/>
                      </a:lnTo>
                      <a:lnTo>
                        <a:pt x="52" y="114"/>
                      </a:lnTo>
                      <a:lnTo>
                        <a:pt x="52" y="114"/>
                      </a:lnTo>
                      <a:lnTo>
                        <a:pt x="52" y="114"/>
                      </a:lnTo>
                      <a:lnTo>
                        <a:pt x="52" y="110"/>
                      </a:lnTo>
                      <a:lnTo>
                        <a:pt x="52" y="110"/>
                      </a:lnTo>
                      <a:lnTo>
                        <a:pt x="52" y="110"/>
                      </a:lnTo>
                      <a:lnTo>
                        <a:pt x="52" y="110"/>
                      </a:lnTo>
                      <a:lnTo>
                        <a:pt x="52" y="110"/>
                      </a:lnTo>
                      <a:lnTo>
                        <a:pt x="52" y="110"/>
                      </a:lnTo>
                      <a:lnTo>
                        <a:pt x="52" y="108"/>
                      </a:lnTo>
                      <a:lnTo>
                        <a:pt x="52" y="108"/>
                      </a:lnTo>
                      <a:lnTo>
                        <a:pt x="52" y="108"/>
                      </a:lnTo>
                      <a:lnTo>
                        <a:pt x="52" y="108"/>
                      </a:lnTo>
                      <a:lnTo>
                        <a:pt x="48" y="108"/>
                      </a:lnTo>
                      <a:lnTo>
                        <a:pt x="44" y="108"/>
                      </a:lnTo>
                      <a:lnTo>
                        <a:pt x="44" y="108"/>
                      </a:lnTo>
                      <a:lnTo>
                        <a:pt x="44" y="108"/>
                      </a:lnTo>
                      <a:lnTo>
                        <a:pt x="44" y="108"/>
                      </a:lnTo>
                      <a:lnTo>
                        <a:pt x="44" y="108"/>
                      </a:lnTo>
                      <a:lnTo>
                        <a:pt x="44" y="108"/>
                      </a:lnTo>
                      <a:lnTo>
                        <a:pt x="44" y="108"/>
                      </a:lnTo>
                      <a:lnTo>
                        <a:pt x="40" y="108"/>
                      </a:lnTo>
                      <a:lnTo>
                        <a:pt x="40" y="108"/>
                      </a:lnTo>
                      <a:lnTo>
                        <a:pt x="40" y="108"/>
                      </a:lnTo>
                      <a:lnTo>
                        <a:pt x="40" y="108"/>
                      </a:lnTo>
                      <a:lnTo>
                        <a:pt x="38" y="108"/>
                      </a:lnTo>
                      <a:lnTo>
                        <a:pt x="38" y="104"/>
                      </a:lnTo>
                      <a:lnTo>
                        <a:pt x="38" y="104"/>
                      </a:lnTo>
                      <a:lnTo>
                        <a:pt x="38" y="104"/>
                      </a:lnTo>
                      <a:lnTo>
                        <a:pt x="38" y="104"/>
                      </a:lnTo>
                      <a:lnTo>
                        <a:pt x="38" y="104"/>
                      </a:lnTo>
                      <a:lnTo>
                        <a:pt x="38" y="100"/>
                      </a:lnTo>
                      <a:lnTo>
                        <a:pt x="38" y="100"/>
                      </a:lnTo>
                      <a:lnTo>
                        <a:pt x="34" y="100"/>
                      </a:lnTo>
                      <a:lnTo>
                        <a:pt x="34" y="100"/>
                      </a:lnTo>
                      <a:lnTo>
                        <a:pt x="34" y="96"/>
                      </a:lnTo>
                      <a:lnTo>
                        <a:pt x="34" y="96"/>
                      </a:lnTo>
                      <a:lnTo>
                        <a:pt x="34" y="92"/>
                      </a:lnTo>
                      <a:lnTo>
                        <a:pt x="34" y="92"/>
                      </a:lnTo>
                      <a:lnTo>
                        <a:pt x="34" y="92"/>
                      </a:lnTo>
                      <a:lnTo>
                        <a:pt x="34" y="92"/>
                      </a:lnTo>
                      <a:lnTo>
                        <a:pt x="34" y="92"/>
                      </a:lnTo>
                      <a:lnTo>
                        <a:pt x="34" y="88"/>
                      </a:lnTo>
                      <a:lnTo>
                        <a:pt x="34" y="84"/>
                      </a:lnTo>
                      <a:lnTo>
                        <a:pt x="34" y="84"/>
                      </a:lnTo>
                      <a:lnTo>
                        <a:pt x="34" y="84"/>
                      </a:lnTo>
                      <a:lnTo>
                        <a:pt x="30" y="84"/>
                      </a:lnTo>
                      <a:lnTo>
                        <a:pt x="30" y="84"/>
                      </a:lnTo>
                      <a:lnTo>
                        <a:pt x="30" y="84"/>
                      </a:lnTo>
                      <a:lnTo>
                        <a:pt x="30" y="84"/>
                      </a:lnTo>
                      <a:lnTo>
                        <a:pt x="30" y="84"/>
                      </a:lnTo>
                      <a:lnTo>
                        <a:pt x="30" y="84"/>
                      </a:lnTo>
                      <a:lnTo>
                        <a:pt x="30" y="84"/>
                      </a:lnTo>
                      <a:lnTo>
                        <a:pt x="30" y="84"/>
                      </a:lnTo>
                      <a:lnTo>
                        <a:pt x="30" y="84"/>
                      </a:lnTo>
                      <a:lnTo>
                        <a:pt x="30" y="80"/>
                      </a:lnTo>
                      <a:lnTo>
                        <a:pt x="30" y="80"/>
                      </a:lnTo>
                      <a:lnTo>
                        <a:pt x="26" y="80"/>
                      </a:lnTo>
                      <a:lnTo>
                        <a:pt x="26" y="78"/>
                      </a:lnTo>
                      <a:lnTo>
                        <a:pt x="26" y="78"/>
                      </a:lnTo>
                      <a:lnTo>
                        <a:pt x="22" y="78"/>
                      </a:lnTo>
                      <a:lnTo>
                        <a:pt x="18" y="78"/>
                      </a:lnTo>
                      <a:lnTo>
                        <a:pt x="18" y="74"/>
                      </a:lnTo>
                      <a:lnTo>
                        <a:pt x="18" y="74"/>
                      </a:lnTo>
                      <a:lnTo>
                        <a:pt x="18" y="74"/>
                      </a:lnTo>
                      <a:lnTo>
                        <a:pt x="18" y="74"/>
                      </a:lnTo>
                      <a:lnTo>
                        <a:pt x="18" y="74"/>
                      </a:lnTo>
                      <a:lnTo>
                        <a:pt x="18" y="74"/>
                      </a:lnTo>
                      <a:lnTo>
                        <a:pt x="18" y="74"/>
                      </a:lnTo>
                      <a:lnTo>
                        <a:pt x="14" y="74"/>
                      </a:lnTo>
                      <a:lnTo>
                        <a:pt x="14" y="70"/>
                      </a:lnTo>
                      <a:lnTo>
                        <a:pt x="14" y="70"/>
                      </a:lnTo>
                      <a:lnTo>
                        <a:pt x="14" y="70"/>
                      </a:lnTo>
                      <a:lnTo>
                        <a:pt x="12" y="70"/>
                      </a:lnTo>
                      <a:lnTo>
                        <a:pt x="12" y="70"/>
                      </a:lnTo>
                      <a:lnTo>
                        <a:pt x="12" y="70"/>
                      </a:lnTo>
                      <a:lnTo>
                        <a:pt x="12" y="66"/>
                      </a:lnTo>
                      <a:lnTo>
                        <a:pt x="12" y="66"/>
                      </a:lnTo>
                      <a:lnTo>
                        <a:pt x="12" y="62"/>
                      </a:lnTo>
                      <a:lnTo>
                        <a:pt x="12" y="62"/>
                      </a:lnTo>
                      <a:lnTo>
                        <a:pt x="12" y="62"/>
                      </a:lnTo>
                      <a:lnTo>
                        <a:pt x="12" y="62"/>
                      </a:lnTo>
                      <a:lnTo>
                        <a:pt x="12" y="58"/>
                      </a:lnTo>
                      <a:lnTo>
                        <a:pt x="12" y="58"/>
                      </a:lnTo>
                      <a:lnTo>
                        <a:pt x="12" y="58"/>
                      </a:lnTo>
                      <a:lnTo>
                        <a:pt x="12" y="58"/>
                      </a:lnTo>
                      <a:lnTo>
                        <a:pt x="8" y="58"/>
                      </a:lnTo>
                      <a:lnTo>
                        <a:pt x="8" y="58"/>
                      </a:lnTo>
                      <a:lnTo>
                        <a:pt x="8" y="54"/>
                      </a:lnTo>
                      <a:lnTo>
                        <a:pt x="8" y="52"/>
                      </a:lnTo>
                      <a:lnTo>
                        <a:pt x="4" y="52"/>
                      </a:lnTo>
                      <a:lnTo>
                        <a:pt x="4" y="52"/>
                      </a:lnTo>
                      <a:lnTo>
                        <a:pt x="4" y="52"/>
                      </a:lnTo>
                      <a:lnTo>
                        <a:pt x="4" y="48"/>
                      </a:lnTo>
                      <a:lnTo>
                        <a:pt x="4" y="48"/>
                      </a:lnTo>
                      <a:lnTo>
                        <a:pt x="4" y="48"/>
                      </a:lnTo>
                      <a:lnTo>
                        <a:pt x="4" y="48"/>
                      </a:lnTo>
                      <a:lnTo>
                        <a:pt x="4" y="48"/>
                      </a:lnTo>
                      <a:lnTo>
                        <a:pt x="0" y="44"/>
                      </a:lnTo>
                      <a:lnTo>
                        <a:pt x="0" y="44"/>
                      </a:lnTo>
                      <a:lnTo>
                        <a:pt x="0" y="44"/>
                      </a:lnTo>
                      <a:lnTo>
                        <a:pt x="0" y="44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8" y="40"/>
                      </a:lnTo>
                      <a:lnTo>
                        <a:pt x="8" y="40"/>
                      </a:lnTo>
                      <a:lnTo>
                        <a:pt x="8" y="40"/>
                      </a:lnTo>
                      <a:lnTo>
                        <a:pt x="8" y="44"/>
                      </a:lnTo>
                      <a:lnTo>
                        <a:pt x="8" y="44"/>
                      </a:lnTo>
                      <a:lnTo>
                        <a:pt x="12" y="44"/>
                      </a:lnTo>
                      <a:lnTo>
                        <a:pt x="12" y="40"/>
                      </a:lnTo>
                      <a:lnTo>
                        <a:pt x="12" y="40"/>
                      </a:lnTo>
                      <a:lnTo>
                        <a:pt x="12" y="40"/>
                      </a:lnTo>
                      <a:lnTo>
                        <a:pt x="14" y="40"/>
                      </a:lnTo>
                      <a:lnTo>
                        <a:pt x="14" y="40"/>
                      </a:lnTo>
                      <a:lnTo>
                        <a:pt x="14" y="40"/>
                      </a:lnTo>
                      <a:lnTo>
                        <a:pt x="18" y="44"/>
                      </a:lnTo>
                      <a:lnTo>
                        <a:pt x="18" y="44"/>
                      </a:lnTo>
                      <a:lnTo>
                        <a:pt x="18" y="44"/>
                      </a:lnTo>
                      <a:lnTo>
                        <a:pt x="18" y="44"/>
                      </a:lnTo>
                      <a:lnTo>
                        <a:pt x="18" y="44"/>
                      </a:lnTo>
                      <a:lnTo>
                        <a:pt x="22" y="44"/>
                      </a:lnTo>
                      <a:lnTo>
                        <a:pt x="22" y="44"/>
                      </a:lnTo>
                      <a:lnTo>
                        <a:pt x="22" y="44"/>
                      </a:lnTo>
                      <a:lnTo>
                        <a:pt x="22" y="40"/>
                      </a:lnTo>
                      <a:lnTo>
                        <a:pt x="26" y="40"/>
                      </a:lnTo>
                      <a:lnTo>
                        <a:pt x="26" y="40"/>
                      </a:lnTo>
                      <a:lnTo>
                        <a:pt x="26" y="40"/>
                      </a:lnTo>
                      <a:lnTo>
                        <a:pt x="30" y="36"/>
                      </a:lnTo>
                      <a:lnTo>
                        <a:pt x="30" y="32"/>
                      </a:lnTo>
                      <a:lnTo>
                        <a:pt x="34" y="32"/>
                      </a:lnTo>
                      <a:lnTo>
                        <a:pt x="34" y="28"/>
                      </a:lnTo>
                      <a:lnTo>
                        <a:pt x="34" y="28"/>
                      </a:lnTo>
                      <a:lnTo>
                        <a:pt x="38" y="26"/>
                      </a:lnTo>
                      <a:lnTo>
                        <a:pt x="38" y="26"/>
                      </a:lnTo>
                      <a:lnTo>
                        <a:pt x="38" y="22"/>
                      </a:lnTo>
                      <a:lnTo>
                        <a:pt x="40" y="22"/>
                      </a:lnTo>
                      <a:lnTo>
                        <a:pt x="40" y="22"/>
                      </a:lnTo>
                      <a:lnTo>
                        <a:pt x="44" y="18"/>
                      </a:lnTo>
                      <a:lnTo>
                        <a:pt x="48" y="18"/>
                      </a:lnTo>
                      <a:lnTo>
                        <a:pt x="48" y="14"/>
                      </a:lnTo>
                      <a:lnTo>
                        <a:pt x="48" y="14"/>
                      </a:lnTo>
                      <a:lnTo>
                        <a:pt x="48" y="14"/>
                      </a:lnTo>
                      <a:lnTo>
                        <a:pt x="48" y="14"/>
                      </a:lnTo>
                      <a:lnTo>
                        <a:pt x="48" y="14"/>
                      </a:lnTo>
                      <a:lnTo>
                        <a:pt x="48" y="10"/>
                      </a:lnTo>
                      <a:lnTo>
                        <a:pt x="52" y="10"/>
                      </a:lnTo>
                      <a:lnTo>
                        <a:pt x="52" y="6"/>
                      </a:lnTo>
                      <a:lnTo>
                        <a:pt x="52" y="6"/>
                      </a:lnTo>
                      <a:lnTo>
                        <a:pt x="52" y="6"/>
                      </a:lnTo>
                      <a:lnTo>
                        <a:pt x="52" y="6"/>
                      </a:lnTo>
                      <a:lnTo>
                        <a:pt x="52" y="6"/>
                      </a:lnTo>
                      <a:lnTo>
                        <a:pt x="54" y="2"/>
                      </a:lnTo>
                      <a:lnTo>
                        <a:pt x="54" y="2"/>
                      </a:lnTo>
                      <a:lnTo>
                        <a:pt x="58" y="2"/>
                      </a:lnTo>
                      <a:lnTo>
                        <a:pt x="58" y="2"/>
                      </a:lnTo>
                      <a:lnTo>
                        <a:pt x="58" y="2"/>
                      </a:lnTo>
                      <a:lnTo>
                        <a:pt x="62" y="2"/>
                      </a:lnTo>
                      <a:lnTo>
                        <a:pt x="62" y="2"/>
                      </a:lnTo>
                      <a:lnTo>
                        <a:pt x="62" y="2"/>
                      </a:lnTo>
                      <a:lnTo>
                        <a:pt x="62" y="0"/>
                      </a:lnTo>
                      <a:lnTo>
                        <a:pt x="66" y="2"/>
                      </a:lnTo>
                      <a:lnTo>
                        <a:pt x="70" y="2"/>
                      </a:lnTo>
                      <a:lnTo>
                        <a:pt x="70" y="2"/>
                      </a:lnTo>
                      <a:lnTo>
                        <a:pt x="70" y="2"/>
                      </a:lnTo>
                      <a:lnTo>
                        <a:pt x="70" y="2"/>
                      </a:lnTo>
                      <a:lnTo>
                        <a:pt x="70" y="2"/>
                      </a:lnTo>
                      <a:lnTo>
                        <a:pt x="70" y="2"/>
                      </a:lnTo>
                      <a:lnTo>
                        <a:pt x="70" y="6"/>
                      </a:lnTo>
                      <a:lnTo>
                        <a:pt x="78" y="6"/>
                      </a:lnTo>
                      <a:lnTo>
                        <a:pt x="82" y="6"/>
                      </a:lnTo>
                      <a:lnTo>
                        <a:pt x="82" y="6"/>
                      </a:lnTo>
                      <a:lnTo>
                        <a:pt x="84" y="6"/>
                      </a:lnTo>
                      <a:lnTo>
                        <a:pt x="84" y="6"/>
                      </a:lnTo>
                      <a:lnTo>
                        <a:pt x="84" y="10"/>
                      </a:lnTo>
                      <a:lnTo>
                        <a:pt x="84" y="10"/>
                      </a:lnTo>
                      <a:lnTo>
                        <a:pt x="84" y="10"/>
                      </a:lnTo>
                      <a:lnTo>
                        <a:pt x="84" y="10"/>
                      </a:lnTo>
                      <a:lnTo>
                        <a:pt x="88" y="10"/>
                      </a:lnTo>
                      <a:lnTo>
                        <a:pt x="88" y="10"/>
                      </a:lnTo>
                      <a:lnTo>
                        <a:pt x="88" y="10"/>
                      </a:lnTo>
                      <a:lnTo>
                        <a:pt x="88" y="10"/>
                      </a:lnTo>
                      <a:lnTo>
                        <a:pt x="88" y="10"/>
                      </a:lnTo>
                      <a:lnTo>
                        <a:pt x="92" y="10"/>
                      </a:lnTo>
                      <a:lnTo>
                        <a:pt x="92" y="14"/>
                      </a:lnTo>
                      <a:lnTo>
                        <a:pt x="92" y="14"/>
                      </a:lnTo>
                      <a:lnTo>
                        <a:pt x="92" y="14"/>
                      </a:lnTo>
                      <a:lnTo>
                        <a:pt x="96" y="14"/>
                      </a:lnTo>
                      <a:lnTo>
                        <a:pt x="96" y="14"/>
                      </a:lnTo>
                      <a:lnTo>
                        <a:pt x="96" y="14"/>
                      </a:lnTo>
                      <a:lnTo>
                        <a:pt x="96" y="14"/>
                      </a:lnTo>
                      <a:lnTo>
                        <a:pt x="96" y="14"/>
                      </a:lnTo>
                      <a:lnTo>
                        <a:pt x="100" y="14"/>
                      </a:lnTo>
                      <a:lnTo>
                        <a:pt x="100" y="14"/>
                      </a:lnTo>
                      <a:lnTo>
                        <a:pt x="100" y="14"/>
                      </a:lnTo>
                      <a:lnTo>
                        <a:pt x="100" y="18"/>
                      </a:lnTo>
                      <a:lnTo>
                        <a:pt x="104" y="18"/>
                      </a:lnTo>
                      <a:lnTo>
                        <a:pt x="104" y="18"/>
                      </a:lnTo>
                      <a:lnTo>
                        <a:pt x="104" y="22"/>
                      </a:lnTo>
                      <a:lnTo>
                        <a:pt x="104" y="22"/>
                      </a:lnTo>
                      <a:lnTo>
                        <a:pt x="104" y="22"/>
                      </a:lnTo>
                      <a:lnTo>
                        <a:pt x="108" y="22"/>
                      </a:lnTo>
                      <a:lnTo>
                        <a:pt x="108" y="22"/>
                      </a:lnTo>
                      <a:lnTo>
                        <a:pt x="108" y="22"/>
                      </a:lnTo>
                      <a:lnTo>
                        <a:pt x="108" y="22"/>
                      </a:lnTo>
                      <a:lnTo>
                        <a:pt x="108" y="22"/>
                      </a:lnTo>
                      <a:lnTo>
                        <a:pt x="108" y="22"/>
                      </a:lnTo>
                      <a:lnTo>
                        <a:pt x="108" y="22"/>
                      </a:lnTo>
                      <a:lnTo>
                        <a:pt x="108" y="22"/>
                      </a:lnTo>
                      <a:lnTo>
                        <a:pt x="108" y="22"/>
                      </a:lnTo>
                      <a:lnTo>
                        <a:pt x="108" y="22"/>
                      </a:lnTo>
                      <a:lnTo>
                        <a:pt x="108" y="26"/>
                      </a:lnTo>
                      <a:lnTo>
                        <a:pt x="108" y="26"/>
                      </a:lnTo>
                      <a:lnTo>
                        <a:pt x="108" y="26"/>
                      </a:lnTo>
                      <a:lnTo>
                        <a:pt x="108" y="28"/>
                      </a:lnTo>
                      <a:lnTo>
                        <a:pt x="108" y="28"/>
                      </a:lnTo>
                      <a:lnTo>
                        <a:pt x="108" y="28"/>
                      </a:lnTo>
                      <a:lnTo>
                        <a:pt x="108" y="28"/>
                      </a:lnTo>
                      <a:lnTo>
                        <a:pt x="108" y="28"/>
                      </a:lnTo>
                      <a:lnTo>
                        <a:pt x="108" y="28"/>
                      </a:lnTo>
                      <a:lnTo>
                        <a:pt x="108" y="28"/>
                      </a:lnTo>
                      <a:lnTo>
                        <a:pt x="108" y="32"/>
                      </a:lnTo>
                      <a:lnTo>
                        <a:pt x="108" y="32"/>
                      </a:lnTo>
                      <a:lnTo>
                        <a:pt x="108" y="32"/>
                      </a:lnTo>
                      <a:lnTo>
                        <a:pt x="108" y="36"/>
                      </a:lnTo>
                      <a:lnTo>
                        <a:pt x="108" y="36"/>
                      </a:lnTo>
                      <a:lnTo>
                        <a:pt x="108" y="36"/>
                      </a:lnTo>
                      <a:lnTo>
                        <a:pt x="108" y="36"/>
                      </a:lnTo>
                      <a:lnTo>
                        <a:pt x="108" y="36"/>
                      </a:lnTo>
                      <a:lnTo>
                        <a:pt x="108" y="40"/>
                      </a:lnTo>
                      <a:lnTo>
                        <a:pt x="108" y="40"/>
                      </a:lnTo>
                      <a:lnTo>
                        <a:pt x="108" y="44"/>
                      </a:lnTo>
                      <a:lnTo>
                        <a:pt x="108" y="44"/>
                      </a:lnTo>
                      <a:lnTo>
                        <a:pt x="108" y="44"/>
                      </a:lnTo>
                      <a:lnTo>
                        <a:pt x="108" y="44"/>
                      </a:lnTo>
                      <a:lnTo>
                        <a:pt x="108" y="44"/>
                      </a:lnTo>
                      <a:lnTo>
                        <a:pt x="108" y="48"/>
                      </a:lnTo>
                      <a:lnTo>
                        <a:pt x="108" y="48"/>
                      </a:lnTo>
                      <a:lnTo>
                        <a:pt x="108" y="48"/>
                      </a:lnTo>
                      <a:lnTo>
                        <a:pt x="108" y="48"/>
                      </a:lnTo>
                      <a:lnTo>
                        <a:pt x="112" y="48"/>
                      </a:lnTo>
                      <a:lnTo>
                        <a:pt x="108" y="52"/>
                      </a:lnTo>
                      <a:lnTo>
                        <a:pt x="108" y="52"/>
                      </a:lnTo>
                      <a:lnTo>
                        <a:pt x="108" y="52"/>
                      </a:lnTo>
                      <a:lnTo>
                        <a:pt x="108" y="52"/>
                      </a:lnTo>
                      <a:lnTo>
                        <a:pt x="108" y="52"/>
                      </a:lnTo>
                      <a:lnTo>
                        <a:pt x="108" y="52"/>
                      </a:lnTo>
                      <a:lnTo>
                        <a:pt x="108" y="54"/>
                      </a:lnTo>
                      <a:lnTo>
                        <a:pt x="108" y="54"/>
                      </a:lnTo>
                      <a:lnTo>
                        <a:pt x="108" y="54"/>
                      </a:lnTo>
                      <a:lnTo>
                        <a:pt x="108" y="54"/>
                      </a:lnTo>
                      <a:lnTo>
                        <a:pt x="108" y="54"/>
                      </a:lnTo>
                      <a:lnTo>
                        <a:pt x="108" y="54"/>
                      </a:lnTo>
                      <a:lnTo>
                        <a:pt x="104" y="54"/>
                      </a:lnTo>
                      <a:lnTo>
                        <a:pt x="104" y="58"/>
                      </a:lnTo>
                      <a:lnTo>
                        <a:pt x="104" y="58"/>
                      </a:lnTo>
                      <a:lnTo>
                        <a:pt x="104" y="58"/>
                      </a:lnTo>
                      <a:lnTo>
                        <a:pt x="104" y="58"/>
                      </a:lnTo>
                      <a:lnTo>
                        <a:pt x="104" y="58"/>
                      </a:lnTo>
                      <a:lnTo>
                        <a:pt x="108" y="58"/>
                      </a:lnTo>
                      <a:lnTo>
                        <a:pt x="108" y="62"/>
                      </a:lnTo>
                      <a:lnTo>
                        <a:pt x="108" y="66"/>
                      </a:lnTo>
                      <a:lnTo>
                        <a:pt x="108" y="66"/>
                      </a:lnTo>
                      <a:lnTo>
                        <a:pt x="104" y="66"/>
                      </a:lnTo>
                      <a:lnTo>
                        <a:pt x="104" y="70"/>
                      </a:lnTo>
                      <a:lnTo>
                        <a:pt x="108" y="70"/>
                      </a:lnTo>
                      <a:lnTo>
                        <a:pt x="108" y="70"/>
                      </a:lnTo>
                      <a:lnTo>
                        <a:pt x="108" y="70"/>
                      </a:lnTo>
                      <a:lnTo>
                        <a:pt x="108" y="70"/>
                      </a:lnTo>
                      <a:lnTo>
                        <a:pt x="108" y="74"/>
                      </a:lnTo>
                      <a:lnTo>
                        <a:pt x="108" y="74"/>
                      </a:lnTo>
                      <a:lnTo>
                        <a:pt x="108" y="78"/>
                      </a:lnTo>
                      <a:lnTo>
                        <a:pt x="108" y="78"/>
                      </a:lnTo>
                      <a:lnTo>
                        <a:pt x="108" y="80"/>
                      </a:lnTo>
                      <a:lnTo>
                        <a:pt x="108" y="80"/>
                      </a:lnTo>
                      <a:lnTo>
                        <a:pt x="108" y="80"/>
                      </a:lnTo>
                      <a:lnTo>
                        <a:pt x="108" y="80"/>
                      </a:lnTo>
                      <a:lnTo>
                        <a:pt x="104" y="84"/>
                      </a:lnTo>
                      <a:lnTo>
                        <a:pt x="104" y="88"/>
                      </a:lnTo>
                      <a:lnTo>
                        <a:pt x="104" y="88"/>
                      </a:lnTo>
                      <a:lnTo>
                        <a:pt x="100" y="88"/>
                      </a:lnTo>
                      <a:lnTo>
                        <a:pt x="100" y="88"/>
                      </a:lnTo>
                      <a:lnTo>
                        <a:pt x="100" y="92"/>
                      </a:lnTo>
                      <a:lnTo>
                        <a:pt x="100" y="92"/>
                      </a:lnTo>
                      <a:lnTo>
                        <a:pt x="100" y="92"/>
                      </a:lnTo>
                      <a:lnTo>
                        <a:pt x="100" y="96"/>
                      </a:lnTo>
                      <a:lnTo>
                        <a:pt x="100" y="96"/>
                      </a:lnTo>
                      <a:lnTo>
                        <a:pt x="100" y="96"/>
                      </a:lnTo>
                      <a:lnTo>
                        <a:pt x="100" y="100"/>
                      </a:lnTo>
                      <a:lnTo>
                        <a:pt x="100" y="100"/>
                      </a:lnTo>
                      <a:lnTo>
                        <a:pt x="100" y="100"/>
                      </a:lnTo>
                      <a:lnTo>
                        <a:pt x="100" y="100"/>
                      </a:lnTo>
                      <a:lnTo>
                        <a:pt x="100" y="10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32" name="Freeform 178"/>
                <p:cNvSpPr>
                  <a:spLocks noEditPoints="1"/>
                </p:cNvSpPr>
                <p:nvPr/>
              </p:nvSpPr>
              <p:spPr bwMode="auto">
                <a:xfrm>
                  <a:off x="2743200" y="5156268"/>
                  <a:ext cx="444500" cy="1022350"/>
                </a:xfrm>
                <a:custGeom>
                  <a:avLst/>
                  <a:gdLst>
                    <a:gd name="T0" fmla="*/ 28 w 280"/>
                    <a:gd name="T1" fmla="*/ 328 h 644"/>
                    <a:gd name="T2" fmla="*/ 38 w 280"/>
                    <a:gd name="T3" fmla="*/ 304 h 644"/>
                    <a:gd name="T4" fmla="*/ 38 w 280"/>
                    <a:gd name="T5" fmla="*/ 272 h 644"/>
                    <a:gd name="T6" fmla="*/ 46 w 280"/>
                    <a:gd name="T7" fmla="*/ 242 h 644"/>
                    <a:gd name="T8" fmla="*/ 54 w 280"/>
                    <a:gd name="T9" fmla="*/ 208 h 644"/>
                    <a:gd name="T10" fmla="*/ 42 w 280"/>
                    <a:gd name="T11" fmla="*/ 174 h 644"/>
                    <a:gd name="T12" fmla="*/ 54 w 280"/>
                    <a:gd name="T13" fmla="*/ 144 h 644"/>
                    <a:gd name="T14" fmla="*/ 60 w 280"/>
                    <a:gd name="T15" fmla="*/ 114 h 644"/>
                    <a:gd name="T16" fmla="*/ 72 w 280"/>
                    <a:gd name="T17" fmla="*/ 84 h 644"/>
                    <a:gd name="T18" fmla="*/ 76 w 280"/>
                    <a:gd name="T19" fmla="*/ 48 h 644"/>
                    <a:gd name="T20" fmla="*/ 90 w 280"/>
                    <a:gd name="T21" fmla="*/ 22 h 644"/>
                    <a:gd name="T22" fmla="*/ 106 w 280"/>
                    <a:gd name="T23" fmla="*/ 4 h 644"/>
                    <a:gd name="T24" fmla="*/ 130 w 280"/>
                    <a:gd name="T25" fmla="*/ 22 h 644"/>
                    <a:gd name="T26" fmla="*/ 156 w 280"/>
                    <a:gd name="T27" fmla="*/ 10 h 644"/>
                    <a:gd name="T28" fmla="*/ 176 w 280"/>
                    <a:gd name="T29" fmla="*/ 36 h 644"/>
                    <a:gd name="T30" fmla="*/ 208 w 280"/>
                    <a:gd name="T31" fmla="*/ 56 h 644"/>
                    <a:gd name="T32" fmla="*/ 220 w 280"/>
                    <a:gd name="T33" fmla="*/ 78 h 644"/>
                    <a:gd name="T34" fmla="*/ 224 w 280"/>
                    <a:gd name="T35" fmla="*/ 100 h 644"/>
                    <a:gd name="T36" fmla="*/ 254 w 280"/>
                    <a:gd name="T37" fmla="*/ 100 h 644"/>
                    <a:gd name="T38" fmla="*/ 272 w 280"/>
                    <a:gd name="T39" fmla="*/ 70 h 644"/>
                    <a:gd name="T40" fmla="*/ 276 w 280"/>
                    <a:gd name="T41" fmla="*/ 96 h 644"/>
                    <a:gd name="T42" fmla="*/ 250 w 280"/>
                    <a:gd name="T43" fmla="*/ 114 h 644"/>
                    <a:gd name="T44" fmla="*/ 238 w 280"/>
                    <a:gd name="T45" fmla="*/ 136 h 644"/>
                    <a:gd name="T46" fmla="*/ 220 w 280"/>
                    <a:gd name="T47" fmla="*/ 170 h 644"/>
                    <a:gd name="T48" fmla="*/ 216 w 280"/>
                    <a:gd name="T49" fmla="*/ 200 h 644"/>
                    <a:gd name="T50" fmla="*/ 216 w 280"/>
                    <a:gd name="T51" fmla="*/ 234 h 644"/>
                    <a:gd name="T52" fmla="*/ 230 w 280"/>
                    <a:gd name="T53" fmla="*/ 264 h 644"/>
                    <a:gd name="T54" fmla="*/ 228 w 280"/>
                    <a:gd name="T55" fmla="*/ 294 h 644"/>
                    <a:gd name="T56" fmla="*/ 194 w 280"/>
                    <a:gd name="T57" fmla="*/ 316 h 644"/>
                    <a:gd name="T58" fmla="*/ 156 w 280"/>
                    <a:gd name="T59" fmla="*/ 312 h 644"/>
                    <a:gd name="T60" fmla="*/ 160 w 280"/>
                    <a:gd name="T61" fmla="*/ 330 h 644"/>
                    <a:gd name="T62" fmla="*/ 152 w 280"/>
                    <a:gd name="T63" fmla="*/ 358 h 644"/>
                    <a:gd name="T64" fmla="*/ 122 w 280"/>
                    <a:gd name="T65" fmla="*/ 350 h 644"/>
                    <a:gd name="T66" fmla="*/ 126 w 280"/>
                    <a:gd name="T67" fmla="*/ 380 h 644"/>
                    <a:gd name="T68" fmla="*/ 142 w 280"/>
                    <a:gd name="T69" fmla="*/ 386 h 644"/>
                    <a:gd name="T70" fmla="*/ 126 w 280"/>
                    <a:gd name="T71" fmla="*/ 394 h 644"/>
                    <a:gd name="T72" fmla="*/ 120 w 280"/>
                    <a:gd name="T73" fmla="*/ 414 h 644"/>
                    <a:gd name="T74" fmla="*/ 98 w 280"/>
                    <a:gd name="T75" fmla="*/ 440 h 644"/>
                    <a:gd name="T76" fmla="*/ 86 w 280"/>
                    <a:gd name="T77" fmla="*/ 470 h 644"/>
                    <a:gd name="T78" fmla="*/ 108 w 280"/>
                    <a:gd name="T79" fmla="*/ 490 h 644"/>
                    <a:gd name="T80" fmla="*/ 90 w 280"/>
                    <a:gd name="T81" fmla="*/ 510 h 644"/>
                    <a:gd name="T82" fmla="*/ 82 w 280"/>
                    <a:gd name="T83" fmla="*/ 536 h 644"/>
                    <a:gd name="T84" fmla="*/ 76 w 280"/>
                    <a:gd name="T85" fmla="*/ 540 h 644"/>
                    <a:gd name="T86" fmla="*/ 64 w 280"/>
                    <a:gd name="T87" fmla="*/ 566 h 644"/>
                    <a:gd name="T88" fmla="*/ 72 w 280"/>
                    <a:gd name="T89" fmla="*/ 584 h 644"/>
                    <a:gd name="T90" fmla="*/ 34 w 280"/>
                    <a:gd name="T91" fmla="*/ 580 h 644"/>
                    <a:gd name="T92" fmla="*/ 16 w 280"/>
                    <a:gd name="T93" fmla="*/ 550 h 644"/>
                    <a:gd name="T94" fmla="*/ 0 w 280"/>
                    <a:gd name="T95" fmla="*/ 536 h 644"/>
                    <a:gd name="T96" fmla="*/ 16 w 280"/>
                    <a:gd name="T97" fmla="*/ 512 h 644"/>
                    <a:gd name="T98" fmla="*/ 20 w 280"/>
                    <a:gd name="T99" fmla="*/ 488 h 644"/>
                    <a:gd name="T100" fmla="*/ 28 w 280"/>
                    <a:gd name="T101" fmla="*/ 458 h 644"/>
                    <a:gd name="T102" fmla="*/ 24 w 280"/>
                    <a:gd name="T103" fmla="*/ 432 h 644"/>
                    <a:gd name="T104" fmla="*/ 24 w 280"/>
                    <a:gd name="T105" fmla="*/ 416 h 644"/>
                    <a:gd name="T106" fmla="*/ 20 w 280"/>
                    <a:gd name="T107" fmla="*/ 394 h 644"/>
                    <a:gd name="T108" fmla="*/ 24 w 280"/>
                    <a:gd name="T109" fmla="*/ 364 h 644"/>
                    <a:gd name="T110" fmla="*/ 72 w 280"/>
                    <a:gd name="T111" fmla="*/ 592 h 644"/>
                    <a:gd name="T112" fmla="*/ 80 w 280"/>
                    <a:gd name="T113" fmla="*/ 614 h 644"/>
                    <a:gd name="T114" fmla="*/ 108 w 280"/>
                    <a:gd name="T115" fmla="*/ 636 h 644"/>
                    <a:gd name="T116" fmla="*/ 94 w 280"/>
                    <a:gd name="T117" fmla="*/ 640 h 644"/>
                    <a:gd name="T118" fmla="*/ 72 w 280"/>
                    <a:gd name="T119" fmla="*/ 610 h 644"/>
                    <a:gd name="T120" fmla="*/ 126 w 280"/>
                    <a:gd name="T121" fmla="*/ 636 h 644"/>
                    <a:gd name="T122" fmla="*/ 126 w 280"/>
                    <a:gd name="T123" fmla="*/ 640 h 6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80" h="644">
                      <a:moveTo>
                        <a:pt x="24" y="358"/>
                      </a:moveTo>
                      <a:lnTo>
                        <a:pt x="24" y="354"/>
                      </a:lnTo>
                      <a:lnTo>
                        <a:pt x="24" y="350"/>
                      </a:lnTo>
                      <a:lnTo>
                        <a:pt x="24" y="346"/>
                      </a:lnTo>
                      <a:lnTo>
                        <a:pt x="28" y="346"/>
                      </a:lnTo>
                      <a:lnTo>
                        <a:pt x="28" y="342"/>
                      </a:lnTo>
                      <a:lnTo>
                        <a:pt x="24" y="342"/>
                      </a:lnTo>
                      <a:lnTo>
                        <a:pt x="28" y="338"/>
                      </a:lnTo>
                      <a:lnTo>
                        <a:pt x="28" y="334"/>
                      </a:lnTo>
                      <a:lnTo>
                        <a:pt x="28" y="330"/>
                      </a:lnTo>
                      <a:lnTo>
                        <a:pt x="28" y="328"/>
                      </a:lnTo>
                      <a:lnTo>
                        <a:pt x="28" y="330"/>
                      </a:lnTo>
                      <a:lnTo>
                        <a:pt x="30" y="330"/>
                      </a:lnTo>
                      <a:lnTo>
                        <a:pt x="30" y="328"/>
                      </a:lnTo>
                      <a:lnTo>
                        <a:pt x="30" y="324"/>
                      </a:lnTo>
                      <a:lnTo>
                        <a:pt x="30" y="320"/>
                      </a:lnTo>
                      <a:lnTo>
                        <a:pt x="30" y="316"/>
                      </a:lnTo>
                      <a:lnTo>
                        <a:pt x="34" y="316"/>
                      </a:lnTo>
                      <a:lnTo>
                        <a:pt x="34" y="312"/>
                      </a:lnTo>
                      <a:lnTo>
                        <a:pt x="38" y="312"/>
                      </a:lnTo>
                      <a:lnTo>
                        <a:pt x="38" y="308"/>
                      </a:lnTo>
                      <a:lnTo>
                        <a:pt x="38" y="304"/>
                      </a:lnTo>
                      <a:lnTo>
                        <a:pt x="38" y="302"/>
                      </a:lnTo>
                      <a:lnTo>
                        <a:pt x="34" y="298"/>
                      </a:lnTo>
                      <a:lnTo>
                        <a:pt x="34" y="294"/>
                      </a:lnTo>
                      <a:lnTo>
                        <a:pt x="34" y="290"/>
                      </a:lnTo>
                      <a:lnTo>
                        <a:pt x="34" y="286"/>
                      </a:lnTo>
                      <a:lnTo>
                        <a:pt x="34" y="282"/>
                      </a:lnTo>
                      <a:lnTo>
                        <a:pt x="34" y="278"/>
                      </a:lnTo>
                      <a:lnTo>
                        <a:pt x="34" y="274"/>
                      </a:lnTo>
                      <a:lnTo>
                        <a:pt x="34" y="272"/>
                      </a:lnTo>
                      <a:lnTo>
                        <a:pt x="38" y="268"/>
                      </a:lnTo>
                      <a:lnTo>
                        <a:pt x="38" y="272"/>
                      </a:lnTo>
                      <a:lnTo>
                        <a:pt x="42" y="268"/>
                      </a:lnTo>
                      <a:lnTo>
                        <a:pt x="42" y="264"/>
                      </a:lnTo>
                      <a:lnTo>
                        <a:pt x="46" y="264"/>
                      </a:lnTo>
                      <a:lnTo>
                        <a:pt x="46" y="260"/>
                      </a:lnTo>
                      <a:lnTo>
                        <a:pt x="46" y="256"/>
                      </a:lnTo>
                      <a:lnTo>
                        <a:pt x="46" y="252"/>
                      </a:lnTo>
                      <a:lnTo>
                        <a:pt x="46" y="248"/>
                      </a:lnTo>
                      <a:lnTo>
                        <a:pt x="42" y="248"/>
                      </a:lnTo>
                      <a:lnTo>
                        <a:pt x="42" y="246"/>
                      </a:lnTo>
                      <a:lnTo>
                        <a:pt x="46" y="246"/>
                      </a:lnTo>
                      <a:lnTo>
                        <a:pt x="46" y="242"/>
                      </a:lnTo>
                      <a:lnTo>
                        <a:pt x="46" y="238"/>
                      </a:lnTo>
                      <a:lnTo>
                        <a:pt x="46" y="234"/>
                      </a:lnTo>
                      <a:lnTo>
                        <a:pt x="50" y="234"/>
                      </a:lnTo>
                      <a:lnTo>
                        <a:pt x="50" y="230"/>
                      </a:lnTo>
                      <a:lnTo>
                        <a:pt x="50" y="226"/>
                      </a:lnTo>
                      <a:lnTo>
                        <a:pt x="54" y="226"/>
                      </a:lnTo>
                      <a:lnTo>
                        <a:pt x="54" y="222"/>
                      </a:lnTo>
                      <a:lnTo>
                        <a:pt x="54" y="218"/>
                      </a:lnTo>
                      <a:lnTo>
                        <a:pt x="54" y="216"/>
                      </a:lnTo>
                      <a:lnTo>
                        <a:pt x="54" y="212"/>
                      </a:lnTo>
                      <a:lnTo>
                        <a:pt x="54" y="208"/>
                      </a:lnTo>
                      <a:lnTo>
                        <a:pt x="50" y="208"/>
                      </a:lnTo>
                      <a:lnTo>
                        <a:pt x="50" y="204"/>
                      </a:lnTo>
                      <a:lnTo>
                        <a:pt x="50" y="200"/>
                      </a:lnTo>
                      <a:lnTo>
                        <a:pt x="50" y="196"/>
                      </a:lnTo>
                      <a:lnTo>
                        <a:pt x="50" y="192"/>
                      </a:lnTo>
                      <a:lnTo>
                        <a:pt x="46" y="192"/>
                      </a:lnTo>
                      <a:lnTo>
                        <a:pt x="46" y="190"/>
                      </a:lnTo>
                      <a:lnTo>
                        <a:pt x="46" y="186"/>
                      </a:lnTo>
                      <a:lnTo>
                        <a:pt x="46" y="182"/>
                      </a:lnTo>
                      <a:lnTo>
                        <a:pt x="42" y="178"/>
                      </a:lnTo>
                      <a:lnTo>
                        <a:pt x="42" y="174"/>
                      </a:lnTo>
                      <a:lnTo>
                        <a:pt x="42" y="170"/>
                      </a:lnTo>
                      <a:lnTo>
                        <a:pt x="46" y="170"/>
                      </a:lnTo>
                      <a:lnTo>
                        <a:pt x="46" y="166"/>
                      </a:lnTo>
                      <a:lnTo>
                        <a:pt x="46" y="162"/>
                      </a:lnTo>
                      <a:lnTo>
                        <a:pt x="46" y="160"/>
                      </a:lnTo>
                      <a:lnTo>
                        <a:pt x="50" y="160"/>
                      </a:lnTo>
                      <a:lnTo>
                        <a:pt x="50" y="156"/>
                      </a:lnTo>
                      <a:lnTo>
                        <a:pt x="54" y="156"/>
                      </a:lnTo>
                      <a:lnTo>
                        <a:pt x="54" y="152"/>
                      </a:lnTo>
                      <a:lnTo>
                        <a:pt x="54" y="148"/>
                      </a:lnTo>
                      <a:lnTo>
                        <a:pt x="54" y="144"/>
                      </a:lnTo>
                      <a:lnTo>
                        <a:pt x="50" y="140"/>
                      </a:lnTo>
                      <a:lnTo>
                        <a:pt x="54" y="140"/>
                      </a:lnTo>
                      <a:lnTo>
                        <a:pt x="50" y="140"/>
                      </a:lnTo>
                      <a:lnTo>
                        <a:pt x="50" y="136"/>
                      </a:lnTo>
                      <a:lnTo>
                        <a:pt x="54" y="134"/>
                      </a:lnTo>
                      <a:lnTo>
                        <a:pt x="54" y="130"/>
                      </a:lnTo>
                      <a:lnTo>
                        <a:pt x="54" y="126"/>
                      </a:lnTo>
                      <a:lnTo>
                        <a:pt x="54" y="122"/>
                      </a:lnTo>
                      <a:lnTo>
                        <a:pt x="56" y="122"/>
                      </a:lnTo>
                      <a:lnTo>
                        <a:pt x="56" y="118"/>
                      </a:lnTo>
                      <a:lnTo>
                        <a:pt x="60" y="114"/>
                      </a:lnTo>
                      <a:lnTo>
                        <a:pt x="60" y="110"/>
                      </a:lnTo>
                      <a:lnTo>
                        <a:pt x="64" y="110"/>
                      </a:lnTo>
                      <a:lnTo>
                        <a:pt x="64" y="106"/>
                      </a:lnTo>
                      <a:lnTo>
                        <a:pt x="64" y="104"/>
                      </a:lnTo>
                      <a:lnTo>
                        <a:pt x="68" y="100"/>
                      </a:lnTo>
                      <a:lnTo>
                        <a:pt x="68" y="96"/>
                      </a:lnTo>
                      <a:lnTo>
                        <a:pt x="72" y="96"/>
                      </a:lnTo>
                      <a:lnTo>
                        <a:pt x="76" y="96"/>
                      </a:lnTo>
                      <a:lnTo>
                        <a:pt x="76" y="92"/>
                      </a:lnTo>
                      <a:lnTo>
                        <a:pt x="72" y="88"/>
                      </a:lnTo>
                      <a:lnTo>
                        <a:pt x="72" y="84"/>
                      </a:lnTo>
                      <a:lnTo>
                        <a:pt x="72" y="82"/>
                      </a:lnTo>
                      <a:lnTo>
                        <a:pt x="72" y="78"/>
                      </a:lnTo>
                      <a:lnTo>
                        <a:pt x="72" y="74"/>
                      </a:lnTo>
                      <a:lnTo>
                        <a:pt x="72" y="70"/>
                      </a:lnTo>
                      <a:lnTo>
                        <a:pt x="72" y="66"/>
                      </a:lnTo>
                      <a:lnTo>
                        <a:pt x="72" y="64"/>
                      </a:lnTo>
                      <a:lnTo>
                        <a:pt x="76" y="60"/>
                      </a:lnTo>
                      <a:lnTo>
                        <a:pt x="72" y="56"/>
                      </a:lnTo>
                      <a:lnTo>
                        <a:pt x="72" y="52"/>
                      </a:lnTo>
                      <a:lnTo>
                        <a:pt x="72" y="48"/>
                      </a:lnTo>
                      <a:lnTo>
                        <a:pt x="76" y="48"/>
                      </a:lnTo>
                      <a:lnTo>
                        <a:pt x="80" y="44"/>
                      </a:lnTo>
                      <a:lnTo>
                        <a:pt x="82" y="44"/>
                      </a:lnTo>
                      <a:lnTo>
                        <a:pt x="86" y="44"/>
                      </a:lnTo>
                      <a:lnTo>
                        <a:pt x="86" y="40"/>
                      </a:lnTo>
                      <a:lnTo>
                        <a:pt x="90" y="36"/>
                      </a:lnTo>
                      <a:lnTo>
                        <a:pt x="90" y="34"/>
                      </a:lnTo>
                      <a:lnTo>
                        <a:pt x="90" y="30"/>
                      </a:lnTo>
                      <a:lnTo>
                        <a:pt x="90" y="26"/>
                      </a:lnTo>
                      <a:lnTo>
                        <a:pt x="94" y="26"/>
                      </a:lnTo>
                      <a:lnTo>
                        <a:pt x="94" y="22"/>
                      </a:lnTo>
                      <a:lnTo>
                        <a:pt x="90" y="22"/>
                      </a:lnTo>
                      <a:lnTo>
                        <a:pt x="90" y="18"/>
                      </a:lnTo>
                      <a:lnTo>
                        <a:pt x="94" y="18"/>
                      </a:lnTo>
                      <a:lnTo>
                        <a:pt x="94" y="14"/>
                      </a:lnTo>
                      <a:lnTo>
                        <a:pt x="98" y="14"/>
                      </a:lnTo>
                      <a:lnTo>
                        <a:pt x="98" y="10"/>
                      </a:lnTo>
                      <a:lnTo>
                        <a:pt x="98" y="6"/>
                      </a:lnTo>
                      <a:lnTo>
                        <a:pt x="102" y="6"/>
                      </a:lnTo>
                      <a:lnTo>
                        <a:pt x="102" y="4"/>
                      </a:lnTo>
                      <a:lnTo>
                        <a:pt x="106" y="4"/>
                      </a:lnTo>
                      <a:lnTo>
                        <a:pt x="106" y="0"/>
                      </a:lnTo>
                      <a:lnTo>
                        <a:pt x="106" y="4"/>
                      </a:lnTo>
                      <a:lnTo>
                        <a:pt x="108" y="4"/>
                      </a:lnTo>
                      <a:lnTo>
                        <a:pt x="108" y="6"/>
                      </a:lnTo>
                      <a:lnTo>
                        <a:pt x="112" y="6"/>
                      </a:lnTo>
                      <a:lnTo>
                        <a:pt x="120" y="6"/>
                      </a:lnTo>
                      <a:lnTo>
                        <a:pt x="122" y="6"/>
                      </a:lnTo>
                      <a:lnTo>
                        <a:pt x="126" y="6"/>
                      </a:lnTo>
                      <a:lnTo>
                        <a:pt x="126" y="10"/>
                      </a:lnTo>
                      <a:lnTo>
                        <a:pt x="126" y="14"/>
                      </a:lnTo>
                      <a:lnTo>
                        <a:pt x="126" y="18"/>
                      </a:lnTo>
                      <a:lnTo>
                        <a:pt x="130" y="18"/>
                      </a:lnTo>
                      <a:lnTo>
                        <a:pt x="130" y="22"/>
                      </a:lnTo>
                      <a:lnTo>
                        <a:pt x="130" y="18"/>
                      </a:lnTo>
                      <a:lnTo>
                        <a:pt x="130" y="14"/>
                      </a:lnTo>
                      <a:lnTo>
                        <a:pt x="134" y="10"/>
                      </a:lnTo>
                      <a:lnTo>
                        <a:pt x="134" y="6"/>
                      </a:lnTo>
                      <a:lnTo>
                        <a:pt x="138" y="6"/>
                      </a:lnTo>
                      <a:lnTo>
                        <a:pt x="142" y="6"/>
                      </a:lnTo>
                      <a:lnTo>
                        <a:pt x="146" y="6"/>
                      </a:lnTo>
                      <a:lnTo>
                        <a:pt x="150" y="6"/>
                      </a:lnTo>
                      <a:lnTo>
                        <a:pt x="152" y="6"/>
                      </a:lnTo>
                      <a:lnTo>
                        <a:pt x="152" y="10"/>
                      </a:lnTo>
                      <a:lnTo>
                        <a:pt x="156" y="10"/>
                      </a:lnTo>
                      <a:lnTo>
                        <a:pt x="156" y="14"/>
                      </a:lnTo>
                      <a:lnTo>
                        <a:pt x="160" y="14"/>
                      </a:lnTo>
                      <a:lnTo>
                        <a:pt x="160" y="18"/>
                      </a:lnTo>
                      <a:lnTo>
                        <a:pt x="164" y="22"/>
                      </a:lnTo>
                      <a:lnTo>
                        <a:pt x="164" y="26"/>
                      </a:lnTo>
                      <a:lnTo>
                        <a:pt x="168" y="26"/>
                      </a:lnTo>
                      <a:lnTo>
                        <a:pt x="168" y="30"/>
                      </a:lnTo>
                      <a:lnTo>
                        <a:pt x="172" y="30"/>
                      </a:lnTo>
                      <a:lnTo>
                        <a:pt x="172" y="34"/>
                      </a:lnTo>
                      <a:lnTo>
                        <a:pt x="176" y="34"/>
                      </a:lnTo>
                      <a:lnTo>
                        <a:pt x="176" y="36"/>
                      </a:lnTo>
                      <a:lnTo>
                        <a:pt x="178" y="36"/>
                      </a:lnTo>
                      <a:lnTo>
                        <a:pt x="182" y="36"/>
                      </a:lnTo>
                      <a:lnTo>
                        <a:pt x="182" y="40"/>
                      </a:lnTo>
                      <a:lnTo>
                        <a:pt x="186" y="40"/>
                      </a:lnTo>
                      <a:lnTo>
                        <a:pt x="190" y="40"/>
                      </a:lnTo>
                      <a:lnTo>
                        <a:pt x="198" y="44"/>
                      </a:lnTo>
                      <a:lnTo>
                        <a:pt x="198" y="48"/>
                      </a:lnTo>
                      <a:lnTo>
                        <a:pt x="202" y="48"/>
                      </a:lnTo>
                      <a:lnTo>
                        <a:pt x="202" y="52"/>
                      </a:lnTo>
                      <a:lnTo>
                        <a:pt x="204" y="52"/>
                      </a:lnTo>
                      <a:lnTo>
                        <a:pt x="208" y="56"/>
                      </a:lnTo>
                      <a:lnTo>
                        <a:pt x="212" y="56"/>
                      </a:lnTo>
                      <a:lnTo>
                        <a:pt x="216" y="60"/>
                      </a:lnTo>
                      <a:lnTo>
                        <a:pt x="220" y="60"/>
                      </a:lnTo>
                      <a:lnTo>
                        <a:pt x="224" y="64"/>
                      </a:lnTo>
                      <a:lnTo>
                        <a:pt x="224" y="66"/>
                      </a:lnTo>
                      <a:lnTo>
                        <a:pt x="228" y="66"/>
                      </a:lnTo>
                      <a:lnTo>
                        <a:pt x="228" y="70"/>
                      </a:lnTo>
                      <a:lnTo>
                        <a:pt x="224" y="70"/>
                      </a:lnTo>
                      <a:lnTo>
                        <a:pt x="224" y="74"/>
                      </a:lnTo>
                      <a:lnTo>
                        <a:pt x="220" y="74"/>
                      </a:lnTo>
                      <a:lnTo>
                        <a:pt x="220" y="78"/>
                      </a:lnTo>
                      <a:lnTo>
                        <a:pt x="216" y="82"/>
                      </a:lnTo>
                      <a:lnTo>
                        <a:pt x="216" y="84"/>
                      </a:lnTo>
                      <a:lnTo>
                        <a:pt x="216" y="88"/>
                      </a:lnTo>
                      <a:lnTo>
                        <a:pt x="216" y="92"/>
                      </a:lnTo>
                      <a:lnTo>
                        <a:pt x="212" y="92"/>
                      </a:lnTo>
                      <a:lnTo>
                        <a:pt x="212" y="96"/>
                      </a:lnTo>
                      <a:lnTo>
                        <a:pt x="208" y="96"/>
                      </a:lnTo>
                      <a:lnTo>
                        <a:pt x="212" y="100"/>
                      </a:lnTo>
                      <a:lnTo>
                        <a:pt x="216" y="100"/>
                      </a:lnTo>
                      <a:lnTo>
                        <a:pt x="220" y="100"/>
                      </a:lnTo>
                      <a:lnTo>
                        <a:pt x="224" y="100"/>
                      </a:lnTo>
                      <a:lnTo>
                        <a:pt x="228" y="104"/>
                      </a:lnTo>
                      <a:lnTo>
                        <a:pt x="230" y="104"/>
                      </a:lnTo>
                      <a:lnTo>
                        <a:pt x="234" y="104"/>
                      </a:lnTo>
                      <a:lnTo>
                        <a:pt x="238" y="104"/>
                      </a:lnTo>
                      <a:lnTo>
                        <a:pt x="242" y="104"/>
                      </a:lnTo>
                      <a:lnTo>
                        <a:pt x="242" y="100"/>
                      </a:lnTo>
                      <a:lnTo>
                        <a:pt x="246" y="100"/>
                      </a:lnTo>
                      <a:lnTo>
                        <a:pt x="250" y="100"/>
                      </a:lnTo>
                      <a:lnTo>
                        <a:pt x="250" y="104"/>
                      </a:lnTo>
                      <a:lnTo>
                        <a:pt x="254" y="104"/>
                      </a:lnTo>
                      <a:lnTo>
                        <a:pt x="254" y="100"/>
                      </a:lnTo>
                      <a:lnTo>
                        <a:pt x="254" y="96"/>
                      </a:lnTo>
                      <a:lnTo>
                        <a:pt x="258" y="92"/>
                      </a:lnTo>
                      <a:lnTo>
                        <a:pt x="260" y="92"/>
                      </a:lnTo>
                      <a:lnTo>
                        <a:pt x="260" y="88"/>
                      </a:lnTo>
                      <a:lnTo>
                        <a:pt x="264" y="88"/>
                      </a:lnTo>
                      <a:lnTo>
                        <a:pt x="264" y="84"/>
                      </a:lnTo>
                      <a:lnTo>
                        <a:pt x="268" y="82"/>
                      </a:lnTo>
                      <a:lnTo>
                        <a:pt x="268" y="78"/>
                      </a:lnTo>
                      <a:lnTo>
                        <a:pt x="268" y="74"/>
                      </a:lnTo>
                      <a:lnTo>
                        <a:pt x="268" y="70"/>
                      </a:lnTo>
                      <a:lnTo>
                        <a:pt x="272" y="70"/>
                      </a:lnTo>
                      <a:lnTo>
                        <a:pt x="272" y="66"/>
                      </a:lnTo>
                      <a:lnTo>
                        <a:pt x="276" y="66"/>
                      </a:lnTo>
                      <a:lnTo>
                        <a:pt x="280" y="70"/>
                      </a:lnTo>
                      <a:lnTo>
                        <a:pt x="280" y="74"/>
                      </a:lnTo>
                      <a:lnTo>
                        <a:pt x="280" y="78"/>
                      </a:lnTo>
                      <a:lnTo>
                        <a:pt x="280" y="82"/>
                      </a:lnTo>
                      <a:lnTo>
                        <a:pt x="280" y="84"/>
                      </a:lnTo>
                      <a:lnTo>
                        <a:pt x="280" y="88"/>
                      </a:lnTo>
                      <a:lnTo>
                        <a:pt x="280" y="92"/>
                      </a:lnTo>
                      <a:lnTo>
                        <a:pt x="280" y="96"/>
                      </a:lnTo>
                      <a:lnTo>
                        <a:pt x="276" y="96"/>
                      </a:lnTo>
                      <a:lnTo>
                        <a:pt x="276" y="100"/>
                      </a:lnTo>
                      <a:lnTo>
                        <a:pt x="272" y="100"/>
                      </a:lnTo>
                      <a:lnTo>
                        <a:pt x="272" y="104"/>
                      </a:lnTo>
                      <a:lnTo>
                        <a:pt x="268" y="104"/>
                      </a:lnTo>
                      <a:lnTo>
                        <a:pt x="264" y="104"/>
                      </a:lnTo>
                      <a:lnTo>
                        <a:pt x="264" y="106"/>
                      </a:lnTo>
                      <a:lnTo>
                        <a:pt x="260" y="110"/>
                      </a:lnTo>
                      <a:lnTo>
                        <a:pt x="258" y="110"/>
                      </a:lnTo>
                      <a:lnTo>
                        <a:pt x="258" y="114"/>
                      </a:lnTo>
                      <a:lnTo>
                        <a:pt x="254" y="114"/>
                      </a:lnTo>
                      <a:lnTo>
                        <a:pt x="250" y="114"/>
                      </a:lnTo>
                      <a:lnTo>
                        <a:pt x="250" y="118"/>
                      </a:lnTo>
                      <a:lnTo>
                        <a:pt x="254" y="118"/>
                      </a:lnTo>
                      <a:lnTo>
                        <a:pt x="250" y="118"/>
                      </a:lnTo>
                      <a:lnTo>
                        <a:pt x="250" y="122"/>
                      </a:lnTo>
                      <a:lnTo>
                        <a:pt x="246" y="122"/>
                      </a:lnTo>
                      <a:lnTo>
                        <a:pt x="246" y="126"/>
                      </a:lnTo>
                      <a:lnTo>
                        <a:pt x="242" y="126"/>
                      </a:lnTo>
                      <a:lnTo>
                        <a:pt x="242" y="130"/>
                      </a:lnTo>
                      <a:lnTo>
                        <a:pt x="242" y="134"/>
                      </a:lnTo>
                      <a:lnTo>
                        <a:pt x="238" y="134"/>
                      </a:lnTo>
                      <a:lnTo>
                        <a:pt x="238" y="136"/>
                      </a:lnTo>
                      <a:lnTo>
                        <a:pt x="234" y="140"/>
                      </a:lnTo>
                      <a:lnTo>
                        <a:pt x="234" y="144"/>
                      </a:lnTo>
                      <a:lnTo>
                        <a:pt x="230" y="144"/>
                      </a:lnTo>
                      <a:lnTo>
                        <a:pt x="228" y="148"/>
                      </a:lnTo>
                      <a:lnTo>
                        <a:pt x="228" y="152"/>
                      </a:lnTo>
                      <a:lnTo>
                        <a:pt x="224" y="152"/>
                      </a:lnTo>
                      <a:lnTo>
                        <a:pt x="224" y="156"/>
                      </a:lnTo>
                      <a:lnTo>
                        <a:pt x="220" y="160"/>
                      </a:lnTo>
                      <a:lnTo>
                        <a:pt x="224" y="162"/>
                      </a:lnTo>
                      <a:lnTo>
                        <a:pt x="220" y="166"/>
                      </a:lnTo>
                      <a:lnTo>
                        <a:pt x="220" y="170"/>
                      </a:lnTo>
                      <a:lnTo>
                        <a:pt x="220" y="174"/>
                      </a:lnTo>
                      <a:lnTo>
                        <a:pt x="220" y="178"/>
                      </a:lnTo>
                      <a:lnTo>
                        <a:pt x="220" y="182"/>
                      </a:lnTo>
                      <a:lnTo>
                        <a:pt x="216" y="182"/>
                      </a:lnTo>
                      <a:lnTo>
                        <a:pt x="216" y="186"/>
                      </a:lnTo>
                      <a:lnTo>
                        <a:pt x="216" y="190"/>
                      </a:lnTo>
                      <a:lnTo>
                        <a:pt x="220" y="190"/>
                      </a:lnTo>
                      <a:lnTo>
                        <a:pt x="220" y="192"/>
                      </a:lnTo>
                      <a:lnTo>
                        <a:pt x="216" y="192"/>
                      </a:lnTo>
                      <a:lnTo>
                        <a:pt x="216" y="196"/>
                      </a:lnTo>
                      <a:lnTo>
                        <a:pt x="216" y="200"/>
                      </a:lnTo>
                      <a:lnTo>
                        <a:pt x="216" y="204"/>
                      </a:lnTo>
                      <a:lnTo>
                        <a:pt x="212" y="204"/>
                      </a:lnTo>
                      <a:lnTo>
                        <a:pt x="212" y="208"/>
                      </a:lnTo>
                      <a:lnTo>
                        <a:pt x="212" y="212"/>
                      </a:lnTo>
                      <a:lnTo>
                        <a:pt x="212" y="216"/>
                      </a:lnTo>
                      <a:lnTo>
                        <a:pt x="212" y="218"/>
                      </a:lnTo>
                      <a:lnTo>
                        <a:pt x="212" y="222"/>
                      </a:lnTo>
                      <a:lnTo>
                        <a:pt x="212" y="226"/>
                      </a:lnTo>
                      <a:lnTo>
                        <a:pt x="212" y="230"/>
                      </a:lnTo>
                      <a:lnTo>
                        <a:pt x="212" y="234"/>
                      </a:lnTo>
                      <a:lnTo>
                        <a:pt x="216" y="234"/>
                      </a:lnTo>
                      <a:lnTo>
                        <a:pt x="216" y="238"/>
                      </a:lnTo>
                      <a:lnTo>
                        <a:pt x="220" y="238"/>
                      </a:lnTo>
                      <a:lnTo>
                        <a:pt x="224" y="238"/>
                      </a:lnTo>
                      <a:lnTo>
                        <a:pt x="228" y="242"/>
                      </a:lnTo>
                      <a:lnTo>
                        <a:pt x="228" y="246"/>
                      </a:lnTo>
                      <a:lnTo>
                        <a:pt x="230" y="246"/>
                      </a:lnTo>
                      <a:lnTo>
                        <a:pt x="230" y="248"/>
                      </a:lnTo>
                      <a:lnTo>
                        <a:pt x="230" y="252"/>
                      </a:lnTo>
                      <a:lnTo>
                        <a:pt x="228" y="256"/>
                      </a:lnTo>
                      <a:lnTo>
                        <a:pt x="228" y="260"/>
                      </a:lnTo>
                      <a:lnTo>
                        <a:pt x="230" y="264"/>
                      </a:lnTo>
                      <a:lnTo>
                        <a:pt x="230" y="268"/>
                      </a:lnTo>
                      <a:lnTo>
                        <a:pt x="234" y="268"/>
                      </a:lnTo>
                      <a:lnTo>
                        <a:pt x="238" y="268"/>
                      </a:lnTo>
                      <a:lnTo>
                        <a:pt x="238" y="272"/>
                      </a:lnTo>
                      <a:lnTo>
                        <a:pt x="238" y="274"/>
                      </a:lnTo>
                      <a:lnTo>
                        <a:pt x="238" y="278"/>
                      </a:lnTo>
                      <a:lnTo>
                        <a:pt x="234" y="282"/>
                      </a:lnTo>
                      <a:lnTo>
                        <a:pt x="234" y="286"/>
                      </a:lnTo>
                      <a:lnTo>
                        <a:pt x="230" y="286"/>
                      </a:lnTo>
                      <a:lnTo>
                        <a:pt x="230" y="290"/>
                      </a:lnTo>
                      <a:lnTo>
                        <a:pt x="228" y="294"/>
                      </a:lnTo>
                      <a:lnTo>
                        <a:pt x="228" y="298"/>
                      </a:lnTo>
                      <a:lnTo>
                        <a:pt x="228" y="302"/>
                      </a:lnTo>
                      <a:lnTo>
                        <a:pt x="224" y="302"/>
                      </a:lnTo>
                      <a:lnTo>
                        <a:pt x="224" y="304"/>
                      </a:lnTo>
                      <a:lnTo>
                        <a:pt x="216" y="304"/>
                      </a:lnTo>
                      <a:lnTo>
                        <a:pt x="216" y="308"/>
                      </a:lnTo>
                      <a:lnTo>
                        <a:pt x="208" y="308"/>
                      </a:lnTo>
                      <a:lnTo>
                        <a:pt x="204" y="312"/>
                      </a:lnTo>
                      <a:lnTo>
                        <a:pt x="202" y="312"/>
                      </a:lnTo>
                      <a:lnTo>
                        <a:pt x="198" y="312"/>
                      </a:lnTo>
                      <a:lnTo>
                        <a:pt x="194" y="316"/>
                      </a:lnTo>
                      <a:lnTo>
                        <a:pt x="190" y="316"/>
                      </a:lnTo>
                      <a:lnTo>
                        <a:pt x="186" y="316"/>
                      </a:lnTo>
                      <a:lnTo>
                        <a:pt x="182" y="316"/>
                      </a:lnTo>
                      <a:lnTo>
                        <a:pt x="178" y="316"/>
                      </a:lnTo>
                      <a:lnTo>
                        <a:pt x="176" y="316"/>
                      </a:lnTo>
                      <a:lnTo>
                        <a:pt x="172" y="316"/>
                      </a:lnTo>
                      <a:lnTo>
                        <a:pt x="168" y="316"/>
                      </a:lnTo>
                      <a:lnTo>
                        <a:pt x="164" y="316"/>
                      </a:lnTo>
                      <a:lnTo>
                        <a:pt x="160" y="316"/>
                      </a:lnTo>
                      <a:lnTo>
                        <a:pt x="160" y="312"/>
                      </a:lnTo>
                      <a:lnTo>
                        <a:pt x="156" y="312"/>
                      </a:lnTo>
                      <a:lnTo>
                        <a:pt x="156" y="316"/>
                      </a:lnTo>
                      <a:lnTo>
                        <a:pt x="160" y="316"/>
                      </a:lnTo>
                      <a:lnTo>
                        <a:pt x="160" y="320"/>
                      </a:lnTo>
                      <a:lnTo>
                        <a:pt x="156" y="320"/>
                      </a:lnTo>
                      <a:lnTo>
                        <a:pt x="156" y="324"/>
                      </a:lnTo>
                      <a:lnTo>
                        <a:pt x="160" y="324"/>
                      </a:lnTo>
                      <a:lnTo>
                        <a:pt x="164" y="324"/>
                      </a:lnTo>
                      <a:lnTo>
                        <a:pt x="164" y="328"/>
                      </a:lnTo>
                      <a:lnTo>
                        <a:pt x="160" y="324"/>
                      </a:lnTo>
                      <a:lnTo>
                        <a:pt x="160" y="328"/>
                      </a:lnTo>
                      <a:lnTo>
                        <a:pt x="160" y="330"/>
                      </a:lnTo>
                      <a:lnTo>
                        <a:pt x="160" y="334"/>
                      </a:lnTo>
                      <a:lnTo>
                        <a:pt x="156" y="338"/>
                      </a:lnTo>
                      <a:lnTo>
                        <a:pt x="156" y="342"/>
                      </a:lnTo>
                      <a:lnTo>
                        <a:pt x="156" y="346"/>
                      </a:lnTo>
                      <a:lnTo>
                        <a:pt x="160" y="346"/>
                      </a:lnTo>
                      <a:lnTo>
                        <a:pt x="160" y="350"/>
                      </a:lnTo>
                      <a:lnTo>
                        <a:pt x="156" y="350"/>
                      </a:lnTo>
                      <a:lnTo>
                        <a:pt x="160" y="350"/>
                      </a:lnTo>
                      <a:lnTo>
                        <a:pt x="160" y="354"/>
                      </a:lnTo>
                      <a:lnTo>
                        <a:pt x="156" y="354"/>
                      </a:lnTo>
                      <a:lnTo>
                        <a:pt x="152" y="358"/>
                      </a:lnTo>
                      <a:lnTo>
                        <a:pt x="150" y="358"/>
                      </a:lnTo>
                      <a:lnTo>
                        <a:pt x="150" y="360"/>
                      </a:lnTo>
                      <a:lnTo>
                        <a:pt x="146" y="360"/>
                      </a:lnTo>
                      <a:lnTo>
                        <a:pt x="142" y="360"/>
                      </a:lnTo>
                      <a:lnTo>
                        <a:pt x="138" y="360"/>
                      </a:lnTo>
                      <a:lnTo>
                        <a:pt x="138" y="358"/>
                      </a:lnTo>
                      <a:lnTo>
                        <a:pt x="134" y="358"/>
                      </a:lnTo>
                      <a:lnTo>
                        <a:pt x="130" y="358"/>
                      </a:lnTo>
                      <a:lnTo>
                        <a:pt x="126" y="354"/>
                      </a:lnTo>
                      <a:lnTo>
                        <a:pt x="122" y="354"/>
                      </a:lnTo>
                      <a:lnTo>
                        <a:pt x="122" y="350"/>
                      </a:lnTo>
                      <a:lnTo>
                        <a:pt x="120" y="350"/>
                      </a:lnTo>
                      <a:lnTo>
                        <a:pt x="120" y="354"/>
                      </a:lnTo>
                      <a:lnTo>
                        <a:pt x="120" y="358"/>
                      </a:lnTo>
                      <a:lnTo>
                        <a:pt x="120" y="360"/>
                      </a:lnTo>
                      <a:lnTo>
                        <a:pt x="120" y="364"/>
                      </a:lnTo>
                      <a:lnTo>
                        <a:pt x="120" y="368"/>
                      </a:lnTo>
                      <a:lnTo>
                        <a:pt x="120" y="372"/>
                      </a:lnTo>
                      <a:lnTo>
                        <a:pt x="120" y="376"/>
                      </a:lnTo>
                      <a:lnTo>
                        <a:pt x="120" y="380"/>
                      </a:lnTo>
                      <a:lnTo>
                        <a:pt x="122" y="380"/>
                      </a:lnTo>
                      <a:lnTo>
                        <a:pt x="126" y="380"/>
                      </a:lnTo>
                      <a:lnTo>
                        <a:pt x="126" y="384"/>
                      </a:lnTo>
                      <a:lnTo>
                        <a:pt x="134" y="384"/>
                      </a:lnTo>
                      <a:lnTo>
                        <a:pt x="134" y="380"/>
                      </a:lnTo>
                      <a:lnTo>
                        <a:pt x="130" y="380"/>
                      </a:lnTo>
                      <a:lnTo>
                        <a:pt x="134" y="380"/>
                      </a:lnTo>
                      <a:lnTo>
                        <a:pt x="138" y="380"/>
                      </a:lnTo>
                      <a:lnTo>
                        <a:pt x="138" y="376"/>
                      </a:lnTo>
                      <a:lnTo>
                        <a:pt x="138" y="380"/>
                      </a:lnTo>
                      <a:lnTo>
                        <a:pt x="142" y="380"/>
                      </a:lnTo>
                      <a:lnTo>
                        <a:pt x="142" y="384"/>
                      </a:lnTo>
                      <a:lnTo>
                        <a:pt x="142" y="386"/>
                      </a:lnTo>
                      <a:lnTo>
                        <a:pt x="142" y="390"/>
                      </a:lnTo>
                      <a:lnTo>
                        <a:pt x="138" y="390"/>
                      </a:lnTo>
                      <a:lnTo>
                        <a:pt x="134" y="394"/>
                      </a:lnTo>
                      <a:lnTo>
                        <a:pt x="130" y="390"/>
                      </a:lnTo>
                      <a:lnTo>
                        <a:pt x="130" y="386"/>
                      </a:lnTo>
                      <a:lnTo>
                        <a:pt x="126" y="386"/>
                      </a:lnTo>
                      <a:lnTo>
                        <a:pt x="122" y="386"/>
                      </a:lnTo>
                      <a:lnTo>
                        <a:pt x="120" y="390"/>
                      </a:lnTo>
                      <a:lnTo>
                        <a:pt x="122" y="390"/>
                      </a:lnTo>
                      <a:lnTo>
                        <a:pt x="122" y="394"/>
                      </a:lnTo>
                      <a:lnTo>
                        <a:pt x="126" y="394"/>
                      </a:lnTo>
                      <a:lnTo>
                        <a:pt x="130" y="394"/>
                      </a:lnTo>
                      <a:lnTo>
                        <a:pt x="130" y="398"/>
                      </a:lnTo>
                      <a:lnTo>
                        <a:pt x="126" y="398"/>
                      </a:lnTo>
                      <a:lnTo>
                        <a:pt x="122" y="398"/>
                      </a:lnTo>
                      <a:lnTo>
                        <a:pt x="122" y="402"/>
                      </a:lnTo>
                      <a:lnTo>
                        <a:pt x="120" y="402"/>
                      </a:lnTo>
                      <a:lnTo>
                        <a:pt x="120" y="406"/>
                      </a:lnTo>
                      <a:lnTo>
                        <a:pt x="116" y="406"/>
                      </a:lnTo>
                      <a:lnTo>
                        <a:pt x="116" y="410"/>
                      </a:lnTo>
                      <a:lnTo>
                        <a:pt x="116" y="414"/>
                      </a:lnTo>
                      <a:lnTo>
                        <a:pt x="120" y="414"/>
                      </a:lnTo>
                      <a:lnTo>
                        <a:pt x="116" y="416"/>
                      </a:lnTo>
                      <a:lnTo>
                        <a:pt x="116" y="420"/>
                      </a:lnTo>
                      <a:lnTo>
                        <a:pt x="116" y="424"/>
                      </a:lnTo>
                      <a:lnTo>
                        <a:pt x="112" y="428"/>
                      </a:lnTo>
                      <a:lnTo>
                        <a:pt x="112" y="432"/>
                      </a:lnTo>
                      <a:lnTo>
                        <a:pt x="112" y="436"/>
                      </a:lnTo>
                      <a:lnTo>
                        <a:pt x="108" y="436"/>
                      </a:lnTo>
                      <a:lnTo>
                        <a:pt x="106" y="436"/>
                      </a:lnTo>
                      <a:lnTo>
                        <a:pt x="102" y="436"/>
                      </a:lnTo>
                      <a:lnTo>
                        <a:pt x="102" y="440"/>
                      </a:lnTo>
                      <a:lnTo>
                        <a:pt x="98" y="440"/>
                      </a:lnTo>
                      <a:lnTo>
                        <a:pt x="94" y="440"/>
                      </a:lnTo>
                      <a:lnTo>
                        <a:pt x="94" y="442"/>
                      </a:lnTo>
                      <a:lnTo>
                        <a:pt x="90" y="442"/>
                      </a:lnTo>
                      <a:lnTo>
                        <a:pt x="90" y="446"/>
                      </a:lnTo>
                      <a:lnTo>
                        <a:pt x="86" y="446"/>
                      </a:lnTo>
                      <a:lnTo>
                        <a:pt x="86" y="450"/>
                      </a:lnTo>
                      <a:lnTo>
                        <a:pt x="86" y="454"/>
                      </a:lnTo>
                      <a:lnTo>
                        <a:pt x="82" y="458"/>
                      </a:lnTo>
                      <a:lnTo>
                        <a:pt x="86" y="462"/>
                      </a:lnTo>
                      <a:lnTo>
                        <a:pt x="86" y="466"/>
                      </a:lnTo>
                      <a:lnTo>
                        <a:pt x="86" y="470"/>
                      </a:lnTo>
                      <a:lnTo>
                        <a:pt x="90" y="470"/>
                      </a:lnTo>
                      <a:lnTo>
                        <a:pt x="94" y="472"/>
                      </a:lnTo>
                      <a:lnTo>
                        <a:pt x="94" y="476"/>
                      </a:lnTo>
                      <a:lnTo>
                        <a:pt x="98" y="476"/>
                      </a:lnTo>
                      <a:lnTo>
                        <a:pt x="102" y="476"/>
                      </a:lnTo>
                      <a:lnTo>
                        <a:pt x="106" y="476"/>
                      </a:lnTo>
                      <a:lnTo>
                        <a:pt x="108" y="476"/>
                      </a:lnTo>
                      <a:lnTo>
                        <a:pt x="108" y="480"/>
                      </a:lnTo>
                      <a:lnTo>
                        <a:pt x="112" y="484"/>
                      </a:lnTo>
                      <a:lnTo>
                        <a:pt x="108" y="488"/>
                      </a:lnTo>
                      <a:lnTo>
                        <a:pt x="108" y="490"/>
                      </a:lnTo>
                      <a:lnTo>
                        <a:pt x="106" y="490"/>
                      </a:lnTo>
                      <a:lnTo>
                        <a:pt x="108" y="490"/>
                      </a:lnTo>
                      <a:lnTo>
                        <a:pt x="108" y="494"/>
                      </a:lnTo>
                      <a:lnTo>
                        <a:pt x="108" y="498"/>
                      </a:lnTo>
                      <a:lnTo>
                        <a:pt x="106" y="498"/>
                      </a:lnTo>
                      <a:lnTo>
                        <a:pt x="102" y="502"/>
                      </a:lnTo>
                      <a:lnTo>
                        <a:pt x="98" y="502"/>
                      </a:lnTo>
                      <a:lnTo>
                        <a:pt x="98" y="506"/>
                      </a:lnTo>
                      <a:lnTo>
                        <a:pt x="94" y="506"/>
                      </a:lnTo>
                      <a:lnTo>
                        <a:pt x="94" y="510"/>
                      </a:lnTo>
                      <a:lnTo>
                        <a:pt x="90" y="510"/>
                      </a:lnTo>
                      <a:lnTo>
                        <a:pt x="90" y="512"/>
                      </a:lnTo>
                      <a:lnTo>
                        <a:pt x="86" y="512"/>
                      </a:lnTo>
                      <a:lnTo>
                        <a:pt x="86" y="516"/>
                      </a:lnTo>
                      <a:lnTo>
                        <a:pt x="82" y="516"/>
                      </a:lnTo>
                      <a:lnTo>
                        <a:pt x="82" y="520"/>
                      </a:lnTo>
                      <a:lnTo>
                        <a:pt x="82" y="524"/>
                      </a:lnTo>
                      <a:lnTo>
                        <a:pt x="82" y="520"/>
                      </a:lnTo>
                      <a:lnTo>
                        <a:pt x="82" y="524"/>
                      </a:lnTo>
                      <a:lnTo>
                        <a:pt x="82" y="528"/>
                      </a:lnTo>
                      <a:lnTo>
                        <a:pt x="82" y="532"/>
                      </a:lnTo>
                      <a:lnTo>
                        <a:pt x="82" y="536"/>
                      </a:lnTo>
                      <a:lnTo>
                        <a:pt x="80" y="536"/>
                      </a:lnTo>
                      <a:lnTo>
                        <a:pt x="80" y="540"/>
                      </a:lnTo>
                      <a:lnTo>
                        <a:pt x="76" y="540"/>
                      </a:lnTo>
                      <a:lnTo>
                        <a:pt x="72" y="540"/>
                      </a:lnTo>
                      <a:lnTo>
                        <a:pt x="72" y="536"/>
                      </a:lnTo>
                      <a:lnTo>
                        <a:pt x="68" y="536"/>
                      </a:lnTo>
                      <a:lnTo>
                        <a:pt x="64" y="536"/>
                      </a:lnTo>
                      <a:lnTo>
                        <a:pt x="68" y="536"/>
                      </a:lnTo>
                      <a:lnTo>
                        <a:pt x="72" y="536"/>
                      </a:lnTo>
                      <a:lnTo>
                        <a:pt x="72" y="540"/>
                      </a:lnTo>
                      <a:lnTo>
                        <a:pt x="76" y="540"/>
                      </a:lnTo>
                      <a:lnTo>
                        <a:pt x="72" y="540"/>
                      </a:lnTo>
                      <a:lnTo>
                        <a:pt x="72" y="542"/>
                      </a:lnTo>
                      <a:lnTo>
                        <a:pt x="68" y="542"/>
                      </a:lnTo>
                      <a:lnTo>
                        <a:pt x="64" y="542"/>
                      </a:lnTo>
                      <a:lnTo>
                        <a:pt x="64" y="546"/>
                      </a:lnTo>
                      <a:lnTo>
                        <a:pt x="64" y="550"/>
                      </a:lnTo>
                      <a:lnTo>
                        <a:pt x="64" y="554"/>
                      </a:lnTo>
                      <a:lnTo>
                        <a:pt x="60" y="558"/>
                      </a:lnTo>
                      <a:lnTo>
                        <a:pt x="64" y="558"/>
                      </a:lnTo>
                      <a:lnTo>
                        <a:pt x="64" y="562"/>
                      </a:lnTo>
                      <a:lnTo>
                        <a:pt x="64" y="566"/>
                      </a:lnTo>
                      <a:lnTo>
                        <a:pt x="64" y="568"/>
                      </a:lnTo>
                      <a:lnTo>
                        <a:pt x="60" y="568"/>
                      </a:lnTo>
                      <a:lnTo>
                        <a:pt x="56" y="568"/>
                      </a:lnTo>
                      <a:lnTo>
                        <a:pt x="60" y="568"/>
                      </a:lnTo>
                      <a:lnTo>
                        <a:pt x="64" y="568"/>
                      </a:lnTo>
                      <a:lnTo>
                        <a:pt x="64" y="572"/>
                      </a:lnTo>
                      <a:lnTo>
                        <a:pt x="68" y="572"/>
                      </a:lnTo>
                      <a:lnTo>
                        <a:pt x="68" y="576"/>
                      </a:lnTo>
                      <a:lnTo>
                        <a:pt x="68" y="580"/>
                      </a:lnTo>
                      <a:lnTo>
                        <a:pt x="72" y="580"/>
                      </a:lnTo>
                      <a:lnTo>
                        <a:pt x="72" y="584"/>
                      </a:lnTo>
                      <a:lnTo>
                        <a:pt x="72" y="588"/>
                      </a:lnTo>
                      <a:lnTo>
                        <a:pt x="72" y="584"/>
                      </a:lnTo>
                      <a:lnTo>
                        <a:pt x="68" y="584"/>
                      </a:lnTo>
                      <a:lnTo>
                        <a:pt x="64" y="584"/>
                      </a:lnTo>
                      <a:lnTo>
                        <a:pt x="60" y="580"/>
                      </a:lnTo>
                      <a:lnTo>
                        <a:pt x="56" y="580"/>
                      </a:lnTo>
                      <a:lnTo>
                        <a:pt x="54" y="580"/>
                      </a:lnTo>
                      <a:lnTo>
                        <a:pt x="50" y="580"/>
                      </a:lnTo>
                      <a:lnTo>
                        <a:pt x="46" y="580"/>
                      </a:lnTo>
                      <a:lnTo>
                        <a:pt x="42" y="580"/>
                      </a:lnTo>
                      <a:lnTo>
                        <a:pt x="34" y="580"/>
                      </a:lnTo>
                      <a:lnTo>
                        <a:pt x="28" y="580"/>
                      </a:lnTo>
                      <a:lnTo>
                        <a:pt x="24" y="576"/>
                      </a:lnTo>
                      <a:lnTo>
                        <a:pt x="20" y="572"/>
                      </a:lnTo>
                      <a:lnTo>
                        <a:pt x="16" y="568"/>
                      </a:lnTo>
                      <a:lnTo>
                        <a:pt x="20" y="566"/>
                      </a:lnTo>
                      <a:lnTo>
                        <a:pt x="20" y="562"/>
                      </a:lnTo>
                      <a:lnTo>
                        <a:pt x="16" y="562"/>
                      </a:lnTo>
                      <a:lnTo>
                        <a:pt x="16" y="558"/>
                      </a:lnTo>
                      <a:lnTo>
                        <a:pt x="20" y="558"/>
                      </a:lnTo>
                      <a:lnTo>
                        <a:pt x="20" y="554"/>
                      </a:lnTo>
                      <a:lnTo>
                        <a:pt x="16" y="550"/>
                      </a:lnTo>
                      <a:lnTo>
                        <a:pt x="20" y="550"/>
                      </a:lnTo>
                      <a:lnTo>
                        <a:pt x="16" y="550"/>
                      </a:lnTo>
                      <a:lnTo>
                        <a:pt x="12" y="550"/>
                      </a:lnTo>
                      <a:lnTo>
                        <a:pt x="8" y="550"/>
                      </a:lnTo>
                      <a:lnTo>
                        <a:pt x="8" y="554"/>
                      </a:lnTo>
                      <a:lnTo>
                        <a:pt x="4" y="554"/>
                      </a:lnTo>
                      <a:lnTo>
                        <a:pt x="4" y="550"/>
                      </a:lnTo>
                      <a:lnTo>
                        <a:pt x="4" y="546"/>
                      </a:lnTo>
                      <a:lnTo>
                        <a:pt x="4" y="542"/>
                      </a:lnTo>
                      <a:lnTo>
                        <a:pt x="0" y="540"/>
                      </a:lnTo>
                      <a:lnTo>
                        <a:pt x="0" y="536"/>
                      </a:lnTo>
                      <a:lnTo>
                        <a:pt x="0" y="532"/>
                      </a:lnTo>
                      <a:lnTo>
                        <a:pt x="0" y="528"/>
                      </a:lnTo>
                      <a:lnTo>
                        <a:pt x="0" y="524"/>
                      </a:lnTo>
                      <a:lnTo>
                        <a:pt x="0" y="520"/>
                      </a:lnTo>
                      <a:lnTo>
                        <a:pt x="4" y="520"/>
                      </a:lnTo>
                      <a:lnTo>
                        <a:pt x="8" y="520"/>
                      </a:lnTo>
                      <a:lnTo>
                        <a:pt x="4" y="520"/>
                      </a:lnTo>
                      <a:lnTo>
                        <a:pt x="8" y="516"/>
                      </a:lnTo>
                      <a:lnTo>
                        <a:pt x="8" y="512"/>
                      </a:lnTo>
                      <a:lnTo>
                        <a:pt x="12" y="512"/>
                      </a:lnTo>
                      <a:lnTo>
                        <a:pt x="16" y="512"/>
                      </a:lnTo>
                      <a:lnTo>
                        <a:pt x="16" y="510"/>
                      </a:lnTo>
                      <a:lnTo>
                        <a:pt x="16" y="506"/>
                      </a:lnTo>
                      <a:lnTo>
                        <a:pt x="12" y="506"/>
                      </a:lnTo>
                      <a:lnTo>
                        <a:pt x="16" y="506"/>
                      </a:lnTo>
                      <a:lnTo>
                        <a:pt x="16" y="502"/>
                      </a:lnTo>
                      <a:lnTo>
                        <a:pt x="20" y="502"/>
                      </a:lnTo>
                      <a:lnTo>
                        <a:pt x="20" y="498"/>
                      </a:lnTo>
                      <a:lnTo>
                        <a:pt x="16" y="494"/>
                      </a:lnTo>
                      <a:lnTo>
                        <a:pt x="16" y="490"/>
                      </a:lnTo>
                      <a:lnTo>
                        <a:pt x="16" y="488"/>
                      </a:lnTo>
                      <a:lnTo>
                        <a:pt x="20" y="488"/>
                      </a:lnTo>
                      <a:lnTo>
                        <a:pt x="16" y="484"/>
                      </a:lnTo>
                      <a:lnTo>
                        <a:pt x="20" y="484"/>
                      </a:lnTo>
                      <a:lnTo>
                        <a:pt x="24" y="480"/>
                      </a:lnTo>
                      <a:lnTo>
                        <a:pt x="24" y="476"/>
                      </a:lnTo>
                      <a:lnTo>
                        <a:pt x="24" y="472"/>
                      </a:lnTo>
                      <a:lnTo>
                        <a:pt x="28" y="470"/>
                      </a:lnTo>
                      <a:lnTo>
                        <a:pt x="28" y="466"/>
                      </a:lnTo>
                      <a:lnTo>
                        <a:pt x="28" y="462"/>
                      </a:lnTo>
                      <a:lnTo>
                        <a:pt x="28" y="458"/>
                      </a:lnTo>
                      <a:lnTo>
                        <a:pt x="24" y="458"/>
                      </a:lnTo>
                      <a:lnTo>
                        <a:pt x="28" y="458"/>
                      </a:lnTo>
                      <a:lnTo>
                        <a:pt x="28" y="454"/>
                      </a:lnTo>
                      <a:lnTo>
                        <a:pt x="28" y="450"/>
                      </a:lnTo>
                      <a:lnTo>
                        <a:pt x="28" y="446"/>
                      </a:lnTo>
                      <a:lnTo>
                        <a:pt x="30" y="442"/>
                      </a:lnTo>
                      <a:lnTo>
                        <a:pt x="30" y="440"/>
                      </a:lnTo>
                      <a:lnTo>
                        <a:pt x="30" y="436"/>
                      </a:lnTo>
                      <a:lnTo>
                        <a:pt x="28" y="436"/>
                      </a:lnTo>
                      <a:lnTo>
                        <a:pt x="24" y="436"/>
                      </a:lnTo>
                      <a:lnTo>
                        <a:pt x="24" y="432"/>
                      </a:lnTo>
                      <a:lnTo>
                        <a:pt x="20" y="432"/>
                      </a:lnTo>
                      <a:lnTo>
                        <a:pt x="24" y="432"/>
                      </a:lnTo>
                      <a:lnTo>
                        <a:pt x="28" y="432"/>
                      </a:lnTo>
                      <a:lnTo>
                        <a:pt x="30" y="432"/>
                      </a:lnTo>
                      <a:lnTo>
                        <a:pt x="34" y="432"/>
                      </a:lnTo>
                      <a:lnTo>
                        <a:pt x="34" y="428"/>
                      </a:lnTo>
                      <a:lnTo>
                        <a:pt x="34" y="424"/>
                      </a:lnTo>
                      <a:lnTo>
                        <a:pt x="30" y="424"/>
                      </a:lnTo>
                      <a:lnTo>
                        <a:pt x="28" y="424"/>
                      </a:lnTo>
                      <a:lnTo>
                        <a:pt x="24" y="424"/>
                      </a:lnTo>
                      <a:lnTo>
                        <a:pt x="24" y="420"/>
                      </a:lnTo>
                      <a:lnTo>
                        <a:pt x="28" y="420"/>
                      </a:lnTo>
                      <a:lnTo>
                        <a:pt x="24" y="416"/>
                      </a:lnTo>
                      <a:lnTo>
                        <a:pt x="28" y="416"/>
                      </a:lnTo>
                      <a:lnTo>
                        <a:pt x="28" y="414"/>
                      </a:lnTo>
                      <a:lnTo>
                        <a:pt x="28" y="410"/>
                      </a:lnTo>
                      <a:lnTo>
                        <a:pt x="28" y="406"/>
                      </a:lnTo>
                      <a:lnTo>
                        <a:pt x="24" y="406"/>
                      </a:lnTo>
                      <a:lnTo>
                        <a:pt x="24" y="402"/>
                      </a:lnTo>
                      <a:lnTo>
                        <a:pt x="28" y="402"/>
                      </a:lnTo>
                      <a:lnTo>
                        <a:pt x="28" y="398"/>
                      </a:lnTo>
                      <a:lnTo>
                        <a:pt x="24" y="398"/>
                      </a:lnTo>
                      <a:lnTo>
                        <a:pt x="20" y="398"/>
                      </a:lnTo>
                      <a:lnTo>
                        <a:pt x="20" y="394"/>
                      </a:lnTo>
                      <a:lnTo>
                        <a:pt x="20" y="390"/>
                      </a:lnTo>
                      <a:lnTo>
                        <a:pt x="20" y="386"/>
                      </a:lnTo>
                      <a:lnTo>
                        <a:pt x="24" y="384"/>
                      </a:lnTo>
                      <a:lnTo>
                        <a:pt x="20" y="384"/>
                      </a:lnTo>
                      <a:lnTo>
                        <a:pt x="24" y="380"/>
                      </a:lnTo>
                      <a:lnTo>
                        <a:pt x="28" y="380"/>
                      </a:lnTo>
                      <a:lnTo>
                        <a:pt x="28" y="376"/>
                      </a:lnTo>
                      <a:lnTo>
                        <a:pt x="28" y="372"/>
                      </a:lnTo>
                      <a:lnTo>
                        <a:pt x="24" y="372"/>
                      </a:lnTo>
                      <a:lnTo>
                        <a:pt x="24" y="368"/>
                      </a:lnTo>
                      <a:lnTo>
                        <a:pt x="24" y="364"/>
                      </a:lnTo>
                      <a:lnTo>
                        <a:pt x="24" y="360"/>
                      </a:lnTo>
                      <a:lnTo>
                        <a:pt x="24" y="358"/>
                      </a:lnTo>
                      <a:lnTo>
                        <a:pt x="24" y="358"/>
                      </a:lnTo>
                      <a:lnTo>
                        <a:pt x="24" y="358"/>
                      </a:lnTo>
                      <a:close/>
                      <a:moveTo>
                        <a:pt x="164" y="324"/>
                      </a:moveTo>
                      <a:lnTo>
                        <a:pt x="160" y="320"/>
                      </a:lnTo>
                      <a:lnTo>
                        <a:pt x="164" y="320"/>
                      </a:lnTo>
                      <a:lnTo>
                        <a:pt x="164" y="324"/>
                      </a:lnTo>
                      <a:lnTo>
                        <a:pt x="164" y="324"/>
                      </a:lnTo>
                      <a:lnTo>
                        <a:pt x="164" y="324"/>
                      </a:lnTo>
                      <a:close/>
                      <a:moveTo>
                        <a:pt x="72" y="592"/>
                      </a:moveTo>
                      <a:lnTo>
                        <a:pt x="72" y="596"/>
                      </a:lnTo>
                      <a:lnTo>
                        <a:pt x="76" y="598"/>
                      </a:lnTo>
                      <a:lnTo>
                        <a:pt x="76" y="602"/>
                      </a:lnTo>
                      <a:lnTo>
                        <a:pt x="76" y="598"/>
                      </a:lnTo>
                      <a:lnTo>
                        <a:pt x="72" y="598"/>
                      </a:lnTo>
                      <a:lnTo>
                        <a:pt x="72" y="602"/>
                      </a:lnTo>
                      <a:lnTo>
                        <a:pt x="72" y="606"/>
                      </a:lnTo>
                      <a:lnTo>
                        <a:pt x="76" y="606"/>
                      </a:lnTo>
                      <a:lnTo>
                        <a:pt x="80" y="606"/>
                      </a:lnTo>
                      <a:lnTo>
                        <a:pt x="80" y="610"/>
                      </a:lnTo>
                      <a:lnTo>
                        <a:pt x="80" y="614"/>
                      </a:lnTo>
                      <a:lnTo>
                        <a:pt x="82" y="614"/>
                      </a:lnTo>
                      <a:lnTo>
                        <a:pt x="82" y="618"/>
                      </a:lnTo>
                      <a:lnTo>
                        <a:pt x="86" y="618"/>
                      </a:lnTo>
                      <a:lnTo>
                        <a:pt x="86" y="622"/>
                      </a:lnTo>
                      <a:lnTo>
                        <a:pt x="90" y="622"/>
                      </a:lnTo>
                      <a:lnTo>
                        <a:pt x="94" y="626"/>
                      </a:lnTo>
                      <a:lnTo>
                        <a:pt x="98" y="626"/>
                      </a:lnTo>
                      <a:lnTo>
                        <a:pt x="98" y="628"/>
                      </a:lnTo>
                      <a:lnTo>
                        <a:pt x="102" y="632"/>
                      </a:lnTo>
                      <a:lnTo>
                        <a:pt x="106" y="632"/>
                      </a:lnTo>
                      <a:lnTo>
                        <a:pt x="108" y="636"/>
                      </a:lnTo>
                      <a:lnTo>
                        <a:pt x="112" y="636"/>
                      </a:lnTo>
                      <a:lnTo>
                        <a:pt x="116" y="636"/>
                      </a:lnTo>
                      <a:lnTo>
                        <a:pt x="120" y="636"/>
                      </a:lnTo>
                      <a:lnTo>
                        <a:pt x="116" y="640"/>
                      </a:lnTo>
                      <a:lnTo>
                        <a:pt x="112" y="640"/>
                      </a:lnTo>
                      <a:lnTo>
                        <a:pt x="108" y="640"/>
                      </a:lnTo>
                      <a:lnTo>
                        <a:pt x="106" y="644"/>
                      </a:lnTo>
                      <a:lnTo>
                        <a:pt x="102" y="644"/>
                      </a:lnTo>
                      <a:lnTo>
                        <a:pt x="98" y="644"/>
                      </a:lnTo>
                      <a:lnTo>
                        <a:pt x="98" y="640"/>
                      </a:lnTo>
                      <a:lnTo>
                        <a:pt x="94" y="640"/>
                      </a:lnTo>
                      <a:lnTo>
                        <a:pt x="90" y="640"/>
                      </a:lnTo>
                      <a:lnTo>
                        <a:pt x="86" y="640"/>
                      </a:lnTo>
                      <a:lnTo>
                        <a:pt x="82" y="640"/>
                      </a:lnTo>
                      <a:lnTo>
                        <a:pt x="80" y="640"/>
                      </a:lnTo>
                      <a:lnTo>
                        <a:pt x="76" y="640"/>
                      </a:lnTo>
                      <a:lnTo>
                        <a:pt x="72" y="640"/>
                      </a:lnTo>
                      <a:lnTo>
                        <a:pt x="72" y="632"/>
                      </a:lnTo>
                      <a:lnTo>
                        <a:pt x="72" y="628"/>
                      </a:lnTo>
                      <a:lnTo>
                        <a:pt x="72" y="622"/>
                      </a:lnTo>
                      <a:lnTo>
                        <a:pt x="72" y="618"/>
                      </a:lnTo>
                      <a:lnTo>
                        <a:pt x="72" y="610"/>
                      </a:lnTo>
                      <a:lnTo>
                        <a:pt x="72" y="606"/>
                      </a:lnTo>
                      <a:lnTo>
                        <a:pt x="72" y="602"/>
                      </a:lnTo>
                      <a:lnTo>
                        <a:pt x="72" y="596"/>
                      </a:lnTo>
                      <a:lnTo>
                        <a:pt x="72" y="592"/>
                      </a:lnTo>
                      <a:lnTo>
                        <a:pt x="72" y="592"/>
                      </a:lnTo>
                      <a:lnTo>
                        <a:pt x="72" y="592"/>
                      </a:lnTo>
                      <a:close/>
                      <a:moveTo>
                        <a:pt x="126" y="640"/>
                      </a:moveTo>
                      <a:lnTo>
                        <a:pt x="122" y="640"/>
                      </a:lnTo>
                      <a:lnTo>
                        <a:pt x="126" y="636"/>
                      </a:lnTo>
                      <a:lnTo>
                        <a:pt x="126" y="640"/>
                      </a:lnTo>
                      <a:lnTo>
                        <a:pt x="126" y="636"/>
                      </a:lnTo>
                      <a:lnTo>
                        <a:pt x="130" y="636"/>
                      </a:lnTo>
                      <a:lnTo>
                        <a:pt x="134" y="636"/>
                      </a:lnTo>
                      <a:lnTo>
                        <a:pt x="138" y="636"/>
                      </a:lnTo>
                      <a:lnTo>
                        <a:pt x="138" y="640"/>
                      </a:lnTo>
                      <a:lnTo>
                        <a:pt x="134" y="640"/>
                      </a:lnTo>
                      <a:lnTo>
                        <a:pt x="134" y="636"/>
                      </a:lnTo>
                      <a:lnTo>
                        <a:pt x="134" y="640"/>
                      </a:lnTo>
                      <a:lnTo>
                        <a:pt x="130" y="640"/>
                      </a:lnTo>
                      <a:lnTo>
                        <a:pt x="126" y="640"/>
                      </a:lnTo>
                      <a:lnTo>
                        <a:pt x="126" y="640"/>
                      </a:lnTo>
                      <a:lnTo>
                        <a:pt x="126" y="640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33" name="Freeform 179"/>
                <p:cNvSpPr>
                  <a:spLocks/>
                </p:cNvSpPr>
                <p:nvPr/>
              </p:nvSpPr>
              <p:spPr bwMode="auto">
                <a:xfrm>
                  <a:off x="2832100" y="4822893"/>
                  <a:ext cx="273050" cy="368300"/>
                </a:xfrm>
                <a:custGeom>
                  <a:avLst/>
                  <a:gdLst>
                    <a:gd name="T0" fmla="*/ 104 w 172"/>
                    <a:gd name="T1" fmla="*/ 198 h 232"/>
                    <a:gd name="T2" fmla="*/ 96 w 172"/>
                    <a:gd name="T3" fmla="*/ 216 h 232"/>
                    <a:gd name="T4" fmla="*/ 90 w 172"/>
                    <a:gd name="T5" fmla="*/ 216 h 232"/>
                    <a:gd name="T6" fmla="*/ 78 w 172"/>
                    <a:gd name="T7" fmla="*/ 220 h 232"/>
                    <a:gd name="T8" fmla="*/ 74 w 172"/>
                    <a:gd name="T9" fmla="*/ 228 h 232"/>
                    <a:gd name="T10" fmla="*/ 70 w 172"/>
                    <a:gd name="T11" fmla="*/ 216 h 232"/>
                    <a:gd name="T12" fmla="*/ 52 w 172"/>
                    <a:gd name="T13" fmla="*/ 216 h 232"/>
                    <a:gd name="T14" fmla="*/ 50 w 172"/>
                    <a:gd name="T15" fmla="*/ 212 h 232"/>
                    <a:gd name="T16" fmla="*/ 42 w 172"/>
                    <a:gd name="T17" fmla="*/ 220 h 232"/>
                    <a:gd name="T18" fmla="*/ 34 w 172"/>
                    <a:gd name="T19" fmla="*/ 228 h 232"/>
                    <a:gd name="T20" fmla="*/ 26 w 172"/>
                    <a:gd name="T21" fmla="*/ 224 h 232"/>
                    <a:gd name="T22" fmla="*/ 24 w 172"/>
                    <a:gd name="T23" fmla="*/ 212 h 232"/>
                    <a:gd name="T24" fmla="*/ 16 w 172"/>
                    <a:gd name="T25" fmla="*/ 194 h 232"/>
                    <a:gd name="T26" fmla="*/ 12 w 172"/>
                    <a:gd name="T27" fmla="*/ 190 h 232"/>
                    <a:gd name="T28" fmla="*/ 16 w 172"/>
                    <a:gd name="T29" fmla="*/ 180 h 232"/>
                    <a:gd name="T30" fmla="*/ 16 w 172"/>
                    <a:gd name="T31" fmla="*/ 168 h 232"/>
                    <a:gd name="T32" fmla="*/ 8 w 172"/>
                    <a:gd name="T33" fmla="*/ 156 h 232"/>
                    <a:gd name="T34" fmla="*/ 4 w 172"/>
                    <a:gd name="T35" fmla="*/ 146 h 232"/>
                    <a:gd name="T36" fmla="*/ 0 w 172"/>
                    <a:gd name="T37" fmla="*/ 134 h 232"/>
                    <a:gd name="T38" fmla="*/ 4 w 172"/>
                    <a:gd name="T39" fmla="*/ 124 h 232"/>
                    <a:gd name="T40" fmla="*/ 12 w 172"/>
                    <a:gd name="T41" fmla="*/ 116 h 232"/>
                    <a:gd name="T42" fmla="*/ 4 w 172"/>
                    <a:gd name="T43" fmla="*/ 100 h 232"/>
                    <a:gd name="T44" fmla="*/ 4 w 172"/>
                    <a:gd name="T45" fmla="*/ 94 h 232"/>
                    <a:gd name="T46" fmla="*/ 8 w 172"/>
                    <a:gd name="T47" fmla="*/ 78 h 232"/>
                    <a:gd name="T48" fmla="*/ 8 w 172"/>
                    <a:gd name="T49" fmla="*/ 72 h 232"/>
                    <a:gd name="T50" fmla="*/ 8 w 172"/>
                    <a:gd name="T51" fmla="*/ 56 h 232"/>
                    <a:gd name="T52" fmla="*/ 12 w 172"/>
                    <a:gd name="T53" fmla="*/ 46 h 232"/>
                    <a:gd name="T54" fmla="*/ 4 w 172"/>
                    <a:gd name="T55" fmla="*/ 34 h 232"/>
                    <a:gd name="T56" fmla="*/ 4 w 172"/>
                    <a:gd name="T57" fmla="*/ 22 h 232"/>
                    <a:gd name="T58" fmla="*/ 16 w 172"/>
                    <a:gd name="T59" fmla="*/ 26 h 232"/>
                    <a:gd name="T60" fmla="*/ 24 w 172"/>
                    <a:gd name="T61" fmla="*/ 18 h 232"/>
                    <a:gd name="T62" fmla="*/ 26 w 172"/>
                    <a:gd name="T63" fmla="*/ 16 h 232"/>
                    <a:gd name="T64" fmla="*/ 38 w 172"/>
                    <a:gd name="T65" fmla="*/ 12 h 232"/>
                    <a:gd name="T66" fmla="*/ 50 w 172"/>
                    <a:gd name="T67" fmla="*/ 0 h 232"/>
                    <a:gd name="T68" fmla="*/ 56 w 172"/>
                    <a:gd name="T69" fmla="*/ 0 h 232"/>
                    <a:gd name="T70" fmla="*/ 60 w 172"/>
                    <a:gd name="T71" fmla="*/ 12 h 232"/>
                    <a:gd name="T72" fmla="*/ 60 w 172"/>
                    <a:gd name="T73" fmla="*/ 26 h 232"/>
                    <a:gd name="T74" fmla="*/ 64 w 172"/>
                    <a:gd name="T75" fmla="*/ 34 h 232"/>
                    <a:gd name="T76" fmla="*/ 70 w 172"/>
                    <a:gd name="T77" fmla="*/ 46 h 232"/>
                    <a:gd name="T78" fmla="*/ 86 w 172"/>
                    <a:gd name="T79" fmla="*/ 48 h 232"/>
                    <a:gd name="T80" fmla="*/ 94 w 172"/>
                    <a:gd name="T81" fmla="*/ 56 h 232"/>
                    <a:gd name="T82" fmla="*/ 104 w 172"/>
                    <a:gd name="T83" fmla="*/ 64 h 232"/>
                    <a:gd name="T84" fmla="*/ 116 w 172"/>
                    <a:gd name="T85" fmla="*/ 68 h 232"/>
                    <a:gd name="T86" fmla="*/ 130 w 172"/>
                    <a:gd name="T87" fmla="*/ 72 h 232"/>
                    <a:gd name="T88" fmla="*/ 130 w 172"/>
                    <a:gd name="T89" fmla="*/ 82 h 232"/>
                    <a:gd name="T90" fmla="*/ 126 w 172"/>
                    <a:gd name="T91" fmla="*/ 94 h 232"/>
                    <a:gd name="T92" fmla="*/ 134 w 172"/>
                    <a:gd name="T93" fmla="*/ 116 h 232"/>
                    <a:gd name="T94" fmla="*/ 160 w 172"/>
                    <a:gd name="T95" fmla="*/ 116 h 232"/>
                    <a:gd name="T96" fmla="*/ 156 w 172"/>
                    <a:gd name="T97" fmla="*/ 128 h 232"/>
                    <a:gd name="T98" fmla="*/ 164 w 172"/>
                    <a:gd name="T99" fmla="*/ 134 h 232"/>
                    <a:gd name="T100" fmla="*/ 172 w 172"/>
                    <a:gd name="T101" fmla="*/ 150 h 232"/>
                    <a:gd name="T102" fmla="*/ 164 w 172"/>
                    <a:gd name="T103" fmla="*/ 164 h 232"/>
                    <a:gd name="T104" fmla="*/ 164 w 172"/>
                    <a:gd name="T105" fmla="*/ 176 h 232"/>
                    <a:gd name="T106" fmla="*/ 160 w 172"/>
                    <a:gd name="T107" fmla="*/ 176 h 232"/>
                    <a:gd name="T108" fmla="*/ 142 w 172"/>
                    <a:gd name="T109" fmla="*/ 168 h 232"/>
                    <a:gd name="T110" fmla="*/ 126 w 172"/>
                    <a:gd name="T111" fmla="*/ 172 h 232"/>
                    <a:gd name="T112" fmla="*/ 112 w 172"/>
                    <a:gd name="T113" fmla="*/ 176 h 232"/>
                    <a:gd name="T114" fmla="*/ 104 w 172"/>
                    <a:gd name="T115" fmla="*/ 186 h 2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72" h="232">
                      <a:moveTo>
                        <a:pt x="104" y="186"/>
                      </a:moveTo>
                      <a:lnTo>
                        <a:pt x="104" y="190"/>
                      </a:lnTo>
                      <a:lnTo>
                        <a:pt x="104" y="194"/>
                      </a:lnTo>
                      <a:lnTo>
                        <a:pt x="104" y="198"/>
                      </a:lnTo>
                      <a:lnTo>
                        <a:pt x="100" y="206"/>
                      </a:lnTo>
                      <a:lnTo>
                        <a:pt x="100" y="210"/>
                      </a:lnTo>
                      <a:lnTo>
                        <a:pt x="100" y="212"/>
                      </a:lnTo>
                      <a:lnTo>
                        <a:pt x="96" y="216"/>
                      </a:lnTo>
                      <a:lnTo>
                        <a:pt x="96" y="220"/>
                      </a:lnTo>
                      <a:lnTo>
                        <a:pt x="96" y="216"/>
                      </a:lnTo>
                      <a:lnTo>
                        <a:pt x="94" y="216"/>
                      </a:lnTo>
                      <a:lnTo>
                        <a:pt x="90" y="216"/>
                      </a:lnTo>
                      <a:lnTo>
                        <a:pt x="86" y="216"/>
                      </a:lnTo>
                      <a:lnTo>
                        <a:pt x="82" y="216"/>
                      </a:lnTo>
                      <a:lnTo>
                        <a:pt x="78" y="216"/>
                      </a:lnTo>
                      <a:lnTo>
                        <a:pt x="78" y="220"/>
                      </a:lnTo>
                      <a:lnTo>
                        <a:pt x="74" y="224"/>
                      </a:lnTo>
                      <a:lnTo>
                        <a:pt x="74" y="228"/>
                      </a:lnTo>
                      <a:lnTo>
                        <a:pt x="74" y="232"/>
                      </a:lnTo>
                      <a:lnTo>
                        <a:pt x="74" y="228"/>
                      </a:lnTo>
                      <a:lnTo>
                        <a:pt x="70" y="228"/>
                      </a:lnTo>
                      <a:lnTo>
                        <a:pt x="70" y="224"/>
                      </a:lnTo>
                      <a:lnTo>
                        <a:pt x="70" y="220"/>
                      </a:lnTo>
                      <a:lnTo>
                        <a:pt x="70" y="216"/>
                      </a:lnTo>
                      <a:lnTo>
                        <a:pt x="66" y="216"/>
                      </a:lnTo>
                      <a:lnTo>
                        <a:pt x="64" y="216"/>
                      </a:lnTo>
                      <a:lnTo>
                        <a:pt x="56" y="216"/>
                      </a:lnTo>
                      <a:lnTo>
                        <a:pt x="52" y="216"/>
                      </a:lnTo>
                      <a:lnTo>
                        <a:pt x="52" y="212"/>
                      </a:lnTo>
                      <a:lnTo>
                        <a:pt x="50" y="212"/>
                      </a:lnTo>
                      <a:lnTo>
                        <a:pt x="50" y="210"/>
                      </a:lnTo>
                      <a:lnTo>
                        <a:pt x="50" y="212"/>
                      </a:lnTo>
                      <a:lnTo>
                        <a:pt x="46" y="212"/>
                      </a:lnTo>
                      <a:lnTo>
                        <a:pt x="46" y="216"/>
                      </a:lnTo>
                      <a:lnTo>
                        <a:pt x="42" y="216"/>
                      </a:lnTo>
                      <a:lnTo>
                        <a:pt x="42" y="220"/>
                      </a:lnTo>
                      <a:lnTo>
                        <a:pt x="42" y="224"/>
                      </a:lnTo>
                      <a:lnTo>
                        <a:pt x="38" y="224"/>
                      </a:lnTo>
                      <a:lnTo>
                        <a:pt x="38" y="228"/>
                      </a:lnTo>
                      <a:lnTo>
                        <a:pt x="34" y="228"/>
                      </a:lnTo>
                      <a:lnTo>
                        <a:pt x="30" y="232"/>
                      </a:lnTo>
                      <a:lnTo>
                        <a:pt x="26" y="232"/>
                      </a:lnTo>
                      <a:lnTo>
                        <a:pt x="24" y="228"/>
                      </a:lnTo>
                      <a:lnTo>
                        <a:pt x="26" y="224"/>
                      </a:lnTo>
                      <a:lnTo>
                        <a:pt x="24" y="224"/>
                      </a:lnTo>
                      <a:lnTo>
                        <a:pt x="24" y="220"/>
                      </a:lnTo>
                      <a:lnTo>
                        <a:pt x="24" y="216"/>
                      </a:lnTo>
                      <a:lnTo>
                        <a:pt x="24" y="212"/>
                      </a:lnTo>
                      <a:lnTo>
                        <a:pt x="24" y="210"/>
                      </a:lnTo>
                      <a:lnTo>
                        <a:pt x="20" y="210"/>
                      </a:lnTo>
                      <a:lnTo>
                        <a:pt x="20" y="202"/>
                      </a:lnTo>
                      <a:lnTo>
                        <a:pt x="16" y="194"/>
                      </a:lnTo>
                      <a:lnTo>
                        <a:pt x="16" y="198"/>
                      </a:lnTo>
                      <a:lnTo>
                        <a:pt x="16" y="194"/>
                      </a:lnTo>
                      <a:lnTo>
                        <a:pt x="16" y="190"/>
                      </a:lnTo>
                      <a:lnTo>
                        <a:pt x="12" y="190"/>
                      </a:lnTo>
                      <a:lnTo>
                        <a:pt x="12" y="186"/>
                      </a:lnTo>
                      <a:lnTo>
                        <a:pt x="12" y="184"/>
                      </a:lnTo>
                      <a:lnTo>
                        <a:pt x="12" y="180"/>
                      </a:lnTo>
                      <a:lnTo>
                        <a:pt x="16" y="180"/>
                      </a:lnTo>
                      <a:lnTo>
                        <a:pt x="16" y="176"/>
                      </a:lnTo>
                      <a:lnTo>
                        <a:pt x="12" y="176"/>
                      </a:lnTo>
                      <a:lnTo>
                        <a:pt x="16" y="172"/>
                      </a:lnTo>
                      <a:lnTo>
                        <a:pt x="16" y="168"/>
                      </a:lnTo>
                      <a:lnTo>
                        <a:pt x="12" y="168"/>
                      </a:lnTo>
                      <a:lnTo>
                        <a:pt x="12" y="164"/>
                      </a:lnTo>
                      <a:lnTo>
                        <a:pt x="8" y="160"/>
                      </a:lnTo>
                      <a:lnTo>
                        <a:pt x="8" y="156"/>
                      </a:lnTo>
                      <a:lnTo>
                        <a:pt x="8" y="154"/>
                      </a:lnTo>
                      <a:lnTo>
                        <a:pt x="8" y="150"/>
                      </a:lnTo>
                      <a:lnTo>
                        <a:pt x="8" y="146"/>
                      </a:lnTo>
                      <a:lnTo>
                        <a:pt x="4" y="146"/>
                      </a:lnTo>
                      <a:lnTo>
                        <a:pt x="4" y="142"/>
                      </a:lnTo>
                      <a:lnTo>
                        <a:pt x="4" y="138"/>
                      </a:lnTo>
                      <a:lnTo>
                        <a:pt x="0" y="138"/>
                      </a:lnTo>
                      <a:lnTo>
                        <a:pt x="0" y="134"/>
                      </a:lnTo>
                      <a:lnTo>
                        <a:pt x="0" y="130"/>
                      </a:lnTo>
                      <a:lnTo>
                        <a:pt x="0" y="128"/>
                      </a:lnTo>
                      <a:lnTo>
                        <a:pt x="4" y="128"/>
                      </a:lnTo>
                      <a:lnTo>
                        <a:pt x="4" y="124"/>
                      </a:lnTo>
                      <a:lnTo>
                        <a:pt x="8" y="124"/>
                      </a:lnTo>
                      <a:lnTo>
                        <a:pt x="8" y="120"/>
                      </a:lnTo>
                      <a:lnTo>
                        <a:pt x="8" y="116"/>
                      </a:lnTo>
                      <a:lnTo>
                        <a:pt x="12" y="116"/>
                      </a:lnTo>
                      <a:lnTo>
                        <a:pt x="8" y="112"/>
                      </a:lnTo>
                      <a:lnTo>
                        <a:pt x="4" y="112"/>
                      </a:lnTo>
                      <a:lnTo>
                        <a:pt x="4" y="104"/>
                      </a:lnTo>
                      <a:lnTo>
                        <a:pt x="4" y="100"/>
                      </a:lnTo>
                      <a:lnTo>
                        <a:pt x="4" y="98"/>
                      </a:lnTo>
                      <a:lnTo>
                        <a:pt x="8" y="98"/>
                      </a:lnTo>
                      <a:lnTo>
                        <a:pt x="8" y="94"/>
                      </a:lnTo>
                      <a:lnTo>
                        <a:pt x="4" y="94"/>
                      </a:lnTo>
                      <a:lnTo>
                        <a:pt x="4" y="90"/>
                      </a:lnTo>
                      <a:lnTo>
                        <a:pt x="4" y="86"/>
                      </a:lnTo>
                      <a:lnTo>
                        <a:pt x="8" y="82"/>
                      </a:lnTo>
                      <a:lnTo>
                        <a:pt x="8" y="78"/>
                      </a:lnTo>
                      <a:lnTo>
                        <a:pt x="12" y="78"/>
                      </a:lnTo>
                      <a:lnTo>
                        <a:pt x="12" y="74"/>
                      </a:lnTo>
                      <a:lnTo>
                        <a:pt x="8" y="74"/>
                      </a:lnTo>
                      <a:lnTo>
                        <a:pt x="8" y="72"/>
                      </a:lnTo>
                      <a:lnTo>
                        <a:pt x="8" y="68"/>
                      </a:lnTo>
                      <a:lnTo>
                        <a:pt x="8" y="64"/>
                      </a:lnTo>
                      <a:lnTo>
                        <a:pt x="8" y="60"/>
                      </a:lnTo>
                      <a:lnTo>
                        <a:pt x="8" y="56"/>
                      </a:lnTo>
                      <a:lnTo>
                        <a:pt x="8" y="52"/>
                      </a:lnTo>
                      <a:lnTo>
                        <a:pt x="12" y="52"/>
                      </a:lnTo>
                      <a:lnTo>
                        <a:pt x="12" y="48"/>
                      </a:lnTo>
                      <a:lnTo>
                        <a:pt x="12" y="46"/>
                      </a:lnTo>
                      <a:lnTo>
                        <a:pt x="12" y="42"/>
                      </a:lnTo>
                      <a:lnTo>
                        <a:pt x="8" y="42"/>
                      </a:lnTo>
                      <a:lnTo>
                        <a:pt x="8" y="38"/>
                      </a:lnTo>
                      <a:lnTo>
                        <a:pt x="4" y="34"/>
                      </a:lnTo>
                      <a:lnTo>
                        <a:pt x="4" y="30"/>
                      </a:lnTo>
                      <a:lnTo>
                        <a:pt x="4" y="26"/>
                      </a:lnTo>
                      <a:lnTo>
                        <a:pt x="0" y="22"/>
                      </a:lnTo>
                      <a:lnTo>
                        <a:pt x="4" y="22"/>
                      </a:lnTo>
                      <a:lnTo>
                        <a:pt x="8" y="22"/>
                      </a:lnTo>
                      <a:lnTo>
                        <a:pt x="12" y="22"/>
                      </a:lnTo>
                      <a:lnTo>
                        <a:pt x="12" y="26"/>
                      </a:lnTo>
                      <a:lnTo>
                        <a:pt x="16" y="26"/>
                      </a:lnTo>
                      <a:lnTo>
                        <a:pt x="16" y="22"/>
                      </a:lnTo>
                      <a:lnTo>
                        <a:pt x="20" y="22"/>
                      </a:lnTo>
                      <a:lnTo>
                        <a:pt x="20" y="18"/>
                      </a:lnTo>
                      <a:lnTo>
                        <a:pt x="24" y="18"/>
                      </a:lnTo>
                      <a:lnTo>
                        <a:pt x="24" y="16"/>
                      </a:lnTo>
                      <a:lnTo>
                        <a:pt x="26" y="16"/>
                      </a:lnTo>
                      <a:lnTo>
                        <a:pt x="26" y="18"/>
                      </a:lnTo>
                      <a:lnTo>
                        <a:pt x="26" y="16"/>
                      </a:lnTo>
                      <a:lnTo>
                        <a:pt x="30" y="16"/>
                      </a:lnTo>
                      <a:lnTo>
                        <a:pt x="30" y="12"/>
                      </a:lnTo>
                      <a:lnTo>
                        <a:pt x="34" y="12"/>
                      </a:lnTo>
                      <a:lnTo>
                        <a:pt x="38" y="12"/>
                      </a:lnTo>
                      <a:lnTo>
                        <a:pt x="38" y="8"/>
                      </a:lnTo>
                      <a:lnTo>
                        <a:pt x="42" y="4"/>
                      </a:lnTo>
                      <a:lnTo>
                        <a:pt x="46" y="4"/>
                      </a:lnTo>
                      <a:lnTo>
                        <a:pt x="50" y="0"/>
                      </a:lnTo>
                      <a:lnTo>
                        <a:pt x="52" y="0"/>
                      </a:lnTo>
                      <a:lnTo>
                        <a:pt x="56" y="0"/>
                      </a:lnTo>
                      <a:lnTo>
                        <a:pt x="56" y="4"/>
                      </a:lnTo>
                      <a:lnTo>
                        <a:pt x="56" y="0"/>
                      </a:lnTo>
                      <a:lnTo>
                        <a:pt x="60" y="0"/>
                      </a:lnTo>
                      <a:lnTo>
                        <a:pt x="60" y="4"/>
                      </a:lnTo>
                      <a:lnTo>
                        <a:pt x="60" y="8"/>
                      </a:lnTo>
                      <a:lnTo>
                        <a:pt x="60" y="12"/>
                      </a:lnTo>
                      <a:lnTo>
                        <a:pt x="60" y="16"/>
                      </a:lnTo>
                      <a:lnTo>
                        <a:pt x="60" y="18"/>
                      </a:lnTo>
                      <a:lnTo>
                        <a:pt x="60" y="22"/>
                      </a:lnTo>
                      <a:lnTo>
                        <a:pt x="60" y="26"/>
                      </a:lnTo>
                      <a:lnTo>
                        <a:pt x="60" y="30"/>
                      </a:lnTo>
                      <a:lnTo>
                        <a:pt x="64" y="34"/>
                      </a:lnTo>
                      <a:lnTo>
                        <a:pt x="64" y="38"/>
                      </a:lnTo>
                      <a:lnTo>
                        <a:pt x="64" y="34"/>
                      </a:lnTo>
                      <a:lnTo>
                        <a:pt x="64" y="38"/>
                      </a:lnTo>
                      <a:lnTo>
                        <a:pt x="64" y="42"/>
                      </a:lnTo>
                      <a:lnTo>
                        <a:pt x="66" y="42"/>
                      </a:lnTo>
                      <a:lnTo>
                        <a:pt x="70" y="46"/>
                      </a:lnTo>
                      <a:lnTo>
                        <a:pt x="74" y="48"/>
                      </a:lnTo>
                      <a:lnTo>
                        <a:pt x="78" y="48"/>
                      </a:lnTo>
                      <a:lnTo>
                        <a:pt x="82" y="48"/>
                      </a:lnTo>
                      <a:lnTo>
                        <a:pt x="86" y="48"/>
                      </a:lnTo>
                      <a:lnTo>
                        <a:pt x="86" y="52"/>
                      </a:lnTo>
                      <a:lnTo>
                        <a:pt x="90" y="52"/>
                      </a:lnTo>
                      <a:lnTo>
                        <a:pt x="94" y="52"/>
                      </a:lnTo>
                      <a:lnTo>
                        <a:pt x="94" y="56"/>
                      </a:lnTo>
                      <a:lnTo>
                        <a:pt x="96" y="56"/>
                      </a:lnTo>
                      <a:lnTo>
                        <a:pt x="100" y="60"/>
                      </a:lnTo>
                      <a:lnTo>
                        <a:pt x="104" y="60"/>
                      </a:lnTo>
                      <a:lnTo>
                        <a:pt x="104" y="64"/>
                      </a:lnTo>
                      <a:lnTo>
                        <a:pt x="108" y="64"/>
                      </a:lnTo>
                      <a:lnTo>
                        <a:pt x="108" y="68"/>
                      </a:lnTo>
                      <a:lnTo>
                        <a:pt x="112" y="68"/>
                      </a:lnTo>
                      <a:lnTo>
                        <a:pt x="116" y="68"/>
                      </a:lnTo>
                      <a:lnTo>
                        <a:pt x="120" y="68"/>
                      </a:lnTo>
                      <a:lnTo>
                        <a:pt x="122" y="68"/>
                      </a:lnTo>
                      <a:lnTo>
                        <a:pt x="126" y="72"/>
                      </a:lnTo>
                      <a:lnTo>
                        <a:pt x="130" y="72"/>
                      </a:lnTo>
                      <a:lnTo>
                        <a:pt x="130" y="74"/>
                      </a:lnTo>
                      <a:lnTo>
                        <a:pt x="126" y="78"/>
                      </a:lnTo>
                      <a:lnTo>
                        <a:pt x="130" y="78"/>
                      </a:lnTo>
                      <a:lnTo>
                        <a:pt x="130" y="82"/>
                      </a:lnTo>
                      <a:lnTo>
                        <a:pt x="130" y="86"/>
                      </a:lnTo>
                      <a:lnTo>
                        <a:pt x="130" y="90"/>
                      </a:lnTo>
                      <a:lnTo>
                        <a:pt x="130" y="94"/>
                      </a:lnTo>
                      <a:lnTo>
                        <a:pt x="126" y="94"/>
                      </a:lnTo>
                      <a:lnTo>
                        <a:pt x="130" y="98"/>
                      </a:lnTo>
                      <a:lnTo>
                        <a:pt x="130" y="100"/>
                      </a:lnTo>
                      <a:lnTo>
                        <a:pt x="134" y="108"/>
                      </a:lnTo>
                      <a:lnTo>
                        <a:pt x="134" y="116"/>
                      </a:lnTo>
                      <a:lnTo>
                        <a:pt x="142" y="116"/>
                      </a:lnTo>
                      <a:lnTo>
                        <a:pt x="150" y="116"/>
                      </a:lnTo>
                      <a:lnTo>
                        <a:pt x="156" y="116"/>
                      </a:lnTo>
                      <a:lnTo>
                        <a:pt x="160" y="116"/>
                      </a:lnTo>
                      <a:lnTo>
                        <a:pt x="160" y="120"/>
                      </a:lnTo>
                      <a:lnTo>
                        <a:pt x="156" y="120"/>
                      </a:lnTo>
                      <a:lnTo>
                        <a:pt x="156" y="124"/>
                      </a:lnTo>
                      <a:lnTo>
                        <a:pt x="156" y="128"/>
                      </a:lnTo>
                      <a:lnTo>
                        <a:pt x="156" y="130"/>
                      </a:lnTo>
                      <a:lnTo>
                        <a:pt x="160" y="130"/>
                      </a:lnTo>
                      <a:lnTo>
                        <a:pt x="160" y="134"/>
                      </a:lnTo>
                      <a:lnTo>
                        <a:pt x="164" y="134"/>
                      </a:lnTo>
                      <a:lnTo>
                        <a:pt x="168" y="138"/>
                      </a:lnTo>
                      <a:lnTo>
                        <a:pt x="168" y="142"/>
                      </a:lnTo>
                      <a:lnTo>
                        <a:pt x="168" y="146"/>
                      </a:lnTo>
                      <a:lnTo>
                        <a:pt x="172" y="150"/>
                      </a:lnTo>
                      <a:lnTo>
                        <a:pt x="168" y="154"/>
                      </a:lnTo>
                      <a:lnTo>
                        <a:pt x="168" y="160"/>
                      </a:lnTo>
                      <a:lnTo>
                        <a:pt x="168" y="164"/>
                      </a:lnTo>
                      <a:lnTo>
                        <a:pt x="164" y="164"/>
                      </a:lnTo>
                      <a:lnTo>
                        <a:pt x="164" y="168"/>
                      </a:lnTo>
                      <a:lnTo>
                        <a:pt x="164" y="176"/>
                      </a:lnTo>
                      <a:lnTo>
                        <a:pt x="160" y="176"/>
                      </a:lnTo>
                      <a:lnTo>
                        <a:pt x="164" y="176"/>
                      </a:lnTo>
                      <a:lnTo>
                        <a:pt x="164" y="180"/>
                      </a:lnTo>
                      <a:lnTo>
                        <a:pt x="160" y="184"/>
                      </a:lnTo>
                      <a:lnTo>
                        <a:pt x="160" y="180"/>
                      </a:lnTo>
                      <a:lnTo>
                        <a:pt x="160" y="176"/>
                      </a:lnTo>
                      <a:lnTo>
                        <a:pt x="156" y="172"/>
                      </a:lnTo>
                      <a:lnTo>
                        <a:pt x="152" y="172"/>
                      </a:lnTo>
                      <a:lnTo>
                        <a:pt x="150" y="168"/>
                      </a:lnTo>
                      <a:lnTo>
                        <a:pt x="142" y="168"/>
                      </a:lnTo>
                      <a:lnTo>
                        <a:pt x="134" y="168"/>
                      </a:lnTo>
                      <a:lnTo>
                        <a:pt x="130" y="168"/>
                      </a:lnTo>
                      <a:lnTo>
                        <a:pt x="126" y="168"/>
                      </a:lnTo>
                      <a:lnTo>
                        <a:pt x="126" y="172"/>
                      </a:lnTo>
                      <a:lnTo>
                        <a:pt x="122" y="172"/>
                      </a:lnTo>
                      <a:lnTo>
                        <a:pt x="116" y="172"/>
                      </a:lnTo>
                      <a:lnTo>
                        <a:pt x="112" y="172"/>
                      </a:lnTo>
                      <a:lnTo>
                        <a:pt x="112" y="176"/>
                      </a:lnTo>
                      <a:lnTo>
                        <a:pt x="108" y="180"/>
                      </a:lnTo>
                      <a:lnTo>
                        <a:pt x="104" y="186"/>
                      </a:lnTo>
                      <a:lnTo>
                        <a:pt x="104" y="186"/>
                      </a:lnTo>
                      <a:lnTo>
                        <a:pt x="104" y="186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34" name="Freeform 180"/>
                <p:cNvSpPr>
                  <a:spLocks noEditPoints="1"/>
                </p:cNvSpPr>
                <p:nvPr/>
              </p:nvSpPr>
              <p:spPr bwMode="auto">
                <a:xfrm>
                  <a:off x="2733675" y="4413318"/>
                  <a:ext cx="879475" cy="1089025"/>
                </a:xfrm>
                <a:custGeom>
                  <a:avLst/>
                  <a:gdLst>
                    <a:gd name="T0" fmla="*/ 424 w 554"/>
                    <a:gd name="T1" fmla="*/ 140 h 686"/>
                    <a:gd name="T2" fmla="*/ 460 w 554"/>
                    <a:gd name="T3" fmla="*/ 142 h 686"/>
                    <a:gd name="T4" fmla="*/ 520 w 554"/>
                    <a:gd name="T5" fmla="*/ 172 h 686"/>
                    <a:gd name="T6" fmla="*/ 554 w 554"/>
                    <a:gd name="T7" fmla="*/ 224 h 686"/>
                    <a:gd name="T8" fmla="*/ 520 w 554"/>
                    <a:gd name="T9" fmla="*/ 280 h 686"/>
                    <a:gd name="T10" fmla="*/ 498 w 554"/>
                    <a:gd name="T11" fmla="*/ 310 h 686"/>
                    <a:gd name="T12" fmla="*/ 494 w 554"/>
                    <a:gd name="T13" fmla="*/ 358 h 686"/>
                    <a:gd name="T14" fmla="*/ 484 w 554"/>
                    <a:gd name="T15" fmla="*/ 418 h 686"/>
                    <a:gd name="T16" fmla="*/ 454 w 554"/>
                    <a:gd name="T17" fmla="*/ 482 h 686"/>
                    <a:gd name="T18" fmla="*/ 420 w 554"/>
                    <a:gd name="T19" fmla="*/ 490 h 686"/>
                    <a:gd name="T20" fmla="*/ 384 w 554"/>
                    <a:gd name="T21" fmla="*/ 512 h 686"/>
                    <a:gd name="T22" fmla="*/ 358 w 554"/>
                    <a:gd name="T23" fmla="*/ 546 h 686"/>
                    <a:gd name="T24" fmla="*/ 350 w 554"/>
                    <a:gd name="T25" fmla="*/ 594 h 686"/>
                    <a:gd name="T26" fmla="*/ 316 w 554"/>
                    <a:gd name="T27" fmla="*/ 650 h 686"/>
                    <a:gd name="T28" fmla="*/ 330 w 554"/>
                    <a:gd name="T29" fmla="*/ 622 h 686"/>
                    <a:gd name="T30" fmla="*/ 312 w 554"/>
                    <a:gd name="T31" fmla="*/ 646 h 686"/>
                    <a:gd name="T32" fmla="*/ 294 w 554"/>
                    <a:gd name="T33" fmla="*/ 664 h 686"/>
                    <a:gd name="T34" fmla="*/ 256 w 554"/>
                    <a:gd name="T35" fmla="*/ 630 h 686"/>
                    <a:gd name="T36" fmla="*/ 248 w 554"/>
                    <a:gd name="T37" fmla="*/ 600 h 686"/>
                    <a:gd name="T38" fmla="*/ 286 w 554"/>
                    <a:gd name="T39" fmla="*/ 564 h 686"/>
                    <a:gd name="T40" fmla="*/ 272 w 554"/>
                    <a:gd name="T41" fmla="*/ 508 h 686"/>
                    <a:gd name="T42" fmla="*/ 230 w 554"/>
                    <a:gd name="T43" fmla="*/ 474 h 686"/>
                    <a:gd name="T44" fmla="*/ 230 w 554"/>
                    <a:gd name="T45" fmla="*/ 404 h 686"/>
                    <a:gd name="T46" fmla="*/ 192 w 554"/>
                    <a:gd name="T47" fmla="*/ 348 h 686"/>
                    <a:gd name="T48" fmla="*/ 148 w 554"/>
                    <a:gd name="T49" fmla="*/ 310 h 686"/>
                    <a:gd name="T50" fmla="*/ 118 w 554"/>
                    <a:gd name="T51" fmla="*/ 258 h 686"/>
                    <a:gd name="T52" fmla="*/ 74 w 554"/>
                    <a:gd name="T53" fmla="*/ 284 h 686"/>
                    <a:gd name="T54" fmla="*/ 30 w 554"/>
                    <a:gd name="T55" fmla="*/ 262 h 686"/>
                    <a:gd name="T56" fmla="*/ 4 w 554"/>
                    <a:gd name="T57" fmla="*/ 216 h 686"/>
                    <a:gd name="T58" fmla="*/ 36 w 554"/>
                    <a:gd name="T59" fmla="*/ 168 h 686"/>
                    <a:gd name="T60" fmla="*/ 66 w 554"/>
                    <a:gd name="T61" fmla="*/ 110 h 686"/>
                    <a:gd name="T62" fmla="*/ 66 w 554"/>
                    <a:gd name="T63" fmla="*/ 64 h 686"/>
                    <a:gd name="T64" fmla="*/ 108 w 554"/>
                    <a:gd name="T65" fmla="*/ 80 h 686"/>
                    <a:gd name="T66" fmla="*/ 152 w 554"/>
                    <a:gd name="T67" fmla="*/ 54 h 686"/>
                    <a:gd name="T68" fmla="*/ 140 w 554"/>
                    <a:gd name="T69" fmla="*/ 28 h 686"/>
                    <a:gd name="T70" fmla="*/ 186 w 554"/>
                    <a:gd name="T71" fmla="*/ 16 h 686"/>
                    <a:gd name="T72" fmla="*/ 196 w 554"/>
                    <a:gd name="T73" fmla="*/ 46 h 686"/>
                    <a:gd name="T74" fmla="*/ 234 w 554"/>
                    <a:gd name="T75" fmla="*/ 60 h 686"/>
                    <a:gd name="T76" fmla="*/ 282 w 554"/>
                    <a:gd name="T77" fmla="*/ 56 h 686"/>
                    <a:gd name="T78" fmla="*/ 320 w 554"/>
                    <a:gd name="T79" fmla="*/ 24 h 686"/>
                    <a:gd name="T80" fmla="*/ 338 w 554"/>
                    <a:gd name="T81" fmla="*/ 72 h 686"/>
                    <a:gd name="T82" fmla="*/ 302 w 554"/>
                    <a:gd name="T83" fmla="*/ 120 h 686"/>
                    <a:gd name="T84" fmla="*/ 316 w 554"/>
                    <a:gd name="T85" fmla="*/ 128 h 686"/>
                    <a:gd name="T86" fmla="*/ 346 w 554"/>
                    <a:gd name="T87" fmla="*/ 120 h 686"/>
                    <a:gd name="T88" fmla="*/ 364 w 554"/>
                    <a:gd name="T89" fmla="*/ 116 h 686"/>
                    <a:gd name="T90" fmla="*/ 390 w 554"/>
                    <a:gd name="T91" fmla="*/ 114 h 686"/>
                    <a:gd name="T92" fmla="*/ 414 w 554"/>
                    <a:gd name="T93" fmla="*/ 124 h 686"/>
                    <a:gd name="T94" fmla="*/ 328 w 554"/>
                    <a:gd name="T95" fmla="*/ 110 h 686"/>
                    <a:gd name="T96" fmla="*/ 360 w 554"/>
                    <a:gd name="T97" fmla="*/ 110 h 686"/>
                    <a:gd name="T98" fmla="*/ 338 w 554"/>
                    <a:gd name="T99" fmla="*/ 76 h 686"/>
                    <a:gd name="T100" fmla="*/ 330 w 554"/>
                    <a:gd name="T101" fmla="*/ 86 h 686"/>
                    <a:gd name="T102" fmla="*/ 330 w 554"/>
                    <a:gd name="T103" fmla="*/ 90 h 686"/>
                    <a:gd name="T104" fmla="*/ 328 w 554"/>
                    <a:gd name="T105" fmla="*/ 90 h 686"/>
                    <a:gd name="T106" fmla="*/ 324 w 554"/>
                    <a:gd name="T107" fmla="*/ 98 h 686"/>
                    <a:gd name="T108" fmla="*/ 324 w 554"/>
                    <a:gd name="T109" fmla="*/ 110 h 686"/>
                    <a:gd name="T110" fmla="*/ 386 w 554"/>
                    <a:gd name="T111" fmla="*/ 110 h 686"/>
                    <a:gd name="T112" fmla="*/ 410 w 554"/>
                    <a:gd name="T113" fmla="*/ 116 h 686"/>
                    <a:gd name="T114" fmla="*/ 354 w 554"/>
                    <a:gd name="T115" fmla="*/ 120 h 686"/>
                    <a:gd name="T116" fmla="*/ 416 w 554"/>
                    <a:gd name="T117" fmla="*/ 142 h 686"/>
                    <a:gd name="T118" fmla="*/ 360 w 554"/>
                    <a:gd name="T119" fmla="*/ 546 h 686"/>
                    <a:gd name="T120" fmla="*/ 324 w 554"/>
                    <a:gd name="T121" fmla="*/ 102 h 6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554" h="686">
                      <a:moveTo>
                        <a:pt x="414" y="124"/>
                      </a:moveTo>
                      <a:lnTo>
                        <a:pt x="416" y="124"/>
                      </a:lnTo>
                      <a:lnTo>
                        <a:pt x="416" y="128"/>
                      </a:lnTo>
                      <a:lnTo>
                        <a:pt x="416" y="132"/>
                      </a:lnTo>
                      <a:lnTo>
                        <a:pt x="416" y="128"/>
                      </a:lnTo>
                      <a:lnTo>
                        <a:pt x="420" y="132"/>
                      </a:lnTo>
                      <a:lnTo>
                        <a:pt x="416" y="136"/>
                      </a:lnTo>
                      <a:lnTo>
                        <a:pt x="416" y="140"/>
                      </a:lnTo>
                      <a:lnTo>
                        <a:pt x="414" y="142"/>
                      </a:lnTo>
                      <a:lnTo>
                        <a:pt x="416" y="142"/>
                      </a:lnTo>
                      <a:lnTo>
                        <a:pt x="414" y="146"/>
                      </a:lnTo>
                      <a:lnTo>
                        <a:pt x="414" y="150"/>
                      </a:lnTo>
                      <a:lnTo>
                        <a:pt x="416" y="146"/>
                      </a:lnTo>
                      <a:lnTo>
                        <a:pt x="416" y="142"/>
                      </a:lnTo>
                      <a:lnTo>
                        <a:pt x="420" y="140"/>
                      </a:lnTo>
                      <a:lnTo>
                        <a:pt x="420" y="136"/>
                      </a:lnTo>
                      <a:lnTo>
                        <a:pt x="424" y="136"/>
                      </a:lnTo>
                      <a:lnTo>
                        <a:pt x="424" y="140"/>
                      </a:lnTo>
                      <a:lnTo>
                        <a:pt x="420" y="140"/>
                      </a:lnTo>
                      <a:lnTo>
                        <a:pt x="420" y="142"/>
                      </a:lnTo>
                      <a:lnTo>
                        <a:pt x="424" y="140"/>
                      </a:lnTo>
                      <a:lnTo>
                        <a:pt x="424" y="136"/>
                      </a:lnTo>
                      <a:lnTo>
                        <a:pt x="428" y="136"/>
                      </a:lnTo>
                      <a:lnTo>
                        <a:pt x="432" y="136"/>
                      </a:lnTo>
                      <a:lnTo>
                        <a:pt x="432" y="132"/>
                      </a:lnTo>
                      <a:lnTo>
                        <a:pt x="436" y="132"/>
                      </a:lnTo>
                      <a:lnTo>
                        <a:pt x="436" y="136"/>
                      </a:lnTo>
                      <a:lnTo>
                        <a:pt x="440" y="136"/>
                      </a:lnTo>
                      <a:lnTo>
                        <a:pt x="444" y="136"/>
                      </a:lnTo>
                      <a:lnTo>
                        <a:pt x="444" y="140"/>
                      </a:lnTo>
                      <a:lnTo>
                        <a:pt x="446" y="140"/>
                      </a:lnTo>
                      <a:lnTo>
                        <a:pt x="450" y="140"/>
                      </a:lnTo>
                      <a:lnTo>
                        <a:pt x="450" y="142"/>
                      </a:lnTo>
                      <a:lnTo>
                        <a:pt x="450" y="140"/>
                      </a:lnTo>
                      <a:lnTo>
                        <a:pt x="454" y="140"/>
                      </a:lnTo>
                      <a:lnTo>
                        <a:pt x="454" y="142"/>
                      </a:lnTo>
                      <a:lnTo>
                        <a:pt x="454" y="140"/>
                      </a:lnTo>
                      <a:lnTo>
                        <a:pt x="458" y="140"/>
                      </a:lnTo>
                      <a:lnTo>
                        <a:pt x="458" y="142"/>
                      </a:lnTo>
                      <a:lnTo>
                        <a:pt x="460" y="142"/>
                      </a:lnTo>
                      <a:lnTo>
                        <a:pt x="464" y="142"/>
                      </a:lnTo>
                      <a:lnTo>
                        <a:pt x="460" y="142"/>
                      </a:lnTo>
                      <a:lnTo>
                        <a:pt x="464" y="142"/>
                      </a:lnTo>
                      <a:lnTo>
                        <a:pt x="468" y="142"/>
                      </a:lnTo>
                      <a:lnTo>
                        <a:pt x="472" y="142"/>
                      </a:lnTo>
                      <a:lnTo>
                        <a:pt x="472" y="140"/>
                      </a:lnTo>
                      <a:lnTo>
                        <a:pt x="476" y="140"/>
                      </a:lnTo>
                      <a:lnTo>
                        <a:pt x="480" y="142"/>
                      </a:lnTo>
                      <a:lnTo>
                        <a:pt x="484" y="142"/>
                      </a:lnTo>
                      <a:lnTo>
                        <a:pt x="486" y="146"/>
                      </a:lnTo>
                      <a:lnTo>
                        <a:pt x="490" y="146"/>
                      </a:lnTo>
                      <a:lnTo>
                        <a:pt x="490" y="150"/>
                      </a:lnTo>
                      <a:lnTo>
                        <a:pt x="494" y="150"/>
                      </a:lnTo>
                      <a:lnTo>
                        <a:pt x="498" y="154"/>
                      </a:lnTo>
                      <a:lnTo>
                        <a:pt x="502" y="156"/>
                      </a:lnTo>
                      <a:lnTo>
                        <a:pt x="506" y="156"/>
                      </a:lnTo>
                      <a:lnTo>
                        <a:pt x="506" y="160"/>
                      </a:lnTo>
                      <a:lnTo>
                        <a:pt x="506" y="164"/>
                      </a:lnTo>
                      <a:lnTo>
                        <a:pt x="510" y="164"/>
                      </a:lnTo>
                      <a:lnTo>
                        <a:pt x="514" y="168"/>
                      </a:lnTo>
                      <a:lnTo>
                        <a:pt x="514" y="172"/>
                      </a:lnTo>
                      <a:lnTo>
                        <a:pt x="516" y="172"/>
                      </a:lnTo>
                      <a:lnTo>
                        <a:pt x="520" y="172"/>
                      </a:lnTo>
                      <a:lnTo>
                        <a:pt x="520" y="176"/>
                      </a:lnTo>
                      <a:lnTo>
                        <a:pt x="524" y="176"/>
                      </a:lnTo>
                      <a:lnTo>
                        <a:pt x="524" y="180"/>
                      </a:lnTo>
                      <a:lnTo>
                        <a:pt x="528" y="180"/>
                      </a:lnTo>
                      <a:lnTo>
                        <a:pt x="532" y="180"/>
                      </a:lnTo>
                      <a:lnTo>
                        <a:pt x="536" y="180"/>
                      </a:lnTo>
                      <a:lnTo>
                        <a:pt x="540" y="180"/>
                      </a:lnTo>
                      <a:lnTo>
                        <a:pt x="542" y="180"/>
                      </a:lnTo>
                      <a:lnTo>
                        <a:pt x="546" y="180"/>
                      </a:lnTo>
                      <a:lnTo>
                        <a:pt x="546" y="184"/>
                      </a:lnTo>
                      <a:lnTo>
                        <a:pt x="546" y="186"/>
                      </a:lnTo>
                      <a:lnTo>
                        <a:pt x="546" y="190"/>
                      </a:lnTo>
                      <a:lnTo>
                        <a:pt x="550" y="194"/>
                      </a:lnTo>
                      <a:lnTo>
                        <a:pt x="550" y="198"/>
                      </a:lnTo>
                      <a:lnTo>
                        <a:pt x="550" y="202"/>
                      </a:lnTo>
                      <a:lnTo>
                        <a:pt x="550" y="206"/>
                      </a:lnTo>
                      <a:lnTo>
                        <a:pt x="554" y="210"/>
                      </a:lnTo>
                      <a:lnTo>
                        <a:pt x="554" y="212"/>
                      </a:lnTo>
                      <a:lnTo>
                        <a:pt x="554" y="216"/>
                      </a:lnTo>
                      <a:lnTo>
                        <a:pt x="554" y="220"/>
                      </a:lnTo>
                      <a:lnTo>
                        <a:pt x="554" y="224"/>
                      </a:lnTo>
                      <a:lnTo>
                        <a:pt x="554" y="228"/>
                      </a:lnTo>
                      <a:lnTo>
                        <a:pt x="554" y="232"/>
                      </a:lnTo>
                      <a:lnTo>
                        <a:pt x="550" y="236"/>
                      </a:lnTo>
                      <a:lnTo>
                        <a:pt x="550" y="240"/>
                      </a:lnTo>
                      <a:lnTo>
                        <a:pt x="550" y="242"/>
                      </a:lnTo>
                      <a:lnTo>
                        <a:pt x="550" y="246"/>
                      </a:lnTo>
                      <a:lnTo>
                        <a:pt x="546" y="246"/>
                      </a:lnTo>
                      <a:lnTo>
                        <a:pt x="546" y="250"/>
                      </a:lnTo>
                      <a:lnTo>
                        <a:pt x="542" y="254"/>
                      </a:lnTo>
                      <a:lnTo>
                        <a:pt x="542" y="258"/>
                      </a:lnTo>
                      <a:lnTo>
                        <a:pt x="540" y="258"/>
                      </a:lnTo>
                      <a:lnTo>
                        <a:pt x="540" y="262"/>
                      </a:lnTo>
                      <a:lnTo>
                        <a:pt x="536" y="266"/>
                      </a:lnTo>
                      <a:lnTo>
                        <a:pt x="532" y="268"/>
                      </a:lnTo>
                      <a:lnTo>
                        <a:pt x="532" y="272"/>
                      </a:lnTo>
                      <a:lnTo>
                        <a:pt x="528" y="272"/>
                      </a:lnTo>
                      <a:lnTo>
                        <a:pt x="524" y="276"/>
                      </a:lnTo>
                      <a:lnTo>
                        <a:pt x="524" y="280"/>
                      </a:lnTo>
                      <a:lnTo>
                        <a:pt x="520" y="280"/>
                      </a:lnTo>
                      <a:lnTo>
                        <a:pt x="520" y="276"/>
                      </a:lnTo>
                      <a:lnTo>
                        <a:pt x="520" y="280"/>
                      </a:lnTo>
                      <a:lnTo>
                        <a:pt x="520" y="284"/>
                      </a:lnTo>
                      <a:lnTo>
                        <a:pt x="520" y="280"/>
                      </a:lnTo>
                      <a:lnTo>
                        <a:pt x="520" y="284"/>
                      </a:lnTo>
                      <a:lnTo>
                        <a:pt x="516" y="288"/>
                      </a:lnTo>
                      <a:lnTo>
                        <a:pt x="516" y="284"/>
                      </a:lnTo>
                      <a:lnTo>
                        <a:pt x="516" y="288"/>
                      </a:lnTo>
                      <a:lnTo>
                        <a:pt x="516" y="292"/>
                      </a:lnTo>
                      <a:lnTo>
                        <a:pt x="514" y="296"/>
                      </a:lnTo>
                      <a:lnTo>
                        <a:pt x="514" y="298"/>
                      </a:lnTo>
                      <a:lnTo>
                        <a:pt x="514" y="302"/>
                      </a:lnTo>
                      <a:lnTo>
                        <a:pt x="510" y="302"/>
                      </a:lnTo>
                      <a:lnTo>
                        <a:pt x="510" y="306"/>
                      </a:lnTo>
                      <a:lnTo>
                        <a:pt x="510" y="310"/>
                      </a:lnTo>
                      <a:lnTo>
                        <a:pt x="506" y="314"/>
                      </a:lnTo>
                      <a:lnTo>
                        <a:pt x="502" y="314"/>
                      </a:lnTo>
                      <a:lnTo>
                        <a:pt x="502" y="310"/>
                      </a:lnTo>
                      <a:lnTo>
                        <a:pt x="498" y="310"/>
                      </a:lnTo>
                      <a:lnTo>
                        <a:pt x="498" y="306"/>
                      </a:lnTo>
                      <a:lnTo>
                        <a:pt x="498" y="310"/>
                      </a:lnTo>
                      <a:lnTo>
                        <a:pt x="498" y="314"/>
                      </a:lnTo>
                      <a:lnTo>
                        <a:pt x="498" y="310"/>
                      </a:lnTo>
                      <a:lnTo>
                        <a:pt x="494" y="310"/>
                      </a:lnTo>
                      <a:lnTo>
                        <a:pt x="498" y="310"/>
                      </a:lnTo>
                      <a:lnTo>
                        <a:pt x="494" y="310"/>
                      </a:lnTo>
                      <a:lnTo>
                        <a:pt x="498" y="314"/>
                      </a:lnTo>
                      <a:lnTo>
                        <a:pt x="498" y="318"/>
                      </a:lnTo>
                      <a:lnTo>
                        <a:pt x="494" y="318"/>
                      </a:lnTo>
                      <a:lnTo>
                        <a:pt x="494" y="322"/>
                      </a:lnTo>
                      <a:lnTo>
                        <a:pt x="494" y="326"/>
                      </a:lnTo>
                      <a:lnTo>
                        <a:pt x="494" y="328"/>
                      </a:lnTo>
                      <a:lnTo>
                        <a:pt x="494" y="332"/>
                      </a:lnTo>
                      <a:lnTo>
                        <a:pt x="494" y="336"/>
                      </a:lnTo>
                      <a:lnTo>
                        <a:pt x="494" y="332"/>
                      </a:lnTo>
                      <a:lnTo>
                        <a:pt x="494" y="328"/>
                      </a:lnTo>
                      <a:lnTo>
                        <a:pt x="494" y="332"/>
                      </a:lnTo>
                      <a:lnTo>
                        <a:pt x="494" y="336"/>
                      </a:lnTo>
                      <a:lnTo>
                        <a:pt x="494" y="340"/>
                      </a:lnTo>
                      <a:lnTo>
                        <a:pt x="494" y="344"/>
                      </a:lnTo>
                      <a:lnTo>
                        <a:pt x="494" y="348"/>
                      </a:lnTo>
                      <a:lnTo>
                        <a:pt x="494" y="352"/>
                      </a:lnTo>
                      <a:lnTo>
                        <a:pt x="494" y="354"/>
                      </a:lnTo>
                      <a:lnTo>
                        <a:pt x="494" y="358"/>
                      </a:lnTo>
                      <a:lnTo>
                        <a:pt x="494" y="362"/>
                      </a:lnTo>
                      <a:lnTo>
                        <a:pt x="494" y="366"/>
                      </a:lnTo>
                      <a:lnTo>
                        <a:pt x="494" y="370"/>
                      </a:lnTo>
                      <a:lnTo>
                        <a:pt x="494" y="374"/>
                      </a:lnTo>
                      <a:lnTo>
                        <a:pt x="494" y="378"/>
                      </a:lnTo>
                      <a:lnTo>
                        <a:pt x="494" y="382"/>
                      </a:lnTo>
                      <a:lnTo>
                        <a:pt x="490" y="382"/>
                      </a:lnTo>
                      <a:lnTo>
                        <a:pt x="494" y="382"/>
                      </a:lnTo>
                      <a:lnTo>
                        <a:pt x="490" y="384"/>
                      </a:lnTo>
                      <a:lnTo>
                        <a:pt x="490" y="388"/>
                      </a:lnTo>
                      <a:lnTo>
                        <a:pt x="490" y="392"/>
                      </a:lnTo>
                      <a:lnTo>
                        <a:pt x="490" y="396"/>
                      </a:lnTo>
                      <a:lnTo>
                        <a:pt x="494" y="396"/>
                      </a:lnTo>
                      <a:lnTo>
                        <a:pt x="490" y="400"/>
                      </a:lnTo>
                      <a:lnTo>
                        <a:pt x="486" y="400"/>
                      </a:lnTo>
                      <a:lnTo>
                        <a:pt x="486" y="404"/>
                      </a:lnTo>
                      <a:lnTo>
                        <a:pt x="486" y="408"/>
                      </a:lnTo>
                      <a:lnTo>
                        <a:pt x="484" y="408"/>
                      </a:lnTo>
                      <a:lnTo>
                        <a:pt x="484" y="410"/>
                      </a:lnTo>
                      <a:lnTo>
                        <a:pt x="484" y="414"/>
                      </a:lnTo>
                      <a:lnTo>
                        <a:pt x="484" y="418"/>
                      </a:lnTo>
                      <a:lnTo>
                        <a:pt x="484" y="422"/>
                      </a:lnTo>
                      <a:lnTo>
                        <a:pt x="484" y="426"/>
                      </a:lnTo>
                      <a:lnTo>
                        <a:pt x="484" y="430"/>
                      </a:lnTo>
                      <a:lnTo>
                        <a:pt x="484" y="434"/>
                      </a:lnTo>
                      <a:lnTo>
                        <a:pt x="480" y="434"/>
                      </a:lnTo>
                      <a:lnTo>
                        <a:pt x="480" y="438"/>
                      </a:lnTo>
                      <a:lnTo>
                        <a:pt x="480" y="440"/>
                      </a:lnTo>
                      <a:lnTo>
                        <a:pt x="476" y="440"/>
                      </a:lnTo>
                      <a:lnTo>
                        <a:pt x="476" y="444"/>
                      </a:lnTo>
                      <a:lnTo>
                        <a:pt x="476" y="448"/>
                      </a:lnTo>
                      <a:lnTo>
                        <a:pt x="472" y="452"/>
                      </a:lnTo>
                      <a:lnTo>
                        <a:pt x="468" y="452"/>
                      </a:lnTo>
                      <a:lnTo>
                        <a:pt x="468" y="456"/>
                      </a:lnTo>
                      <a:lnTo>
                        <a:pt x="468" y="460"/>
                      </a:lnTo>
                      <a:lnTo>
                        <a:pt x="464" y="464"/>
                      </a:lnTo>
                      <a:lnTo>
                        <a:pt x="464" y="466"/>
                      </a:lnTo>
                      <a:lnTo>
                        <a:pt x="468" y="470"/>
                      </a:lnTo>
                      <a:lnTo>
                        <a:pt x="464" y="474"/>
                      </a:lnTo>
                      <a:lnTo>
                        <a:pt x="460" y="474"/>
                      </a:lnTo>
                      <a:lnTo>
                        <a:pt x="458" y="478"/>
                      </a:lnTo>
                      <a:lnTo>
                        <a:pt x="454" y="482"/>
                      </a:lnTo>
                      <a:lnTo>
                        <a:pt x="454" y="486"/>
                      </a:lnTo>
                      <a:lnTo>
                        <a:pt x="450" y="490"/>
                      </a:lnTo>
                      <a:lnTo>
                        <a:pt x="446" y="490"/>
                      </a:lnTo>
                      <a:lnTo>
                        <a:pt x="444" y="490"/>
                      </a:lnTo>
                      <a:lnTo>
                        <a:pt x="440" y="490"/>
                      </a:lnTo>
                      <a:lnTo>
                        <a:pt x="436" y="490"/>
                      </a:lnTo>
                      <a:lnTo>
                        <a:pt x="436" y="486"/>
                      </a:lnTo>
                      <a:lnTo>
                        <a:pt x="440" y="486"/>
                      </a:lnTo>
                      <a:lnTo>
                        <a:pt x="436" y="486"/>
                      </a:lnTo>
                      <a:lnTo>
                        <a:pt x="436" y="490"/>
                      </a:lnTo>
                      <a:lnTo>
                        <a:pt x="432" y="490"/>
                      </a:lnTo>
                      <a:lnTo>
                        <a:pt x="428" y="494"/>
                      </a:lnTo>
                      <a:lnTo>
                        <a:pt x="424" y="494"/>
                      </a:lnTo>
                      <a:lnTo>
                        <a:pt x="424" y="490"/>
                      </a:lnTo>
                      <a:lnTo>
                        <a:pt x="424" y="494"/>
                      </a:lnTo>
                      <a:lnTo>
                        <a:pt x="428" y="494"/>
                      </a:lnTo>
                      <a:lnTo>
                        <a:pt x="432" y="490"/>
                      </a:lnTo>
                      <a:lnTo>
                        <a:pt x="428" y="490"/>
                      </a:lnTo>
                      <a:lnTo>
                        <a:pt x="424" y="490"/>
                      </a:lnTo>
                      <a:lnTo>
                        <a:pt x="420" y="494"/>
                      </a:lnTo>
                      <a:lnTo>
                        <a:pt x="420" y="490"/>
                      </a:lnTo>
                      <a:lnTo>
                        <a:pt x="416" y="490"/>
                      </a:lnTo>
                      <a:lnTo>
                        <a:pt x="416" y="494"/>
                      </a:lnTo>
                      <a:lnTo>
                        <a:pt x="414" y="494"/>
                      </a:lnTo>
                      <a:lnTo>
                        <a:pt x="416" y="494"/>
                      </a:lnTo>
                      <a:lnTo>
                        <a:pt x="416" y="496"/>
                      </a:lnTo>
                      <a:lnTo>
                        <a:pt x="414" y="496"/>
                      </a:lnTo>
                      <a:lnTo>
                        <a:pt x="410" y="496"/>
                      </a:lnTo>
                      <a:lnTo>
                        <a:pt x="410" y="500"/>
                      </a:lnTo>
                      <a:lnTo>
                        <a:pt x="406" y="500"/>
                      </a:lnTo>
                      <a:lnTo>
                        <a:pt x="406" y="504"/>
                      </a:lnTo>
                      <a:lnTo>
                        <a:pt x="402" y="504"/>
                      </a:lnTo>
                      <a:lnTo>
                        <a:pt x="398" y="504"/>
                      </a:lnTo>
                      <a:lnTo>
                        <a:pt x="394" y="504"/>
                      </a:lnTo>
                      <a:lnTo>
                        <a:pt x="394" y="508"/>
                      </a:lnTo>
                      <a:lnTo>
                        <a:pt x="394" y="504"/>
                      </a:lnTo>
                      <a:lnTo>
                        <a:pt x="394" y="508"/>
                      </a:lnTo>
                      <a:lnTo>
                        <a:pt x="390" y="508"/>
                      </a:lnTo>
                      <a:lnTo>
                        <a:pt x="390" y="504"/>
                      </a:lnTo>
                      <a:lnTo>
                        <a:pt x="390" y="508"/>
                      </a:lnTo>
                      <a:lnTo>
                        <a:pt x="386" y="512"/>
                      </a:lnTo>
                      <a:lnTo>
                        <a:pt x="384" y="512"/>
                      </a:lnTo>
                      <a:lnTo>
                        <a:pt x="384" y="516"/>
                      </a:lnTo>
                      <a:lnTo>
                        <a:pt x="380" y="520"/>
                      </a:lnTo>
                      <a:lnTo>
                        <a:pt x="376" y="520"/>
                      </a:lnTo>
                      <a:lnTo>
                        <a:pt x="372" y="522"/>
                      </a:lnTo>
                      <a:lnTo>
                        <a:pt x="368" y="522"/>
                      </a:lnTo>
                      <a:lnTo>
                        <a:pt x="368" y="526"/>
                      </a:lnTo>
                      <a:lnTo>
                        <a:pt x="368" y="530"/>
                      </a:lnTo>
                      <a:lnTo>
                        <a:pt x="364" y="534"/>
                      </a:lnTo>
                      <a:lnTo>
                        <a:pt x="364" y="530"/>
                      </a:lnTo>
                      <a:lnTo>
                        <a:pt x="360" y="530"/>
                      </a:lnTo>
                      <a:lnTo>
                        <a:pt x="360" y="534"/>
                      </a:lnTo>
                      <a:lnTo>
                        <a:pt x="358" y="534"/>
                      </a:lnTo>
                      <a:lnTo>
                        <a:pt x="360" y="534"/>
                      </a:lnTo>
                      <a:lnTo>
                        <a:pt x="360" y="538"/>
                      </a:lnTo>
                      <a:lnTo>
                        <a:pt x="360" y="542"/>
                      </a:lnTo>
                      <a:lnTo>
                        <a:pt x="358" y="542"/>
                      </a:lnTo>
                      <a:lnTo>
                        <a:pt x="360" y="542"/>
                      </a:lnTo>
                      <a:lnTo>
                        <a:pt x="360" y="546"/>
                      </a:lnTo>
                      <a:lnTo>
                        <a:pt x="360" y="550"/>
                      </a:lnTo>
                      <a:lnTo>
                        <a:pt x="358" y="550"/>
                      </a:lnTo>
                      <a:lnTo>
                        <a:pt x="358" y="546"/>
                      </a:lnTo>
                      <a:lnTo>
                        <a:pt x="358" y="550"/>
                      </a:lnTo>
                      <a:lnTo>
                        <a:pt x="358" y="552"/>
                      </a:lnTo>
                      <a:lnTo>
                        <a:pt x="360" y="552"/>
                      </a:lnTo>
                      <a:lnTo>
                        <a:pt x="358" y="552"/>
                      </a:lnTo>
                      <a:lnTo>
                        <a:pt x="358" y="556"/>
                      </a:lnTo>
                      <a:lnTo>
                        <a:pt x="358" y="560"/>
                      </a:lnTo>
                      <a:lnTo>
                        <a:pt x="360" y="564"/>
                      </a:lnTo>
                      <a:lnTo>
                        <a:pt x="360" y="566"/>
                      </a:lnTo>
                      <a:lnTo>
                        <a:pt x="360" y="564"/>
                      </a:lnTo>
                      <a:lnTo>
                        <a:pt x="358" y="566"/>
                      </a:lnTo>
                      <a:lnTo>
                        <a:pt x="358" y="570"/>
                      </a:lnTo>
                      <a:lnTo>
                        <a:pt x="360" y="570"/>
                      </a:lnTo>
                      <a:lnTo>
                        <a:pt x="358" y="574"/>
                      </a:lnTo>
                      <a:lnTo>
                        <a:pt x="360" y="574"/>
                      </a:lnTo>
                      <a:lnTo>
                        <a:pt x="360" y="578"/>
                      </a:lnTo>
                      <a:lnTo>
                        <a:pt x="358" y="582"/>
                      </a:lnTo>
                      <a:lnTo>
                        <a:pt x="358" y="590"/>
                      </a:lnTo>
                      <a:lnTo>
                        <a:pt x="358" y="586"/>
                      </a:lnTo>
                      <a:lnTo>
                        <a:pt x="358" y="590"/>
                      </a:lnTo>
                      <a:lnTo>
                        <a:pt x="354" y="594"/>
                      </a:lnTo>
                      <a:lnTo>
                        <a:pt x="350" y="594"/>
                      </a:lnTo>
                      <a:lnTo>
                        <a:pt x="350" y="596"/>
                      </a:lnTo>
                      <a:lnTo>
                        <a:pt x="346" y="596"/>
                      </a:lnTo>
                      <a:lnTo>
                        <a:pt x="346" y="600"/>
                      </a:lnTo>
                      <a:lnTo>
                        <a:pt x="346" y="604"/>
                      </a:lnTo>
                      <a:lnTo>
                        <a:pt x="342" y="604"/>
                      </a:lnTo>
                      <a:lnTo>
                        <a:pt x="342" y="608"/>
                      </a:lnTo>
                      <a:lnTo>
                        <a:pt x="338" y="608"/>
                      </a:lnTo>
                      <a:lnTo>
                        <a:pt x="338" y="612"/>
                      </a:lnTo>
                      <a:lnTo>
                        <a:pt x="338" y="616"/>
                      </a:lnTo>
                      <a:lnTo>
                        <a:pt x="338" y="620"/>
                      </a:lnTo>
                      <a:lnTo>
                        <a:pt x="334" y="620"/>
                      </a:lnTo>
                      <a:lnTo>
                        <a:pt x="334" y="622"/>
                      </a:lnTo>
                      <a:lnTo>
                        <a:pt x="334" y="626"/>
                      </a:lnTo>
                      <a:lnTo>
                        <a:pt x="330" y="630"/>
                      </a:lnTo>
                      <a:lnTo>
                        <a:pt x="330" y="634"/>
                      </a:lnTo>
                      <a:lnTo>
                        <a:pt x="328" y="634"/>
                      </a:lnTo>
                      <a:lnTo>
                        <a:pt x="328" y="638"/>
                      </a:lnTo>
                      <a:lnTo>
                        <a:pt x="324" y="642"/>
                      </a:lnTo>
                      <a:lnTo>
                        <a:pt x="324" y="646"/>
                      </a:lnTo>
                      <a:lnTo>
                        <a:pt x="320" y="650"/>
                      </a:lnTo>
                      <a:lnTo>
                        <a:pt x="316" y="650"/>
                      </a:lnTo>
                      <a:lnTo>
                        <a:pt x="312" y="652"/>
                      </a:lnTo>
                      <a:lnTo>
                        <a:pt x="308" y="656"/>
                      </a:lnTo>
                      <a:lnTo>
                        <a:pt x="308" y="652"/>
                      </a:lnTo>
                      <a:lnTo>
                        <a:pt x="312" y="652"/>
                      </a:lnTo>
                      <a:lnTo>
                        <a:pt x="308" y="652"/>
                      </a:lnTo>
                      <a:lnTo>
                        <a:pt x="308" y="650"/>
                      </a:lnTo>
                      <a:lnTo>
                        <a:pt x="312" y="650"/>
                      </a:lnTo>
                      <a:lnTo>
                        <a:pt x="316" y="650"/>
                      </a:lnTo>
                      <a:lnTo>
                        <a:pt x="316" y="646"/>
                      </a:lnTo>
                      <a:lnTo>
                        <a:pt x="320" y="646"/>
                      </a:lnTo>
                      <a:lnTo>
                        <a:pt x="320" y="642"/>
                      </a:lnTo>
                      <a:lnTo>
                        <a:pt x="324" y="642"/>
                      </a:lnTo>
                      <a:lnTo>
                        <a:pt x="324" y="638"/>
                      </a:lnTo>
                      <a:lnTo>
                        <a:pt x="324" y="634"/>
                      </a:lnTo>
                      <a:lnTo>
                        <a:pt x="324" y="638"/>
                      </a:lnTo>
                      <a:lnTo>
                        <a:pt x="328" y="638"/>
                      </a:lnTo>
                      <a:lnTo>
                        <a:pt x="328" y="634"/>
                      </a:lnTo>
                      <a:lnTo>
                        <a:pt x="328" y="630"/>
                      </a:lnTo>
                      <a:lnTo>
                        <a:pt x="330" y="630"/>
                      </a:lnTo>
                      <a:lnTo>
                        <a:pt x="330" y="626"/>
                      </a:lnTo>
                      <a:lnTo>
                        <a:pt x="330" y="622"/>
                      </a:lnTo>
                      <a:lnTo>
                        <a:pt x="330" y="626"/>
                      </a:lnTo>
                      <a:lnTo>
                        <a:pt x="330" y="622"/>
                      </a:lnTo>
                      <a:lnTo>
                        <a:pt x="330" y="620"/>
                      </a:lnTo>
                      <a:lnTo>
                        <a:pt x="330" y="622"/>
                      </a:lnTo>
                      <a:lnTo>
                        <a:pt x="328" y="622"/>
                      </a:lnTo>
                      <a:lnTo>
                        <a:pt x="324" y="622"/>
                      </a:lnTo>
                      <a:lnTo>
                        <a:pt x="324" y="620"/>
                      </a:lnTo>
                      <a:lnTo>
                        <a:pt x="324" y="616"/>
                      </a:lnTo>
                      <a:lnTo>
                        <a:pt x="320" y="616"/>
                      </a:lnTo>
                      <a:lnTo>
                        <a:pt x="320" y="620"/>
                      </a:lnTo>
                      <a:lnTo>
                        <a:pt x="320" y="622"/>
                      </a:lnTo>
                      <a:lnTo>
                        <a:pt x="324" y="622"/>
                      </a:lnTo>
                      <a:lnTo>
                        <a:pt x="320" y="626"/>
                      </a:lnTo>
                      <a:lnTo>
                        <a:pt x="320" y="630"/>
                      </a:lnTo>
                      <a:lnTo>
                        <a:pt x="320" y="626"/>
                      </a:lnTo>
                      <a:lnTo>
                        <a:pt x="320" y="630"/>
                      </a:lnTo>
                      <a:lnTo>
                        <a:pt x="320" y="634"/>
                      </a:lnTo>
                      <a:lnTo>
                        <a:pt x="320" y="638"/>
                      </a:lnTo>
                      <a:lnTo>
                        <a:pt x="316" y="638"/>
                      </a:lnTo>
                      <a:lnTo>
                        <a:pt x="312" y="642"/>
                      </a:lnTo>
                      <a:lnTo>
                        <a:pt x="312" y="646"/>
                      </a:lnTo>
                      <a:lnTo>
                        <a:pt x="308" y="646"/>
                      </a:lnTo>
                      <a:lnTo>
                        <a:pt x="308" y="650"/>
                      </a:lnTo>
                      <a:lnTo>
                        <a:pt x="308" y="652"/>
                      </a:lnTo>
                      <a:lnTo>
                        <a:pt x="308" y="656"/>
                      </a:lnTo>
                      <a:lnTo>
                        <a:pt x="308" y="660"/>
                      </a:lnTo>
                      <a:lnTo>
                        <a:pt x="304" y="664"/>
                      </a:lnTo>
                      <a:lnTo>
                        <a:pt x="304" y="668"/>
                      </a:lnTo>
                      <a:lnTo>
                        <a:pt x="304" y="672"/>
                      </a:lnTo>
                      <a:lnTo>
                        <a:pt x="302" y="676"/>
                      </a:lnTo>
                      <a:lnTo>
                        <a:pt x="298" y="678"/>
                      </a:lnTo>
                      <a:lnTo>
                        <a:pt x="294" y="682"/>
                      </a:lnTo>
                      <a:lnTo>
                        <a:pt x="294" y="686"/>
                      </a:lnTo>
                      <a:lnTo>
                        <a:pt x="290" y="686"/>
                      </a:lnTo>
                      <a:lnTo>
                        <a:pt x="290" y="682"/>
                      </a:lnTo>
                      <a:lnTo>
                        <a:pt x="290" y="678"/>
                      </a:lnTo>
                      <a:lnTo>
                        <a:pt x="290" y="676"/>
                      </a:lnTo>
                      <a:lnTo>
                        <a:pt x="290" y="672"/>
                      </a:lnTo>
                      <a:lnTo>
                        <a:pt x="294" y="672"/>
                      </a:lnTo>
                      <a:lnTo>
                        <a:pt x="294" y="668"/>
                      </a:lnTo>
                      <a:lnTo>
                        <a:pt x="298" y="668"/>
                      </a:lnTo>
                      <a:lnTo>
                        <a:pt x="294" y="664"/>
                      </a:lnTo>
                      <a:lnTo>
                        <a:pt x="290" y="664"/>
                      </a:lnTo>
                      <a:lnTo>
                        <a:pt x="290" y="660"/>
                      </a:lnTo>
                      <a:lnTo>
                        <a:pt x="286" y="660"/>
                      </a:lnTo>
                      <a:lnTo>
                        <a:pt x="286" y="656"/>
                      </a:lnTo>
                      <a:lnTo>
                        <a:pt x="286" y="652"/>
                      </a:lnTo>
                      <a:lnTo>
                        <a:pt x="282" y="652"/>
                      </a:lnTo>
                      <a:lnTo>
                        <a:pt x="282" y="650"/>
                      </a:lnTo>
                      <a:lnTo>
                        <a:pt x="278" y="650"/>
                      </a:lnTo>
                      <a:lnTo>
                        <a:pt x="274" y="646"/>
                      </a:lnTo>
                      <a:lnTo>
                        <a:pt x="274" y="642"/>
                      </a:lnTo>
                      <a:lnTo>
                        <a:pt x="272" y="642"/>
                      </a:lnTo>
                      <a:lnTo>
                        <a:pt x="268" y="642"/>
                      </a:lnTo>
                      <a:lnTo>
                        <a:pt x="264" y="638"/>
                      </a:lnTo>
                      <a:lnTo>
                        <a:pt x="264" y="634"/>
                      </a:lnTo>
                      <a:lnTo>
                        <a:pt x="260" y="634"/>
                      </a:lnTo>
                      <a:lnTo>
                        <a:pt x="260" y="630"/>
                      </a:lnTo>
                      <a:lnTo>
                        <a:pt x="260" y="634"/>
                      </a:lnTo>
                      <a:lnTo>
                        <a:pt x="256" y="634"/>
                      </a:lnTo>
                      <a:lnTo>
                        <a:pt x="252" y="634"/>
                      </a:lnTo>
                      <a:lnTo>
                        <a:pt x="256" y="634"/>
                      </a:lnTo>
                      <a:lnTo>
                        <a:pt x="256" y="630"/>
                      </a:lnTo>
                      <a:lnTo>
                        <a:pt x="252" y="630"/>
                      </a:lnTo>
                      <a:lnTo>
                        <a:pt x="252" y="626"/>
                      </a:lnTo>
                      <a:lnTo>
                        <a:pt x="248" y="626"/>
                      </a:lnTo>
                      <a:lnTo>
                        <a:pt x="248" y="622"/>
                      </a:lnTo>
                      <a:lnTo>
                        <a:pt x="244" y="622"/>
                      </a:lnTo>
                      <a:lnTo>
                        <a:pt x="244" y="620"/>
                      </a:lnTo>
                      <a:lnTo>
                        <a:pt x="242" y="620"/>
                      </a:lnTo>
                      <a:lnTo>
                        <a:pt x="238" y="620"/>
                      </a:lnTo>
                      <a:lnTo>
                        <a:pt x="238" y="622"/>
                      </a:lnTo>
                      <a:lnTo>
                        <a:pt x="234" y="620"/>
                      </a:lnTo>
                      <a:lnTo>
                        <a:pt x="234" y="622"/>
                      </a:lnTo>
                      <a:lnTo>
                        <a:pt x="234" y="620"/>
                      </a:lnTo>
                      <a:lnTo>
                        <a:pt x="230" y="620"/>
                      </a:lnTo>
                      <a:lnTo>
                        <a:pt x="234" y="620"/>
                      </a:lnTo>
                      <a:lnTo>
                        <a:pt x="234" y="616"/>
                      </a:lnTo>
                      <a:lnTo>
                        <a:pt x="238" y="612"/>
                      </a:lnTo>
                      <a:lnTo>
                        <a:pt x="242" y="612"/>
                      </a:lnTo>
                      <a:lnTo>
                        <a:pt x="242" y="608"/>
                      </a:lnTo>
                      <a:lnTo>
                        <a:pt x="244" y="604"/>
                      </a:lnTo>
                      <a:lnTo>
                        <a:pt x="244" y="600"/>
                      </a:lnTo>
                      <a:lnTo>
                        <a:pt x="248" y="600"/>
                      </a:lnTo>
                      <a:lnTo>
                        <a:pt x="248" y="596"/>
                      </a:lnTo>
                      <a:lnTo>
                        <a:pt x="248" y="594"/>
                      </a:lnTo>
                      <a:lnTo>
                        <a:pt x="252" y="594"/>
                      </a:lnTo>
                      <a:lnTo>
                        <a:pt x="252" y="590"/>
                      </a:lnTo>
                      <a:lnTo>
                        <a:pt x="256" y="590"/>
                      </a:lnTo>
                      <a:lnTo>
                        <a:pt x="256" y="586"/>
                      </a:lnTo>
                      <a:lnTo>
                        <a:pt x="260" y="586"/>
                      </a:lnTo>
                      <a:lnTo>
                        <a:pt x="256" y="586"/>
                      </a:lnTo>
                      <a:lnTo>
                        <a:pt x="256" y="582"/>
                      </a:lnTo>
                      <a:lnTo>
                        <a:pt x="260" y="582"/>
                      </a:lnTo>
                      <a:lnTo>
                        <a:pt x="264" y="582"/>
                      </a:lnTo>
                      <a:lnTo>
                        <a:pt x="264" y="578"/>
                      </a:lnTo>
                      <a:lnTo>
                        <a:pt x="268" y="578"/>
                      </a:lnTo>
                      <a:lnTo>
                        <a:pt x="272" y="574"/>
                      </a:lnTo>
                      <a:lnTo>
                        <a:pt x="272" y="570"/>
                      </a:lnTo>
                      <a:lnTo>
                        <a:pt x="274" y="570"/>
                      </a:lnTo>
                      <a:lnTo>
                        <a:pt x="278" y="570"/>
                      </a:lnTo>
                      <a:lnTo>
                        <a:pt x="278" y="566"/>
                      </a:lnTo>
                      <a:lnTo>
                        <a:pt x="282" y="566"/>
                      </a:lnTo>
                      <a:lnTo>
                        <a:pt x="282" y="564"/>
                      </a:lnTo>
                      <a:lnTo>
                        <a:pt x="286" y="564"/>
                      </a:lnTo>
                      <a:lnTo>
                        <a:pt x="286" y="560"/>
                      </a:lnTo>
                      <a:lnTo>
                        <a:pt x="286" y="556"/>
                      </a:lnTo>
                      <a:lnTo>
                        <a:pt x="286" y="552"/>
                      </a:lnTo>
                      <a:lnTo>
                        <a:pt x="286" y="550"/>
                      </a:lnTo>
                      <a:lnTo>
                        <a:pt x="286" y="546"/>
                      </a:lnTo>
                      <a:lnTo>
                        <a:pt x="286" y="542"/>
                      </a:lnTo>
                      <a:lnTo>
                        <a:pt x="286" y="538"/>
                      </a:lnTo>
                      <a:lnTo>
                        <a:pt x="282" y="534"/>
                      </a:lnTo>
                      <a:lnTo>
                        <a:pt x="278" y="534"/>
                      </a:lnTo>
                      <a:lnTo>
                        <a:pt x="278" y="538"/>
                      </a:lnTo>
                      <a:lnTo>
                        <a:pt x="274" y="538"/>
                      </a:lnTo>
                      <a:lnTo>
                        <a:pt x="274" y="534"/>
                      </a:lnTo>
                      <a:lnTo>
                        <a:pt x="274" y="530"/>
                      </a:lnTo>
                      <a:lnTo>
                        <a:pt x="274" y="526"/>
                      </a:lnTo>
                      <a:lnTo>
                        <a:pt x="278" y="522"/>
                      </a:lnTo>
                      <a:lnTo>
                        <a:pt x="278" y="520"/>
                      </a:lnTo>
                      <a:lnTo>
                        <a:pt x="278" y="516"/>
                      </a:lnTo>
                      <a:lnTo>
                        <a:pt x="278" y="512"/>
                      </a:lnTo>
                      <a:lnTo>
                        <a:pt x="278" y="508"/>
                      </a:lnTo>
                      <a:lnTo>
                        <a:pt x="274" y="504"/>
                      </a:lnTo>
                      <a:lnTo>
                        <a:pt x="272" y="508"/>
                      </a:lnTo>
                      <a:lnTo>
                        <a:pt x="268" y="508"/>
                      </a:lnTo>
                      <a:lnTo>
                        <a:pt x="264" y="508"/>
                      </a:lnTo>
                      <a:lnTo>
                        <a:pt x="264" y="504"/>
                      </a:lnTo>
                      <a:lnTo>
                        <a:pt x="264" y="500"/>
                      </a:lnTo>
                      <a:lnTo>
                        <a:pt x="260" y="500"/>
                      </a:lnTo>
                      <a:lnTo>
                        <a:pt x="260" y="496"/>
                      </a:lnTo>
                      <a:lnTo>
                        <a:pt x="260" y="494"/>
                      </a:lnTo>
                      <a:lnTo>
                        <a:pt x="260" y="490"/>
                      </a:lnTo>
                      <a:lnTo>
                        <a:pt x="260" y="486"/>
                      </a:lnTo>
                      <a:lnTo>
                        <a:pt x="260" y="482"/>
                      </a:lnTo>
                      <a:lnTo>
                        <a:pt x="256" y="482"/>
                      </a:lnTo>
                      <a:lnTo>
                        <a:pt x="256" y="478"/>
                      </a:lnTo>
                      <a:lnTo>
                        <a:pt x="252" y="478"/>
                      </a:lnTo>
                      <a:lnTo>
                        <a:pt x="248" y="478"/>
                      </a:lnTo>
                      <a:lnTo>
                        <a:pt x="248" y="474"/>
                      </a:lnTo>
                      <a:lnTo>
                        <a:pt x="244" y="474"/>
                      </a:lnTo>
                      <a:lnTo>
                        <a:pt x="244" y="478"/>
                      </a:lnTo>
                      <a:lnTo>
                        <a:pt x="242" y="478"/>
                      </a:lnTo>
                      <a:lnTo>
                        <a:pt x="238" y="478"/>
                      </a:lnTo>
                      <a:lnTo>
                        <a:pt x="234" y="478"/>
                      </a:lnTo>
                      <a:lnTo>
                        <a:pt x="230" y="474"/>
                      </a:lnTo>
                      <a:lnTo>
                        <a:pt x="226" y="474"/>
                      </a:lnTo>
                      <a:lnTo>
                        <a:pt x="226" y="470"/>
                      </a:lnTo>
                      <a:lnTo>
                        <a:pt x="226" y="466"/>
                      </a:lnTo>
                      <a:lnTo>
                        <a:pt x="226" y="464"/>
                      </a:lnTo>
                      <a:lnTo>
                        <a:pt x="226" y="460"/>
                      </a:lnTo>
                      <a:lnTo>
                        <a:pt x="230" y="456"/>
                      </a:lnTo>
                      <a:lnTo>
                        <a:pt x="226" y="452"/>
                      </a:lnTo>
                      <a:lnTo>
                        <a:pt x="226" y="448"/>
                      </a:lnTo>
                      <a:lnTo>
                        <a:pt x="226" y="444"/>
                      </a:lnTo>
                      <a:lnTo>
                        <a:pt x="222" y="440"/>
                      </a:lnTo>
                      <a:lnTo>
                        <a:pt x="226" y="438"/>
                      </a:lnTo>
                      <a:lnTo>
                        <a:pt x="226" y="434"/>
                      </a:lnTo>
                      <a:lnTo>
                        <a:pt x="222" y="434"/>
                      </a:lnTo>
                      <a:lnTo>
                        <a:pt x="226" y="434"/>
                      </a:lnTo>
                      <a:lnTo>
                        <a:pt x="226" y="426"/>
                      </a:lnTo>
                      <a:lnTo>
                        <a:pt x="226" y="422"/>
                      </a:lnTo>
                      <a:lnTo>
                        <a:pt x="230" y="422"/>
                      </a:lnTo>
                      <a:lnTo>
                        <a:pt x="230" y="418"/>
                      </a:lnTo>
                      <a:lnTo>
                        <a:pt x="230" y="410"/>
                      </a:lnTo>
                      <a:lnTo>
                        <a:pt x="234" y="408"/>
                      </a:lnTo>
                      <a:lnTo>
                        <a:pt x="230" y="404"/>
                      </a:lnTo>
                      <a:lnTo>
                        <a:pt x="230" y="400"/>
                      </a:lnTo>
                      <a:lnTo>
                        <a:pt x="230" y="396"/>
                      </a:lnTo>
                      <a:lnTo>
                        <a:pt x="226" y="392"/>
                      </a:lnTo>
                      <a:lnTo>
                        <a:pt x="222" y="392"/>
                      </a:lnTo>
                      <a:lnTo>
                        <a:pt x="222" y="388"/>
                      </a:lnTo>
                      <a:lnTo>
                        <a:pt x="218" y="388"/>
                      </a:lnTo>
                      <a:lnTo>
                        <a:pt x="218" y="384"/>
                      </a:lnTo>
                      <a:lnTo>
                        <a:pt x="218" y="382"/>
                      </a:lnTo>
                      <a:lnTo>
                        <a:pt x="218" y="378"/>
                      </a:lnTo>
                      <a:lnTo>
                        <a:pt x="222" y="378"/>
                      </a:lnTo>
                      <a:lnTo>
                        <a:pt x="222" y="374"/>
                      </a:lnTo>
                      <a:lnTo>
                        <a:pt x="218" y="374"/>
                      </a:lnTo>
                      <a:lnTo>
                        <a:pt x="212" y="374"/>
                      </a:lnTo>
                      <a:lnTo>
                        <a:pt x="204" y="374"/>
                      </a:lnTo>
                      <a:lnTo>
                        <a:pt x="196" y="374"/>
                      </a:lnTo>
                      <a:lnTo>
                        <a:pt x="196" y="366"/>
                      </a:lnTo>
                      <a:lnTo>
                        <a:pt x="192" y="358"/>
                      </a:lnTo>
                      <a:lnTo>
                        <a:pt x="192" y="354"/>
                      </a:lnTo>
                      <a:lnTo>
                        <a:pt x="188" y="352"/>
                      </a:lnTo>
                      <a:lnTo>
                        <a:pt x="192" y="352"/>
                      </a:lnTo>
                      <a:lnTo>
                        <a:pt x="192" y="348"/>
                      </a:lnTo>
                      <a:lnTo>
                        <a:pt x="192" y="344"/>
                      </a:lnTo>
                      <a:lnTo>
                        <a:pt x="192" y="340"/>
                      </a:lnTo>
                      <a:lnTo>
                        <a:pt x="192" y="336"/>
                      </a:lnTo>
                      <a:lnTo>
                        <a:pt x="188" y="336"/>
                      </a:lnTo>
                      <a:lnTo>
                        <a:pt x="192" y="332"/>
                      </a:lnTo>
                      <a:lnTo>
                        <a:pt x="192" y="328"/>
                      </a:lnTo>
                      <a:lnTo>
                        <a:pt x="188" y="328"/>
                      </a:lnTo>
                      <a:lnTo>
                        <a:pt x="186" y="326"/>
                      </a:lnTo>
                      <a:lnTo>
                        <a:pt x="182" y="326"/>
                      </a:lnTo>
                      <a:lnTo>
                        <a:pt x="178" y="326"/>
                      </a:lnTo>
                      <a:lnTo>
                        <a:pt x="174" y="326"/>
                      </a:lnTo>
                      <a:lnTo>
                        <a:pt x="170" y="326"/>
                      </a:lnTo>
                      <a:lnTo>
                        <a:pt x="170" y="322"/>
                      </a:lnTo>
                      <a:lnTo>
                        <a:pt x="166" y="322"/>
                      </a:lnTo>
                      <a:lnTo>
                        <a:pt x="166" y="318"/>
                      </a:lnTo>
                      <a:lnTo>
                        <a:pt x="162" y="318"/>
                      </a:lnTo>
                      <a:lnTo>
                        <a:pt x="160" y="314"/>
                      </a:lnTo>
                      <a:lnTo>
                        <a:pt x="156" y="314"/>
                      </a:lnTo>
                      <a:lnTo>
                        <a:pt x="156" y="310"/>
                      </a:lnTo>
                      <a:lnTo>
                        <a:pt x="152" y="310"/>
                      </a:lnTo>
                      <a:lnTo>
                        <a:pt x="148" y="310"/>
                      </a:lnTo>
                      <a:lnTo>
                        <a:pt x="148" y="306"/>
                      </a:lnTo>
                      <a:lnTo>
                        <a:pt x="144" y="306"/>
                      </a:lnTo>
                      <a:lnTo>
                        <a:pt x="140" y="306"/>
                      </a:lnTo>
                      <a:lnTo>
                        <a:pt x="136" y="306"/>
                      </a:lnTo>
                      <a:lnTo>
                        <a:pt x="132" y="302"/>
                      </a:lnTo>
                      <a:lnTo>
                        <a:pt x="130" y="298"/>
                      </a:lnTo>
                      <a:lnTo>
                        <a:pt x="126" y="298"/>
                      </a:lnTo>
                      <a:lnTo>
                        <a:pt x="126" y="296"/>
                      </a:lnTo>
                      <a:lnTo>
                        <a:pt x="126" y="292"/>
                      </a:lnTo>
                      <a:lnTo>
                        <a:pt x="126" y="296"/>
                      </a:lnTo>
                      <a:lnTo>
                        <a:pt x="126" y="292"/>
                      </a:lnTo>
                      <a:lnTo>
                        <a:pt x="122" y="288"/>
                      </a:lnTo>
                      <a:lnTo>
                        <a:pt x="122" y="284"/>
                      </a:lnTo>
                      <a:lnTo>
                        <a:pt x="122" y="280"/>
                      </a:lnTo>
                      <a:lnTo>
                        <a:pt x="122" y="276"/>
                      </a:lnTo>
                      <a:lnTo>
                        <a:pt x="122" y="272"/>
                      </a:lnTo>
                      <a:lnTo>
                        <a:pt x="122" y="268"/>
                      </a:lnTo>
                      <a:lnTo>
                        <a:pt x="122" y="266"/>
                      </a:lnTo>
                      <a:lnTo>
                        <a:pt x="122" y="262"/>
                      </a:lnTo>
                      <a:lnTo>
                        <a:pt x="122" y="258"/>
                      </a:lnTo>
                      <a:lnTo>
                        <a:pt x="118" y="258"/>
                      </a:lnTo>
                      <a:lnTo>
                        <a:pt x="118" y="262"/>
                      </a:lnTo>
                      <a:lnTo>
                        <a:pt x="118" y="258"/>
                      </a:lnTo>
                      <a:lnTo>
                        <a:pt x="116" y="258"/>
                      </a:lnTo>
                      <a:lnTo>
                        <a:pt x="112" y="258"/>
                      </a:lnTo>
                      <a:lnTo>
                        <a:pt x="108" y="262"/>
                      </a:lnTo>
                      <a:lnTo>
                        <a:pt x="104" y="262"/>
                      </a:lnTo>
                      <a:lnTo>
                        <a:pt x="100" y="266"/>
                      </a:lnTo>
                      <a:lnTo>
                        <a:pt x="100" y="268"/>
                      </a:lnTo>
                      <a:lnTo>
                        <a:pt x="96" y="268"/>
                      </a:lnTo>
                      <a:lnTo>
                        <a:pt x="92" y="268"/>
                      </a:lnTo>
                      <a:lnTo>
                        <a:pt x="92" y="272"/>
                      </a:lnTo>
                      <a:lnTo>
                        <a:pt x="88" y="272"/>
                      </a:lnTo>
                      <a:lnTo>
                        <a:pt x="88" y="276"/>
                      </a:lnTo>
                      <a:lnTo>
                        <a:pt x="88" y="272"/>
                      </a:lnTo>
                      <a:lnTo>
                        <a:pt x="86" y="272"/>
                      </a:lnTo>
                      <a:lnTo>
                        <a:pt x="86" y="276"/>
                      </a:lnTo>
                      <a:lnTo>
                        <a:pt x="82" y="276"/>
                      </a:lnTo>
                      <a:lnTo>
                        <a:pt x="82" y="280"/>
                      </a:lnTo>
                      <a:lnTo>
                        <a:pt x="78" y="280"/>
                      </a:lnTo>
                      <a:lnTo>
                        <a:pt x="78" y="284"/>
                      </a:lnTo>
                      <a:lnTo>
                        <a:pt x="74" y="284"/>
                      </a:lnTo>
                      <a:lnTo>
                        <a:pt x="74" y="280"/>
                      </a:lnTo>
                      <a:lnTo>
                        <a:pt x="70" y="280"/>
                      </a:lnTo>
                      <a:lnTo>
                        <a:pt x="66" y="280"/>
                      </a:lnTo>
                      <a:lnTo>
                        <a:pt x="62" y="280"/>
                      </a:lnTo>
                      <a:lnTo>
                        <a:pt x="60" y="280"/>
                      </a:lnTo>
                      <a:lnTo>
                        <a:pt x="56" y="280"/>
                      </a:lnTo>
                      <a:lnTo>
                        <a:pt x="52" y="280"/>
                      </a:lnTo>
                      <a:lnTo>
                        <a:pt x="48" y="280"/>
                      </a:lnTo>
                      <a:lnTo>
                        <a:pt x="48" y="276"/>
                      </a:lnTo>
                      <a:lnTo>
                        <a:pt x="48" y="272"/>
                      </a:lnTo>
                      <a:lnTo>
                        <a:pt x="48" y="268"/>
                      </a:lnTo>
                      <a:lnTo>
                        <a:pt x="48" y="266"/>
                      </a:lnTo>
                      <a:lnTo>
                        <a:pt x="48" y="262"/>
                      </a:lnTo>
                      <a:lnTo>
                        <a:pt x="48" y="258"/>
                      </a:lnTo>
                      <a:lnTo>
                        <a:pt x="48" y="254"/>
                      </a:lnTo>
                      <a:lnTo>
                        <a:pt x="44" y="258"/>
                      </a:lnTo>
                      <a:lnTo>
                        <a:pt x="44" y="262"/>
                      </a:lnTo>
                      <a:lnTo>
                        <a:pt x="40" y="262"/>
                      </a:lnTo>
                      <a:lnTo>
                        <a:pt x="36" y="262"/>
                      </a:lnTo>
                      <a:lnTo>
                        <a:pt x="32" y="262"/>
                      </a:lnTo>
                      <a:lnTo>
                        <a:pt x="30" y="262"/>
                      </a:lnTo>
                      <a:lnTo>
                        <a:pt x="26" y="262"/>
                      </a:lnTo>
                      <a:lnTo>
                        <a:pt x="26" y="258"/>
                      </a:lnTo>
                      <a:lnTo>
                        <a:pt x="26" y="254"/>
                      </a:lnTo>
                      <a:lnTo>
                        <a:pt x="22" y="254"/>
                      </a:lnTo>
                      <a:lnTo>
                        <a:pt x="18" y="254"/>
                      </a:lnTo>
                      <a:lnTo>
                        <a:pt x="14" y="254"/>
                      </a:lnTo>
                      <a:lnTo>
                        <a:pt x="10" y="254"/>
                      </a:lnTo>
                      <a:lnTo>
                        <a:pt x="10" y="250"/>
                      </a:lnTo>
                      <a:lnTo>
                        <a:pt x="14" y="250"/>
                      </a:lnTo>
                      <a:lnTo>
                        <a:pt x="14" y="246"/>
                      </a:lnTo>
                      <a:lnTo>
                        <a:pt x="14" y="242"/>
                      </a:lnTo>
                      <a:lnTo>
                        <a:pt x="10" y="242"/>
                      </a:lnTo>
                      <a:lnTo>
                        <a:pt x="10" y="240"/>
                      </a:lnTo>
                      <a:lnTo>
                        <a:pt x="6" y="236"/>
                      </a:lnTo>
                      <a:lnTo>
                        <a:pt x="6" y="232"/>
                      </a:lnTo>
                      <a:lnTo>
                        <a:pt x="6" y="228"/>
                      </a:lnTo>
                      <a:lnTo>
                        <a:pt x="4" y="228"/>
                      </a:lnTo>
                      <a:lnTo>
                        <a:pt x="4" y="224"/>
                      </a:lnTo>
                      <a:lnTo>
                        <a:pt x="0" y="220"/>
                      </a:lnTo>
                      <a:lnTo>
                        <a:pt x="0" y="216"/>
                      </a:lnTo>
                      <a:lnTo>
                        <a:pt x="4" y="216"/>
                      </a:lnTo>
                      <a:lnTo>
                        <a:pt x="4" y="212"/>
                      </a:lnTo>
                      <a:lnTo>
                        <a:pt x="4" y="210"/>
                      </a:lnTo>
                      <a:lnTo>
                        <a:pt x="6" y="206"/>
                      </a:lnTo>
                      <a:lnTo>
                        <a:pt x="10" y="206"/>
                      </a:lnTo>
                      <a:lnTo>
                        <a:pt x="10" y="202"/>
                      </a:lnTo>
                      <a:lnTo>
                        <a:pt x="14" y="202"/>
                      </a:lnTo>
                      <a:lnTo>
                        <a:pt x="10" y="198"/>
                      </a:lnTo>
                      <a:lnTo>
                        <a:pt x="10" y="194"/>
                      </a:lnTo>
                      <a:lnTo>
                        <a:pt x="10" y="190"/>
                      </a:lnTo>
                      <a:lnTo>
                        <a:pt x="14" y="190"/>
                      </a:lnTo>
                      <a:lnTo>
                        <a:pt x="14" y="186"/>
                      </a:lnTo>
                      <a:lnTo>
                        <a:pt x="14" y="184"/>
                      </a:lnTo>
                      <a:lnTo>
                        <a:pt x="14" y="180"/>
                      </a:lnTo>
                      <a:lnTo>
                        <a:pt x="18" y="180"/>
                      </a:lnTo>
                      <a:lnTo>
                        <a:pt x="22" y="176"/>
                      </a:lnTo>
                      <a:lnTo>
                        <a:pt x="22" y="172"/>
                      </a:lnTo>
                      <a:lnTo>
                        <a:pt x="26" y="172"/>
                      </a:lnTo>
                      <a:lnTo>
                        <a:pt x="30" y="172"/>
                      </a:lnTo>
                      <a:lnTo>
                        <a:pt x="30" y="168"/>
                      </a:lnTo>
                      <a:lnTo>
                        <a:pt x="32" y="168"/>
                      </a:lnTo>
                      <a:lnTo>
                        <a:pt x="36" y="168"/>
                      </a:lnTo>
                      <a:lnTo>
                        <a:pt x="40" y="164"/>
                      </a:lnTo>
                      <a:lnTo>
                        <a:pt x="40" y="168"/>
                      </a:lnTo>
                      <a:lnTo>
                        <a:pt x="44" y="168"/>
                      </a:lnTo>
                      <a:lnTo>
                        <a:pt x="44" y="164"/>
                      </a:lnTo>
                      <a:lnTo>
                        <a:pt x="48" y="164"/>
                      </a:lnTo>
                      <a:lnTo>
                        <a:pt x="52" y="164"/>
                      </a:lnTo>
                      <a:lnTo>
                        <a:pt x="52" y="160"/>
                      </a:lnTo>
                      <a:lnTo>
                        <a:pt x="52" y="164"/>
                      </a:lnTo>
                      <a:lnTo>
                        <a:pt x="56" y="164"/>
                      </a:lnTo>
                      <a:lnTo>
                        <a:pt x="60" y="164"/>
                      </a:lnTo>
                      <a:lnTo>
                        <a:pt x="60" y="156"/>
                      </a:lnTo>
                      <a:lnTo>
                        <a:pt x="60" y="150"/>
                      </a:lnTo>
                      <a:lnTo>
                        <a:pt x="62" y="136"/>
                      </a:lnTo>
                      <a:lnTo>
                        <a:pt x="62" y="132"/>
                      </a:lnTo>
                      <a:lnTo>
                        <a:pt x="62" y="124"/>
                      </a:lnTo>
                      <a:lnTo>
                        <a:pt x="62" y="116"/>
                      </a:lnTo>
                      <a:lnTo>
                        <a:pt x="66" y="116"/>
                      </a:lnTo>
                      <a:lnTo>
                        <a:pt x="66" y="114"/>
                      </a:lnTo>
                      <a:lnTo>
                        <a:pt x="66" y="110"/>
                      </a:lnTo>
                      <a:lnTo>
                        <a:pt x="62" y="110"/>
                      </a:lnTo>
                      <a:lnTo>
                        <a:pt x="66" y="110"/>
                      </a:lnTo>
                      <a:lnTo>
                        <a:pt x="62" y="110"/>
                      </a:lnTo>
                      <a:lnTo>
                        <a:pt x="62" y="106"/>
                      </a:lnTo>
                      <a:lnTo>
                        <a:pt x="62" y="102"/>
                      </a:lnTo>
                      <a:lnTo>
                        <a:pt x="60" y="102"/>
                      </a:lnTo>
                      <a:lnTo>
                        <a:pt x="60" y="98"/>
                      </a:lnTo>
                      <a:lnTo>
                        <a:pt x="56" y="94"/>
                      </a:lnTo>
                      <a:lnTo>
                        <a:pt x="56" y="90"/>
                      </a:lnTo>
                      <a:lnTo>
                        <a:pt x="56" y="86"/>
                      </a:lnTo>
                      <a:lnTo>
                        <a:pt x="56" y="84"/>
                      </a:lnTo>
                      <a:lnTo>
                        <a:pt x="60" y="84"/>
                      </a:lnTo>
                      <a:lnTo>
                        <a:pt x="62" y="80"/>
                      </a:lnTo>
                      <a:lnTo>
                        <a:pt x="66" y="80"/>
                      </a:lnTo>
                      <a:lnTo>
                        <a:pt x="66" y="84"/>
                      </a:lnTo>
                      <a:lnTo>
                        <a:pt x="70" y="84"/>
                      </a:lnTo>
                      <a:lnTo>
                        <a:pt x="70" y="80"/>
                      </a:lnTo>
                      <a:lnTo>
                        <a:pt x="66" y="76"/>
                      </a:lnTo>
                      <a:lnTo>
                        <a:pt x="62" y="76"/>
                      </a:lnTo>
                      <a:lnTo>
                        <a:pt x="60" y="76"/>
                      </a:lnTo>
                      <a:lnTo>
                        <a:pt x="60" y="64"/>
                      </a:lnTo>
                      <a:lnTo>
                        <a:pt x="62" y="60"/>
                      </a:lnTo>
                      <a:lnTo>
                        <a:pt x="66" y="64"/>
                      </a:lnTo>
                      <a:lnTo>
                        <a:pt x="70" y="64"/>
                      </a:lnTo>
                      <a:lnTo>
                        <a:pt x="74" y="64"/>
                      </a:lnTo>
                      <a:lnTo>
                        <a:pt x="82" y="64"/>
                      </a:lnTo>
                      <a:lnTo>
                        <a:pt x="82" y="60"/>
                      </a:lnTo>
                      <a:lnTo>
                        <a:pt x="82" y="56"/>
                      </a:lnTo>
                      <a:lnTo>
                        <a:pt x="82" y="60"/>
                      </a:lnTo>
                      <a:lnTo>
                        <a:pt x="86" y="60"/>
                      </a:lnTo>
                      <a:lnTo>
                        <a:pt x="86" y="64"/>
                      </a:lnTo>
                      <a:lnTo>
                        <a:pt x="86" y="60"/>
                      </a:lnTo>
                      <a:lnTo>
                        <a:pt x="88" y="60"/>
                      </a:lnTo>
                      <a:lnTo>
                        <a:pt x="88" y="56"/>
                      </a:lnTo>
                      <a:lnTo>
                        <a:pt x="92" y="56"/>
                      </a:lnTo>
                      <a:lnTo>
                        <a:pt x="96" y="56"/>
                      </a:lnTo>
                      <a:lnTo>
                        <a:pt x="96" y="60"/>
                      </a:lnTo>
                      <a:lnTo>
                        <a:pt x="96" y="64"/>
                      </a:lnTo>
                      <a:lnTo>
                        <a:pt x="100" y="68"/>
                      </a:lnTo>
                      <a:lnTo>
                        <a:pt x="96" y="68"/>
                      </a:lnTo>
                      <a:lnTo>
                        <a:pt x="96" y="72"/>
                      </a:lnTo>
                      <a:lnTo>
                        <a:pt x="100" y="72"/>
                      </a:lnTo>
                      <a:lnTo>
                        <a:pt x="104" y="72"/>
                      </a:lnTo>
                      <a:lnTo>
                        <a:pt x="108" y="80"/>
                      </a:lnTo>
                      <a:lnTo>
                        <a:pt x="112" y="80"/>
                      </a:lnTo>
                      <a:lnTo>
                        <a:pt x="116" y="80"/>
                      </a:lnTo>
                      <a:lnTo>
                        <a:pt x="116" y="76"/>
                      </a:lnTo>
                      <a:lnTo>
                        <a:pt x="118" y="76"/>
                      </a:lnTo>
                      <a:lnTo>
                        <a:pt x="118" y="80"/>
                      </a:lnTo>
                      <a:lnTo>
                        <a:pt x="118" y="84"/>
                      </a:lnTo>
                      <a:lnTo>
                        <a:pt x="118" y="80"/>
                      </a:lnTo>
                      <a:lnTo>
                        <a:pt x="122" y="80"/>
                      </a:lnTo>
                      <a:lnTo>
                        <a:pt x="122" y="76"/>
                      </a:lnTo>
                      <a:lnTo>
                        <a:pt x="126" y="76"/>
                      </a:lnTo>
                      <a:lnTo>
                        <a:pt x="126" y="72"/>
                      </a:lnTo>
                      <a:lnTo>
                        <a:pt x="130" y="72"/>
                      </a:lnTo>
                      <a:lnTo>
                        <a:pt x="132" y="68"/>
                      </a:lnTo>
                      <a:lnTo>
                        <a:pt x="136" y="68"/>
                      </a:lnTo>
                      <a:lnTo>
                        <a:pt x="140" y="64"/>
                      </a:lnTo>
                      <a:lnTo>
                        <a:pt x="140" y="60"/>
                      </a:lnTo>
                      <a:lnTo>
                        <a:pt x="140" y="56"/>
                      </a:lnTo>
                      <a:lnTo>
                        <a:pt x="144" y="56"/>
                      </a:lnTo>
                      <a:lnTo>
                        <a:pt x="148" y="56"/>
                      </a:lnTo>
                      <a:lnTo>
                        <a:pt x="148" y="54"/>
                      </a:lnTo>
                      <a:lnTo>
                        <a:pt x="152" y="54"/>
                      </a:lnTo>
                      <a:lnTo>
                        <a:pt x="152" y="50"/>
                      </a:lnTo>
                      <a:lnTo>
                        <a:pt x="148" y="50"/>
                      </a:lnTo>
                      <a:lnTo>
                        <a:pt x="144" y="50"/>
                      </a:lnTo>
                      <a:lnTo>
                        <a:pt x="140" y="50"/>
                      </a:lnTo>
                      <a:lnTo>
                        <a:pt x="140" y="46"/>
                      </a:lnTo>
                      <a:lnTo>
                        <a:pt x="140" y="42"/>
                      </a:lnTo>
                      <a:lnTo>
                        <a:pt x="140" y="38"/>
                      </a:lnTo>
                      <a:lnTo>
                        <a:pt x="136" y="38"/>
                      </a:lnTo>
                      <a:lnTo>
                        <a:pt x="136" y="34"/>
                      </a:lnTo>
                      <a:lnTo>
                        <a:pt x="136" y="30"/>
                      </a:lnTo>
                      <a:lnTo>
                        <a:pt x="136" y="28"/>
                      </a:lnTo>
                      <a:lnTo>
                        <a:pt x="132" y="28"/>
                      </a:lnTo>
                      <a:lnTo>
                        <a:pt x="132" y="24"/>
                      </a:lnTo>
                      <a:lnTo>
                        <a:pt x="130" y="24"/>
                      </a:lnTo>
                      <a:lnTo>
                        <a:pt x="130" y="20"/>
                      </a:lnTo>
                      <a:lnTo>
                        <a:pt x="132" y="20"/>
                      </a:lnTo>
                      <a:lnTo>
                        <a:pt x="132" y="24"/>
                      </a:lnTo>
                      <a:lnTo>
                        <a:pt x="136" y="20"/>
                      </a:lnTo>
                      <a:lnTo>
                        <a:pt x="136" y="24"/>
                      </a:lnTo>
                      <a:lnTo>
                        <a:pt x="140" y="24"/>
                      </a:lnTo>
                      <a:lnTo>
                        <a:pt x="140" y="28"/>
                      </a:lnTo>
                      <a:lnTo>
                        <a:pt x="140" y="24"/>
                      </a:lnTo>
                      <a:lnTo>
                        <a:pt x="144" y="24"/>
                      </a:lnTo>
                      <a:lnTo>
                        <a:pt x="148" y="24"/>
                      </a:lnTo>
                      <a:lnTo>
                        <a:pt x="148" y="28"/>
                      </a:lnTo>
                      <a:lnTo>
                        <a:pt x="148" y="24"/>
                      </a:lnTo>
                      <a:lnTo>
                        <a:pt x="152" y="24"/>
                      </a:lnTo>
                      <a:lnTo>
                        <a:pt x="152" y="28"/>
                      </a:lnTo>
                      <a:lnTo>
                        <a:pt x="156" y="30"/>
                      </a:lnTo>
                      <a:lnTo>
                        <a:pt x="160" y="30"/>
                      </a:lnTo>
                      <a:lnTo>
                        <a:pt x="160" y="28"/>
                      </a:lnTo>
                      <a:lnTo>
                        <a:pt x="160" y="24"/>
                      </a:lnTo>
                      <a:lnTo>
                        <a:pt x="162" y="24"/>
                      </a:lnTo>
                      <a:lnTo>
                        <a:pt x="162" y="20"/>
                      </a:lnTo>
                      <a:lnTo>
                        <a:pt x="166" y="20"/>
                      </a:lnTo>
                      <a:lnTo>
                        <a:pt x="166" y="24"/>
                      </a:lnTo>
                      <a:lnTo>
                        <a:pt x="170" y="20"/>
                      </a:lnTo>
                      <a:lnTo>
                        <a:pt x="174" y="20"/>
                      </a:lnTo>
                      <a:lnTo>
                        <a:pt x="178" y="20"/>
                      </a:lnTo>
                      <a:lnTo>
                        <a:pt x="178" y="16"/>
                      </a:lnTo>
                      <a:lnTo>
                        <a:pt x="182" y="16"/>
                      </a:lnTo>
                      <a:lnTo>
                        <a:pt x="186" y="16"/>
                      </a:lnTo>
                      <a:lnTo>
                        <a:pt x="186" y="12"/>
                      </a:lnTo>
                      <a:lnTo>
                        <a:pt x="188" y="12"/>
                      </a:lnTo>
                      <a:lnTo>
                        <a:pt x="188" y="8"/>
                      </a:lnTo>
                      <a:lnTo>
                        <a:pt x="188" y="4"/>
                      </a:lnTo>
                      <a:lnTo>
                        <a:pt x="192" y="4"/>
                      </a:lnTo>
                      <a:lnTo>
                        <a:pt x="192" y="0"/>
                      </a:lnTo>
                      <a:lnTo>
                        <a:pt x="196" y="0"/>
                      </a:lnTo>
                      <a:lnTo>
                        <a:pt x="196" y="4"/>
                      </a:lnTo>
                      <a:lnTo>
                        <a:pt x="196" y="8"/>
                      </a:lnTo>
                      <a:lnTo>
                        <a:pt x="196" y="12"/>
                      </a:lnTo>
                      <a:lnTo>
                        <a:pt x="196" y="16"/>
                      </a:lnTo>
                      <a:lnTo>
                        <a:pt x="200" y="16"/>
                      </a:lnTo>
                      <a:lnTo>
                        <a:pt x="204" y="16"/>
                      </a:lnTo>
                      <a:lnTo>
                        <a:pt x="200" y="20"/>
                      </a:lnTo>
                      <a:lnTo>
                        <a:pt x="204" y="24"/>
                      </a:lnTo>
                      <a:lnTo>
                        <a:pt x="204" y="28"/>
                      </a:lnTo>
                      <a:lnTo>
                        <a:pt x="200" y="30"/>
                      </a:lnTo>
                      <a:lnTo>
                        <a:pt x="200" y="34"/>
                      </a:lnTo>
                      <a:lnTo>
                        <a:pt x="200" y="38"/>
                      </a:lnTo>
                      <a:lnTo>
                        <a:pt x="196" y="42"/>
                      </a:lnTo>
                      <a:lnTo>
                        <a:pt x="196" y="46"/>
                      </a:lnTo>
                      <a:lnTo>
                        <a:pt x="196" y="50"/>
                      </a:lnTo>
                      <a:lnTo>
                        <a:pt x="200" y="50"/>
                      </a:lnTo>
                      <a:lnTo>
                        <a:pt x="200" y="54"/>
                      </a:lnTo>
                      <a:lnTo>
                        <a:pt x="200" y="56"/>
                      </a:lnTo>
                      <a:lnTo>
                        <a:pt x="200" y="60"/>
                      </a:lnTo>
                      <a:lnTo>
                        <a:pt x="204" y="60"/>
                      </a:lnTo>
                      <a:lnTo>
                        <a:pt x="204" y="64"/>
                      </a:lnTo>
                      <a:lnTo>
                        <a:pt x="208" y="64"/>
                      </a:lnTo>
                      <a:lnTo>
                        <a:pt x="208" y="68"/>
                      </a:lnTo>
                      <a:lnTo>
                        <a:pt x="212" y="68"/>
                      </a:lnTo>
                      <a:lnTo>
                        <a:pt x="212" y="72"/>
                      </a:lnTo>
                      <a:lnTo>
                        <a:pt x="216" y="72"/>
                      </a:lnTo>
                      <a:lnTo>
                        <a:pt x="218" y="72"/>
                      </a:lnTo>
                      <a:lnTo>
                        <a:pt x="218" y="68"/>
                      </a:lnTo>
                      <a:lnTo>
                        <a:pt x="222" y="64"/>
                      </a:lnTo>
                      <a:lnTo>
                        <a:pt x="222" y="68"/>
                      </a:lnTo>
                      <a:lnTo>
                        <a:pt x="226" y="68"/>
                      </a:lnTo>
                      <a:lnTo>
                        <a:pt x="226" y="64"/>
                      </a:lnTo>
                      <a:lnTo>
                        <a:pt x="230" y="64"/>
                      </a:lnTo>
                      <a:lnTo>
                        <a:pt x="234" y="64"/>
                      </a:lnTo>
                      <a:lnTo>
                        <a:pt x="234" y="60"/>
                      </a:lnTo>
                      <a:lnTo>
                        <a:pt x="234" y="56"/>
                      </a:lnTo>
                      <a:lnTo>
                        <a:pt x="238" y="56"/>
                      </a:lnTo>
                      <a:lnTo>
                        <a:pt x="238" y="60"/>
                      </a:lnTo>
                      <a:lnTo>
                        <a:pt x="238" y="56"/>
                      </a:lnTo>
                      <a:lnTo>
                        <a:pt x="242" y="60"/>
                      </a:lnTo>
                      <a:lnTo>
                        <a:pt x="244" y="60"/>
                      </a:lnTo>
                      <a:lnTo>
                        <a:pt x="248" y="60"/>
                      </a:lnTo>
                      <a:lnTo>
                        <a:pt x="252" y="60"/>
                      </a:lnTo>
                      <a:lnTo>
                        <a:pt x="256" y="60"/>
                      </a:lnTo>
                      <a:lnTo>
                        <a:pt x="256" y="56"/>
                      </a:lnTo>
                      <a:lnTo>
                        <a:pt x="252" y="54"/>
                      </a:lnTo>
                      <a:lnTo>
                        <a:pt x="252" y="50"/>
                      </a:lnTo>
                      <a:lnTo>
                        <a:pt x="256" y="50"/>
                      </a:lnTo>
                      <a:lnTo>
                        <a:pt x="260" y="54"/>
                      </a:lnTo>
                      <a:lnTo>
                        <a:pt x="260" y="50"/>
                      </a:lnTo>
                      <a:lnTo>
                        <a:pt x="268" y="50"/>
                      </a:lnTo>
                      <a:lnTo>
                        <a:pt x="272" y="50"/>
                      </a:lnTo>
                      <a:lnTo>
                        <a:pt x="272" y="54"/>
                      </a:lnTo>
                      <a:lnTo>
                        <a:pt x="274" y="54"/>
                      </a:lnTo>
                      <a:lnTo>
                        <a:pt x="278" y="56"/>
                      </a:lnTo>
                      <a:lnTo>
                        <a:pt x="282" y="56"/>
                      </a:lnTo>
                      <a:lnTo>
                        <a:pt x="282" y="54"/>
                      </a:lnTo>
                      <a:lnTo>
                        <a:pt x="286" y="54"/>
                      </a:lnTo>
                      <a:lnTo>
                        <a:pt x="290" y="54"/>
                      </a:lnTo>
                      <a:lnTo>
                        <a:pt x="294" y="54"/>
                      </a:lnTo>
                      <a:lnTo>
                        <a:pt x="298" y="54"/>
                      </a:lnTo>
                      <a:lnTo>
                        <a:pt x="298" y="56"/>
                      </a:lnTo>
                      <a:lnTo>
                        <a:pt x="298" y="54"/>
                      </a:lnTo>
                      <a:lnTo>
                        <a:pt x="302" y="54"/>
                      </a:lnTo>
                      <a:lnTo>
                        <a:pt x="302" y="50"/>
                      </a:lnTo>
                      <a:lnTo>
                        <a:pt x="304" y="50"/>
                      </a:lnTo>
                      <a:lnTo>
                        <a:pt x="304" y="46"/>
                      </a:lnTo>
                      <a:lnTo>
                        <a:pt x="304" y="42"/>
                      </a:lnTo>
                      <a:lnTo>
                        <a:pt x="304" y="38"/>
                      </a:lnTo>
                      <a:lnTo>
                        <a:pt x="308" y="38"/>
                      </a:lnTo>
                      <a:lnTo>
                        <a:pt x="308" y="34"/>
                      </a:lnTo>
                      <a:lnTo>
                        <a:pt x="312" y="30"/>
                      </a:lnTo>
                      <a:lnTo>
                        <a:pt x="312" y="28"/>
                      </a:lnTo>
                      <a:lnTo>
                        <a:pt x="312" y="24"/>
                      </a:lnTo>
                      <a:lnTo>
                        <a:pt x="316" y="24"/>
                      </a:lnTo>
                      <a:lnTo>
                        <a:pt x="316" y="20"/>
                      </a:lnTo>
                      <a:lnTo>
                        <a:pt x="320" y="24"/>
                      </a:lnTo>
                      <a:lnTo>
                        <a:pt x="316" y="20"/>
                      </a:lnTo>
                      <a:lnTo>
                        <a:pt x="316" y="16"/>
                      </a:lnTo>
                      <a:lnTo>
                        <a:pt x="320" y="20"/>
                      </a:lnTo>
                      <a:lnTo>
                        <a:pt x="324" y="24"/>
                      </a:lnTo>
                      <a:lnTo>
                        <a:pt x="324" y="28"/>
                      </a:lnTo>
                      <a:lnTo>
                        <a:pt x="324" y="30"/>
                      </a:lnTo>
                      <a:lnTo>
                        <a:pt x="324" y="34"/>
                      </a:lnTo>
                      <a:lnTo>
                        <a:pt x="324" y="38"/>
                      </a:lnTo>
                      <a:lnTo>
                        <a:pt x="324" y="42"/>
                      </a:lnTo>
                      <a:lnTo>
                        <a:pt x="328" y="42"/>
                      </a:lnTo>
                      <a:lnTo>
                        <a:pt x="328" y="46"/>
                      </a:lnTo>
                      <a:lnTo>
                        <a:pt x="328" y="50"/>
                      </a:lnTo>
                      <a:lnTo>
                        <a:pt x="330" y="56"/>
                      </a:lnTo>
                      <a:lnTo>
                        <a:pt x="330" y="60"/>
                      </a:lnTo>
                      <a:lnTo>
                        <a:pt x="334" y="60"/>
                      </a:lnTo>
                      <a:lnTo>
                        <a:pt x="338" y="60"/>
                      </a:lnTo>
                      <a:lnTo>
                        <a:pt x="342" y="64"/>
                      </a:lnTo>
                      <a:lnTo>
                        <a:pt x="342" y="68"/>
                      </a:lnTo>
                      <a:lnTo>
                        <a:pt x="338" y="72"/>
                      </a:lnTo>
                      <a:lnTo>
                        <a:pt x="342" y="72"/>
                      </a:lnTo>
                      <a:lnTo>
                        <a:pt x="338" y="72"/>
                      </a:lnTo>
                      <a:lnTo>
                        <a:pt x="338" y="76"/>
                      </a:lnTo>
                      <a:lnTo>
                        <a:pt x="334" y="76"/>
                      </a:lnTo>
                      <a:lnTo>
                        <a:pt x="334" y="80"/>
                      </a:lnTo>
                      <a:lnTo>
                        <a:pt x="330" y="84"/>
                      </a:lnTo>
                      <a:lnTo>
                        <a:pt x="330" y="86"/>
                      </a:lnTo>
                      <a:lnTo>
                        <a:pt x="328" y="90"/>
                      </a:lnTo>
                      <a:lnTo>
                        <a:pt x="324" y="90"/>
                      </a:lnTo>
                      <a:lnTo>
                        <a:pt x="324" y="94"/>
                      </a:lnTo>
                      <a:lnTo>
                        <a:pt x="320" y="94"/>
                      </a:lnTo>
                      <a:lnTo>
                        <a:pt x="320" y="98"/>
                      </a:lnTo>
                      <a:lnTo>
                        <a:pt x="320" y="102"/>
                      </a:lnTo>
                      <a:lnTo>
                        <a:pt x="316" y="102"/>
                      </a:lnTo>
                      <a:lnTo>
                        <a:pt x="316" y="106"/>
                      </a:lnTo>
                      <a:lnTo>
                        <a:pt x="316" y="110"/>
                      </a:lnTo>
                      <a:lnTo>
                        <a:pt x="312" y="114"/>
                      </a:lnTo>
                      <a:lnTo>
                        <a:pt x="312" y="116"/>
                      </a:lnTo>
                      <a:lnTo>
                        <a:pt x="308" y="116"/>
                      </a:lnTo>
                      <a:lnTo>
                        <a:pt x="304" y="116"/>
                      </a:lnTo>
                      <a:lnTo>
                        <a:pt x="304" y="120"/>
                      </a:lnTo>
                      <a:lnTo>
                        <a:pt x="302" y="116"/>
                      </a:lnTo>
                      <a:lnTo>
                        <a:pt x="302" y="120"/>
                      </a:lnTo>
                      <a:lnTo>
                        <a:pt x="304" y="120"/>
                      </a:lnTo>
                      <a:lnTo>
                        <a:pt x="308" y="120"/>
                      </a:lnTo>
                      <a:lnTo>
                        <a:pt x="312" y="120"/>
                      </a:lnTo>
                      <a:lnTo>
                        <a:pt x="312" y="116"/>
                      </a:lnTo>
                      <a:lnTo>
                        <a:pt x="316" y="116"/>
                      </a:lnTo>
                      <a:lnTo>
                        <a:pt x="320" y="116"/>
                      </a:lnTo>
                      <a:lnTo>
                        <a:pt x="324" y="114"/>
                      </a:lnTo>
                      <a:lnTo>
                        <a:pt x="324" y="110"/>
                      </a:lnTo>
                      <a:lnTo>
                        <a:pt x="328" y="110"/>
                      </a:lnTo>
                      <a:lnTo>
                        <a:pt x="328" y="114"/>
                      </a:lnTo>
                      <a:lnTo>
                        <a:pt x="328" y="116"/>
                      </a:lnTo>
                      <a:lnTo>
                        <a:pt x="328" y="120"/>
                      </a:lnTo>
                      <a:lnTo>
                        <a:pt x="330" y="120"/>
                      </a:lnTo>
                      <a:lnTo>
                        <a:pt x="330" y="124"/>
                      </a:lnTo>
                      <a:lnTo>
                        <a:pt x="328" y="124"/>
                      </a:lnTo>
                      <a:lnTo>
                        <a:pt x="324" y="124"/>
                      </a:lnTo>
                      <a:lnTo>
                        <a:pt x="320" y="124"/>
                      </a:lnTo>
                      <a:lnTo>
                        <a:pt x="320" y="120"/>
                      </a:lnTo>
                      <a:lnTo>
                        <a:pt x="320" y="124"/>
                      </a:lnTo>
                      <a:lnTo>
                        <a:pt x="320" y="128"/>
                      </a:lnTo>
                      <a:lnTo>
                        <a:pt x="316" y="128"/>
                      </a:lnTo>
                      <a:lnTo>
                        <a:pt x="320" y="132"/>
                      </a:lnTo>
                      <a:lnTo>
                        <a:pt x="320" y="128"/>
                      </a:lnTo>
                      <a:lnTo>
                        <a:pt x="320" y="124"/>
                      </a:lnTo>
                      <a:lnTo>
                        <a:pt x="324" y="124"/>
                      </a:lnTo>
                      <a:lnTo>
                        <a:pt x="324" y="128"/>
                      </a:lnTo>
                      <a:lnTo>
                        <a:pt x="324" y="132"/>
                      </a:lnTo>
                      <a:lnTo>
                        <a:pt x="324" y="136"/>
                      </a:lnTo>
                      <a:lnTo>
                        <a:pt x="328" y="136"/>
                      </a:lnTo>
                      <a:lnTo>
                        <a:pt x="324" y="132"/>
                      </a:lnTo>
                      <a:lnTo>
                        <a:pt x="328" y="128"/>
                      </a:lnTo>
                      <a:lnTo>
                        <a:pt x="330" y="132"/>
                      </a:lnTo>
                      <a:lnTo>
                        <a:pt x="328" y="128"/>
                      </a:lnTo>
                      <a:lnTo>
                        <a:pt x="328" y="124"/>
                      </a:lnTo>
                      <a:lnTo>
                        <a:pt x="330" y="124"/>
                      </a:lnTo>
                      <a:lnTo>
                        <a:pt x="334" y="124"/>
                      </a:lnTo>
                      <a:lnTo>
                        <a:pt x="330" y="124"/>
                      </a:lnTo>
                      <a:lnTo>
                        <a:pt x="334" y="124"/>
                      </a:lnTo>
                      <a:lnTo>
                        <a:pt x="338" y="124"/>
                      </a:lnTo>
                      <a:lnTo>
                        <a:pt x="342" y="124"/>
                      </a:lnTo>
                      <a:lnTo>
                        <a:pt x="346" y="124"/>
                      </a:lnTo>
                      <a:lnTo>
                        <a:pt x="346" y="120"/>
                      </a:lnTo>
                      <a:lnTo>
                        <a:pt x="350" y="120"/>
                      </a:lnTo>
                      <a:lnTo>
                        <a:pt x="350" y="124"/>
                      </a:lnTo>
                      <a:lnTo>
                        <a:pt x="350" y="128"/>
                      </a:lnTo>
                      <a:lnTo>
                        <a:pt x="346" y="128"/>
                      </a:lnTo>
                      <a:lnTo>
                        <a:pt x="346" y="132"/>
                      </a:lnTo>
                      <a:lnTo>
                        <a:pt x="346" y="136"/>
                      </a:lnTo>
                      <a:lnTo>
                        <a:pt x="346" y="132"/>
                      </a:lnTo>
                      <a:lnTo>
                        <a:pt x="350" y="132"/>
                      </a:lnTo>
                      <a:lnTo>
                        <a:pt x="350" y="128"/>
                      </a:lnTo>
                      <a:lnTo>
                        <a:pt x="350" y="124"/>
                      </a:lnTo>
                      <a:lnTo>
                        <a:pt x="354" y="124"/>
                      </a:lnTo>
                      <a:lnTo>
                        <a:pt x="358" y="120"/>
                      </a:lnTo>
                      <a:lnTo>
                        <a:pt x="358" y="116"/>
                      </a:lnTo>
                      <a:lnTo>
                        <a:pt x="360" y="116"/>
                      </a:lnTo>
                      <a:lnTo>
                        <a:pt x="360" y="120"/>
                      </a:lnTo>
                      <a:lnTo>
                        <a:pt x="360" y="116"/>
                      </a:lnTo>
                      <a:lnTo>
                        <a:pt x="364" y="116"/>
                      </a:lnTo>
                      <a:lnTo>
                        <a:pt x="360" y="116"/>
                      </a:lnTo>
                      <a:lnTo>
                        <a:pt x="360" y="114"/>
                      </a:lnTo>
                      <a:lnTo>
                        <a:pt x="360" y="116"/>
                      </a:lnTo>
                      <a:lnTo>
                        <a:pt x="364" y="116"/>
                      </a:lnTo>
                      <a:lnTo>
                        <a:pt x="364" y="114"/>
                      </a:lnTo>
                      <a:lnTo>
                        <a:pt x="364" y="110"/>
                      </a:lnTo>
                      <a:lnTo>
                        <a:pt x="364" y="106"/>
                      </a:lnTo>
                      <a:lnTo>
                        <a:pt x="368" y="106"/>
                      </a:lnTo>
                      <a:lnTo>
                        <a:pt x="372" y="102"/>
                      </a:lnTo>
                      <a:lnTo>
                        <a:pt x="372" y="106"/>
                      </a:lnTo>
                      <a:lnTo>
                        <a:pt x="372" y="102"/>
                      </a:lnTo>
                      <a:lnTo>
                        <a:pt x="376" y="102"/>
                      </a:lnTo>
                      <a:lnTo>
                        <a:pt x="376" y="106"/>
                      </a:lnTo>
                      <a:lnTo>
                        <a:pt x="376" y="102"/>
                      </a:lnTo>
                      <a:lnTo>
                        <a:pt x="380" y="102"/>
                      </a:lnTo>
                      <a:lnTo>
                        <a:pt x="380" y="106"/>
                      </a:lnTo>
                      <a:lnTo>
                        <a:pt x="384" y="106"/>
                      </a:lnTo>
                      <a:lnTo>
                        <a:pt x="384" y="110"/>
                      </a:lnTo>
                      <a:lnTo>
                        <a:pt x="384" y="106"/>
                      </a:lnTo>
                      <a:lnTo>
                        <a:pt x="386" y="106"/>
                      </a:lnTo>
                      <a:lnTo>
                        <a:pt x="386" y="110"/>
                      </a:lnTo>
                      <a:lnTo>
                        <a:pt x="390" y="110"/>
                      </a:lnTo>
                      <a:lnTo>
                        <a:pt x="394" y="110"/>
                      </a:lnTo>
                      <a:lnTo>
                        <a:pt x="394" y="114"/>
                      </a:lnTo>
                      <a:lnTo>
                        <a:pt x="390" y="114"/>
                      </a:lnTo>
                      <a:lnTo>
                        <a:pt x="394" y="114"/>
                      </a:lnTo>
                      <a:lnTo>
                        <a:pt x="398" y="110"/>
                      </a:lnTo>
                      <a:lnTo>
                        <a:pt x="398" y="114"/>
                      </a:lnTo>
                      <a:lnTo>
                        <a:pt x="402" y="114"/>
                      </a:lnTo>
                      <a:lnTo>
                        <a:pt x="402" y="116"/>
                      </a:lnTo>
                      <a:lnTo>
                        <a:pt x="402" y="114"/>
                      </a:lnTo>
                      <a:lnTo>
                        <a:pt x="406" y="116"/>
                      </a:lnTo>
                      <a:lnTo>
                        <a:pt x="402" y="116"/>
                      </a:lnTo>
                      <a:lnTo>
                        <a:pt x="402" y="120"/>
                      </a:lnTo>
                      <a:lnTo>
                        <a:pt x="406" y="120"/>
                      </a:lnTo>
                      <a:lnTo>
                        <a:pt x="406" y="116"/>
                      </a:lnTo>
                      <a:lnTo>
                        <a:pt x="406" y="120"/>
                      </a:lnTo>
                      <a:lnTo>
                        <a:pt x="406" y="116"/>
                      </a:lnTo>
                      <a:lnTo>
                        <a:pt x="410" y="116"/>
                      </a:lnTo>
                      <a:lnTo>
                        <a:pt x="414" y="116"/>
                      </a:lnTo>
                      <a:lnTo>
                        <a:pt x="414" y="120"/>
                      </a:lnTo>
                      <a:lnTo>
                        <a:pt x="410" y="120"/>
                      </a:lnTo>
                      <a:lnTo>
                        <a:pt x="414" y="120"/>
                      </a:lnTo>
                      <a:lnTo>
                        <a:pt x="414" y="124"/>
                      </a:lnTo>
                      <a:lnTo>
                        <a:pt x="414" y="124"/>
                      </a:lnTo>
                      <a:lnTo>
                        <a:pt x="414" y="124"/>
                      </a:lnTo>
                      <a:close/>
                      <a:moveTo>
                        <a:pt x="358" y="116"/>
                      </a:moveTo>
                      <a:lnTo>
                        <a:pt x="354" y="116"/>
                      </a:lnTo>
                      <a:lnTo>
                        <a:pt x="350" y="120"/>
                      </a:lnTo>
                      <a:lnTo>
                        <a:pt x="346" y="120"/>
                      </a:lnTo>
                      <a:lnTo>
                        <a:pt x="346" y="124"/>
                      </a:lnTo>
                      <a:lnTo>
                        <a:pt x="342" y="120"/>
                      </a:lnTo>
                      <a:lnTo>
                        <a:pt x="342" y="124"/>
                      </a:lnTo>
                      <a:lnTo>
                        <a:pt x="338" y="124"/>
                      </a:lnTo>
                      <a:lnTo>
                        <a:pt x="338" y="120"/>
                      </a:lnTo>
                      <a:lnTo>
                        <a:pt x="338" y="124"/>
                      </a:lnTo>
                      <a:lnTo>
                        <a:pt x="334" y="124"/>
                      </a:lnTo>
                      <a:lnTo>
                        <a:pt x="330" y="124"/>
                      </a:lnTo>
                      <a:lnTo>
                        <a:pt x="330" y="120"/>
                      </a:lnTo>
                      <a:lnTo>
                        <a:pt x="328" y="120"/>
                      </a:lnTo>
                      <a:lnTo>
                        <a:pt x="328" y="116"/>
                      </a:lnTo>
                      <a:lnTo>
                        <a:pt x="328" y="114"/>
                      </a:lnTo>
                      <a:lnTo>
                        <a:pt x="330" y="114"/>
                      </a:lnTo>
                      <a:lnTo>
                        <a:pt x="330" y="110"/>
                      </a:lnTo>
                      <a:lnTo>
                        <a:pt x="330" y="114"/>
                      </a:lnTo>
                      <a:lnTo>
                        <a:pt x="330" y="110"/>
                      </a:lnTo>
                      <a:lnTo>
                        <a:pt x="328" y="110"/>
                      </a:lnTo>
                      <a:lnTo>
                        <a:pt x="328" y="106"/>
                      </a:lnTo>
                      <a:lnTo>
                        <a:pt x="328" y="102"/>
                      </a:lnTo>
                      <a:lnTo>
                        <a:pt x="330" y="102"/>
                      </a:lnTo>
                      <a:lnTo>
                        <a:pt x="330" y="106"/>
                      </a:lnTo>
                      <a:lnTo>
                        <a:pt x="330" y="102"/>
                      </a:lnTo>
                      <a:lnTo>
                        <a:pt x="330" y="98"/>
                      </a:lnTo>
                      <a:lnTo>
                        <a:pt x="330" y="94"/>
                      </a:lnTo>
                      <a:lnTo>
                        <a:pt x="334" y="94"/>
                      </a:lnTo>
                      <a:lnTo>
                        <a:pt x="338" y="94"/>
                      </a:lnTo>
                      <a:lnTo>
                        <a:pt x="342" y="94"/>
                      </a:lnTo>
                      <a:lnTo>
                        <a:pt x="342" y="98"/>
                      </a:lnTo>
                      <a:lnTo>
                        <a:pt x="346" y="98"/>
                      </a:lnTo>
                      <a:lnTo>
                        <a:pt x="350" y="98"/>
                      </a:lnTo>
                      <a:lnTo>
                        <a:pt x="350" y="94"/>
                      </a:lnTo>
                      <a:lnTo>
                        <a:pt x="354" y="94"/>
                      </a:lnTo>
                      <a:lnTo>
                        <a:pt x="358" y="94"/>
                      </a:lnTo>
                      <a:lnTo>
                        <a:pt x="358" y="98"/>
                      </a:lnTo>
                      <a:lnTo>
                        <a:pt x="360" y="98"/>
                      </a:lnTo>
                      <a:lnTo>
                        <a:pt x="360" y="102"/>
                      </a:lnTo>
                      <a:lnTo>
                        <a:pt x="360" y="106"/>
                      </a:lnTo>
                      <a:lnTo>
                        <a:pt x="360" y="110"/>
                      </a:lnTo>
                      <a:lnTo>
                        <a:pt x="358" y="110"/>
                      </a:lnTo>
                      <a:lnTo>
                        <a:pt x="358" y="114"/>
                      </a:lnTo>
                      <a:lnTo>
                        <a:pt x="358" y="116"/>
                      </a:lnTo>
                      <a:lnTo>
                        <a:pt x="358" y="116"/>
                      </a:lnTo>
                      <a:lnTo>
                        <a:pt x="358" y="116"/>
                      </a:lnTo>
                      <a:close/>
                      <a:moveTo>
                        <a:pt x="330" y="56"/>
                      </a:moveTo>
                      <a:lnTo>
                        <a:pt x="330" y="54"/>
                      </a:lnTo>
                      <a:lnTo>
                        <a:pt x="334" y="54"/>
                      </a:lnTo>
                      <a:lnTo>
                        <a:pt x="334" y="56"/>
                      </a:lnTo>
                      <a:lnTo>
                        <a:pt x="330" y="56"/>
                      </a:lnTo>
                      <a:lnTo>
                        <a:pt x="330" y="56"/>
                      </a:lnTo>
                      <a:lnTo>
                        <a:pt x="330" y="56"/>
                      </a:lnTo>
                      <a:close/>
                      <a:moveTo>
                        <a:pt x="334" y="60"/>
                      </a:moveTo>
                      <a:lnTo>
                        <a:pt x="330" y="56"/>
                      </a:lnTo>
                      <a:lnTo>
                        <a:pt x="334" y="56"/>
                      </a:lnTo>
                      <a:lnTo>
                        <a:pt x="334" y="60"/>
                      </a:lnTo>
                      <a:lnTo>
                        <a:pt x="334" y="60"/>
                      </a:lnTo>
                      <a:lnTo>
                        <a:pt x="334" y="60"/>
                      </a:lnTo>
                      <a:close/>
                      <a:moveTo>
                        <a:pt x="338" y="76"/>
                      </a:moveTo>
                      <a:lnTo>
                        <a:pt x="342" y="76"/>
                      </a:lnTo>
                      <a:lnTo>
                        <a:pt x="338" y="76"/>
                      </a:lnTo>
                      <a:lnTo>
                        <a:pt x="338" y="76"/>
                      </a:lnTo>
                      <a:lnTo>
                        <a:pt x="338" y="76"/>
                      </a:lnTo>
                      <a:close/>
                      <a:moveTo>
                        <a:pt x="334" y="80"/>
                      </a:moveTo>
                      <a:lnTo>
                        <a:pt x="334" y="76"/>
                      </a:lnTo>
                      <a:lnTo>
                        <a:pt x="338" y="76"/>
                      </a:lnTo>
                      <a:lnTo>
                        <a:pt x="338" y="80"/>
                      </a:lnTo>
                      <a:lnTo>
                        <a:pt x="338" y="76"/>
                      </a:lnTo>
                      <a:lnTo>
                        <a:pt x="338" y="80"/>
                      </a:lnTo>
                      <a:lnTo>
                        <a:pt x="334" y="80"/>
                      </a:lnTo>
                      <a:lnTo>
                        <a:pt x="334" y="80"/>
                      </a:lnTo>
                      <a:lnTo>
                        <a:pt x="334" y="80"/>
                      </a:lnTo>
                      <a:close/>
                      <a:moveTo>
                        <a:pt x="334" y="86"/>
                      </a:moveTo>
                      <a:lnTo>
                        <a:pt x="334" y="84"/>
                      </a:lnTo>
                      <a:lnTo>
                        <a:pt x="338" y="84"/>
                      </a:lnTo>
                      <a:lnTo>
                        <a:pt x="338" y="86"/>
                      </a:lnTo>
                      <a:lnTo>
                        <a:pt x="334" y="86"/>
                      </a:lnTo>
                      <a:lnTo>
                        <a:pt x="334" y="86"/>
                      </a:lnTo>
                      <a:lnTo>
                        <a:pt x="334" y="86"/>
                      </a:lnTo>
                      <a:close/>
                      <a:moveTo>
                        <a:pt x="334" y="90"/>
                      </a:moveTo>
                      <a:lnTo>
                        <a:pt x="330" y="90"/>
                      </a:lnTo>
                      <a:lnTo>
                        <a:pt x="330" y="86"/>
                      </a:lnTo>
                      <a:lnTo>
                        <a:pt x="334" y="86"/>
                      </a:lnTo>
                      <a:lnTo>
                        <a:pt x="334" y="84"/>
                      </a:lnTo>
                      <a:lnTo>
                        <a:pt x="334" y="86"/>
                      </a:lnTo>
                      <a:lnTo>
                        <a:pt x="334" y="90"/>
                      </a:lnTo>
                      <a:lnTo>
                        <a:pt x="334" y="90"/>
                      </a:lnTo>
                      <a:lnTo>
                        <a:pt x="334" y="90"/>
                      </a:lnTo>
                      <a:close/>
                      <a:moveTo>
                        <a:pt x="338" y="90"/>
                      </a:moveTo>
                      <a:lnTo>
                        <a:pt x="334" y="90"/>
                      </a:lnTo>
                      <a:lnTo>
                        <a:pt x="338" y="90"/>
                      </a:lnTo>
                      <a:lnTo>
                        <a:pt x="338" y="86"/>
                      </a:lnTo>
                      <a:lnTo>
                        <a:pt x="342" y="86"/>
                      </a:lnTo>
                      <a:lnTo>
                        <a:pt x="346" y="86"/>
                      </a:lnTo>
                      <a:lnTo>
                        <a:pt x="346" y="90"/>
                      </a:lnTo>
                      <a:lnTo>
                        <a:pt x="342" y="90"/>
                      </a:lnTo>
                      <a:lnTo>
                        <a:pt x="342" y="94"/>
                      </a:lnTo>
                      <a:lnTo>
                        <a:pt x="338" y="94"/>
                      </a:lnTo>
                      <a:lnTo>
                        <a:pt x="338" y="90"/>
                      </a:lnTo>
                      <a:lnTo>
                        <a:pt x="338" y="90"/>
                      </a:lnTo>
                      <a:lnTo>
                        <a:pt x="338" y="90"/>
                      </a:lnTo>
                      <a:close/>
                      <a:moveTo>
                        <a:pt x="330" y="94"/>
                      </a:moveTo>
                      <a:lnTo>
                        <a:pt x="330" y="90"/>
                      </a:lnTo>
                      <a:lnTo>
                        <a:pt x="334" y="90"/>
                      </a:lnTo>
                      <a:lnTo>
                        <a:pt x="334" y="94"/>
                      </a:lnTo>
                      <a:lnTo>
                        <a:pt x="330" y="94"/>
                      </a:lnTo>
                      <a:lnTo>
                        <a:pt x="330" y="94"/>
                      </a:lnTo>
                      <a:lnTo>
                        <a:pt x="330" y="94"/>
                      </a:lnTo>
                      <a:close/>
                      <a:moveTo>
                        <a:pt x="342" y="90"/>
                      </a:moveTo>
                      <a:lnTo>
                        <a:pt x="346" y="90"/>
                      </a:lnTo>
                      <a:lnTo>
                        <a:pt x="350" y="90"/>
                      </a:lnTo>
                      <a:lnTo>
                        <a:pt x="350" y="94"/>
                      </a:lnTo>
                      <a:lnTo>
                        <a:pt x="346" y="94"/>
                      </a:lnTo>
                      <a:lnTo>
                        <a:pt x="342" y="94"/>
                      </a:lnTo>
                      <a:lnTo>
                        <a:pt x="342" y="90"/>
                      </a:lnTo>
                      <a:lnTo>
                        <a:pt x="342" y="90"/>
                      </a:lnTo>
                      <a:lnTo>
                        <a:pt x="342" y="90"/>
                      </a:lnTo>
                      <a:close/>
                      <a:moveTo>
                        <a:pt x="328" y="90"/>
                      </a:moveTo>
                      <a:lnTo>
                        <a:pt x="330" y="90"/>
                      </a:lnTo>
                      <a:lnTo>
                        <a:pt x="328" y="90"/>
                      </a:lnTo>
                      <a:lnTo>
                        <a:pt x="328" y="94"/>
                      </a:lnTo>
                      <a:lnTo>
                        <a:pt x="328" y="90"/>
                      </a:lnTo>
                      <a:lnTo>
                        <a:pt x="328" y="90"/>
                      </a:lnTo>
                      <a:lnTo>
                        <a:pt x="328" y="90"/>
                      </a:lnTo>
                      <a:close/>
                      <a:moveTo>
                        <a:pt x="328" y="98"/>
                      </a:moveTo>
                      <a:lnTo>
                        <a:pt x="324" y="98"/>
                      </a:lnTo>
                      <a:lnTo>
                        <a:pt x="324" y="94"/>
                      </a:lnTo>
                      <a:lnTo>
                        <a:pt x="328" y="94"/>
                      </a:lnTo>
                      <a:lnTo>
                        <a:pt x="330" y="94"/>
                      </a:lnTo>
                      <a:lnTo>
                        <a:pt x="328" y="94"/>
                      </a:lnTo>
                      <a:lnTo>
                        <a:pt x="328" y="98"/>
                      </a:lnTo>
                      <a:lnTo>
                        <a:pt x="328" y="98"/>
                      </a:lnTo>
                      <a:lnTo>
                        <a:pt x="328" y="98"/>
                      </a:lnTo>
                      <a:close/>
                      <a:moveTo>
                        <a:pt x="320" y="102"/>
                      </a:moveTo>
                      <a:lnTo>
                        <a:pt x="320" y="98"/>
                      </a:lnTo>
                      <a:lnTo>
                        <a:pt x="324" y="98"/>
                      </a:lnTo>
                      <a:lnTo>
                        <a:pt x="324" y="94"/>
                      </a:lnTo>
                      <a:lnTo>
                        <a:pt x="324" y="98"/>
                      </a:lnTo>
                      <a:lnTo>
                        <a:pt x="320" y="102"/>
                      </a:lnTo>
                      <a:lnTo>
                        <a:pt x="320" y="102"/>
                      </a:lnTo>
                      <a:lnTo>
                        <a:pt x="320" y="102"/>
                      </a:lnTo>
                      <a:close/>
                      <a:moveTo>
                        <a:pt x="324" y="102"/>
                      </a:moveTo>
                      <a:lnTo>
                        <a:pt x="324" y="98"/>
                      </a:lnTo>
                      <a:lnTo>
                        <a:pt x="328" y="98"/>
                      </a:lnTo>
                      <a:lnTo>
                        <a:pt x="324" y="98"/>
                      </a:lnTo>
                      <a:lnTo>
                        <a:pt x="324" y="102"/>
                      </a:lnTo>
                      <a:lnTo>
                        <a:pt x="324" y="102"/>
                      </a:lnTo>
                      <a:lnTo>
                        <a:pt x="324" y="102"/>
                      </a:lnTo>
                      <a:close/>
                      <a:moveTo>
                        <a:pt x="328" y="102"/>
                      </a:moveTo>
                      <a:lnTo>
                        <a:pt x="328" y="98"/>
                      </a:lnTo>
                      <a:lnTo>
                        <a:pt x="328" y="102"/>
                      </a:lnTo>
                      <a:lnTo>
                        <a:pt x="328" y="102"/>
                      </a:lnTo>
                      <a:lnTo>
                        <a:pt x="328" y="102"/>
                      </a:lnTo>
                      <a:close/>
                      <a:moveTo>
                        <a:pt x="324" y="102"/>
                      </a:moveTo>
                      <a:lnTo>
                        <a:pt x="324" y="98"/>
                      </a:lnTo>
                      <a:lnTo>
                        <a:pt x="328" y="98"/>
                      </a:lnTo>
                      <a:lnTo>
                        <a:pt x="328" y="102"/>
                      </a:lnTo>
                      <a:lnTo>
                        <a:pt x="324" y="102"/>
                      </a:lnTo>
                      <a:lnTo>
                        <a:pt x="324" y="102"/>
                      </a:lnTo>
                      <a:lnTo>
                        <a:pt x="324" y="102"/>
                      </a:lnTo>
                      <a:close/>
                      <a:moveTo>
                        <a:pt x="324" y="110"/>
                      </a:moveTo>
                      <a:lnTo>
                        <a:pt x="324" y="106"/>
                      </a:lnTo>
                      <a:lnTo>
                        <a:pt x="328" y="102"/>
                      </a:lnTo>
                      <a:lnTo>
                        <a:pt x="328" y="106"/>
                      </a:lnTo>
                      <a:lnTo>
                        <a:pt x="324" y="106"/>
                      </a:lnTo>
                      <a:lnTo>
                        <a:pt x="324" y="110"/>
                      </a:lnTo>
                      <a:lnTo>
                        <a:pt x="324" y="110"/>
                      </a:lnTo>
                      <a:lnTo>
                        <a:pt x="324" y="110"/>
                      </a:lnTo>
                      <a:close/>
                      <a:moveTo>
                        <a:pt x="320" y="114"/>
                      </a:moveTo>
                      <a:lnTo>
                        <a:pt x="320" y="110"/>
                      </a:lnTo>
                      <a:lnTo>
                        <a:pt x="324" y="110"/>
                      </a:lnTo>
                      <a:lnTo>
                        <a:pt x="324" y="106"/>
                      </a:lnTo>
                      <a:lnTo>
                        <a:pt x="324" y="110"/>
                      </a:lnTo>
                      <a:lnTo>
                        <a:pt x="324" y="114"/>
                      </a:lnTo>
                      <a:lnTo>
                        <a:pt x="320" y="114"/>
                      </a:lnTo>
                      <a:lnTo>
                        <a:pt x="320" y="114"/>
                      </a:lnTo>
                      <a:lnTo>
                        <a:pt x="320" y="114"/>
                      </a:lnTo>
                      <a:close/>
                      <a:moveTo>
                        <a:pt x="328" y="106"/>
                      </a:moveTo>
                      <a:lnTo>
                        <a:pt x="328" y="110"/>
                      </a:lnTo>
                      <a:lnTo>
                        <a:pt x="324" y="110"/>
                      </a:lnTo>
                      <a:lnTo>
                        <a:pt x="324" y="114"/>
                      </a:lnTo>
                      <a:lnTo>
                        <a:pt x="324" y="110"/>
                      </a:lnTo>
                      <a:lnTo>
                        <a:pt x="324" y="106"/>
                      </a:lnTo>
                      <a:lnTo>
                        <a:pt x="328" y="106"/>
                      </a:lnTo>
                      <a:lnTo>
                        <a:pt x="328" y="106"/>
                      </a:lnTo>
                      <a:lnTo>
                        <a:pt x="328" y="106"/>
                      </a:lnTo>
                      <a:close/>
                      <a:moveTo>
                        <a:pt x="386" y="110"/>
                      </a:moveTo>
                      <a:lnTo>
                        <a:pt x="390" y="110"/>
                      </a:lnTo>
                      <a:lnTo>
                        <a:pt x="386" y="110"/>
                      </a:lnTo>
                      <a:lnTo>
                        <a:pt x="386" y="110"/>
                      </a:lnTo>
                      <a:lnTo>
                        <a:pt x="386" y="110"/>
                      </a:lnTo>
                      <a:close/>
                      <a:moveTo>
                        <a:pt x="364" y="114"/>
                      </a:moveTo>
                      <a:lnTo>
                        <a:pt x="360" y="114"/>
                      </a:lnTo>
                      <a:lnTo>
                        <a:pt x="360" y="110"/>
                      </a:lnTo>
                      <a:lnTo>
                        <a:pt x="364" y="110"/>
                      </a:lnTo>
                      <a:lnTo>
                        <a:pt x="364" y="114"/>
                      </a:lnTo>
                      <a:lnTo>
                        <a:pt x="364" y="114"/>
                      </a:lnTo>
                      <a:lnTo>
                        <a:pt x="364" y="114"/>
                      </a:lnTo>
                      <a:close/>
                      <a:moveTo>
                        <a:pt x="402" y="116"/>
                      </a:moveTo>
                      <a:lnTo>
                        <a:pt x="402" y="114"/>
                      </a:lnTo>
                      <a:lnTo>
                        <a:pt x="402" y="116"/>
                      </a:lnTo>
                      <a:lnTo>
                        <a:pt x="402" y="116"/>
                      </a:lnTo>
                      <a:lnTo>
                        <a:pt x="402" y="116"/>
                      </a:lnTo>
                      <a:close/>
                      <a:moveTo>
                        <a:pt x="410" y="116"/>
                      </a:moveTo>
                      <a:lnTo>
                        <a:pt x="410" y="114"/>
                      </a:lnTo>
                      <a:lnTo>
                        <a:pt x="414" y="114"/>
                      </a:lnTo>
                      <a:lnTo>
                        <a:pt x="414" y="116"/>
                      </a:lnTo>
                      <a:lnTo>
                        <a:pt x="410" y="116"/>
                      </a:lnTo>
                      <a:lnTo>
                        <a:pt x="410" y="116"/>
                      </a:lnTo>
                      <a:lnTo>
                        <a:pt x="410" y="116"/>
                      </a:lnTo>
                      <a:close/>
                      <a:moveTo>
                        <a:pt x="304" y="116"/>
                      </a:moveTo>
                      <a:lnTo>
                        <a:pt x="308" y="116"/>
                      </a:lnTo>
                      <a:lnTo>
                        <a:pt x="304" y="116"/>
                      </a:lnTo>
                      <a:lnTo>
                        <a:pt x="304" y="116"/>
                      </a:lnTo>
                      <a:lnTo>
                        <a:pt x="304" y="116"/>
                      </a:lnTo>
                      <a:close/>
                      <a:moveTo>
                        <a:pt x="308" y="120"/>
                      </a:moveTo>
                      <a:lnTo>
                        <a:pt x="308" y="116"/>
                      </a:lnTo>
                      <a:lnTo>
                        <a:pt x="312" y="116"/>
                      </a:lnTo>
                      <a:lnTo>
                        <a:pt x="312" y="120"/>
                      </a:lnTo>
                      <a:lnTo>
                        <a:pt x="308" y="120"/>
                      </a:lnTo>
                      <a:lnTo>
                        <a:pt x="308" y="120"/>
                      </a:lnTo>
                      <a:lnTo>
                        <a:pt x="308" y="120"/>
                      </a:lnTo>
                      <a:close/>
                      <a:moveTo>
                        <a:pt x="414" y="120"/>
                      </a:moveTo>
                      <a:lnTo>
                        <a:pt x="416" y="120"/>
                      </a:lnTo>
                      <a:lnTo>
                        <a:pt x="414" y="120"/>
                      </a:lnTo>
                      <a:lnTo>
                        <a:pt x="414" y="120"/>
                      </a:lnTo>
                      <a:lnTo>
                        <a:pt x="414" y="120"/>
                      </a:lnTo>
                      <a:close/>
                      <a:moveTo>
                        <a:pt x="354" y="124"/>
                      </a:moveTo>
                      <a:lnTo>
                        <a:pt x="354" y="120"/>
                      </a:lnTo>
                      <a:lnTo>
                        <a:pt x="354" y="124"/>
                      </a:lnTo>
                      <a:lnTo>
                        <a:pt x="354" y="124"/>
                      </a:lnTo>
                      <a:lnTo>
                        <a:pt x="354" y="124"/>
                      </a:lnTo>
                      <a:close/>
                      <a:moveTo>
                        <a:pt x="354" y="124"/>
                      </a:moveTo>
                      <a:lnTo>
                        <a:pt x="350" y="124"/>
                      </a:lnTo>
                      <a:lnTo>
                        <a:pt x="354" y="124"/>
                      </a:lnTo>
                      <a:lnTo>
                        <a:pt x="354" y="120"/>
                      </a:lnTo>
                      <a:lnTo>
                        <a:pt x="354" y="124"/>
                      </a:lnTo>
                      <a:lnTo>
                        <a:pt x="354" y="124"/>
                      </a:lnTo>
                      <a:lnTo>
                        <a:pt x="354" y="124"/>
                      </a:lnTo>
                      <a:close/>
                      <a:moveTo>
                        <a:pt x="328" y="128"/>
                      </a:moveTo>
                      <a:lnTo>
                        <a:pt x="328" y="124"/>
                      </a:lnTo>
                      <a:lnTo>
                        <a:pt x="328" y="128"/>
                      </a:lnTo>
                      <a:lnTo>
                        <a:pt x="324" y="128"/>
                      </a:lnTo>
                      <a:lnTo>
                        <a:pt x="324" y="124"/>
                      </a:lnTo>
                      <a:lnTo>
                        <a:pt x="328" y="124"/>
                      </a:lnTo>
                      <a:lnTo>
                        <a:pt x="328" y="128"/>
                      </a:lnTo>
                      <a:lnTo>
                        <a:pt x="328" y="128"/>
                      </a:lnTo>
                      <a:lnTo>
                        <a:pt x="328" y="128"/>
                      </a:lnTo>
                      <a:close/>
                      <a:moveTo>
                        <a:pt x="416" y="146"/>
                      </a:moveTo>
                      <a:lnTo>
                        <a:pt x="416" y="142"/>
                      </a:lnTo>
                      <a:lnTo>
                        <a:pt x="416" y="140"/>
                      </a:lnTo>
                      <a:lnTo>
                        <a:pt x="416" y="142"/>
                      </a:lnTo>
                      <a:lnTo>
                        <a:pt x="416" y="146"/>
                      </a:lnTo>
                      <a:lnTo>
                        <a:pt x="416" y="146"/>
                      </a:lnTo>
                      <a:lnTo>
                        <a:pt x="416" y="146"/>
                      </a:lnTo>
                      <a:close/>
                      <a:moveTo>
                        <a:pt x="498" y="318"/>
                      </a:moveTo>
                      <a:lnTo>
                        <a:pt x="498" y="314"/>
                      </a:lnTo>
                      <a:lnTo>
                        <a:pt x="502" y="314"/>
                      </a:lnTo>
                      <a:lnTo>
                        <a:pt x="498" y="314"/>
                      </a:lnTo>
                      <a:lnTo>
                        <a:pt x="498" y="318"/>
                      </a:lnTo>
                      <a:lnTo>
                        <a:pt x="498" y="318"/>
                      </a:lnTo>
                      <a:lnTo>
                        <a:pt x="498" y="318"/>
                      </a:lnTo>
                      <a:close/>
                      <a:moveTo>
                        <a:pt x="494" y="326"/>
                      </a:moveTo>
                      <a:lnTo>
                        <a:pt x="494" y="322"/>
                      </a:lnTo>
                      <a:lnTo>
                        <a:pt x="494" y="326"/>
                      </a:lnTo>
                      <a:lnTo>
                        <a:pt x="494" y="326"/>
                      </a:lnTo>
                      <a:lnTo>
                        <a:pt x="494" y="326"/>
                      </a:lnTo>
                      <a:close/>
                      <a:moveTo>
                        <a:pt x="360" y="552"/>
                      </a:moveTo>
                      <a:lnTo>
                        <a:pt x="358" y="552"/>
                      </a:lnTo>
                      <a:lnTo>
                        <a:pt x="358" y="550"/>
                      </a:lnTo>
                      <a:lnTo>
                        <a:pt x="360" y="546"/>
                      </a:lnTo>
                      <a:lnTo>
                        <a:pt x="360" y="550"/>
                      </a:lnTo>
                      <a:lnTo>
                        <a:pt x="360" y="552"/>
                      </a:lnTo>
                      <a:lnTo>
                        <a:pt x="360" y="552"/>
                      </a:lnTo>
                      <a:lnTo>
                        <a:pt x="360" y="552"/>
                      </a:lnTo>
                      <a:close/>
                      <a:moveTo>
                        <a:pt x="360" y="578"/>
                      </a:moveTo>
                      <a:lnTo>
                        <a:pt x="360" y="574"/>
                      </a:lnTo>
                      <a:lnTo>
                        <a:pt x="360" y="570"/>
                      </a:lnTo>
                      <a:lnTo>
                        <a:pt x="360" y="566"/>
                      </a:lnTo>
                      <a:lnTo>
                        <a:pt x="360" y="570"/>
                      </a:lnTo>
                      <a:lnTo>
                        <a:pt x="360" y="574"/>
                      </a:lnTo>
                      <a:lnTo>
                        <a:pt x="360" y="578"/>
                      </a:lnTo>
                      <a:lnTo>
                        <a:pt x="360" y="578"/>
                      </a:lnTo>
                      <a:lnTo>
                        <a:pt x="360" y="578"/>
                      </a:lnTo>
                      <a:close/>
                      <a:moveTo>
                        <a:pt x="312" y="116"/>
                      </a:moveTo>
                      <a:lnTo>
                        <a:pt x="312" y="114"/>
                      </a:lnTo>
                      <a:lnTo>
                        <a:pt x="316" y="114"/>
                      </a:lnTo>
                      <a:lnTo>
                        <a:pt x="316" y="110"/>
                      </a:lnTo>
                      <a:lnTo>
                        <a:pt x="316" y="106"/>
                      </a:lnTo>
                      <a:lnTo>
                        <a:pt x="316" y="102"/>
                      </a:lnTo>
                      <a:lnTo>
                        <a:pt x="320" y="102"/>
                      </a:lnTo>
                      <a:lnTo>
                        <a:pt x="324" y="102"/>
                      </a:lnTo>
                      <a:lnTo>
                        <a:pt x="324" y="106"/>
                      </a:lnTo>
                      <a:lnTo>
                        <a:pt x="324" y="110"/>
                      </a:lnTo>
                      <a:lnTo>
                        <a:pt x="320" y="110"/>
                      </a:lnTo>
                      <a:lnTo>
                        <a:pt x="320" y="114"/>
                      </a:lnTo>
                      <a:lnTo>
                        <a:pt x="316" y="114"/>
                      </a:lnTo>
                      <a:lnTo>
                        <a:pt x="316" y="116"/>
                      </a:lnTo>
                      <a:lnTo>
                        <a:pt x="312" y="116"/>
                      </a:lnTo>
                      <a:lnTo>
                        <a:pt x="312" y="116"/>
                      </a:lnTo>
                      <a:lnTo>
                        <a:pt x="312" y="116"/>
                      </a:lnTo>
                      <a:close/>
                      <a:moveTo>
                        <a:pt x="420" y="494"/>
                      </a:moveTo>
                      <a:lnTo>
                        <a:pt x="424" y="494"/>
                      </a:lnTo>
                      <a:lnTo>
                        <a:pt x="420" y="494"/>
                      </a:lnTo>
                      <a:lnTo>
                        <a:pt x="420" y="494"/>
                      </a:lnTo>
                      <a:lnTo>
                        <a:pt x="420" y="494"/>
                      </a:lnTo>
                      <a:close/>
                      <a:moveTo>
                        <a:pt x="406" y="508"/>
                      </a:moveTo>
                      <a:lnTo>
                        <a:pt x="406" y="504"/>
                      </a:lnTo>
                      <a:lnTo>
                        <a:pt x="406" y="508"/>
                      </a:lnTo>
                      <a:lnTo>
                        <a:pt x="406" y="508"/>
                      </a:lnTo>
                      <a:lnTo>
                        <a:pt x="406" y="508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35" name="Freeform 181"/>
                <p:cNvSpPr>
                  <a:spLocks noEditPoints="1"/>
                </p:cNvSpPr>
                <p:nvPr/>
              </p:nvSpPr>
              <p:spPr bwMode="auto">
                <a:xfrm>
                  <a:off x="2619375" y="4219643"/>
                  <a:ext cx="273050" cy="454025"/>
                </a:xfrm>
                <a:custGeom>
                  <a:avLst/>
                  <a:gdLst>
                    <a:gd name="T0" fmla="*/ 68 w 172"/>
                    <a:gd name="T1" fmla="*/ 30 h 286"/>
                    <a:gd name="T2" fmla="*/ 82 w 172"/>
                    <a:gd name="T3" fmla="*/ 22 h 286"/>
                    <a:gd name="T4" fmla="*/ 98 w 172"/>
                    <a:gd name="T5" fmla="*/ 8 h 286"/>
                    <a:gd name="T6" fmla="*/ 104 w 172"/>
                    <a:gd name="T7" fmla="*/ 0 h 286"/>
                    <a:gd name="T8" fmla="*/ 104 w 172"/>
                    <a:gd name="T9" fmla="*/ 12 h 286"/>
                    <a:gd name="T10" fmla="*/ 94 w 172"/>
                    <a:gd name="T11" fmla="*/ 26 h 286"/>
                    <a:gd name="T12" fmla="*/ 86 w 172"/>
                    <a:gd name="T13" fmla="*/ 44 h 286"/>
                    <a:gd name="T14" fmla="*/ 86 w 172"/>
                    <a:gd name="T15" fmla="*/ 60 h 286"/>
                    <a:gd name="T16" fmla="*/ 98 w 172"/>
                    <a:gd name="T17" fmla="*/ 74 h 286"/>
                    <a:gd name="T18" fmla="*/ 98 w 172"/>
                    <a:gd name="T19" fmla="*/ 90 h 286"/>
                    <a:gd name="T20" fmla="*/ 112 w 172"/>
                    <a:gd name="T21" fmla="*/ 96 h 286"/>
                    <a:gd name="T22" fmla="*/ 128 w 172"/>
                    <a:gd name="T23" fmla="*/ 96 h 286"/>
                    <a:gd name="T24" fmla="*/ 142 w 172"/>
                    <a:gd name="T25" fmla="*/ 108 h 286"/>
                    <a:gd name="T26" fmla="*/ 164 w 172"/>
                    <a:gd name="T27" fmla="*/ 108 h 286"/>
                    <a:gd name="T28" fmla="*/ 160 w 172"/>
                    <a:gd name="T29" fmla="*/ 130 h 286"/>
                    <a:gd name="T30" fmla="*/ 164 w 172"/>
                    <a:gd name="T31" fmla="*/ 150 h 286"/>
                    <a:gd name="T32" fmla="*/ 160 w 172"/>
                    <a:gd name="T33" fmla="*/ 164 h 286"/>
                    <a:gd name="T34" fmla="*/ 172 w 172"/>
                    <a:gd name="T35" fmla="*/ 186 h 286"/>
                    <a:gd name="T36" fmla="*/ 168 w 172"/>
                    <a:gd name="T37" fmla="*/ 186 h 286"/>
                    <a:gd name="T38" fmla="*/ 158 w 172"/>
                    <a:gd name="T39" fmla="*/ 182 h 286"/>
                    <a:gd name="T40" fmla="*/ 154 w 172"/>
                    <a:gd name="T41" fmla="*/ 186 h 286"/>
                    <a:gd name="T42" fmla="*/ 132 w 172"/>
                    <a:gd name="T43" fmla="*/ 198 h 286"/>
                    <a:gd name="T44" fmla="*/ 138 w 172"/>
                    <a:gd name="T45" fmla="*/ 202 h 286"/>
                    <a:gd name="T46" fmla="*/ 128 w 172"/>
                    <a:gd name="T47" fmla="*/ 216 h 286"/>
                    <a:gd name="T48" fmla="*/ 138 w 172"/>
                    <a:gd name="T49" fmla="*/ 232 h 286"/>
                    <a:gd name="T50" fmla="*/ 134 w 172"/>
                    <a:gd name="T51" fmla="*/ 246 h 286"/>
                    <a:gd name="T52" fmla="*/ 128 w 172"/>
                    <a:gd name="T53" fmla="*/ 286 h 286"/>
                    <a:gd name="T54" fmla="*/ 128 w 172"/>
                    <a:gd name="T55" fmla="*/ 260 h 286"/>
                    <a:gd name="T56" fmla="*/ 112 w 172"/>
                    <a:gd name="T57" fmla="*/ 254 h 286"/>
                    <a:gd name="T58" fmla="*/ 98 w 172"/>
                    <a:gd name="T59" fmla="*/ 258 h 286"/>
                    <a:gd name="T60" fmla="*/ 86 w 172"/>
                    <a:gd name="T61" fmla="*/ 254 h 286"/>
                    <a:gd name="T62" fmla="*/ 78 w 172"/>
                    <a:gd name="T63" fmla="*/ 246 h 286"/>
                    <a:gd name="T64" fmla="*/ 68 w 172"/>
                    <a:gd name="T65" fmla="*/ 228 h 286"/>
                    <a:gd name="T66" fmla="*/ 60 w 172"/>
                    <a:gd name="T67" fmla="*/ 216 h 286"/>
                    <a:gd name="T68" fmla="*/ 46 w 172"/>
                    <a:gd name="T69" fmla="*/ 208 h 286"/>
                    <a:gd name="T70" fmla="*/ 22 w 172"/>
                    <a:gd name="T71" fmla="*/ 208 h 286"/>
                    <a:gd name="T72" fmla="*/ 12 w 172"/>
                    <a:gd name="T73" fmla="*/ 198 h 286"/>
                    <a:gd name="T74" fmla="*/ 0 w 172"/>
                    <a:gd name="T75" fmla="*/ 182 h 286"/>
                    <a:gd name="T76" fmla="*/ 8 w 172"/>
                    <a:gd name="T77" fmla="*/ 176 h 286"/>
                    <a:gd name="T78" fmla="*/ 16 w 172"/>
                    <a:gd name="T79" fmla="*/ 168 h 286"/>
                    <a:gd name="T80" fmla="*/ 22 w 172"/>
                    <a:gd name="T81" fmla="*/ 160 h 286"/>
                    <a:gd name="T82" fmla="*/ 26 w 172"/>
                    <a:gd name="T83" fmla="*/ 146 h 286"/>
                    <a:gd name="T84" fmla="*/ 22 w 172"/>
                    <a:gd name="T85" fmla="*/ 142 h 286"/>
                    <a:gd name="T86" fmla="*/ 22 w 172"/>
                    <a:gd name="T87" fmla="*/ 126 h 286"/>
                    <a:gd name="T88" fmla="*/ 22 w 172"/>
                    <a:gd name="T89" fmla="*/ 112 h 286"/>
                    <a:gd name="T90" fmla="*/ 18 w 172"/>
                    <a:gd name="T91" fmla="*/ 94 h 286"/>
                    <a:gd name="T92" fmla="*/ 26 w 172"/>
                    <a:gd name="T93" fmla="*/ 82 h 286"/>
                    <a:gd name="T94" fmla="*/ 22 w 172"/>
                    <a:gd name="T95" fmla="*/ 68 h 286"/>
                    <a:gd name="T96" fmla="*/ 34 w 172"/>
                    <a:gd name="T97" fmla="*/ 74 h 286"/>
                    <a:gd name="T98" fmla="*/ 38 w 172"/>
                    <a:gd name="T99" fmla="*/ 60 h 286"/>
                    <a:gd name="T100" fmla="*/ 48 w 172"/>
                    <a:gd name="T101" fmla="*/ 44 h 286"/>
                    <a:gd name="T102" fmla="*/ 52 w 172"/>
                    <a:gd name="T103" fmla="*/ 34 h 286"/>
                    <a:gd name="T104" fmla="*/ 60 w 172"/>
                    <a:gd name="T105" fmla="*/ 26 h 286"/>
                    <a:gd name="T106" fmla="*/ 22 w 172"/>
                    <a:gd name="T107" fmla="*/ 142 h 286"/>
                    <a:gd name="T108" fmla="*/ 16 w 172"/>
                    <a:gd name="T109" fmla="*/ 172 h 2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72" h="286">
                      <a:moveTo>
                        <a:pt x="60" y="22"/>
                      </a:moveTo>
                      <a:lnTo>
                        <a:pt x="64" y="26"/>
                      </a:lnTo>
                      <a:lnTo>
                        <a:pt x="68" y="26"/>
                      </a:lnTo>
                      <a:lnTo>
                        <a:pt x="64" y="26"/>
                      </a:lnTo>
                      <a:lnTo>
                        <a:pt x="64" y="30"/>
                      </a:lnTo>
                      <a:lnTo>
                        <a:pt x="68" y="30"/>
                      </a:lnTo>
                      <a:lnTo>
                        <a:pt x="68" y="26"/>
                      </a:lnTo>
                      <a:lnTo>
                        <a:pt x="68" y="22"/>
                      </a:lnTo>
                      <a:lnTo>
                        <a:pt x="72" y="18"/>
                      </a:lnTo>
                      <a:lnTo>
                        <a:pt x="74" y="22"/>
                      </a:lnTo>
                      <a:lnTo>
                        <a:pt x="78" y="22"/>
                      </a:lnTo>
                      <a:lnTo>
                        <a:pt x="82" y="22"/>
                      </a:lnTo>
                      <a:lnTo>
                        <a:pt x="82" y="18"/>
                      </a:lnTo>
                      <a:lnTo>
                        <a:pt x="86" y="18"/>
                      </a:lnTo>
                      <a:lnTo>
                        <a:pt x="90" y="14"/>
                      </a:lnTo>
                      <a:lnTo>
                        <a:pt x="94" y="12"/>
                      </a:lnTo>
                      <a:lnTo>
                        <a:pt x="98" y="12"/>
                      </a:lnTo>
                      <a:lnTo>
                        <a:pt x="98" y="8"/>
                      </a:lnTo>
                      <a:lnTo>
                        <a:pt x="98" y="4"/>
                      </a:lnTo>
                      <a:lnTo>
                        <a:pt x="102" y="4"/>
                      </a:lnTo>
                      <a:lnTo>
                        <a:pt x="102" y="8"/>
                      </a:lnTo>
                      <a:lnTo>
                        <a:pt x="102" y="4"/>
                      </a:lnTo>
                      <a:lnTo>
                        <a:pt x="104" y="4"/>
                      </a:lnTo>
                      <a:lnTo>
                        <a:pt x="104" y="0"/>
                      </a:lnTo>
                      <a:lnTo>
                        <a:pt x="108" y="0"/>
                      </a:lnTo>
                      <a:lnTo>
                        <a:pt x="112" y="4"/>
                      </a:lnTo>
                      <a:lnTo>
                        <a:pt x="112" y="8"/>
                      </a:lnTo>
                      <a:lnTo>
                        <a:pt x="112" y="12"/>
                      </a:lnTo>
                      <a:lnTo>
                        <a:pt x="108" y="12"/>
                      </a:lnTo>
                      <a:lnTo>
                        <a:pt x="104" y="12"/>
                      </a:lnTo>
                      <a:lnTo>
                        <a:pt x="104" y="14"/>
                      </a:lnTo>
                      <a:lnTo>
                        <a:pt x="102" y="14"/>
                      </a:lnTo>
                      <a:lnTo>
                        <a:pt x="98" y="18"/>
                      </a:lnTo>
                      <a:lnTo>
                        <a:pt x="98" y="22"/>
                      </a:lnTo>
                      <a:lnTo>
                        <a:pt x="94" y="22"/>
                      </a:lnTo>
                      <a:lnTo>
                        <a:pt x="94" y="26"/>
                      </a:lnTo>
                      <a:lnTo>
                        <a:pt x="90" y="26"/>
                      </a:lnTo>
                      <a:lnTo>
                        <a:pt x="90" y="30"/>
                      </a:lnTo>
                      <a:lnTo>
                        <a:pt x="90" y="34"/>
                      </a:lnTo>
                      <a:lnTo>
                        <a:pt x="86" y="38"/>
                      </a:lnTo>
                      <a:lnTo>
                        <a:pt x="86" y="42"/>
                      </a:lnTo>
                      <a:lnTo>
                        <a:pt x="86" y="44"/>
                      </a:lnTo>
                      <a:lnTo>
                        <a:pt x="86" y="48"/>
                      </a:lnTo>
                      <a:lnTo>
                        <a:pt x="86" y="52"/>
                      </a:lnTo>
                      <a:lnTo>
                        <a:pt x="82" y="52"/>
                      </a:lnTo>
                      <a:lnTo>
                        <a:pt x="82" y="56"/>
                      </a:lnTo>
                      <a:lnTo>
                        <a:pt x="86" y="56"/>
                      </a:lnTo>
                      <a:lnTo>
                        <a:pt x="86" y="60"/>
                      </a:lnTo>
                      <a:lnTo>
                        <a:pt x="90" y="60"/>
                      </a:lnTo>
                      <a:lnTo>
                        <a:pt x="90" y="64"/>
                      </a:lnTo>
                      <a:lnTo>
                        <a:pt x="90" y="68"/>
                      </a:lnTo>
                      <a:lnTo>
                        <a:pt x="94" y="70"/>
                      </a:lnTo>
                      <a:lnTo>
                        <a:pt x="94" y="74"/>
                      </a:lnTo>
                      <a:lnTo>
                        <a:pt x="98" y="74"/>
                      </a:lnTo>
                      <a:lnTo>
                        <a:pt x="98" y="78"/>
                      </a:lnTo>
                      <a:lnTo>
                        <a:pt x="94" y="78"/>
                      </a:lnTo>
                      <a:lnTo>
                        <a:pt x="94" y="82"/>
                      </a:lnTo>
                      <a:lnTo>
                        <a:pt x="94" y="86"/>
                      </a:lnTo>
                      <a:lnTo>
                        <a:pt x="94" y="90"/>
                      </a:lnTo>
                      <a:lnTo>
                        <a:pt x="98" y="90"/>
                      </a:lnTo>
                      <a:lnTo>
                        <a:pt x="98" y="94"/>
                      </a:lnTo>
                      <a:lnTo>
                        <a:pt x="102" y="94"/>
                      </a:lnTo>
                      <a:lnTo>
                        <a:pt x="104" y="94"/>
                      </a:lnTo>
                      <a:lnTo>
                        <a:pt x="108" y="94"/>
                      </a:lnTo>
                      <a:lnTo>
                        <a:pt x="112" y="94"/>
                      </a:lnTo>
                      <a:lnTo>
                        <a:pt x="112" y="96"/>
                      </a:lnTo>
                      <a:lnTo>
                        <a:pt x="112" y="94"/>
                      </a:lnTo>
                      <a:lnTo>
                        <a:pt x="116" y="94"/>
                      </a:lnTo>
                      <a:lnTo>
                        <a:pt x="120" y="94"/>
                      </a:lnTo>
                      <a:lnTo>
                        <a:pt x="124" y="94"/>
                      </a:lnTo>
                      <a:lnTo>
                        <a:pt x="124" y="96"/>
                      </a:lnTo>
                      <a:lnTo>
                        <a:pt x="128" y="96"/>
                      </a:lnTo>
                      <a:lnTo>
                        <a:pt x="128" y="94"/>
                      </a:lnTo>
                      <a:lnTo>
                        <a:pt x="128" y="96"/>
                      </a:lnTo>
                      <a:lnTo>
                        <a:pt x="132" y="104"/>
                      </a:lnTo>
                      <a:lnTo>
                        <a:pt x="138" y="108"/>
                      </a:lnTo>
                      <a:lnTo>
                        <a:pt x="138" y="112"/>
                      </a:lnTo>
                      <a:lnTo>
                        <a:pt x="142" y="108"/>
                      </a:lnTo>
                      <a:lnTo>
                        <a:pt x="146" y="108"/>
                      </a:lnTo>
                      <a:lnTo>
                        <a:pt x="150" y="108"/>
                      </a:lnTo>
                      <a:lnTo>
                        <a:pt x="154" y="108"/>
                      </a:lnTo>
                      <a:lnTo>
                        <a:pt x="158" y="108"/>
                      </a:lnTo>
                      <a:lnTo>
                        <a:pt x="160" y="108"/>
                      </a:lnTo>
                      <a:lnTo>
                        <a:pt x="164" y="108"/>
                      </a:lnTo>
                      <a:lnTo>
                        <a:pt x="164" y="112"/>
                      </a:lnTo>
                      <a:lnTo>
                        <a:pt x="160" y="116"/>
                      </a:lnTo>
                      <a:lnTo>
                        <a:pt x="160" y="120"/>
                      </a:lnTo>
                      <a:lnTo>
                        <a:pt x="160" y="124"/>
                      </a:lnTo>
                      <a:lnTo>
                        <a:pt x="160" y="126"/>
                      </a:lnTo>
                      <a:lnTo>
                        <a:pt x="160" y="130"/>
                      </a:lnTo>
                      <a:lnTo>
                        <a:pt x="160" y="134"/>
                      </a:lnTo>
                      <a:lnTo>
                        <a:pt x="158" y="138"/>
                      </a:lnTo>
                      <a:lnTo>
                        <a:pt x="160" y="142"/>
                      </a:lnTo>
                      <a:lnTo>
                        <a:pt x="160" y="146"/>
                      </a:lnTo>
                      <a:lnTo>
                        <a:pt x="160" y="150"/>
                      </a:lnTo>
                      <a:lnTo>
                        <a:pt x="164" y="150"/>
                      </a:lnTo>
                      <a:lnTo>
                        <a:pt x="164" y="152"/>
                      </a:lnTo>
                      <a:lnTo>
                        <a:pt x="164" y="156"/>
                      </a:lnTo>
                      <a:lnTo>
                        <a:pt x="168" y="156"/>
                      </a:lnTo>
                      <a:lnTo>
                        <a:pt x="164" y="156"/>
                      </a:lnTo>
                      <a:lnTo>
                        <a:pt x="164" y="160"/>
                      </a:lnTo>
                      <a:lnTo>
                        <a:pt x="160" y="164"/>
                      </a:lnTo>
                      <a:lnTo>
                        <a:pt x="160" y="168"/>
                      </a:lnTo>
                      <a:lnTo>
                        <a:pt x="164" y="168"/>
                      </a:lnTo>
                      <a:lnTo>
                        <a:pt x="168" y="172"/>
                      </a:lnTo>
                      <a:lnTo>
                        <a:pt x="168" y="176"/>
                      </a:lnTo>
                      <a:lnTo>
                        <a:pt x="168" y="178"/>
                      </a:lnTo>
                      <a:lnTo>
                        <a:pt x="172" y="186"/>
                      </a:lnTo>
                      <a:lnTo>
                        <a:pt x="172" y="190"/>
                      </a:lnTo>
                      <a:lnTo>
                        <a:pt x="172" y="194"/>
                      </a:lnTo>
                      <a:lnTo>
                        <a:pt x="168" y="194"/>
                      </a:lnTo>
                      <a:lnTo>
                        <a:pt x="168" y="190"/>
                      </a:lnTo>
                      <a:lnTo>
                        <a:pt x="172" y="190"/>
                      </a:lnTo>
                      <a:lnTo>
                        <a:pt x="168" y="186"/>
                      </a:lnTo>
                      <a:lnTo>
                        <a:pt x="168" y="182"/>
                      </a:lnTo>
                      <a:lnTo>
                        <a:pt x="168" y="178"/>
                      </a:lnTo>
                      <a:lnTo>
                        <a:pt x="164" y="178"/>
                      </a:lnTo>
                      <a:lnTo>
                        <a:pt x="160" y="178"/>
                      </a:lnTo>
                      <a:lnTo>
                        <a:pt x="160" y="182"/>
                      </a:lnTo>
                      <a:lnTo>
                        <a:pt x="158" y="182"/>
                      </a:lnTo>
                      <a:lnTo>
                        <a:pt x="158" y="186"/>
                      </a:lnTo>
                      <a:lnTo>
                        <a:pt x="158" y="182"/>
                      </a:lnTo>
                      <a:lnTo>
                        <a:pt x="154" y="182"/>
                      </a:lnTo>
                      <a:lnTo>
                        <a:pt x="154" y="178"/>
                      </a:lnTo>
                      <a:lnTo>
                        <a:pt x="154" y="182"/>
                      </a:lnTo>
                      <a:lnTo>
                        <a:pt x="154" y="186"/>
                      </a:lnTo>
                      <a:lnTo>
                        <a:pt x="146" y="186"/>
                      </a:lnTo>
                      <a:lnTo>
                        <a:pt x="142" y="186"/>
                      </a:lnTo>
                      <a:lnTo>
                        <a:pt x="138" y="186"/>
                      </a:lnTo>
                      <a:lnTo>
                        <a:pt x="134" y="182"/>
                      </a:lnTo>
                      <a:lnTo>
                        <a:pt x="132" y="186"/>
                      </a:lnTo>
                      <a:lnTo>
                        <a:pt x="132" y="198"/>
                      </a:lnTo>
                      <a:lnTo>
                        <a:pt x="134" y="198"/>
                      </a:lnTo>
                      <a:lnTo>
                        <a:pt x="138" y="198"/>
                      </a:lnTo>
                      <a:lnTo>
                        <a:pt x="142" y="202"/>
                      </a:lnTo>
                      <a:lnTo>
                        <a:pt x="142" y="206"/>
                      </a:lnTo>
                      <a:lnTo>
                        <a:pt x="138" y="206"/>
                      </a:lnTo>
                      <a:lnTo>
                        <a:pt x="138" y="202"/>
                      </a:lnTo>
                      <a:lnTo>
                        <a:pt x="134" y="202"/>
                      </a:lnTo>
                      <a:lnTo>
                        <a:pt x="132" y="206"/>
                      </a:lnTo>
                      <a:lnTo>
                        <a:pt x="128" y="206"/>
                      </a:lnTo>
                      <a:lnTo>
                        <a:pt x="128" y="208"/>
                      </a:lnTo>
                      <a:lnTo>
                        <a:pt x="128" y="212"/>
                      </a:lnTo>
                      <a:lnTo>
                        <a:pt x="128" y="216"/>
                      </a:lnTo>
                      <a:lnTo>
                        <a:pt x="132" y="220"/>
                      </a:lnTo>
                      <a:lnTo>
                        <a:pt x="132" y="224"/>
                      </a:lnTo>
                      <a:lnTo>
                        <a:pt x="134" y="224"/>
                      </a:lnTo>
                      <a:lnTo>
                        <a:pt x="134" y="228"/>
                      </a:lnTo>
                      <a:lnTo>
                        <a:pt x="134" y="232"/>
                      </a:lnTo>
                      <a:lnTo>
                        <a:pt x="138" y="232"/>
                      </a:lnTo>
                      <a:lnTo>
                        <a:pt x="134" y="232"/>
                      </a:lnTo>
                      <a:lnTo>
                        <a:pt x="138" y="232"/>
                      </a:lnTo>
                      <a:lnTo>
                        <a:pt x="138" y="234"/>
                      </a:lnTo>
                      <a:lnTo>
                        <a:pt x="138" y="238"/>
                      </a:lnTo>
                      <a:lnTo>
                        <a:pt x="134" y="238"/>
                      </a:lnTo>
                      <a:lnTo>
                        <a:pt x="134" y="246"/>
                      </a:lnTo>
                      <a:lnTo>
                        <a:pt x="134" y="254"/>
                      </a:lnTo>
                      <a:lnTo>
                        <a:pt x="134" y="258"/>
                      </a:lnTo>
                      <a:lnTo>
                        <a:pt x="132" y="272"/>
                      </a:lnTo>
                      <a:lnTo>
                        <a:pt x="132" y="278"/>
                      </a:lnTo>
                      <a:lnTo>
                        <a:pt x="132" y="286"/>
                      </a:lnTo>
                      <a:lnTo>
                        <a:pt x="128" y="286"/>
                      </a:lnTo>
                      <a:lnTo>
                        <a:pt x="128" y="282"/>
                      </a:lnTo>
                      <a:lnTo>
                        <a:pt x="124" y="278"/>
                      </a:lnTo>
                      <a:lnTo>
                        <a:pt x="120" y="278"/>
                      </a:lnTo>
                      <a:lnTo>
                        <a:pt x="120" y="274"/>
                      </a:lnTo>
                      <a:lnTo>
                        <a:pt x="124" y="272"/>
                      </a:lnTo>
                      <a:lnTo>
                        <a:pt x="128" y="260"/>
                      </a:lnTo>
                      <a:lnTo>
                        <a:pt x="128" y="258"/>
                      </a:lnTo>
                      <a:lnTo>
                        <a:pt x="124" y="258"/>
                      </a:lnTo>
                      <a:lnTo>
                        <a:pt x="120" y="258"/>
                      </a:lnTo>
                      <a:lnTo>
                        <a:pt x="120" y="254"/>
                      </a:lnTo>
                      <a:lnTo>
                        <a:pt x="116" y="254"/>
                      </a:lnTo>
                      <a:lnTo>
                        <a:pt x="112" y="254"/>
                      </a:lnTo>
                      <a:lnTo>
                        <a:pt x="108" y="254"/>
                      </a:lnTo>
                      <a:lnTo>
                        <a:pt x="104" y="254"/>
                      </a:lnTo>
                      <a:lnTo>
                        <a:pt x="104" y="250"/>
                      </a:lnTo>
                      <a:lnTo>
                        <a:pt x="102" y="254"/>
                      </a:lnTo>
                      <a:lnTo>
                        <a:pt x="102" y="258"/>
                      </a:lnTo>
                      <a:lnTo>
                        <a:pt x="98" y="258"/>
                      </a:lnTo>
                      <a:lnTo>
                        <a:pt x="94" y="258"/>
                      </a:lnTo>
                      <a:lnTo>
                        <a:pt x="90" y="258"/>
                      </a:lnTo>
                      <a:lnTo>
                        <a:pt x="86" y="258"/>
                      </a:lnTo>
                      <a:lnTo>
                        <a:pt x="86" y="254"/>
                      </a:lnTo>
                      <a:lnTo>
                        <a:pt x="86" y="258"/>
                      </a:lnTo>
                      <a:lnTo>
                        <a:pt x="86" y="254"/>
                      </a:lnTo>
                      <a:lnTo>
                        <a:pt x="82" y="254"/>
                      </a:lnTo>
                      <a:lnTo>
                        <a:pt x="86" y="254"/>
                      </a:lnTo>
                      <a:lnTo>
                        <a:pt x="86" y="250"/>
                      </a:lnTo>
                      <a:lnTo>
                        <a:pt x="86" y="246"/>
                      </a:lnTo>
                      <a:lnTo>
                        <a:pt x="82" y="246"/>
                      </a:lnTo>
                      <a:lnTo>
                        <a:pt x="78" y="246"/>
                      </a:lnTo>
                      <a:lnTo>
                        <a:pt x="78" y="242"/>
                      </a:lnTo>
                      <a:lnTo>
                        <a:pt x="78" y="238"/>
                      </a:lnTo>
                      <a:lnTo>
                        <a:pt x="74" y="234"/>
                      </a:lnTo>
                      <a:lnTo>
                        <a:pt x="72" y="232"/>
                      </a:lnTo>
                      <a:lnTo>
                        <a:pt x="68" y="232"/>
                      </a:lnTo>
                      <a:lnTo>
                        <a:pt x="68" y="228"/>
                      </a:lnTo>
                      <a:lnTo>
                        <a:pt x="68" y="224"/>
                      </a:lnTo>
                      <a:lnTo>
                        <a:pt x="64" y="220"/>
                      </a:lnTo>
                      <a:lnTo>
                        <a:pt x="60" y="220"/>
                      </a:lnTo>
                      <a:lnTo>
                        <a:pt x="60" y="216"/>
                      </a:lnTo>
                      <a:lnTo>
                        <a:pt x="60" y="220"/>
                      </a:lnTo>
                      <a:lnTo>
                        <a:pt x="60" y="216"/>
                      </a:lnTo>
                      <a:lnTo>
                        <a:pt x="56" y="216"/>
                      </a:lnTo>
                      <a:lnTo>
                        <a:pt x="52" y="216"/>
                      </a:lnTo>
                      <a:lnTo>
                        <a:pt x="48" y="216"/>
                      </a:lnTo>
                      <a:lnTo>
                        <a:pt x="48" y="212"/>
                      </a:lnTo>
                      <a:lnTo>
                        <a:pt x="46" y="212"/>
                      </a:lnTo>
                      <a:lnTo>
                        <a:pt x="46" y="208"/>
                      </a:lnTo>
                      <a:lnTo>
                        <a:pt x="42" y="208"/>
                      </a:lnTo>
                      <a:lnTo>
                        <a:pt x="38" y="208"/>
                      </a:lnTo>
                      <a:lnTo>
                        <a:pt x="34" y="208"/>
                      </a:lnTo>
                      <a:lnTo>
                        <a:pt x="30" y="208"/>
                      </a:lnTo>
                      <a:lnTo>
                        <a:pt x="26" y="208"/>
                      </a:lnTo>
                      <a:lnTo>
                        <a:pt x="22" y="208"/>
                      </a:lnTo>
                      <a:lnTo>
                        <a:pt x="22" y="206"/>
                      </a:lnTo>
                      <a:lnTo>
                        <a:pt x="22" y="202"/>
                      </a:lnTo>
                      <a:lnTo>
                        <a:pt x="18" y="202"/>
                      </a:lnTo>
                      <a:lnTo>
                        <a:pt x="16" y="202"/>
                      </a:lnTo>
                      <a:lnTo>
                        <a:pt x="16" y="198"/>
                      </a:lnTo>
                      <a:lnTo>
                        <a:pt x="12" y="198"/>
                      </a:lnTo>
                      <a:lnTo>
                        <a:pt x="8" y="194"/>
                      </a:lnTo>
                      <a:lnTo>
                        <a:pt x="4" y="194"/>
                      </a:lnTo>
                      <a:lnTo>
                        <a:pt x="4" y="190"/>
                      </a:lnTo>
                      <a:lnTo>
                        <a:pt x="4" y="186"/>
                      </a:lnTo>
                      <a:lnTo>
                        <a:pt x="0" y="186"/>
                      </a:lnTo>
                      <a:lnTo>
                        <a:pt x="0" y="182"/>
                      </a:lnTo>
                      <a:lnTo>
                        <a:pt x="4" y="182"/>
                      </a:lnTo>
                      <a:lnTo>
                        <a:pt x="8" y="182"/>
                      </a:lnTo>
                      <a:lnTo>
                        <a:pt x="8" y="178"/>
                      </a:lnTo>
                      <a:lnTo>
                        <a:pt x="4" y="178"/>
                      </a:lnTo>
                      <a:lnTo>
                        <a:pt x="4" y="176"/>
                      </a:lnTo>
                      <a:lnTo>
                        <a:pt x="8" y="176"/>
                      </a:lnTo>
                      <a:lnTo>
                        <a:pt x="8" y="172"/>
                      </a:lnTo>
                      <a:lnTo>
                        <a:pt x="8" y="176"/>
                      </a:lnTo>
                      <a:lnTo>
                        <a:pt x="8" y="172"/>
                      </a:lnTo>
                      <a:lnTo>
                        <a:pt x="12" y="172"/>
                      </a:lnTo>
                      <a:lnTo>
                        <a:pt x="16" y="172"/>
                      </a:lnTo>
                      <a:lnTo>
                        <a:pt x="16" y="168"/>
                      </a:lnTo>
                      <a:lnTo>
                        <a:pt x="16" y="172"/>
                      </a:lnTo>
                      <a:lnTo>
                        <a:pt x="18" y="172"/>
                      </a:lnTo>
                      <a:lnTo>
                        <a:pt x="18" y="168"/>
                      </a:lnTo>
                      <a:lnTo>
                        <a:pt x="18" y="164"/>
                      </a:lnTo>
                      <a:lnTo>
                        <a:pt x="22" y="164"/>
                      </a:lnTo>
                      <a:lnTo>
                        <a:pt x="22" y="160"/>
                      </a:lnTo>
                      <a:lnTo>
                        <a:pt x="22" y="156"/>
                      </a:lnTo>
                      <a:lnTo>
                        <a:pt x="26" y="152"/>
                      </a:lnTo>
                      <a:lnTo>
                        <a:pt x="26" y="150"/>
                      </a:lnTo>
                      <a:lnTo>
                        <a:pt x="30" y="150"/>
                      </a:lnTo>
                      <a:lnTo>
                        <a:pt x="26" y="150"/>
                      </a:lnTo>
                      <a:lnTo>
                        <a:pt x="26" y="146"/>
                      </a:lnTo>
                      <a:lnTo>
                        <a:pt x="22" y="146"/>
                      </a:lnTo>
                      <a:lnTo>
                        <a:pt x="22" y="150"/>
                      </a:lnTo>
                      <a:lnTo>
                        <a:pt x="22" y="146"/>
                      </a:lnTo>
                      <a:lnTo>
                        <a:pt x="22" y="142"/>
                      </a:lnTo>
                      <a:lnTo>
                        <a:pt x="26" y="142"/>
                      </a:lnTo>
                      <a:lnTo>
                        <a:pt x="22" y="142"/>
                      </a:lnTo>
                      <a:lnTo>
                        <a:pt x="22" y="138"/>
                      </a:lnTo>
                      <a:lnTo>
                        <a:pt x="26" y="138"/>
                      </a:lnTo>
                      <a:lnTo>
                        <a:pt x="26" y="134"/>
                      </a:lnTo>
                      <a:lnTo>
                        <a:pt x="26" y="130"/>
                      </a:lnTo>
                      <a:lnTo>
                        <a:pt x="22" y="130"/>
                      </a:lnTo>
                      <a:lnTo>
                        <a:pt x="22" y="126"/>
                      </a:lnTo>
                      <a:lnTo>
                        <a:pt x="22" y="124"/>
                      </a:lnTo>
                      <a:lnTo>
                        <a:pt x="22" y="120"/>
                      </a:lnTo>
                      <a:lnTo>
                        <a:pt x="26" y="120"/>
                      </a:lnTo>
                      <a:lnTo>
                        <a:pt x="26" y="116"/>
                      </a:lnTo>
                      <a:lnTo>
                        <a:pt x="26" y="112"/>
                      </a:lnTo>
                      <a:lnTo>
                        <a:pt x="22" y="112"/>
                      </a:lnTo>
                      <a:lnTo>
                        <a:pt x="22" y="108"/>
                      </a:lnTo>
                      <a:lnTo>
                        <a:pt x="22" y="104"/>
                      </a:lnTo>
                      <a:lnTo>
                        <a:pt x="26" y="100"/>
                      </a:lnTo>
                      <a:lnTo>
                        <a:pt x="22" y="100"/>
                      </a:lnTo>
                      <a:lnTo>
                        <a:pt x="18" y="96"/>
                      </a:lnTo>
                      <a:lnTo>
                        <a:pt x="18" y="94"/>
                      </a:lnTo>
                      <a:lnTo>
                        <a:pt x="16" y="90"/>
                      </a:lnTo>
                      <a:lnTo>
                        <a:pt x="18" y="86"/>
                      </a:lnTo>
                      <a:lnTo>
                        <a:pt x="18" y="82"/>
                      </a:lnTo>
                      <a:lnTo>
                        <a:pt x="18" y="86"/>
                      </a:lnTo>
                      <a:lnTo>
                        <a:pt x="22" y="86"/>
                      </a:lnTo>
                      <a:lnTo>
                        <a:pt x="26" y="82"/>
                      </a:lnTo>
                      <a:lnTo>
                        <a:pt x="22" y="82"/>
                      </a:lnTo>
                      <a:lnTo>
                        <a:pt x="26" y="78"/>
                      </a:lnTo>
                      <a:lnTo>
                        <a:pt x="26" y="74"/>
                      </a:lnTo>
                      <a:lnTo>
                        <a:pt x="22" y="74"/>
                      </a:lnTo>
                      <a:lnTo>
                        <a:pt x="22" y="70"/>
                      </a:lnTo>
                      <a:lnTo>
                        <a:pt x="22" y="68"/>
                      </a:lnTo>
                      <a:lnTo>
                        <a:pt x="26" y="68"/>
                      </a:lnTo>
                      <a:lnTo>
                        <a:pt x="26" y="70"/>
                      </a:lnTo>
                      <a:lnTo>
                        <a:pt x="30" y="74"/>
                      </a:lnTo>
                      <a:lnTo>
                        <a:pt x="30" y="78"/>
                      </a:lnTo>
                      <a:lnTo>
                        <a:pt x="34" y="78"/>
                      </a:lnTo>
                      <a:lnTo>
                        <a:pt x="34" y="74"/>
                      </a:lnTo>
                      <a:lnTo>
                        <a:pt x="34" y="70"/>
                      </a:lnTo>
                      <a:lnTo>
                        <a:pt x="30" y="70"/>
                      </a:lnTo>
                      <a:lnTo>
                        <a:pt x="30" y="68"/>
                      </a:lnTo>
                      <a:lnTo>
                        <a:pt x="34" y="68"/>
                      </a:lnTo>
                      <a:lnTo>
                        <a:pt x="38" y="64"/>
                      </a:lnTo>
                      <a:lnTo>
                        <a:pt x="38" y="60"/>
                      </a:lnTo>
                      <a:lnTo>
                        <a:pt x="42" y="60"/>
                      </a:lnTo>
                      <a:lnTo>
                        <a:pt x="42" y="56"/>
                      </a:lnTo>
                      <a:lnTo>
                        <a:pt x="46" y="52"/>
                      </a:lnTo>
                      <a:lnTo>
                        <a:pt x="48" y="52"/>
                      </a:lnTo>
                      <a:lnTo>
                        <a:pt x="48" y="48"/>
                      </a:lnTo>
                      <a:lnTo>
                        <a:pt x="48" y="44"/>
                      </a:lnTo>
                      <a:lnTo>
                        <a:pt x="48" y="42"/>
                      </a:lnTo>
                      <a:lnTo>
                        <a:pt x="48" y="38"/>
                      </a:lnTo>
                      <a:lnTo>
                        <a:pt x="52" y="38"/>
                      </a:lnTo>
                      <a:lnTo>
                        <a:pt x="52" y="34"/>
                      </a:lnTo>
                      <a:lnTo>
                        <a:pt x="48" y="34"/>
                      </a:lnTo>
                      <a:lnTo>
                        <a:pt x="52" y="34"/>
                      </a:lnTo>
                      <a:lnTo>
                        <a:pt x="52" y="30"/>
                      </a:lnTo>
                      <a:lnTo>
                        <a:pt x="56" y="30"/>
                      </a:lnTo>
                      <a:lnTo>
                        <a:pt x="52" y="30"/>
                      </a:lnTo>
                      <a:lnTo>
                        <a:pt x="56" y="30"/>
                      </a:lnTo>
                      <a:lnTo>
                        <a:pt x="56" y="26"/>
                      </a:lnTo>
                      <a:lnTo>
                        <a:pt x="60" y="26"/>
                      </a:lnTo>
                      <a:lnTo>
                        <a:pt x="60" y="22"/>
                      </a:lnTo>
                      <a:lnTo>
                        <a:pt x="60" y="22"/>
                      </a:lnTo>
                      <a:lnTo>
                        <a:pt x="60" y="22"/>
                      </a:lnTo>
                      <a:close/>
                      <a:moveTo>
                        <a:pt x="22" y="142"/>
                      </a:moveTo>
                      <a:lnTo>
                        <a:pt x="26" y="142"/>
                      </a:lnTo>
                      <a:lnTo>
                        <a:pt x="22" y="142"/>
                      </a:lnTo>
                      <a:lnTo>
                        <a:pt x="22" y="142"/>
                      </a:lnTo>
                      <a:lnTo>
                        <a:pt x="22" y="142"/>
                      </a:lnTo>
                      <a:close/>
                      <a:moveTo>
                        <a:pt x="16" y="172"/>
                      </a:moveTo>
                      <a:lnTo>
                        <a:pt x="12" y="172"/>
                      </a:lnTo>
                      <a:lnTo>
                        <a:pt x="12" y="168"/>
                      </a:lnTo>
                      <a:lnTo>
                        <a:pt x="16" y="172"/>
                      </a:lnTo>
                      <a:lnTo>
                        <a:pt x="16" y="172"/>
                      </a:lnTo>
                      <a:lnTo>
                        <a:pt x="16" y="172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36" name="Freeform 182"/>
                <p:cNvSpPr>
                  <a:spLocks noEditPoints="1"/>
                </p:cNvSpPr>
                <p:nvPr/>
              </p:nvSpPr>
              <p:spPr bwMode="auto">
                <a:xfrm>
                  <a:off x="2336800" y="4521268"/>
                  <a:ext cx="371475" cy="171450"/>
                </a:xfrm>
                <a:custGeom>
                  <a:avLst/>
                  <a:gdLst>
                    <a:gd name="T0" fmla="*/ 166 w 234"/>
                    <a:gd name="T1" fmla="*/ 100 h 108"/>
                    <a:gd name="T2" fmla="*/ 164 w 234"/>
                    <a:gd name="T3" fmla="*/ 100 h 108"/>
                    <a:gd name="T4" fmla="*/ 160 w 234"/>
                    <a:gd name="T5" fmla="*/ 92 h 108"/>
                    <a:gd name="T6" fmla="*/ 160 w 234"/>
                    <a:gd name="T7" fmla="*/ 82 h 108"/>
                    <a:gd name="T8" fmla="*/ 166 w 234"/>
                    <a:gd name="T9" fmla="*/ 78 h 108"/>
                    <a:gd name="T10" fmla="*/ 166 w 234"/>
                    <a:gd name="T11" fmla="*/ 68 h 108"/>
                    <a:gd name="T12" fmla="*/ 166 w 234"/>
                    <a:gd name="T13" fmla="*/ 64 h 108"/>
                    <a:gd name="T14" fmla="*/ 164 w 234"/>
                    <a:gd name="T15" fmla="*/ 64 h 108"/>
                    <a:gd name="T16" fmla="*/ 164 w 234"/>
                    <a:gd name="T17" fmla="*/ 68 h 108"/>
                    <a:gd name="T18" fmla="*/ 156 w 234"/>
                    <a:gd name="T19" fmla="*/ 68 h 108"/>
                    <a:gd name="T20" fmla="*/ 152 w 234"/>
                    <a:gd name="T21" fmla="*/ 60 h 108"/>
                    <a:gd name="T22" fmla="*/ 152 w 234"/>
                    <a:gd name="T23" fmla="*/ 56 h 108"/>
                    <a:gd name="T24" fmla="*/ 156 w 234"/>
                    <a:gd name="T25" fmla="*/ 48 h 108"/>
                    <a:gd name="T26" fmla="*/ 156 w 234"/>
                    <a:gd name="T27" fmla="*/ 42 h 108"/>
                    <a:gd name="T28" fmla="*/ 160 w 234"/>
                    <a:gd name="T29" fmla="*/ 34 h 108"/>
                    <a:gd name="T30" fmla="*/ 164 w 234"/>
                    <a:gd name="T31" fmla="*/ 26 h 108"/>
                    <a:gd name="T32" fmla="*/ 164 w 234"/>
                    <a:gd name="T33" fmla="*/ 16 h 108"/>
                    <a:gd name="T34" fmla="*/ 166 w 234"/>
                    <a:gd name="T35" fmla="*/ 8 h 108"/>
                    <a:gd name="T36" fmla="*/ 178 w 234"/>
                    <a:gd name="T37" fmla="*/ 4 h 108"/>
                    <a:gd name="T38" fmla="*/ 182 w 234"/>
                    <a:gd name="T39" fmla="*/ 4 h 108"/>
                    <a:gd name="T40" fmla="*/ 192 w 234"/>
                    <a:gd name="T41" fmla="*/ 8 h 108"/>
                    <a:gd name="T42" fmla="*/ 200 w 234"/>
                    <a:gd name="T43" fmla="*/ 12 h 108"/>
                    <a:gd name="T44" fmla="*/ 204 w 234"/>
                    <a:gd name="T45" fmla="*/ 18 h 108"/>
                    <a:gd name="T46" fmla="*/ 216 w 234"/>
                    <a:gd name="T47" fmla="*/ 18 h 108"/>
                    <a:gd name="T48" fmla="*/ 222 w 234"/>
                    <a:gd name="T49" fmla="*/ 22 h 108"/>
                    <a:gd name="T50" fmla="*/ 230 w 234"/>
                    <a:gd name="T51" fmla="*/ 26 h 108"/>
                    <a:gd name="T52" fmla="*/ 230 w 234"/>
                    <a:gd name="T53" fmla="*/ 34 h 108"/>
                    <a:gd name="T54" fmla="*/ 230 w 234"/>
                    <a:gd name="T55" fmla="*/ 42 h 108"/>
                    <a:gd name="T56" fmla="*/ 226 w 234"/>
                    <a:gd name="T57" fmla="*/ 52 h 108"/>
                    <a:gd name="T58" fmla="*/ 220 w 234"/>
                    <a:gd name="T59" fmla="*/ 60 h 108"/>
                    <a:gd name="T60" fmla="*/ 208 w 234"/>
                    <a:gd name="T61" fmla="*/ 72 h 108"/>
                    <a:gd name="T62" fmla="*/ 196 w 234"/>
                    <a:gd name="T63" fmla="*/ 74 h 108"/>
                    <a:gd name="T64" fmla="*/ 192 w 234"/>
                    <a:gd name="T65" fmla="*/ 82 h 108"/>
                    <a:gd name="T66" fmla="*/ 190 w 234"/>
                    <a:gd name="T67" fmla="*/ 82 h 108"/>
                    <a:gd name="T68" fmla="*/ 186 w 234"/>
                    <a:gd name="T69" fmla="*/ 88 h 108"/>
                    <a:gd name="T70" fmla="*/ 182 w 234"/>
                    <a:gd name="T71" fmla="*/ 96 h 108"/>
                    <a:gd name="T72" fmla="*/ 182 w 234"/>
                    <a:gd name="T73" fmla="*/ 100 h 108"/>
                    <a:gd name="T74" fmla="*/ 174 w 234"/>
                    <a:gd name="T75" fmla="*/ 108 h 108"/>
                    <a:gd name="T76" fmla="*/ 170 w 234"/>
                    <a:gd name="T77" fmla="*/ 104 h 108"/>
                    <a:gd name="T78" fmla="*/ 14 w 234"/>
                    <a:gd name="T79" fmla="*/ 38 h 108"/>
                    <a:gd name="T80" fmla="*/ 22 w 234"/>
                    <a:gd name="T81" fmla="*/ 34 h 108"/>
                    <a:gd name="T82" fmla="*/ 18 w 234"/>
                    <a:gd name="T83" fmla="*/ 38 h 108"/>
                    <a:gd name="T84" fmla="*/ 4 w 234"/>
                    <a:gd name="T85" fmla="*/ 42 h 108"/>
                    <a:gd name="T86" fmla="*/ 8 w 234"/>
                    <a:gd name="T87" fmla="*/ 34 h 108"/>
                    <a:gd name="T88" fmla="*/ 0 w 234"/>
                    <a:gd name="T89" fmla="*/ 26 h 108"/>
                    <a:gd name="T90" fmla="*/ 8 w 234"/>
                    <a:gd name="T91" fmla="*/ 22 h 108"/>
                    <a:gd name="T92" fmla="*/ 10 w 234"/>
                    <a:gd name="T93" fmla="*/ 30 h 108"/>
                    <a:gd name="T94" fmla="*/ 10 w 234"/>
                    <a:gd name="T95" fmla="*/ 42 h 108"/>
                    <a:gd name="T96" fmla="*/ 8 w 234"/>
                    <a:gd name="T97" fmla="*/ 42 h 108"/>
                    <a:gd name="T98" fmla="*/ 10 w 234"/>
                    <a:gd name="T99" fmla="*/ 26 h 108"/>
                    <a:gd name="T100" fmla="*/ 14 w 234"/>
                    <a:gd name="T101" fmla="*/ 30 h 108"/>
                    <a:gd name="T102" fmla="*/ 0 w 234"/>
                    <a:gd name="T103" fmla="*/ 34 h 108"/>
                    <a:gd name="T104" fmla="*/ 4 w 234"/>
                    <a:gd name="T105" fmla="*/ 34 h 108"/>
                    <a:gd name="T106" fmla="*/ 30 w 234"/>
                    <a:gd name="T107" fmla="*/ 42 h 108"/>
                    <a:gd name="T108" fmla="*/ 34 w 234"/>
                    <a:gd name="T109" fmla="*/ 42 h 108"/>
                    <a:gd name="T110" fmla="*/ 30 w 234"/>
                    <a:gd name="T111" fmla="*/ 42 h 108"/>
                    <a:gd name="T112" fmla="*/ 18 w 234"/>
                    <a:gd name="T113" fmla="*/ 46 h 108"/>
                    <a:gd name="T114" fmla="*/ 18 w 234"/>
                    <a:gd name="T115" fmla="*/ 48 h 108"/>
                    <a:gd name="T116" fmla="*/ 160 w 234"/>
                    <a:gd name="T117" fmla="*/ 72 h 108"/>
                    <a:gd name="T118" fmla="*/ 164 w 234"/>
                    <a:gd name="T119" fmla="*/ 74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234" h="108">
                      <a:moveTo>
                        <a:pt x="170" y="104"/>
                      </a:moveTo>
                      <a:lnTo>
                        <a:pt x="170" y="100"/>
                      </a:lnTo>
                      <a:lnTo>
                        <a:pt x="166" y="100"/>
                      </a:lnTo>
                      <a:lnTo>
                        <a:pt x="164" y="100"/>
                      </a:lnTo>
                      <a:lnTo>
                        <a:pt x="164" y="96"/>
                      </a:lnTo>
                      <a:lnTo>
                        <a:pt x="164" y="100"/>
                      </a:lnTo>
                      <a:lnTo>
                        <a:pt x="160" y="100"/>
                      </a:lnTo>
                      <a:lnTo>
                        <a:pt x="160" y="96"/>
                      </a:lnTo>
                      <a:lnTo>
                        <a:pt x="160" y="92"/>
                      </a:lnTo>
                      <a:lnTo>
                        <a:pt x="164" y="88"/>
                      </a:lnTo>
                      <a:lnTo>
                        <a:pt x="164" y="86"/>
                      </a:lnTo>
                      <a:lnTo>
                        <a:pt x="160" y="82"/>
                      </a:lnTo>
                      <a:lnTo>
                        <a:pt x="164" y="82"/>
                      </a:lnTo>
                      <a:lnTo>
                        <a:pt x="164" y="78"/>
                      </a:lnTo>
                      <a:lnTo>
                        <a:pt x="166" y="78"/>
                      </a:lnTo>
                      <a:lnTo>
                        <a:pt x="166" y="74"/>
                      </a:lnTo>
                      <a:lnTo>
                        <a:pt x="166" y="72"/>
                      </a:lnTo>
                      <a:lnTo>
                        <a:pt x="166" y="68"/>
                      </a:lnTo>
                      <a:lnTo>
                        <a:pt x="166" y="64"/>
                      </a:lnTo>
                      <a:lnTo>
                        <a:pt x="166" y="60"/>
                      </a:lnTo>
                      <a:lnTo>
                        <a:pt x="166" y="64"/>
                      </a:lnTo>
                      <a:lnTo>
                        <a:pt x="166" y="68"/>
                      </a:lnTo>
                      <a:lnTo>
                        <a:pt x="164" y="68"/>
                      </a:lnTo>
                      <a:lnTo>
                        <a:pt x="164" y="64"/>
                      </a:lnTo>
                      <a:lnTo>
                        <a:pt x="166" y="64"/>
                      </a:lnTo>
                      <a:lnTo>
                        <a:pt x="164" y="64"/>
                      </a:lnTo>
                      <a:lnTo>
                        <a:pt x="164" y="68"/>
                      </a:lnTo>
                      <a:lnTo>
                        <a:pt x="164" y="72"/>
                      </a:lnTo>
                      <a:lnTo>
                        <a:pt x="160" y="72"/>
                      </a:lnTo>
                      <a:lnTo>
                        <a:pt x="156" y="68"/>
                      </a:lnTo>
                      <a:lnTo>
                        <a:pt x="156" y="64"/>
                      </a:lnTo>
                      <a:lnTo>
                        <a:pt x="152" y="64"/>
                      </a:lnTo>
                      <a:lnTo>
                        <a:pt x="152" y="60"/>
                      </a:lnTo>
                      <a:lnTo>
                        <a:pt x="156" y="60"/>
                      </a:lnTo>
                      <a:lnTo>
                        <a:pt x="156" y="56"/>
                      </a:lnTo>
                      <a:lnTo>
                        <a:pt x="152" y="56"/>
                      </a:lnTo>
                      <a:lnTo>
                        <a:pt x="152" y="52"/>
                      </a:lnTo>
                      <a:lnTo>
                        <a:pt x="152" y="48"/>
                      </a:lnTo>
                      <a:lnTo>
                        <a:pt x="156" y="48"/>
                      </a:lnTo>
                      <a:lnTo>
                        <a:pt x="152" y="46"/>
                      </a:lnTo>
                      <a:lnTo>
                        <a:pt x="152" y="42"/>
                      </a:lnTo>
                      <a:lnTo>
                        <a:pt x="156" y="42"/>
                      </a:lnTo>
                      <a:lnTo>
                        <a:pt x="156" y="38"/>
                      </a:lnTo>
                      <a:lnTo>
                        <a:pt x="160" y="38"/>
                      </a:lnTo>
                      <a:lnTo>
                        <a:pt x="160" y="34"/>
                      </a:lnTo>
                      <a:lnTo>
                        <a:pt x="160" y="30"/>
                      </a:lnTo>
                      <a:lnTo>
                        <a:pt x="160" y="26"/>
                      </a:lnTo>
                      <a:lnTo>
                        <a:pt x="164" y="26"/>
                      </a:lnTo>
                      <a:lnTo>
                        <a:pt x="164" y="22"/>
                      </a:lnTo>
                      <a:lnTo>
                        <a:pt x="164" y="18"/>
                      </a:lnTo>
                      <a:lnTo>
                        <a:pt x="164" y="16"/>
                      </a:lnTo>
                      <a:lnTo>
                        <a:pt x="164" y="12"/>
                      </a:lnTo>
                      <a:lnTo>
                        <a:pt x="166" y="12"/>
                      </a:lnTo>
                      <a:lnTo>
                        <a:pt x="166" y="8"/>
                      </a:lnTo>
                      <a:lnTo>
                        <a:pt x="170" y="8"/>
                      </a:lnTo>
                      <a:lnTo>
                        <a:pt x="174" y="8"/>
                      </a:lnTo>
                      <a:lnTo>
                        <a:pt x="178" y="4"/>
                      </a:lnTo>
                      <a:lnTo>
                        <a:pt x="182" y="4"/>
                      </a:lnTo>
                      <a:lnTo>
                        <a:pt x="182" y="0"/>
                      </a:lnTo>
                      <a:lnTo>
                        <a:pt x="182" y="4"/>
                      </a:lnTo>
                      <a:lnTo>
                        <a:pt x="186" y="4"/>
                      </a:lnTo>
                      <a:lnTo>
                        <a:pt x="190" y="8"/>
                      </a:lnTo>
                      <a:lnTo>
                        <a:pt x="192" y="8"/>
                      </a:lnTo>
                      <a:lnTo>
                        <a:pt x="192" y="12"/>
                      </a:lnTo>
                      <a:lnTo>
                        <a:pt x="196" y="12"/>
                      </a:lnTo>
                      <a:lnTo>
                        <a:pt x="200" y="12"/>
                      </a:lnTo>
                      <a:lnTo>
                        <a:pt x="200" y="16"/>
                      </a:lnTo>
                      <a:lnTo>
                        <a:pt x="200" y="18"/>
                      </a:lnTo>
                      <a:lnTo>
                        <a:pt x="204" y="18"/>
                      </a:lnTo>
                      <a:lnTo>
                        <a:pt x="208" y="18"/>
                      </a:lnTo>
                      <a:lnTo>
                        <a:pt x="212" y="18"/>
                      </a:lnTo>
                      <a:lnTo>
                        <a:pt x="216" y="18"/>
                      </a:lnTo>
                      <a:lnTo>
                        <a:pt x="220" y="18"/>
                      </a:lnTo>
                      <a:lnTo>
                        <a:pt x="222" y="18"/>
                      </a:lnTo>
                      <a:lnTo>
                        <a:pt x="222" y="22"/>
                      </a:lnTo>
                      <a:lnTo>
                        <a:pt x="226" y="22"/>
                      </a:lnTo>
                      <a:lnTo>
                        <a:pt x="226" y="26"/>
                      </a:lnTo>
                      <a:lnTo>
                        <a:pt x="230" y="26"/>
                      </a:lnTo>
                      <a:lnTo>
                        <a:pt x="226" y="26"/>
                      </a:lnTo>
                      <a:lnTo>
                        <a:pt x="230" y="30"/>
                      </a:lnTo>
                      <a:lnTo>
                        <a:pt x="230" y="34"/>
                      </a:lnTo>
                      <a:lnTo>
                        <a:pt x="230" y="38"/>
                      </a:lnTo>
                      <a:lnTo>
                        <a:pt x="234" y="42"/>
                      </a:lnTo>
                      <a:lnTo>
                        <a:pt x="230" y="42"/>
                      </a:lnTo>
                      <a:lnTo>
                        <a:pt x="230" y="46"/>
                      </a:lnTo>
                      <a:lnTo>
                        <a:pt x="226" y="48"/>
                      </a:lnTo>
                      <a:lnTo>
                        <a:pt x="226" y="52"/>
                      </a:lnTo>
                      <a:lnTo>
                        <a:pt x="222" y="56"/>
                      </a:lnTo>
                      <a:lnTo>
                        <a:pt x="222" y="60"/>
                      </a:lnTo>
                      <a:lnTo>
                        <a:pt x="220" y="60"/>
                      </a:lnTo>
                      <a:lnTo>
                        <a:pt x="216" y="64"/>
                      </a:lnTo>
                      <a:lnTo>
                        <a:pt x="212" y="68"/>
                      </a:lnTo>
                      <a:lnTo>
                        <a:pt x="208" y="72"/>
                      </a:lnTo>
                      <a:lnTo>
                        <a:pt x="204" y="72"/>
                      </a:lnTo>
                      <a:lnTo>
                        <a:pt x="200" y="74"/>
                      </a:lnTo>
                      <a:lnTo>
                        <a:pt x="196" y="74"/>
                      </a:lnTo>
                      <a:lnTo>
                        <a:pt x="192" y="74"/>
                      </a:lnTo>
                      <a:lnTo>
                        <a:pt x="192" y="78"/>
                      </a:lnTo>
                      <a:lnTo>
                        <a:pt x="192" y="82"/>
                      </a:lnTo>
                      <a:lnTo>
                        <a:pt x="190" y="82"/>
                      </a:lnTo>
                      <a:lnTo>
                        <a:pt x="190" y="86"/>
                      </a:lnTo>
                      <a:lnTo>
                        <a:pt x="190" y="82"/>
                      </a:lnTo>
                      <a:lnTo>
                        <a:pt x="190" y="86"/>
                      </a:lnTo>
                      <a:lnTo>
                        <a:pt x="190" y="88"/>
                      </a:lnTo>
                      <a:lnTo>
                        <a:pt x="186" y="88"/>
                      </a:lnTo>
                      <a:lnTo>
                        <a:pt x="186" y="92"/>
                      </a:lnTo>
                      <a:lnTo>
                        <a:pt x="186" y="96"/>
                      </a:lnTo>
                      <a:lnTo>
                        <a:pt x="182" y="96"/>
                      </a:lnTo>
                      <a:lnTo>
                        <a:pt x="182" y="100"/>
                      </a:lnTo>
                      <a:lnTo>
                        <a:pt x="186" y="100"/>
                      </a:lnTo>
                      <a:lnTo>
                        <a:pt x="182" y="100"/>
                      </a:lnTo>
                      <a:lnTo>
                        <a:pt x="182" y="104"/>
                      </a:lnTo>
                      <a:lnTo>
                        <a:pt x="178" y="108"/>
                      </a:lnTo>
                      <a:lnTo>
                        <a:pt x="174" y="108"/>
                      </a:lnTo>
                      <a:lnTo>
                        <a:pt x="174" y="104"/>
                      </a:lnTo>
                      <a:lnTo>
                        <a:pt x="170" y="104"/>
                      </a:lnTo>
                      <a:lnTo>
                        <a:pt x="170" y="104"/>
                      </a:lnTo>
                      <a:lnTo>
                        <a:pt x="170" y="104"/>
                      </a:lnTo>
                      <a:close/>
                      <a:moveTo>
                        <a:pt x="18" y="38"/>
                      </a:moveTo>
                      <a:lnTo>
                        <a:pt x="14" y="38"/>
                      </a:lnTo>
                      <a:lnTo>
                        <a:pt x="14" y="34"/>
                      </a:lnTo>
                      <a:lnTo>
                        <a:pt x="18" y="34"/>
                      </a:lnTo>
                      <a:lnTo>
                        <a:pt x="22" y="34"/>
                      </a:lnTo>
                      <a:lnTo>
                        <a:pt x="22" y="38"/>
                      </a:lnTo>
                      <a:lnTo>
                        <a:pt x="18" y="38"/>
                      </a:lnTo>
                      <a:lnTo>
                        <a:pt x="18" y="38"/>
                      </a:lnTo>
                      <a:lnTo>
                        <a:pt x="18" y="38"/>
                      </a:lnTo>
                      <a:close/>
                      <a:moveTo>
                        <a:pt x="8" y="42"/>
                      </a:moveTo>
                      <a:lnTo>
                        <a:pt x="4" y="42"/>
                      </a:lnTo>
                      <a:lnTo>
                        <a:pt x="4" y="38"/>
                      </a:lnTo>
                      <a:lnTo>
                        <a:pt x="8" y="38"/>
                      </a:lnTo>
                      <a:lnTo>
                        <a:pt x="8" y="34"/>
                      </a:lnTo>
                      <a:lnTo>
                        <a:pt x="4" y="30"/>
                      </a:lnTo>
                      <a:lnTo>
                        <a:pt x="4" y="26"/>
                      </a:lnTo>
                      <a:lnTo>
                        <a:pt x="0" y="26"/>
                      </a:lnTo>
                      <a:lnTo>
                        <a:pt x="0" y="22"/>
                      </a:lnTo>
                      <a:lnTo>
                        <a:pt x="4" y="22"/>
                      </a:lnTo>
                      <a:lnTo>
                        <a:pt x="8" y="22"/>
                      </a:lnTo>
                      <a:lnTo>
                        <a:pt x="8" y="26"/>
                      </a:lnTo>
                      <a:lnTo>
                        <a:pt x="8" y="30"/>
                      </a:lnTo>
                      <a:lnTo>
                        <a:pt x="10" y="30"/>
                      </a:lnTo>
                      <a:lnTo>
                        <a:pt x="10" y="34"/>
                      </a:lnTo>
                      <a:lnTo>
                        <a:pt x="10" y="38"/>
                      </a:lnTo>
                      <a:lnTo>
                        <a:pt x="10" y="42"/>
                      </a:lnTo>
                      <a:lnTo>
                        <a:pt x="8" y="42"/>
                      </a:lnTo>
                      <a:lnTo>
                        <a:pt x="8" y="42"/>
                      </a:lnTo>
                      <a:lnTo>
                        <a:pt x="8" y="42"/>
                      </a:lnTo>
                      <a:close/>
                      <a:moveTo>
                        <a:pt x="14" y="30"/>
                      </a:moveTo>
                      <a:lnTo>
                        <a:pt x="10" y="30"/>
                      </a:lnTo>
                      <a:lnTo>
                        <a:pt x="10" y="26"/>
                      </a:lnTo>
                      <a:lnTo>
                        <a:pt x="14" y="26"/>
                      </a:lnTo>
                      <a:lnTo>
                        <a:pt x="14" y="30"/>
                      </a:lnTo>
                      <a:lnTo>
                        <a:pt x="14" y="30"/>
                      </a:lnTo>
                      <a:lnTo>
                        <a:pt x="14" y="30"/>
                      </a:lnTo>
                      <a:close/>
                      <a:moveTo>
                        <a:pt x="4" y="34"/>
                      </a:moveTo>
                      <a:lnTo>
                        <a:pt x="0" y="34"/>
                      </a:lnTo>
                      <a:lnTo>
                        <a:pt x="0" y="30"/>
                      </a:lnTo>
                      <a:lnTo>
                        <a:pt x="4" y="30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close/>
                      <a:moveTo>
                        <a:pt x="30" y="42"/>
                      </a:moveTo>
                      <a:lnTo>
                        <a:pt x="30" y="38"/>
                      </a:lnTo>
                      <a:lnTo>
                        <a:pt x="34" y="38"/>
                      </a:lnTo>
                      <a:lnTo>
                        <a:pt x="34" y="42"/>
                      </a:lnTo>
                      <a:lnTo>
                        <a:pt x="30" y="42"/>
                      </a:lnTo>
                      <a:lnTo>
                        <a:pt x="30" y="42"/>
                      </a:lnTo>
                      <a:lnTo>
                        <a:pt x="30" y="42"/>
                      </a:lnTo>
                      <a:close/>
                      <a:moveTo>
                        <a:pt x="18" y="48"/>
                      </a:moveTo>
                      <a:lnTo>
                        <a:pt x="14" y="46"/>
                      </a:lnTo>
                      <a:lnTo>
                        <a:pt x="18" y="46"/>
                      </a:lnTo>
                      <a:lnTo>
                        <a:pt x="18" y="48"/>
                      </a:lnTo>
                      <a:lnTo>
                        <a:pt x="18" y="48"/>
                      </a:lnTo>
                      <a:lnTo>
                        <a:pt x="18" y="48"/>
                      </a:lnTo>
                      <a:close/>
                      <a:moveTo>
                        <a:pt x="164" y="74"/>
                      </a:moveTo>
                      <a:lnTo>
                        <a:pt x="160" y="74"/>
                      </a:lnTo>
                      <a:lnTo>
                        <a:pt x="160" y="72"/>
                      </a:lnTo>
                      <a:lnTo>
                        <a:pt x="164" y="72"/>
                      </a:lnTo>
                      <a:lnTo>
                        <a:pt x="166" y="72"/>
                      </a:lnTo>
                      <a:lnTo>
                        <a:pt x="164" y="74"/>
                      </a:lnTo>
                      <a:lnTo>
                        <a:pt x="164" y="74"/>
                      </a:lnTo>
                      <a:lnTo>
                        <a:pt x="164" y="74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37" name="Freeform 183"/>
                <p:cNvSpPr>
                  <a:spLocks/>
                </p:cNvSpPr>
                <p:nvPr/>
              </p:nvSpPr>
              <p:spPr bwMode="auto">
                <a:xfrm>
                  <a:off x="3168650" y="4403793"/>
                  <a:ext cx="66675" cy="98425"/>
                </a:xfrm>
                <a:custGeom>
                  <a:avLst/>
                  <a:gdLst>
                    <a:gd name="T0" fmla="*/ 4 w 42"/>
                    <a:gd name="T1" fmla="*/ 56 h 62"/>
                    <a:gd name="T2" fmla="*/ 4 w 42"/>
                    <a:gd name="T3" fmla="*/ 52 h 62"/>
                    <a:gd name="T4" fmla="*/ 4 w 42"/>
                    <a:gd name="T5" fmla="*/ 48 h 62"/>
                    <a:gd name="T6" fmla="*/ 4 w 42"/>
                    <a:gd name="T7" fmla="*/ 44 h 62"/>
                    <a:gd name="T8" fmla="*/ 8 w 42"/>
                    <a:gd name="T9" fmla="*/ 40 h 62"/>
                    <a:gd name="T10" fmla="*/ 8 w 42"/>
                    <a:gd name="T11" fmla="*/ 32 h 62"/>
                    <a:gd name="T12" fmla="*/ 4 w 42"/>
                    <a:gd name="T13" fmla="*/ 30 h 62"/>
                    <a:gd name="T14" fmla="*/ 0 w 42"/>
                    <a:gd name="T15" fmla="*/ 22 h 62"/>
                    <a:gd name="T16" fmla="*/ 0 w 42"/>
                    <a:gd name="T17" fmla="*/ 18 h 62"/>
                    <a:gd name="T18" fmla="*/ 0 w 42"/>
                    <a:gd name="T19" fmla="*/ 14 h 62"/>
                    <a:gd name="T20" fmla="*/ 4 w 42"/>
                    <a:gd name="T21" fmla="*/ 10 h 62"/>
                    <a:gd name="T22" fmla="*/ 4 w 42"/>
                    <a:gd name="T23" fmla="*/ 6 h 62"/>
                    <a:gd name="T24" fmla="*/ 8 w 42"/>
                    <a:gd name="T25" fmla="*/ 6 h 62"/>
                    <a:gd name="T26" fmla="*/ 8 w 42"/>
                    <a:gd name="T27" fmla="*/ 4 h 62"/>
                    <a:gd name="T28" fmla="*/ 8 w 42"/>
                    <a:gd name="T29" fmla="*/ 0 h 62"/>
                    <a:gd name="T30" fmla="*/ 12 w 42"/>
                    <a:gd name="T31" fmla="*/ 0 h 62"/>
                    <a:gd name="T32" fmla="*/ 16 w 42"/>
                    <a:gd name="T33" fmla="*/ 4 h 62"/>
                    <a:gd name="T34" fmla="*/ 20 w 42"/>
                    <a:gd name="T35" fmla="*/ 4 h 62"/>
                    <a:gd name="T36" fmla="*/ 24 w 42"/>
                    <a:gd name="T37" fmla="*/ 4 h 62"/>
                    <a:gd name="T38" fmla="*/ 28 w 42"/>
                    <a:gd name="T39" fmla="*/ 6 h 62"/>
                    <a:gd name="T40" fmla="*/ 30 w 42"/>
                    <a:gd name="T41" fmla="*/ 14 h 62"/>
                    <a:gd name="T42" fmla="*/ 38 w 42"/>
                    <a:gd name="T43" fmla="*/ 18 h 62"/>
                    <a:gd name="T44" fmla="*/ 38 w 42"/>
                    <a:gd name="T45" fmla="*/ 22 h 62"/>
                    <a:gd name="T46" fmla="*/ 38 w 42"/>
                    <a:gd name="T47" fmla="*/ 26 h 62"/>
                    <a:gd name="T48" fmla="*/ 38 w 42"/>
                    <a:gd name="T49" fmla="*/ 22 h 62"/>
                    <a:gd name="T50" fmla="*/ 38 w 42"/>
                    <a:gd name="T51" fmla="*/ 22 h 62"/>
                    <a:gd name="T52" fmla="*/ 38 w 42"/>
                    <a:gd name="T53" fmla="*/ 18 h 62"/>
                    <a:gd name="T54" fmla="*/ 42 w 42"/>
                    <a:gd name="T55" fmla="*/ 22 h 62"/>
                    <a:gd name="T56" fmla="*/ 42 w 42"/>
                    <a:gd name="T57" fmla="*/ 26 h 62"/>
                    <a:gd name="T58" fmla="*/ 42 w 42"/>
                    <a:gd name="T59" fmla="*/ 26 h 62"/>
                    <a:gd name="T60" fmla="*/ 42 w 42"/>
                    <a:gd name="T61" fmla="*/ 30 h 62"/>
                    <a:gd name="T62" fmla="*/ 42 w 42"/>
                    <a:gd name="T63" fmla="*/ 30 h 62"/>
                    <a:gd name="T64" fmla="*/ 38 w 42"/>
                    <a:gd name="T65" fmla="*/ 32 h 62"/>
                    <a:gd name="T66" fmla="*/ 38 w 42"/>
                    <a:gd name="T67" fmla="*/ 36 h 62"/>
                    <a:gd name="T68" fmla="*/ 34 w 42"/>
                    <a:gd name="T69" fmla="*/ 44 h 62"/>
                    <a:gd name="T70" fmla="*/ 30 w 42"/>
                    <a:gd name="T71" fmla="*/ 44 h 62"/>
                    <a:gd name="T72" fmla="*/ 30 w 42"/>
                    <a:gd name="T73" fmla="*/ 48 h 62"/>
                    <a:gd name="T74" fmla="*/ 30 w 42"/>
                    <a:gd name="T75" fmla="*/ 56 h 62"/>
                    <a:gd name="T76" fmla="*/ 28 w 42"/>
                    <a:gd name="T77" fmla="*/ 58 h 62"/>
                    <a:gd name="T78" fmla="*/ 24 w 42"/>
                    <a:gd name="T79" fmla="*/ 62 h 62"/>
                    <a:gd name="T80" fmla="*/ 24 w 42"/>
                    <a:gd name="T81" fmla="*/ 58 h 62"/>
                    <a:gd name="T82" fmla="*/ 20 w 42"/>
                    <a:gd name="T83" fmla="*/ 58 h 62"/>
                    <a:gd name="T84" fmla="*/ 20 w 42"/>
                    <a:gd name="T85" fmla="*/ 58 h 62"/>
                    <a:gd name="T86" fmla="*/ 12 w 42"/>
                    <a:gd name="T87" fmla="*/ 58 h 62"/>
                    <a:gd name="T88" fmla="*/ 8 w 42"/>
                    <a:gd name="T89" fmla="*/ 58 h 62"/>
                    <a:gd name="T90" fmla="*/ 4 w 42"/>
                    <a:gd name="T91" fmla="*/ 62 h 62"/>
                    <a:gd name="T92" fmla="*/ 0 w 42"/>
                    <a:gd name="T93" fmla="*/ 58 h 62"/>
                    <a:gd name="T94" fmla="*/ 0 w 42"/>
                    <a:gd name="T95" fmla="*/ 58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42" h="62">
                      <a:moveTo>
                        <a:pt x="0" y="58"/>
                      </a:moveTo>
                      <a:lnTo>
                        <a:pt x="0" y="58"/>
                      </a:lnTo>
                      <a:lnTo>
                        <a:pt x="0" y="56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4" y="52"/>
                      </a:lnTo>
                      <a:lnTo>
                        <a:pt x="4" y="52"/>
                      </a:lnTo>
                      <a:lnTo>
                        <a:pt x="4" y="52"/>
                      </a:lnTo>
                      <a:lnTo>
                        <a:pt x="4" y="52"/>
                      </a:lnTo>
                      <a:lnTo>
                        <a:pt x="4" y="52"/>
                      </a:lnTo>
                      <a:lnTo>
                        <a:pt x="4" y="48"/>
                      </a:lnTo>
                      <a:lnTo>
                        <a:pt x="4" y="48"/>
                      </a:lnTo>
                      <a:lnTo>
                        <a:pt x="4" y="44"/>
                      </a:lnTo>
                      <a:lnTo>
                        <a:pt x="4" y="44"/>
                      </a:lnTo>
                      <a:lnTo>
                        <a:pt x="4" y="44"/>
                      </a:lnTo>
                      <a:lnTo>
                        <a:pt x="4" y="44"/>
                      </a:lnTo>
                      <a:lnTo>
                        <a:pt x="8" y="40"/>
                      </a:lnTo>
                      <a:lnTo>
                        <a:pt x="8" y="40"/>
                      </a:lnTo>
                      <a:lnTo>
                        <a:pt x="8" y="40"/>
                      </a:lnTo>
                      <a:lnTo>
                        <a:pt x="8" y="40"/>
                      </a:lnTo>
                      <a:lnTo>
                        <a:pt x="8" y="36"/>
                      </a:lnTo>
                      <a:lnTo>
                        <a:pt x="8" y="36"/>
                      </a:lnTo>
                      <a:lnTo>
                        <a:pt x="8" y="32"/>
                      </a:lnTo>
                      <a:lnTo>
                        <a:pt x="8" y="32"/>
                      </a:lnTo>
                      <a:lnTo>
                        <a:pt x="4" y="32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4"/>
                      </a:lnTo>
                      <a:lnTo>
                        <a:pt x="0" y="14"/>
                      </a:lnTo>
                      <a:lnTo>
                        <a:pt x="0" y="10"/>
                      </a:lnTo>
                      <a:lnTo>
                        <a:pt x="4" y="10"/>
                      </a:lnTo>
                      <a:lnTo>
                        <a:pt x="4" y="10"/>
                      </a:lnTo>
                      <a:lnTo>
                        <a:pt x="4" y="10"/>
                      </a:lnTo>
                      <a:lnTo>
                        <a:pt x="4" y="10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20" y="4"/>
                      </a:lnTo>
                      <a:lnTo>
                        <a:pt x="20" y="4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6"/>
                      </a:lnTo>
                      <a:lnTo>
                        <a:pt x="28" y="6"/>
                      </a:lnTo>
                      <a:lnTo>
                        <a:pt x="28" y="6"/>
                      </a:lnTo>
                      <a:lnTo>
                        <a:pt x="28" y="6"/>
                      </a:lnTo>
                      <a:lnTo>
                        <a:pt x="28" y="10"/>
                      </a:lnTo>
                      <a:lnTo>
                        <a:pt x="30" y="10"/>
                      </a:lnTo>
                      <a:lnTo>
                        <a:pt x="30" y="14"/>
                      </a:lnTo>
                      <a:lnTo>
                        <a:pt x="30" y="14"/>
                      </a:lnTo>
                      <a:lnTo>
                        <a:pt x="34" y="14"/>
                      </a:lnTo>
                      <a:lnTo>
                        <a:pt x="34" y="18"/>
                      </a:lnTo>
                      <a:lnTo>
                        <a:pt x="38" y="18"/>
                      </a:lnTo>
                      <a:lnTo>
                        <a:pt x="38" y="18"/>
                      </a:lnTo>
                      <a:lnTo>
                        <a:pt x="38" y="18"/>
                      </a:lnTo>
                      <a:lnTo>
                        <a:pt x="38" y="18"/>
                      </a:lnTo>
                      <a:lnTo>
                        <a:pt x="38" y="22"/>
                      </a:lnTo>
                      <a:lnTo>
                        <a:pt x="38" y="22"/>
                      </a:lnTo>
                      <a:lnTo>
                        <a:pt x="38" y="22"/>
                      </a:lnTo>
                      <a:lnTo>
                        <a:pt x="38" y="22"/>
                      </a:lnTo>
                      <a:lnTo>
                        <a:pt x="38" y="22"/>
                      </a:lnTo>
                      <a:lnTo>
                        <a:pt x="38" y="26"/>
                      </a:lnTo>
                      <a:lnTo>
                        <a:pt x="38" y="26"/>
                      </a:lnTo>
                      <a:lnTo>
                        <a:pt x="38" y="26"/>
                      </a:lnTo>
                      <a:lnTo>
                        <a:pt x="38" y="22"/>
                      </a:lnTo>
                      <a:lnTo>
                        <a:pt x="38" y="22"/>
                      </a:lnTo>
                      <a:lnTo>
                        <a:pt x="38" y="22"/>
                      </a:lnTo>
                      <a:lnTo>
                        <a:pt x="38" y="22"/>
                      </a:lnTo>
                      <a:lnTo>
                        <a:pt x="38" y="22"/>
                      </a:lnTo>
                      <a:lnTo>
                        <a:pt x="38" y="22"/>
                      </a:lnTo>
                      <a:lnTo>
                        <a:pt x="38" y="22"/>
                      </a:lnTo>
                      <a:lnTo>
                        <a:pt x="38" y="18"/>
                      </a:lnTo>
                      <a:lnTo>
                        <a:pt x="38" y="18"/>
                      </a:lnTo>
                      <a:lnTo>
                        <a:pt x="38" y="18"/>
                      </a:lnTo>
                      <a:lnTo>
                        <a:pt x="38" y="18"/>
                      </a:lnTo>
                      <a:lnTo>
                        <a:pt x="38" y="18"/>
                      </a:lnTo>
                      <a:lnTo>
                        <a:pt x="42" y="22"/>
                      </a:lnTo>
                      <a:lnTo>
                        <a:pt x="42" y="22"/>
                      </a:lnTo>
                      <a:lnTo>
                        <a:pt x="42" y="22"/>
                      </a:lnTo>
                      <a:lnTo>
                        <a:pt x="42" y="22"/>
                      </a:lnTo>
                      <a:lnTo>
                        <a:pt x="42" y="22"/>
                      </a:lnTo>
                      <a:lnTo>
                        <a:pt x="42" y="26"/>
                      </a:lnTo>
                      <a:lnTo>
                        <a:pt x="42" y="26"/>
                      </a:lnTo>
                      <a:lnTo>
                        <a:pt x="42" y="26"/>
                      </a:lnTo>
                      <a:lnTo>
                        <a:pt x="42" y="26"/>
                      </a:lnTo>
                      <a:lnTo>
                        <a:pt x="42" y="26"/>
                      </a:lnTo>
                      <a:lnTo>
                        <a:pt x="42" y="26"/>
                      </a:lnTo>
                      <a:lnTo>
                        <a:pt x="42" y="30"/>
                      </a:lnTo>
                      <a:lnTo>
                        <a:pt x="42" y="30"/>
                      </a:lnTo>
                      <a:lnTo>
                        <a:pt x="42" y="30"/>
                      </a:lnTo>
                      <a:lnTo>
                        <a:pt x="42" y="30"/>
                      </a:lnTo>
                      <a:lnTo>
                        <a:pt x="42" y="30"/>
                      </a:lnTo>
                      <a:lnTo>
                        <a:pt x="42" y="30"/>
                      </a:lnTo>
                      <a:lnTo>
                        <a:pt x="42" y="30"/>
                      </a:lnTo>
                      <a:lnTo>
                        <a:pt x="42" y="30"/>
                      </a:lnTo>
                      <a:lnTo>
                        <a:pt x="38" y="30"/>
                      </a:lnTo>
                      <a:lnTo>
                        <a:pt x="38" y="32"/>
                      </a:lnTo>
                      <a:lnTo>
                        <a:pt x="38" y="32"/>
                      </a:lnTo>
                      <a:lnTo>
                        <a:pt x="38" y="32"/>
                      </a:lnTo>
                      <a:lnTo>
                        <a:pt x="38" y="32"/>
                      </a:lnTo>
                      <a:lnTo>
                        <a:pt x="38" y="36"/>
                      </a:lnTo>
                      <a:lnTo>
                        <a:pt x="38" y="36"/>
                      </a:lnTo>
                      <a:lnTo>
                        <a:pt x="38" y="36"/>
                      </a:lnTo>
                      <a:lnTo>
                        <a:pt x="34" y="40"/>
                      </a:lnTo>
                      <a:lnTo>
                        <a:pt x="34" y="40"/>
                      </a:lnTo>
                      <a:lnTo>
                        <a:pt x="34" y="44"/>
                      </a:lnTo>
                      <a:lnTo>
                        <a:pt x="34" y="44"/>
                      </a:lnTo>
                      <a:lnTo>
                        <a:pt x="34" y="44"/>
                      </a:lnTo>
                      <a:lnTo>
                        <a:pt x="30" y="44"/>
                      </a:lnTo>
                      <a:lnTo>
                        <a:pt x="30" y="44"/>
                      </a:lnTo>
                      <a:lnTo>
                        <a:pt x="30" y="44"/>
                      </a:lnTo>
                      <a:lnTo>
                        <a:pt x="30" y="48"/>
                      </a:lnTo>
                      <a:lnTo>
                        <a:pt x="30" y="48"/>
                      </a:lnTo>
                      <a:lnTo>
                        <a:pt x="30" y="48"/>
                      </a:lnTo>
                      <a:lnTo>
                        <a:pt x="30" y="52"/>
                      </a:lnTo>
                      <a:lnTo>
                        <a:pt x="30" y="52"/>
                      </a:lnTo>
                      <a:lnTo>
                        <a:pt x="30" y="52"/>
                      </a:lnTo>
                      <a:lnTo>
                        <a:pt x="30" y="56"/>
                      </a:lnTo>
                      <a:lnTo>
                        <a:pt x="30" y="56"/>
                      </a:lnTo>
                      <a:lnTo>
                        <a:pt x="30" y="56"/>
                      </a:lnTo>
                      <a:lnTo>
                        <a:pt x="28" y="56"/>
                      </a:lnTo>
                      <a:lnTo>
                        <a:pt x="28" y="58"/>
                      </a:lnTo>
                      <a:lnTo>
                        <a:pt x="28" y="58"/>
                      </a:lnTo>
                      <a:lnTo>
                        <a:pt x="24" y="58"/>
                      </a:lnTo>
                      <a:lnTo>
                        <a:pt x="24" y="58"/>
                      </a:lnTo>
                      <a:lnTo>
                        <a:pt x="24" y="62"/>
                      </a:lnTo>
                      <a:lnTo>
                        <a:pt x="24" y="62"/>
                      </a:lnTo>
                      <a:lnTo>
                        <a:pt x="24" y="58"/>
                      </a:lnTo>
                      <a:lnTo>
                        <a:pt x="24" y="58"/>
                      </a:lnTo>
                      <a:lnTo>
                        <a:pt x="24" y="58"/>
                      </a:lnTo>
                      <a:lnTo>
                        <a:pt x="20" y="58"/>
                      </a:lnTo>
                      <a:lnTo>
                        <a:pt x="20" y="58"/>
                      </a:lnTo>
                      <a:lnTo>
                        <a:pt x="20" y="58"/>
                      </a:lnTo>
                      <a:lnTo>
                        <a:pt x="20" y="58"/>
                      </a:lnTo>
                      <a:lnTo>
                        <a:pt x="20" y="58"/>
                      </a:lnTo>
                      <a:lnTo>
                        <a:pt x="20" y="58"/>
                      </a:lnTo>
                      <a:lnTo>
                        <a:pt x="20" y="58"/>
                      </a:lnTo>
                      <a:lnTo>
                        <a:pt x="20" y="58"/>
                      </a:lnTo>
                      <a:lnTo>
                        <a:pt x="16" y="58"/>
                      </a:lnTo>
                      <a:lnTo>
                        <a:pt x="16" y="58"/>
                      </a:lnTo>
                      <a:lnTo>
                        <a:pt x="12" y="58"/>
                      </a:lnTo>
                      <a:lnTo>
                        <a:pt x="12" y="58"/>
                      </a:lnTo>
                      <a:lnTo>
                        <a:pt x="12" y="58"/>
                      </a:lnTo>
                      <a:lnTo>
                        <a:pt x="12" y="58"/>
                      </a:lnTo>
                      <a:lnTo>
                        <a:pt x="12" y="58"/>
                      </a:lnTo>
                      <a:lnTo>
                        <a:pt x="8" y="58"/>
                      </a:lnTo>
                      <a:lnTo>
                        <a:pt x="8" y="58"/>
                      </a:lnTo>
                      <a:lnTo>
                        <a:pt x="8" y="58"/>
                      </a:lnTo>
                      <a:lnTo>
                        <a:pt x="8" y="62"/>
                      </a:lnTo>
                      <a:lnTo>
                        <a:pt x="4" y="62"/>
                      </a:lnTo>
                      <a:lnTo>
                        <a:pt x="0" y="58"/>
                      </a:lnTo>
                      <a:lnTo>
                        <a:pt x="0" y="58"/>
                      </a:lnTo>
                      <a:lnTo>
                        <a:pt x="0" y="58"/>
                      </a:lnTo>
                      <a:lnTo>
                        <a:pt x="0" y="58"/>
                      </a:lnTo>
                      <a:lnTo>
                        <a:pt x="0" y="58"/>
                      </a:lnTo>
                      <a:lnTo>
                        <a:pt x="0" y="58"/>
                      </a:lnTo>
                      <a:lnTo>
                        <a:pt x="0" y="58"/>
                      </a:lnTo>
                      <a:lnTo>
                        <a:pt x="0" y="58"/>
                      </a:lnTo>
                      <a:lnTo>
                        <a:pt x="0" y="58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38" name="Freeform 184"/>
                <p:cNvSpPr>
                  <a:spLocks/>
                </p:cNvSpPr>
                <p:nvPr/>
              </p:nvSpPr>
              <p:spPr bwMode="auto">
                <a:xfrm>
                  <a:off x="3016250" y="4327593"/>
                  <a:ext cx="111125" cy="200025"/>
                </a:xfrm>
                <a:custGeom>
                  <a:avLst/>
                  <a:gdLst>
                    <a:gd name="T0" fmla="*/ 48 w 70"/>
                    <a:gd name="T1" fmla="*/ 32 h 126"/>
                    <a:gd name="T2" fmla="*/ 52 w 70"/>
                    <a:gd name="T3" fmla="*/ 36 h 126"/>
                    <a:gd name="T4" fmla="*/ 56 w 70"/>
                    <a:gd name="T5" fmla="*/ 40 h 126"/>
                    <a:gd name="T6" fmla="*/ 60 w 70"/>
                    <a:gd name="T7" fmla="*/ 44 h 126"/>
                    <a:gd name="T8" fmla="*/ 60 w 70"/>
                    <a:gd name="T9" fmla="*/ 56 h 126"/>
                    <a:gd name="T10" fmla="*/ 60 w 70"/>
                    <a:gd name="T11" fmla="*/ 58 h 126"/>
                    <a:gd name="T12" fmla="*/ 56 w 70"/>
                    <a:gd name="T13" fmla="*/ 58 h 126"/>
                    <a:gd name="T14" fmla="*/ 52 w 70"/>
                    <a:gd name="T15" fmla="*/ 62 h 126"/>
                    <a:gd name="T16" fmla="*/ 48 w 70"/>
                    <a:gd name="T17" fmla="*/ 66 h 126"/>
                    <a:gd name="T18" fmla="*/ 48 w 70"/>
                    <a:gd name="T19" fmla="*/ 74 h 126"/>
                    <a:gd name="T20" fmla="*/ 48 w 70"/>
                    <a:gd name="T21" fmla="*/ 78 h 126"/>
                    <a:gd name="T22" fmla="*/ 48 w 70"/>
                    <a:gd name="T23" fmla="*/ 82 h 126"/>
                    <a:gd name="T24" fmla="*/ 52 w 70"/>
                    <a:gd name="T25" fmla="*/ 86 h 126"/>
                    <a:gd name="T26" fmla="*/ 52 w 70"/>
                    <a:gd name="T27" fmla="*/ 88 h 126"/>
                    <a:gd name="T28" fmla="*/ 60 w 70"/>
                    <a:gd name="T29" fmla="*/ 92 h 126"/>
                    <a:gd name="T30" fmla="*/ 60 w 70"/>
                    <a:gd name="T31" fmla="*/ 96 h 126"/>
                    <a:gd name="T32" fmla="*/ 64 w 70"/>
                    <a:gd name="T33" fmla="*/ 108 h 126"/>
                    <a:gd name="T34" fmla="*/ 70 w 70"/>
                    <a:gd name="T35" fmla="*/ 114 h 126"/>
                    <a:gd name="T36" fmla="*/ 68 w 70"/>
                    <a:gd name="T37" fmla="*/ 114 h 126"/>
                    <a:gd name="T38" fmla="*/ 60 w 70"/>
                    <a:gd name="T39" fmla="*/ 112 h 126"/>
                    <a:gd name="T40" fmla="*/ 60 w 70"/>
                    <a:gd name="T41" fmla="*/ 112 h 126"/>
                    <a:gd name="T42" fmla="*/ 56 w 70"/>
                    <a:gd name="T43" fmla="*/ 118 h 126"/>
                    <a:gd name="T44" fmla="*/ 52 w 70"/>
                    <a:gd name="T45" fmla="*/ 118 h 126"/>
                    <a:gd name="T46" fmla="*/ 44 w 70"/>
                    <a:gd name="T47" fmla="*/ 122 h 126"/>
                    <a:gd name="T48" fmla="*/ 40 w 70"/>
                    <a:gd name="T49" fmla="*/ 122 h 126"/>
                    <a:gd name="T50" fmla="*/ 38 w 70"/>
                    <a:gd name="T51" fmla="*/ 126 h 126"/>
                    <a:gd name="T52" fmla="*/ 34 w 70"/>
                    <a:gd name="T53" fmla="*/ 126 h 126"/>
                    <a:gd name="T54" fmla="*/ 30 w 70"/>
                    <a:gd name="T55" fmla="*/ 118 h 126"/>
                    <a:gd name="T56" fmla="*/ 26 w 70"/>
                    <a:gd name="T57" fmla="*/ 114 h 126"/>
                    <a:gd name="T58" fmla="*/ 22 w 70"/>
                    <a:gd name="T59" fmla="*/ 108 h 126"/>
                    <a:gd name="T60" fmla="*/ 22 w 70"/>
                    <a:gd name="T61" fmla="*/ 104 h 126"/>
                    <a:gd name="T62" fmla="*/ 18 w 70"/>
                    <a:gd name="T63" fmla="*/ 96 h 126"/>
                    <a:gd name="T64" fmla="*/ 22 w 70"/>
                    <a:gd name="T65" fmla="*/ 88 h 126"/>
                    <a:gd name="T66" fmla="*/ 26 w 70"/>
                    <a:gd name="T67" fmla="*/ 82 h 126"/>
                    <a:gd name="T68" fmla="*/ 26 w 70"/>
                    <a:gd name="T69" fmla="*/ 70 h 126"/>
                    <a:gd name="T70" fmla="*/ 18 w 70"/>
                    <a:gd name="T71" fmla="*/ 70 h 126"/>
                    <a:gd name="T72" fmla="*/ 18 w 70"/>
                    <a:gd name="T73" fmla="*/ 66 h 126"/>
                    <a:gd name="T74" fmla="*/ 18 w 70"/>
                    <a:gd name="T75" fmla="*/ 58 h 126"/>
                    <a:gd name="T76" fmla="*/ 14 w 70"/>
                    <a:gd name="T77" fmla="*/ 58 h 126"/>
                    <a:gd name="T78" fmla="*/ 12 w 70"/>
                    <a:gd name="T79" fmla="*/ 58 h 126"/>
                    <a:gd name="T80" fmla="*/ 0 w 70"/>
                    <a:gd name="T81" fmla="*/ 44 h 126"/>
                    <a:gd name="T82" fmla="*/ 4 w 70"/>
                    <a:gd name="T83" fmla="*/ 40 h 126"/>
                    <a:gd name="T84" fmla="*/ 4 w 70"/>
                    <a:gd name="T85" fmla="*/ 32 h 126"/>
                    <a:gd name="T86" fmla="*/ 12 w 70"/>
                    <a:gd name="T87" fmla="*/ 32 h 126"/>
                    <a:gd name="T88" fmla="*/ 12 w 70"/>
                    <a:gd name="T89" fmla="*/ 30 h 126"/>
                    <a:gd name="T90" fmla="*/ 14 w 70"/>
                    <a:gd name="T91" fmla="*/ 26 h 126"/>
                    <a:gd name="T92" fmla="*/ 12 w 70"/>
                    <a:gd name="T93" fmla="*/ 26 h 126"/>
                    <a:gd name="T94" fmla="*/ 12 w 70"/>
                    <a:gd name="T95" fmla="*/ 22 h 126"/>
                    <a:gd name="T96" fmla="*/ 12 w 70"/>
                    <a:gd name="T97" fmla="*/ 18 h 126"/>
                    <a:gd name="T98" fmla="*/ 12 w 70"/>
                    <a:gd name="T99" fmla="*/ 14 h 126"/>
                    <a:gd name="T100" fmla="*/ 18 w 70"/>
                    <a:gd name="T101" fmla="*/ 10 h 126"/>
                    <a:gd name="T102" fmla="*/ 22 w 70"/>
                    <a:gd name="T103" fmla="*/ 6 h 126"/>
                    <a:gd name="T104" fmla="*/ 18 w 70"/>
                    <a:gd name="T105" fmla="*/ 0 h 126"/>
                    <a:gd name="T106" fmla="*/ 22 w 70"/>
                    <a:gd name="T107" fmla="*/ 4 h 126"/>
                    <a:gd name="T108" fmla="*/ 26 w 70"/>
                    <a:gd name="T109" fmla="*/ 4 h 126"/>
                    <a:gd name="T110" fmla="*/ 34 w 70"/>
                    <a:gd name="T111" fmla="*/ 10 h 126"/>
                    <a:gd name="T112" fmla="*/ 38 w 70"/>
                    <a:gd name="T113" fmla="*/ 18 h 126"/>
                    <a:gd name="T114" fmla="*/ 40 w 70"/>
                    <a:gd name="T115" fmla="*/ 26 h 126"/>
                    <a:gd name="T116" fmla="*/ 40 w 70"/>
                    <a:gd name="T117" fmla="*/ 30 h 126"/>
                    <a:gd name="T118" fmla="*/ 40 w 70"/>
                    <a:gd name="T119" fmla="*/ 36 h 126"/>
                    <a:gd name="T120" fmla="*/ 40 w 70"/>
                    <a:gd name="T121" fmla="*/ 32 h 126"/>
                    <a:gd name="T122" fmla="*/ 44 w 70"/>
                    <a:gd name="T123" fmla="*/ 30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70" h="126">
                      <a:moveTo>
                        <a:pt x="44" y="30"/>
                      </a:moveTo>
                      <a:lnTo>
                        <a:pt x="44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32"/>
                      </a:lnTo>
                      <a:lnTo>
                        <a:pt x="48" y="32"/>
                      </a:lnTo>
                      <a:lnTo>
                        <a:pt x="48" y="32"/>
                      </a:lnTo>
                      <a:lnTo>
                        <a:pt x="48" y="32"/>
                      </a:lnTo>
                      <a:lnTo>
                        <a:pt x="48" y="32"/>
                      </a:lnTo>
                      <a:lnTo>
                        <a:pt x="52" y="32"/>
                      </a:lnTo>
                      <a:lnTo>
                        <a:pt x="52" y="36"/>
                      </a:lnTo>
                      <a:lnTo>
                        <a:pt x="52" y="36"/>
                      </a:lnTo>
                      <a:lnTo>
                        <a:pt x="56" y="40"/>
                      </a:lnTo>
                      <a:lnTo>
                        <a:pt x="56" y="40"/>
                      </a:lnTo>
                      <a:lnTo>
                        <a:pt x="56" y="36"/>
                      </a:lnTo>
                      <a:lnTo>
                        <a:pt x="56" y="36"/>
                      </a:lnTo>
                      <a:lnTo>
                        <a:pt x="56" y="40"/>
                      </a:lnTo>
                      <a:lnTo>
                        <a:pt x="56" y="40"/>
                      </a:lnTo>
                      <a:lnTo>
                        <a:pt x="60" y="40"/>
                      </a:lnTo>
                      <a:lnTo>
                        <a:pt x="60" y="40"/>
                      </a:lnTo>
                      <a:lnTo>
                        <a:pt x="60" y="40"/>
                      </a:lnTo>
                      <a:lnTo>
                        <a:pt x="60" y="40"/>
                      </a:lnTo>
                      <a:lnTo>
                        <a:pt x="60" y="44"/>
                      </a:lnTo>
                      <a:lnTo>
                        <a:pt x="60" y="44"/>
                      </a:lnTo>
                      <a:lnTo>
                        <a:pt x="60" y="52"/>
                      </a:lnTo>
                      <a:lnTo>
                        <a:pt x="60" y="52"/>
                      </a:lnTo>
                      <a:lnTo>
                        <a:pt x="60" y="52"/>
                      </a:lnTo>
                      <a:lnTo>
                        <a:pt x="60" y="52"/>
                      </a:lnTo>
                      <a:lnTo>
                        <a:pt x="60" y="56"/>
                      </a:lnTo>
                      <a:lnTo>
                        <a:pt x="60" y="56"/>
                      </a:lnTo>
                      <a:lnTo>
                        <a:pt x="56" y="56"/>
                      </a:lnTo>
                      <a:lnTo>
                        <a:pt x="60" y="58"/>
                      </a:lnTo>
                      <a:lnTo>
                        <a:pt x="60" y="58"/>
                      </a:lnTo>
                      <a:lnTo>
                        <a:pt x="60" y="56"/>
                      </a:lnTo>
                      <a:lnTo>
                        <a:pt x="60" y="58"/>
                      </a:lnTo>
                      <a:lnTo>
                        <a:pt x="60" y="58"/>
                      </a:lnTo>
                      <a:lnTo>
                        <a:pt x="60" y="58"/>
                      </a:lnTo>
                      <a:lnTo>
                        <a:pt x="60" y="58"/>
                      </a:lnTo>
                      <a:lnTo>
                        <a:pt x="60" y="58"/>
                      </a:lnTo>
                      <a:lnTo>
                        <a:pt x="60" y="58"/>
                      </a:lnTo>
                      <a:lnTo>
                        <a:pt x="56" y="58"/>
                      </a:lnTo>
                      <a:lnTo>
                        <a:pt x="56" y="58"/>
                      </a:lnTo>
                      <a:lnTo>
                        <a:pt x="56" y="62"/>
                      </a:lnTo>
                      <a:lnTo>
                        <a:pt x="56" y="62"/>
                      </a:lnTo>
                      <a:lnTo>
                        <a:pt x="52" y="62"/>
                      </a:lnTo>
                      <a:lnTo>
                        <a:pt x="52" y="62"/>
                      </a:lnTo>
                      <a:lnTo>
                        <a:pt x="52" y="62"/>
                      </a:lnTo>
                      <a:lnTo>
                        <a:pt x="52" y="62"/>
                      </a:lnTo>
                      <a:lnTo>
                        <a:pt x="48" y="62"/>
                      </a:lnTo>
                      <a:lnTo>
                        <a:pt x="48" y="62"/>
                      </a:lnTo>
                      <a:lnTo>
                        <a:pt x="48" y="66"/>
                      </a:lnTo>
                      <a:lnTo>
                        <a:pt x="48" y="66"/>
                      </a:lnTo>
                      <a:lnTo>
                        <a:pt x="48" y="66"/>
                      </a:lnTo>
                      <a:lnTo>
                        <a:pt x="52" y="66"/>
                      </a:lnTo>
                      <a:lnTo>
                        <a:pt x="48" y="66"/>
                      </a:lnTo>
                      <a:lnTo>
                        <a:pt x="48" y="70"/>
                      </a:lnTo>
                      <a:lnTo>
                        <a:pt x="48" y="74"/>
                      </a:lnTo>
                      <a:lnTo>
                        <a:pt x="48" y="74"/>
                      </a:lnTo>
                      <a:lnTo>
                        <a:pt x="48" y="74"/>
                      </a:lnTo>
                      <a:lnTo>
                        <a:pt x="48" y="74"/>
                      </a:lnTo>
                      <a:lnTo>
                        <a:pt x="48" y="74"/>
                      </a:lnTo>
                      <a:lnTo>
                        <a:pt x="48" y="74"/>
                      </a:lnTo>
                      <a:lnTo>
                        <a:pt x="48" y="74"/>
                      </a:lnTo>
                      <a:lnTo>
                        <a:pt x="48" y="78"/>
                      </a:lnTo>
                      <a:lnTo>
                        <a:pt x="48" y="78"/>
                      </a:lnTo>
                      <a:lnTo>
                        <a:pt x="48" y="78"/>
                      </a:lnTo>
                      <a:lnTo>
                        <a:pt x="48" y="82"/>
                      </a:lnTo>
                      <a:lnTo>
                        <a:pt x="48" y="82"/>
                      </a:lnTo>
                      <a:lnTo>
                        <a:pt x="48" y="82"/>
                      </a:lnTo>
                      <a:lnTo>
                        <a:pt x="48" y="82"/>
                      </a:lnTo>
                      <a:lnTo>
                        <a:pt x="48" y="82"/>
                      </a:lnTo>
                      <a:lnTo>
                        <a:pt x="48" y="82"/>
                      </a:lnTo>
                      <a:lnTo>
                        <a:pt x="48" y="86"/>
                      </a:lnTo>
                      <a:lnTo>
                        <a:pt x="52" y="86"/>
                      </a:lnTo>
                      <a:lnTo>
                        <a:pt x="52" y="86"/>
                      </a:lnTo>
                      <a:lnTo>
                        <a:pt x="52" y="86"/>
                      </a:lnTo>
                      <a:lnTo>
                        <a:pt x="52" y="86"/>
                      </a:lnTo>
                      <a:lnTo>
                        <a:pt x="52" y="86"/>
                      </a:lnTo>
                      <a:lnTo>
                        <a:pt x="52" y="86"/>
                      </a:lnTo>
                      <a:lnTo>
                        <a:pt x="52" y="88"/>
                      </a:lnTo>
                      <a:lnTo>
                        <a:pt x="52" y="88"/>
                      </a:lnTo>
                      <a:lnTo>
                        <a:pt x="52" y="88"/>
                      </a:lnTo>
                      <a:lnTo>
                        <a:pt x="52" y="88"/>
                      </a:lnTo>
                      <a:lnTo>
                        <a:pt x="56" y="88"/>
                      </a:lnTo>
                      <a:lnTo>
                        <a:pt x="56" y="88"/>
                      </a:lnTo>
                      <a:lnTo>
                        <a:pt x="60" y="88"/>
                      </a:lnTo>
                      <a:lnTo>
                        <a:pt x="60" y="88"/>
                      </a:lnTo>
                      <a:lnTo>
                        <a:pt x="60" y="92"/>
                      </a:lnTo>
                      <a:lnTo>
                        <a:pt x="60" y="92"/>
                      </a:lnTo>
                      <a:lnTo>
                        <a:pt x="60" y="92"/>
                      </a:lnTo>
                      <a:lnTo>
                        <a:pt x="60" y="92"/>
                      </a:lnTo>
                      <a:lnTo>
                        <a:pt x="60" y="92"/>
                      </a:lnTo>
                      <a:lnTo>
                        <a:pt x="60" y="96"/>
                      </a:lnTo>
                      <a:lnTo>
                        <a:pt x="60" y="96"/>
                      </a:lnTo>
                      <a:lnTo>
                        <a:pt x="60" y="96"/>
                      </a:lnTo>
                      <a:lnTo>
                        <a:pt x="60" y="100"/>
                      </a:lnTo>
                      <a:lnTo>
                        <a:pt x="60" y="100"/>
                      </a:lnTo>
                      <a:lnTo>
                        <a:pt x="64" y="104"/>
                      </a:lnTo>
                      <a:lnTo>
                        <a:pt x="64" y="104"/>
                      </a:lnTo>
                      <a:lnTo>
                        <a:pt x="64" y="108"/>
                      </a:lnTo>
                      <a:lnTo>
                        <a:pt x="64" y="108"/>
                      </a:lnTo>
                      <a:lnTo>
                        <a:pt x="68" y="112"/>
                      </a:lnTo>
                      <a:lnTo>
                        <a:pt x="68" y="112"/>
                      </a:lnTo>
                      <a:lnTo>
                        <a:pt x="68" y="112"/>
                      </a:lnTo>
                      <a:lnTo>
                        <a:pt x="68" y="112"/>
                      </a:lnTo>
                      <a:lnTo>
                        <a:pt x="68" y="112"/>
                      </a:lnTo>
                      <a:lnTo>
                        <a:pt x="70" y="114"/>
                      </a:lnTo>
                      <a:lnTo>
                        <a:pt x="70" y="114"/>
                      </a:lnTo>
                      <a:lnTo>
                        <a:pt x="68" y="114"/>
                      </a:lnTo>
                      <a:lnTo>
                        <a:pt x="68" y="114"/>
                      </a:lnTo>
                      <a:lnTo>
                        <a:pt x="68" y="114"/>
                      </a:lnTo>
                      <a:lnTo>
                        <a:pt x="68" y="114"/>
                      </a:lnTo>
                      <a:lnTo>
                        <a:pt x="68" y="114"/>
                      </a:lnTo>
                      <a:lnTo>
                        <a:pt x="68" y="114"/>
                      </a:lnTo>
                      <a:lnTo>
                        <a:pt x="68" y="114"/>
                      </a:lnTo>
                      <a:lnTo>
                        <a:pt x="64" y="114"/>
                      </a:lnTo>
                      <a:lnTo>
                        <a:pt x="64" y="114"/>
                      </a:lnTo>
                      <a:lnTo>
                        <a:pt x="64" y="114"/>
                      </a:lnTo>
                      <a:lnTo>
                        <a:pt x="60" y="112"/>
                      </a:lnTo>
                      <a:lnTo>
                        <a:pt x="60" y="112"/>
                      </a:lnTo>
                      <a:lnTo>
                        <a:pt x="60" y="112"/>
                      </a:lnTo>
                      <a:lnTo>
                        <a:pt x="60" y="112"/>
                      </a:lnTo>
                      <a:lnTo>
                        <a:pt x="60" y="112"/>
                      </a:lnTo>
                      <a:lnTo>
                        <a:pt x="60" y="114"/>
                      </a:lnTo>
                      <a:lnTo>
                        <a:pt x="60" y="112"/>
                      </a:lnTo>
                      <a:lnTo>
                        <a:pt x="60" y="112"/>
                      </a:lnTo>
                      <a:lnTo>
                        <a:pt x="56" y="112"/>
                      </a:lnTo>
                      <a:lnTo>
                        <a:pt x="56" y="114"/>
                      </a:lnTo>
                      <a:lnTo>
                        <a:pt x="56" y="114"/>
                      </a:lnTo>
                      <a:lnTo>
                        <a:pt x="56" y="114"/>
                      </a:lnTo>
                      <a:lnTo>
                        <a:pt x="56" y="118"/>
                      </a:lnTo>
                      <a:lnTo>
                        <a:pt x="56" y="118"/>
                      </a:lnTo>
                      <a:lnTo>
                        <a:pt x="56" y="118"/>
                      </a:lnTo>
                      <a:lnTo>
                        <a:pt x="52" y="118"/>
                      </a:lnTo>
                      <a:lnTo>
                        <a:pt x="52" y="118"/>
                      </a:lnTo>
                      <a:lnTo>
                        <a:pt x="52" y="118"/>
                      </a:lnTo>
                      <a:lnTo>
                        <a:pt x="52" y="118"/>
                      </a:lnTo>
                      <a:lnTo>
                        <a:pt x="52" y="118"/>
                      </a:lnTo>
                      <a:lnTo>
                        <a:pt x="48" y="118"/>
                      </a:lnTo>
                      <a:lnTo>
                        <a:pt x="48" y="118"/>
                      </a:lnTo>
                      <a:lnTo>
                        <a:pt x="48" y="118"/>
                      </a:lnTo>
                      <a:lnTo>
                        <a:pt x="48" y="122"/>
                      </a:lnTo>
                      <a:lnTo>
                        <a:pt x="44" y="122"/>
                      </a:lnTo>
                      <a:lnTo>
                        <a:pt x="44" y="118"/>
                      </a:lnTo>
                      <a:lnTo>
                        <a:pt x="44" y="118"/>
                      </a:lnTo>
                      <a:lnTo>
                        <a:pt x="40" y="122"/>
                      </a:lnTo>
                      <a:lnTo>
                        <a:pt x="40" y="122"/>
                      </a:lnTo>
                      <a:lnTo>
                        <a:pt x="40" y="122"/>
                      </a:lnTo>
                      <a:lnTo>
                        <a:pt x="40" y="122"/>
                      </a:lnTo>
                      <a:lnTo>
                        <a:pt x="40" y="122"/>
                      </a:lnTo>
                      <a:lnTo>
                        <a:pt x="40" y="126"/>
                      </a:lnTo>
                      <a:lnTo>
                        <a:pt x="40" y="126"/>
                      </a:lnTo>
                      <a:lnTo>
                        <a:pt x="38" y="126"/>
                      </a:lnTo>
                      <a:lnTo>
                        <a:pt x="38" y="126"/>
                      </a:lnTo>
                      <a:lnTo>
                        <a:pt x="38" y="126"/>
                      </a:lnTo>
                      <a:lnTo>
                        <a:pt x="38" y="126"/>
                      </a:lnTo>
                      <a:lnTo>
                        <a:pt x="38" y="126"/>
                      </a:lnTo>
                      <a:lnTo>
                        <a:pt x="38" y="126"/>
                      </a:lnTo>
                      <a:lnTo>
                        <a:pt x="38" y="126"/>
                      </a:lnTo>
                      <a:lnTo>
                        <a:pt x="34" y="126"/>
                      </a:lnTo>
                      <a:lnTo>
                        <a:pt x="34" y="126"/>
                      </a:lnTo>
                      <a:lnTo>
                        <a:pt x="34" y="126"/>
                      </a:lnTo>
                      <a:lnTo>
                        <a:pt x="34" y="122"/>
                      </a:lnTo>
                      <a:lnTo>
                        <a:pt x="34" y="122"/>
                      </a:lnTo>
                      <a:lnTo>
                        <a:pt x="34" y="122"/>
                      </a:lnTo>
                      <a:lnTo>
                        <a:pt x="30" y="122"/>
                      </a:lnTo>
                      <a:lnTo>
                        <a:pt x="30" y="118"/>
                      </a:lnTo>
                      <a:lnTo>
                        <a:pt x="26" y="118"/>
                      </a:lnTo>
                      <a:lnTo>
                        <a:pt x="26" y="118"/>
                      </a:lnTo>
                      <a:lnTo>
                        <a:pt x="26" y="118"/>
                      </a:lnTo>
                      <a:lnTo>
                        <a:pt x="26" y="118"/>
                      </a:lnTo>
                      <a:lnTo>
                        <a:pt x="26" y="114"/>
                      </a:lnTo>
                      <a:lnTo>
                        <a:pt x="26" y="114"/>
                      </a:lnTo>
                      <a:lnTo>
                        <a:pt x="26" y="114"/>
                      </a:lnTo>
                      <a:lnTo>
                        <a:pt x="22" y="114"/>
                      </a:lnTo>
                      <a:lnTo>
                        <a:pt x="22" y="114"/>
                      </a:lnTo>
                      <a:lnTo>
                        <a:pt x="22" y="114"/>
                      </a:lnTo>
                      <a:lnTo>
                        <a:pt x="22" y="112"/>
                      </a:lnTo>
                      <a:lnTo>
                        <a:pt x="22" y="108"/>
                      </a:lnTo>
                      <a:lnTo>
                        <a:pt x="22" y="108"/>
                      </a:lnTo>
                      <a:lnTo>
                        <a:pt x="22" y="108"/>
                      </a:lnTo>
                      <a:lnTo>
                        <a:pt x="22" y="108"/>
                      </a:lnTo>
                      <a:lnTo>
                        <a:pt x="22" y="108"/>
                      </a:lnTo>
                      <a:lnTo>
                        <a:pt x="22" y="108"/>
                      </a:lnTo>
                      <a:lnTo>
                        <a:pt x="22" y="104"/>
                      </a:lnTo>
                      <a:lnTo>
                        <a:pt x="22" y="104"/>
                      </a:lnTo>
                      <a:lnTo>
                        <a:pt x="22" y="104"/>
                      </a:lnTo>
                      <a:lnTo>
                        <a:pt x="18" y="104"/>
                      </a:lnTo>
                      <a:lnTo>
                        <a:pt x="18" y="100"/>
                      </a:lnTo>
                      <a:lnTo>
                        <a:pt x="18" y="96"/>
                      </a:lnTo>
                      <a:lnTo>
                        <a:pt x="18" y="96"/>
                      </a:lnTo>
                      <a:lnTo>
                        <a:pt x="18" y="96"/>
                      </a:lnTo>
                      <a:lnTo>
                        <a:pt x="22" y="92"/>
                      </a:lnTo>
                      <a:lnTo>
                        <a:pt x="22" y="92"/>
                      </a:lnTo>
                      <a:lnTo>
                        <a:pt x="22" y="88"/>
                      </a:lnTo>
                      <a:lnTo>
                        <a:pt x="22" y="88"/>
                      </a:lnTo>
                      <a:lnTo>
                        <a:pt x="22" y="88"/>
                      </a:lnTo>
                      <a:lnTo>
                        <a:pt x="22" y="88"/>
                      </a:lnTo>
                      <a:lnTo>
                        <a:pt x="22" y="86"/>
                      </a:lnTo>
                      <a:lnTo>
                        <a:pt x="22" y="86"/>
                      </a:lnTo>
                      <a:lnTo>
                        <a:pt x="22" y="86"/>
                      </a:lnTo>
                      <a:lnTo>
                        <a:pt x="26" y="82"/>
                      </a:lnTo>
                      <a:lnTo>
                        <a:pt x="26" y="82"/>
                      </a:lnTo>
                      <a:lnTo>
                        <a:pt x="26" y="78"/>
                      </a:lnTo>
                      <a:lnTo>
                        <a:pt x="22" y="74"/>
                      </a:lnTo>
                      <a:lnTo>
                        <a:pt x="22" y="74"/>
                      </a:lnTo>
                      <a:lnTo>
                        <a:pt x="22" y="74"/>
                      </a:lnTo>
                      <a:lnTo>
                        <a:pt x="22" y="74"/>
                      </a:lnTo>
                      <a:lnTo>
                        <a:pt x="26" y="70"/>
                      </a:lnTo>
                      <a:lnTo>
                        <a:pt x="26" y="70"/>
                      </a:lnTo>
                      <a:lnTo>
                        <a:pt x="22" y="70"/>
                      </a:lnTo>
                      <a:lnTo>
                        <a:pt x="22" y="70"/>
                      </a:lnTo>
                      <a:lnTo>
                        <a:pt x="22" y="70"/>
                      </a:lnTo>
                      <a:lnTo>
                        <a:pt x="18" y="70"/>
                      </a:lnTo>
                      <a:lnTo>
                        <a:pt x="18" y="70"/>
                      </a:lnTo>
                      <a:lnTo>
                        <a:pt x="18" y="70"/>
                      </a:lnTo>
                      <a:lnTo>
                        <a:pt x="18" y="70"/>
                      </a:lnTo>
                      <a:lnTo>
                        <a:pt x="18" y="70"/>
                      </a:lnTo>
                      <a:lnTo>
                        <a:pt x="18" y="66"/>
                      </a:lnTo>
                      <a:lnTo>
                        <a:pt x="18" y="66"/>
                      </a:lnTo>
                      <a:lnTo>
                        <a:pt x="18" y="66"/>
                      </a:lnTo>
                      <a:lnTo>
                        <a:pt x="18" y="66"/>
                      </a:lnTo>
                      <a:lnTo>
                        <a:pt x="18" y="66"/>
                      </a:lnTo>
                      <a:lnTo>
                        <a:pt x="18" y="62"/>
                      </a:lnTo>
                      <a:lnTo>
                        <a:pt x="18" y="58"/>
                      </a:lnTo>
                      <a:lnTo>
                        <a:pt x="18" y="58"/>
                      </a:lnTo>
                      <a:lnTo>
                        <a:pt x="18" y="58"/>
                      </a:lnTo>
                      <a:lnTo>
                        <a:pt x="18" y="58"/>
                      </a:lnTo>
                      <a:lnTo>
                        <a:pt x="18" y="58"/>
                      </a:lnTo>
                      <a:lnTo>
                        <a:pt x="18" y="56"/>
                      </a:lnTo>
                      <a:lnTo>
                        <a:pt x="18" y="56"/>
                      </a:lnTo>
                      <a:lnTo>
                        <a:pt x="14" y="56"/>
                      </a:lnTo>
                      <a:lnTo>
                        <a:pt x="14" y="58"/>
                      </a:lnTo>
                      <a:lnTo>
                        <a:pt x="14" y="58"/>
                      </a:lnTo>
                      <a:lnTo>
                        <a:pt x="12" y="58"/>
                      </a:lnTo>
                      <a:lnTo>
                        <a:pt x="12" y="58"/>
                      </a:lnTo>
                      <a:lnTo>
                        <a:pt x="12" y="58"/>
                      </a:lnTo>
                      <a:lnTo>
                        <a:pt x="12" y="58"/>
                      </a:lnTo>
                      <a:lnTo>
                        <a:pt x="12" y="58"/>
                      </a:lnTo>
                      <a:lnTo>
                        <a:pt x="8" y="58"/>
                      </a:lnTo>
                      <a:lnTo>
                        <a:pt x="8" y="56"/>
                      </a:lnTo>
                      <a:lnTo>
                        <a:pt x="8" y="56"/>
                      </a:lnTo>
                      <a:lnTo>
                        <a:pt x="4" y="52"/>
                      </a:lnTo>
                      <a:lnTo>
                        <a:pt x="0" y="44"/>
                      </a:lnTo>
                      <a:lnTo>
                        <a:pt x="0" y="44"/>
                      </a:lnTo>
                      <a:lnTo>
                        <a:pt x="0" y="44"/>
                      </a:lnTo>
                      <a:lnTo>
                        <a:pt x="0" y="44"/>
                      </a:lnTo>
                      <a:lnTo>
                        <a:pt x="0" y="44"/>
                      </a:lnTo>
                      <a:lnTo>
                        <a:pt x="0" y="44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4" y="36"/>
                      </a:lnTo>
                      <a:lnTo>
                        <a:pt x="4" y="36"/>
                      </a:lnTo>
                      <a:lnTo>
                        <a:pt x="4" y="32"/>
                      </a:lnTo>
                      <a:lnTo>
                        <a:pt x="4" y="32"/>
                      </a:lnTo>
                      <a:lnTo>
                        <a:pt x="4" y="32"/>
                      </a:lnTo>
                      <a:lnTo>
                        <a:pt x="4" y="32"/>
                      </a:lnTo>
                      <a:lnTo>
                        <a:pt x="4" y="32"/>
                      </a:lnTo>
                      <a:lnTo>
                        <a:pt x="8" y="32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12" y="32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4" y="30"/>
                      </a:lnTo>
                      <a:lnTo>
                        <a:pt x="14" y="30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4" y="22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2" y="18"/>
                      </a:lnTo>
                      <a:lnTo>
                        <a:pt x="12" y="18"/>
                      </a:lnTo>
                      <a:lnTo>
                        <a:pt x="12" y="18"/>
                      </a:lnTo>
                      <a:lnTo>
                        <a:pt x="12" y="18"/>
                      </a:lnTo>
                      <a:lnTo>
                        <a:pt x="12" y="18"/>
                      </a:lnTo>
                      <a:lnTo>
                        <a:pt x="12" y="18"/>
                      </a:lnTo>
                      <a:lnTo>
                        <a:pt x="12" y="14"/>
                      </a:lnTo>
                      <a:lnTo>
                        <a:pt x="12" y="14"/>
                      </a:lnTo>
                      <a:lnTo>
                        <a:pt x="12" y="14"/>
                      </a:lnTo>
                      <a:lnTo>
                        <a:pt x="12" y="14"/>
                      </a:lnTo>
                      <a:lnTo>
                        <a:pt x="14" y="10"/>
                      </a:lnTo>
                      <a:lnTo>
                        <a:pt x="14" y="10"/>
                      </a:lnTo>
                      <a:lnTo>
                        <a:pt x="14" y="10"/>
                      </a:lnTo>
                      <a:lnTo>
                        <a:pt x="18" y="10"/>
                      </a:lnTo>
                      <a:lnTo>
                        <a:pt x="18" y="10"/>
                      </a:lnTo>
                      <a:lnTo>
                        <a:pt x="18" y="10"/>
                      </a:lnTo>
                      <a:lnTo>
                        <a:pt x="18" y="10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22" y="6"/>
                      </a:lnTo>
                      <a:lnTo>
                        <a:pt x="22" y="6"/>
                      </a:lnTo>
                      <a:lnTo>
                        <a:pt x="22" y="6"/>
                      </a:lnTo>
                      <a:lnTo>
                        <a:pt x="22" y="6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30" y="6"/>
                      </a:lnTo>
                      <a:lnTo>
                        <a:pt x="34" y="10"/>
                      </a:lnTo>
                      <a:lnTo>
                        <a:pt x="34" y="10"/>
                      </a:lnTo>
                      <a:lnTo>
                        <a:pt x="34" y="10"/>
                      </a:lnTo>
                      <a:lnTo>
                        <a:pt x="34" y="10"/>
                      </a:lnTo>
                      <a:lnTo>
                        <a:pt x="34" y="10"/>
                      </a:lnTo>
                      <a:lnTo>
                        <a:pt x="34" y="10"/>
                      </a:lnTo>
                      <a:lnTo>
                        <a:pt x="38" y="14"/>
                      </a:lnTo>
                      <a:lnTo>
                        <a:pt x="38" y="14"/>
                      </a:lnTo>
                      <a:lnTo>
                        <a:pt x="38" y="14"/>
                      </a:lnTo>
                      <a:lnTo>
                        <a:pt x="38" y="18"/>
                      </a:lnTo>
                      <a:lnTo>
                        <a:pt x="38" y="18"/>
                      </a:lnTo>
                      <a:lnTo>
                        <a:pt x="40" y="22"/>
                      </a:lnTo>
                      <a:lnTo>
                        <a:pt x="40" y="22"/>
                      </a:lnTo>
                      <a:lnTo>
                        <a:pt x="40" y="26"/>
                      </a:lnTo>
                      <a:lnTo>
                        <a:pt x="40" y="26"/>
                      </a:lnTo>
                      <a:lnTo>
                        <a:pt x="40" y="26"/>
                      </a:lnTo>
                      <a:lnTo>
                        <a:pt x="40" y="26"/>
                      </a:lnTo>
                      <a:lnTo>
                        <a:pt x="40" y="26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0" y="32"/>
                      </a:lnTo>
                      <a:lnTo>
                        <a:pt x="40" y="36"/>
                      </a:lnTo>
                      <a:lnTo>
                        <a:pt x="38" y="36"/>
                      </a:lnTo>
                      <a:lnTo>
                        <a:pt x="40" y="36"/>
                      </a:lnTo>
                      <a:lnTo>
                        <a:pt x="40" y="36"/>
                      </a:lnTo>
                      <a:lnTo>
                        <a:pt x="40" y="36"/>
                      </a:lnTo>
                      <a:lnTo>
                        <a:pt x="40" y="36"/>
                      </a:lnTo>
                      <a:lnTo>
                        <a:pt x="40" y="36"/>
                      </a:lnTo>
                      <a:lnTo>
                        <a:pt x="40" y="32"/>
                      </a:lnTo>
                      <a:lnTo>
                        <a:pt x="40" y="32"/>
                      </a:lnTo>
                      <a:lnTo>
                        <a:pt x="40" y="32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0" y="30"/>
                      </a:lnTo>
                      <a:lnTo>
                        <a:pt x="44" y="30"/>
                      </a:lnTo>
                      <a:lnTo>
                        <a:pt x="44" y="30"/>
                      </a:lnTo>
                      <a:lnTo>
                        <a:pt x="44" y="30"/>
                      </a:lnTo>
                      <a:lnTo>
                        <a:pt x="44" y="30"/>
                      </a:lnTo>
                      <a:lnTo>
                        <a:pt x="44" y="30"/>
                      </a:lnTo>
                      <a:lnTo>
                        <a:pt x="44" y="30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39" name="Freeform 185"/>
                <p:cNvSpPr>
                  <a:spLocks/>
                </p:cNvSpPr>
                <p:nvPr/>
              </p:nvSpPr>
              <p:spPr bwMode="auto">
                <a:xfrm>
                  <a:off x="2984500" y="5089593"/>
                  <a:ext cx="190500" cy="231775"/>
                </a:xfrm>
                <a:custGeom>
                  <a:avLst/>
                  <a:gdLst>
                    <a:gd name="T0" fmla="*/ 68 w 120"/>
                    <a:gd name="T1" fmla="*/ 102 h 146"/>
                    <a:gd name="T2" fmla="*/ 64 w 120"/>
                    <a:gd name="T3" fmla="*/ 102 h 146"/>
                    <a:gd name="T4" fmla="*/ 56 w 120"/>
                    <a:gd name="T5" fmla="*/ 98 h 146"/>
                    <a:gd name="T6" fmla="*/ 50 w 120"/>
                    <a:gd name="T7" fmla="*/ 90 h 146"/>
                    <a:gd name="T8" fmla="*/ 38 w 120"/>
                    <a:gd name="T9" fmla="*/ 82 h 146"/>
                    <a:gd name="T10" fmla="*/ 34 w 120"/>
                    <a:gd name="T11" fmla="*/ 82 h 146"/>
                    <a:gd name="T12" fmla="*/ 26 w 120"/>
                    <a:gd name="T13" fmla="*/ 78 h 146"/>
                    <a:gd name="T14" fmla="*/ 20 w 120"/>
                    <a:gd name="T15" fmla="*/ 72 h 146"/>
                    <a:gd name="T16" fmla="*/ 16 w 120"/>
                    <a:gd name="T17" fmla="*/ 68 h 146"/>
                    <a:gd name="T18" fmla="*/ 12 w 120"/>
                    <a:gd name="T19" fmla="*/ 64 h 146"/>
                    <a:gd name="T20" fmla="*/ 8 w 120"/>
                    <a:gd name="T21" fmla="*/ 56 h 146"/>
                    <a:gd name="T22" fmla="*/ 0 w 120"/>
                    <a:gd name="T23" fmla="*/ 52 h 146"/>
                    <a:gd name="T24" fmla="*/ 4 w 120"/>
                    <a:gd name="T25" fmla="*/ 38 h 146"/>
                    <a:gd name="T26" fmla="*/ 8 w 120"/>
                    <a:gd name="T27" fmla="*/ 18 h 146"/>
                    <a:gd name="T28" fmla="*/ 20 w 120"/>
                    <a:gd name="T29" fmla="*/ 4 h 146"/>
                    <a:gd name="T30" fmla="*/ 38 w 120"/>
                    <a:gd name="T31" fmla="*/ 0 h 146"/>
                    <a:gd name="T32" fmla="*/ 64 w 120"/>
                    <a:gd name="T33" fmla="*/ 8 h 146"/>
                    <a:gd name="T34" fmla="*/ 64 w 120"/>
                    <a:gd name="T35" fmla="*/ 16 h 146"/>
                    <a:gd name="T36" fmla="*/ 68 w 120"/>
                    <a:gd name="T37" fmla="*/ 22 h 146"/>
                    <a:gd name="T38" fmla="*/ 68 w 120"/>
                    <a:gd name="T39" fmla="*/ 38 h 146"/>
                    <a:gd name="T40" fmla="*/ 68 w 120"/>
                    <a:gd name="T41" fmla="*/ 48 h 146"/>
                    <a:gd name="T42" fmla="*/ 72 w 120"/>
                    <a:gd name="T43" fmla="*/ 48 h 146"/>
                    <a:gd name="T44" fmla="*/ 80 w 120"/>
                    <a:gd name="T45" fmla="*/ 52 h 146"/>
                    <a:gd name="T46" fmla="*/ 86 w 120"/>
                    <a:gd name="T47" fmla="*/ 52 h 146"/>
                    <a:gd name="T48" fmla="*/ 90 w 120"/>
                    <a:gd name="T49" fmla="*/ 48 h 146"/>
                    <a:gd name="T50" fmla="*/ 94 w 120"/>
                    <a:gd name="T51" fmla="*/ 52 h 146"/>
                    <a:gd name="T52" fmla="*/ 98 w 120"/>
                    <a:gd name="T53" fmla="*/ 56 h 146"/>
                    <a:gd name="T54" fmla="*/ 102 w 120"/>
                    <a:gd name="T55" fmla="*/ 56 h 146"/>
                    <a:gd name="T56" fmla="*/ 102 w 120"/>
                    <a:gd name="T57" fmla="*/ 68 h 146"/>
                    <a:gd name="T58" fmla="*/ 102 w 120"/>
                    <a:gd name="T59" fmla="*/ 76 h 146"/>
                    <a:gd name="T60" fmla="*/ 106 w 120"/>
                    <a:gd name="T61" fmla="*/ 82 h 146"/>
                    <a:gd name="T62" fmla="*/ 110 w 120"/>
                    <a:gd name="T63" fmla="*/ 82 h 146"/>
                    <a:gd name="T64" fmla="*/ 120 w 120"/>
                    <a:gd name="T65" fmla="*/ 82 h 146"/>
                    <a:gd name="T66" fmla="*/ 120 w 120"/>
                    <a:gd name="T67" fmla="*/ 86 h 146"/>
                    <a:gd name="T68" fmla="*/ 120 w 120"/>
                    <a:gd name="T69" fmla="*/ 90 h 146"/>
                    <a:gd name="T70" fmla="*/ 120 w 120"/>
                    <a:gd name="T71" fmla="*/ 94 h 146"/>
                    <a:gd name="T72" fmla="*/ 116 w 120"/>
                    <a:gd name="T73" fmla="*/ 104 h 146"/>
                    <a:gd name="T74" fmla="*/ 116 w 120"/>
                    <a:gd name="T75" fmla="*/ 108 h 146"/>
                    <a:gd name="T76" fmla="*/ 116 w 120"/>
                    <a:gd name="T77" fmla="*/ 124 h 146"/>
                    <a:gd name="T78" fmla="*/ 114 w 120"/>
                    <a:gd name="T79" fmla="*/ 130 h 146"/>
                    <a:gd name="T80" fmla="*/ 110 w 120"/>
                    <a:gd name="T81" fmla="*/ 134 h 146"/>
                    <a:gd name="T82" fmla="*/ 102 w 120"/>
                    <a:gd name="T83" fmla="*/ 138 h 146"/>
                    <a:gd name="T84" fmla="*/ 102 w 120"/>
                    <a:gd name="T85" fmla="*/ 146 h 146"/>
                    <a:gd name="T86" fmla="*/ 98 w 120"/>
                    <a:gd name="T87" fmla="*/ 142 h 146"/>
                    <a:gd name="T88" fmla="*/ 90 w 120"/>
                    <a:gd name="T89" fmla="*/ 146 h 146"/>
                    <a:gd name="T90" fmla="*/ 90 w 120"/>
                    <a:gd name="T91" fmla="*/ 146 h 146"/>
                    <a:gd name="T92" fmla="*/ 86 w 120"/>
                    <a:gd name="T93" fmla="*/ 146 h 146"/>
                    <a:gd name="T94" fmla="*/ 84 w 120"/>
                    <a:gd name="T95" fmla="*/ 146 h 146"/>
                    <a:gd name="T96" fmla="*/ 80 w 120"/>
                    <a:gd name="T97" fmla="*/ 146 h 146"/>
                    <a:gd name="T98" fmla="*/ 76 w 120"/>
                    <a:gd name="T99" fmla="*/ 146 h 146"/>
                    <a:gd name="T100" fmla="*/ 72 w 120"/>
                    <a:gd name="T101" fmla="*/ 142 h 146"/>
                    <a:gd name="T102" fmla="*/ 60 w 120"/>
                    <a:gd name="T103" fmla="*/ 142 h 146"/>
                    <a:gd name="T104" fmla="*/ 56 w 120"/>
                    <a:gd name="T105" fmla="*/ 138 h 146"/>
                    <a:gd name="T106" fmla="*/ 64 w 120"/>
                    <a:gd name="T107" fmla="*/ 134 h 146"/>
                    <a:gd name="T108" fmla="*/ 64 w 120"/>
                    <a:gd name="T109" fmla="*/ 124 h 146"/>
                    <a:gd name="T110" fmla="*/ 68 w 120"/>
                    <a:gd name="T111" fmla="*/ 116 h 146"/>
                    <a:gd name="T112" fmla="*/ 76 w 120"/>
                    <a:gd name="T113" fmla="*/ 108 h 1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20" h="146">
                      <a:moveTo>
                        <a:pt x="72" y="104"/>
                      </a:moveTo>
                      <a:lnTo>
                        <a:pt x="72" y="104"/>
                      </a:lnTo>
                      <a:lnTo>
                        <a:pt x="72" y="104"/>
                      </a:lnTo>
                      <a:lnTo>
                        <a:pt x="72" y="104"/>
                      </a:lnTo>
                      <a:lnTo>
                        <a:pt x="72" y="104"/>
                      </a:lnTo>
                      <a:lnTo>
                        <a:pt x="68" y="102"/>
                      </a:lnTo>
                      <a:lnTo>
                        <a:pt x="68" y="102"/>
                      </a:lnTo>
                      <a:lnTo>
                        <a:pt x="68" y="102"/>
                      </a:lnTo>
                      <a:lnTo>
                        <a:pt x="68" y="102"/>
                      </a:lnTo>
                      <a:lnTo>
                        <a:pt x="68" y="102"/>
                      </a:lnTo>
                      <a:lnTo>
                        <a:pt x="64" y="102"/>
                      </a:lnTo>
                      <a:lnTo>
                        <a:pt x="64" y="102"/>
                      </a:lnTo>
                      <a:lnTo>
                        <a:pt x="64" y="102"/>
                      </a:lnTo>
                      <a:lnTo>
                        <a:pt x="64" y="102"/>
                      </a:lnTo>
                      <a:lnTo>
                        <a:pt x="60" y="98"/>
                      </a:lnTo>
                      <a:lnTo>
                        <a:pt x="60" y="98"/>
                      </a:lnTo>
                      <a:lnTo>
                        <a:pt x="60" y="98"/>
                      </a:lnTo>
                      <a:lnTo>
                        <a:pt x="60" y="98"/>
                      </a:lnTo>
                      <a:lnTo>
                        <a:pt x="56" y="98"/>
                      </a:lnTo>
                      <a:lnTo>
                        <a:pt x="56" y="98"/>
                      </a:lnTo>
                      <a:lnTo>
                        <a:pt x="56" y="98"/>
                      </a:lnTo>
                      <a:lnTo>
                        <a:pt x="54" y="94"/>
                      </a:lnTo>
                      <a:lnTo>
                        <a:pt x="54" y="94"/>
                      </a:lnTo>
                      <a:lnTo>
                        <a:pt x="54" y="94"/>
                      </a:lnTo>
                      <a:lnTo>
                        <a:pt x="54" y="94"/>
                      </a:lnTo>
                      <a:lnTo>
                        <a:pt x="54" y="94"/>
                      </a:lnTo>
                      <a:lnTo>
                        <a:pt x="50" y="94"/>
                      </a:lnTo>
                      <a:lnTo>
                        <a:pt x="50" y="90"/>
                      </a:lnTo>
                      <a:lnTo>
                        <a:pt x="50" y="90"/>
                      </a:lnTo>
                      <a:lnTo>
                        <a:pt x="50" y="90"/>
                      </a:lnTo>
                      <a:lnTo>
                        <a:pt x="46" y="90"/>
                      </a:lnTo>
                      <a:lnTo>
                        <a:pt x="46" y="90"/>
                      </a:lnTo>
                      <a:lnTo>
                        <a:pt x="46" y="86"/>
                      </a:lnTo>
                      <a:lnTo>
                        <a:pt x="38" y="82"/>
                      </a:lnTo>
                      <a:lnTo>
                        <a:pt x="38" y="82"/>
                      </a:lnTo>
                      <a:lnTo>
                        <a:pt x="38" y="82"/>
                      </a:lnTo>
                      <a:lnTo>
                        <a:pt x="38" y="82"/>
                      </a:lnTo>
                      <a:lnTo>
                        <a:pt x="38" y="82"/>
                      </a:lnTo>
                      <a:lnTo>
                        <a:pt x="38" y="82"/>
                      </a:lnTo>
                      <a:lnTo>
                        <a:pt x="38" y="82"/>
                      </a:lnTo>
                      <a:lnTo>
                        <a:pt x="34" y="82"/>
                      </a:lnTo>
                      <a:lnTo>
                        <a:pt x="34" y="82"/>
                      </a:lnTo>
                      <a:lnTo>
                        <a:pt x="30" y="82"/>
                      </a:lnTo>
                      <a:lnTo>
                        <a:pt x="30" y="82"/>
                      </a:lnTo>
                      <a:lnTo>
                        <a:pt x="30" y="82"/>
                      </a:lnTo>
                      <a:lnTo>
                        <a:pt x="30" y="78"/>
                      </a:lnTo>
                      <a:lnTo>
                        <a:pt x="26" y="78"/>
                      </a:lnTo>
                      <a:lnTo>
                        <a:pt x="26" y="78"/>
                      </a:lnTo>
                      <a:lnTo>
                        <a:pt x="26" y="78"/>
                      </a:lnTo>
                      <a:lnTo>
                        <a:pt x="24" y="78"/>
                      </a:lnTo>
                      <a:lnTo>
                        <a:pt x="24" y="78"/>
                      </a:lnTo>
                      <a:lnTo>
                        <a:pt x="24" y="78"/>
                      </a:lnTo>
                      <a:lnTo>
                        <a:pt x="24" y="76"/>
                      </a:lnTo>
                      <a:lnTo>
                        <a:pt x="24" y="76"/>
                      </a:lnTo>
                      <a:lnTo>
                        <a:pt x="20" y="76"/>
                      </a:lnTo>
                      <a:lnTo>
                        <a:pt x="20" y="72"/>
                      </a:lnTo>
                      <a:lnTo>
                        <a:pt x="20" y="72"/>
                      </a:lnTo>
                      <a:lnTo>
                        <a:pt x="16" y="72"/>
                      </a:lnTo>
                      <a:lnTo>
                        <a:pt x="16" y="72"/>
                      </a:lnTo>
                      <a:lnTo>
                        <a:pt x="16" y="72"/>
                      </a:lnTo>
                      <a:lnTo>
                        <a:pt x="16" y="68"/>
                      </a:lnTo>
                      <a:lnTo>
                        <a:pt x="16" y="68"/>
                      </a:lnTo>
                      <a:lnTo>
                        <a:pt x="16" y="68"/>
                      </a:lnTo>
                      <a:lnTo>
                        <a:pt x="12" y="68"/>
                      </a:lnTo>
                      <a:lnTo>
                        <a:pt x="12" y="68"/>
                      </a:lnTo>
                      <a:lnTo>
                        <a:pt x="12" y="68"/>
                      </a:lnTo>
                      <a:lnTo>
                        <a:pt x="12" y="64"/>
                      </a:lnTo>
                      <a:lnTo>
                        <a:pt x="12" y="64"/>
                      </a:lnTo>
                      <a:lnTo>
                        <a:pt x="12" y="64"/>
                      </a:lnTo>
                      <a:lnTo>
                        <a:pt x="12" y="64"/>
                      </a:lnTo>
                      <a:lnTo>
                        <a:pt x="12" y="64"/>
                      </a:lnTo>
                      <a:lnTo>
                        <a:pt x="8" y="60"/>
                      </a:lnTo>
                      <a:lnTo>
                        <a:pt x="8" y="60"/>
                      </a:lnTo>
                      <a:lnTo>
                        <a:pt x="8" y="56"/>
                      </a:lnTo>
                      <a:lnTo>
                        <a:pt x="8" y="56"/>
                      </a:lnTo>
                      <a:lnTo>
                        <a:pt x="8" y="56"/>
                      </a:lnTo>
                      <a:lnTo>
                        <a:pt x="8" y="56"/>
                      </a:lnTo>
                      <a:lnTo>
                        <a:pt x="8" y="56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4" y="52"/>
                      </a:lnTo>
                      <a:lnTo>
                        <a:pt x="0" y="52"/>
                      </a:lnTo>
                      <a:lnTo>
                        <a:pt x="0" y="52"/>
                      </a:lnTo>
                      <a:lnTo>
                        <a:pt x="0" y="52"/>
                      </a:lnTo>
                      <a:lnTo>
                        <a:pt x="0" y="48"/>
                      </a:lnTo>
                      <a:lnTo>
                        <a:pt x="4" y="46"/>
                      </a:lnTo>
                      <a:lnTo>
                        <a:pt x="4" y="42"/>
                      </a:lnTo>
                      <a:lnTo>
                        <a:pt x="4" y="42"/>
                      </a:lnTo>
                      <a:lnTo>
                        <a:pt x="4" y="42"/>
                      </a:lnTo>
                      <a:lnTo>
                        <a:pt x="4" y="38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6" y="8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20" y="4"/>
                      </a:lnTo>
                      <a:lnTo>
                        <a:pt x="26" y="4"/>
                      </a:lnTo>
                      <a:lnTo>
                        <a:pt x="30" y="4"/>
                      </a:lnTo>
                      <a:lnTo>
                        <a:pt x="30" y="0"/>
                      </a:lnTo>
                      <a:lnTo>
                        <a:pt x="34" y="0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46" y="0"/>
                      </a:lnTo>
                      <a:lnTo>
                        <a:pt x="46" y="0"/>
                      </a:lnTo>
                      <a:lnTo>
                        <a:pt x="54" y="0"/>
                      </a:lnTo>
                      <a:lnTo>
                        <a:pt x="54" y="0"/>
                      </a:lnTo>
                      <a:lnTo>
                        <a:pt x="56" y="4"/>
                      </a:lnTo>
                      <a:lnTo>
                        <a:pt x="60" y="4"/>
                      </a:lnTo>
                      <a:lnTo>
                        <a:pt x="64" y="8"/>
                      </a:lnTo>
                      <a:lnTo>
                        <a:pt x="64" y="8"/>
                      </a:lnTo>
                      <a:lnTo>
                        <a:pt x="64" y="8"/>
                      </a:lnTo>
                      <a:lnTo>
                        <a:pt x="64" y="12"/>
                      </a:lnTo>
                      <a:lnTo>
                        <a:pt x="64" y="12"/>
                      </a:lnTo>
                      <a:lnTo>
                        <a:pt x="64" y="16"/>
                      </a:lnTo>
                      <a:lnTo>
                        <a:pt x="64" y="16"/>
                      </a:lnTo>
                      <a:lnTo>
                        <a:pt x="64" y="16"/>
                      </a:lnTo>
                      <a:lnTo>
                        <a:pt x="64" y="16"/>
                      </a:lnTo>
                      <a:lnTo>
                        <a:pt x="68" y="18"/>
                      </a:lnTo>
                      <a:lnTo>
                        <a:pt x="68" y="18"/>
                      </a:lnTo>
                      <a:lnTo>
                        <a:pt x="68" y="18"/>
                      </a:lnTo>
                      <a:lnTo>
                        <a:pt x="68" y="22"/>
                      </a:lnTo>
                      <a:lnTo>
                        <a:pt x="68" y="22"/>
                      </a:lnTo>
                      <a:lnTo>
                        <a:pt x="68" y="22"/>
                      </a:lnTo>
                      <a:lnTo>
                        <a:pt x="68" y="22"/>
                      </a:lnTo>
                      <a:lnTo>
                        <a:pt x="68" y="26"/>
                      </a:lnTo>
                      <a:lnTo>
                        <a:pt x="68" y="26"/>
                      </a:lnTo>
                      <a:lnTo>
                        <a:pt x="72" y="30"/>
                      </a:lnTo>
                      <a:lnTo>
                        <a:pt x="68" y="34"/>
                      </a:lnTo>
                      <a:lnTo>
                        <a:pt x="68" y="38"/>
                      </a:lnTo>
                      <a:lnTo>
                        <a:pt x="68" y="38"/>
                      </a:lnTo>
                      <a:lnTo>
                        <a:pt x="68" y="38"/>
                      </a:lnTo>
                      <a:lnTo>
                        <a:pt x="68" y="38"/>
                      </a:lnTo>
                      <a:lnTo>
                        <a:pt x="68" y="42"/>
                      </a:lnTo>
                      <a:lnTo>
                        <a:pt x="68" y="42"/>
                      </a:lnTo>
                      <a:lnTo>
                        <a:pt x="68" y="42"/>
                      </a:lnTo>
                      <a:lnTo>
                        <a:pt x="68" y="46"/>
                      </a:lnTo>
                      <a:lnTo>
                        <a:pt x="68" y="48"/>
                      </a:lnTo>
                      <a:lnTo>
                        <a:pt x="68" y="48"/>
                      </a:lnTo>
                      <a:lnTo>
                        <a:pt x="68" y="48"/>
                      </a:lnTo>
                      <a:lnTo>
                        <a:pt x="68" y="48"/>
                      </a:lnTo>
                      <a:lnTo>
                        <a:pt x="68" y="48"/>
                      </a:lnTo>
                      <a:lnTo>
                        <a:pt x="72" y="48"/>
                      </a:lnTo>
                      <a:lnTo>
                        <a:pt x="72" y="48"/>
                      </a:lnTo>
                      <a:lnTo>
                        <a:pt x="72" y="48"/>
                      </a:lnTo>
                      <a:lnTo>
                        <a:pt x="72" y="48"/>
                      </a:lnTo>
                      <a:lnTo>
                        <a:pt x="72" y="48"/>
                      </a:lnTo>
                      <a:lnTo>
                        <a:pt x="76" y="52"/>
                      </a:lnTo>
                      <a:lnTo>
                        <a:pt x="76" y="52"/>
                      </a:lnTo>
                      <a:lnTo>
                        <a:pt x="80" y="52"/>
                      </a:lnTo>
                      <a:lnTo>
                        <a:pt x="80" y="52"/>
                      </a:lnTo>
                      <a:lnTo>
                        <a:pt x="80" y="52"/>
                      </a:lnTo>
                      <a:lnTo>
                        <a:pt x="84" y="52"/>
                      </a:lnTo>
                      <a:lnTo>
                        <a:pt x="84" y="52"/>
                      </a:lnTo>
                      <a:lnTo>
                        <a:pt x="84" y="52"/>
                      </a:lnTo>
                      <a:lnTo>
                        <a:pt x="86" y="52"/>
                      </a:lnTo>
                      <a:lnTo>
                        <a:pt x="86" y="52"/>
                      </a:lnTo>
                      <a:lnTo>
                        <a:pt x="86" y="52"/>
                      </a:lnTo>
                      <a:lnTo>
                        <a:pt x="86" y="52"/>
                      </a:lnTo>
                      <a:lnTo>
                        <a:pt x="86" y="52"/>
                      </a:lnTo>
                      <a:lnTo>
                        <a:pt x="86" y="48"/>
                      </a:lnTo>
                      <a:lnTo>
                        <a:pt x="86" y="48"/>
                      </a:lnTo>
                      <a:lnTo>
                        <a:pt x="86" y="48"/>
                      </a:lnTo>
                      <a:lnTo>
                        <a:pt x="86" y="48"/>
                      </a:lnTo>
                      <a:lnTo>
                        <a:pt x="90" y="48"/>
                      </a:lnTo>
                      <a:lnTo>
                        <a:pt x="90" y="48"/>
                      </a:lnTo>
                      <a:lnTo>
                        <a:pt x="90" y="48"/>
                      </a:lnTo>
                      <a:lnTo>
                        <a:pt x="90" y="48"/>
                      </a:lnTo>
                      <a:lnTo>
                        <a:pt x="90" y="48"/>
                      </a:lnTo>
                      <a:lnTo>
                        <a:pt x="90" y="48"/>
                      </a:lnTo>
                      <a:lnTo>
                        <a:pt x="90" y="52"/>
                      </a:lnTo>
                      <a:lnTo>
                        <a:pt x="94" y="52"/>
                      </a:lnTo>
                      <a:lnTo>
                        <a:pt x="94" y="52"/>
                      </a:lnTo>
                      <a:lnTo>
                        <a:pt x="94" y="52"/>
                      </a:lnTo>
                      <a:lnTo>
                        <a:pt x="94" y="52"/>
                      </a:lnTo>
                      <a:lnTo>
                        <a:pt x="98" y="52"/>
                      </a:lnTo>
                      <a:lnTo>
                        <a:pt x="98" y="52"/>
                      </a:lnTo>
                      <a:lnTo>
                        <a:pt x="98" y="52"/>
                      </a:lnTo>
                      <a:lnTo>
                        <a:pt x="98" y="56"/>
                      </a:lnTo>
                      <a:lnTo>
                        <a:pt x="98" y="56"/>
                      </a:lnTo>
                      <a:lnTo>
                        <a:pt x="98" y="56"/>
                      </a:lnTo>
                      <a:lnTo>
                        <a:pt x="98" y="56"/>
                      </a:lnTo>
                      <a:lnTo>
                        <a:pt x="102" y="56"/>
                      </a:lnTo>
                      <a:lnTo>
                        <a:pt x="102" y="56"/>
                      </a:lnTo>
                      <a:lnTo>
                        <a:pt x="102" y="56"/>
                      </a:lnTo>
                      <a:lnTo>
                        <a:pt x="102" y="56"/>
                      </a:lnTo>
                      <a:lnTo>
                        <a:pt x="102" y="56"/>
                      </a:lnTo>
                      <a:lnTo>
                        <a:pt x="102" y="60"/>
                      </a:lnTo>
                      <a:lnTo>
                        <a:pt x="102" y="60"/>
                      </a:lnTo>
                      <a:lnTo>
                        <a:pt x="102" y="60"/>
                      </a:lnTo>
                      <a:lnTo>
                        <a:pt x="102" y="60"/>
                      </a:lnTo>
                      <a:lnTo>
                        <a:pt x="102" y="64"/>
                      </a:lnTo>
                      <a:lnTo>
                        <a:pt x="102" y="64"/>
                      </a:lnTo>
                      <a:lnTo>
                        <a:pt x="102" y="68"/>
                      </a:lnTo>
                      <a:lnTo>
                        <a:pt x="102" y="68"/>
                      </a:lnTo>
                      <a:lnTo>
                        <a:pt x="102" y="72"/>
                      </a:lnTo>
                      <a:lnTo>
                        <a:pt x="102" y="72"/>
                      </a:lnTo>
                      <a:lnTo>
                        <a:pt x="102" y="72"/>
                      </a:lnTo>
                      <a:lnTo>
                        <a:pt x="102" y="72"/>
                      </a:lnTo>
                      <a:lnTo>
                        <a:pt x="102" y="76"/>
                      </a:lnTo>
                      <a:lnTo>
                        <a:pt x="102" y="76"/>
                      </a:lnTo>
                      <a:lnTo>
                        <a:pt x="102" y="76"/>
                      </a:lnTo>
                      <a:lnTo>
                        <a:pt x="106" y="76"/>
                      </a:lnTo>
                      <a:lnTo>
                        <a:pt x="106" y="78"/>
                      </a:lnTo>
                      <a:lnTo>
                        <a:pt x="106" y="78"/>
                      </a:lnTo>
                      <a:lnTo>
                        <a:pt x="106" y="78"/>
                      </a:lnTo>
                      <a:lnTo>
                        <a:pt x="106" y="78"/>
                      </a:lnTo>
                      <a:lnTo>
                        <a:pt x="106" y="82"/>
                      </a:lnTo>
                      <a:lnTo>
                        <a:pt x="106" y="82"/>
                      </a:lnTo>
                      <a:lnTo>
                        <a:pt x="106" y="82"/>
                      </a:lnTo>
                      <a:lnTo>
                        <a:pt x="106" y="82"/>
                      </a:lnTo>
                      <a:lnTo>
                        <a:pt x="106" y="82"/>
                      </a:lnTo>
                      <a:lnTo>
                        <a:pt x="110" y="82"/>
                      </a:lnTo>
                      <a:lnTo>
                        <a:pt x="110" y="82"/>
                      </a:lnTo>
                      <a:lnTo>
                        <a:pt x="110" y="82"/>
                      </a:lnTo>
                      <a:lnTo>
                        <a:pt x="110" y="82"/>
                      </a:lnTo>
                      <a:lnTo>
                        <a:pt x="114" y="82"/>
                      </a:lnTo>
                      <a:lnTo>
                        <a:pt x="114" y="82"/>
                      </a:lnTo>
                      <a:lnTo>
                        <a:pt x="114" y="82"/>
                      </a:lnTo>
                      <a:lnTo>
                        <a:pt x="116" y="78"/>
                      </a:lnTo>
                      <a:lnTo>
                        <a:pt x="116" y="78"/>
                      </a:lnTo>
                      <a:lnTo>
                        <a:pt x="120" y="82"/>
                      </a:lnTo>
                      <a:lnTo>
                        <a:pt x="120" y="82"/>
                      </a:lnTo>
                      <a:lnTo>
                        <a:pt x="120" y="82"/>
                      </a:lnTo>
                      <a:lnTo>
                        <a:pt x="120" y="82"/>
                      </a:lnTo>
                      <a:lnTo>
                        <a:pt x="120" y="82"/>
                      </a:lnTo>
                      <a:lnTo>
                        <a:pt x="120" y="86"/>
                      </a:lnTo>
                      <a:lnTo>
                        <a:pt x="120" y="86"/>
                      </a:lnTo>
                      <a:lnTo>
                        <a:pt x="120" y="86"/>
                      </a:lnTo>
                      <a:lnTo>
                        <a:pt x="120" y="86"/>
                      </a:lnTo>
                      <a:lnTo>
                        <a:pt x="120" y="86"/>
                      </a:lnTo>
                      <a:lnTo>
                        <a:pt x="120" y="86"/>
                      </a:lnTo>
                      <a:lnTo>
                        <a:pt x="120" y="90"/>
                      </a:lnTo>
                      <a:lnTo>
                        <a:pt x="120" y="90"/>
                      </a:lnTo>
                      <a:lnTo>
                        <a:pt x="120" y="90"/>
                      </a:lnTo>
                      <a:lnTo>
                        <a:pt x="120" y="90"/>
                      </a:lnTo>
                      <a:lnTo>
                        <a:pt x="120" y="90"/>
                      </a:lnTo>
                      <a:lnTo>
                        <a:pt x="120" y="90"/>
                      </a:lnTo>
                      <a:lnTo>
                        <a:pt x="120" y="94"/>
                      </a:lnTo>
                      <a:lnTo>
                        <a:pt x="120" y="94"/>
                      </a:lnTo>
                      <a:lnTo>
                        <a:pt x="120" y="94"/>
                      </a:lnTo>
                      <a:lnTo>
                        <a:pt x="120" y="94"/>
                      </a:lnTo>
                      <a:lnTo>
                        <a:pt x="120" y="94"/>
                      </a:lnTo>
                      <a:lnTo>
                        <a:pt x="120" y="94"/>
                      </a:lnTo>
                      <a:lnTo>
                        <a:pt x="120" y="98"/>
                      </a:lnTo>
                      <a:lnTo>
                        <a:pt x="120" y="98"/>
                      </a:lnTo>
                      <a:lnTo>
                        <a:pt x="116" y="102"/>
                      </a:lnTo>
                      <a:lnTo>
                        <a:pt x="116" y="102"/>
                      </a:lnTo>
                      <a:lnTo>
                        <a:pt x="116" y="102"/>
                      </a:lnTo>
                      <a:lnTo>
                        <a:pt x="116" y="104"/>
                      </a:lnTo>
                      <a:lnTo>
                        <a:pt x="116" y="104"/>
                      </a:lnTo>
                      <a:lnTo>
                        <a:pt x="116" y="104"/>
                      </a:lnTo>
                      <a:lnTo>
                        <a:pt x="116" y="104"/>
                      </a:lnTo>
                      <a:lnTo>
                        <a:pt x="116" y="104"/>
                      </a:lnTo>
                      <a:lnTo>
                        <a:pt x="116" y="108"/>
                      </a:lnTo>
                      <a:lnTo>
                        <a:pt x="116" y="108"/>
                      </a:lnTo>
                      <a:lnTo>
                        <a:pt x="116" y="108"/>
                      </a:lnTo>
                      <a:lnTo>
                        <a:pt x="116" y="112"/>
                      </a:lnTo>
                      <a:lnTo>
                        <a:pt x="116" y="112"/>
                      </a:lnTo>
                      <a:lnTo>
                        <a:pt x="116" y="116"/>
                      </a:lnTo>
                      <a:lnTo>
                        <a:pt x="116" y="116"/>
                      </a:lnTo>
                      <a:lnTo>
                        <a:pt x="116" y="120"/>
                      </a:lnTo>
                      <a:lnTo>
                        <a:pt x="116" y="120"/>
                      </a:lnTo>
                      <a:lnTo>
                        <a:pt x="116" y="124"/>
                      </a:lnTo>
                      <a:lnTo>
                        <a:pt x="116" y="124"/>
                      </a:lnTo>
                      <a:lnTo>
                        <a:pt x="116" y="124"/>
                      </a:lnTo>
                      <a:lnTo>
                        <a:pt x="116" y="124"/>
                      </a:lnTo>
                      <a:lnTo>
                        <a:pt x="114" y="126"/>
                      </a:lnTo>
                      <a:lnTo>
                        <a:pt x="114" y="130"/>
                      </a:lnTo>
                      <a:lnTo>
                        <a:pt x="114" y="130"/>
                      </a:lnTo>
                      <a:lnTo>
                        <a:pt x="114" y="130"/>
                      </a:lnTo>
                      <a:lnTo>
                        <a:pt x="114" y="130"/>
                      </a:lnTo>
                      <a:lnTo>
                        <a:pt x="114" y="130"/>
                      </a:lnTo>
                      <a:lnTo>
                        <a:pt x="110" y="130"/>
                      </a:lnTo>
                      <a:lnTo>
                        <a:pt x="110" y="130"/>
                      </a:lnTo>
                      <a:lnTo>
                        <a:pt x="110" y="134"/>
                      </a:lnTo>
                      <a:lnTo>
                        <a:pt x="110" y="134"/>
                      </a:lnTo>
                      <a:lnTo>
                        <a:pt x="110" y="134"/>
                      </a:lnTo>
                      <a:lnTo>
                        <a:pt x="110" y="134"/>
                      </a:lnTo>
                      <a:lnTo>
                        <a:pt x="106" y="134"/>
                      </a:lnTo>
                      <a:lnTo>
                        <a:pt x="106" y="134"/>
                      </a:lnTo>
                      <a:lnTo>
                        <a:pt x="106" y="134"/>
                      </a:lnTo>
                      <a:lnTo>
                        <a:pt x="106" y="134"/>
                      </a:lnTo>
                      <a:lnTo>
                        <a:pt x="106" y="134"/>
                      </a:lnTo>
                      <a:lnTo>
                        <a:pt x="102" y="138"/>
                      </a:lnTo>
                      <a:lnTo>
                        <a:pt x="102" y="138"/>
                      </a:lnTo>
                      <a:lnTo>
                        <a:pt x="102" y="142"/>
                      </a:lnTo>
                      <a:lnTo>
                        <a:pt x="102" y="142"/>
                      </a:lnTo>
                      <a:lnTo>
                        <a:pt x="102" y="142"/>
                      </a:lnTo>
                      <a:lnTo>
                        <a:pt x="102" y="142"/>
                      </a:lnTo>
                      <a:lnTo>
                        <a:pt x="102" y="142"/>
                      </a:lnTo>
                      <a:lnTo>
                        <a:pt x="102" y="146"/>
                      </a:lnTo>
                      <a:lnTo>
                        <a:pt x="98" y="146"/>
                      </a:lnTo>
                      <a:lnTo>
                        <a:pt x="98" y="142"/>
                      </a:lnTo>
                      <a:lnTo>
                        <a:pt x="98" y="142"/>
                      </a:lnTo>
                      <a:lnTo>
                        <a:pt x="98" y="142"/>
                      </a:lnTo>
                      <a:lnTo>
                        <a:pt x="98" y="142"/>
                      </a:lnTo>
                      <a:lnTo>
                        <a:pt x="98" y="142"/>
                      </a:lnTo>
                      <a:lnTo>
                        <a:pt x="98" y="142"/>
                      </a:lnTo>
                      <a:lnTo>
                        <a:pt x="94" y="142"/>
                      </a:lnTo>
                      <a:lnTo>
                        <a:pt x="94" y="142"/>
                      </a:lnTo>
                      <a:lnTo>
                        <a:pt x="94" y="142"/>
                      </a:lnTo>
                      <a:lnTo>
                        <a:pt x="94" y="142"/>
                      </a:lnTo>
                      <a:lnTo>
                        <a:pt x="90" y="142"/>
                      </a:lnTo>
                      <a:lnTo>
                        <a:pt x="90" y="146"/>
                      </a:lnTo>
                      <a:lnTo>
                        <a:pt x="90" y="146"/>
                      </a:lnTo>
                      <a:lnTo>
                        <a:pt x="90" y="146"/>
                      </a:lnTo>
                      <a:lnTo>
                        <a:pt x="90" y="146"/>
                      </a:lnTo>
                      <a:lnTo>
                        <a:pt x="90" y="146"/>
                      </a:lnTo>
                      <a:lnTo>
                        <a:pt x="90" y="146"/>
                      </a:lnTo>
                      <a:lnTo>
                        <a:pt x="90" y="146"/>
                      </a:lnTo>
                      <a:lnTo>
                        <a:pt x="90" y="146"/>
                      </a:lnTo>
                      <a:lnTo>
                        <a:pt x="90" y="146"/>
                      </a:lnTo>
                      <a:lnTo>
                        <a:pt x="90" y="146"/>
                      </a:lnTo>
                      <a:lnTo>
                        <a:pt x="90" y="146"/>
                      </a:lnTo>
                      <a:lnTo>
                        <a:pt x="86" y="146"/>
                      </a:lnTo>
                      <a:lnTo>
                        <a:pt x="86" y="146"/>
                      </a:lnTo>
                      <a:lnTo>
                        <a:pt x="86" y="146"/>
                      </a:lnTo>
                      <a:lnTo>
                        <a:pt x="86" y="146"/>
                      </a:lnTo>
                      <a:lnTo>
                        <a:pt x="86" y="146"/>
                      </a:lnTo>
                      <a:lnTo>
                        <a:pt x="86" y="146"/>
                      </a:lnTo>
                      <a:lnTo>
                        <a:pt x="86" y="146"/>
                      </a:lnTo>
                      <a:lnTo>
                        <a:pt x="86" y="146"/>
                      </a:lnTo>
                      <a:lnTo>
                        <a:pt x="86" y="146"/>
                      </a:lnTo>
                      <a:lnTo>
                        <a:pt x="84" y="146"/>
                      </a:lnTo>
                      <a:lnTo>
                        <a:pt x="84" y="146"/>
                      </a:lnTo>
                      <a:lnTo>
                        <a:pt x="84" y="146"/>
                      </a:lnTo>
                      <a:lnTo>
                        <a:pt x="84" y="146"/>
                      </a:lnTo>
                      <a:lnTo>
                        <a:pt x="84" y="146"/>
                      </a:lnTo>
                      <a:lnTo>
                        <a:pt x="84" y="146"/>
                      </a:lnTo>
                      <a:lnTo>
                        <a:pt x="84" y="146"/>
                      </a:lnTo>
                      <a:lnTo>
                        <a:pt x="84" y="146"/>
                      </a:lnTo>
                      <a:lnTo>
                        <a:pt x="84" y="146"/>
                      </a:lnTo>
                      <a:lnTo>
                        <a:pt x="80" y="146"/>
                      </a:lnTo>
                      <a:lnTo>
                        <a:pt x="80" y="146"/>
                      </a:lnTo>
                      <a:lnTo>
                        <a:pt x="80" y="146"/>
                      </a:lnTo>
                      <a:lnTo>
                        <a:pt x="80" y="146"/>
                      </a:lnTo>
                      <a:lnTo>
                        <a:pt x="80" y="146"/>
                      </a:lnTo>
                      <a:lnTo>
                        <a:pt x="80" y="146"/>
                      </a:lnTo>
                      <a:lnTo>
                        <a:pt x="80" y="146"/>
                      </a:lnTo>
                      <a:lnTo>
                        <a:pt x="76" y="146"/>
                      </a:lnTo>
                      <a:lnTo>
                        <a:pt x="76" y="146"/>
                      </a:lnTo>
                      <a:lnTo>
                        <a:pt x="76" y="146"/>
                      </a:lnTo>
                      <a:lnTo>
                        <a:pt x="72" y="142"/>
                      </a:lnTo>
                      <a:lnTo>
                        <a:pt x="72" y="142"/>
                      </a:lnTo>
                      <a:lnTo>
                        <a:pt x="72" y="142"/>
                      </a:lnTo>
                      <a:lnTo>
                        <a:pt x="72" y="142"/>
                      </a:lnTo>
                      <a:lnTo>
                        <a:pt x="72" y="142"/>
                      </a:lnTo>
                      <a:lnTo>
                        <a:pt x="72" y="142"/>
                      </a:lnTo>
                      <a:lnTo>
                        <a:pt x="68" y="142"/>
                      </a:lnTo>
                      <a:lnTo>
                        <a:pt x="68" y="142"/>
                      </a:lnTo>
                      <a:lnTo>
                        <a:pt x="64" y="142"/>
                      </a:lnTo>
                      <a:lnTo>
                        <a:pt x="64" y="142"/>
                      </a:lnTo>
                      <a:lnTo>
                        <a:pt x="60" y="142"/>
                      </a:lnTo>
                      <a:lnTo>
                        <a:pt x="60" y="142"/>
                      </a:lnTo>
                      <a:lnTo>
                        <a:pt x="60" y="142"/>
                      </a:lnTo>
                      <a:lnTo>
                        <a:pt x="60" y="142"/>
                      </a:lnTo>
                      <a:lnTo>
                        <a:pt x="60" y="142"/>
                      </a:lnTo>
                      <a:lnTo>
                        <a:pt x="60" y="142"/>
                      </a:lnTo>
                      <a:lnTo>
                        <a:pt x="60" y="142"/>
                      </a:lnTo>
                      <a:lnTo>
                        <a:pt x="56" y="138"/>
                      </a:lnTo>
                      <a:lnTo>
                        <a:pt x="56" y="138"/>
                      </a:lnTo>
                      <a:lnTo>
                        <a:pt x="60" y="138"/>
                      </a:lnTo>
                      <a:lnTo>
                        <a:pt x="60" y="138"/>
                      </a:lnTo>
                      <a:lnTo>
                        <a:pt x="60" y="138"/>
                      </a:lnTo>
                      <a:lnTo>
                        <a:pt x="60" y="134"/>
                      </a:lnTo>
                      <a:lnTo>
                        <a:pt x="60" y="134"/>
                      </a:lnTo>
                      <a:lnTo>
                        <a:pt x="64" y="134"/>
                      </a:lnTo>
                      <a:lnTo>
                        <a:pt x="64" y="134"/>
                      </a:lnTo>
                      <a:lnTo>
                        <a:pt x="64" y="130"/>
                      </a:lnTo>
                      <a:lnTo>
                        <a:pt x="64" y="130"/>
                      </a:lnTo>
                      <a:lnTo>
                        <a:pt x="64" y="126"/>
                      </a:lnTo>
                      <a:lnTo>
                        <a:pt x="64" y="126"/>
                      </a:lnTo>
                      <a:lnTo>
                        <a:pt x="64" y="126"/>
                      </a:lnTo>
                      <a:lnTo>
                        <a:pt x="64" y="124"/>
                      </a:lnTo>
                      <a:lnTo>
                        <a:pt x="64" y="124"/>
                      </a:lnTo>
                      <a:lnTo>
                        <a:pt x="64" y="124"/>
                      </a:lnTo>
                      <a:lnTo>
                        <a:pt x="68" y="120"/>
                      </a:lnTo>
                      <a:lnTo>
                        <a:pt x="68" y="120"/>
                      </a:lnTo>
                      <a:lnTo>
                        <a:pt x="68" y="120"/>
                      </a:lnTo>
                      <a:lnTo>
                        <a:pt x="68" y="120"/>
                      </a:lnTo>
                      <a:lnTo>
                        <a:pt x="68" y="116"/>
                      </a:lnTo>
                      <a:lnTo>
                        <a:pt x="68" y="116"/>
                      </a:lnTo>
                      <a:lnTo>
                        <a:pt x="72" y="116"/>
                      </a:lnTo>
                      <a:lnTo>
                        <a:pt x="72" y="116"/>
                      </a:lnTo>
                      <a:lnTo>
                        <a:pt x="72" y="116"/>
                      </a:lnTo>
                      <a:lnTo>
                        <a:pt x="72" y="112"/>
                      </a:lnTo>
                      <a:lnTo>
                        <a:pt x="76" y="112"/>
                      </a:lnTo>
                      <a:lnTo>
                        <a:pt x="76" y="108"/>
                      </a:lnTo>
                      <a:lnTo>
                        <a:pt x="76" y="108"/>
                      </a:lnTo>
                      <a:lnTo>
                        <a:pt x="72" y="108"/>
                      </a:lnTo>
                      <a:lnTo>
                        <a:pt x="72" y="108"/>
                      </a:lnTo>
                      <a:lnTo>
                        <a:pt x="72" y="104"/>
                      </a:lnTo>
                      <a:lnTo>
                        <a:pt x="72" y="104"/>
                      </a:lnTo>
                      <a:lnTo>
                        <a:pt x="72" y="104"/>
                      </a:lnTo>
                      <a:lnTo>
                        <a:pt x="72" y="104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0" name="Freeform 187"/>
                <p:cNvSpPr>
                  <a:spLocks/>
                </p:cNvSpPr>
                <p:nvPr/>
              </p:nvSpPr>
              <p:spPr bwMode="auto">
                <a:xfrm>
                  <a:off x="3092450" y="4397443"/>
                  <a:ext cx="88900" cy="111125"/>
                </a:xfrm>
                <a:custGeom>
                  <a:avLst/>
                  <a:gdLst>
                    <a:gd name="T0" fmla="*/ 42 w 56"/>
                    <a:gd name="T1" fmla="*/ 4 h 70"/>
                    <a:gd name="T2" fmla="*/ 42 w 56"/>
                    <a:gd name="T3" fmla="*/ 4 h 70"/>
                    <a:gd name="T4" fmla="*/ 42 w 56"/>
                    <a:gd name="T5" fmla="*/ 0 h 70"/>
                    <a:gd name="T6" fmla="*/ 46 w 56"/>
                    <a:gd name="T7" fmla="*/ 0 h 70"/>
                    <a:gd name="T8" fmla="*/ 52 w 56"/>
                    <a:gd name="T9" fmla="*/ 4 h 70"/>
                    <a:gd name="T10" fmla="*/ 56 w 56"/>
                    <a:gd name="T11" fmla="*/ 4 h 70"/>
                    <a:gd name="T12" fmla="*/ 56 w 56"/>
                    <a:gd name="T13" fmla="*/ 6 h 70"/>
                    <a:gd name="T14" fmla="*/ 52 w 56"/>
                    <a:gd name="T15" fmla="*/ 10 h 70"/>
                    <a:gd name="T16" fmla="*/ 52 w 56"/>
                    <a:gd name="T17" fmla="*/ 10 h 70"/>
                    <a:gd name="T18" fmla="*/ 52 w 56"/>
                    <a:gd name="T19" fmla="*/ 14 h 70"/>
                    <a:gd name="T20" fmla="*/ 48 w 56"/>
                    <a:gd name="T21" fmla="*/ 22 h 70"/>
                    <a:gd name="T22" fmla="*/ 48 w 56"/>
                    <a:gd name="T23" fmla="*/ 26 h 70"/>
                    <a:gd name="T24" fmla="*/ 48 w 56"/>
                    <a:gd name="T25" fmla="*/ 26 h 70"/>
                    <a:gd name="T26" fmla="*/ 52 w 56"/>
                    <a:gd name="T27" fmla="*/ 34 h 70"/>
                    <a:gd name="T28" fmla="*/ 56 w 56"/>
                    <a:gd name="T29" fmla="*/ 40 h 70"/>
                    <a:gd name="T30" fmla="*/ 56 w 56"/>
                    <a:gd name="T31" fmla="*/ 44 h 70"/>
                    <a:gd name="T32" fmla="*/ 52 w 56"/>
                    <a:gd name="T33" fmla="*/ 48 h 70"/>
                    <a:gd name="T34" fmla="*/ 52 w 56"/>
                    <a:gd name="T35" fmla="*/ 56 h 70"/>
                    <a:gd name="T36" fmla="*/ 52 w 56"/>
                    <a:gd name="T37" fmla="*/ 56 h 70"/>
                    <a:gd name="T38" fmla="*/ 48 w 56"/>
                    <a:gd name="T39" fmla="*/ 60 h 70"/>
                    <a:gd name="T40" fmla="*/ 46 w 56"/>
                    <a:gd name="T41" fmla="*/ 64 h 70"/>
                    <a:gd name="T42" fmla="*/ 46 w 56"/>
                    <a:gd name="T43" fmla="*/ 60 h 70"/>
                    <a:gd name="T44" fmla="*/ 46 w 56"/>
                    <a:gd name="T45" fmla="*/ 60 h 70"/>
                    <a:gd name="T46" fmla="*/ 34 w 56"/>
                    <a:gd name="T47" fmla="*/ 60 h 70"/>
                    <a:gd name="T48" fmla="*/ 30 w 56"/>
                    <a:gd name="T49" fmla="*/ 60 h 70"/>
                    <a:gd name="T50" fmla="*/ 26 w 56"/>
                    <a:gd name="T51" fmla="*/ 60 h 70"/>
                    <a:gd name="T52" fmla="*/ 30 w 56"/>
                    <a:gd name="T53" fmla="*/ 66 h 70"/>
                    <a:gd name="T54" fmla="*/ 30 w 56"/>
                    <a:gd name="T55" fmla="*/ 70 h 70"/>
                    <a:gd name="T56" fmla="*/ 26 w 56"/>
                    <a:gd name="T57" fmla="*/ 70 h 70"/>
                    <a:gd name="T58" fmla="*/ 22 w 56"/>
                    <a:gd name="T59" fmla="*/ 70 h 70"/>
                    <a:gd name="T60" fmla="*/ 18 w 56"/>
                    <a:gd name="T61" fmla="*/ 66 h 70"/>
                    <a:gd name="T62" fmla="*/ 14 w 56"/>
                    <a:gd name="T63" fmla="*/ 60 h 70"/>
                    <a:gd name="T64" fmla="*/ 12 w 56"/>
                    <a:gd name="T65" fmla="*/ 52 h 70"/>
                    <a:gd name="T66" fmla="*/ 12 w 56"/>
                    <a:gd name="T67" fmla="*/ 48 h 70"/>
                    <a:gd name="T68" fmla="*/ 12 w 56"/>
                    <a:gd name="T69" fmla="*/ 44 h 70"/>
                    <a:gd name="T70" fmla="*/ 4 w 56"/>
                    <a:gd name="T71" fmla="*/ 44 h 70"/>
                    <a:gd name="T72" fmla="*/ 4 w 56"/>
                    <a:gd name="T73" fmla="*/ 40 h 70"/>
                    <a:gd name="T74" fmla="*/ 4 w 56"/>
                    <a:gd name="T75" fmla="*/ 40 h 70"/>
                    <a:gd name="T76" fmla="*/ 0 w 56"/>
                    <a:gd name="T77" fmla="*/ 36 h 70"/>
                    <a:gd name="T78" fmla="*/ 0 w 56"/>
                    <a:gd name="T79" fmla="*/ 36 h 70"/>
                    <a:gd name="T80" fmla="*/ 0 w 56"/>
                    <a:gd name="T81" fmla="*/ 30 h 70"/>
                    <a:gd name="T82" fmla="*/ 0 w 56"/>
                    <a:gd name="T83" fmla="*/ 30 h 70"/>
                    <a:gd name="T84" fmla="*/ 0 w 56"/>
                    <a:gd name="T85" fmla="*/ 22 h 70"/>
                    <a:gd name="T86" fmla="*/ 0 w 56"/>
                    <a:gd name="T87" fmla="*/ 22 h 70"/>
                    <a:gd name="T88" fmla="*/ 4 w 56"/>
                    <a:gd name="T89" fmla="*/ 18 h 70"/>
                    <a:gd name="T90" fmla="*/ 8 w 56"/>
                    <a:gd name="T91" fmla="*/ 18 h 70"/>
                    <a:gd name="T92" fmla="*/ 12 w 56"/>
                    <a:gd name="T93" fmla="*/ 14 h 70"/>
                    <a:gd name="T94" fmla="*/ 12 w 56"/>
                    <a:gd name="T95" fmla="*/ 14 h 70"/>
                    <a:gd name="T96" fmla="*/ 8 w 56"/>
                    <a:gd name="T97" fmla="*/ 10 h 70"/>
                    <a:gd name="T98" fmla="*/ 12 w 56"/>
                    <a:gd name="T99" fmla="*/ 6 h 70"/>
                    <a:gd name="T100" fmla="*/ 12 w 56"/>
                    <a:gd name="T101" fmla="*/ 4 h 70"/>
                    <a:gd name="T102" fmla="*/ 18 w 56"/>
                    <a:gd name="T103" fmla="*/ 0 h 70"/>
                    <a:gd name="T104" fmla="*/ 26 w 56"/>
                    <a:gd name="T105" fmla="*/ 0 h 70"/>
                    <a:gd name="T106" fmla="*/ 30 w 56"/>
                    <a:gd name="T107" fmla="*/ 4 h 70"/>
                    <a:gd name="T108" fmla="*/ 30 w 56"/>
                    <a:gd name="T109" fmla="*/ 4 h 70"/>
                    <a:gd name="T110" fmla="*/ 30 w 56"/>
                    <a:gd name="T111" fmla="*/ 0 h 70"/>
                    <a:gd name="T112" fmla="*/ 38 w 56"/>
                    <a:gd name="T113" fmla="*/ 0 h 70"/>
                    <a:gd name="T114" fmla="*/ 38 w 56"/>
                    <a:gd name="T115" fmla="*/ 0 h 70"/>
                    <a:gd name="T116" fmla="*/ 42 w 56"/>
                    <a:gd name="T117" fmla="*/ 4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56" h="70">
                      <a:moveTo>
                        <a:pt x="42" y="4"/>
                      </a:move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6" y="4"/>
                      </a:lnTo>
                      <a:lnTo>
                        <a:pt x="46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0"/>
                      </a:lnTo>
                      <a:lnTo>
                        <a:pt x="42" y="0"/>
                      </a:lnTo>
                      <a:lnTo>
                        <a:pt x="42" y="0"/>
                      </a:lnTo>
                      <a:lnTo>
                        <a:pt x="42" y="0"/>
                      </a:lnTo>
                      <a:lnTo>
                        <a:pt x="42" y="0"/>
                      </a:lnTo>
                      <a:lnTo>
                        <a:pt x="46" y="0"/>
                      </a:lnTo>
                      <a:lnTo>
                        <a:pt x="46" y="0"/>
                      </a:lnTo>
                      <a:lnTo>
                        <a:pt x="46" y="0"/>
                      </a:lnTo>
                      <a:lnTo>
                        <a:pt x="48" y="0"/>
                      </a:lnTo>
                      <a:lnTo>
                        <a:pt x="52" y="0"/>
                      </a:lnTo>
                      <a:lnTo>
                        <a:pt x="52" y="0"/>
                      </a:lnTo>
                      <a:lnTo>
                        <a:pt x="52" y="4"/>
                      </a:lnTo>
                      <a:lnTo>
                        <a:pt x="52" y="4"/>
                      </a:lnTo>
                      <a:lnTo>
                        <a:pt x="56" y="4"/>
                      </a:lnTo>
                      <a:lnTo>
                        <a:pt x="56" y="4"/>
                      </a:lnTo>
                      <a:lnTo>
                        <a:pt x="56" y="4"/>
                      </a:lnTo>
                      <a:lnTo>
                        <a:pt x="56" y="6"/>
                      </a:lnTo>
                      <a:lnTo>
                        <a:pt x="56" y="6"/>
                      </a:lnTo>
                      <a:lnTo>
                        <a:pt x="56" y="6"/>
                      </a:lnTo>
                      <a:lnTo>
                        <a:pt x="56" y="6"/>
                      </a:lnTo>
                      <a:lnTo>
                        <a:pt x="56" y="6"/>
                      </a:lnTo>
                      <a:lnTo>
                        <a:pt x="56" y="10"/>
                      </a:lnTo>
                      <a:lnTo>
                        <a:pt x="56" y="10"/>
                      </a:lnTo>
                      <a:lnTo>
                        <a:pt x="52" y="10"/>
                      </a:lnTo>
                      <a:lnTo>
                        <a:pt x="52" y="10"/>
                      </a:lnTo>
                      <a:lnTo>
                        <a:pt x="52" y="10"/>
                      </a:lnTo>
                      <a:lnTo>
                        <a:pt x="52" y="10"/>
                      </a:lnTo>
                      <a:lnTo>
                        <a:pt x="52" y="10"/>
                      </a:lnTo>
                      <a:lnTo>
                        <a:pt x="52" y="14"/>
                      </a:lnTo>
                      <a:lnTo>
                        <a:pt x="52" y="14"/>
                      </a:lnTo>
                      <a:lnTo>
                        <a:pt x="52" y="14"/>
                      </a:lnTo>
                      <a:lnTo>
                        <a:pt x="52" y="14"/>
                      </a:lnTo>
                      <a:lnTo>
                        <a:pt x="48" y="14"/>
                      </a:lnTo>
                      <a:lnTo>
                        <a:pt x="48" y="18"/>
                      </a:lnTo>
                      <a:lnTo>
                        <a:pt x="48" y="18"/>
                      </a:lnTo>
                      <a:lnTo>
                        <a:pt x="48" y="22"/>
                      </a:lnTo>
                      <a:lnTo>
                        <a:pt x="48" y="22"/>
                      </a:lnTo>
                      <a:lnTo>
                        <a:pt x="48" y="22"/>
                      </a:lnTo>
                      <a:lnTo>
                        <a:pt x="48" y="22"/>
                      </a:lnTo>
                      <a:lnTo>
                        <a:pt x="48" y="26"/>
                      </a:lnTo>
                      <a:lnTo>
                        <a:pt x="48" y="26"/>
                      </a:lnTo>
                      <a:lnTo>
                        <a:pt x="48" y="26"/>
                      </a:lnTo>
                      <a:lnTo>
                        <a:pt x="48" y="26"/>
                      </a:lnTo>
                      <a:lnTo>
                        <a:pt x="48" y="26"/>
                      </a:lnTo>
                      <a:lnTo>
                        <a:pt x="52" y="30"/>
                      </a:lnTo>
                      <a:lnTo>
                        <a:pt x="52" y="30"/>
                      </a:lnTo>
                      <a:lnTo>
                        <a:pt x="52" y="34"/>
                      </a:lnTo>
                      <a:lnTo>
                        <a:pt x="52" y="34"/>
                      </a:lnTo>
                      <a:lnTo>
                        <a:pt x="52" y="36"/>
                      </a:lnTo>
                      <a:lnTo>
                        <a:pt x="56" y="36"/>
                      </a:lnTo>
                      <a:lnTo>
                        <a:pt x="56" y="36"/>
                      </a:lnTo>
                      <a:lnTo>
                        <a:pt x="56" y="40"/>
                      </a:lnTo>
                      <a:lnTo>
                        <a:pt x="56" y="40"/>
                      </a:lnTo>
                      <a:lnTo>
                        <a:pt x="56" y="44"/>
                      </a:lnTo>
                      <a:lnTo>
                        <a:pt x="56" y="44"/>
                      </a:lnTo>
                      <a:lnTo>
                        <a:pt x="56" y="44"/>
                      </a:lnTo>
                      <a:lnTo>
                        <a:pt x="56" y="44"/>
                      </a:lnTo>
                      <a:lnTo>
                        <a:pt x="52" y="48"/>
                      </a:lnTo>
                      <a:lnTo>
                        <a:pt x="52" y="48"/>
                      </a:lnTo>
                      <a:lnTo>
                        <a:pt x="52" y="48"/>
                      </a:lnTo>
                      <a:lnTo>
                        <a:pt x="52" y="48"/>
                      </a:lnTo>
                      <a:lnTo>
                        <a:pt x="52" y="52"/>
                      </a:lnTo>
                      <a:lnTo>
                        <a:pt x="52" y="52"/>
                      </a:lnTo>
                      <a:lnTo>
                        <a:pt x="52" y="56"/>
                      </a:lnTo>
                      <a:lnTo>
                        <a:pt x="52" y="56"/>
                      </a:lnTo>
                      <a:lnTo>
                        <a:pt x="52" y="56"/>
                      </a:lnTo>
                      <a:lnTo>
                        <a:pt x="52" y="56"/>
                      </a:lnTo>
                      <a:lnTo>
                        <a:pt x="52" y="56"/>
                      </a:lnTo>
                      <a:lnTo>
                        <a:pt x="52" y="60"/>
                      </a:lnTo>
                      <a:lnTo>
                        <a:pt x="52" y="60"/>
                      </a:lnTo>
                      <a:lnTo>
                        <a:pt x="52" y="60"/>
                      </a:lnTo>
                      <a:lnTo>
                        <a:pt x="48" y="60"/>
                      </a:lnTo>
                      <a:lnTo>
                        <a:pt x="48" y="64"/>
                      </a:lnTo>
                      <a:lnTo>
                        <a:pt x="48" y="64"/>
                      </a:lnTo>
                      <a:lnTo>
                        <a:pt x="48" y="64"/>
                      </a:lnTo>
                      <a:lnTo>
                        <a:pt x="46" y="64"/>
                      </a:lnTo>
                      <a:lnTo>
                        <a:pt x="46" y="64"/>
                      </a:lnTo>
                      <a:lnTo>
                        <a:pt x="46" y="64"/>
                      </a:lnTo>
                      <a:lnTo>
                        <a:pt x="46" y="60"/>
                      </a:lnTo>
                      <a:lnTo>
                        <a:pt x="46" y="60"/>
                      </a:lnTo>
                      <a:lnTo>
                        <a:pt x="46" y="60"/>
                      </a:lnTo>
                      <a:lnTo>
                        <a:pt x="46" y="60"/>
                      </a:lnTo>
                      <a:lnTo>
                        <a:pt x="46" y="60"/>
                      </a:lnTo>
                      <a:lnTo>
                        <a:pt x="46" y="60"/>
                      </a:lnTo>
                      <a:lnTo>
                        <a:pt x="42" y="60"/>
                      </a:lnTo>
                      <a:lnTo>
                        <a:pt x="42" y="60"/>
                      </a:lnTo>
                      <a:lnTo>
                        <a:pt x="42" y="60"/>
                      </a:lnTo>
                      <a:lnTo>
                        <a:pt x="34" y="60"/>
                      </a:lnTo>
                      <a:lnTo>
                        <a:pt x="34" y="64"/>
                      </a:lnTo>
                      <a:lnTo>
                        <a:pt x="30" y="60"/>
                      </a:lnTo>
                      <a:lnTo>
                        <a:pt x="30" y="60"/>
                      </a:lnTo>
                      <a:lnTo>
                        <a:pt x="30" y="60"/>
                      </a:lnTo>
                      <a:lnTo>
                        <a:pt x="30" y="60"/>
                      </a:lnTo>
                      <a:lnTo>
                        <a:pt x="30" y="60"/>
                      </a:lnTo>
                      <a:lnTo>
                        <a:pt x="30" y="60"/>
                      </a:lnTo>
                      <a:lnTo>
                        <a:pt x="26" y="60"/>
                      </a:lnTo>
                      <a:lnTo>
                        <a:pt x="26" y="64"/>
                      </a:lnTo>
                      <a:lnTo>
                        <a:pt x="26" y="64"/>
                      </a:lnTo>
                      <a:lnTo>
                        <a:pt x="26" y="64"/>
                      </a:lnTo>
                      <a:lnTo>
                        <a:pt x="30" y="66"/>
                      </a:lnTo>
                      <a:lnTo>
                        <a:pt x="30" y="70"/>
                      </a:lnTo>
                      <a:lnTo>
                        <a:pt x="30" y="70"/>
                      </a:lnTo>
                      <a:lnTo>
                        <a:pt x="30" y="70"/>
                      </a:lnTo>
                      <a:lnTo>
                        <a:pt x="30" y="70"/>
                      </a:lnTo>
                      <a:lnTo>
                        <a:pt x="26" y="70"/>
                      </a:lnTo>
                      <a:lnTo>
                        <a:pt x="26" y="70"/>
                      </a:lnTo>
                      <a:lnTo>
                        <a:pt x="26" y="70"/>
                      </a:lnTo>
                      <a:lnTo>
                        <a:pt x="26" y="70"/>
                      </a:lnTo>
                      <a:lnTo>
                        <a:pt x="22" y="70"/>
                      </a:lnTo>
                      <a:lnTo>
                        <a:pt x="22" y="70"/>
                      </a:lnTo>
                      <a:lnTo>
                        <a:pt x="22" y="70"/>
                      </a:lnTo>
                      <a:lnTo>
                        <a:pt x="22" y="70"/>
                      </a:lnTo>
                      <a:lnTo>
                        <a:pt x="18" y="66"/>
                      </a:lnTo>
                      <a:lnTo>
                        <a:pt x="18" y="66"/>
                      </a:lnTo>
                      <a:lnTo>
                        <a:pt x="18" y="66"/>
                      </a:lnTo>
                      <a:lnTo>
                        <a:pt x="18" y="66"/>
                      </a:lnTo>
                      <a:lnTo>
                        <a:pt x="18" y="66"/>
                      </a:lnTo>
                      <a:lnTo>
                        <a:pt x="14" y="64"/>
                      </a:lnTo>
                      <a:lnTo>
                        <a:pt x="14" y="64"/>
                      </a:lnTo>
                      <a:lnTo>
                        <a:pt x="14" y="60"/>
                      </a:lnTo>
                      <a:lnTo>
                        <a:pt x="14" y="60"/>
                      </a:lnTo>
                      <a:lnTo>
                        <a:pt x="12" y="56"/>
                      </a:lnTo>
                      <a:lnTo>
                        <a:pt x="12" y="56"/>
                      </a:lnTo>
                      <a:lnTo>
                        <a:pt x="12" y="52"/>
                      </a:lnTo>
                      <a:lnTo>
                        <a:pt x="12" y="52"/>
                      </a:lnTo>
                      <a:lnTo>
                        <a:pt x="12" y="52"/>
                      </a:lnTo>
                      <a:lnTo>
                        <a:pt x="12" y="48"/>
                      </a:lnTo>
                      <a:lnTo>
                        <a:pt x="12" y="48"/>
                      </a:lnTo>
                      <a:lnTo>
                        <a:pt x="12" y="48"/>
                      </a:lnTo>
                      <a:lnTo>
                        <a:pt x="12" y="48"/>
                      </a:lnTo>
                      <a:lnTo>
                        <a:pt x="12" y="48"/>
                      </a:lnTo>
                      <a:lnTo>
                        <a:pt x="12" y="44"/>
                      </a:lnTo>
                      <a:lnTo>
                        <a:pt x="12" y="44"/>
                      </a:lnTo>
                      <a:lnTo>
                        <a:pt x="8" y="44"/>
                      </a:lnTo>
                      <a:lnTo>
                        <a:pt x="8" y="44"/>
                      </a:lnTo>
                      <a:lnTo>
                        <a:pt x="4" y="44"/>
                      </a:lnTo>
                      <a:lnTo>
                        <a:pt x="4" y="44"/>
                      </a:lnTo>
                      <a:lnTo>
                        <a:pt x="4" y="44"/>
                      </a:lnTo>
                      <a:lnTo>
                        <a:pt x="4" y="44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0" y="40"/>
                      </a:lnTo>
                      <a:lnTo>
                        <a:pt x="0" y="36"/>
                      </a:lnTo>
                      <a:lnTo>
                        <a:pt x="0" y="36"/>
                      </a:lnTo>
                      <a:lnTo>
                        <a:pt x="0" y="36"/>
                      </a:lnTo>
                      <a:lnTo>
                        <a:pt x="0" y="36"/>
                      </a:lnTo>
                      <a:lnTo>
                        <a:pt x="0" y="36"/>
                      </a:lnTo>
                      <a:lnTo>
                        <a:pt x="0" y="36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26"/>
                      </a:lnTo>
                      <a:lnTo>
                        <a:pt x="0" y="22"/>
                      </a:lnTo>
                      <a:lnTo>
                        <a:pt x="4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8" y="14"/>
                      </a:lnTo>
                      <a:lnTo>
                        <a:pt x="8" y="14"/>
                      </a:lnTo>
                      <a:lnTo>
                        <a:pt x="12" y="14"/>
                      </a:lnTo>
                      <a:lnTo>
                        <a:pt x="12" y="14"/>
                      </a:lnTo>
                      <a:lnTo>
                        <a:pt x="12" y="14"/>
                      </a:lnTo>
                      <a:lnTo>
                        <a:pt x="12" y="14"/>
                      </a:lnTo>
                      <a:lnTo>
                        <a:pt x="12" y="14"/>
                      </a:lnTo>
                      <a:lnTo>
                        <a:pt x="12" y="14"/>
                      </a:lnTo>
                      <a:lnTo>
                        <a:pt x="12" y="10"/>
                      </a:lnTo>
                      <a:lnTo>
                        <a:pt x="12" y="14"/>
                      </a:lnTo>
                      <a:lnTo>
                        <a:pt x="12" y="14"/>
                      </a:lnTo>
                      <a:lnTo>
                        <a:pt x="8" y="10"/>
                      </a:lnTo>
                      <a:lnTo>
                        <a:pt x="12" y="10"/>
                      </a:lnTo>
                      <a:lnTo>
                        <a:pt x="12" y="10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2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22" y="0"/>
                      </a:lnTo>
                      <a:lnTo>
                        <a:pt x="26" y="0"/>
                      </a:lnTo>
                      <a:lnTo>
                        <a:pt x="26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0" y="0"/>
                      </a:lnTo>
                      <a:lnTo>
                        <a:pt x="34" y="0"/>
                      </a:lnTo>
                      <a:lnTo>
                        <a:pt x="34" y="0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42" y="0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1" name="Freeform 188"/>
                <p:cNvSpPr>
                  <a:spLocks/>
                </p:cNvSpPr>
                <p:nvPr/>
              </p:nvSpPr>
              <p:spPr bwMode="auto">
                <a:xfrm>
                  <a:off x="3079750" y="5397568"/>
                  <a:ext cx="123825" cy="142875"/>
                </a:xfrm>
                <a:custGeom>
                  <a:avLst/>
                  <a:gdLst>
                    <a:gd name="T0" fmla="*/ 4 w 78"/>
                    <a:gd name="T1" fmla="*/ 60 h 90"/>
                    <a:gd name="T2" fmla="*/ 4 w 78"/>
                    <a:gd name="T3" fmla="*/ 56 h 90"/>
                    <a:gd name="T4" fmla="*/ 4 w 78"/>
                    <a:gd name="T5" fmla="*/ 56 h 90"/>
                    <a:gd name="T6" fmla="*/ 8 w 78"/>
                    <a:gd name="T7" fmla="*/ 48 h 90"/>
                    <a:gd name="T8" fmla="*/ 4 w 78"/>
                    <a:gd name="T9" fmla="*/ 48 h 90"/>
                    <a:gd name="T10" fmla="*/ 4 w 78"/>
                    <a:gd name="T11" fmla="*/ 40 h 90"/>
                    <a:gd name="T12" fmla="*/ 4 w 78"/>
                    <a:gd name="T13" fmla="*/ 40 h 90"/>
                    <a:gd name="T14" fmla="*/ 4 w 78"/>
                    <a:gd name="T15" fmla="*/ 36 h 90"/>
                    <a:gd name="T16" fmla="*/ 4 w 78"/>
                    <a:gd name="T17" fmla="*/ 34 h 90"/>
                    <a:gd name="T18" fmla="*/ 4 w 78"/>
                    <a:gd name="T19" fmla="*/ 30 h 90"/>
                    <a:gd name="T20" fmla="*/ 8 w 78"/>
                    <a:gd name="T21" fmla="*/ 26 h 90"/>
                    <a:gd name="T22" fmla="*/ 8 w 78"/>
                    <a:gd name="T23" fmla="*/ 22 h 90"/>
                    <a:gd name="T24" fmla="*/ 8 w 78"/>
                    <a:gd name="T25" fmla="*/ 14 h 90"/>
                    <a:gd name="T26" fmla="*/ 12 w 78"/>
                    <a:gd name="T27" fmla="*/ 10 h 90"/>
                    <a:gd name="T28" fmla="*/ 8 w 78"/>
                    <a:gd name="T29" fmla="*/ 6 h 90"/>
                    <a:gd name="T30" fmla="*/ 12 w 78"/>
                    <a:gd name="T31" fmla="*/ 2 h 90"/>
                    <a:gd name="T32" fmla="*/ 16 w 78"/>
                    <a:gd name="T33" fmla="*/ 0 h 90"/>
                    <a:gd name="T34" fmla="*/ 16 w 78"/>
                    <a:gd name="T35" fmla="*/ 2 h 90"/>
                    <a:gd name="T36" fmla="*/ 18 w 78"/>
                    <a:gd name="T37" fmla="*/ 2 h 90"/>
                    <a:gd name="T38" fmla="*/ 18 w 78"/>
                    <a:gd name="T39" fmla="*/ 0 h 90"/>
                    <a:gd name="T40" fmla="*/ 22 w 78"/>
                    <a:gd name="T41" fmla="*/ 0 h 90"/>
                    <a:gd name="T42" fmla="*/ 26 w 78"/>
                    <a:gd name="T43" fmla="*/ 2 h 90"/>
                    <a:gd name="T44" fmla="*/ 34 w 78"/>
                    <a:gd name="T45" fmla="*/ 6 h 90"/>
                    <a:gd name="T46" fmla="*/ 38 w 78"/>
                    <a:gd name="T47" fmla="*/ 14 h 90"/>
                    <a:gd name="T48" fmla="*/ 38 w 78"/>
                    <a:gd name="T49" fmla="*/ 14 h 90"/>
                    <a:gd name="T50" fmla="*/ 42 w 78"/>
                    <a:gd name="T51" fmla="*/ 14 h 90"/>
                    <a:gd name="T52" fmla="*/ 46 w 78"/>
                    <a:gd name="T53" fmla="*/ 14 h 90"/>
                    <a:gd name="T54" fmla="*/ 48 w 78"/>
                    <a:gd name="T55" fmla="*/ 22 h 90"/>
                    <a:gd name="T56" fmla="*/ 52 w 78"/>
                    <a:gd name="T57" fmla="*/ 22 h 90"/>
                    <a:gd name="T58" fmla="*/ 52 w 78"/>
                    <a:gd name="T59" fmla="*/ 22 h 90"/>
                    <a:gd name="T60" fmla="*/ 60 w 78"/>
                    <a:gd name="T61" fmla="*/ 30 h 90"/>
                    <a:gd name="T62" fmla="*/ 64 w 78"/>
                    <a:gd name="T63" fmla="*/ 30 h 90"/>
                    <a:gd name="T64" fmla="*/ 68 w 78"/>
                    <a:gd name="T65" fmla="*/ 36 h 90"/>
                    <a:gd name="T66" fmla="*/ 72 w 78"/>
                    <a:gd name="T67" fmla="*/ 40 h 90"/>
                    <a:gd name="T68" fmla="*/ 76 w 78"/>
                    <a:gd name="T69" fmla="*/ 44 h 90"/>
                    <a:gd name="T70" fmla="*/ 76 w 78"/>
                    <a:gd name="T71" fmla="*/ 48 h 90"/>
                    <a:gd name="T72" fmla="*/ 72 w 78"/>
                    <a:gd name="T73" fmla="*/ 52 h 90"/>
                    <a:gd name="T74" fmla="*/ 72 w 78"/>
                    <a:gd name="T75" fmla="*/ 56 h 90"/>
                    <a:gd name="T76" fmla="*/ 72 w 78"/>
                    <a:gd name="T77" fmla="*/ 60 h 90"/>
                    <a:gd name="T78" fmla="*/ 72 w 78"/>
                    <a:gd name="T79" fmla="*/ 64 h 90"/>
                    <a:gd name="T80" fmla="*/ 72 w 78"/>
                    <a:gd name="T81" fmla="*/ 66 h 90"/>
                    <a:gd name="T82" fmla="*/ 72 w 78"/>
                    <a:gd name="T83" fmla="*/ 66 h 90"/>
                    <a:gd name="T84" fmla="*/ 72 w 78"/>
                    <a:gd name="T85" fmla="*/ 70 h 90"/>
                    <a:gd name="T86" fmla="*/ 68 w 78"/>
                    <a:gd name="T87" fmla="*/ 78 h 90"/>
                    <a:gd name="T88" fmla="*/ 64 w 78"/>
                    <a:gd name="T89" fmla="*/ 82 h 90"/>
                    <a:gd name="T90" fmla="*/ 60 w 78"/>
                    <a:gd name="T91" fmla="*/ 82 h 90"/>
                    <a:gd name="T92" fmla="*/ 60 w 78"/>
                    <a:gd name="T93" fmla="*/ 82 h 90"/>
                    <a:gd name="T94" fmla="*/ 52 w 78"/>
                    <a:gd name="T95" fmla="*/ 86 h 90"/>
                    <a:gd name="T96" fmla="*/ 48 w 78"/>
                    <a:gd name="T97" fmla="*/ 86 h 90"/>
                    <a:gd name="T98" fmla="*/ 46 w 78"/>
                    <a:gd name="T99" fmla="*/ 90 h 90"/>
                    <a:gd name="T100" fmla="*/ 46 w 78"/>
                    <a:gd name="T101" fmla="*/ 86 h 90"/>
                    <a:gd name="T102" fmla="*/ 38 w 78"/>
                    <a:gd name="T103" fmla="*/ 86 h 90"/>
                    <a:gd name="T104" fmla="*/ 34 w 78"/>
                    <a:gd name="T105" fmla="*/ 86 h 90"/>
                    <a:gd name="T106" fmla="*/ 30 w 78"/>
                    <a:gd name="T107" fmla="*/ 86 h 90"/>
                    <a:gd name="T108" fmla="*/ 22 w 78"/>
                    <a:gd name="T109" fmla="*/ 82 h 90"/>
                    <a:gd name="T110" fmla="*/ 16 w 78"/>
                    <a:gd name="T111" fmla="*/ 78 h 90"/>
                    <a:gd name="T112" fmla="*/ 8 w 78"/>
                    <a:gd name="T113" fmla="*/ 78 h 90"/>
                    <a:gd name="T114" fmla="*/ 4 w 78"/>
                    <a:gd name="T115" fmla="*/ 74 h 90"/>
                    <a:gd name="T116" fmla="*/ 4 w 78"/>
                    <a:gd name="T117" fmla="*/ 70 h 90"/>
                    <a:gd name="T118" fmla="*/ 0 w 78"/>
                    <a:gd name="T119" fmla="*/ 64 h 90"/>
                    <a:gd name="T120" fmla="*/ 0 w 78"/>
                    <a:gd name="T121" fmla="*/ 60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78" h="90">
                      <a:moveTo>
                        <a:pt x="0" y="60"/>
                      </a:moveTo>
                      <a:lnTo>
                        <a:pt x="0" y="60"/>
                      </a:lnTo>
                      <a:lnTo>
                        <a:pt x="0" y="60"/>
                      </a:lnTo>
                      <a:lnTo>
                        <a:pt x="0" y="60"/>
                      </a:lnTo>
                      <a:lnTo>
                        <a:pt x="4" y="60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4" y="52"/>
                      </a:lnTo>
                      <a:lnTo>
                        <a:pt x="8" y="52"/>
                      </a:lnTo>
                      <a:lnTo>
                        <a:pt x="8" y="52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4" y="48"/>
                      </a:lnTo>
                      <a:lnTo>
                        <a:pt x="4" y="48"/>
                      </a:lnTo>
                      <a:lnTo>
                        <a:pt x="4" y="48"/>
                      </a:lnTo>
                      <a:lnTo>
                        <a:pt x="4" y="48"/>
                      </a:lnTo>
                      <a:lnTo>
                        <a:pt x="4" y="48"/>
                      </a:lnTo>
                      <a:lnTo>
                        <a:pt x="4" y="44"/>
                      </a:lnTo>
                      <a:lnTo>
                        <a:pt x="4" y="44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4" y="40"/>
                      </a:lnTo>
                      <a:lnTo>
                        <a:pt x="8" y="40"/>
                      </a:lnTo>
                      <a:lnTo>
                        <a:pt x="8" y="36"/>
                      </a:lnTo>
                      <a:lnTo>
                        <a:pt x="8" y="36"/>
                      </a:lnTo>
                      <a:lnTo>
                        <a:pt x="4" y="36"/>
                      </a:lnTo>
                      <a:lnTo>
                        <a:pt x="4" y="36"/>
                      </a:lnTo>
                      <a:lnTo>
                        <a:pt x="4" y="36"/>
                      </a:lnTo>
                      <a:lnTo>
                        <a:pt x="4" y="36"/>
                      </a:lnTo>
                      <a:lnTo>
                        <a:pt x="4" y="36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8" y="18"/>
                      </a:lnTo>
                      <a:lnTo>
                        <a:pt x="8" y="14"/>
                      </a:lnTo>
                      <a:lnTo>
                        <a:pt x="12" y="10"/>
                      </a:lnTo>
                      <a:lnTo>
                        <a:pt x="12" y="10"/>
                      </a:lnTo>
                      <a:lnTo>
                        <a:pt x="12" y="10"/>
                      </a:lnTo>
                      <a:lnTo>
                        <a:pt x="12" y="10"/>
                      </a:lnTo>
                      <a:lnTo>
                        <a:pt x="12" y="10"/>
                      </a:lnTo>
                      <a:lnTo>
                        <a:pt x="12" y="10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6" y="0"/>
                      </a:lnTo>
                      <a:lnTo>
                        <a:pt x="26" y="2"/>
                      </a:lnTo>
                      <a:lnTo>
                        <a:pt x="26" y="2"/>
                      </a:lnTo>
                      <a:lnTo>
                        <a:pt x="26" y="2"/>
                      </a:lnTo>
                      <a:lnTo>
                        <a:pt x="30" y="2"/>
                      </a:lnTo>
                      <a:lnTo>
                        <a:pt x="30" y="2"/>
                      </a:lnTo>
                      <a:lnTo>
                        <a:pt x="30" y="6"/>
                      </a:lnTo>
                      <a:lnTo>
                        <a:pt x="30" y="6"/>
                      </a:lnTo>
                      <a:lnTo>
                        <a:pt x="34" y="6"/>
                      </a:lnTo>
                      <a:lnTo>
                        <a:pt x="34" y="6"/>
                      </a:lnTo>
                      <a:lnTo>
                        <a:pt x="34" y="10"/>
                      </a:lnTo>
                      <a:lnTo>
                        <a:pt x="38" y="10"/>
                      </a:lnTo>
                      <a:lnTo>
                        <a:pt x="38" y="10"/>
                      </a:lnTo>
                      <a:lnTo>
                        <a:pt x="38" y="14"/>
                      </a:lnTo>
                      <a:lnTo>
                        <a:pt x="34" y="14"/>
                      </a:lnTo>
                      <a:lnTo>
                        <a:pt x="34" y="14"/>
                      </a:lnTo>
                      <a:lnTo>
                        <a:pt x="34" y="14"/>
                      </a:lnTo>
                      <a:lnTo>
                        <a:pt x="34" y="14"/>
                      </a:lnTo>
                      <a:lnTo>
                        <a:pt x="38" y="14"/>
                      </a:lnTo>
                      <a:lnTo>
                        <a:pt x="38" y="14"/>
                      </a:lnTo>
                      <a:lnTo>
                        <a:pt x="38" y="14"/>
                      </a:lnTo>
                      <a:lnTo>
                        <a:pt x="38" y="14"/>
                      </a:lnTo>
                      <a:lnTo>
                        <a:pt x="38" y="14"/>
                      </a:lnTo>
                      <a:lnTo>
                        <a:pt x="42" y="14"/>
                      </a:lnTo>
                      <a:lnTo>
                        <a:pt x="42" y="10"/>
                      </a:lnTo>
                      <a:lnTo>
                        <a:pt x="42" y="10"/>
                      </a:lnTo>
                      <a:lnTo>
                        <a:pt x="42" y="10"/>
                      </a:lnTo>
                      <a:lnTo>
                        <a:pt x="42" y="14"/>
                      </a:lnTo>
                      <a:lnTo>
                        <a:pt x="46" y="14"/>
                      </a:lnTo>
                      <a:lnTo>
                        <a:pt x="46" y="14"/>
                      </a:lnTo>
                      <a:lnTo>
                        <a:pt x="46" y="14"/>
                      </a:lnTo>
                      <a:lnTo>
                        <a:pt x="46" y="18"/>
                      </a:lnTo>
                      <a:lnTo>
                        <a:pt x="46" y="18"/>
                      </a:lnTo>
                      <a:lnTo>
                        <a:pt x="48" y="22"/>
                      </a:lnTo>
                      <a:lnTo>
                        <a:pt x="48" y="22"/>
                      </a:lnTo>
                      <a:lnTo>
                        <a:pt x="48" y="22"/>
                      </a:lnTo>
                      <a:lnTo>
                        <a:pt x="52" y="22"/>
                      </a:lnTo>
                      <a:lnTo>
                        <a:pt x="52" y="22"/>
                      </a:lnTo>
                      <a:lnTo>
                        <a:pt x="52" y="22"/>
                      </a:lnTo>
                      <a:lnTo>
                        <a:pt x="52" y="22"/>
                      </a:lnTo>
                      <a:lnTo>
                        <a:pt x="52" y="22"/>
                      </a:lnTo>
                      <a:lnTo>
                        <a:pt x="52" y="22"/>
                      </a:lnTo>
                      <a:lnTo>
                        <a:pt x="52" y="22"/>
                      </a:lnTo>
                      <a:lnTo>
                        <a:pt x="52" y="22"/>
                      </a:lnTo>
                      <a:lnTo>
                        <a:pt x="56" y="22"/>
                      </a:lnTo>
                      <a:lnTo>
                        <a:pt x="56" y="26"/>
                      </a:lnTo>
                      <a:lnTo>
                        <a:pt x="56" y="26"/>
                      </a:lnTo>
                      <a:lnTo>
                        <a:pt x="56" y="26"/>
                      </a:lnTo>
                      <a:lnTo>
                        <a:pt x="60" y="30"/>
                      </a:lnTo>
                      <a:lnTo>
                        <a:pt x="60" y="30"/>
                      </a:lnTo>
                      <a:lnTo>
                        <a:pt x="60" y="30"/>
                      </a:lnTo>
                      <a:lnTo>
                        <a:pt x="60" y="30"/>
                      </a:lnTo>
                      <a:lnTo>
                        <a:pt x="60" y="30"/>
                      </a:lnTo>
                      <a:lnTo>
                        <a:pt x="64" y="30"/>
                      </a:lnTo>
                      <a:lnTo>
                        <a:pt x="64" y="30"/>
                      </a:lnTo>
                      <a:lnTo>
                        <a:pt x="64" y="34"/>
                      </a:lnTo>
                      <a:lnTo>
                        <a:pt x="68" y="34"/>
                      </a:lnTo>
                      <a:lnTo>
                        <a:pt x="68" y="34"/>
                      </a:lnTo>
                      <a:lnTo>
                        <a:pt x="68" y="36"/>
                      </a:lnTo>
                      <a:lnTo>
                        <a:pt x="68" y="36"/>
                      </a:lnTo>
                      <a:lnTo>
                        <a:pt x="68" y="40"/>
                      </a:lnTo>
                      <a:lnTo>
                        <a:pt x="68" y="40"/>
                      </a:lnTo>
                      <a:lnTo>
                        <a:pt x="72" y="40"/>
                      </a:lnTo>
                      <a:lnTo>
                        <a:pt x="72" y="40"/>
                      </a:lnTo>
                      <a:lnTo>
                        <a:pt x="72" y="40"/>
                      </a:lnTo>
                      <a:lnTo>
                        <a:pt x="72" y="40"/>
                      </a:lnTo>
                      <a:lnTo>
                        <a:pt x="72" y="44"/>
                      </a:lnTo>
                      <a:lnTo>
                        <a:pt x="72" y="44"/>
                      </a:lnTo>
                      <a:lnTo>
                        <a:pt x="76" y="44"/>
                      </a:lnTo>
                      <a:lnTo>
                        <a:pt x="76" y="44"/>
                      </a:lnTo>
                      <a:lnTo>
                        <a:pt x="76" y="44"/>
                      </a:lnTo>
                      <a:lnTo>
                        <a:pt x="76" y="44"/>
                      </a:lnTo>
                      <a:lnTo>
                        <a:pt x="78" y="48"/>
                      </a:lnTo>
                      <a:lnTo>
                        <a:pt x="76" y="48"/>
                      </a:lnTo>
                      <a:lnTo>
                        <a:pt x="76" y="48"/>
                      </a:lnTo>
                      <a:lnTo>
                        <a:pt x="76" y="52"/>
                      </a:lnTo>
                      <a:lnTo>
                        <a:pt x="72" y="52"/>
                      </a:lnTo>
                      <a:lnTo>
                        <a:pt x="72" y="52"/>
                      </a:lnTo>
                      <a:lnTo>
                        <a:pt x="72" y="52"/>
                      </a:lnTo>
                      <a:lnTo>
                        <a:pt x="72" y="52"/>
                      </a:lnTo>
                      <a:lnTo>
                        <a:pt x="72" y="56"/>
                      </a:lnTo>
                      <a:lnTo>
                        <a:pt x="72" y="56"/>
                      </a:lnTo>
                      <a:lnTo>
                        <a:pt x="72" y="56"/>
                      </a:lnTo>
                      <a:lnTo>
                        <a:pt x="72" y="56"/>
                      </a:lnTo>
                      <a:lnTo>
                        <a:pt x="72" y="56"/>
                      </a:lnTo>
                      <a:lnTo>
                        <a:pt x="72" y="56"/>
                      </a:lnTo>
                      <a:lnTo>
                        <a:pt x="72" y="56"/>
                      </a:lnTo>
                      <a:lnTo>
                        <a:pt x="72" y="60"/>
                      </a:lnTo>
                      <a:lnTo>
                        <a:pt x="72" y="60"/>
                      </a:lnTo>
                      <a:lnTo>
                        <a:pt x="72" y="60"/>
                      </a:lnTo>
                      <a:lnTo>
                        <a:pt x="72" y="60"/>
                      </a:lnTo>
                      <a:lnTo>
                        <a:pt x="72" y="60"/>
                      </a:lnTo>
                      <a:lnTo>
                        <a:pt x="72" y="64"/>
                      </a:lnTo>
                      <a:lnTo>
                        <a:pt x="72" y="64"/>
                      </a:lnTo>
                      <a:lnTo>
                        <a:pt x="72" y="64"/>
                      </a:lnTo>
                      <a:lnTo>
                        <a:pt x="72" y="64"/>
                      </a:lnTo>
                      <a:lnTo>
                        <a:pt x="72" y="64"/>
                      </a:lnTo>
                      <a:lnTo>
                        <a:pt x="72" y="66"/>
                      </a:lnTo>
                      <a:lnTo>
                        <a:pt x="72" y="66"/>
                      </a:lnTo>
                      <a:lnTo>
                        <a:pt x="72" y="66"/>
                      </a:lnTo>
                      <a:lnTo>
                        <a:pt x="72" y="66"/>
                      </a:lnTo>
                      <a:lnTo>
                        <a:pt x="72" y="66"/>
                      </a:lnTo>
                      <a:lnTo>
                        <a:pt x="72" y="66"/>
                      </a:lnTo>
                      <a:lnTo>
                        <a:pt x="72" y="66"/>
                      </a:lnTo>
                      <a:lnTo>
                        <a:pt x="72" y="66"/>
                      </a:lnTo>
                      <a:lnTo>
                        <a:pt x="72" y="70"/>
                      </a:lnTo>
                      <a:lnTo>
                        <a:pt x="72" y="70"/>
                      </a:lnTo>
                      <a:lnTo>
                        <a:pt x="72" y="70"/>
                      </a:lnTo>
                      <a:lnTo>
                        <a:pt x="72" y="70"/>
                      </a:lnTo>
                      <a:lnTo>
                        <a:pt x="72" y="74"/>
                      </a:lnTo>
                      <a:lnTo>
                        <a:pt x="68" y="74"/>
                      </a:lnTo>
                      <a:lnTo>
                        <a:pt x="68" y="74"/>
                      </a:lnTo>
                      <a:lnTo>
                        <a:pt x="68" y="74"/>
                      </a:lnTo>
                      <a:lnTo>
                        <a:pt x="68" y="78"/>
                      </a:lnTo>
                      <a:lnTo>
                        <a:pt x="68" y="78"/>
                      </a:lnTo>
                      <a:lnTo>
                        <a:pt x="64" y="78"/>
                      </a:lnTo>
                      <a:lnTo>
                        <a:pt x="64" y="78"/>
                      </a:lnTo>
                      <a:lnTo>
                        <a:pt x="64" y="82"/>
                      </a:lnTo>
                      <a:lnTo>
                        <a:pt x="64" y="82"/>
                      </a:lnTo>
                      <a:lnTo>
                        <a:pt x="64" y="82"/>
                      </a:lnTo>
                      <a:lnTo>
                        <a:pt x="64" y="82"/>
                      </a:lnTo>
                      <a:lnTo>
                        <a:pt x="60" y="82"/>
                      </a:lnTo>
                      <a:lnTo>
                        <a:pt x="60" y="82"/>
                      </a:lnTo>
                      <a:lnTo>
                        <a:pt x="60" y="82"/>
                      </a:lnTo>
                      <a:lnTo>
                        <a:pt x="60" y="82"/>
                      </a:lnTo>
                      <a:lnTo>
                        <a:pt x="60" y="82"/>
                      </a:lnTo>
                      <a:lnTo>
                        <a:pt x="60" y="82"/>
                      </a:lnTo>
                      <a:lnTo>
                        <a:pt x="60" y="82"/>
                      </a:lnTo>
                      <a:lnTo>
                        <a:pt x="60" y="82"/>
                      </a:lnTo>
                      <a:lnTo>
                        <a:pt x="60" y="86"/>
                      </a:lnTo>
                      <a:lnTo>
                        <a:pt x="56" y="86"/>
                      </a:lnTo>
                      <a:lnTo>
                        <a:pt x="56" y="86"/>
                      </a:lnTo>
                      <a:lnTo>
                        <a:pt x="56" y="86"/>
                      </a:lnTo>
                      <a:lnTo>
                        <a:pt x="52" y="86"/>
                      </a:lnTo>
                      <a:lnTo>
                        <a:pt x="52" y="86"/>
                      </a:lnTo>
                      <a:lnTo>
                        <a:pt x="52" y="90"/>
                      </a:lnTo>
                      <a:lnTo>
                        <a:pt x="52" y="90"/>
                      </a:lnTo>
                      <a:lnTo>
                        <a:pt x="48" y="90"/>
                      </a:lnTo>
                      <a:lnTo>
                        <a:pt x="48" y="86"/>
                      </a:lnTo>
                      <a:lnTo>
                        <a:pt x="48" y="86"/>
                      </a:lnTo>
                      <a:lnTo>
                        <a:pt x="48" y="86"/>
                      </a:lnTo>
                      <a:lnTo>
                        <a:pt x="48" y="86"/>
                      </a:lnTo>
                      <a:lnTo>
                        <a:pt x="46" y="90"/>
                      </a:lnTo>
                      <a:lnTo>
                        <a:pt x="46" y="90"/>
                      </a:lnTo>
                      <a:lnTo>
                        <a:pt x="46" y="86"/>
                      </a:lnTo>
                      <a:lnTo>
                        <a:pt x="46" y="86"/>
                      </a:lnTo>
                      <a:lnTo>
                        <a:pt x="46" y="86"/>
                      </a:lnTo>
                      <a:lnTo>
                        <a:pt x="46" y="86"/>
                      </a:lnTo>
                      <a:lnTo>
                        <a:pt x="46" y="86"/>
                      </a:lnTo>
                      <a:lnTo>
                        <a:pt x="46" y="86"/>
                      </a:lnTo>
                      <a:lnTo>
                        <a:pt x="42" y="86"/>
                      </a:lnTo>
                      <a:lnTo>
                        <a:pt x="42" y="86"/>
                      </a:lnTo>
                      <a:lnTo>
                        <a:pt x="38" y="86"/>
                      </a:lnTo>
                      <a:lnTo>
                        <a:pt x="38" y="86"/>
                      </a:lnTo>
                      <a:lnTo>
                        <a:pt x="38" y="86"/>
                      </a:lnTo>
                      <a:lnTo>
                        <a:pt x="38" y="86"/>
                      </a:lnTo>
                      <a:lnTo>
                        <a:pt x="38" y="86"/>
                      </a:lnTo>
                      <a:lnTo>
                        <a:pt x="34" y="86"/>
                      </a:lnTo>
                      <a:lnTo>
                        <a:pt x="34" y="86"/>
                      </a:lnTo>
                      <a:lnTo>
                        <a:pt x="34" y="86"/>
                      </a:lnTo>
                      <a:lnTo>
                        <a:pt x="34" y="90"/>
                      </a:lnTo>
                      <a:lnTo>
                        <a:pt x="30" y="90"/>
                      </a:lnTo>
                      <a:lnTo>
                        <a:pt x="30" y="86"/>
                      </a:lnTo>
                      <a:lnTo>
                        <a:pt x="30" y="86"/>
                      </a:lnTo>
                      <a:lnTo>
                        <a:pt x="30" y="86"/>
                      </a:lnTo>
                      <a:lnTo>
                        <a:pt x="30" y="86"/>
                      </a:lnTo>
                      <a:lnTo>
                        <a:pt x="26" y="86"/>
                      </a:lnTo>
                      <a:lnTo>
                        <a:pt x="22" y="82"/>
                      </a:lnTo>
                      <a:lnTo>
                        <a:pt x="22" y="82"/>
                      </a:lnTo>
                      <a:lnTo>
                        <a:pt x="18" y="78"/>
                      </a:lnTo>
                      <a:lnTo>
                        <a:pt x="18" y="78"/>
                      </a:lnTo>
                      <a:lnTo>
                        <a:pt x="18" y="78"/>
                      </a:lnTo>
                      <a:lnTo>
                        <a:pt x="16" y="78"/>
                      </a:lnTo>
                      <a:lnTo>
                        <a:pt x="16" y="78"/>
                      </a:lnTo>
                      <a:lnTo>
                        <a:pt x="12" y="78"/>
                      </a:lnTo>
                      <a:lnTo>
                        <a:pt x="12" y="78"/>
                      </a:lnTo>
                      <a:lnTo>
                        <a:pt x="8" y="78"/>
                      </a:lnTo>
                      <a:lnTo>
                        <a:pt x="8" y="78"/>
                      </a:lnTo>
                      <a:lnTo>
                        <a:pt x="8" y="78"/>
                      </a:lnTo>
                      <a:lnTo>
                        <a:pt x="8" y="78"/>
                      </a:lnTo>
                      <a:lnTo>
                        <a:pt x="8" y="74"/>
                      </a:lnTo>
                      <a:lnTo>
                        <a:pt x="8" y="74"/>
                      </a:lnTo>
                      <a:lnTo>
                        <a:pt x="4" y="74"/>
                      </a:lnTo>
                      <a:lnTo>
                        <a:pt x="4" y="74"/>
                      </a:lnTo>
                      <a:lnTo>
                        <a:pt x="4" y="70"/>
                      </a:lnTo>
                      <a:lnTo>
                        <a:pt x="4" y="70"/>
                      </a:lnTo>
                      <a:lnTo>
                        <a:pt x="4" y="70"/>
                      </a:lnTo>
                      <a:lnTo>
                        <a:pt x="4" y="70"/>
                      </a:lnTo>
                      <a:lnTo>
                        <a:pt x="4" y="70"/>
                      </a:lnTo>
                      <a:lnTo>
                        <a:pt x="0" y="70"/>
                      </a:lnTo>
                      <a:lnTo>
                        <a:pt x="0" y="66"/>
                      </a:lnTo>
                      <a:lnTo>
                        <a:pt x="0" y="66"/>
                      </a:lnTo>
                      <a:lnTo>
                        <a:pt x="0" y="66"/>
                      </a:lnTo>
                      <a:lnTo>
                        <a:pt x="0" y="64"/>
                      </a:lnTo>
                      <a:lnTo>
                        <a:pt x="0" y="64"/>
                      </a:lnTo>
                      <a:lnTo>
                        <a:pt x="0" y="64"/>
                      </a:lnTo>
                      <a:lnTo>
                        <a:pt x="0" y="64"/>
                      </a:lnTo>
                      <a:lnTo>
                        <a:pt x="0" y="60"/>
                      </a:lnTo>
                      <a:lnTo>
                        <a:pt x="0" y="60"/>
                      </a:lnTo>
                      <a:lnTo>
                        <a:pt x="0" y="60"/>
                      </a:lnTo>
                      <a:lnTo>
                        <a:pt x="0" y="60"/>
                      </a:lnTo>
                      <a:lnTo>
                        <a:pt x="0" y="60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2" name="Freeform 189"/>
                <p:cNvSpPr>
                  <a:spLocks noEditPoints="1"/>
                </p:cNvSpPr>
                <p:nvPr/>
              </p:nvSpPr>
              <p:spPr bwMode="auto">
                <a:xfrm>
                  <a:off x="2749550" y="4222818"/>
                  <a:ext cx="301625" cy="323850"/>
                </a:xfrm>
                <a:custGeom>
                  <a:avLst/>
                  <a:gdLst>
                    <a:gd name="T0" fmla="*/ 108 w 190"/>
                    <a:gd name="T1" fmla="*/ 38 h 204"/>
                    <a:gd name="T2" fmla="*/ 126 w 190"/>
                    <a:gd name="T3" fmla="*/ 30 h 204"/>
                    <a:gd name="T4" fmla="*/ 126 w 190"/>
                    <a:gd name="T5" fmla="*/ 30 h 204"/>
                    <a:gd name="T6" fmla="*/ 148 w 190"/>
                    <a:gd name="T7" fmla="*/ 28 h 204"/>
                    <a:gd name="T8" fmla="*/ 152 w 190"/>
                    <a:gd name="T9" fmla="*/ 30 h 204"/>
                    <a:gd name="T10" fmla="*/ 148 w 190"/>
                    <a:gd name="T11" fmla="*/ 34 h 204"/>
                    <a:gd name="T12" fmla="*/ 152 w 190"/>
                    <a:gd name="T13" fmla="*/ 42 h 204"/>
                    <a:gd name="T14" fmla="*/ 156 w 190"/>
                    <a:gd name="T15" fmla="*/ 42 h 204"/>
                    <a:gd name="T16" fmla="*/ 160 w 190"/>
                    <a:gd name="T17" fmla="*/ 42 h 204"/>
                    <a:gd name="T18" fmla="*/ 172 w 190"/>
                    <a:gd name="T19" fmla="*/ 46 h 204"/>
                    <a:gd name="T20" fmla="*/ 172 w 190"/>
                    <a:gd name="T21" fmla="*/ 58 h 204"/>
                    <a:gd name="T22" fmla="*/ 168 w 190"/>
                    <a:gd name="T23" fmla="*/ 68 h 204"/>
                    <a:gd name="T24" fmla="*/ 190 w 190"/>
                    <a:gd name="T25" fmla="*/ 68 h 204"/>
                    <a:gd name="T26" fmla="*/ 178 w 190"/>
                    <a:gd name="T27" fmla="*/ 84 h 204"/>
                    <a:gd name="T28" fmla="*/ 178 w 190"/>
                    <a:gd name="T29" fmla="*/ 94 h 204"/>
                    <a:gd name="T30" fmla="*/ 172 w 190"/>
                    <a:gd name="T31" fmla="*/ 106 h 204"/>
                    <a:gd name="T32" fmla="*/ 178 w 190"/>
                    <a:gd name="T33" fmla="*/ 128 h 204"/>
                    <a:gd name="T34" fmla="*/ 168 w 190"/>
                    <a:gd name="T35" fmla="*/ 140 h 204"/>
                    <a:gd name="T36" fmla="*/ 152 w 190"/>
                    <a:gd name="T37" fmla="*/ 144 h 204"/>
                    <a:gd name="T38" fmla="*/ 142 w 190"/>
                    <a:gd name="T39" fmla="*/ 144 h 204"/>
                    <a:gd name="T40" fmla="*/ 130 w 190"/>
                    <a:gd name="T41" fmla="*/ 148 h 204"/>
                    <a:gd name="T42" fmla="*/ 118 w 190"/>
                    <a:gd name="T43" fmla="*/ 140 h 204"/>
                    <a:gd name="T44" fmla="*/ 126 w 190"/>
                    <a:gd name="T45" fmla="*/ 154 h 204"/>
                    <a:gd name="T46" fmla="*/ 134 w 190"/>
                    <a:gd name="T47" fmla="*/ 170 h 204"/>
                    <a:gd name="T48" fmla="*/ 134 w 190"/>
                    <a:gd name="T49" fmla="*/ 178 h 204"/>
                    <a:gd name="T50" fmla="*/ 118 w 190"/>
                    <a:gd name="T51" fmla="*/ 192 h 204"/>
                    <a:gd name="T52" fmla="*/ 108 w 190"/>
                    <a:gd name="T53" fmla="*/ 204 h 204"/>
                    <a:gd name="T54" fmla="*/ 98 w 190"/>
                    <a:gd name="T55" fmla="*/ 200 h 204"/>
                    <a:gd name="T56" fmla="*/ 86 w 190"/>
                    <a:gd name="T57" fmla="*/ 174 h 204"/>
                    <a:gd name="T58" fmla="*/ 82 w 190"/>
                    <a:gd name="T59" fmla="*/ 154 h 204"/>
                    <a:gd name="T60" fmla="*/ 78 w 190"/>
                    <a:gd name="T61" fmla="*/ 144 h 204"/>
                    <a:gd name="T62" fmla="*/ 78 w 190"/>
                    <a:gd name="T63" fmla="*/ 120 h 204"/>
                    <a:gd name="T64" fmla="*/ 74 w 190"/>
                    <a:gd name="T65" fmla="*/ 106 h 204"/>
                    <a:gd name="T66" fmla="*/ 56 w 190"/>
                    <a:gd name="T67" fmla="*/ 106 h 204"/>
                    <a:gd name="T68" fmla="*/ 42 w 190"/>
                    <a:gd name="T69" fmla="*/ 90 h 204"/>
                    <a:gd name="T70" fmla="*/ 26 w 190"/>
                    <a:gd name="T71" fmla="*/ 90 h 204"/>
                    <a:gd name="T72" fmla="*/ 12 w 190"/>
                    <a:gd name="T73" fmla="*/ 84 h 204"/>
                    <a:gd name="T74" fmla="*/ 12 w 190"/>
                    <a:gd name="T75" fmla="*/ 68 h 204"/>
                    <a:gd name="T76" fmla="*/ 0 w 190"/>
                    <a:gd name="T77" fmla="*/ 54 h 204"/>
                    <a:gd name="T78" fmla="*/ 4 w 190"/>
                    <a:gd name="T79" fmla="*/ 34 h 204"/>
                    <a:gd name="T80" fmla="*/ 14 w 190"/>
                    <a:gd name="T81" fmla="*/ 20 h 204"/>
                    <a:gd name="T82" fmla="*/ 26 w 190"/>
                    <a:gd name="T83" fmla="*/ 12 h 204"/>
                    <a:gd name="T84" fmla="*/ 22 w 190"/>
                    <a:gd name="T85" fmla="*/ 24 h 204"/>
                    <a:gd name="T86" fmla="*/ 14 w 190"/>
                    <a:gd name="T87" fmla="*/ 42 h 204"/>
                    <a:gd name="T88" fmla="*/ 22 w 190"/>
                    <a:gd name="T89" fmla="*/ 58 h 204"/>
                    <a:gd name="T90" fmla="*/ 30 w 190"/>
                    <a:gd name="T91" fmla="*/ 38 h 204"/>
                    <a:gd name="T92" fmla="*/ 26 w 190"/>
                    <a:gd name="T93" fmla="*/ 24 h 204"/>
                    <a:gd name="T94" fmla="*/ 42 w 190"/>
                    <a:gd name="T95" fmla="*/ 16 h 204"/>
                    <a:gd name="T96" fmla="*/ 44 w 190"/>
                    <a:gd name="T97" fmla="*/ 12 h 204"/>
                    <a:gd name="T98" fmla="*/ 48 w 190"/>
                    <a:gd name="T99" fmla="*/ 8 h 204"/>
                    <a:gd name="T100" fmla="*/ 64 w 190"/>
                    <a:gd name="T101" fmla="*/ 16 h 204"/>
                    <a:gd name="T102" fmla="*/ 78 w 190"/>
                    <a:gd name="T103" fmla="*/ 30 h 204"/>
                    <a:gd name="T104" fmla="*/ 98 w 190"/>
                    <a:gd name="T105" fmla="*/ 30 h 204"/>
                    <a:gd name="T106" fmla="*/ 174 w 190"/>
                    <a:gd name="T107" fmla="*/ 58 h 204"/>
                    <a:gd name="T108" fmla="*/ 174 w 190"/>
                    <a:gd name="T109" fmla="*/ 60 h 204"/>
                    <a:gd name="T110" fmla="*/ 172 w 190"/>
                    <a:gd name="T111" fmla="*/ 64 h 204"/>
                    <a:gd name="T112" fmla="*/ 172 w 190"/>
                    <a:gd name="T113" fmla="*/ 64 h 204"/>
                    <a:gd name="T114" fmla="*/ 172 w 190"/>
                    <a:gd name="T115" fmla="*/ 64 h 204"/>
                    <a:gd name="T116" fmla="*/ 168 w 190"/>
                    <a:gd name="T117" fmla="*/ 68 h 204"/>
                    <a:gd name="T118" fmla="*/ 172 w 190"/>
                    <a:gd name="T119" fmla="*/ 64 h 204"/>
                    <a:gd name="T120" fmla="*/ 126 w 190"/>
                    <a:gd name="T121" fmla="*/ 24 h 204"/>
                    <a:gd name="T122" fmla="*/ 130 w 190"/>
                    <a:gd name="T123" fmla="*/ 28 h 204"/>
                    <a:gd name="T124" fmla="*/ 112 w 190"/>
                    <a:gd name="T125" fmla="*/ 28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90" h="204">
                      <a:moveTo>
                        <a:pt x="98" y="30"/>
                      </a:moveTo>
                      <a:lnTo>
                        <a:pt x="100" y="30"/>
                      </a:lnTo>
                      <a:lnTo>
                        <a:pt x="100" y="34"/>
                      </a:lnTo>
                      <a:lnTo>
                        <a:pt x="104" y="34"/>
                      </a:lnTo>
                      <a:lnTo>
                        <a:pt x="104" y="38"/>
                      </a:lnTo>
                      <a:lnTo>
                        <a:pt x="108" y="38"/>
                      </a:lnTo>
                      <a:lnTo>
                        <a:pt x="112" y="38"/>
                      </a:lnTo>
                      <a:lnTo>
                        <a:pt x="116" y="38"/>
                      </a:lnTo>
                      <a:lnTo>
                        <a:pt x="118" y="38"/>
                      </a:lnTo>
                      <a:lnTo>
                        <a:pt x="122" y="34"/>
                      </a:lnTo>
                      <a:lnTo>
                        <a:pt x="126" y="34"/>
                      </a:lnTo>
                      <a:lnTo>
                        <a:pt x="126" y="30"/>
                      </a:lnTo>
                      <a:lnTo>
                        <a:pt x="130" y="30"/>
                      </a:lnTo>
                      <a:lnTo>
                        <a:pt x="130" y="34"/>
                      </a:lnTo>
                      <a:lnTo>
                        <a:pt x="134" y="34"/>
                      </a:lnTo>
                      <a:lnTo>
                        <a:pt x="134" y="30"/>
                      </a:lnTo>
                      <a:lnTo>
                        <a:pt x="130" y="30"/>
                      </a:lnTo>
                      <a:lnTo>
                        <a:pt x="126" y="30"/>
                      </a:lnTo>
                      <a:lnTo>
                        <a:pt x="130" y="30"/>
                      </a:lnTo>
                      <a:lnTo>
                        <a:pt x="134" y="30"/>
                      </a:lnTo>
                      <a:lnTo>
                        <a:pt x="138" y="30"/>
                      </a:lnTo>
                      <a:lnTo>
                        <a:pt x="142" y="28"/>
                      </a:lnTo>
                      <a:lnTo>
                        <a:pt x="144" y="28"/>
                      </a:lnTo>
                      <a:lnTo>
                        <a:pt x="148" y="28"/>
                      </a:lnTo>
                      <a:lnTo>
                        <a:pt x="152" y="28"/>
                      </a:lnTo>
                      <a:lnTo>
                        <a:pt x="156" y="28"/>
                      </a:lnTo>
                      <a:lnTo>
                        <a:pt x="160" y="28"/>
                      </a:lnTo>
                      <a:lnTo>
                        <a:pt x="160" y="30"/>
                      </a:lnTo>
                      <a:lnTo>
                        <a:pt x="156" y="30"/>
                      </a:lnTo>
                      <a:lnTo>
                        <a:pt x="152" y="30"/>
                      </a:lnTo>
                      <a:lnTo>
                        <a:pt x="148" y="30"/>
                      </a:lnTo>
                      <a:lnTo>
                        <a:pt x="144" y="30"/>
                      </a:lnTo>
                      <a:lnTo>
                        <a:pt x="148" y="30"/>
                      </a:lnTo>
                      <a:lnTo>
                        <a:pt x="148" y="34"/>
                      </a:lnTo>
                      <a:lnTo>
                        <a:pt x="144" y="34"/>
                      </a:lnTo>
                      <a:lnTo>
                        <a:pt x="148" y="34"/>
                      </a:lnTo>
                      <a:lnTo>
                        <a:pt x="148" y="38"/>
                      </a:lnTo>
                      <a:lnTo>
                        <a:pt x="144" y="38"/>
                      </a:lnTo>
                      <a:lnTo>
                        <a:pt x="148" y="42"/>
                      </a:lnTo>
                      <a:lnTo>
                        <a:pt x="148" y="38"/>
                      </a:lnTo>
                      <a:lnTo>
                        <a:pt x="152" y="38"/>
                      </a:lnTo>
                      <a:lnTo>
                        <a:pt x="152" y="42"/>
                      </a:lnTo>
                      <a:lnTo>
                        <a:pt x="156" y="46"/>
                      </a:lnTo>
                      <a:lnTo>
                        <a:pt x="152" y="46"/>
                      </a:lnTo>
                      <a:lnTo>
                        <a:pt x="156" y="46"/>
                      </a:lnTo>
                      <a:lnTo>
                        <a:pt x="156" y="42"/>
                      </a:lnTo>
                      <a:lnTo>
                        <a:pt x="156" y="46"/>
                      </a:lnTo>
                      <a:lnTo>
                        <a:pt x="156" y="42"/>
                      </a:lnTo>
                      <a:lnTo>
                        <a:pt x="160" y="42"/>
                      </a:lnTo>
                      <a:lnTo>
                        <a:pt x="156" y="42"/>
                      </a:lnTo>
                      <a:lnTo>
                        <a:pt x="160" y="42"/>
                      </a:lnTo>
                      <a:lnTo>
                        <a:pt x="160" y="46"/>
                      </a:lnTo>
                      <a:lnTo>
                        <a:pt x="164" y="46"/>
                      </a:lnTo>
                      <a:lnTo>
                        <a:pt x="160" y="42"/>
                      </a:lnTo>
                      <a:lnTo>
                        <a:pt x="164" y="42"/>
                      </a:lnTo>
                      <a:lnTo>
                        <a:pt x="164" y="46"/>
                      </a:lnTo>
                      <a:lnTo>
                        <a:pt x="164" y="42"/>
                      </a:lnTo>
                      <a:lnTo>
                        <a:pt x="168" y="42"/>
                      </a:lnTo>
                      <a:lnTo>
                        <a:pt x="168" y="46"/>
                      </a:lnTo>
                      <a:lnTo>
                        <a:pt x="172" y="46"/>
                      </a:lnTo>
                      <a:lnTo>
                        <a:pt x="172" y="50"/>
                      </a:lnTo>
                      <a:lnTo>
                        <a:pt x="174" y="50"/>
                      </a:lnTo>
                      <a:lnTo>
                        <a:pt x="174" y="54"/>
                      </a:lnTo>
                      <a:lnTo>
                        <a:pt x="172" y="58"/>
                      </a:lnTo>
                      <a:lnTo>
                        <a:pt x="174" y="54"/>
                      </a:lnTo>
                      <a:lnTo>
                        <a:pt x="172" y="58"/>
                      </a:lnTo>
                      <a:lnTo>
                        <a:pt x="172" y="60"/>
                      </a:lnTo>
                      <a:lnTo>
                        <a:pt x="172" y="64"/>
                      </a:lnTo>
                      <a:lnTo>
                        <a:pt x="168" y="64"/>
                      </a:lnTo>
                      <a:lnTo>
                        <a:pt x="164" y="64"/>
                      </a:lnTo>
                      <a:lnTo>
                        <a:pt x="168" y="64"/>
                      </a:lnTo>
                      <a:lnTo>
                        <a:pt x="168" y="68"/>
                      </a:lnTo>
                      <a:lnTo>
                        <a:pt x="172" y="68"/>
                      </a:lnTo>
                      <a:lnTo>
                        <a:pt x="174" y="64"/>
                      </a:lnTo>
                      <a:lnTo>
                        <a:pt x="178" y="64"/>
                      </a:lnTo>
                      <a:lnTo>
                        <a:pt x="182" y="64"/>
                      </a:lnTo>
                      <a:lnTo>
                        <a:pt x="186" y="64"/>
                      </a:lnTo>
                      <a:lnTo>
                        <a:pt x="190" y="68"/>
                      </a:lnTo>
                      <a:lnTo>
                        <a:pt x="190" y="72"/>
                      </a:lnTo>
                      <a:lnTo>
                        <a:pt x="186" y="72"/>
                      </a:lnTo>
                      <a:lnTo>
                        <a:pt x="186" y="76"/>
                      </a:lnTo>
                      <a:lnTo>
                        <a:pt x="182" y="76"/>
                      </a:lnTo>
                      <a:lnTo>
                        <a:pt x="178" y="80"/>
                      </a:lnTo>
                      <a:lnTo>
                        <a:pt x="178" y="84"/>
                      </a:lnTo>
                      <a:lnTo>
                        <a:pt x="178" y="88"/>
                      </a:lnTo>
                      <a:lnTo>
                        <a:pt x="178" y="90"/>
                      </a:lnTo>
                      <a:lnTo>
                        <a:pt x="182" y="88"/>
                      </a:lnTo>
                      <a:lnTo>
                        <a:pt x="182" y="90"/>
                      </a:lnTo>
                      <a:lnTo>
                        <a:pt x="182" y="94"/>
                      </a:lnTo>
                      <a:lnTo>
                        <a:pt x="178" y="94"/>
                      </a:lnTo>
                      <a:lnTo>
                        <a:pt x="178" y="98"/>
                      </a:lnTo>
                      <a:lnTo>
                        <a:pt x="174" y="94"/>
                      </a:lnTo>
                      <a:lnTo>
                        <a:pt x="174" y="98"/>
                      </a:lnTo>
                      <a:lnTo>
                        <a:pt x="172" y="98"/>
                      </a:lnTo>
                      <a:lnTo>
                        <a:pt x="172" y="102"/>
                      </a:lnTo>
                      <a:lnTo>
                        <a:pt x="172" y="106"/>
                      </a:lnTo>
                      <a:lnTo>
                        <a:pt x="168" y="110"/>
                      </a:lnTo>
                      <a:lnTo>
                        <a:pt x="172" y="118"/>
                      </a:lnTo>
                      <a:lnTo>
                        <a:pt x="174" y="120"/>
                      </a:lnTo>
                      <a:lnTo>
                        <a:pt x="174" y="124"/>
                      </a:lnTo>
                      <a:lnTo>
                        <a:pt x="178" y="124"/>
                      </a:lnTo>
                      <a:lnTo>
                        <a:pt x="178" y="128"/>
                      </a:lnTo>
                      <a:lnTo>
                        <a:pt x="178" y="132"/>
                      </a:lnTo>
                      <a:lnTo>
                        <a:pt x="174" y="132"/>
                      </a:lnTo>
                      <a:lnTo>
                        <a:pt x="174" y="136"/>
                      </a:lnTo>
                      <a:lnTo>
                        <a:pt x="172" y="136"/>
                      </a:lnTo>
                      <a:lnTo>
                        <a:pt x="168" y="136"/>
                      </a:lnTo>
                      <a:lnTo>
                        <a:pt x="168" y="140"/>
                      </a:lnTo>
                      <a:lnTo>
                        <a:pt x="164" y="140"/>
                      </a:lnTo>
                      <a:lnTo>
                        <a:pt x="160" y="140"/>
                      </a:lnTo>
                      <a:lnTo>
                        <a:pt x="156" y="144"/>
                      </a:lnTo>
                      <a:lnTo>
                        <a:pt x="156" y="140"/>
                      </a:lnTo>
                      <a:lnTo>
                        <a:pt x="152" y="140"/>
                      </a:lnTo>
                      <a:lnTo>
                        <a:pt x="152" y="144"/>
                      </a:lnTo>
                      <a:lnTo>
                        <a:pt x="148" y="144"/>
                      </a:lnTo>
                      <a:lnTo>
                        <a:pt x="148" y="148"/>
                      </a:lnTo>
                      <a:lnTo>
                        <a:pt x="148" y="152"/>
                      </a:lnTo>
                      <a:lnTo>
                        <a:pt x="144" y="152"/>
                      </a:lnTo>
                      <a:lnTo>
                        <a:pt x="142" y="148"/>
                      </a:lnTo>
                      <a:lnTo>
                        <a:pt x="142" y="144"/>
                      </a:lnTo>
                      <a:lnTo>
                        <a:pt x="138" y="144"/>
                      </a:lnTo>
                      <a:lnTo>
                        <a:pt x="138" y="148"/>
                      </a:lnTo>
                      <a:lnTo>
                        <a:pt x="138" y="144"/>
                      </a:lnTo>
                      <a:lnTo>
                        <a:pt x="134" y="144"/>
                      </a:lnTo>
                      <a:lnTo>
                        <a:pt x="130" y="144"/>
                      </a:lnTo>
                      <a:lnTo>
                        <a:pt x="130" y="148"/>
                      </a:lnTo>
                      <a:lnTo>
                        <a:pt x="130" y="144"/>
                      </a:lnTo>
                      <a:lnTo>
                        <a:pt x="126" y="144"/>
                      </a:lnTo>
                      <a:lnTo>
                        <a:pt x="126" y="140"/>
                      </a:lnTo>
                      <a:lnTo>
                        <a:pt x="122" y="144"/>
                      </a:lnTo>
                      <a:lnTo>
                        <a:pt x="122" y="140"/>
                      </a:lnTo>
                      <a:lnTo>
                        <a:pt x="118" y="140"/>
                      </a:lnTo>
                      <a:lnTo>
                        <a:pt x="118" y="144"/>
                      </a:lnTo>
                      <a:lnTo>
                        <a:pt x="122" y="144"/>
                      </a:lnTo>
                      <a:lnTo>
                        <a:pt x="122" y="148"/>
                      </a:lnTo>
                      <a:lnTo>
                        <a:pt x="126" y="148"/>
                      </a:lnTo>
                      <a:lnTo>
                        <a:pt x="126" y="152"/>
                      </a:lnTo>
                      <a:lnTo>
                        <a:pt x="126" y="154"/>
                      </a:lnTo>
                      <a:lnTo>
                        <a:pt x="126" y="158"/>
                      </a:lnTo>
                      <a:lnTo>
                        <a:pt x="130" y="158"/>
                      </a:lnTo>
                      <a:lnTo>
                        <a:pt x="130" y="162"/>
                      </a:lnTo>
                      <a:lnTo>
                        <a:pt x="130" y="166"/>
                      </a:lnTo>
                      <a:lnTo>
                        <a:pt x="130" y="170"/>
                      </a:lnTo>
                      <a:lnTo>
                        <a:pt x="134" y="170"/>
                      </a:lnTo>
                      <a:lnTo>
                        <a:pt x="138" y="170"/>
                      </a:lnTo>
                      <a:lnTo>
                        <a:pt x="142" y="170"/>
                      </a:lnTo>
                      <a:lnTo>
                        <a:pt x="142" y="174"/>
                      </a:lnTo>
                      <a:lnTo>
                        <a:pt x="138" y="174"/>
                      </a:lnTo>
                      <a:lnTo>
                        <a:pt x="138" y="178"/>
                      </a:lnTo>
                      <a:lnTo>
                        <a:pt x="134" y="178"/>
                      </a:lnTo>
                      <a:lnTo>
                        <a:pt x="130" y="178"/>
                      </a:lnTo>
                      <a:lnTo>
                        <a:pt x="130" y="182"/>
                      </a:lnTo>
                      <a:lnTo>
                        <a:pt x="130" y="184"/>
                      </a:lnTo>
                      <a:lnTo>
                        <a:pt x="126" y="188"/>
                      </a:lnTo>
                      <a:lnTo>
                        <a:pt x="122" y="188"/>
                      </a:lnTo>
                      <a:lnTo>
                        <a:pt x="118" y="192"/>
                      </a:lnTo>
                      <a:lnTo>
                        <a:pt x="116" y="192"/>
                      </a:lnTo>
                      <a:lnTo>
                        <a:pt x="116" y="196"/>
                      </a:lnTo>
                      <a:lnTo>
                        <a:pt x="112" y="196"/>
                      </a:lnTo>
                      <a:lnTo>
                        <a:pt x="112" y="200"/>
                      </a:lnTo>
                      <a:lnTo>
                        <a:pt x="108" y="200"/>
                      </a:lnTo>
                      <a:lnTo>
                        <a:pt x="108" y="204"/>
                      </a:lnTo>
                      <a:lnTo>
                        <a:pt x="108" y="200"/>
                      </a:lnTo>
                      <a:lnTo>
                        <a:pt x="108" y="196"/>
                      </a:lnTo>
                      <a:lnTo>
                        <a:pt x="104" y="196"/>
                      </a:lnTo>
                      <a:lnTo>
                        <a:pt x="104" y="200"/>
                      </a:lnTo>
                      <a:lnTo>
                        <a:pt x="100" y="200"/>
                      </a:lnTo>
                      <a:lnTo>
                        <a:pt x="98" y="200"/>
                      </a:lnTo>
                      <a:lnTo>
                        <a:pt x="94" y="192"/>
                      </a:lnTo>
                      <a:lnTo>
                        <a:pt x="90" y="192"/>
                      </a:lnTo>
                      <a:lnTo>
                        <a:pt x="90" y="188"/>
                      </a:lnTo>
                      <a:lnTo>
                        <a:pt x="90" y="184"/>
                      </a:lnTo>
                      <a:lnTo>
                        <a:pt x="86" y="178"/>
                      </a:lnTo>
                      <a:lnTo>
                        <a:pt x="86" y="174"/>
                      </a:lnTo>
                      <a:lnTo>
                        <a:pt x="86" y="170"/>
                      </a:lnTo>
                      <a:lnTo>
                        <a:pt x="82" y="166"/>
                      </a:lnTo>
                      <a:lnTo>
                        <a:pt x="78" y="166"/>
                      </a:lnTo>
                      <a:lnTo>
                        <a:pt x="78" y="162"/>
                      </a:lnTo>
                      <a:lnTo>
                        <a:pt x="82" y="158"/>
                      </a:lnTo>
                      <a:lnTo>
                        <a:pt x="82" y="154"/>
                      </a:lnTo>
                      <a:lnTo>
                        <a:pt x="86" y="154"/>
                      </a:lnTo>
                      <a:lnTo>
                        <a:pt x="82" y="154"/>
                      </a:lnTo>
                      <a:lnTo>
                        <a:pt x="82" y="152"/>
                      </a:lnTo>
                      <a:lnTo>
                        <a:pt x="82" y="148"/>
                      </a:lnTo>
                      <a:lnTo>
                        <a:pt x="78" y="148"/>
                      </a:lnTo>
                      <a:lnTo>
                        <a:pt x="78" y="144"/>
                      </a:lnTo>
                      <a:lnTo>
                        <a:pt x="78" y="140"/>
                      </a:lnTo>
                      <a:lnTo>
                        <a:pt x="74" y="136"/>
                      </a:lnTo>
                      <a:lnTo>
                        <a:pt x="78" y="132"/>
                      </a:lnTo>
                      <a:lnTo>
                        <a:pt x="78" y="128"/>
                      </a:lnTo>
                      <a:lnTo>
                        <a:pt x="78" y="124"/>
                      </a:lnTo>
                      <a:lnTo>
                        <a:pt x="78" y="120"/>
                      </a:lnTo>
                      <a:lnTo>
                        <a:pt x="78" y="118"/>
                      </a:lnTo>
                      <a:lnTo>
                        <a:pt x="78" y="114"/>
                      </a:lnTo>
                      <a:lnTo>
                        <a:pt x="82" y="110"/>
                      </a:lnTo>
                      <a:lnTo>
                        <a:pt x="82" y="106"/>
                      </a:lnTo>
                      <a:lnTo>
                        <a:pt x="78" y="106"/>
                      </a:lnTo>
                      <a:lnTo>
                        <a:pt x="74" y="106"/>
                      </a:lnTo>
                      <a:lnTo>
                        <a:pt x="72" y="106"/>
                      </a:lnTo>
                      <a:lnTo>
                        <a:pt x="68" y="106"/>
                      </a:lnTo>
                      <a:lnTo>
                        <a:pt x="64" y="106"/>
                      </a:lnTo>
                      <a:lnTo>
                        <a:pt x="60" y="106"/>
                      </a:lnTo>
                      <a:lnTo>
                        <a:pt x="56" y="110"/>
                      </a:lnTo>
                      <a:lnTo>
                        <a:pt x="56" y="106"/>
                      </a:lnTo>
                      <a:lnTo>
                        <a:pt x="48" y="102"/>
                      </a:lnTo>
                      <a:lnTo>
                        <a:pt x="44" y="94"/>
                      </a:lnTo>
                      <a:lnTo>
                        <a:pt x="44" y="90"/>
                      </a:lnTo>
                      <a:lnTo>
                        <a:pt x="44" y="94"/>
                      </a:lnTo>
                      <a:lnTo>
                        <a:pt x="42" y="94"/>
                      </a:lnTo>
                      <a:lnTo>
                        <a:pt x="42" y="90"/>
                      </a:lnTo>
                      <a:lnTo>
                        <a:pt x="38" y="90"/>
                      </a:lnTo>
                      <a:lnTo>
                        <a:pt x="34" y="90"/>
                      </a:lnTo>
                      <a:lnTo>
                        <a:pt x="30" y="90"/>
                      </a:lnTo>
                      <a:lnTo>
                        <a:pt x="30" y="94"/>
                      </a:lnTo>
                      <a:lnTo>
                        <a:pt x="30" y="90"/>
                      </a:lnTo>
                      <a:lnTo>
                        <a:pt x="26" y="90"/>
                      </a:lnTo>
                      <a:lnTo>
                        <a:pt x="22" y="90"/>
                      </a:lnTo>
                      <a:lnTo>
                        <a:pt x="18" y="90"/>
                      </a:lnTo>
                      <a:lnTo>
                        <a:pt x="14" y="90"/>
                      </a:lnTo>
                      <a:lnTo>
                        <a:pt x="14" y="88"/>
                      </a:lnTo>
                      <a:lnTo>
                        <a:pt x="12" y="88"/>
                      </a:lnTo>
                      <a:lnTo>
                        <a:pt x="12" y="84"/>
                      </a:lnTo>
                      <a:lnTo>
                        <a:pt x="12" y="80"/>
                      </a:lnTo>
                      <a:lnTo>
                        <a:pt x="12" y="76"/>
                      </a:lnTo>
                      <a:lnTo>
                        <a:pt x="14" y="76"/>
                      </a:lnTo>
                      <a:lnTo>
                        <a:pt x="14" y="72"/>
                      </a:lnTo>
                      <a:lnTo>
                        <a:pt x="12" y="72"/>
                      </a:lnTo>
                      <a:lnTo>
                        <a:pt x="12" y="68"/>
                      </a:lnTo>
                      <a:lnTo>
                        <a:pt x="8" y="64"/>
                      </a:lnTo>
                      <a:lnTo>
                        <a:pt x="8" y="60"/>
                      </a:lnTo>
                      <a:lnTo>
                        <a:pt x="8" y="58"/>
                      </a:lnTo>
                      <a:lnTo>
                        <a:pt x="4" y="58"/>
                      </a:lnTo>
                      <a:lnTo>
                        <a:pt x="4" y="54"/>
                      </a:lnTo>
                      <a:lnTo>
                        <a:pt x="0" y="54"/>
                      </a:lnTo>
                      <a:lnTo>
                        <a:pt x="0" y="50"/>
                      </a:lnTo>
                      <a:lnTo>
                        <a:pt x="4" y="50"/>
                      </a:lnTo>
                      <a:lnTo>
                        <a:pt x="4" y="46"/>
                      </a:lnTo>
                      <a:lnTo>
                        <a:pt x="4" y="42"/>
                      </a:lnTo>
                      <a:lnTo>
                        <a:pt x="4" y="38"/>
                      </a:lnTo>
                      <a:lnTo>
                        <a:pt x="4" y="34"/>
                      </a:lnTo>
                      <a:lnTo>
                        <a:pt x="8" y="30"/>
                      </a:lnTo>
                      <a:lnTo>
                        <a:pt x="8" y="28"/>
                      </a:lnTo>
                      <a:lnTo>
                        <a:pt x="8" y="24"/>
                      </a:lnTo>
                      <a:lnTo>
                        <a:pt x="12" y="24"/>
                      </a:lnTo>
                      <a:lnTo>
                        <a:pt x="12" y="20"/>
                      </a:lnTo>
                      <a:lnTo>
                        <a:pt x="14" y="20"/>
                      </a:lnTo>
                      <a:lnTo>
                        <a:pt x="14" y="16"/>
                      </a:lnTo>
                      <a:lnTo>
                        <a:pt x="18" y="12"/>
                      </a:lnTo>
                      <a:lnTo>
                        <a:pt x="22" y="12"/>
                      </a:lnTo>
                      <a:lnTo>
                        <a:pt x="22" y="8"/>
                      </a:lnTo>
                      <a:lnTo>
                        <a:pt x="26" y="8"/>
                      </a:lnTo>
                      <a:lnTo>
                        <a:pt x="26" y="12"/>
                      </a:lnTo>
                      <a:lnTo>
                        <a:pt x="22" y="12"/>
                      </a:lnTo>
                      <a:lnTo>
                        <a:pt x="18" y="12"/>
                      </a:lnTo>
                      <a:lnTo>
                        <a:pt x="18" y="16"/>
                      </a:lnTo>
                      <a:lnTo>
                        <a:pt x="18" y="20"/>
                      </a:lnTo>
                      <a:lnTo>
                        <a:pt x="22" y="20"/>
                      </a:lnTo>
                      <a:lnTo>
                        <a:pt x="22" y="24"/>
                      </a:lnTo>
                      <a:lnTo>
                        <a:pt x="22" y="28"/>
                      </a:lnTo>
                      <a:lnTo>
                        <a:pt x="22" y="30"/>
                      </a:lnTo>
                      <a:lnTo>
                        <a:pt x="22" y="34"/>
                      </a:lnTo>
                      <a:lnTo>
                        <a:pt x="18" y="34"/>
                      </a:lnTo>
                      <a:lnTo>
                        <a:pt x="18" y="38"/>
                      </a:lnTo>
                      <a:lnTo>
                        <a:pt x="14" y="42"/>
                      </a:lnTo>
                      <a:lnTo>
                        <a:pt x="14" y="46"/>
                      </a:lnTo>
                      <a:lnTo>
                        <a:pt x="18" y="46"/>
                      </a:lnTo>
                      <a:lnTo>
                        <a:pt x="18" y="50"/>
                      </a:lnTo>
                      <a:lnTo>
                        <a:pt x="22" y="50"/>
                      </a:lnTo>
                      <a:lnTo>
                        <a:pt x="22" y="54"/>
                      </a:lnTo>
                      <a:lnTo>
                        <a:pt x="22" y="58"/>
                      </a:lnTo>
                      <a:lnTo>
                        <a:pt x="26" y="58"/>
                      </a:lnTo>
                      <a:lnTo>
                        <a:pt x="30" y="54"/>
                      </a:lnTo>
                      <a:lnTo>
                        <a:pt x="30" y="50"/>
                      </a:lnTo>
                      <a:lnTo>
                        <a:pt x="30" y="46"/>
                      </a:lnTo>
                      <a:lnTo>
                        <a:pt x="30" y="42"/>
                      </a:lnTo>
                      <a:lnTo>
                        <a:pt x="30" y="38"/>
                      </a:lnTo>
                      <a:lnTo>
                        <a:pt x="26" y="38"/>
                      </a:lnTo>
                      <a:lnTo>
                        <a:pt x="26" y="34"/>
                      </a:lnTo>
                      <a:lnTo>
                        <a:pt x="26" y="30"/>
                      </a:lnTo>
                      <a:lnTo>
                        <a:pt x="22" y="30"/>
                      </a:lnTo>
                      <a:lnTo>
                        <a:pt x="26" y="28"/>
                      </a:lnTo>
                      <a:lnTo>
                        <a:pt x="26" y="24"/>
                      </a:lnTo>
                      <a:lnTo>
                        <a:pt x="30" y="24"/>
                      </a:lnTo>
                      <a:lnTo>
                        <a:pt x="30" y="20"/>
                      </a:lnTo>
                      <a:lnTo>
                        <a:pt x="34" y="20"/>
                      </a:lnTo>
                      <a:lnTo>
                        <a:pt x="38" y="20"/>
                      </a:lnTo>
                      <a:lnTo>
                        <a:pt x="42" y="20"/>
                      </a:lnTo>
                      <a:lnTo>
                        <a:pt x="42" y="16"/>
                      </a:lnTo>
                      <a:lnTo>
                        <a:pt x="44" y="16"/>
                      </a:lnTo>
                      <a:lnTo>
                        <a:pt x="48" y="16"/>
                      </a:lnTo>
                      <a:lnTo>
                        <a:pt x="48" y="12"/>
                      </a:lnTo>
                      <a:lnTo>
                        <a:pt x="44" y="12"/>
                      </a:lnTo>
                      <a:lnTo>
                        <a:pt x="42" y="12"/>
                      </a:lnTo>
                      <a:lnTo>
                        <a:pt x="44" y="12"/>
                      </a:lnTo>
                      <a:lnTo>
                        <a:pt x="42" y="8"/>
                      </a:lnTo>
                      <a:lnTo>
                        <a:pt x="42" y="4"/>
                      </a:lnTo>
                      <a:lnTo>
                        <a:pt x="44" y="4"/>
                      </a:lnTo>
                      <a:lnTo>
                        <a:pt x="44" y="0"/>
                      </a:lnTo>
                      <a:lnTo>
                        <a:pt x="48" y="4"/>
                      </a:lnTo>
                      <a:lnTo>
                        <a:pt x="48" y="8"/>
                      </a:lnTo>
                      <a:lnTo>
                        <a:pt x="48" y="12"/>
                      </a:lnTo>
                      <a:lnTo>
                        <a:pt x="52" y="16"/>
                      </a:lnTo>
                      <a:lnTo>
                        <a:pt x="56" y="16"/>
                      </a:lnTo>
                      <a:lnTo>
                        <a:pt x="56" y="12"/>
                      </a:lnTo>
                      <a:lnTo>
                        <a:pt x="60" y="16"/>
                      </a:lnTo>
                      <a:lnTo>
                        <a:pt x="64" y="16"/>
                      </a:lnTo>
                      <a:lnTo>
                        <a:pt x="68" y="20"/>
                      </a:lnTo>
                      <a:lnTo>
                        <a:pt x="72" y="24"/>
                      </a:lnTo>
                      <a:lnTo>
                        <a:pt x="72" y="28"/>
                      </a:lnTo>
                      <a:lnTo>
                        <a:pt x="72" y="30"/>
                      </a:lnTo>
                      <a:lnTo>
                        <a:pt x="74" y="30"/>
                      </a:lnTo>
                      <a:lnTo>
                        <a:pt x="78" y="30"/>
                      </a:lnTo>
                      <a:lnTo>
                        <a:pt x="82" y="30"/>
                      </a:lnTo>
                      <a:lnTo>
                        <a:pt x="86" y="30"/>
                      </a:lnTo>
                      <a:lnTo>
                        <a:pt x="90" y="30"/>
                      </a:lnTo>
                      <a:lnTo>
                        <a:pt x="98" y="30"/>
                      </a:lnTo>
                      <a:lnTo>
                        <a:pt x="98" y="30"/>
                      </a:lnTo>
                      <a:lnTo>
                        <a:pt x="98" y="30"/>
                      </a:lnTo>
                      <a:close/>
                      <a:moveTo>
                        <a:pt x="174" y="58"/>
                      </a:moveTo>
                      <a:lnTo>
                        <a:pt x="172" y="60"/>
                      </a:lnTo>
                      <a:lnTo>
                        <a:pt x="172" y="58"/>
                      </a:lnTo>
                      <a:lnTo>
                        <a:pt x="174" y="58"/>
                      </a:lnTo>
                      <a:lnTo>
                        <a:pt x="174" y="58"/>
                      </a:lnTo>
                      <a:lnTo>
                        <a:pt x="174" y="58"/>
                      </a:lnTo>
                      <a:close/>
                      <a:moveTo>
                        <a:pt x="174" y="60"/>
                      </a:moveTo>
                      <a:lnTo>
                        <a:pt x="172" y="60"/>
                      </a:lnTo>
                      <a:lnTo>
                        <a:pt x="174" y="58"/>
                      </a:lnTo>
                      <a:lnTo>
                        <a:pt x="174" y="60"/>
                      </a:lnTo>
                      <a:lnTo>
                        <a:pt x="174" y="60"/>
                      </a:lnTo>
                      <a:lnTo>
                        <a:pt x="174" y="60"/>
                      </a:lnTo>
                      <a:close/>
                      <a:moveTo>
                        <a:pt x="172" y="64"/>
                      </a:moveTo>
                      <a:lnTo>
                        <a:pt x="172" y="60"/>
                      </a:lnTo>
                      <a:lnTo>
                        <a:pt x="174" y="60"/>
                      </a:lnTo>
                      <a:lnTo>
                        <a:pt x="172" y="64"/>
                      </a:lnTo>
                      <a:lnTo>
                        <a:pt x="172" y="64"/>
                      </a:lnTo>
                      <a:lnTo>
                        <a:pt x="172" y="64"/>
                      </a:lnTo>
                      <a:close/>
                      <a:moveTo>
                        <a:pt x="174" y="64"/>
                      </a:moveTo>
                      <a:lnTo>
                        <a:pt x="174" y="60"/>
                      </a:lnTo>
                      <a:lnTo>
                        <a:pt x="174" y="64"/>
                      </a:lnTo>
                      <a:lnTo>
                        <a:pt x="174" y="64"/>
                      </a:lnTo>
                      <a:lnTo>
                        <a:pt x="174" y="64"/>
                      </a:lnTo>
                      <a:close/>
                      <a:moveTo>
                        <a:pt x="172" y="64"/>
                      </a:moveTo>
                      <a:lnTo>
                        <a:pt x="174" y="60"/>
                      </a:lnTo>
                      <a:lnTo>
                        <a:pt x="174" y="64"/>
                      </a:lnTo>
                      <a:lnTo>
                        <a:pt x="172" y="64"/>
                      </a:lnTo>
                      <a:lnTo>
                        <a:pt x="172" y="64"/>
                      </a:lnTo>
                      <a:lnTo>
                        <a:pt x="172" y="64"/>
                      </a:lnTo>
                      <a:close/>
                      <a:moveTo>
                        <a:pt x="172" y="64"/>
                      </a:moveTo>
                      <a:lnTo>
                        <a:pt x="174" y="64"/>
                      </a:lnTo>
                      <a:lnTo>
                        <a:pt x="172" y="64"/>
                      </a:lnTo>
                      <a:lnTo>
                        <a:pt x="172" y="64"/>
                      </a:lnTo>
                      <a:lnTo>
                        <a:pt x="172" y="64"/>
                      </a:lnTo>
                      <a:close/>
                      <a:moveTo>
                        <a:pt x="172" y="68"/>
                      </a:moveTo>
                      <a:lnTo>
                        <a:pt x="168" y="68"/>
                      </a:lnTo>
                      <a:lnTo>
                        <a:pt x="168" y="64"/>
                      </a:lnTo>
                      <a:lnTo>
                        <a:pt x="164" y="64"/>
                      </a:lnTo>
                      <a:lnTo>
                        <a:pt x="168" y="64"/>
                      </a:lnTo>
                      <a:lnTo>
                        <a:pt x="172" y="64"/>
                      </a:lnTo>
                      <a:lnTo>
                        <a:pt x="168" y="64"/>
                      </a:lnTo>
                      <a:lnTo>
                        <a:pt x="172" y="64"/>
                      </a:lnTo>
                      <a:lnTo>
                        <a:pt x="172" y="68"/>
                      </a:lnTo>
                      <a:lnTo>
                        <a:pt x="172" y="68"/>
                      </a:lnTo>
                      <a:lnTo>
                        <a:pt x="172" y="68"/>
                      </a:lnTo>
                      <a:close/>
                      <a:moveTo>
                        <a:pt x="130" y="28"/>
                      </a:moveTo>
                      <a:lnTo>
                        <a:pt x="130" y="24"/>
                      </a:lnTo>
                      <a:lnTo>
                        <a:pt x="126" y="24"/>
                      </a:lnTo>
                      <a:lnTo>
                        <a:pt x="130" y="24"/>
                      </a:lnTo>
                      <a:lnTo>
                        <a:pt x="130" y="20"/>
                      </a:lnTo>
                      <a:lnTo>
                        <a:pt x="134" y="20"/>
                      </a:lnTo>
                      <a:lnTo>
                        <a:pt x="134" y="24"/>
                      </a:lnTo>
                      <a:lnTo>
                        <a:pt x="130" y="24"/>
                      </a:lnTo>
                      <a:lnTo>
                        <a:pt x="130" y="28"/>
                      </a:lnTo>
                      <a:lnTo>
                        <a:pt x="130" y="28"/>
                      </a:lnTo>
                      <a:lnTo>
                        <a:pt x="130" y="28"/>
                      </a:lnTo>
                      <a:close/>
                      <a:moveTo>
                        <a:pt x="112" y="28"/>
                      </a:moveTo>
                      <a:lnTo>
                        <a:pt x="112" y="24"/>
                      </a:lnTo>
                      <a:lnTo>
                        <a:pt x="116" y="24"/>
                      </a:lnTo>
                      <a:lnTo>
                        <a:pt x="112" y="28"/>
                      </a:lnTo>
                      <a:lnTo>
                        <a:pt x="112" y="28"/>
                      </a:lnTo>
                      <a:lnTo>
                        <a:pt x="112" y="28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3" name="Freeform 190"/>
                <p:cNvSpPr>
                  <a:spLocks noEditPoints="1"/>
                </p:cNvSpPr>
                <p:nvPr/>
              </p:nvSpPr>
              <p:spPr bwMode="auto">
                <a:xfrm>
                  <a:off x="6924675" y="4832418"/>
                  <a:ext cx="1035050" cy="1333500"/>
                </a:xfrm>
                <a:custGeom>
                  <a:avLst/>
                  <a:gdLst>
                    <a:gd name="T0" fmla="*/ 570 w 652"/>
                    <a:gd name="T1" fmla="*/ 288 h 840"/>
                    <a:gd name="T2" fmla="*/ 570 w 652"/>
                    <a:gd name="T3" fmla="*/ 362 h 840"/>
                    <a:gd name="T4" fmla="*/ 540 w 652"/>
                    <a:gd name="T5" fmla="*/ 426 h 840"/>
                    <a:gd name="T6" fmla="*/ 526 w 652"/>
                    <a:gd name="T7" fmla="*/ 482 h 840"/>
                    <a:gd name="T8" fmla="*/ 472 w 652"/>
                    <a:gd name="T9" fmla="*/ 516 h 840"/>
                    <a:gd name="T10" fmla="*/ 454 w 652"/>
                    <a:gd name="T11" fmla="*/ 500 h 840"/>
                    <a:gd name="T12" fmla="*/ 410 w 652"/>
                    <a:gd name="T13" fmla="*/ 508 h 840"/>
                    <a:gd name="T14" fmla="*/ 372 w 652"/>
                    <a:gd name="T15" fmla="*/ 456 h 840"/>
                    <a:gd name="T16" fmla="*/ 362 w 652"/>
                    <a:gd name="T17" fmla="*/ 448 h 840"/>
                    <a:gd name="T18" fmla="*/ 350 w 652"/>
                    <a:gd name="T19" fmla="*/ 442 h 840"/>
                    <a:gd name="T20" fmla="*/ 342 w 652"/>
                    <a:gd name="T21" fmla="*/ 418 h 840"/>
                    <a:gd name="T22" fmla="*/ 320 w 652"/>
                    <a:gd name="T23" fmla="*/ 438 h 840"/>
                    <a:gd name="T24" fmla="*/ 294 w 652"/>
                    <a:gd name="T25" fmla="*/ 392 h 840"/>
                    <a:gd name="T26" fmla="*/ 228 w 652"/>
                    <a:gd name="T27" fmla="*/ 384 h 840"/>
                    <a:gd name="T28" fmla="*/ 160 w 652"/>
                    <a:gd name="T29" fmla="*/ 408 h 840"/>
                    <a:gd name="T30" fmla="*/ 120 w 652"/>
                    <a:gd name="T31" fmla="*/ 422 h 840"/>
                    <a:gd name="T32" fmla="*/ 74 w 652"/>
                    <a:gd name="T33" fmla="*/ 448 h 840"/>
                    <a:gd name="T34" fmla="*/ 30 w 652"/>
                    <a:gd name="T35" fmla="*/ 422 h 840"/>
                    <a:gd name="T36" fmla="*/ 34 w 652"/>
                    <a:gd name="T37" fmla="*/ 366 h 840"/>
                    <a:gd name="T38" fmla="*/ 16 w 652"/>
                    <a:gd name="T39" fmla="*/ 296 h 840"/>
                    <a:gd name="T40" fmla="*/ 12 w 652"/>
                    <a:gd name="T41" fmla="*/ 278 h 840"/>
                    <a:gd name="T42" fmla="*/ 12 w 652"/>
                    <a:gd name="T43" fmla="*/ 244 h 840"/>
                    <a:gd name="T44" fmla="*/ 26 w 652"/>
                    <a:gd name="T45" fmla="*/ 210 h 840"/>
                    <a:gd name="T46" fmla="*/ 78 w 652"/>
                    <a:gd name="T47" fmla="*/ 180 h 840"/>
                    <a:gd name="T48" fmla="*/ 134 w 652"/>
                    <a:gd name="T49" fmla="*/ 132 h 840"/>
                    <a:gd name="T50" fmla="*/ 152 w 652"/>
                    <a:gd name="T51" fmla="*/ 120 h 840"/>
                    <a:gd name="T52" fmla="*/ 164 w 652"/>
                    <a:gd name="T53" fmla="*/ 106 h 840"/>
                    <a:gd name="T54" fmla="*/ 174 w 652"/>
                    <a:gd name="T55" fmla="*/ 86 h 840"/>
                    <a:gd name="T56" fmla="*/ 194 w 652"/>
                    <a:gd name="T57" fmla="*/ 72 h 840"/>
                    <a:gd name="T58" fmla="*/ 216 w 652"/>
                    <a:gd name="T59" fmla="*/ 86 h 840"/>
                    <a:gd name="T60" fmla="*/ 238 w 652"/>
                    <a:gd name="T61" fmla="*/ 80 h 840"/>
                    <a:gd name="T62" fmla="*/ 258 w 652"/>
                    <a:gd name="T63" fmla="*/ 46 h 840"/>
                    <a:gd name="T64" fmla="*/ 280 w 652"/>
                    <a:gd name="T65" fmla="*/ 24 h 840"/>
                    <a:gd name="T66" fmla="*/ 298 w 652"/>
                    <a:gd name="T67" fmla="*/ 30 h 840"/>
                    <a:gd name="T68" fmla="*/ 332 w 652"/>
                    <a:gd name="T69" fmla="*/ 34 h 840"/>
                    <a:gd name="T70" fmla="*/ 324 w 652"/>
                    <a:gd name="T71" fmla="*/ 76 h 840"/>
                    <a:gd name="T72" fmla="*/ 362 w 652"/>
                    <a:gd name="T73" fmla="*/ 116 h 840"/>
                    <a:gd name="T74" fmla="*/ 402 w 652"/>
                    <a:gd name="T75" fmla="*/ 110 h 840"/>
                    <a:gd name="T76" fmla="*/ 410 w 652"/>
                    <a:gd name="T77" fmla="*/ 46 h 840"/>
                    <a:gd name="T78" fmla="*/ 426 w 652"/>
                    <a:gd name="T79" fmla="*/ 20 h 840"/>
                    <a:gd name="T80" fmla="*/ 452 w 652"/>
                    <a:gd name="T81" fmla="*/ 72 h 840"/>
                    <a:gd name="T82" fmla="*/ 470 w 652"/>
                    <a:gd name="T83" fmla="*/ 132 h 840"/>
                    <a:gd name="T84" fmla="*/ 502 w 652"/>
                    <a:gd name="T85" fmla="*/ 172 h 840"/>
                    <a:gd name="T86" fmla="*/ 522 w 652"/>
                    <a:gd name="T87" fmla="*/ 218 h 840"/>
                    <a:gd name="T88" fmla="*/ 548 w 652"/>
                    <a:gd name="T89" fmla="*/ 244 h 840"/>
                    <a:gd name="T90" fmla="*/ 574 w 652"/>
                    <a:gd name="T91" fmla="*/ 266 h 840"/>
                    <a:gd name="T92" fmla="*/ 498 w 652"/>
                    <a:gd name="T93" fmla="*/ 594 h 840"/>
                    <a:gd name="T94" fmla="*/ 652 w 652"/>
                    <a:gd name="T95" fmla="*/ 840 h 840"/>
                    <a:gd name="T96" fmla="*/ 336 w 652"/>
                    <a:gd name="T97" fmla="*/ 24 h 840"/>
                    <a:gd name="T98" fmla="*/ 260 w 652"/>
                    <a:gd name="T99" fmla="*/ 24 h 840"/>
                    <a:gd name="T100" fmla="*/ 250 w 652"/>
                    <a:gd name="T101" fmla="*/ 30 h 840"/>
                    <a:gd name="T102" fmla="*/ 332 w 652"/>
                    <a:gd name="T103" fmla="*/ 64 h 840"/>
                    <a:gd name="T104" fmla="*/ 372 w 652"/>
                    <a:gd name="T105" fmla="*/ 114 h 840"/>
                    <a:gd name="T106" fmla="*/ 0 w 652"/>
                    <a:gd name="T107" fmla="*/ 274 h 840"/>
                    <a:gd name="T108" fmla="*/ 574 w 652"/>
                    <a:gd name="T109" fmla="*/ 310 h 840"/>
                    <a:gd name="T110" fmla="*/ 462 w 652"/>
                    <a:gd name="T111" fmla="*/ 508 h 840"/>
                    <a:gd name="T112" fmla="*/ 502 w 652"/>
                    <a:gd name="T113" fmla="*/ 550 h 840"/>
                    <a:gd name="T114" fmla="*/ 458 w 652"/>
                    <a:gd name="T115" fmla="*/ 586 h 840"/>
                    <a:gd name="T116" fmla="*/ 480 w 652"/>
                    <a:gd name="T117" fmla="*/ 560 h 840"/>
                    <a:gd name="T118" fmla="*/ 498 w 652"/>
                    <a:gd name="T119" fmla="*/ 580 h 840"/>
                    <a:gd name="T120" fmla="*/ 488 w 652"/>
                    <a:gd name="T121" fmla="*/ 598 h 8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652" h="840">
                      <a:moveTo>
                        <a:pt x="548" y="244"/>
                      </a:moveTo>
                      <a:lnTo>
                        <a:pt x="548" y="248"/>
                      </a:lnTo>
                      <a:lnTo>
                        <a:pt x="548" y="244"/>
                      </a:lnTo>
                      <a:lnTo>
                        <a:pt x="552" y="244"/>
                      </a:lnTo>
                      <a:lnTo>
                        <a:pt x="552" y="248"/>
                      </a:lnTo>
                      <a:lnTo>
                        <a:pt x="554" y="248"/>
                      </a:lnTo>
                      <a:lnTo>
                        <a:pt x="554" y="252"/>
                      </a:lnTo>
                      <a:lnTo>
                        <a:pt x="554" y="256"/>
                      </a:lnTo>
                      <a:lnTo>
                        <a:pt x="558" y="256"/>
                      </a:lnTo>
                      <a:lnTo>
                        <a:pt x="558" y="258"/>
                      </a:lnTo>
                      <a:lnTo>
                        <a:pt x="562" y="258"/>
                      </a:lnTo>
                      <a:lnTo>
                        <a:pt x="562" y="262"/>
                      </a:lnTo>
                      <a:lnTo>
                        <a:pt x="562" y="266"/>
                      </a:lnTo>
                      <a:lnTo>
                        <a:pt x="566" y="266"/>
                      </a:lnTo>
                      <a:lnTo>
                        <a:pt x="566" y="270"/>
                      </a:lnTo>
                      <a:lnTo>
                        <a:pt x="566" y="274"/>
                      </a:lnTo>
                      <a:lnTo>
                        <a:pt x="566" y="278"/>
                      </a:lnTo>
                      <a:lnTo>
                        <a:pt x="570" y="278"/>
                      </a:lnTo>
                      <a:lnTo>
                        <a:pt x="570" y="282"/>
                      </a:lnTo>
                      <a:lnTo>
                        <a:pt x="570" y="286"/>
                      </a:lnTo>
                      <a:lnTo>
                        <a:pt x="570" y="288"/>
                      </a:lnTo>
                      <a:lnTo>
                        <a:pt x="570" y="292"/>
                      </a:lnTo>
                      <a:lnTo>
                        <a:pt x="570" y="296"/>
                      </a:lnTo>
                      <a:lnTo>
                        <a:pt x="570" y="300"/>
                      </a:lnTo>
                      <a:lnTo>
                        <a:pt x="570" y="302"/>
                      </a:lnTo>
                      <a:lnTo>
                        <a:pt x="574" y="306"/>
                      </a:lnTo>
                      <a:lnTo>
                        <a:pt x="574" y="310"/>
                      </a:lnTo>
                      <a:lnTo>
                        <a:pt x="574" y="314"/>
                      </a:lnTo>
                      <a:lnTo>
                        <a:pt x="574" y="318"/>
                      </a:lnTo>
                      <a:lnTo>
                        <a:pt x="578" y="318"/>
                      </a:lnTo>
                      <a:lnTo>
                        <a:pt x="578" y="322"/>
                      </a:lnTo>
                      <a:lnTo>
                        <a:pt x="578" y="326"/>
                      </a:lnTo>
                      <a:lnTo>
                        <a:pt x="578" y="328"/>
                      </a:lnTo>
                      <a:lnTo>
                        <a:pt x="578" y="332"/>
                      </a:lnTo>
                      <a:lnTo>
                        <a:pt x="574" y="332"/>
                      </a:lnTo>
                      <a:lnTo>
                        <a:pt x="574" y="336"/>
                      </a:lnTo>
                      <a:lnTo>
                        <a:pt x="574" y="340"/>
                      </a:lnTo>
                      <a:lnTo>
                        <a:pt x="574" y="344"/>
                      </a:lnTo>
                      <a:lnTo>
                        <a:pt x="574" y="348"/>
                      </a:lnTo>
                      <a:lnTo>
                        <a:pt x="574" y="352"/>
                      </a:lnTo>
                      <a:lnTo>
                        <a:pt x="570" y="356"/>
                      </a:lnTo>
                      <a:lnTo>
                        <a:pt x="570" y="362"/>
                      </a:lnTo>
                      <a:lnTo>
                        <a:pt x="570" y="366"/>
                      </a:lnTo>
                      <a:lnTo>
                        <a:pt x="570" y="370"/>
                      </a:lnTo>
                      <a:lnTo>
                        <a:pt x="570" y="374"/>
                      </a:lnTo>
                      <a:lnTo>
                        <a:pt x="566" y="378"/>
                      </a:lnTo>
                      <a:lnTo>
                        <a:pt x="566" y="382"/>
                      </a:lnTo>
                      <a:lnTo>
                        <a:pt x="566" y="384"/>
                      </a:lnTo>
                      <a:lnTo>
                        <a:pt x="562" y="384"/>
                      </a:lnTo>
                      <a:lnTo>
                        <a:pt x="562" y="388"/>
                      </a:lnTo>
                      <a:lnTo>
                        <a:pt x="562" y="392"/>
                      </a:lnTo>
                      <a:lnTo>
                        <a:pt x="562" y="396"/>
                      </a:lnTo>
                      <a:lnTo>
                        <a:pt x="558" y="400"/>
                      </a:lnTo>
                      <a:lnTo>
                        <a:pt x="554" y="400"/>
                      </a:lnTo>
                      <a:lnTo>
                        <a:pt x="554" y="404"/>
                      </a:lnTo>
                      <a:lnTo>
                        <a:pt x="552" y="404"/>
                      </a:lnTo>
                      <a:lnTo>
                        <a:pt x="552" y="408"/>
                      </a:lnTo>
                      <a:lnTo>
                        <a:pt x="548" y="412"/>
                      </a:lnTo>
                      <a:lnTo>
                        <a:pt x="548" y="414"/>
                      </a:lnTo>
                      <a:lnTo>
                        <a:pt x="544" y="418"/>
                      </a:lnTo>
                      <a:lnTo>
                        <a:pt x="544" y="422"/>
                      </a:lnTo>
                      <a:lnTo>
                        <a:pt x="544" y="426"/>
                      </a:lnTo>
                      <a:lnTo>
                        <a:pt x="540" y="426"/>
                      </a:lnTo>
                      <a:lnTo>
                        <a:pt x="544" y="426"/>
                      </a:lnTo>
                      <a:lnTo>
                        <a:pt x="540" y="430"/>
                      </a:lnTo>
                      <a:lnTo>
                        <a:pt x="540" y="434"/>
                      </a:lnTo>
                      <a:lnTo>
                        <a:pt x="536" y="438"/>
                      </a:lnTo>
                      <a:lnTo>
                        <a:pt x="540" y="438"/>
                      </a:lnTo>
                      <a:lnTo>
                        <a:pt x="536" y="442"/>
                      </a:lnTo>
                      <a:lnTo>
                        <a:pt x="536" y="444"/>
                      </a:lnTo>
                      <a:lnTo>
                        <a:pt x="536" y="448"/>
                      </a:lnTo>
                      <a:lnTo>
                        <a:pt x="536" y="444"/>
                      </a:lnTo>
                      <a:lnTo>
                        <a:pt x="536" y="448"/>
                      </a:lnTo>
                      <a:lnTo>
                        <a:pt x="532" y="448"/>
                      </a:lnTo>
                      <a:lnTo>
                        <a:pt x="532" y="452"/>
                      </a:lnTo>
                      <a:lnTo>
                        <a:pt x="532" y="456"/>
                      </a:lnTo>
                      <a:lnTo>
                        <a:pt x="528" y="460"/>
                      </a:lnTo>
                      <a:lnTo>
                        <a:pt x="528" y="464"/>
                      </a:lnTo>
                      <a:lnTo>
                        <a:pt x="528" y="468"/>
                      </a:lnTo>
                      <a:lnTo>
                        <a:pt x="528" y="470"/>
                      </a:lnTo>
                      <a:lnTo>
                        <a:pt x="526" y="470"/>
                      </a:lnTo>
                      <a:lnTo>
                        <a:pt x="526" y="474"/>
                      </a:lnTo>
                      <a:lnTo>
                        <a:pt x="526" y="478"/>
                      </a:lnTo>
                      <a:lnTo>
                        <a:pt x="526" y="482"/>
                      </a:lnTo>
                      <a:lnTo>
                        <a:pt x="526" y="486"/>
                      </a:lnTo>
                      <a:lnTo>
                        <a:pt x="526" y="490"/>
                      </a:lnTo>
                      <a:lnTo>
                        <a:pt x="526" y="494"/>
                      </a:lnTo>
                      <a:lnTo>
                        <a:pt x="522" y="494"/>
                      </a:lnTo>
                      <a:lnTo>
                        <a:pt x="522" y="498"/>
                      </a:lnTo>
                      <a:lnTo>
                        <a:pt x="518" y="498"/>
                      </a:lnTo>
                      <a:lnTo>
                        <a:pt x="514" y="498"/>
                      </a:lnTo>
                      <a:lnTo>
                        <a:pt x="510" y="498"/>
                      </a:lnTo>
                      <a:lnTo>
                        <a:pt x="506" y="498"/>
                      </a:lnTo>
                      <a:lnTo>
                        <a:pt x="502" y="498"/>
                      </a:lnTo>
                      <a:lnTo>
                        <a:pt x="498" y="498"/>
                      </a:lnTo>
                      <a:lnTo>
                        <a:pt x="498" y="500"/>
                      </a:lnTo>
                      <a:lnTo>
                        <a:pt x="496" y="500"/>
                      </a:lnTo>
                      <a:lnTo>
                        <a:pt x="492" y="500"/>
                      </a:lnTo>
                      <a:lnTo>
                        <a:pt x="492" y="504"/>
                      </a:lnTo>
                      <a:lnTo>
                        <a:pt x="488" y="504"/>
                      </a:lnTo>
                      <a:lnTo>
                        <a:pt x="488" y="508"/>
                      </a:lnTo>
                      <a:lnTo>
                        <a:pt x="484" y="512"/>
                      </a:lnTo>
                      <a:lnTo>
                        <a:pt x="480" y="516"/>
                      </a:lnTo>
                      <a:lnTo>
                        <a:pt x="476" y="516"/>
                      </a:lnTo>
                      <a:lnTo>
                        <a:pt x="472" y="516"/>
                      </a:lnTo>
                      <a:lnTo>
                        <a:pt x="472" y="520"/>
                      </a:lnTo>
                      <a:lnTo>
                        <a:pt x="476" y="520"/>
                      </a:lnTo>
                      <a:lnTo>
                        <a:pt x="476" y="516"/>
                      </a:lnTo>
                      <a:lnTo>
                        <a:pt x="476" y="524"/>
                      </a:lnTo>
                      <a:lnTo>
                        <a:pt x="472" y="524"/>
                      </a:lnTo>
                      <a:lnTo>
                        <a:pt x="472" y="520"/>
                      </a:lnTo>
                      <a:lnTo>
                        <a:pt x="470" y="516"/>
                      </a:lnTo>
                      <a:lnTo>
                        <a:pt x="470" y="520"/>
                      </a:lnTo>
                      <a:lnTo>
                        <a:pt x="466" y="516"/>
                      </a:lnTo>
                      <a:lnTo>
                        <a:pt x="462" y="516"/>
                      </a:lnTo>
                      <a:lnTo>
                        <a:pt x="462" y="512"/>
                      </a:lnTo>
                      <a:lnTo>
                        <a:pt x="462" y="508"/>
                      </a:lnTo>
                      <a:lnTo>
                        <a:pt x="462" y="504"/>
                      </a:lnTo>
                      <a:lnTo>
                        <a:pt x="458" y="504"/>
                      </a:lnTo>
                      <a:lnTo>
                        <a:pt x="458" y="508"/>
                      </a:lnTo>
                      <a:lnTo>
                        <a:pt x="454" y="512"/>
                      </a:lnTo>
                      <a:lnTo>
                        <a:pt x="452" y="508"/>
                      </a:lnTo>
                      <a:lnTo>
                        <a:pt x="454" y="508"/>
                      </a:lnTo>
                      <a:lnTo>
                        <a:pt x="458" y="504"/>
                      </a:lnTo>
                      <a:lnTo>
                        <a:pt x="458" y="500"/>
                      </a:lnTo>
                      <a:lnTo>
                        <a:pt x="454" y="500"/>
                      </a:lnTo>
                      <a:lnTo>
                        <a:pt x="452" y="500"/>
                      </a:lnTo>
                      <a:lnTo>
                        <a:pt x="448" y="504"/>
                      </a:lnTo>
                      <a:lnTo>
                        <a:pt x="452" y="504"/>
                      </a:lnTo>
                      <a:lnTo>
                        <a:pt x="452" y="508"/>
                      </a:lnTo>
                      <a:lnTo>
                        <a:pt x="448" y="508"/>
                      </a:lnTo>
                      <a:lnTo>
                        <a:pt x="444" y="512"/>
                      </a:lnTo>
                      <a:lnTo>
                        <a:pt x="440" y="512"/>
                      </a:lnTo>
                      <a:lnTo>
                        <a:pt x="440" y="516"/>
                      </a:lnTo>
                      <a:lnTo>
                        <a:pt x="436" y="516"/>
                      </a:lnTo>
                      <a:lnTo>
                        <a:pt x="436" y="520"/>
                      </a:lnTo>
                      <a:lnTo>
                        <a:pt x="432" y="516"/>
                      </a:lnTo>
                      <a:lnTo>
                        <a:pt x="428" y="516"/>
                      </a:lnTo>
                      <a:lnTo>
                        <a:pt x="428" y="512"/>
                      </a:lnTo>
                      <a:lnTo>
                        <a:pt x="426" y="512"/>
                      </a:lnTo>
                      <a:lnTo>
                        <a:pt x="422" y="512"/>
                      </a:lnTo>
                      <a:lnTo>
                        <a:pt x="422" y="508"/>
                      </a:lnTo>
                      <a:lnTo>
                        <a:pt x="418" y="508"/>
                      </a:lnTo>
                      <a:lnTo>
                        <a:pt x="414" y="508"/>
                      </a:lnTo>
                      <a:lnTo>
                        <a:pt x="410" y="508"/>
                      </a:lnTo>
                      <a:lnTo>
                        <a:pt x="406" y="508"/>
                      </a:lnTo>
                      <a:lnTo>
                        <a:pt x="410" y="508"/>
                      </a:lnTo>
                      <a:lnTo>
                        <a:pt x="406" y="508"/>
                      </a:lnTo>
                      <a:lnTo>
                        <a:pt x="402" y="508"/>
                      </a:lnTo>
                      <a:lnTo>
                        <a:pt x="402" y="504"/>
                      </a:lnTo>
                      <a:lnTo>
                        <a:pt x="400" y="504"/>
                      </a:lnTo>
                      <a:lnTo>
                        <a:pt x="396" y="504"/>
                      </a:lnTo>
                      <a:lnTo>
                        <a:pt x="396" y="500"/>
                      </a:lnTo>
                      <a:lnTo>
                        <a:pt x="392" y="500"/>
                      </a:lnTo>
                      <a:lnTo>
                        <a:pt x="392" y="498"/>
                      </a:lnTo>
                      <a:lnTo>
                        <a:pt x="388" y="498"/>
                      </a:lnTo>
                      <a:lnTo>
                        <a:pt x="388" y="494"/>
                      </a:lnTo>
                      <a:lnTo>
                        <a:pt x="384" y="494"/>
                      </a:lnTo>
                      <a:lnTo>
                        <a:pt x="384" y="490"/>
                      </a:lnTo>
                      <a:lnTo>
                        <a:pt x="380" y="486"/>
                      </a:lnTo>
                      <a:lnTo>
                        <a:pt x="380" y="482"/>
                      </a:lnTo>
                      <a:lnTo>
                        <a:pt x="384" y="478"/>
                      </a:lnTo>
                      <a:lnTo>
                        <a:pt x="384" y="474"/>
                      </a:lnTo>
                      <a:lnTo>
                        <a:pt x="380" y="468"/>
                      </a:lnTo>
                      <a:lnTo>
                        <a:pt x="376" y="464"/>
                      </a:lnTo>
                      <a:lnTo>
                        <a:pt x="376" y="460"/>
                      </a:lnTo>
                      <a:lnTo>
                        <a:pt x="372" y="460"/>
                      </a:lnTo>
                      <a:lnTo>
                        <a:pt x="372" y="456"/>
                      </a:lnTo>
                      <a:lnTo>
                        <a:pt x="372" y="460"/>
                      </a:lnTo>
                      <a:lnTo>
                        <a:pt x="376" y="460"/>
                      </a:lnTo>
                      <a:lnTo>
                        <a:pt x="376" y="464"/>
                      </a:lnTo>
                      <a:lnTo>
                        <a:pt x="380" y="468"/>
                      </a:lnTo>
                      <a:lnTo>
                        <a:pt x="380" y="464"/>
                      </a:lnTo>
                      <a:lnTo>
                        <a:pt x="376" y="464"/>
                      </a:lnTo>
                      <a:lnTo>
                        <a:pt x="376" y="460"/>
                      </a:lnTo>
                      <a:lnTo>
                        <a:pt x="372" y="456"/>
                      </a:lnTo>
                      <a:lnTo>
                        <a:pt x="372" y="460"/>
                      </a:lnTo>
                      <a:lnTo>
                        <a:pt x="376" y="456"/>
                      </a:lnTo>
                      <a:lnTo>
                        <a:pt x="376" y="452"/>
                      </a:lnTo>
                      <a:lnTo>
                        <a:pt x="372" y="452"/>
                      </a:lnTo>
                      <a:lnTo>
                        <a:pt x="370" y="452"/>
                      </a:lnTo>
                      <a:lnTo>
                        <a:pt x="372" y="452"/>
                      </a:lnTo>
                      <a:lnTo>
                        <a:pt x="372" y="456"/>
                      </a:lnTo>
                      <a:lnTo>
                        <a:pt x="370" y="456"/>
                      </a:lnTo>
                      <a:lnTo>
                        <a:pt x="366" y="456"/>
                      </a:lnTo>
                      <a:lnTo>
                        <a:pt x="358" y="456"/>
                      </a:lnTo>
                      <a:lnTo>
                        <a:pt x="362" y="456"/>
                      </a:lnTo>
                      <a:lnTo>
                        <a:pt x="362" y="452"/>
                      </a:lnTo>
                      <a:lnTo>
                        <a:pt x="362" y="448"/>
                      </a:lnTo>
                      <a:lnTo>
                        <a:pt x="366" y="444"/>
                      </a:lnTo>
                      <a:lnTo>
                        <a:pt x="366" y="442"/>
                      </a:lnTo>
                      <a:lnTo>
                        <a:pt x="362" y="438"/>
                      </a:lnTo>
                      <a:lnTo>
                        <a:pt x="362" y="434"/>
                      </a:lnTo>
                      <a:lnTo>
                        <a:pt x="358" y="430"/>
                      </a:lnTo>
                      <a:lnTo>
                        <a:pt x="358" y="434"/>
                      </a:lnTo>
                      <a:lnTo>
                        <a:pt x="354" y="434"/>
                      </a:lnTo>
                      <a:lnTo>
                        <a:pt x="354" y="438"/>
                      </a:lnTo>
                      <a:lnTo>
                        <a:pt x="354" y="442"/>
                      </a:lnTo>
                      <a:lnTo>
                        <a:pt x="354" y="444"/>
                      </a:lnTo>
                      <a:lnTo>
                        <a:pt x="354" y="448"/>
                      </a:lnTo>
                      <a:lnTo>
                        <a:pt x="350" y="448"/>
                      </a:lnTo>
                      <a:lnTo>
                        <a:pt x="346" y="448"/>
                      </a:lnTo>
                      <a:lnTo>
                        <a:pt x="342" y="448"/>
                      </a:lnTo>
                      <a:lnTo>
                        <a:pt x="340" y="452"/>
                      </a:lnTo>
                      <a:lnTo>
                        <a:pt x="340" y="448"/>
                      </a:lnTo>
                      <a:lnTo>
                        <a:pt x="342" y="448"/>
                      </a:lnTo>
                      <a:lnTo>
                        <a:pt x="342" y="444"/>
                      </a:lnTo>
                      <a:lnTo>
                        <a:pt x="346" y="444"/>
                      </a:lnTo>
                      <a:lnTo>
                        <a:pt x="350" y="444"/>
                      </a:lnTo>
                      <a:lnTo>
                        <a:pt x="350" y="442"/>
                      </a:lnTo>
                      <a:lnTo>
                        <a:pt x="350" y="438"/>
                      </a:lnTo>
                      <a:lnTo>
                        <a:pt x="350" y="434"/>
                      </a:lnTo>
                      <a:lnTo>
                        <a:pt x="350" y="430"/>
                      </a:lnTo>
                      <a:lnTo>
                        <a:pt x="350" y="426"/>
                      </a:lnTo>
                      <a:lnTo>
                        <a:pt x="350" y="422"/>
                      </a:lnTo>
                      <a:lnTo>
                        <a:pt x="354" y="418"/>
                      </a:lnTo>
                      <a:lnTo>
                        <a:pt x="354" y="414"/>
                      </a:lnTo>
                      <a:lnTo>
                        <a:pt x="354" y="412"/>
                      </a:lnTo>
                      <a:lnTo>
                        <a:pt x="358" y="412"/>
                      </a:lnTo>
                      <a:lnTo>
                        <a:pt x="358" y="408"/>
                      </a:lnTo>
                      <a:lnTo>
                        <a:pt x="354" y="404"/>
                      </a:lnTo>
                      <a:lnTo>
                        <a:pt x="354" y="400"/>
                      </a:lnTo>
                      <a:lnTo>
                        <a:pt x="354" y="404"/>
                      </a:lnTo>
                      <a:lnTo>
                        <a:pt x="354" y="408"/>
                      </a:lnTo>
                      <a:lnTo>
                        <a:pt x="350" y="408"/>
                      </a:lnTo>
                      <a:lnTo>
                        <a:pt x="350" y="412"/>
                      </a:lnTo>
                      <a:lnTo>
                        <a:pt x="346" y="412"/>
                      </a:lnTo>
                      <a:lnTo>
                        <a:pt x="346" y="414"/>
                      </a:lnTo>
                      <a:lnTo>
                        <a:pt x="346" y="418"/>
                      </a:lnTo>
                      <a:lnTo>
                        <a:pt x="342" y="422"/>
                      </a:lnTo>
                      <a:lnTo>
                        <a:pt x="342" y="418"/>
                      </a:lnTo>
                      <a:lnTo>
                        <a:pt x="340" y="422"/>
                      </a:lnTo>
                      <a:lnTo>
                        <a:pt x="342" y="422"/>
                      </a:lnTo>
                      <a:lnTo>
                        <a:pt x="340" y="422"/>
                      </a:lnTo>
                      <a:lnTo>
                        <a:pt x="336" y="426"/>
                      </a:lnTo>
                      <a:lnTo>
                        <a:pt x="332" y="426"/>
                      </a:lnTo>
                      <a:lnTo>
                        <a:pt x="332" y="430"/>
                      </a:lnTo>
                      <a:lnTo>
                        <a:pt x="332" y="434"/>
                      </a:lnTo>
                      <a:lnTo>
                        <a:pt x="328" y="434"/>
                      </a:lnTo>
                      <a:lnTo>
                        <a:pt x="328" y="438"/>
                      </a:lnTo>
                      <a:lnTo>
                        <a:pt x="324" y="442"/>
                      </a:lnTo>
                      <a:lnTo>
                        <a:pt x="328" y="442"/>
                      </a:lnTo>
                      <a:lnTo>
                        <a:pt x="328" y="444"/>
                      </a:lnTo>
                      <a:lnTo>
                        <a:pt x="328" y="442"/>
                      </a:lnTo>
                      <a:lnTo>
                        <a:pt x="324" y="442"/>
                      </a:lnTo>
                      <a:lnTo>
                        <a:pt x="324" y="444"/>
                      </a:lnTo>
                      <a:lnTo>
                        <a:pt x="324" y="442"/>
                      </a:lnTo>
                      <a:lnTo>
                        <a:pt x="320" y="442"/>
                      </a:lnTo>
                      <a:lnTo>
                        <a:pt x="320" y="438"/>
                      </a:lnTo>
                      <a:lnTo>
                        <a:pt x="316" y="438"/>
                      </a:lnTo>
                      <a:lnTo>
                        <a:pt x="316" y="434"/>
                      </a:lnTo>
                      <a:lnTo>
                        <a:pt x="320" y="438"/>
                      </a:lnTo>
                      <a:lnTo>
                        <a:pt x="320" y="434"/>
                      </a:lnTo>
                      <a:lnTo>
                        <a:pt x="320" y="430"/>
                      </a:lnTo>
                      <a:lnTo>
                        <a:pt x="316" y="430"/>
                      </a:lnTo>
                      <a:lnTo>
                        <a:pt x="316" y="426"/>
                      </a:lnTo>
                      <a:lnTo>
                        <a:pt x="316" y="422"/>
                      </a:lnTo>
                      <a:lnTo>
                        <a:pt x="314" y="422"/>
                      </a:lnTo>
                      <a:lnTo>
                        <a:pt x="314" y="418"/>
                      </a:lnTo>
                      <a:lnTo>
                        <a:pt x="314" y="414"/>
                      </a:lnTo>
                      <a:lnTo>
                        <a:pt x="310" y="412"/>
                      </a:lnTo>
                      <a:lnTo>
                        <a:pt x="306" y="412"/>
                      </a:lnTo>
                      <a:lnTo>
                        <a:pt x="302" y="408"/>
                      </a:lnTo>
                      <a:lnTo>
                        <a:pt x="302" y="404"/>
                      </a:lnTo>
                      <a:lnTo>
                        <a:pt x="306" y="404"/>
                      </a:lnTo>
                      <a:lnTo>
                        <a:pt x="306" y="400"/>
                      </a:lnTo>
                      <a:lnTo>
                        <a:pt x="302" y="400"/>
                      </a:lnTo>
                      <a:lnTo>
                        <a:pt x="302" y="396"/>
                      </a:lnTo>
                      <a:lnTo>
                        <a:pt x="298" y="396"/>
                      </a:lnTo>
                      <a:lnTo>
                        <a:pt x="298" y="400"/>
                      </a:lnTo>
                      <a:lnTo>
                        <a:pt x="298" y="396"/>
                      </a:lnTo>
                      <a:lnTo>
                        <a:pt x="298" y="392"/>
                      </a:lnTo>
                      <a:lnTo>
                        <a:pt x="294" y="392"/>
                      </a:lnTo>
                      <a:lnTo>
                        <a:pt x="290" y="392"/>
                      </a:lnTo>
                      <a:lnTo>
                        <a:pt x="286" y="392"/>
                      </a:lnTo>
                      <a:lnTo>
                        <a:pt x="286" y="388"/>
                      </a:lnTo>
                      <a:lnTo>
                        <a:pt x="284" y="388"/>
                      </a:lnTo>
                      <a:lnTo>
                        <a:pt x="280" y="388"/>
                      </a:lnTo>
                      <a:lnTo>
                        <a:pt x="276" y="388"/>
                      </a:lnTo>
                      <a:lnTo>
                        <a:pt x="272" y="388"/>
                      </a:lnTo>
                      <a:lnTo>
                        <a:pt x="272" y="384"/>
                      </a:lnTo>
                      <a:lnTo>
                        <a:pt x="268" y="384"/>
                      </a:lnTo>
                      <a:lnTo>
                        <a:pt x="268" y="382"/>
                      </a:lnTo>
                      <a:lnTo>
                        <a:pt x="264" y="382"/>
                      </a:lnTo>
                      <a:lnTo>
                        <a:pt x="260" y="382"/>
                      </a:lnTo>
                      <a:lnTo>
                        <a:pt x="260" y="378"/>
                      </a:lnTo>
                      <a:lnTo>
                        <a:pt x="258" y="382"/>
                      </a:lnTo>
                      <a:lnTo>
                        <a:pt x="254" y="382"/>
                      </a:lnTo>
                      <a:lnTo>
                        <a:pt x="246" y="382"/>
                      </a:lnTo>
                      <a:lnTo>
                        <a:pt x="242" y="382"/>
                      </a:lnTo>
                      <a:lnTo>
                        <a:pt x="238" y="382"/>
                      </a:lnTo>
                      <a:lnTo>
                        <a:pt x="234" y="382"/>
                      </a:lnTo>
                      <a:lnTo>
                        <a:pt x="230" y="382"/>
                      </a:lnTo>
                      <a:lnTo>
                        <a:pt x="228" y="384"/>
                      </a:lnTo>
                      <a:lnTo>
                        <a:pt x="224" y="384"/>
                      </a:lnTo>
                      <a:lnTo>
                        <a:pt x="216" y="388"/>
                      </a:lnTo>
                      <a:lnTo>
                        <a:pt x="216" y="392"/>
                      </a:lnTo>
                      <a:lnTo>
                        <a:pt x="212" y="392"/>
                      </a:lnTo>
                      <a:lnTo>
                        <a:pt x="208" y="392"/>
                      </a:lnTo>
                      <a:lnTo>
                        <a:pt x="204" y="392"/>
                      </a:lnTo>
                      <a:lnTo>
                        <a:pt x="202" y="392"/>
                      </a:lnTo>
                      <a:lnTo>
                        <a:pt x="202" y="396"/>
                      </a:lnTo>
                      <a:lnTo>
                        <a:pt x="198" y="396"/>
                      </a:lnTo>
                      <a:lnTo>
                        <a:pt x="194" y="396"/>
                      </a:lnTo>
                      <a:lnTo>
                        <a:pt x="194" y="392"/>
                      </a:lnTo>
                      <a:lnTo>
                        <a:pt x="190" y="392"/>
                      </a:lnTo>
                      <a:lnTo>
                        <a:pt x="186" y="392"/>
                      </a:lnTo>
                      <a:lnTo>
                        <a:pt x="182" y="396"/>
                      </a:lnTo>
                      <a:lnTo>
                        <a:pt x="178" y="400"/>
                      </a:lnTo>
                      <a:lnTo>
                        <a:pt x="174" y="400"/>
                      </a:lnTo>
                      <a:lnTo>
                        <a:pt x="172" y="404"/>
                      </a:lnTo>
                      <a:lnTo>
                        <a:pt x="168" y="404"/>
                      </a:lnTo>
                      <a:lnTo>
                        <a:pt x="168" y="408"/>
                      </a:lnTo>
                      <a:lnTo>
                        <a:pt x="164" y="408"/>
                      </a:lnTo>
                      <a:lnTo>
                        <a:pt x="160" y="408"/>
                      </a:lnTo>
                      <a:lnTo>
                        <a:pt x="160" y="412"/>
                      </a:lnTo>
                      <a:lnTo>
                        <a:pt x="160" y="414"/>
                      </a:lnTo>
                      <a:lnTo>
                        <a:pt x="156" y="418"/>
                      </a:lnTo>
                      <a:lnTo>
                        <a:pt x="156" y="422"/>
                      </a:lnTo>
                      <a:lnTo>
                        <a:pt x="152" y="422"/>
                      </a:lnTo>
                      <a:lnTo>
                        <a:pt x="152" y="426"/>
                      </a:lnTo>
                      <a:lnTo>
                        <a:pt x="148" y="422"/>
                      </a:lnTo>
                      <a:lnTo>
                        <a:pt x="148" y="426"/>
                      </a:lnTo>
                      <a:lnTo>
                        <a:pt x="146" y="426"/>
                      </a:lnTo>
                      <a:lnTo>
                        <a:pt x="146" y="422"/>
                      </a:lnTo>
                      <a:lnTo>
                        <a:pt x="142" y="422"/>
                      </a:lnTo>
                      <a:lnTo>
                        <a:pt x="142" y="426"/>
                      </a:lnTo>
                      <a:lnTo>
                        <a:pt x="142" y="422"/>
                      </a:lnTo>
                      <a:lnTo>
                        <a:pt x="138" y="422"/>
                      </a:lnTo>
                      <a:lnTo>
                        <a:pt x="138" y="426"/>
                      </a:lnTo>
                      <a:lnTo>
                        <a:pt x="134" y="426"/>
                      </a:lnTo>
                      <a:lnTo>
                        <a:pt x="130" y="426"/>
                      </a:lnTo>
                      <a:lnTo>
                        <a:pt x="130" y="422"/>
                      </a:lnTo>
                      <a:lnTo>
                        <a:pt x="126" y="422"/>
                      </a:lnTo>
                      <a:lnTo>
                        <a:pt x="122" y="422"/>
                      </a:lnTo>
                      <a:lnTo>
                        <a:pt x="120" y="422"/>
                      </a:lnTo>
                      <a:lnTo>
                        <a:pt x="116" y="422"/>
                      </a:lnTo>
                      <a:lnTo>
                        <a:pt x="112" y="422"/>
                      </a:lnTo>
                      <a:lnTo>
                        <a:pt x="108" y="426"/>
                      </a:lnTo>
                      <a:lnTo>
                        <a:pt x="104" y="426"/>
                      </a:lnTo>
                      <a:lnTo>
                        <a:pt x="102" y="426"/>
                      </a:lnTo>
                      <a:lnTo>
                        <a:pt x="98" y="426"/>
                      </a:lnTo>
                      <a:lnTo>
                        <a:pt x="98" y="430"/>
                      </a:lnTo>
                      <a:lnTo>
                        <a:pt x="94" y="430"/>
                      </a:lnTo>
                      <a:lnTo>
                        <a:pt x="94" y="434"/>
                      </a:lnTo>
                      <a:lnTo>
                        <a:pt x="90" y="438"/>
                      </a:lnTo>
                      <a:lnTo>
                        <a:pt x="90" y="434"/>
                      </a:lnTo>
                      <a:lnTo>
                        <a:pt x="86" y="434"/>
                      </a:lnTo>
                      <a:lnTo>
                        <a:pt x="86" y="438"/>
                      </a:lnTo>
                      <a:lnTo>
                        <a:pt x="82" y="438"/>
                      </a:lnTo>
                      <a:lnTo>
                        <a:pt x="82" y="442"/>
                      </a:lnTo>
                      <a:lnTo>
                        <a:pt x="78" y="442"/>
                      </a:lnTo>
                      <a:lnTo>
                        <a:pt x="78" y="444"/>
                      </a:lnTo>
                      <a:lnTo>
                        <a:pt x="74" y="444"/>
                      </a:lnTo>
                      <a:lnTo>
                        <a:pt x="72" y="444"/>
                      </a:lnTo>
                      <a:lnTo>
                        <a:pt x="74" y="444"/>
                      </a:lnTo>
                      <a:lnTo>
                        <a:pt x="74" y="448"/>
                      </a:lnTo>
                      <a:lnTo>
                        <a:pt x="72" y="448"/>
                      </a:lnTo>
                      <a:lnTo>
                        <a:pt x="72" y="444"/>
                      </a:lnTo>
                      <a:lnTo>
                        <a:pt x="68" y="444"/>
                      </a:lnTo>
                      <a:lnTo>
                        <a:pt x="68" y="448"/>
                      </a:lnTo>
                      <a:lnTo>
                        <a:pt x="68" y="444"/>
                      </a:lnTo>
                      <a:lnTo>
                        <a:pt x="64" y="444"/>
                      </a:lnTo>
                      <a:lnTo>
                        <a:pt x="60" y="444"/>
                      </a:lnTo>
                      <a:lnTo>
                        <a:pt x="56" y="444"/>
                      </a:lnTo>
                      <a:lnTo>
                        <a:pt x="52" y="444"/>
                      </a:lnTo>
                      <a:lnTo>
                        <a:pt x="48" y="444"/>
                      </a:lnTo>
                      <a:lnTo>
                        <a:pt x="48" y="442"/>
                      </a:lnTo>
                      <a:lnTo>
                        <a:pt x="46" y="442"/>
                      </a:lnTo>
                      <a:lnTo>
                        <a:pt x="46" y="438"/>
                      </a:lnTo>
                      <a:lnTo>
                        <a:pt x="42" y="438"/>
                      </a:lnTo>
                      <a:lnTo>
                        <a:pt x="42" y="434"/>
                      </a:lnTo>
                      <a:lnTo>
                        <a:pt x="38" y="434"/>
                      </a:lnTo>
                      <a:lnTo>
                        <a:pt x="34" y="430"/>
                      </a:lnTo>
                      <a:lnTo>
                        <a:pt x="34" y="434"/>
                      </a:lnTo>
                      <a:lnTo>
                        <a:pt x="30" y="430"/>
                      </a:lnTo>
                      <a:lnTo>
                        <a:pt x="30" y="426"/>
                      </a:lnTo>
                      <a:lnTo>
                        <a:pt x="30" y="422"/>
                      </a:lnTo>
                      <a:lnTo>
                        <a:pt x="30" y="418"/>
                      </a:lnTo>
                      <a:lnTo>
                        <a:pt x="34" y="418"/>
                      </a:lnTo>
                      <a:lnTo>
                        <a:pt x="38" y="418"/>
                      </a:lnTo>
                      <a:lnTo>
                        <a:pt x="42" y="414"/>
                      </a:lnTo>
                      <a:lnTo>
                        <a:pt x="42" y="412"/>
                      </a:lnTo>
                      <a:lnTo>
                        <a:pt x="42" y="408"/>
                      </a:lnTo>
                      <a:lnTo>
                        <a:pt x="42" y="404"/>
                      </a:lnTo>
                      <a:lnTo>
                        <a:pt x="42" y="400"/>
                      </a:lnTo>
                      <a:lnTo>
                        <a:pt x="42" y="404"/>
                      </a:lnTo>
                      <a:lnTo>
                        <a:pt x="42" y="400"/>
                      </a:lnTo>
                      <a:lnTo>
                        <a:pt x="42" y="396"/>
                      </a:lnTo>
                      <a:lnTo>
                        <a:pt x="42" y="392"/>
                      </a:lnTo>
                      <a:lnTo>
                        <a:pt x="42" y="388"/>
                      </a:lnTo>
                      <a:lnTo>
                        <a:pt x="42" y="384"/>
                      </a:lnTo>
                      <a:lnTo>
                        <a:pt x="42" y="382"/>
                      </a:lnTo>
                      <a:lnTo>
                        <a:pt x="42" y="378"/>
                      </a:lnTo>
                      <a:lnTo>
                        <a:pt x="38" y="378"/>
                      </a:lnTo>
                      <a:lnTo>
                        <a:pt x="38" y="374"/>
                      </a:lnTo>
                      <a:lnTo>
                        <a:pt x="38" y="370"/>
                      </a:lnTo>
                      <a:lnTo>
                        <a:pt x="34" y="370"/>
                      </a:lnTo>
                      <a:lnTo>
                        <a:pt x="34" y="366"/>
                      </a:lnTo>
                      <a:lnTo>
                        <a:pt x="34" y="362"/>
                      </a:lnTo>
                      <a:lnTo>
                        <a:pt x="34" y="358"/>
                      </a:lnTo>
                      <a:lnTo>
                        <a:pt x="34" y="356"/>
                      </a:lnTo>
                      <a:lnTo>
                        <a:pt x="30" y="356"/>
                      </a:lnTo>
                      <a:lnTo>
                        <a:pt x="30" y="352"/>
                      </a:lnTo>
                      <a:lnTo>
                        <a:pt x="30" y="348"/>
                      </a:lnTo>
                      <a:lnTo>
                        <a:pt x="30" y="344"/>
                      </a:lnTo>
                      <a:lnTo>
                        <a:pt x="30" y="340"/>
                      </a:lnTo>
                      <a:lnTo>
                        <a:pt x="30" y="336"/>
                      </a:lnTo>
                      <a:lnTo>
                        <a:pt x="26" y="332"/>
                      </a:lnTo>
                      <a:lnTo>
                        <a:pt x="26" y="328"/>
                      </a:lnTo>
                      <a:lnTo>
                        <a:pt x="26" y="326"/>
                      </a:lnTo>
                      <a:lnTo>
                        <a:pt x="22" y="322"/>
                      </a:lnTo>
                      <a:lnTo>
                        <a:pt x="22" y="318"/>
                      </a:lnTo>
                      <a:lnTo>
                        <a:pt x="18" y="318"/>
                      </a:lnTo>
                      <a:lnTo>
                        <a:pt x="18" y="314"/>
                      </a:lnTo>
                      <a:lnTo>
                        <a:pt x="18" y="310"/>
                      </a:lnTo>
                      <a:lnTo>
                        <a:pt x="18" y="306"/>
                      </a:lnTo>
                      <a:lnTo>
                        <a:pt x="18" y="302"/>
                      </a:lnTo>
                      <a:lnTo>
                        <a:pt x="16" y="300"/>
                      </a:lnTo>
                      <a:lnTo>
                        <a:pt x="16" y="296"/>
                      </a:lnTo>
                      <a:lnTo>
                        <a:pt x="12" y="296"/>
                      </a:lnTo>
                      <a:lnTo>
                        <a:pt x="12" y="292"/>
                      </a:lnTo>
                      <a:lnTo>
                        <a:pt x="12" y="288"/>
                      </a:lnTo>
                      <a:lnTo>
                        <a:pt x="8" y="288"/>
                      </a:lnTo>
                      <a:lnTo>
                        <a:pt x="8" y="286"/>
                      </a:lnTo>
                      <a:lnTo>
                        <a:pt x="8" y="282"/>
                      </a:lnTo>
                      <a:lnTo>
                        <a:pt x="8" y="286"/>
                      </a:lnTo>
                      <a:lnTo>
                        <a:pt x="8" y="282"/>
                      </a:lnTo>
                      <a:lnTo>
                        <a:pt x="12" y="286"/>
                      </a:lnTo>
                      <a:lnTo>
                        <a:pt x="12" y="288"/>
                      </a:lnTo>
                      <a:lnTo>
                        <a:pt x="12" y="292"/>
                      </a:lnTo>
                      <a:lnTo>
                        <a:pt x="16" y="292"/>
                      </a:lnTo>
                      <a:lnTo>
                        <a:pt x="16" y="288"/>
                      </a:lnTo>
                      <a:lnTo>
                        <a:pt x="16" y="286"/>
                      </a:lnTo>
                      <a:lnTo>
                        <a:pt x="12" y="286"/>
                      </a:lnTo>
                      <a:lnTo>
                        <a:pt x="12" y="282"/>
                      </a:lnTo>
                      <a:lnTo>
                        <a:pt x="12" y="278"/>
                      </a:lnTo>
                      <a:lnTo>
                        <a:pt x="8" y="274"/>
                      </a:lnTo>
                      <a:lnTo>
                        <a:pt x="12" y="270"/>
                      </a:lnTo>
                      <a:lnTo>
                        <a:pt x="12" y="274"/>
                      </a:lnTo>
                      <a:lnTo>
                        <a:pt x="12" y="278"/>
                      </a:lnTo>
                      <a:lnTo>
                        <a:pt x="16" y="278"/>
                      </a:lnTo>
                      <a:lnTo>
                        <a:pt x="16" y="282"/>
                      </a:lnTo>
                      <a:lnTo>
                        <a:pt x="12" y="282"/>
                      </a:lnTo>
                      <a:lnTo>
                        <a:pt x="16" y="286"/>
                      </a:lnTo>
                      <a:lnTo>
                        <a:pt x="16" y="282"/>
                      </a:lnTo>
                      <a:lnTo>
                        <a:pt x="16" y="286"/>
                      </a:lnTo>
                      <a:lnTo>
                        <a:pt x="18" y="288"/>
                      </a:lnTo>
                      <a:lnTo>
                        <a:pt x="18" y="286"/>
                      </a:lnTo>
                      <a:lnTo>
                        <a:pt x="18" y="282"/>
                      </a:lnTo>
                      <a:lnTo>
                        <a:pt x="22" y="282"/>
                      </a:lnTo>
                      <a:lnTo>
                        <a:pt x="22" y="278"/>
                      </a:lnTo>
                      <a:lnTo>
                        <a:pt x="18" y="274"/>
                      </a:lnTo>
                      <a:lnTo>
                        <a:pt x="16" y="270"/>
                      </a:lnTo>
                      <a:lnTo>
                        <a:pt x="16" y="266"/>
                      </a:lnTo>
                      <a:lnTo>
                        <a:pt x="12" y="262"/>
                      </a:lnTo>
                      <a:lnTo>
                        <a:pt x="12" y="258"/>
                      </a:lnTo>
                      <a:lnTo>
                        <a:pt x="12" y="256"/>
                      </a:lnTo>
                      <a:lnTo>
                        <a:pt x="8" y="256"/>
                      </a:lnTo>
                      <a:lnTo>
                        <a:pt x="8" y="252"/>
                      </a:lnTo>
                      <a:lnTo>
                        <a:pt x="8" y="248"/>
                      </a:lnTo>
                      <a:lnTo>
                        <a:pt x="12" y="244"/>
                      </a:lnTo>
                      <a:lnTo>
                        <a:pt x="12" y="240"/>
                      </a:lnTo>
                      <a:lnTo>
                        <a:pt x="12" y="236"/>
                      </a:lnTo>
                      <a:lnTo>
                        <a:pt x="16" y="236"/>
                      </a:lnTo>
                      <a:lnTo>
                        <a:pt x="16" y="232"/>
                      </a:lnTo>
                      <a:lnTo>
                        <a:pt x="16" y="228"/>
                      </a:lnTo>
                      <a:lnTo>
                        <a:pt x="16" y="226"/>
                      </a:lnTo>
                      <a:lnTo>
                        <a:pt x="16" y="222"/>
                      </a:lnTo>
                      <a:lnTo>
                        <a:pt x="12" y="222"/>
                      </a:lnTo>
                      <a:lnTo>
                        <a:pt x="12" y="218"/>
                      </a:lnTo>
                      <a:lnTo>
                        <a:pt x="16" y="218"/>
                      </a:lnTo>
                      <a:lnTo>
                        <a:pt x="16" y="214"/>
                      </a:lnTo>
                      <a:lnTo>
                        <a:pt x="16" y="210"/>
                      </a:lnTo>
                      <a:lnTo>
                        <a:pt x="16" y="206"/>
                      </a:lnTo>
                      <a:lnTo>
                        <a:pt x="18" y="206"/>
                      </a:lnTo>
                      <a:lnTo>
                        <a:pt x="18" y="210"/>
                      </a:lnTo>
                      <a:lnTo>
                        <a:pt x="18" y="214"/>
                      </a:lnTo>
                      <a:lnTo>
                        <a:pt x="18" y="218"/>
                      </a:lnTo>
                      <a:lnTo>
                        <a:pt x="22" y="218"/>
                      </a:lnTo>
                      <a:lnTo>
                        <a:pt x="22" y="214"/>
                      </a:lnTo>
                      <a:lnTo>
                        <a:pt x="22" y="210"/>
                      </a:lnTo>
                      <a:lnTo>
                        <a:pt x="26" y="210"/>
                      </a:lnTo>
                      <a:lnTo>
                        <a:pt x="26" y="206"/>
                      </a:lnTo>
                      <a:lnTo>
                        <a:pt x="30" y="202"/>
                      </a:lnTo>
                      <a:lnTo>
                        <a:pt x="34" y="202"/>
                      </a:lnTo>
                      <a:lnTo>
                        <a:pt x="38" y="200"/>
                      </a:lnTo>
                      <a:lnTo>
                        <a:pt x="42" y="196"/>
                      </a:lnTo>
                      <a:lnTo>
                        <a:pt x="46" y="196"/>
                      </a:lnTo>
                      <a:lnTo>
                        <a:pt x="46" y="192"/>
                      </a:lnTo>
                      <a:lnTo>
                        <a:pt x="48" y="192"/>
                      </a:lnTo>
                      <a:lnTo>
                        <a:pt x="48" y="188"/>
                      </a:lnTo>
                      <a:lnTo>
                        <a:pt x="52" y="188"/>
                      </a:lnTo>
                      <a:lnTo>
                        <a:pt x="56" y="188"/>
                      </a:lnTo>
                      <a:lnTo>
                        <a:pt x="56" y="184"/>
                      </a:lnTo>
                      <a:lnTo>
                        <a:pt x="60" y="184"/>
                      </a:lnTo>
                      <a:lnTo>
                        <a:pt x="64" y="184"/>
                      </a:lnTo>
                      <a:lnTo>
                        <a:pt x="64" y="188"/>
                      </a:lnTo>
                      <a:lnTo>
                        <a:pt x="68" y="188"/>
                      </a:lnTo>
                      <a:lnTo>
                        <a:pt x="68" y="184"/>
                      </a:lnTo>
                      <a:lnTo>
                        <a:pt x="72" y="184"/>
                      </a:lnTo>
                      <a:lnTo>
                        <a:pt x="74" y="184"/>
                      </a:lnTo>
                      <a:lnTo>
                        <a:pt x="74" y="180"/>
                      </a:lnTo>
                      <a:lnTo>
                        <a:pt x="78" y="180"/>
                      </a:lnTo>
                      <a:lnTo>
                        <a:pt x="82" y="180"/>
                      </a:lnTo>
                      <a:lnTo>
                        <a:pt x="86" y="176"/>
                      </a:lnTo>
                      <a:lnTo>
                        <a:pt x="90" y="172"/>
                      </a:lnTo>
                      <a:lnTo>
                        <a:pt x="94" y="172"/>
                      </a:lnTo>
                      <a:lnTo>
                        <a:pt x="98" y="172"/>
                      </a:lnTo>
                      <a:lnTo>
                        <a:pt x="102" y="172"/>
                      </a:lnTo>
                      <a:lnTo>
                        <a:pt x="104" y="172"/>
                      </a:lnTo>
                      <a:lnTo>
                        <a:pt x="108" y="170"/>
                      </a:lnTo>
                      <a:lnTo>
                        <a:pt x="112" y="170"/>
                      </a:lnTo>
                      <a:lnTo>
                        <a:pt x="116" y="166"/>
                      </a:lnTo>
                      <a:lnTo>
                        <a:pt x="120" y="166"/>
                      </a:lnTo>
                      <a:lnTo>
                        <a:pt x="120" y="162"/>
                      </a:lnTo>
                      <a:lnTo>
                        <a:pt x="122" y="158"/>
                      </a:lnTo>
                      <a:lnTo>
                        <a:pt x="122" y="154"/>
                      </a:lnTo>
                      <a:lnTo>
                        <a:pt x="126" y="150"/>
                      </a:lnTo>
                      <a:lnTo>
                        <a:pt x="126" y="146"/>
                      </a:lnTo>
                      <a:lnTo>
                        <a:pt x="130" y="146"/>
                      </a:lnTo>
                      <a:lnTo>
                        <a:pt x="130" y="142"/>
                      </a:lnTo>
                      <a:lnTo>
                        <a:pt x="134" y="140"/>
                      </a:lnTo>
                      <a:lnTo>
                        <a:pt x="134" y="136"/>
                      </a:lnTo>
                      <a:lnTo>
                        <a:pt x="134" y="132"/>
                      </a:lnTo>
                      <a:lnTo>
                        <a:pt x="134" y="128"/>
                      </a:lnTo>
                      <a:lnTo>
                        <a:pt x="134" y="124"/>
                      </a:lnTo>
                      <a:lnTo>
                        <a:pt x="134" y="120"/>
                      </a:lnTo>
                      <a:lnTo>
                        <a:pt x="138" y="120"/>
                      </a:lnTo>
                      <a:lnTo>
                        <a:pt x="138" y="116"/>
                      </a:lnTo>
                      <a:lnTo>
                        <a:pt x="142" y="116"/>
                      </a:lnTo>
                      <a:lnTo>
                        <a:pt x="142" y="114"/>
                      </a:lnTo>
                      <a:lnTo>
                        <a:pt x="142" y="110"/>
                      </a:lnTo>
                      <a:lnTo>
                        <a:pt x="146" y="110"/>
                      </a:lnTo>
                      <a:lnTo>
                        <a:pt x="146" y="114"/>
                      </a:lnTo>
                      <a:lnTo>
                        <a:pt x="146" y="110"/>
                      </a:lnTo>
                      <a:lnTo>
                        <a:pt x="146" y="114"/>
                      </a:lnTo>
                      <a:lnTo>
                        <a:pt x="146" y="116"/>
                      </a:lnTo>
                      <a:lnTo>
                        <a:pt x="148" y="120"/>
                      </a:lnTo>
                      <a:lnTo>
                        <a:pt x="148" y="124"/>
                      </a:lnTo>
                      <a:lnTo>
                        <a:pt x="148" y="128"/>
                      </a:lnTo>
                      <a:lnTo>
                        <a:pt x="152" y="128"/>
                      </a:lnTo>
                      <a:lnTo>
                        <a:pt x="152" y="132"/>
                      </a:lnTo>
                      <a:lnTo>
                        <a:pt x="152" y="128"/>
                      </a:lnTo>
                      <a:lnTo>
                        <a:pt x="152" y="124"/>
                      </a:lnTo>
                      <a:lnTo>
                        <a:pt x="152" y="120"/>
                      </a:lnTo>
                      <a:lnTo>
                        <a:pt x="156" y="120"/>
                      </a:lnTo>
                      <a:lnTo>
                        <a:pt x="156" y="124"/>
                      </a:lnTo>
                      <a:lnTo>
                        <a:pt x="156" y="120"/>
                      </a:lnTo>
                      <a:lnTo>
                        <a:pt x="156" y="116"/>
                      </a:lnTo>
                      <a:lnTo>
                        <a:pt x="152" y="116"/>
                      </a:lnTo>
                      <a:lnTo>
                        <a:pt x="152" y="114"/>
                      </a:lnTo>
                      <a:lnTo>
                        <a:pt x="148" y="114"/>
                      </a:lnTo>
                      <a:lnTo>
                        <a:pt x="152" y="114"/>
                      </a:lnTo>
                      <a:lnTo>
                        <a:pt x="152" y="110"/>
                      </a:lnTo>
                      <a:lnTo>
                        <a:pt x="152" y="106"/>
                      </a:lnTo>
                      <a:lnTo>
                        <a:pt x="156" y="106"/>
                      </a:lnTo>
                      <a:lnTo>
                        <a:pt x="156" y="110"/>
                      </a:lnTo>
                      <a:lnTo>
                        <a:pt x="156" y="106"/>
                      </a:lnTo>
                      <a:lnTo>
                        <a:pt x="160" y="106"/>
                      </a:lnTo>
                      <a:lnTo>
                        <a:pt x="160" y="110"/>
                      </a:lnTo>
                      <a:lnTo>
                        <a:pt x="164" y="110"/>
                      </a:lnTo>
                      <a:lnTo>
                        <a:pt x="168" y="110"/>
                      </a:lnTo>
                      <a:lnTo>
                        <a:pt x="172" y="110"/>
                      </a:lnTo>
                      <a:lnTo>
                        <a:pt x="168" y="110"/>
                      </a:lnTo>
                      <a:lnTo>
                        <a:pt x="164" y="110"/>
                      </a:lnTo>
                      <a:lnTo>
                        <a:pt x="164" y="106"/>
                      </a:lnTo>
                      <a:lnTo>
                        <a:pt x="168" y="106"/>
                      </a:lnTo>
                      <a:lnTo>
                        <a:pt x="168" y="102"/>
                      </a:lnTo>
                      <a:lnTo>
                        <a:pt x="168" y="98"/>
                      </a:lnTo>
                      <a:lnTo>
                        <a:pt x="168" y="102"/>
                      </a:lnTo>
                      <a:lnTo>
                        <a:pt x="164" y="102"/>
                      </a:lnTo>
                      <a:lnTo>
                        <a:pt x="164" y="98"/>
                      </a:lnTo>
                      <a:lnTo>
                        <a:pt x="164" y="94"/>
                      </a:lnTo>
                      <a:lnTo>
                        <a:pt x="168" y="94"/>
                      </a:lnTo>
                      <a:lnTo>
                        <a:pt x="168" y="90"/>
                      </a:lnTo>
                      <a:lnTo>
                        <a:pt x="172" y="90"/>
                      </a:lnTo>
                      <a:lnTo>
                        <a:pt x="172" y="94"/>
                      </a:lnTo>
                      <a:lnTo>
                        <a:pt x="174" y="94"/>
                      </a:lnTo>
                      <a:lnTo>
                        <a:pt x="174" y="90"/>
                      </a:lnTo>
                      <a:lnTo>
                        <a:pt x="172" y="90"/>
                      </a:lnTo>
                      <a:lnTo>
                        <a:pt x="174" y="86"/>
                      </a:lnTo>
                      <a:lnTo>
                        <a:pt x="172" y="86"/>
                      </a:lnTo>
                      <a:lnTo>
                        <a:pt x="172" y="90"/>
                      </a:lnTo>
                      <a:lnTo>
                        <a:pt x="172" y="86"/>
                      </a:lnTo>
                      <a:lnTo>
                        <a:pt x="174" y="86"/>
                      </a:lnTo>
                      <a:lnTo>
                        <a:pt x="178" y="86"/>
                      </a:lnTo>
                      <a:lnTo>
                        <a:pt x="174" y="86"/>
                      </a:lnTo>
                      <a:lnTo>
                        <a:pt x="174" y="84"/>
                      </a:lnTo>
                      <a:lnTo>
                        <a:pt x="174" y="80"/>
                      </a:lnTo>
                      <a:lnTo>
                        <a:pt x="178" y="76"/>
                      </a:lnTo>
                      <a:lnTo>
                        <a:pt x="178" y="80"/>
                      </a:lnTo>
                      <a:lnTo>
                        <a:pt x="182" y="80"/>
                      </a:lnTo>
                      <a:lnTo>
                        <a:pt x="182" y="76"/>
                      </a:lnTo>
                      <a:lnTo>
                        <a:pt x="182" y="72"/>
                      </a:lnTo>
                      <a:lnTo>
                        <a:pt x="182" y="76"/>
                      </a:lnTo>
                      <a:lnTo>
                        <a:pt x="182" y="80"/>
                      </a:lnTo>
                      <a:lnTo>
                        <a:pt x="182" y="76"/>
                      </a:lnTo>
                      <a:lnTo>
                        <a:pt x="186" y="76"/>
                      </a:lnTo>
                      <a:lnTo>
                        <a:pt x="182" y="80"/>
                      </a:lnTo>
                      <a:lnTo>
                        <a:pt x="186" y="80"/>
                      </a:lnTo>
                      <a:lnTo>
                        <a:pt x="186" y="76"/>
                      </a:lnTo>
                      <a:lnTo>
                        <a:pt x="190" y="72"/>
                      </a:lnTo>
                      <a:lnTo>
                        <a:pt x="186" y="68"/>
                      </a:lnTo>
                      <a:lnTo>
                        <a:pt x="190" y="68"/>
                      </a:lnTo>
                      <a:lnTo>
                        <a:pt x="190" y="72"/>
                      </a:lnTo>
                      <a:lnTo>
                        <a:pt x="190" y="68"/>
                      </a:lnTo>
                      <a:lnTo>
                        <a:pt x="194" y="68"/>
                      </a:lnTo>
                      <a:lnTo>
                        <a:pt x="194" y="72"/>
                      </a:lnTo>
                      <a:lnTo>
                        <a:pt x="198" y="72"/>
                      </a:lnTo>
                      <a:lnTo>
                        <a:pt x="198" y="68"/>
                      </a:lnTo>
                      <a:lnTo>
                        <a:pt x="198" y="64"/>
                      </a:lnTo>
                      <a:lnTo>
                        <a:pt x="202" y="64"/>
                      </a:lnTo>
                      <a:lnTo>
                        <a:pt x="202" y="68"/>
                      </a:lnTo>
                      <a:lnTo>
                        <a:pt x="204" y="68"/>
                      </a:lnTo>
                      <a:lnTo>
                        <a:pt x="204" y="64"/>
                      </a:lnTo>
                      <a:lnTo>
                        <a:pt x="204" y="68"/>
                      </a:lnTo>
                      <a:lnTo>
                        <a:pt x="208" y="68"/>
                      </a:lnTo>
                      <a:lnTo>
                        <a:pt x="208" y="72"/>
                      </a:lnTo>
                      <a:lnTo>
                        <a:pt x="212" y="72"/>
                      </a:lnTo>
                      <a:lnTo>
                        <a:pt x="212" y="76"/>
                      </a:lnTo>
                      <a:lnTo>
                        <a:pt x="216" y="80"/>
                      </a:lnTo>
                      <a:lnTo>
                        <a:pt x="216" y="84"/>
                      </a:lnTo>
                      <a:lnTo>
                        <a:pt x="216" y="86"/>
                      </a:lnTo>
                      <a:lnTo>
                        <a:pt x="216" y="90"/>
                      </a:lnTo>
                      <a:lnTo>
                        <a:pt x="216" y="94"/>
                      </a:lnTo>
                      <a:lnTo>
                        <a:pt x="216" y="90"/>
                      </a:lnTo>
                      <a:lnTo>
                        <a:pt x="220" y="90"/>
                      </a:lnTo>
                      <a:lnTo>
                        <a:pt x="220" y="86"/>
                      </a:lnTo>
                      <a:lnTo>
                        <a:pt x="216" y="86"/>
                      </a:lnTo>
                      <a:lnTo>
                        <a:pt x="220" y="86"/>
                      </a:lnTo>
                      <a:lnTo>
                        <a:pt x="220" y="84"/>
                      </a:lnTo>
                      <a:lnTo>
                        <a:pt x="220" y="86"/>
                      </a:lnTo>
                      <a:lnTo>
                        <a:pt x="220" y="84"/>
                      </a:lnTo>
                      <a:lnTo>
                        <a:pt x="224" y="84"/>
                      </a:lnTo>
                      <a:lnTo>
                        <a:pt x="224" y="80"/>
                      </a:lnTo>
                      <a:lnTo>
                        <a:pt x="224" y="84"/>
                      </a:lnTo>
                      <a:lnTo>
                        <a:pt x="228" y="84"/>
                      </a:lnTo>
                      <a:lnTo>
                        <a:pt x="230" y="84"/>
                      </a:lnTo>
                      <a:lnTo>
                        <a:pt x="230" y="86"/>
                      </a:lnTo>
                      <a:lnTo>
                        <a:pt x="234" y="86"/>
                      </a:lnTo>
                      <a:lnTo>
                        <a:pt x="230" y="86"/>
                      </a:lnTo>
                      <a:lnTo>
                        <a:pt x="230" y="84"/>
                      </a:lnTo>
                      <a:lnTo>
                        <a:pt x="234" y="84"/>
                      </a:lnTo>
                      <a:lnTo>
                        <a:pt x="238" y="86"/>
                      </a:lnTo>
                      <a:lnTo>
                        <a:pt x="238" y="90"/>
                      </a:lnTo>
                      <a:lnTo>
                        <a:pt x="238" y="86"/>
                      </a:lnTo>
                      <a:lnTo>
                        <a:pt x="238" y="84"/>
                      </a:lnTo>
                      <a:lnTo>
                        <a:pt x="242" y="84"/>
                      </a:lnTo>
                      <a:lnTo>
                        <a:pt x="238" y="84"/>
                      </a:lnTo>
                      <a:lnTo>
                        <a:pt x="238" y="80"/>
                      </a:lnTo>
                      <a:lnTo>
                        <a:pt x="238" y="76"/>
                      </a:lnTo>
                      <a:lnTo>
                        <a:pt x="238" y="80"/>
                      </a:lnTo>
                      <a:lnTo>
                        <a:pt x="234" y="76"/>
                      </a:lnTo>
                      <a:lnTo>
                        <a:pt x="234" y="72"/>
                      </a:lnTo>
                      <a:lnTo>
                        <a:pt x="238" y="68"/>
                      </a:lnTo>
                      <a:lnTo>
                        <a:pt x="242" y="64"/>
                      </a:lnTo>
                      <a:lnTo>
                        <a:pt x="242" y="60"/>
                      </a:lnTo>
                      <a:lnTo>
                        <a:pt x="242" y="58"/>
                      </a:lnTo>
                      <a:lnTo>
                        <a:pt x="242" y="60"/>
                      </a:lnTo>
                      <a:lnTo>
                        <a:pt x="246" y="58"/>
                      </a:lnTo>
                      <a:lnTo>
                        <a:pt x="246" y="54"/>
                      </a:lnTo>
                      <a:lnTo>
                        <a:pt x="246" y="50"/>
                      </a:lnTo>
                      <a:lnTo>
                        <a:pt x="250" y="50"/>
                      </a:lnTo>
                      <a:lnTo>
                        <a:pt x="250" y="46"/>
                      </a:lnTo>
                      <a:lnTo>
                        <a:pt x="250" y="42"/>
                      </a:lnTo>
                      <a:lnTo>
                        <a:pt x="250" y="46"/>
                      </a:lnTo>
                      <a:lnTo>
                        <a:pt x="254" y="46"/>
                      </a:lnTo>
                      <a:lnTo>
                        <a:pt x="254" y="42"/>
                      </a:lnTo>
                      <a:lnTo>
                        <a:pt x="254" y="38"/>
                      </a:lnTo>
                      <a:lnTo>
                        <a:pt x="254" y="42"/>
                      </a:lnTo>
                      <a:lnTo>
                        <a:pt x="258" y="46"/>
                      </a:lnTo>
                      <a:lnTo>
                        <a:pt x="258" y="42"/>
                      </a:lnTo>
                      <a:lnTo>
                        <a:pt x="254" y="42"/>
                      </a:lnTo>
                      <a:lnTo>
                        <a:pt x="258" y="38"/>
                      </a:lnTo>
                      <a:lnTo>
                        <a:pt x="258" y="34"/>
                      </a:lnTo>
                      <a:lnTo>
                        <a:pt x="260" y="34"/>
                      </a:lnTo>
                      <a:lnTo>
                        <a:pt x="260" y="38"/>
                      </a:lnTo>
                      <a:lnTo>
                        <a:pt x="264" y="38"/>
                      </a:lnTo>
                      <a:lnTo>
                        <a:pt x="268" y="38"/>
                      </a:lnTo>
                      <a:lnTo>
                        <a:pt x="272" y="38"/>
                      </a:lnTo>
                      <a:lnTo>
                        <a:pt x="276" y="38"/>
                      </a:lnTo>
                      <a:lnTo>
                        <a:pt x="280" y="38"/>
                      </a:lnTo>
                      <a:lnTo>
                        <a:pt x="276" y="38"/>
                      </a:lnTo>
                      <a:lnTo>
                        <a:pt x="280" y="38"/>
                      </a:lnTo>
                      <a:lnTo>
                        <a:pt x="280" y="34"/>
                      </a:lnTo>
                      <a:lnTo>
                        <a:pt x="284" y="34"/>
                      </a:lnTo>
                      <a:lnTo>
                        <a:pt x="280" y="34"/>
                      </a:lnTo>
                      <a:lnTo>
                        <a:pt x="280" y="30"/>
                      </a:lnTo>
                      <a:lnTo>
                        <a:pt x="280" y="28"/>
                      </a:lnTo>
                      <a:lnTo>
                        <a:pt x="284" y="28"/>
                      </a:lnTo>
                      <a:lnTo>
                        <a:pt x="280" y="28"/>
                      </a:lnTo>
                      <a:lnTo>
                        <a:pt x="280" y="24"/>
                      </a:lnTo>
                      <a:lnTo>
                        <a:pt x="276" y="24"/>
                      </a:lnTo>
                      <a:lnTo>
                        <a:pt x="272" y="24"/>
                      </a:lnTo>
                      <a:lnTo>
                        <a:pt x="268" y="20"/>
                      </a:lnTo>
                      <a:lnTo>
                        <a:pt x="268" y="24"/>
                      </a:lnTo>
                      <a:lnTo>
                        <a:pt x="268" y="20"/>
                      </a:lnTo>
                      <a:lnTo>
                        <a:pt x="272" y="20"/>
                      </a:lnTo>
                      <a:lnTo>
                        <a:pt x="276" y="24"/>
                      </a:lnTo>
                      <a:lnTo>
                        <a:pt x="276" y="20"/>
                      </a:lnTo>
                      <a:lnTo>
                        <a:pt x="272" y="20"/>
                      </a:lnTo>
                      <a:lnTo>
                        <a:pt x="276" y="20"/>
                      </a:lnTo>
                      <a:lnTo>
                        <a:pt x="280" y="20"/>
                      </a:lnTo>
                      <a:lnTo>
                        <a:pt x="280" y="24"/>
                      </a:lnTo>
                      <a:lnTo>
                        <a:pt x="284" y="24"/>
                      </a:lnTo>
                      <a:lnTo>
                        <a:pt x="286" y="24"/>
                      </a:lnTo>
                      <a:lnTo>
                        <a:pt x="286" y="28"/>
                      </a:lnTo>
                      <a:lnTo>
                        <a:pt x="290" y="28"/>
                      </a:lnTo>
                      <a:lnTo>
                        <a:pt x="290" y="30"/>
                      </a:lnTo>
                      <a:lnTo>
                        <a:pt x="294" y="30"/>
                      </a:lnTo>
                      <a:lnTo>
                        <a:pt x="298" y="30"/>
                      </a:lnTo>
                      <a:lnTo>
                        <a:pt x="298" y="28"/>
                      </a:lnTo>
                      <a:lnTo>
                        <a:pt x="298" y="30"/>
                      </a:lnTo>
                      <a:lnTo>
                        <a:pt x="302" y="30"/>
                      </a:lnTo>
                      <a:lnTo>
                        <a:pt x="302" y="34"/>
                      </a:lnTo>
                      <a:lnTo>
                        <a:pt x="306" y="34"/>
                      </a:lnTo>
                      <a:lnTo>
                        <a:pt x="310" y="34"/>
                      </a:lnTo>
                      <a:lnTo>
                        <a:pt x="314" y="34"/>
                      </a:lnTo>
                      <a:lnTo>
                        <a:pt x="314" y="38"/>
                      </a:lnTo>
                      <a:lnTo>
                        <a:pt x="316" y="38"/>
                      </a:lnTo>
                      <a:lnTo>
                        <a:pt x="316" y="34"/>
                      </a:lnTo>
                      <a:lnTo>
                        <a:pt x="320" y="34"/>
                      </a:lnTo>
                      <a:lnTo>
                        <a:pt x="324" y="34"/>
                      </a:lnTo>
                      <a:lnTo>
                        <a:pt x="320" y="34"/>
                      </a:lnTo>
                      <a:lnTo>
                        <a:pt x="324" y="30"/>
                      </a:lnTo>
                      <a:lnTo>
                        <a:pt x="328" y="30"/>
                      </a:lnTo>
                      <a:lnTo>
                        <a:pt x="324" y="34"/>
                      </a:lnTo>
                      <a:lnTo>
                        <a:pt x="324" y="38"/>
                      </a:lnTo>
                      <a:lnTo>
                        <a:pt x="328" y="34"/>
                      </a:lnTo>
                      <a:lnTo>
                        <a:pt x="328" y="38"/>
                      </a:lnTo>
                      <a:lnTo>
                        <a:pt x="328" y="42"/>
                      </a:lnTo>
                      <a:lnTo>
                        <a:pt x="332" y="42"/>
                      </a:lnTo>
                      <a:lnTo>
                        <a:pt x="332" y="38"/>
                      </a:lnTo>
                      <a:lnTo>
                        <a:pt x="332" y="34"/>
                      </a:lnTo>
                      <a:lnTo>
                        <a:pt x="336" y="30"/>
                      </a:lnTo>
                      <a:lnTo>
                        <a:pt x="336" y="34"/>
                      </a:lnTo>
                      <a:lnTo>
                        <a:pt x="336" y="38"/>
                      </a:lnTo>
                      <a:lnTo>
                        <a:pt x="340" y="38"/>
                      </a:lnTo>
                      <a:lnTo>
                        <a:pt x="340" y="34"/>
                      </a:lnTo>
                      <a:lnTo>
                        <a:pt x="340" y="38"/>
                      </a:lnTo>
                      <a:lnTo>
                        <a:pt x="342" y="38"/>
                      </a:lnTo>
                      <a:lnTo>
                        <a:pt x="340" y="42"/>
                      </a:lnTo>
                      <a:lnTo>
                        <a:pt x="340" y="46"/>
                      </a:lnTo>
                      <a:lnTo>
                        <a:pt x="336" y="46"/>
                      </a:lnTo>
                      <a:lnTo>
                        <a:pt x="336" y="50"/>
                      </a:lnTo>
                      <a:lnTo>
                        <a:pt x="336" y="54"/>
                      </a:lnTo>
                      <a:lnTo>
                        <a:pt x="332" y="54"/>
                      </a:lnTo>
                      <a:lnTo>
                        <a:pt x="328" y="54"/>
                      </a:lnTo>
                      <a:lnTo>
                        <a:pt x="328" y="58"/>
                      </a:lnTo>
                      <a:lnTo>
                        <a:pt x="328" y="60"/>
                      </a:lnTo>
                      <a:lnTo>
                        <a:pt x="328" y="64"/>
                      </a:lnTo>
                      <a:lnTo>
                        <a:pt x="328" y="68"/>
                      </a:lnTo>
                      <a:lnTo>
                        <a:pt x="328" y="72"/>
                      </a:lnTo>
                      <a:lnTo>
                        <a:pt x="324" y="72"/>
                      </a:lnTo>
                      <a:lnTo>
                        <a:pt x="324" y="76"/>
                      </a:lnTo>
                      <a:lnTo>
                        <a:pt x="320" y="76"/>
                      </a:lnTo>
                      <a:lnTo>
                        <a:pt x="320" y="80"/>
                      </a:lnTo>
                      <a:lnTo>
                        <a:pt x="320" y="84"/>
                      </a:lnTo>
                      <a:lnTo>
                        <a:pt x="320" y="86"/>
                      </a:lnTo>
                      <a:lnTo>
                        <a:pt x="324" y="86"/>
                      </a:lnTo>
                      <a:lnTo>
                        <a:pt x="328" y="86"/>
                      </a:lnTo>
                      <a:lnTo>
                        <a:pt x="328" y="90"/>
                      </a:lnTo>
                      <a:lnTo>
                        <a:pt x="332" y="90"/>
                      </a:lnTo>
                      <a:lnTo>
                        <a:pt x="332" y="94"/>
                      </a:lnTo>
                      <a:lnTo>
                        <a:pt x="336" y="98"/>
                      </a:lnTo>
                      <a:lnTo>
                        <a:pt x="340" y="98"/>
                      </a:lnTo>
                      <a:lnTo>
                        <a:pt x="340" y="102"/>
                      </a:lnTo>
                      <a:lnTo>
                        <a:pt x="342" y="102"/>
                      </a:lnTo>
                      <a:lnTo>
                        <a:pt x="346" y="106"/>
                      </a:lnTo>
                      <a:lnTo>
                        <a:pt x="350" y="106"/>
                      </a:lnTo>
                      <a:lnTo>
                        <a:pt x="354" y="106"/>
                      </a:lnTo>
                      <a:lnTo>
                        <a:pt x="354" y="110"/>
                      </a:lnTo>
                      <a:lnTo>
                        <a:pt x="354" y="114"/>
                      </a:lnTo>
                      <a:lnTo>
                        <a:pt x="358" y="114"/>
                      </a:lnTo>
                      <a:lnTo>
                        <a:pt x="358" y="116"/>
                      </a:lnTo>
                      <a:lnTo>
                        <a:pt x="362" y="116"/>
                      </a:lnTo>
                      <a:lnTo>
                        <a:pt x="366" y="116"/>
                      </a:lnTo>
                      <a:lnTo>
                        <a:pt x="370" y="116"/>
                      </a:lnTo>
                      <a:lnTo>
                        <a:pt x="372" y="116"/>
                      </a:lnTo>
                      <a:lnTo>
                        <a:pt x="372" y="120"/>
                      </a:lnTo>
                      <a:lnTo>
                        <a:pt x="372" y="124"/>
                      </a:lnTo>
                      <a:lnTo>
                        <a:pt x="372" y="128"/>
                      </a:lnTo>
                      <a:lnTo>
                        <a:pt x="376" y="128"/>
                      </a:lnTo>
                      <a:lnTo>
                        <a:pt x="380" y="128"/>
                      </a:lnTo>
                      <a:lnTo>
                        <a:pt x="380" y="132"/>
                      </a:lnTo>
                      <a:lnTo>
                        <a:pt x="384" y="132"/>
                      </a:lnTo>
                      <a:lnTo>
                        <a:pt x="388" y="132"/>
                      </a:lnTo>
                      <a:lnTo>
                        <a:pt x="392" y="132"/>
                      </a:lnTo>
                      <a:lnTo>
                        <a:pt x="396" y="132"/>
                      </a:lnTo>
                      <a:lnTo>
                        <a:pt x="396" y="128"/>
                      </a:lnTo>
                      <a:lnTo>
                        <a:pt x="400" y="128"/>
                      </a:lnTo>
                      <a:lnTo>
                        <a:pt x="400" y="124"/>
                      </a:lnTo>
                      <a:lnTo>
                        <a:pt x="400" y="120"/>
                      </a:lnTo>
                      <a:lnTo>
                        <a:pt x="400" y="116"/>
                      </a:lnTo>
                      <a:lnTo>
                        <a:pt x="402" y="116"/>
                      </a:lnTo>
                      <a:lnTo>
                        <a:pt x="402" y="114"/>
                      </a:lnTo>
                      <a:lnTo>
                        <a:pt x="402" y="110"/>
                      </a:lnTo>
                      <a:lnTo>
                        <a:pt x="402" y="106"/>
                      </a:lnTo>
                      <a:lnTo>
                        <a:pt x="406" y="106"/>
                      </a:lnTo>
                      <a:lnTo>
                        <a:pt x="406" y="102"/>
                      </a:lnTo>
                      <a:lnTo>
                        <a:pt x="406" y="98"/>
                      </a:lnTo>
                      <a:lnTo>
                        <a:pt x="406" y="94"/>
                      </a:lnTo>
                      <a:lnTo>
                        <a:pt x="406" y="90"/>
                      </a:lnTo>
                      <a:lnTo>
                        <a:pt x="406" y="86"/>
                      </a:lnTo>
                      <a:lnTo>
                        <a:pt x="410" y="86"/>
                      </a:lnTo>
                      <a:lnTo>
                        <a:pt x="406" y="84"/>
                      </a:lnTo>
                      <a:lnTo>
                        <a:pt x="406" y="76"/>
                      </a:lnTo>
                      <a:lnTo>
                        <a:pt x="406" y="72"/>
                      </a:lnTo>
                      <a:lnTo>
                        <a:pt x="406" y="68"/>
                      </a:lnTo>
                      <a:lnTo>
                        <a:pt x="406" y="64"/>
                      </a:lnTo>
                      <a:lnTo>
                        <a:pt x="406" y="60"/>
                      </a:lnTo>
                      <a:lnTo>
                        <a:pt x="406" y="58"/>
                      </a:lnTo>
                      <a:lnTo>
                        <a:pt x="410" y="58"/>
                      </a:lnTo>
                      <a:lnTo>
                        <a:pt x="410" y="54"/>
                      </a:lnTo>
                      <a:lnTo>
                        <a:pt x="406" y="54"/>
                      </a:lnTo>
                      <a:lnTo>
                        <a:pt x="406" y="50"/>
                      </a:lnTo>
                      <a:lnTo>
                        <a:pt x="410" y="50"/>
                      </a:lnTo>
                      <a:lnTo>
                        <a:pt x="410" y="46"/>
                      </a:lnTo>
                      <a:lnTo>
                        <a:pt x="410" y="50"/>
                      </a:lnTo>
                      <a:lnTo>
                        <a:pt x="414" y="50"/>
                      </a:lnTo>
                      <a:lnTo>
                        <a:pt x="410" y="46"/>
                      </a:lnTo>
                      <a:lnTo>
                        <a:pt x="410" y="42"/>
                      </a:lnTo>
                      <a:lnTo>
                        <a:pt x="406" y="42"/>
                      </a:lnTo>
                      <a:lnTo>
                        <a:pt x="410" y="42"/>
                      </a:lnTo>
                      <a:lnTo>
                        <a:pt x="410" y="38"/>
                      </a:lnTo>
                      <a:lnTo>
                        <a:pt x="410" y="34"/>
                      </a:lnTo>
                      <a:lnTo>
                        <a:pt x="414" y="34"/>
                      </a:lnTo>
                      <a:lnTo>
                        <a:pt x="414" y="30"/>
                      </a:lnTo>
                      <a:lnTo>
                        <a:pt x="414" y="28"/>
                      </a:lnTo>
                      <a:lnTo>
                        <a:pt x="414" y="24"/>
                      </a:lnTo>
                      <a:lnTo>
                        <a:pt x="414" y="20"/>
                      </a:lnTo>
                      <a:lnTo>
                        <a:pt x="414" y="16"/>
                      </a:lnTo>
                      <a:lnTo>
                        <a:pt x="418" y="16"/>
                      </a:lnTo>
                      <a:lnTo>
                        <a:pt x="418" y="12"/>
                      </a:lnTo>
                      <a:lnTo>
                        <a:pt x="422" y="12"/>
                      </a:lnTo>
                      <a:lnTo>
                        <a:pt x="422" y="16"/>
                      </a:lnTo>
                      <a:lnTo>
                        <a:pt x="422" y="12"/>
                      </a:lnTo>
                      <a:lnTo>
                        <a:pt x="426" y="16"/>
                      </a:lnTo>
                      <a:lnTo>
                        <a:pt x="426" y="20"/>
                      </a:lnTo>
                      <a:lnTo>
                        <a:pt x="426" y="24"/>
                      </a:lnTo>
                      <a:lnTo>
                        <a:pt x="426" y="28"/>
                      </a:lnTo>
                      <a:lnTo>
                        <a:pt x="426" y="30"/>
                      </a:lnTo>
                      <a:lnTo>
                        <a:pt x="428" y="30"/>
                      </a:lnTo>
                      <a:lnTo>
                        <a:pt x="428" y="34"/>
                      </a:lnTo>
                      <a:lnTo>
                        <a:pt x="428" y="38"/>
                      </a:lnTo>
                      <a:lnTo>
                        <a:pt x="432" y="38"/>
                      </a:lnTo>
                      <a:lnTo>
                        <a:pt x="432" y="42"/>
                      </a:lnTo>
                      <a:lnTo>
                        <a:pt x="432" y="46"/>
                      </a:lnTo>
                      <a:lnTo>
                        <a:pt x="432" y="50"/>
                      </a:lnTo>
                      <a:lnTo>
                        <a:pt x="436" y="50"/>
                      </a:lnTo>
                      <a:lnTo>
                        <a:pt x="436" y="54"/>
                      </a:lnTo>
                      <a:lnTo>
                        <a:pt x="436" y="58"/>
                      </a:lnTo>
                      <a:lnTo>
                        <a:pt x="436" y="60"/>
                      </a:lnTo>
                      <a:lnTo>
                        <a:pt x="436" y="64"/>
                      </a:lnTo>
                      <a:lnTo>
                        <a:pt x="436" y="68"/>
                      </a:lnTo>
                      <a:lnTo>
                        <a:pt x="436" y="72"/>
                      </a:lnTo>
                      <a:lnTo>
                        <a:pt x="440" y="76"/>
                      </a:lnTo>
                      <a:lnTo>
                        <a:pt x="444" y="76"/>
                      </a:lnTo>
                      <a:lnTo>
                        <a:pt x="448" y="72"/>
                      </a:lnTo>
                      <a:lnTo>
                        <a:pt x="452" y="72"/>
                      </a:lnTo>
                      <a:lnTo>
                        <a:pt x="452" y="76"/>
                      </a:lnTo>
                      <a:lnTo>
                        <a:pt x="452" y="80"/>
                      </a:lnTo>
                      <a:lnTo>
                        <a:pt x="454" y="80"/>
                      </a:lnTo>
                      <a:lnTo>
                        <a:pt x="454" y="84"/>
                      </a:lnTo>
                      <a:lnTo>
                        <a:pt x="458" y="84"/>
                      </a:lnTo>
                      <a:lnTo>
                        <a:pt x="458" y="86"/>
                      </a:lnTo>
                      <a:lnTo>
                        <a:pt x="458" y="90"/>
                      </a:lnTo>
                      <a:lnTo>
                        <a:pt x="458" y="94"/>
                      </a:lnTo>
                      <a:lnTo>
                        <a:pt x="462" y="98"/>
                      </a:lnTo>
                      <a:lnTo>
                        <a:pt x="462" y="102"/>
                      </a:lnTo>
                      <a:lnTo>
                        <a:pt x="462" y="106"/>
                      </a:lnTo>
                      <a:lnTo>
                        <a:pt x="462" y="110"/>
                      </a:lnTo>
                      <a:lnTo>
                        <a:pt x="462" y="114"/>
                      </a:lnTo>
                      <a:lnTo>
                        <a:pt x="466" y="116"/>
                      </a:lnTo>
                      <a:lnTo>
                        <a:pt x="466" y="120"/>
                      </a:lnTo>
                      <a:lnTo>
                        <a:pt x="466" y="116"/>
                      </a:lnTo>
                      <a:lnTo>
                        <a:pt x="470" y="116"/>
                      </a:lnTo>
                      <a:lnTo>
                        <a:pt x="470" y="120"/>
                      </a:lnTo>
                      <a:lnTo>
                        <a:pt x="470" y="124"/>
                      </a:lnTo>
                      <a:lnTo>
                        <a:pt x="470" y="128"/>
                      </a:lnTo>
                      <a:lnTo>
                        <a:pt x="470" y="132"/>
                      </a:lnTo>
                      <a:lnTo>
                        <a:pt x="470" y="136"/>
                      </a:lnTo>
                      <a:lnTo>
                        <a:pt x="470" y="140"/>
                      </a:lnTo>
                      <a:lnTo>
                        <a:pt x="470" y="142"/>
                      </a:lnTo>
                      <a:lnTo>
                        <a:pt x="472" y="146"/>
                      </a:lnTo>
                      <a:lnTo>
                        <a:pt x="472" y="150"/>
                      </a:lnTo>
                      <a:lnTo>
                        <a:pt x="472" y="154"/>
                      </a:lnTo>
                      <a:lnTo>
                        <a:pt x="476" y="154"/>
                      </a:lnTo>
                      <a:lnTo>
                        <a:pt x="476" y="158"/>
                      </a:lnTo>
                      <a:lnTo>
                        <a:pt x="480" y="158"/>
                      </a:lnTo>
                      <a:lnTo>
                        <a:pt x="480" y="162"/>
                      </a:lnTo>
                      <a:lnTo>
                        <a:pt x="484" y="162"/>
                      </a:lnTo>
                      <a:lnTo>
                        <a:pt x="488" y="162"/>
                      </a:lnTo>
                      <a:lnTo>
                        <a:pt x="492" y="162"/>
                      </a:lnTo>
                      <a:lnTo>
                        <a:pt x="488" y="162"/>
                      </a:lnTo>
                      <a:lnTo>
                        <a:pt x="492" y="162"/>
                      </a:lnTo>
                      <a:lnTo>
                        <a:pt x="492" y="166"/>
                      </a:lnTo>
                      <a:lnTo>
                        <a:pt x="492" y="170"/>
                      </a:lnTo>
                      <a:lnTo>
                        <a:pt x="496" y="170"/>
                      </a:lnTo>
                      <a:lnTo>
                        <a:pt x="496" y="172"/>
                      </a:lnTo>
                      <a:lnTo>
                        <a:pt x="498" y="172"/>
                      </a:lnTo>
                      <a:lnTo>
                        <a:pt x="502" y="172"/>
                      </a:lnTo>
                      <a:lnTo>
                        <a:pt x="502" y="176"/>
                      </a:lnTo>
                      <a:lnTo>
                        <a:pt x="502" y="172"/>
                      </a:lnTo>
                      <a:lnTo>
                        <a:pt x="506" y="172"/>
                      </a:lnTo>
                      <a:lnTo>
                        <a:pt x="506" y="176"/>
                      </a:lnTo>
                      <a:lnTo>
                        <a:pt x="510" y="176"/>
                      </a:lnTo>
                      <a:lnTo>
                        <a:pt x="510" y="180"/>
                      </a:lnTo>
                      <a:lnTo>
                        <a:pt x="510" y="184"/>
                      </a:lnTo>
                      <a:lnTo>
                        <a:pt x="510" y="180"/>
                      </a:lnTo>
                      <a:lnTo>
                        <a:pt x="506" y="180"/>
                      </a:lnTo>
                      <a:lnTo>
                        <a:pt x="506" y="184"/>
                      </a:lnTo>
                      <a:lnTo>
                        <a:pt x="510" y="188"/>
                      </a:lnTo>
                      <a:lnTo>
                        <a:pt x="514" y="188"/>
                      </a:lnTo>
                      <a:lnTo>
                        <a:pt x="514" y="192"/>
                      </a:lnTo>
                      <a:lnTo>
                        <a:pt x="514" y="196"/>
                      </a:lnTo>
                      <a:lnTo>
                        <a:pt x="518" y="196"/>
                      </a:lnTo>
                      <a:lnTo>
                        <a:pt x="518" y="200"/>
                      </a:lnTo>
                      <a:lnTo>
                        <a:pt x="518" y="202"/>
                      </a:lnTo>
                      <a:lnTo>
                        <a:pt x="518" y="206"/>
                      </a:lnTo>
                      <a:lnTo>
                        <a:pt x="518" y="210"/>
                      </a:lnTo>
                      <a:lnTo>
                        <a:pt x="522" y="214"/>
                      </a:lnTo>
                      <a:lnTo>
                        <a:pt x="522" y="218"/>
                      </a:lnTo>
                      <a:lnTo>
                        <a:pt x="526" y="214"/>
                      </a:lnTo>
                      <a:lnTo>
                        <a:pt x="526" y="218"/>
                      </a:lnTo>
                      <a:lnTo>
                        <a:pt x="526" y="222"/>
                      </a:lnTo>
                      <a:lnTo>
                        <a:pt x="526" y="218"/>
                      </a:lnTo>
                      <a:lnTo>
                        <a:pt x="526" y="214"/>
                      </a:lnTo>
                      <a:lnTo>
                        <a:pt x="526" y="210"/>
                      </a:lnTo>
                      <a:lnTo>
                        <a:pt x="528" y="210"/>
                      </a:lnTo>
                      <a:lnTo>
                        <a:pt x="528" y="214"/>
                      </a:lnTo>
                      <a:lnTo>
                        <a:pt x="528" y="218"/>
                      </a:lnTo>
                      <a:lnTo>
                        <a:pt x="532" y="218"/>
                      </a:lnTo>
                      <a:lnTo>
                        <a:pt x="532" y="214"/>
                      </a:lnTo>
                      <a:lnTo>
                        <a:pt x="536" y="214"/>
                      </a:lnTo>
                      <a:lnTo>
                        <a:pt x="536" y="218"/>
                      </a:lnTo>
                      <a:lnTo>
                        <a:pt x="536" y="222"/>
                      </a:lnTo>
                      <a:lnTo>
                        <a:pt x="536" y="226"/>
                      </a:lnTo>
                      <a:lnTo>
                        <a:pt x="536" y="228"/>
                      </a:lnTo>
                      <a:lnTo>
                        <a:pt x="536" y="232"/>
                      </a:lnTo>
                      <a:lnTo>
                        <a:pt x="540" y="236"/>
                      </a:lnTo>
                      <a:lnTo>
                        <a:pt x="544" y="240"/>
                      </a:lnTo>
                      <a:lnTo>
                        <a:pt x="548" y="244"/>
                      </a:lnTo>
                      <a:lnTo>
                        <a:pt x="548" y="244"/>
                      </a:lnTo>
                      <a:lnTo>
                        <a:pt x="548" y="244"/>
                      </a:lnTo>
                      <a:close/>
                      <a:moveTo>
                        <a:pt x="168" y="94"/>
                      </a:moveTo>
                      <a:lnTo>
                        <a:pt x="164" y="90"/>
                      </a:lnTo>
                      <a:lnTo>
                        <a:pt x="168" y="90"/>
                      </a:lnTo>
                      <a:lnTo>
                        <a:pt x="168" y="94"/>
                      </a:lnTo>
                      <a:lnTo>
                        <a:pt x="168" y="94"/>
                      </a:lnTo>
                      <a:lnTo>
                        <a:pt x="168" y="94"/>
                      </a:lnTo>
                      <a:close/>
                      <a:moveTo>
                        <a:pt x="570" y="278"/>
                      </a:moveTo>
                      <a:lnTo>
                        <a:pt x="570" y="274"/>
                      </a:lnTo>
                      <a:lnTo>
                        <a:pt x="566" y="274"/>
                      </a:lnTo>
                      <a:lnTo>
                        <a:pt x="570" y="270"/>
                      </a:lnTo>
                      <a:lnTo>
                        <a:pt x="570" y="266"/>
                      </a:lnTo>
                      <a:lnTo>
                        <a:pt x="570" y="262"/>
                      </a:lnTo>
                      <a:lnTo>
                        <a:pt x="574" y="262"/>
                      </a:lnTo>
                      <a:lnTo>
                        <a:pt x="574" y="258"/>
                      </a:lnTo>
                      <a:lnTo>
                        <a:pt x="570" y="258"/>
                      </a:lnTo>
                      <a:lnTo>
                        <a:pt x="574" y="258"/>
                      </a:lnTo>
                      <a:lnTo>
                        <a:pt x="574" y="256"/>
                      </a:lnTo>
                      <a:lnTo>
                        <a:pt x="574" y="258"/>
                      </a:lnTo>
                      <a:lnTo>
                        <a:pt x="574" y="262"/>
                      </a:lnTo>
                      <a:lnTo>
                        <a:pt x="574" y="266"/>
                      </a:lnTo>
                      <a:lnTo>
                        <a:pt x="570" y="270"/>
                      </a:lnTo>
                      <a:lnTo>
                        <a:pt x="570" y="274"/>
                      </a:lnTo>
                      <a:lnTo>
                        <a:pt x="570" y="278"/>
                      </a:lnTo>
                      <a:lnTo>
                        <a:pt x="570" y="278"/>
                      </a:lnTo>
                      <a:lnTo>
                        <a:pt x="570" y="278"/>
                      </a:lnTo>
                      <a:close/>
                      <a:moveTo>
                        <a:pt x="498" y="546"/>
                      </a:moveTo>
                      <a:lnTo>
                        <a:pt x="498" y="542"/>
                      </a:lnTo>
                      <a:lnTo>
                        <a:pt x="496" y="538"/>
                      </a:lnTo>
                      <a:lnTo>
                        <a:pt x="496" y="534"/>
                      </a:lnTo>
                      <a:lnTo>
                        <a:pt x="498" y="534"/>
                      </a:lnTo>
                      <a:lnTo>
                        <a:pt x="498" y="538"/>
                      </a:lnTo>
                      <a:lnTo>
                        <a:pt x="502" y="538"/>
                      </a:lnTo>
                      <a:lnTo>
                        <a:pt x="502" y="542"/>
                      </a:lnTo>
                      <a:lnTo>
                        <a:pt x="502" y="546"/>
                      </a:lnTo>
                      <a:lnTo>
                        <a:pt x="498" y="546"/>
                      </a:lnTo>
                      <a:lnTo>
                        <a:pt x="498" y="546"/>
                      </a:lnTo>
                      <a:lnTo>
                        <a:pt x="498" y="546"/>
                      </a:lnTo>
                      <a:close/>
                      <a:moveTo>
                        <a:pt x="498" y="594"/>
                      </a:moveTo>
                      <a:lnTo>
                        <a:pt x="498" y="590"/>
                      </a:lnTo>
                      <a:lnTo>
                        <a:pt x="498" y="594"/>
                      </a:lnTo>
                      <a:lnTo>
                        <a:pt x="498" y="594"/>
                      </a:lnTo>
                      <a:lnTo>
                        <a:pt x="498" y="594"/>
                      </a:lnTo>
                      <a:close/>
                      <a:moveTo>
                        <a:pt x="376" y="124"/>
                      </a:moveTo>
                      <a:lnTo>
                        <a:pt x="376" y="120"/>
                      </a:lnTo>
                      <a:lnTo>
                        <a:pt x="380" y="120"/>
                      </a:lnTo>
                      <a:lnTo>
                        <a:pt x="376" y="120"/>
                      </a:lnTo>
                      <a:lnTo>
                        <a:pt x="376" y="124"/>
                      </a:lnTo>
                      <a:lnTo>
                        <a:pt x="376" y="124"/>
                      </a:lnTo>
                      <a:lnTo>
                        <a:pt x="376" y="124"/>
                      </a:lnTo>
                      <a:close/>
                      <a:moveTo>
                        <a:pt x="472" y="146"/>
                      </a:moveTo>
                      <a:lnTo>
                        <a:pt x="472" y="142"/>
                      </a:lnTo>
                      <a:lnTo>
                        <a:pt x="470" y="142"/>
                      </a:lnTo>
                      <a:lnTo>
                        <a:pt x="472" y="142"/>
                      </a:lnTo>
                      <a:lnTo>
                        <a:pt x="472" y="146"/>
                      </a:lnTo>
                      <a:lnTo>
                        <a:pt x="472" y="146"/>
                      </a:lnTo>
                      <a:lnTo>
                        <a:pt x="472" y="146"/>
                      </a:lnTo>
                      <a:close/>
                      <a:moveTo>
                        <a:pt x="38" y="188"/>
                      </a:moveTo>
                      <a:lnTo>
                        <a:pt x="38" y="184"/>
                      </a:lnTo>
                      <a:lnTo>
                        <a:pt x="38" y="188"/>
                      </a:lnTo>
                      <a:lnTo>
                        <a:pt x="38" y="188"/>
                      </a:lnTo>
                      <a:lnTo>
                        <a:pt x="38" y="188"/>
                      </a:lnTo>
                      <a:close/>
                      <a:moveTo>
                        <a:pt x="652" y="840"/>
                      </a:moveTo>
                      <a:lnTo>
                        <a:pt x="652" y="836"/>
                      </a:lnTo>
                      <a:lnTo>
                        <a:pt x="652" y="840"/>
                      </a:lnTo>
                      <a:lnTo>
                        <a:pt x="652" y="840"/>
                      </a:lnTo>
                      <a:lnTo>
                        <a:pt x="652" y="840"/>
                      </a:lnTo>
                      <a:close/>
                      <a:moveTo>
                        <a:pt x="418" y="4"/>
                      </a:moveTo>
                      <a:lnTo>
                        <a:pt x="418" y="0"/>
                      </a:lnTo>
                      <a:lnTo>
                        <a:pt x="418" y="4"/>
                      </a:lnTo>
                      <a:lnTo>
                        <a:pt x="418" y="4"/>
                      </a:lnTo>
                      <a:lnTo>
                        <a:pt x="418" y="4"/>
                      </a:lnTo>
                      <a:close/>
                      <a:moveTo>
                        <a:pt x="418" y="12"/>
                      </a:moveTo>
                      <a:lnTo>
                        <a:pt x="414" y="12"/>
                      </a:lnTo>
                      <a:lnTo>
                        <a:pt x="414" y="8"/>
                      </a:lnTo>
                      <a:lnTo>
                        <a:pt x="418" y="8"/>
                      </a:lnTo>
                      <a:lnTo>
                        <a:pt x="418" y="12"/>
                      </a:lnTo>
                      <a:lnTo>
                        <a:pt x="418" y="12"/>
                      </a:lnTo>
                      <a:lnTo>
                        <a:pt x="418" y="12"/>
                      </a:lnTo>
                      <a:close/>
                      <a:moveTo>
                        <a:pt x="336" y="24"/>
                      </a:moveTo>
                      <a:lnTo>
                        <a:pt x="340" y="20"/>
                      </a:lnTo>
                      <a:lnTo>
                        <a:pt x="340" y="16"/>
                      </a:lnTo>
                      <a:lnTo>
                        <a:pt x="340" y="20"/>
                      </a:lnTo>
                      <a:lnTo>
                        <a:pt x="336" y="24"/>
                      </a:lnTo>
                      <a:lnTo>
                        <a:pt x="336" y="24"/>
                      </a:lnTo>
                      <a:lnTo>
                        <a:pt x="336" y="24"/>
                      </a:lnTo>
                      <a:close/>
                      <a:moveTo>
                        <a:pt x="280" y="24"/>
                      </a:moveTo>
                      <a:lnTo>
                        <a:pt x="280" y="20"/>
                      </a:lnTo>
                      <a:lnTo>
                        <a:pt x="280" y="16"/>
                      </a:lnTo>
                      <a:lnTo>
                        <a:pt x="280" y="20"/>
                      </a:lnTo>
                      <a:lnTo>
                        <a:pt x="280" y="24"/>
                      </a:lnTo>
                      <a:lnTo>
                        <a:pt x="280" y="24"/>
                      </a:lnTo>
                      <a:lnTo>
                        <a:pt x="280" y="24"/>
                      </a:lnTo>
                      <a:close/>
                      <a:moveTo>
                        <a:pt x="258" y="30"/>
                      </a:moveTo>
                      <a:lnTo>
                        <a:pt x="254" y="30"/>
                      </a:lnTo>
                      <a:lnTo>
                        <a:pt x="250" y="28"/>
                      </a:lnTo>
                      <a:lnTo>
                        <a:pt x="250" y="24"/>
                      </a:lnTo>
                      <a:lnTo>
                        <a:pt x="250" y="20"/>
                      </a:lnTo>
                      <a:lnTo>
                        <a:pt x="254" y="24"/>
                      </a:lnTo>
                      <a:lnTo>
                        <a:pt x="258" y="24"/>
                      </a:lnTo>
                      <a:lnTo>
                        <a:pt x="258" y="20"/>
                      </a:lnTo>
                      <a:lnTo>
                        <a:pt x="258" y="24"/>
                      </a:lnTo>
                      <a:lnTo>
                        <a:pt x="258" y="20"/>
                      </a:lnTo>
                      <a:lnTo>
                        <a:pt x="260" y="20"/>
                      </a:lnTo>
                      <a:lnTo>
                        <a:pt x="260" y="24"/>
                      </a:lnTo>
                      <a:lnTo>
                        <a:pt x="260" y="20"/>
                      </a:lnTo>
                      <a:lnTo>
                        <a:pt x="264" y="20"/>
                      </a:lnTo>
                      <a:lnTo>
                        <a:pt x="264" y="24"/>
                      </a:lnTo>
                      <a:lnTo>
                        <a:pt x="264" y="28"/>
                      </a:lnTo>
                      <a:lnTo>
                        <a:pt x="260" y="28"/>
                      </a:lnTo>
                      <a:lnTo>
                        <a:pt x="260" y="30"/>
                      </a:lnTo>
                      <a:lnTo>
                        <a:pt x="258" y="30"/>
                      </a:lnTo>
                      <a:lnTo>
                        <a:pt x="258" y="30"/>
                      </a:lnTo>
                      <a:lnTo>
                        <a:pt x="258" y="30"/>
                      </a:lnTo>
                      <a:close/>
                      <a:moveTo>
                        <a:pt x="250" y="30"/>
                      </a:moveTo>
                      <a:lnTo>
                        <a:pt x="246" y="30"/>
                      </a:lnTo>
                      <a:lnTo>
                        <a:pt x="242" y="30"/>
                      </a:lnTo>
                      <a:lnTo>
                        <a:pt x="246" y="28"/>
                      </a:lnTo>
                      <a:lnTo>
                        <a:pt x="246" y="24"/>
                      </a:lnTo>
                      <a:lnTo>
                        <a:pt x="250" y="24"/>
                      </a:lnTo>
                      <a:lnTo>
                        <a:pt x="250" y="28"/>
                      </a:lnTo>
                      <a:lnTo>
                        <a:pt x="254" y="28"/>
                      </a:lnTo>
                      <a:lnTo>
                        <a:pt x="254" y="30"/>
                      </a:lnTo>
                      <a:lnTo>
                        <a:pt x="250" y="30"/>
                      </a:lnTo>
                      <a:lnTo>
                        <a:pt x="250" y="30"/>
                      </a:lnTo>
                      <a:lnTo>
                        <a:pt x="250" y="30"/>
                      </a:lnTo>
                      <a:close/>
                      <a:moveTo>
                        <a:pt x="332" y="28"/>
                      </a:moveTo>
                      <a:lnTo>
                        <a:pt x="336" y="24"/>
                      </a:lnTo>
                      <a:lnTo>
                        <a:pt x="336" y="28"/>
                      </a:lnTo>
                      <a:lnTo>
                        <a:pt x="332" y="28"/>
                      </a:lnTo>
                      <a:lnTo>
                        <a:pt x="332" y="28"/>
                      </a:lnTo>
                      <a:lnTo>
                        <a:pt x="332" y="28"/>
                      </a:lnTo>
                      <a:close/>
                      <a:moveTo>
                        <a:pt x="342" y="72"/>
                      </a:moveTo>
                      <a:lnTo>
                        <a:pt x="340" y="72"/>
                      </a:lnTo>
                      <a:lnTo>
                        <a:pt x="336" y="72"/>
                      </a:lnTo>
                      <a:lnTo>
                        <a:pt x="336" y="68"/>
                      </a:lnTo>
                      <a:lnTo>
                        <a:pt x="336" y="64"/>
                      </a:lnTo>
                      <a:lnTo>
                        <a:pt x="340" y="60"/>
                      </a:lnTo>
                      <a:lnTo>
                        <a:pt x="340" y="64"/>
                      </a:lnTo>
                      <a:lnTo>
                        <a:pt x="342" y="64"/>
                      </a:lnTo>
                      <a:lnTo>
                        <a:pt x="340" y="64"/>
                      </a:lnTo>
                      <a:lnTo>
                        <a:pt x="340" y="68"/>
                      </a:lnTo>
                      <a:lnTo>
                        <a:pt x="340" y="72"/>
                      </a:lnTo>
                      <a:lnTo>
                        <a:pt x="342" y="72"/>
                      </a:lnTo>
                      <a:lnTo>
                        <a:pt x="342" y="72"/>
                      </a:lnTo>
                      <a:lnTo>
                        <a:pt x="342" y="72"/>
                      </a:lnTo>
                      <a:close/>
                      <a:moveTo>
                        <a:pt x="332" y="64"/>
                      </a:moveTo>
                      <a:lnTo>
                        <a:pt x="332" y="60"/>
                      </a:lnTo>
                      <a:lnTo>
                        <a:pt x="332" y="64"/>
                      </a:lnTo>
                      <a:lnTo>
                        <a:pt x="332" y="64"/>
                      </a:lnTo>
                      <a:lnTo>
                        <a:pt x="332" y="64"/>
                      </a:lnTo>
                      <a:close/>
                      <a:moveTo>
                        <a:pt x="174" y="80"/>
                      </a:moveTo>
                      <a:lnTo>
                        <a:pt x="174" y="76"/>
                      </a:lnTo>
                      <a:lnTo>
                        <a:pt x="174" y="80"/>
                      </a:lnTo>
                      <a:lnTo>
                        <a:pt x="174" y="80"/>
                      </a:lnTo>
                      <a:lnTo>
                        <a:pt x="174" y="80"/>
                      </a:lnTo>
                      <a:close/>
                      <a:moveTo>
                        <a:pt x="336" y="98"/>
                      </a:moveTo>
                      <a:lnTo>
                        <a:pt x="336" y="94"/>
                      </a:lnTo>
                      <a:lnTo>
                        <a:pt x="336" y="98"/>
                      </a:lnTo>
                      <a:lnTo>
                        <a:pt x="336" y="98"/>
                      </a:lnTo>
                      <a:lnTo>
                        <a:pt x="336" y="98"/>
                      </a:lnTo>
                      <a:close/>
                      <a:moveTo>
                        <a:pt x="342" y="98"/>
                      </a:moveTo>
                      <a:lnTo>
                        <a:pt x="342" y="94"/>
                      </a:lnTo>
                      <a:lnTo>
                        <a:pt x="342" y="98"/>
                      </a:lnTo>
                      <a:lnTo>
                        <a:pt x="342" y="98"/>
                      </a:lnTo>
                      <a:lnTo>
                        <a:pt x="342" y="98"/>
                      </a:lnTo>
                      <a:close/>
                      <a:moveTo>
                        <a:pt x="372" y="116"/>
                      </a:moveTo>
                      <a:lnTo>
                        <a:pt x="372" y="114"/>
                      </a:lnTo>
                      <a:lnTo>
                        <a:pt x="376" y="114"/>
                      </a:lnTo>
                      <a:lnTo>
                        <a:pt x="376" y="110"/>
                      </a:lnTo>
                      <a:lnTo>
                        <a:pt x="380" y="110"/>
                      </a:lnTo>
                      <a:lnTo>
                        <a:pt x="380" y="114"/>
                      </a:lnTo>
                      <a:lnTo>
                        <a:pt x="376" y="114"/>
                      </a:lnTo>
                      <a:lnTo>
                        <a:pt x="376" y="116"/>
                      </a:lnTo>
                      <a:lnTo>
                        <a:pt x="372" y="116"/>
                      </a:lnTo>
                      <a:lnTo>
                        <a:pt x="372" y="116"/>
                      </a:lnTo>
                      <a:lnTo>
                        <a:pt x="372" y="116"/>
                      </a:lnTo>
                      <a:close/>
                      <a:moveTo>
                        <a:pt x="544" y="240"/>
                      </a:moveTo>
                      <a:lnTo>
                        <a:pt x="544" y="236"/>
                      </a:lnTo>
                      <a:lnTo>
                        <a:pt x="540" y="236"/>
                      </a:lnTo>
                      <a:lnTo>
                        <a:pt x="540" y="232"/>
                      </a:lnTo>
                      <a:lnTo>
                        <a:pt x="544" y="236"/>
                      </a:lnTo>
                      <a:lnTo>
                        <a:pt x="544" y="240"/>
                      </a:lnTo>
                      <a:lnTo>
                        <a:pt x="544" y="240"/>
                      </a:lnTo>
                      <a:lnTo>
                        <a:pt x="544" y="240"/>
                      </a:lnTo>
                      <a:close/>
                      <a:moveTo>
                        <a:pt x="8" y="282"/>
                      </a:moveTo>
                      <a:lnTo>
                        <a:pt x="4" y="282"/>
                      </a:lnTo>
                      <a:lnTo>
                        <a:pt x="4" y="278"/>
                      </a:lnTo>
                      <a:lnTo>
                        <a:pt x="0" y="274"/>
                      </a:lnTo>
                      <a:lnTo>
                        <a:pt x="0" y="270"/>
                      </a:lnTo>
                      <a:lnTo>
                        <a:pt x="4" y="270"/>
                      </a:lnTo>
                      <a:lnTo>
                        <a:pt x="4" y="274"/>
                      </a:lnTo>
                      <a:lnTo>
                        <a:pt x="4" y="278"/>
                      </a:lnTo>
                      <a:lnTo>
                        <a:pt x="4" y="282"/>
                      </a:lnTo>
                      <a:lnTo>
                        <a:pt x="8" y="282"/>
                      </a:lnTo>
                      <a:lnTo>
                        <a:pt x="8" y="282"/>
                      </a:lnTo>
                      <a:lnTo>
                        <a:pt x="8" y="282"/>
                      </a:lnTo>
                      <a:close/>
                      <a:moveTo>
                        <a:pt x="574" y="302"/>
                      </a:moveTo>
                      <a:lnTo>
                        <a:pt x="574" y="300"/>
                      </a:lnTo>
                      <a:lnTo>
                        <a:pt x="574" y="302"/>
                      </a:lnTo>
                      <a:lnTo>
                        <a:pt x="574" y="302"/>
                      </a:lnTo>
                      <a:lnTo>
                        <a:pt x="574" y="302"/>
                      </a:lnTo>
                      <a:close/>
                      <a:moveTo>
                        <a:pt x="574" y="310"/>
                      </a:moveTo>
                      <a:lnTo>
                        <a:pt x="574" y="306"/>
                      </a:lnTo>
                      <a:lnTo>
                        <a:pt x="574" y="302"/>
                      </a:lnTo>
                      <a:lnTo>
                        <a:pt x="578" y="306"/>
                      </a:lnTo>
                      <a:lnTo>
                        <a:pt x="574" y="306"/>
                      </a:lnTo>
                      <a:lnTo>
                        <a:pt x="574" y="310"/>
                      </a:lnTo>
                      <a:lnTo>
                        <a:pt x="574" y="310"/>
                      </a:lnTo>
                      <a:lnTo>
                        <a:pt x="574" y="310"/>
                      </a:lnTo>
                      <a:close/>
                      <a:moveTo>
                        <a:pt x="354" y="460"/>
                      </a:moveTo>
                      <a:lnTo>
                        <a:pt x="358" y="460"/>
                      </a:lnTo>
                      <a:lnTo>
                        <a:pt x="358" y="464"/>
                      </a:lnTo>
                      <a:lnTo>
                        <a:pt x="354" y="460"/>
                      </a:lnTo>
                      <a:lnTo>
                        <a:pt x="350" y="464"/>
                      </a:lnTo>
                      <a:lnTo>
                        <a:pt x="346" y="464"/>
                      </a:lnTo>
                      <a:lnTo>
                        <a:pt x="342" y="464"/>
                      </a:lnTo>
                      <a:lnTo>
                        <a:pt x="340" y="464"/>
                      </a:lnTo>
                      <a:lnTo>
                        <a:pt x="336" y="464"/>
                      </a:lnTo>
                      <a:lnTo>
                        <a:pt x="336" y="460"/>
                      </a:lnTo>
                      <a:lnTo>
                        <a:pt x="342" y="456"/>
                      </a:lnTo>
                      <a:lnTo>
                        <a:pt x="346" y="456"/>
                      </a:lnTo>
                      <a:lnTo>
                        <a:pt x="350" y="456"/>
                      </a:lnTo>
                      <a:lnTo>
                        <a:pt x="350" y="460"/>
                      </a:lnTo>
                      <a:lnTo>
                        <a:pt x="354" y="460"/>
                      </a:lnTo>
                      <a:lnTo>
                        <a:pt x="354" y="460"/>
                      </a:lnTo>
                      <a:lnTo>
                        <a:pt x="354" y="460"/>
                      </a:lnTo>
                      <a:close/>
                      <a:moveTo>
                        <a:pt x="462" y="508"/>
                      </a:moveTo>
                      <a:lnTo>
                        <a:pt x="458" y="508"/>
                      </a:lnTo>
                      <a:lnTo>
                        <a:pt x="462" y="508"/>
                      </a:lnTo>
                      <a:lnTo>
                        <a:pt x="462" y="508"/>
                      </a:lnTo>
                      <a:lnTo>
                        <a:pt x="462" y="508"/>
                      </a:lnTo>
                      <a:close/>
                      <a:moveTo>
                        <a:pt x="462" y="512"/>
                      </a:moveTo>
                      <a:lnTo>
                        <a:pt x="458" y="512"/>
                      </a:lnTo>
                      <a:lnTo>
                        <a:pt x="462" y="512"/>
                      </a:lnTo>
                      <a:lnTo>
                        <a:pt x="462" y="512"/>
                      </a:lnTo>
                      <a:lnTo>
                        <a:pt x="462" y="512"/>
                      </a:lnTo>
                      <a:close/>
                      <a:moveTo>
                        <a:pt x="440" y="542"/>
                      </a:moveTo>
                      <a:lnTo>
                        <a:pt x="440" y="538"/>
                      </a:lnTo>
                      <a:lnTo>
                        <a:pt x="440" y="534"/>
                      </a:lnTo>
                      <a:lnTo>
                        <a:pt x="440" y="530"/>
                      </a:lnTo>
                      <a:lnTo>
                        <a:pt x="444" y="534"/>
                      </a:lnTo>
                      <a:lnTo>
                        <a:pt x="444" y="538"/>
                      </a:lnTo>
                      <a:lnTo>
                        <a:pt x="444" y="542"/>
                      </a:lnTo>
                      <a:lnTo>
                        <a:pt x="440" y="542"/>
                      </a:lnTo>
                      <a:lnTo>
                        <a:pt x="440" y="542"/>
                      </a:lnTo>
                      <a:lnTo>
                        <a:pt x="440" y="542"/>
                      </a:lnTo>
                      <a:close/>
                      <a:moveTo>
                        <a:pt x="502" y="550"/>
                      </a:moveTo>
                      <a:lnTo>
                        <a:pt x="498" y="550"/>
                      </a:lnTo>
                      <a:lnTo>
                        <a:pt x="498" y="546"/>
                      </a:lnTo>
                      <a:lnTo>
                        <a:pt x="502" y="546"/>
                      </a:lnTo>
                      <a:lnTo>
                        <a:pt x="502" y="550"/>
                      </a:lnTo>
                      <a:lnTo>
                        <a:pt x="502" y="550"/>
                      </a:lnTo>
                      <a:lnTo>
                        <a:pt x="502" y="550"/>
                      </a:lnTo>
                      <a:close/>
                      <a:moveTo>
                        <a:pt x="484" y="612"/>
                      </a:moveTo>
                      <a:lnTo>
                        <a:pt x="480" y="612"/>
                      </a:lnTo>
                      <a:lnTo>
                        <a:pt x="480" y="610"/>
                      </a:lnTo>
                      <a:lnTo>
                        <a:pt x="476" y="610"/>
                      </a:lnTo>
                      <a:lnTo>
                        <a:pt x="472" y="610"/>
                      </a:lnTo>
                      <a:lnTo>
                        <a:pt x="470" y="610"/>
                      </a:lnTo>
                      <a:lnTo>
                        <a:pt x="470" y="606"/>
                      </a:lnTo>
                      <a:lnTo>
                        <a:pt x="472" y="606"/>
                      </a:lnTo>
                      <a:lnTo>
                        <a:pt x="470" y="606"/>
                      </a:lnTo>
                      <a:lnTo>
                        <a:pt x="466" y="606"/>
                      </a:lnTo>
                      <a:lnTo>
                        <a:pt x="466" y="602"/>
                      </a:lnTo>
                      <a:lnTo>
                        <a:pt x="466" y="598"/>
                      </a:lnTo>
                      <a:lnTo>
                        <a:pt x="462" y="598"/>
                      </a:lnTo>
                      <a:lnTo>
                        <a:pt x="462" y="594"/>
                      </a:lnTo>
                      <a:lnTo>
                        <a:pt x="462" y="590"/>
                      </a:lnTo>
                      <a:lnTo>
                        <a:pt x="458" y="590"/>
                      </a:lnTo>
                      <a:lnTo>
                        <a:pt x="458" y="586"/>
                      </a:lnTo>
                      <a:lnTo>
                        <a:pt x="458" y="584"/>
                      </a:lnTo>
                      <a:lnTo>
                        <a:pt x="458" y="586"/>
                      </a:lnTo>
                      <a:lnTo>
                        <a:pt x="462" y="586"/>
                      </a:lnTo>
                      <a:lnTo>
                        <a:pt x="462" y="590"/>
                      </a:lnTo>
                      <a:lnTo>
                        <a:pt x="462" y="586"/>
                      </a:lnTo>
                      <a:lnTo>
                        <a:pt x="458" y="584"/>
                      </a:lnTo>
                      <a:lnTo>
                        <a:pt x="458" y="580"/>
                      </a:lnTo>
                      <a:lnTo>
                        <a:pt x="454" y="576"/>
                      </a:lnTo>
                      <a:lnTo>
                        <a:pt x="454" y="572"/>
                      </a:lnTo>
                      <a:lnTo>
                        <a:pt x="452" y="568"/>
                      </a:lnTo>
                      <a:lnTo>
                        <a:pt x="452" y="564"/>
                      </a:lnTo>
                      <a:lnTo>
                        <a:pt x="452" y="560"/>
                      </a:lnTo>
                      <a:lnTo>
                        <a:pt x="452" y="556"/>
                      </a:lnTo>
                      <a:lnTo>
                        <a:pt x="452" y="554"/>
                      </a:lnTo>
                      <a:lnTo>
                        <a:pt x="454" y="554"/>
                      </a:lnTo>
                      <a:lnTo>
                        <a:pt x="454" y="556"/>
                      </a:lnTo>
                      <a:lnTo>
                        <a:pt x="458" y="556"/>
                      </a:lnTo>
                      <a:lnTo>
                        <a:pt x="462" y="556"/>
                      </a:lnTo>
                      <a:lnTo>
                        <a:pt x="466" y="560"/>
                      </a:lnTo>
                      <a:lnTo>
                        <a:pt x="470" y="560"/>
                      </a:lnTo>
                      <a:lnTo>
                        <a:pt x="472" y="564"/>
                      </a:lnTo>
                      <a:lnTo>
                        <a:pt x="476" y="564"/>
                      </a:lnTo>
                      <a:lnTo>
                        <a:pt x="480" y="560"/>
                      </a:lnTo>
                      <a:lnTo>
                        <a:pt x="480" y="564"/>
                      </a:lnTo>
                      <a:lnTo>
                        <a:pt x="484" y="564"/>
                      </a:lnTo>
                      <a:lnTo>
                        <a:pt x="484" y="560"/>
                      </a:lnTo>
                      <a:lnTo>
                        <a:pt x="480" y="560"/>
                      </a:lnTo>
                      <a:lnTo>
                        <a:pt x="484" y="560"/>
                      </a:lnTo>
                      <a:lnTo>
                        <a:pt x="488" y="560"/>
                      </a:lnTo>
                      <a:lnTo>
                        <a:pt x="492" y="560"/>
                      </a:lnTo>
                      <a:lnTo>
                        <a:pt x="492" y="556"/>
                      </a:lnTo>
                      <a:lnTo>
                        <a:pt x="496" y="556"/>
                      </a:lnTo>
                      <a:lnTo>
                        <a:pt x="498" y="554"/>
                      </a:lnTo>
                      <a:lnTo>
                        <a:pt x="498" y="556"/>
                      </a:lnTo>
                      <a:lnTo>
                        <a:pt x="502" y="556"/>
                      </a:lnTo>
                      <a:lnTo>
                        <a:pt x="502" y="560"/>
                      </a:lnTo>
                      <a:lnTo>
                        <a:pt x="502" y="564"/>
                      </a:lnTo>
                      <a:lnTo>
                        <a:pt x="502" y="568"/>
                      </a:lnTo>
                      <a:lnTo>
                        <a:pt x="502" y="572"/>
                      </a:lnTo>
                      <a:lnTo>
                        <a:pt x="502" y="576"/>
                      </a:lnTo>
                      <a:lnTo>
                        <a:pt x="502" y="580"/>
                      </a:lnTo>
                      <a:lnTo>
                        <a:pt x="502" y="584"/>
                      </a:lnTo>
                      <a:lnTo>
                        <a:pt x="502" y="580"/>
                      </a:lnTo>
                      <a:lnTo>
                        <a:pt x="498" y="580"/>
                      </a:lnTo>
                      <a:lnTo>
                        <a:pt x="498" y="584"/>
                      </a:lnTo>
                      <a:lnTo>
                        <a:pt x="498" y="590"/>
                      </a:lnTo>
                      <a:lnTo>
                        <a:pt x="496" y="590"/>
                      </a:lnTo>
                      <a:lnTo>
                        <a:pt x="496" y="594"/>
                      </a:lnTo>
                      <a:lnTo>
                        <a:pt x="496" y="598"/>
                      </a:lnTo>
                      <a:lnTo>
                        <a:pt x="496" y="594"/>
                      </a:lnTo>
                      <a:lnTo>
                        <a:pt x="498" y="598"/>
                      </a:lnTo>
                      <a:lnTo>
                        <a:pt x="496" y="602"/>
                      </a:lnTo>
                      <a:lnTo>
                        <a:pt x="498" y="602"/>
                      </a:lnTo>
                      <a:lnTo>
                        <a:pt x="496" y="602"/>
                      </a:lnTo>
                      <a:lnTo>
                        <a:pt x="496" y="606"/>
                      </a:lnTo>
                      <a:lnTo>
                        <a:pt x="492" y="602"/>
                      </a:lnTo>
                      <a:lnTo>
                        <a:pt x="492" y="598"/>
                      </a:lnTo>
                      <a:lnTo>
                        <a:pt x="496" y="598"/>
                      </a:lnTo>
                      <a:lnTo>
                        <a:pt x="496" y="602"/>
                      </a:lnTo>
                      <a:lnTo>
                        <a:pt x="496" y="598"/>
                      </a:lnTo>
                      <a:lnTo>
                        <a:pt x="492" y="594"/>
                      </a:lnTo>
                      <a:lnTo>
                        <a:pt x="492" y="598"/>
                      </a:lnTo>
                      <a:lnTo>
                        <a:pt x="488" y="598"/>
                      </a:lnTo>
                      <a:lnTo>
                        <a:pt x="488" y="594"/>
                      </a:lnTo>
                      <a:lnTo>
                        <a:pt x="488" y="598"/>
                      </a:lnTo>
                      <a:lnTo>
                        <a:pt x="488" y="602"/>
                      </a:lnTo>
                      <a:lnTo>
                        <a:pt x="488" y="606"/>
                      </a:lnTo>
                      <a:lnTo>
                        <a:pt x="484" y="606"/>
                      </a:lnTo>
                      <a:lnTo>
                        <a:pt x="484" y="602"/>
                      </a:lnTo>
                      <a:lnTo>
                        <a:pt x="484" y="606"/>
                      </a:lnTo>
                      <a:lnTo>
                        <a:pt x="484" y="610"/>
                      </a:lnTo>
                      <a:lnTo>
                        <a:pt x="484" y="612"/>
                      </a:lnTo>
                      <a:lnTo>
                        <a:pt x="484" y="612"/>
                      </a:lnTo>
                      <a:lnTo>
                        <a:pt x="484" y="612"/>
                      </a:lnTo>
                      <a:close/>
                      <a:moveTo>
                        <a:pt x="488" y="606"/>
                      </a:moveTo>
                      <a:lnTo>
                        <a:pt x="488" y="602"/>
                      </a:lnTo>
                      <a:lnTo>
                        <a:pt x="488" y="606"/>
                      </a:lnTo>
                      <a:lnTo>
                        <a:pt x="488" y="606"/>
                      </a:lnTo>
                      <a:lnTo>
                        <a:pt x="488" y="606"/>
                      </a:lnTo>
                      <a:close/>
                      <a:moveTo>
                        <a:pt x="488" y="610"/>
                      </a:moveTo>
                      <a:lnTo>
                        <a:pt x="484" y="610"/>
                      </a:lnTo>
                      <a:lnTo>
                        <a:pt x="488" y="606"/>
                      </a:lnTo>
                      <a:lnTo>
                        <a:pt x="488" y="610"/>
                      </a:lnTo>
                      <a:lnTo>
                        <a:pt x="488" y="610"/>
                      </a:lnTo>
                      <a:lnTo>
                        <a:pt x="488" y="6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4" name="Freeform 191"/>
                <p:cNvSpPr>
                  <a:spLocks noEditPoints="1"/>
                </p:cNvSpPr>
                <p:nvPr/>
              </p:nvSpPr>
              <p:spPr bwMode="auto">
                <a:xfrm>
                  <a:off x="1939925" y="5035618"/>
                  <a:ext cx="965200" cy="1171575"/>
                </a:xfrm>
                <a:custGeom>
                  <a:avLst/>
                  <a:gdLst>
                    <a:gd name="T0" fmla="*/ 514 w 608"/>
                    <a:gd name="T1" fmla="*/ 444 h 738"/>
                    <a:gd name="T2" fmla="*/ 504 w 608"/>
                    <a:gd name="T3" fmla="*/ 366 h 738"/>
                    <a:gd name="T4" fmla="*/ 532 w 608"/>
                    <a:gd name="T5" fmla="*/ 280 h 738"/>
                    <a:gd name="T6" fmla="*/ 544 w 608"/>
                    <a:gd name="T7" fmla="*/ 180 h 738"/>
                    <a:gd name="T8" fmla="*/ 552 w 608"/>
                    <a:gd name="T9" fmla="*/ 94 h 738"/>
                    <a:gd name="T10" fmla="*/ 570 w 608"/>
                    <a:gd name="T11" fmla="*/ 16 h 738"/>
                    <a:gd name="T12" fmla="*/ 600 w 608"/>
                    <a:gd name="T13" fmla="*/ 98 h 738"/>
                    <a:gd name="T14" fmla="*/ 566 w 608"/>
                    <a:gd name="T15" fmla="*/ 190 h 738"/>
                    <a:gd name="T16" fmla="*/ 556 w 608"/>
                    <a:gd name="T17" fmla="*/ 284 h 738"/>
                    <a:gd name="T18" fmla="*/ 540 w 608"/>
                    <a:gd name="T19" fmla="*/ 374 h 738"/>
                    <a:gd name="T20" fmla="*/ 526 w 608"/>
                    <a:gd name="T21" fmla="*/ 460 h 738"/>
                    <a:gd name="T22" fmla="*/ 536 w 608"/>
                    <a:gd name="T23" fmla="*/ 516 h 738"/>
                    <a:gd name="T24" fmla="*/ 514 w 608"/>
                    <a:gd name="T25" fmla="*/ 596 h 738"/>
                    <a:gd name="T26" fmla="*/ 560 w 608"/>
                    <a:gd name="T27" fmla="*/ 656 h 738"/>
                    <a:gd name="T28" fmla="*/ 526 w 608"/>
                    <a:gd name="T29" fmla="*/ 686 h 738"/>
                    <a:gd name="T30" fmla="*/ 518 w 608"/>
                    <a:gd name="T31" fmla="*/ 682 h 738"/>
                    <a:gd name="T32" fmla="*/ 510 w 608"/>
                    <a:gd name="T33" fmla="*/ 668 h 738"/>
                    <a:gd name="T34" fmla="*/ 518 w 608"/>
                    <a:gd name="T35" fmla="*/ 656 h 738"/>
                    <a:gd name="T36" fmla="*/ 506 w 608"/>
                    <a:gd name="T37" fmla="*/ 652 h 738"/>
                    <a:gd name="T38" fmla="*/ 492 w 608"/>
                    <a:gd name="T39" fmla="*/ 620 h 738"/>
                    <a:gd name="T40" fmla="*/ 500 w 608"/>
                    <a:gd name="T41" fmla="*/ 600 h 738"/>
                    <a:gd name="T42" fmla="*/ 506 w 608"/>
                    <a:gd name="T43" fmla="*/ 570 h 738"/>
                    <a:gd name="T44" fmla="*/ 488 w 608"/>
                    <a:gd name="T45" fmla="*/ 542 h 738"/>
                    <a:gd name="T46" fmla="*/ 496 w 608"/>
                    <a:gd name="T47" fmla="*/ 538 h 738"/>
                    <a:gd name="T48" fmla="*/ 510 w 608"/>
                    <a:gd name="T49" fmla="*/ 516 h 738"/>
                    <a:gd name="T50" fmla="*/ 476 w 608"/>
                    <a:gd name="T51" fmla="*/ 590 h 738"/>
                    <a:gd name="T52" fmla="*/ 484 w 608"/>
                    <a:gd name="T53" fmla="*/ 534 h 738"/>
                    <a:gd name="T54" fmla="*/ 500 w 608"/>
                    <a:gd name="T55" fmla="*/ 642 h 738"/>
                    <a:gd name="T56" fmla="*/ 506 w 608"/>
                    <a:gd name="T57" fmla="*/ 470 h 738"/>
                    <a:gd name="T58" fmla="*/ 506 w 608"/>
                    <a:gd name="T59" fmla="*/ 470 h 738"/>
                    <a:gd name="T60" fmla="*/ 504 w 608"/>
                    <a:gd name="T61" fmla="*/ 494 h 738"/>
                    <a:gd name="T62" fmla="*/ 514 w 608"/>
                    <a:gd name="T63" fmla="*/ 508 h 738"/>
                    <a:gd name="T64" fmla="*/ 500 w 608"/>
                    <a:gd name="T65" fmla="*/ 504 h 738"/>
                    <a:gd name="T66" fmla="*/ 496 w 608"/>
                    <a:gd name="T67" fmla="*/ 512 h 738"/>
                    <a:gd name="T68" fmla="*/ 504 w 608"/>
                    <a:gd name="T69" fmla="*/ 520 h 738"/>
                    <a:gd name="T70" fmla="*/ 500 w 608"/>
                    <a:gd name="T71" fmla="*/ 526 h 738"/>
                    <a:gd name="T72" fmla="*/ 492 w 608"/>
                    <a:gd name="T73" fmla="*/ 556 h 738"/>
                    <a:gd name="T74" fmla="*/ 488 w 608"/>
                    <a:gd name="T75" fmla="*/ 574 h 738"/>
                    <a:gd name="T76" fmla="*/ 496 w 608"/>
                    <a:gd name="T77" fmla="*/ 574 h 738"/>
                    <a:gd name="T78" fmla="*/ 500 w 608"/>
                    <a:gd name="T79" fmla="*/ 578 h 738"/>
                    <a:gd name="T80" fmla="*/ 488 w 608"/>
                    <a:gd name="T81" fmla="*/ 604 h 738"/>
                    <a:gd name="T82" fmla="*/ 484 w 608"/>
                    <a:gd name="T83" fmla="*/ 590 h 738"/>
                    <a:gd name="T84" fmla="*/ 480 w 608"/>
                    <a:gd name="T85" fmla="*/ 608 h 738"/>
                    <a:gd name="T86" fmla="*/ 488 w 608"/>
                    <a:gd name="T87" fmla="*/ 624 h 738"/>
                    <a:gd name="T88" fmla="*/ 492 w 608"/>
                    <a:gd name="T89" fmla="*/ 630 h 738"/>
                    <a:gd name="T90" fmla="*/ 492 w 608"/>
                    <a:gd name="T91" fmla="*/ 642 h 738"/>
                    <a:gd name="T92" fmla="*/ 484 w 608"/>
                    <a:gd name="T93" fmla="*/ 656 h 738"/>
                    <a:gd name="T94" fmla="*/ 500 w 608"/>
                    <a:gd name="T95" fmla="*/ 650 h 738"/>
                    <a:gd name="T96" fmla="*/ 496 w 608"/>
                    <a:gd name="T97" fmla="*/ 664 h 738"/>
                    <a:gd name="T98" fmla="*/ 552 w 608"/>
                    <a:gd name="T99" fmla="*/ 712 h 738"/>
                    <a:gd name="T100" fmla="*/ 540 w 608"/>
                    <a:gd name="T101" fmla="*/ 706 h 738"/>
                    <a:gd name="T102" fmla="*/ 562 w 608"/>
                    <a:gd name="T103" fmla="*/ 702 h 738"/>
                    <a:gd name="T104" fmla="*/ 578 w 608"/>
                    <a:gd name="T105" fmla="*/ 686 h 738"/>
                    <a:gd name="T106" fmla="*/ 504 w 608"/>
                    <a:gd name="T107" fmla="*/ 676 h 738"/>
                    <a:gd name="T108" fmla="*/ 522 w 608"/>
                    <a:gd name="T109" fmla="*/ 690 h 738"/>
                    <a:gd name="T110" fmla="*/ 548 w 608"/>
                    <a:gd name="T111" fmla="*/ 690 h 738"/>
                    <a:gd name="T112" fmla="*/ 544 w 608"/>
                    <a:gd name="T113" fmla="*/ 706 h 738"/>
                    <a:gd name="T114" fmla="*/ 522 w 608"/>
                    <a:gd name="T115" fmla="*/ 706 h 738"/>
                    <a:gd name="T116" fmla="*/ 548 w 608"/>
                    <a:gd name="T117" fmla="*/ 724 h 738"/>
                    <a:gd name="T118" fmla="*/ 556 w 608"/>
                    <a:gd name="T119" fmla="*/ 720 h 738"/>
                    <a:gd name="T120" fmla="*/ 578 w 608"/>
                    <a:gd name="T121" fmla="*/ 716 h 738"/>
                    <a:gd name="T122" fmla="*/ 596 w 608"/>
                    <a:gd name="T123" fmla="*/ 724 h 7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608" h="738">
                      <a:moveTo>
                        <a:pt x="514" y="486"/>
                      </a:moveTo>
                      <a:lnTo>
                        <a:pt x="514" y="482"/>
                      </a:lnTo>
                      <a:lnTo>
                        <a:pt x="514" y="478"/>
                      </a:lnTo>
                      <a:lnTo>
                        <a:pt x="514" y="474"/>
                      </a:lnTo>
                      <a:lnTo>
                        <a:pt x="514" y="470"/>
                      </a:lnTo>
                      <a:lnTo>
                        <a:pt x="518" y="470"/>
                      </a:lnTo>
                      <a:lnTo>
                        <a:pt x="518" y="474"/>
                      </a:lnTo>
                      <a:lnTo>
                        <a:pt x="518" y="470"/>
                      </a:lnTo>
                      <a:lnTo>
                        <a:pt x="518" y="466"/>
                      </a:lnTo>
                      <a:lnTo>
                        <a:pt x="518" y="464"/>
                      </a:lnTo>
                      <a:lnTo>
                        <a:pt x="522" y="464"/>
                      </a:lnTo>
                      <a:lnTo>
                        <a:pt x="518" y="464"/>
                      </a:lnTo>
                      <a:lnTo>
                        <a:pt x="518" y="460"/>
                      </a:lnTo>
                      <a:lnTo>
                        <a:pt x="518" y="456"/>
                      </a:lnTo>
                      <a:lnTo>
                        <a:pt x="522" y="456"/>
                      </a:lnTo>
                      <a:lnTo>
                        <a:pt x="522" y="460"/>
                      </a:lnTo>
                      <a:lnTo>
                        <a:pt x="522" y="456"/>
                      </a:lnTo>
                      <a:lnTo>
                        <a:pt x="522" y="452"/>
                      </a:lnTo>
                      <a:lnTo>
                        <a:pt x="518" y="452"/>
                      </a:lnTo>
                      <a:lnTo>
                        <a:pt x="514" y="452"/>
                      </a:lnTo>
                      <a:lnTo>
                        <a:pt x="518" y="452"/>
                      </a:lnTo>
                      <a:lnTo>
                        <a:pt x="518" y="448"/>
                      </a:lnTo>
                      <a:lnTo>
                        <a:pt x="522" y="448"/>
                      </a:lnTo>
                      <a:lnTo>
                        <a:pt x="522" y="444"/>
                      </a:lnTo>
                      <a:lnTo>
                        <a:pt x="526" y="444"/>
                      </a:lnTo>
                      <a:lnTo>
                        <a:pt x="526" y="440"/>
                      </a:lnTo>
                      <a:lnTo>
                        <a:pt x="522" y="440"/>
                      </a:lnTo>
                      <a:lnTo>
                        <a:pt x="522" y="444"/>
                      </a:lnTo>
                      <a:lnTo>
                        <a:pt x="518" y="444"/>
                      </a:lnTo>
                      <a:lnTo>
                        <a:pt x="518" y="440"/>
                      </a:lnTo>
                      <a:lnTo>
                        <a:pt x="514" y="440"/>
                      </a:lnTo>
                      <a:lnTo>
                        <a:pt x="514" y="444"/>
                      </a:lnTo>
                      <a:lnTo>
                        <a:pt x="510" y="448"/>
                      </a:lnTo>
                      <a:lnTo>
                        <a:pt x="506" y="448"/>
                      </a:lnTo>
                      <a:lnTo>
                        <a:pt x="504" y="448"/>
                      </a:lnTo>
                      <a:lnTo>
                        <a:pt x="504" y="444"/>
                      </a:lnTo>
                      <a:lnTo>
                        <a:pt x="506" y="444"/>
                      </a:lnTo>
                      <a:lnTo>
                        <a:pt x="506" y="440"/>
                      </a:lnTo>
                      <a:lnTo>
                        <a:pt x="506" y="444"/>
                      </a:lnTo>
                      <a:lnTo>
                        <a:pt x="504" y="444"/>
                      </a:lnTo>
                      <a:lnTo>
                        <a:pt x="504" y="440"/>
                      </a:lnTo>
                      <a:lnTo>
                        <a:pt x="504" y="438"/>
                      </a:lnTo>
                      <a:lnTo>
                        <a:pt x="500" y="438"/>
                      </a:lnTo>
                      <a:lnTo>
                        <a:pt x="500" y="434"/>
                      </a:lnTo>
                      <a:lnTo>
                        <a:pt x="500" y="430"/>
                      </a:lnTo>
                      <a:lnTo>
                        <a:pt x="504" y="426"/>
                      </a:lnTo>
                      <a:lnTo>
                        <a:pt x="504" y="422"/>
                      </a:lnTo>
                      <a:lnTo>
                        <a:pt x="504" y="414"/>
                      </a:lnTo>
                      <a:lnTo>
                        <a:pt x="504" y="410"/>
                      </a:lnTo>
                      <a:lnTo>
                        <a:pt x="506" y="410"/>
                      </a:lnTo>
                      <a:lnTo>
                        <a:pt x="510" y="410"/>
                      </a:lnTo>
                      <a:lnTo>
                        <a:pt x="510" y="408"/>
                      </a:lnTo>
                      <a:lnTo>
                        <a:pt x="510" y="404"/>
                      </a:lnTo>
                      <a:lnTo>
                        <a:pt x="510" y="400"/>
                      </a:lnTo>
                      <a:lnTo>
                        <a:pt x="510" y="396"/>
                      </a:lnTo>
                      <a:lnTo>
                        <a:pt x="510" y="392"/>
                      </a:lnTo>
                      <a:lnTo>
                        <a:pt x="506" y="388"/>
                      </a:lnTo>
                      <a:lnTo>
                        <a:pt x="506" y="384"/>
                      </a:lnTo>
                      <a:lnTo>
                        <a:pt x="506" y="380"/>
                      </a:lnTo>
                      <a:lnTo>
                        <a:pt x="506" y="378"/>
                      </a:lnTo>
                      <a:lnTo>
                        <a:pt x="506" y="374"/>
                      </a:lnTo>
                      <a:lnTo>
                        <a:pt x="506" y="370"/>
                      </a:lnTo>
                      <a:lnTo>
                        <a:pt x="504" y="370"/>
                      </a:lnTo>
                      <a:lnTo>
                        <a:pt x="504" y="366"/>
                      </a:lnTo>
                      <a:lnTo>
                        <a:pt x="506" y="366"/>
                      </a:lnTo>
                      <a:lnTo>
                        <a:pt x="506" y="362"/>
                      </a:lnTo>
                      <a:lnTo>
                        <a:pt x="504" y="362"/>
                      </a:lnTo>
                      <a:lnTo>
                        <a:pt x="506" y="358"/>
                      </a:lnTo>
                      <a:lnTo>
                        <a:pt x="510" y="358"/>
                      </a:lnTo>
                      <a:lnTo>
                        <a:pt x="510" y="354"/>
                      </a:lnTo>
                      <a:lnTo>
                        <a:pt x="510" y="352"/>
                      </a:lnTo>
                      <a:lnTo>
                        <a:pt x="514" y="352"/>
                      </a:lnTo>
                      <a:lnTo>
                        <a:pt x="514" y="348"/>
                      </a:lnTo>
                      <a:lnTo>
                        <a:pt x="514" y="344"/>
                      </a:lnTo>
                      <a:lnTo>
                        <a:pt x="518" y="344"/>
                      </a:lnTo>
                      <a:lnTo>
                        <a:pt x="518" y="340"/>
                      </a:lnTo>
                      <a:lnTo>
                        <a:pt x="518" y="336"/>
                      </a:lnTo>
                      <a:lnTo>
                        <a:pt x="518" y="332"/>
                      </a:lnTo>
                      <a:lnTo>
                        <a:pt x="522" y="332"/>
                      </a:lnTo>
                      <a:lnTo>
                        <a:pt x="518" y="328"/>
                      </a:lnTo>
                      <a:lnTo>
                        <a:pt x="522" y="328"/>
                      </a:lnTo>
                      <a:lnTo>
                        <a:pt x="522" y="324"/>
                      </a:lnTo>
                      <a:lnTo>
                        <a:pt x="522" y="322"/>
                      </a:lnTo>
                      <a:lnTo>
                        <a:pt x="526" y="322"/>
                      </a:lnTo>
                      <a:lnTo>
                        <a:pt x="526" y="318"/>
                      </a:lnTo>
                      <a:lnTo>
                        <a:pt x="526" y="314"/>
                      </a:lnTo>
                      <a:lnTo>
                        <a:pt x="530" y="310"/>
                      </a:lnTo>
                      <a:lnTo>
                        <a:pt x="530" y="306"/>
                      </a:lnTo>
                      <a:lnTo>
                        <a:pt x="530" y="302"/>
                      </a:lnTo>
                      <a:lnTo>
                        <a:pt x="530" y="298"/>
                      </a:lnTo>
                      <a:lnTo>
                        <a:pt x="530" y="296"/>
                      </a:lnTo>
                      <a:lnTo>
                        <a:pt x="532" y="296"/>
                      </a:lnTo>
                      <a:lnTo>
                        <a:pt x="532" y="292"/>
                      </a:lnTo>
                      <a:lnTo>
                        <a:pt x="532" y="288"/>
                      </a:lnTo>
                      <a:lnTo>
                        <a:pt x="532" y="284"/>
                      </a:lnTo>
                      <a:lnTo>
                        <a:pt x="532" y="280"/>
                      </a:lnTo>
                      <a:lnTo>
                        <a:pt x="536" y="276"/>
                      </a:lnTo>
                      <a:lnTo>
                        <a:pt x="536" y="272"/>
                      </a:lnTo>
                      <a:lnTo>
                        <a:pt x="536" y="268"/>
                      </a:lnTo>
                      <a:lnTo>
                        <a:pt x="536" y="266"/>
                      </a:lnTo>
                      <a:lnTo>
                        <a:pt x="536" y="262"/>
                      </a:lnTo>
                      <a:lnTo>
                        <a:pt x="536" y="258"/>
                      </a:lnTo>
                      <a:lnTo>
                        <a:pt x="532" y="254"/>
                      </a:lnTo>
                      <a:lnTo>
                        <a:pt x="532" y="250"/>
                      </a:lnTo>
                      <a:lnTo>
                        <a:pt x="532" y="246"/>
                      </a:lnTo>
                      <a:lnTo>
                        <a:pt x="532" y="242"/>
                      </a:lnTo>
                      <a:lnTo>
                        <a:pt x="532" y="238"/>
                      </a:lnTo>
                      <a:lnTo>
                        <a:pt x="532" y="236"/>
                      </a:lnTo>
                      <a:lnTo>
                        <a:pt x="532" y="232"/>
                      </a:lnTo>
                      <a:lnTo>
                        <a:pt x="532" y="228"/>
                      </a:lnTo>
                      <a:lnTo>
                        <a:pt x="532" y="232"/>
                      </a:lnTo>
                      <a:lnTo>
                        <a:pt x="536" y="232"/>
                      </a:lnTo>
                      <a:lnTo>
                        <a:pt x="536" y="228"/>
                      </a:lnTo>
                      <a:lnTo>
                        <a:pt x="536" y="224"/>
                      </a:lnTo>
                      <a:lnTo>
                        <a:pt x="536" y="220"/>
                      </a:lnTo>
                      <a:lnTo>
                        <a:pt x="536" y="216"/>
                      </a:lnTo>
                      <a:lnTo>
                        <a:pt x="536" y="212"/>
                      </a:lnTo>
                      <a:lnTo>
                        <a:pt x="536" y="210"/>
                      </a:lnTo>
                      <a:lnTo>
                        <a:pt x="536" y="206"/>
                      </a:lnTo>
                      <a:lnTo>
                        <a:pt x="536" y="202"/>
                      </a:lnTo>
                      <a:lnTo>
                        <a:pt x="536" y="198"/>
                      </a:lnTo>
                      <a:lnTo>
                        <a:pt x="540" y="198"/>
                      </a:lnTo>
                      <a:lnTo>
                        <a:pt x="540" y="194"/>
                      </a:lnTo>
                      <a:lnTo>
                        <a:pt x="540" y="190"/>
                      </a:lnTo>
                      <a:lnTo>
                        <a:pt x="540" y="186"/>
                      </a:lnTo>
                      <a:lnTo>
                        <a:pt x="540" y="182"/>
                      </a:lnTo>
                      <a:lnTo>
                        <a:pt x="544" y="182"/>
                      </a:lnTo>
                      <a:lnTo>
                        <a:pt x="544" y="180"/>
                      </a:lnTo>
                      <a:lnTo>
                        <a:pt x="544" y="176"/>
                      </a:lnTo>
                      <a:lnTo>
                        <a:pt x="544" y="172"/>
                      </a:lnTo>
                      <a:lnTo>
                        <a:pt x="544" y="168"/>
                      </a:lnTo>
                      <a:lnTo>
                        <a:pt x="544" y="164"/>
                      </a:lnTo>
                      <a:lnTo>
                        <a:pt x="548" y="164"/>
                      </a:lnTo>
                      <a:lnTo>
                        <a:pt x="548" y="160"/>
                      </a:lnTo>
                      <a:lnTo>
                        <a:pt x="548" y="158"/>
                      </a:lnTo>
                      <a:lnTo>
                        <a:pt x="548" y="154"/>
                      </a:lnTo>
                      <a:lnTo>
                        <a:pt x="548" y="150"/>
                      </a:lnTo>
                      <a:lnTo>
                        <a:pt x="548" y="146"/>
                      </a:lnTo>
                      <a:lnTo>
                        <a:pt x="548" y="142"/>
                      </a:lnTo>
                      <a:lnTo>
                        <a:pt x="552" y="142"/>
                      </a:lnTo>
                      <a:lnTo>
                        <a:pt x="552" y="138"/>
                      </a:lnTo>
                      <a:lnTo>
                        <a:pt x="548" y="136"/>
                      </a:lnTo>
                      <a:lnTo>
                        <a:pt x="548" y="132"/>
                      </a:lnTo>
                      <a:lnTo>
                        <a:pt x="548" y="128"/>
                      </a:lnTo>
                      <a:lnTo>
                        <a:pt x="548" y="124"/>
                      </a:lnTo>
                      <a:lnTo>
                        <a:pt x="548" y="120"/>
                      </a:lnTo>
                      <a:lnTo>
                        <a:pt x="548" y="116"/>
                      </a:lnTo>
                      <a:lnTo>
                        <a:pt x="548" y="112"/>
                      </a:lnTo>
                      <a:lnTo>
                        <a:pt x="552" y="112"/>
                      </a:lnTo>
                      <a:lnTo>
                        <a:pt x="552" y="110"/>
                      </a:lnTo>
                      <a:lnTo>
                        <a:pt x="552" y="106"/>
                      </a:lnTo>
                      <a:lnTo>
                        <a:pt x="548" y="106"/>
                      </a:lnTo>
                      <a:lnTo>
                        <a:pt x="548" y="110"/>
                      </a:lnTo>
                      <a:lnTo>
                        <a:pt x="548" y="106"/>
                      </a:lnTo>
                      <a:lnTo>
                        <a:pt x="548" y="102"/>
                      </a:lnTo>
                      <a:lnTo>
                        <a:pt x="548" y="98"/>
                      </a:lnTo>
                      <a:lnTo>
                        <a:pt x="548" y="102"/>
                      </a:lnTo>
                      <a:lnTo>
                        <a:pt x="552" y="102"/>
                      </a:lnTo>
                      <a:lnTo>
                        <a:pt x="552" y="98"/>
                      </a:lnTo>
                      <a:lnTo>
                        <a:pt x="552" y="94"/>
                      </a:lnTo>
                      <a:lnTo>
                        <a:pt x="552" y="90"/>
                      </a:lnTo>
                      <a:lnTo>
                        <a:pt x="552" y="86"/>
                      </a:lnTo>
                      <a:lnTo>
                        <a:pt x="556" y="82"/>
                      </a:lnTo>
                      <a:lnTo>
                        <a:pt x="556" y="76"/>
                      </a:lnTo>
                      <a:lnTo>
                        <a:pt x="556" y="72"/>
                      </a:lnTo>
                      <a:lnTo>
                        <a:pt x="556" y="68"/>
                      </a:lnTo>
                      <a:lnTo>
                        <a:pt x="556" y="64"/>
                      </a:lnTo>
                      <a:lnTo>
                        <a:pt x="556" y="60"/>
                      </a:lnTo>
                      <a:lnTo>
                        <a:pt x="556" y="52"/>
                      </a:lnTo>
                      <a:lnTo>
                        <a:pt x="556" y="50"/>
                      </a:lnTo>
                      <a:lnTo>
                        <a:pt x="556" y="46"/>
                      </a:lnTo>
                      <a:lnTo>
                        <a:pt x="556" y="42"/>
                      </a:lnTo>
                      <a:lnTo>
                        <a:pt x="556" y="38"/>
                      </a:lnTo>
                      <a:lnTo>
                        <a:pt x="552" y="34"/>
                      </a:lnTo>
                      <a:lnTo>
                        <a:pt x="552" y="30"/>
                      </a:lnTo>
                      <a:lnTo>
                        <a:pt x="552" y="26"/>
                      </a:lnTo>
                      <a:lnTo>
                        <a:pt x="552" y="24"/>
                      </a:lnTo>
                      <a:lnTo>
                        <a:pt x="552" y="20"/>
                      </a:lnTo>
                      <a:lnTo>
                        <a:pt x="552" y="16"/>
                      </a:lnTo>
                      <a:lnTo>
                        <a:pt x="556" y="16"/>
                      </a:lnTo>
                      <a:lnTo>
                        <a:pt x="560" y="16"/>
                      </a:lnTo>
                      <a:lnTo>
                        <a:pt x="560" y="12"/>
                      </a:lnTo>
                      <a:lnTo>
                        <a:pt x="560" y="8"/>
                      </a:lnTo>
                      <a:lnTo>
                        <a:pt x="560" y="4"/>
                      </a:lnTo>
                      <a:lnTo>
                        <a:pt x="562" y="4"/>
                      </a:lnTo>
                      <a:lnTo>
                        <a:pt x="562" y="0"/>
                      </a:lnTo>
                      <a:lnTo>
                        <a:pt x="562" y="4"/>
                      </a:lnTo>
                      <a:lnTo>
                        <a:pt x="566" y="4"/>
                      </a:lnTo>
                      <a:lnTo>
                        <a:pt x="566" y="8"/>
                      </a:lnTo>
                      <a:lnTo>
                        <a:pt x="566" y="12"/>
                      </a:lnTo>
                      <a:lnTo>
                        <a:pt x="570" y="12"/>
                      </a:lnTo>
                      <a:lnTo>
                        <a:pt x="570" y="16"/>
                      </a:lnTo>
                      <a:lnTo>
                        <a:pt x="570" y="20"/>
                      </a:lnTo>
                      <a:lnTo>
                        <a:pt x="570" y="24"/>
                      </a:lnTo>
                      <a:lnTo>
                        <a:pt x="570" y="26"/>
                      </a:lnTo>
                      <a:lnTo>
                        <a:pt x="574" y="30"/>
                      </a:lnTo>
                      <a:lnTo>
                        <a:pt x="574" y="34"/>
                      </a:lnTo>
                      <a:lnTo>
                        <a:pt x="578" y="34"/>
                      </a:lnTo>
                      <a:lnTo>
                        <a:pt x="578" y="38"/>
                      </a:lnTo>
                      <a:lnTo>
                        <a:pt x="574" y="42"/>
                      </a:lnTo>
                      <a:lnTo>
                        <a:pt x="578" y="42"/>
                      </a:lnTo>
                      <a:lnTo>
                        <a:pt x="578" y="46"/>
                      </a:lnTo>
                      <a:lnTo>
                        <a:pt x="574" y="46"/>
                      </a:lnTo>
                      <a:lnTo>
                        <a:pt x="574" y="50"/>
                      </a:lnTo>
                      <a:lnTo>
                        <a:pt x="574" y="52"/>
                      </a:lnTo>
                      <a:lnTo>
                        <a:pt x="574" y="56"/>
                      </a:lnTo>
                      <a:lnTo>
                        <a:pt x="578" y="56"/>
                      </a:lnTo>
                      <a:lnTo>
                        <a:pt x="578" y="60"/>
                      </a:lnTo>
                      <a:lnTo>
                        <a:pt x="578" y="64"/>
                      </a:lnTo>
                      <a:lnTo>
                        <a:pt x="578" y="60"/>
                      </a:lnTo>
                      <a:lnTo>
                        <a:pt x="582" y="68"/>
                      </a:lnTo>
                      <a:lnTo>
                        <a:pt x="582" y="76"/>
                      </a:lnTo>
                      <a:lnTo>
                        <a:pt x="586" y="76"/>
                      </a:lnTo>
                      <a:lnTo>
                        <a:pt x="586" y="80"/>
                      </a:lnTo>
                      <a:lnTo>
                        <a:pt x="586" y="82"/>
                      </a:lnTo>
                      <a:lnTo>
                        <a:pt x="586" y="86"/>
                      </a:lnTo>
                      <a:lnTo>
                        <a:pt x="586" y="90"/>
                      </a:lnTo>
                      <a:lnTo>
                        <a:pt x="590" y="90"/>
                      </a:lnTo>
                      <a:lnTo>
                        <a:pt x="586" y="94"/>
                      </a:lnTo>
                      <a:lnTo>
                        <a:pt x="590" y="98"/>
                      </a:lnTo>
                      <a:lnTo>
                        <a:pt x="592" y="98"/>
                      </a:lnTo>
                      <a:lnTo>
                        <a:pt x="596" y="94"/>
                      </a:lnTo>
                      <a:lnTo>
                        <a:pt x="596" y="98"/>
                      </a:lnTo>
                      <a:lnTo>
                        <a:pt x="600" y="98"/>
                      </a:lnTo>
                      <a:lnTo>
                        <a:pt x="600" y="102"/>
                      </a:lnTo>
                      <a:lnTo>
                        <a:pt x="596" y="102"/>
                      </a:lnTo>
                      <a:lnTo>
                        <a:pt x="596" y="106"/>
                      </a:lnTo>
                      <a:lnTo>
                        <a:pt x="596" y="110"/>
                      </a:lnTo>
                      <a:lnTo>
                        <a:pt x="596" y="112"/>
                      </a:lnTo>
                      <a:lnTo>
                        <a:pt x="592" y="116"/>
                      </a:lnTo>
                      <a:lnTo>
                        <a:pt x="592" y="120"/>
                      </a:lnTo>
                      <a:lnTo>
                        <a:pt x="590" y="120"/>
                      </a:lnTo>
                      <a:lnTo>
                        <a:pt x="586" y="120"/>
                      </a:lnTo>
                      <a:lnTo>
                        <a:pt x="582" y="124"/>
                      </a:lnTo>
                      <a:lnTo>
                        <a:pt x="578" y="124"/>
                      </a:lnTo>
                      <a:lnTo>
                        <a:pt x="578" y="128"/>
                      </a:lnTo>
                      <a:lnTo>
                        <a:pt x="578" y="132"/>
                      </a:lnTo>
                      <a:lnTo>
                        <a:pt x="582" y="136"/>
                      </a:lnTo>
                      <a:lnTo>
                        <a:pt x="578" y="138"/>
                      </a:lnTo>
                      <a:lnTo>
                        <a:pt x="578" y="142"/>
                      </a:lnTo>
                      <a:lnTo>
                        <a:pt x="578" y="146"/>
                      </a:lnTo>
                      <a:lnTo>
                        <a:pt x="578" y="150"/>
                      </a:lnTo>
                      <a:lnTo>
                        <a:pt x="578" y="154"/>
                      </a:lnTo>
                      <a:lnTo>
                        <a:pt x="578" y="158"/>
                      </a:lnTo>
                      <a:lnTo>
                        <a:pt x="578" y="160"/>
                      </a:lnTo>
                      <a:lnTo>
                        <a:pt x="578" y="164"/>
                      </a:lnTo>
                      <a:lnTo>
                        <a:pt x="582" y="168"/>
                      </a:lnTo>
                      <a:lnTo>
                        <a:pt x="582" y="172"/>
                      </a:lnTo>
                      <a:lnTo>
                        <a:pt x="578" y="172"/>
                      </a:lnTo>
                      <a:lnTo>
                        <a:pt x="574" y="172"/>
                      </a:lnTo>
                      <a:lnTo>
                        <a:pt x="574" y="176"/>
                      </a:lnTo>
                      <a:lnTo>
                        <a:pt x="570" y="180"/>
                      </a:lnTo>
                      <a:lnTo>
                        <a:pt x="570" y="182"/>
                      </a:lnTo>
                      <a:lnTo>
                        <a:pt x="570" y="186"/>
                      </a:lnTo>
                      <a:lnTo>
                        <a:pt x="566" y="186"/>
                      </a:lnTo>
                      <a:lnTo>
                        <a:pt x="566" y="190"/>
                      </a:lnTo>
                      <a:lnTo>
                        <a:pt x="562" y="194"/>
                      </a:lnTo>
                      <a:lnTo>
                        <a:pt x="562" y="198"/>
                      </a:lnTo>
                      <a:lnTo>
                        <a:pt x="560" y="198"/>
                      </a:lnTo>
                      <a:lnTo>
                        <a:pt x="560" y="202"/>
                      </a:lnTo>
                      <a:lnTo>
                        <a:pt x="560" y="206"/>
                      </a:lnTo>
                      <a:lnTo>
                        <a:pt x="560" y="210"/>
                      </a:lnTo>
                      <a:lnTo>
                        <a:pt x="556" y="212"/>
                      </a:lnTo>
                      <a:lnTo>
                        <a:pt x="556" y="216"/>
                      </a:lnTo>
                      <a:lnTo>
                        <a:pt x="560" y="216"/>
                      </a:lnTo>
                      <a:lnTo>
                        <a:pt x="556" y="216"/>
                      </a:lnTo>
                      <a:lnTo>
                        <a:pt x="560" y="220"/>
                      </a:lnTo>
                      <a:lnTo>
                        <a:pt x="560" y="224"/>
                      </a:lnTo>
                      <a:lnTo>
                        <a:pt x="560" y="228"/>
                      </a:lnTo>
                      <a:lnTo>
                        <a:pt x="560" y="232"/>
                      </a:lnTo>
                      <a:lnTo>
                        <a:pt x="556" y="232"/>
                      </a:lnTo>
                      <a:lnTo>
                        <a:pt x="556" y="236"/>
                      </a:lnTo>
                      <a:lnTo>
                        <a:pt x="552" y="236"/>
                      </a:lnTo>
                      <a:lnTo>
                        <a:pt x="552" y="238"/>
                      </a:lnTo>
                      <a:lnTo>
                        <a:pt x="552" y="242"/>
                      </a:lnTo>
                      <a:lnTo>
                        <a:pt x="552" y="246"/>
                      </a:lnTo>
                      <a:lnTo>
                        <a:pt x="548" y="246"/>
                      </a:lnTo>
                      <a:lnTo>
                        <a:pt x="548" y="250"/>
                      </a:lnTo>
                      <a:lnTo>
                        <a:pt x="548" y="254"/>
                      </a:lnTo>
                      <a:lnTo>
                        <a:pt x="552" y="258"/>
                      </a:lnTo>
                      <a:lnTo>
                        <a:pt x="552" y="262"/>
                      </a:lnTo>
                      <a:lnTo>
                        <a:pt x="552" y="266"/>
                      </a:lnTo>
                      <a:lnTo>
                        <a:pt x="552" y="268"/>
                      </a:lnTo>
                      <a:lnTo>
                        <a:pt x="556" y="268"/>
                      </a:lnTo>
                      <a:lnTo>
                        <a:pt x="556" y="272"/>
                      </a:lnTo>
                      <a:lnTo>
                        <a:pt x="556" y="276"/>
                      </a:lnTo>
                      <a:lnTo>
                        <a:pt x="556" y="280"/>
                      </a:lnTo>
                      <a:lnTo>
                        <a:pt x="556" y="284"/>
                      </a:lnTo>
                      <a:lnTo>
                        <a:pt x="560" y="284"/>
                      </a:lnTo>
                      <a:lnTo>
                        <a:pt x="560" y="288"/>
                      </a:lnTo>
                      <a:lnTo>
                        <a:pt x="560" y="292"/>
                      </a:lnTo>
                      <a:lnTo>
                        <a:pt x="560" y="296"/>
                      </a:lnTo>
                      <a:lnTo>
                        <a:pt x="560" y="298"/>
                      </a:lnTo>
                      <a:lnTo>
                        <a:pt x="560" y="302"/>
                      </a:lnTo>
                      <a:lnTo>
                        <a:pt x="556" y="302"/>
                      </a:lnTo>
                      <a:lnTo>
                        <a:pt x="556" y="306"/>
                      </a:lnTo>
                      <a:lnTo>
                        <a:pt x="556" y="310"/>
                      </a:lnTo>
                      <a:lnTo>
                        <a:pt x="552" y="310"/>
                      </a:lnTo>
                      <a:lnTo>
                        <a:pt x="552" y="314"/>
                      </a:lnTo>
                      <a:lnTo>
                        <a:pt x="552" y="318"/>
                      </a:lnTo>
                      <a:lnTo>
                        <a:pt x="552" y="322"/>
                      </a:lnTo>
                      <a:lnTo>
                        <a:pt x="548" y="322"/>
                      </a:lnTo>
                      <a:lnTo>
                        <a:pt x="548" y="324"/>
                      </a:lnTo>
                      <a:lnTo>
                        <a:pt x="552" y="324"/>
                      </a:lnTo>
                      <a:lnTo>
                        <a:pt x="552" y="328"/>
                      </a:lnTo>
                      <a:lnTo>
                        <a:pt x="552" y="332"/>
                      </a:lnTo>
                      <a:lnTo>
                        <a:pt x="552" y="336"/>
                      </a:lnTo>
                      <a:lnTo>
                        <a:pt x="552" y="340"/>
                      </a:lnTo>
                      <a:lnTo>
                        <a:pt x="548" y="340"/>
                      </a:lnTo>
                      <a:lnTo>
                        <a:pt x="548" y="344"/>
                      </a:lnTo>
                      <a:lnTo>
                        <a:pt x="544" y="348"/>
                      </a:lnTo>
                      <a:lnTo>
                        <a:pt x="544" y="344"/>
                      </a:lnTo>
                      <a:lnTo>
                        <a:pt x="540" y="348"/>
                      </a:lnTo>
                      <a:lnTo>
                        <a:pt x="540" y="352"/>
                      </a:lnTo>
                      <a:lnTo>
                        <a:pt x="540" y="354"/>
                      </a:lnTo>
                      <a:lnTo>
                        <a:pt x="540" y="358"/>
                      </a:lnTo>
                      <a:lnTo>
                        <a:pt x="540" y="362"/>
                      </a:lnTo>
                      <a:lnTo>
                        <a:pt x="540" y="366"/>
                      </a:lnTo>
                      <a:lnTo>
                        <a:pt x="540" y="370"/>
                      </a:lnTo>
                      <a:lnTo>
                        <a:pt x="540" y="374"/>
                      </a:lnTo>
                      <a:lnTo>
                        <a:pt x="544" y="378"/>
                      </a:lnTo>
                      <a:lnTo>
                        <a:pt x="544" y="380"/>
                      </a:lnTo>
                      <a:lnTo>
                        <a:pt x="544" y="384"/>
                      </a:lnTo>
                      <a:lnTo>
                        <a:pt x="544" y="388"/>
                      </a:lnTo>
                      <a:lnTo>
                        <a:pt x="540" y="388"/>
                      </a:lnTo>
                      <a:lnTo>
                        <a:pt x="540" y="392"/>
                      </a:lnTo>
                      <a:lnTo>
                        <a:pt x="536" y="392"/>
                      </a:lnTo>
                      <a:lnTo>
                        <a:pt x="536" y="396"/>
                      </a:lnTo>
                      <a:lnTo>
                        <a:pt x="536" y="400"/>
                      </a:lnTo>
                      <a:lnTo>
                        <a:pt x="536" y="404"/>
                      </a:lnTo>
                      <a:lnTo>
                        <a:pt x="536" y="408"/>
                      </a:lnTo>
                      <a:lnTo>
                        <a:pt x="532" y="408"/>
                      </a:lnTo>
                      <a:lnTo>
                        <a:pt x="532" y="404"/>
                      </a:lnTo>
                      <a:lnTo>
                        <a:pt x="532" y="408"/>
                      </a:lnTo>
                      <a:lnTo>
                        <a:pt x="532" y="410"/>
                      </a:lnTo>
                      <a:lnTo>
                        <a:pt x="532" y="414"/>
                      </a:lnTo>
                      <a:lnTo>
                        <a:pt x="530" y="418"/>
                      </a:lnTo>
                      <a:lnTo>
                        <a:pt x="532" y="418"/>
                      </a:lnTo>
                      <a:lnTo>
                        <a:pt x="532" y="422"/>
                      </a:lnTo>
                      <a:lnTo>
                        <a:pt x="530" y="422"/>
                      </a:lnTo>
                      <a:lnTo>
                        <a:pt x="530" y="426"/>
                      </a:lnTo>
                      <a:lnTo>
                        <a:pt x="530" y="430"/>
                      </a:lnTo>
                      <a:lnTo>
                        <a:pt x="530" y="434"/>
                      </a:lnTo>
                      <a:lnTo>
                        <a:pt x="530" y="438"/>
                      </a:lnTo>
                      <a:lnTo>
                        <a:pt x="530" y="440"/>
                      </a:lnTo>
                      <a:lnTo>
                        <a:pt x="530" y="444"/>
                      </a:lnTo>
                      <a:lnTo>
                        <a:pt x="530" y="448"/>
                      </a:lnTo>
                      <a:lnTo>
                        <a:pt x="532" y="448"/>
                      </a:lnTo>
                      <a:lnTo>
                        <a:pt x="532" y="452"/>
                      </a:lnTo>
                      <a:lnTo>
                        <a:pt x="532" y="456"/>
                      </a:lnTo>
                      <a:lnTo>
                        <a:pt x="530" y="456"/>
                      </a:lnTo>
                      <a:lnTo>
                        <a:pt x="526" y="460"/>
                      </a:lnTo>
                      <a:lnTo>
                        <a:pt x="530" y="460"/>
                      </a:lnTo>
                      <a:lnTo>
                        <a:pt x="526" y="464"/>
                      </a:lnTo>
                      <a:lnTo>
                        <a:pt x="526" y="466"/>
                      </a:lnTo>
                      <a:lnTo>
                        <a:pt x="526" y="470"/>
                      </a:lnTo>
                      <a:lnTo>
                        <a:pt x="526" y="474"/>
                      </a:lnTo>
                      <a:lnTo>
                        <a:pt x="530" y="474"/>
                      </a:lnTo>
                      <a:lnTo>
                        <a:pt x="532" y="474"/>
                      </a:lnTo>
                      <a:lnTo>
                        <a:pt x="532" y="478"/>
                      </a:lnTo>
                      <a:lnTo>
                        <a:pt x="530" y="478"/>
                      </a:lnTo>
                      <a:lnTo>
                        <a:pt x="530" y="482"/>
                      </a:lnTo>
                      <a:lnTo>
                        <a:pt x="532" y="482"/>
                      </a:lnTo>
                      <a:lnTo>
                        <a:pt x="532" y="486"/>
                      </a:lnTo>
                      <a:lnTo>
                        <a:pt x="532" y="490"/>
                      </a:lnTo>
                      <a:lnTo>
                        <a:pt x="532" y="494"/>
                      </a:lnTo>
                      <a:lnTo>
                        <a:pt x="530" y="494"/>
                      </a:lnTo>
                      <a:lnTo>
                        <a:pt x="532" y="496"/>
                      </a:lnTo>
                      <a:lnTo>
                        <a:pt x="530" y="496"/>
                      </a:lnTo>
                      <a:lnTo>
                        <a:pt x="530" y="500"/>
                      </a:lnTo>
                      <a:lnTo>
                        <a:pt x="532" y="500"/>
                      </a:lnTo>
                      <a:lnTo>
                        <a:pt x="536" y="500"/>
                      </a:lnTo>
                      <a:lnTo>
                        <a:pt x="540" y="500"/>
                      </a:lnTo>
                      <a:lnTo>
                        <a:pt x="540" y="504"/>
                      </a:lnTo>
                      <a:lnTo>
                        <a:pt x="540" y="508"/>
                      </a:lnTo>
                      <a:lnTo>
                        <a:pt x="536" y="508"/>
                      </a:lnTo>
                      <a:lnTo>
                        <a:pt x="532" y="508"/>
                      </a:lnTo>
                      <a:lnTo>
                        <a:pt x="530" y="508"/>
                      </a:lnTo>
                      <a:lnTo>
                        <a:pt x="526" y="508"/>
                      </a:lnTo>
                      <a:lnTo>
                        <a:pt x="530" y="508"/>
                      </a:lnTo>
                      <a:lnTo>
                        <a:pt x="530" y="512"/>
                      </a:lnTo>
                      <a:lnTo>
                        <a:pt x="532" y="512"/>
                      </a:lnTo>
                      <a:lnTo>
                        <a:pt x="536" y="512"/>
                      </a:lnTo>
                      <a:lnTo>
                        <a:pt x="536" y="516"/>
                      </a:lnTo>
                      <a:lnTo>
                        <a:pt x="536" y="520"/>
                      </a:lnTo>
                      <a:lnTo>
                        <a:pt x="532" y="524"/>
                      </a:lnTo>
                      <a:lnTo>
                        <a:pt x="532" y="526"/>
                      </a:lnTo>
                      <a:lnTo>
                        <a:pt x="532" y="530"/>
                      </a:lnTo>
                      <a:lnTo>
                        <a:pt x="532" y="534"/>
                      </a:lnTo>
                      <a:lnTo>
                        <a:pt x="530" y="534"/>
                      </a:lnTo>
                      <a:lnTo>
                        <a:pt x="532" y="534"/>
                      </a:lnTo>
                      <a:lnTo>
                        <a:pt x="532" y="538"/>
                      </a:lnTo>
                      <a:lnTo>
                        <a:pt x="532" y="542"/>
                      </a:lnTo>
                      <a:lnTo>
                        <a:pt x="532" y="546"/>
                      </a:lnTo>
                      <a:lnTo>
                        <a:pt x="530" y="550"/>
                      </a:lnTo>
                      <a:lnTo>
                        <a:pt x="530" y="552"/>
                      </a:lnTo>
                      <a:lnTo>
                        <a:pt x="530" y="556"/>
                      </a:lnTo>
                      <a:lnTo>
                        <a:pt x="526" y="560"/>
                      </a:lnTo>
                      <a:lnTo>
                        <a:pt x="522" y="560"/>
                      </a:lnTo>
                      <a:lnTo>
                        <a:pt x="526" y="564"/>
                      </a:lnTo>
                      <a:lnTo>
                        <a:pt x="522" y="564"/>
                      </a:lnTo>
                      <a:lnTo>
                        <a:pt x="522" y="566"/>
                      </a:lnTo>
                      <a:lnTo>
                        <a:pt x="522" y="570"/>
                      </a:lnTo>
                      <a:lnTo>
                        <a:pt x="526" y="574"/>
                      </a:lnTo>
                      <a:lnTo>
                        <a:pt x="526" y="578"/>
                      </a:lnTo>
                      <a:lnTo>
                        <a:pt x="522" y="578"/>
                      </a:lnTo>
                      <a:lnTo>
                        <a:pt x="522" y="582"/>
                      </a:lnTo>
                      <a:lnTo>
                        <a:pt x="518" y="582"/>
                      </a:lnTo>
                      <a:lnTo>
                        <a:pt x="522" y="582"/>
                      </a:lnTo>
                      <a:lnTo>
                        <a:pt x="522" y="586"/>
                      </a:lnTo>
                      <a:lnTo>
                        <a:pt x="522" y="590"/>
                      </a:lnTo>
                      <a:lnTo>
                        <a:pt x="518" y="590"/>
                      </a:lnTo>
                      <a:lnTo>
                        <a:pt x="514" y="590"/>
                      </a:lnTo>
                      <a:lnTo>
                        <a:pt x="514" y="594"/>
                      </a:lnTo>
                      <a:lnTo>
                        <a:pt x="510" y="596"/>
                      </a:lnTo>
                      <a:lnTo>
                        <a:pt x="514" y="596"/>
                      </a:lnTo>
                      <a:lnTo>
                        <a:pt x="510" y="596"/>
                      </a:lnTo>
                      <a:lnTo>
                        <a:pt x="506" y="596"/>
                      </a:lnTo>
                      <a:lnTo>
                        <a:pt x="506" y="600"/>
                      </a:lnTo>
                      <a:lnTo>
                        <a:pt x="506" y="604"/>
                      </a:lnTo>
                      <a:lnTo>
                        <a:pt x="506" y="608"/>
                      </a:lnTo>
                      <a:lnTo>
                        <a:pt x="506" y="612"/>
                      </a:lnTo>
                      <a:lnTo>
                        <a:pt x="506" y="616"/>
                      </a:lnTo>
                      <a:lnTo>
                        <a:pt x="510" y="620"/>
                      </a:lnTo>
                      <a:lnTo>
                        <a:pt x="510" y="624"/>
                      </a:lnTo>
                      <a:lnTo>
                        <a:pt x="510" y="626"/>
                      </a:lnTo>
                      <a:lnTo>
                        <a:pt x="510" y="630"/>
                      </a:lnTo>
                      <a:lnTo>
                        <a:pt x="514" y="630"/>
                      </a:lnTo>
                      <a:lnTo>
                        <a:pt x="514" y="626"/>
                      </a:lnTo>
                      <a:lnTo>
                        <a:pt x="518" y="626"/>
                      </a:lnTo>
                      <a:lnTo>
                        <a:pt x="522" y="626"/>
                      </a:lnTo>
                      <a:lnTo>
                        <a:pt x="526" y="626"/>
                      </a:lnTo>
                      <a:lnTo>
                        <a:pt x="522" y="626"/>
                      </a:lnTo>
                      <a:lnTo>
                        <a:pt x="526" y="630"/>
                      </a:lnTo>
                      <a:lnTo>
                        <a:pt x="526" y="634"/>
                      </a:lnTo>
                      <a:lnTo>
                        <a:pt x="522" y="634"/>
                      </a:lnTo>
                      <a:lnTo>
                        <a:pt x="522" y="638"/>
                      </a:lnTo>
                      <a:lnTo>
                        <a:pt x="526" y="638"/>
                      </a:lnTo>
                      <a:lnTo>
                        <a:pt x="526" y="642"/>
                      </a:lnTo>
                      <a:lnTo>
                        <a:pt x="522" y="646"/>
                      </a:lnTo>
                      <a:lnTo>
                        <a:pt x="526" y="650"/>
                      </a:lnTo>
                      <a:lnTo>
                        <a:pt x="530" y="652"/>
                      </a:lnTo>
                      <a:lnTo>
                        <a:pt x="532" y="656"/>
                      </a:lnTo>
                      <a:lnTo>
                        <a:pt x="540" y="656"/>
                      </a:lnTo>
                      <a:lnTo>
                        <a:pt x="548" y="656"/>
                      </a:lnTo>
                      <a:lnTo>
                        <a:pt x="552" y="656"/>
                      </a:lnTo>
                      <a:lnTo>
                        <a:pt x="556" y="656"/>
                      </a:lnTo>
                      <a:lnTo>
                        <a:pt x="560" y="656"/>
                      </a:lnTo>
                      <a:lnTo>
                        <a:pt x="562" y="656"/>
                      </a:lnTo>
                      <a:lnTo>
                        <a:pt x="566" y="656"/>
                      </a:lnTo>
                      <a:lnTo>
                        <a:pt x="570" y="660"/>
                      </a:lnTo>
                      <a:lnTo>
                        <a:pt x="574" y="660"/>
                      </a:lnTo>
                      <a:lnTo>
                        <a:pt x="578" y="660"/>
                      </a:lnTo>
                      <a:lnTo>
                        <a:pt x="578" y="664"/>
                      </a:lnTo>
                      <a:lnTo>
                        <a:pt x="578" y="660"/>
                      </a:lnTo>
                      <a:lnTo>
                        <a:pt x="574" y="660"/>
                      </a:lnTo>
                      <a:lnTo>
                        <a:pt x="570" y="660"/>
                      </a:lnTo>
                      <a:lnTo>
                        <a:pt x="566" y="660"/>
                      </a:lnTo>
                      <a:lnTo>
                        <a:pt x="562" y="660"/>
                      </a:lnTo>
                      <a:lnTo>
                        <a:pt x="562" y="664"/>
                      </a:lnTo>
                      <a:lnTo>
                        <a:pt x="562" y="668"/>
                      </a:lnTo>
                      <a:lnTo>
                        <a:pt x="560" y="664"/>
                      </a:lnTo>
                      <a:lnTo>
                        <a:pt x="556" y="668"/>
                      </a:lnTo>
                      <a:lnTo>
                        <a:pt x="548" y="672"/>
                      </a:lnTo>
                      <a:lnTo>
                        <a:pt x="544" y="672"/>
                      </a:lnTo>
                      <a:lnTo>
                        <a:pt x="544" y="676"/>
                      </a:lnTo>
                      <a:lnTo>
                        <a:pt x="544" y="680"/>
                      </a:lnTo>
                      <a:lnTo>
                        <a:pt x="544" y="682"/>
                      </a:lnTo>
                      <a:lnTo>
                        <a:pt x="544" y="686"/>
                      </a:lnTo>
                      <a:lnTo>
                        <a:pt x="544" y="690"/>
                      </a:lnTo>
                      <a:lnTo>
                        <a:pt x="544" y="694"/>
                      </a:lnTo>
                      <a:lnTo>
                        <a:pt x="540" y="694"/>
                      </a:lnTo>
                      <a:lnTo>
                        <a:pt x="536" y="694"/>
                      </a:lnTo>
                      <a:lnTo>
                        <a:pt x="532" y="694"/>
                      </a:lnTo>
                      <a:lnTo>
                        <a:pt x="530" y="690"/>
                      </a:lnTo>
                      <a:lnTo>
                        <a:pt x="526" y="690"/>
                      </a:lnTo>
                      <a:lnTo>
                        <a:pt x="522" y="686"/>
                      </a:lnTo>
                      <a:lnTo>
                        <a:pt x="522" y="682"/>
                      </a:lnTo>
                      <a:lnTo>
                        <a:pt x="526" y="682"/>
                      </a:lnTo>
                      <a:lnTo>
                        <a:pt x="526" y="686"/>
                      </a:lnTo>
                      <a:lnTo>
                        <a:pt x="530" y="686"/>
                      </a:lnTo>
                      <a:lnTo>
                        <a:pt x="530" y="682"/>
                      </a:lnTo>
                      <a:lnTo>
                        <a:pt x="530" y="680"/>
                      </a:lnTo>
                      <a:lnTo>
                        <a:pt x="530" y="682"/>
                      </a:lnTo>
                      <a:lnTo>
                        <a:pt x="532" y="686"/>
                      </a:lnTo>
                      <a:lnTo>
                        <a:pt x="530" y="686"/>
                      </a:lnTo>
                      <a:lnTo>
                        <a:pt x="532" y="686"/>
                      </a:lnTo>
                      <a:lnTo>
                        <a:pt x="532" y="682"/>
                      </a:lnTo>
                      <a:lnTo>
                        <a:pt x="532" y="680"/>
                      </a:lnTo>
                      <a:lnTo>
                        <a:pt x="536" y="680"/>
                      </a:lnTo>
                      <a:lnTo>
                        <a:pt x="540" y="676"/>
                      </a:lnTo>
                      <a:lnTo>
                        <a:pt x="540" y="672"/>
                      </a:lnTo>
                      <a:lnTo>
                        <a:pt x="536" y="672"/>
                      </a:lnTo>
                      <a:lnTo>
                        <a:pt x="532" y="676"/>
                      </a:lnTo>
                      <a:lnTo>
                        <a:pt x="530" y="676"/>
                      </a:lnTo>
                      <a:lnTo>
                        <a:pt x="530" y="680"/>
                      </a:lnTo>
                      <a:lnTo>
                        <a:pt x="526" y="680"/>
                      </a:lnTo>
                      <a:lnTo>
                        <a:pt x="526" y="676"/>
                      </a:lnTo>
                      <a:lnTo>
                        <a:pt x="522" y="680"/>
                      </a:lnTo>
                      <a:lnTo>
                        <a:pt x="526" y="680"/>
                      </a:lnTo>
                      <a:lnTo>
                        <a:pt x="522" y="682"/>
                      </a:lnTo>
                      <a:lnTo>
                        <a:pt x="522" y="680"/>
                      </a:lnTo>
                      <a:lnTo>
                        <a:pt x="522" y="682"/>
                      </a:lnTo>
                      <a:lnTo>
                        <a:pt x="518" y="682"/>
                      </a:lnTo>
                      <a:lnTo>
                        <a:pt x="522" y="686"/>
                      </a:lnTo>
                      <a:lnTo>
                        <a:pt x="518" y="686"/>
                      </a:lnTo>
                      <a:lnTo>
                        <a:pt x="514" y="682"/>
                      </a:lnTo>
                      <a:lnTo>
                        <a:pt x="510" y="682"/>
                      </a:lnTo>
                      <a:lnTo>
                        <a:pt x="510" y="680"/>
                      </a:lnTo>
                      <a:lnTo>
                        <a:pt x="514" y="680"/>
                      </a:lnTo>
                      <a:lnTo>
                        <a:pt x="518" y="680"/>
                      </a:lnTo>
                      <a:lnTo>
                        <a:pt x="518" y="682"/>
                      </a:lnTo>
                      <a:lnTo>
                        <a:pt x="518" y="680"/>
                      </a:lnTo>
                      <a:lnTo>
                        <a:pt x="514" y="680"/>
                      </a:lnTo>
                      <a:lnTo>
                        <a:pt x="514" y="676"/>
                      </a:lnTo>
                      <a:lnTo>
                        <a:pt x="514" y="672"/>
                      </a:lnTo>
                      <a:lnTo>
                        <a:pt x="518" y="672"/>
                      </a:lnTo>
                      <a:lnTo>
                        <a:pt x="522" y="672"/>
                      </a:lnTo>
                      <a:lnTo>
                        <a:pt x="526" y="672"/>
                      </a:lnTo>
                      <a:lnTo>
                        <a:pt x="526" y="668"/>
                      </a:lnTo>
                      <a:lnTo>
                        <a:pt x="530" y="668"/>
                      </a:lnTo>
                      <a:lnTo>
                        <a:pt x="532" y="668"/>
                      </a:lnTo>
                      <a:lnTo>
                        <a:pt x="536" y="668"/>
                      </a:lnTo>
                      <a:lnTo>
                        <a:pt x="532" y="668"/>
                      </a:lnTo>
                      <a:lnTo>
                        <a:pt x="530" y="668"/>
                      </a:lnTo>
                      <a:lnTo>
                        <a:pt x="526" y="664"/>
                      </a:lnTo>
                      <a:lnTo>
                        <a:pt x="522" y="668"/>
                      </a:lnTo>
                      <a:lnTo>
                        <a:pt x="522" y="664"/>
                      </a:lnTo>
                      <a:lnTo>
                        <a:pt x="522" y="668"/>
                      </a:lnTo>
                      <a:lnTo>
                        <a:pt x="518" y="668"/>
                      </a:lnTo>
                      <a:lnTo>
                        <a:pt x="514" y="668"/>
                      </a:lnTo>
                      <a:lnTo>
                        <a:pt x="518" y="668"/>
                      </a:lnTo>
                      <a:lnTo>
                        <a:pt x="518" y="672"/>
                      </a:lnTo>
                      <a:lnTo>
                        <a:pt x="514" y="672"/>
                      </a:lnTo>
                      <a:lnTo>
                        <a:pt x="514" y="676"/>
                      </a:lnTo>
                      <a:lnTo>
                        <a:pt x="514" y="680"/>
                      </a:lnTo>
                      <a:lnTo>
                        <a:pt x="510" y="680"/>
                      </a:lnTo>
                      <a:lnTo>
                        <a:pt x="506" y="676"/>
                      </a:lnTo>
                      <a:lnTo>
                        <a:pt x="510" y="676"/>
                      </a:lnTo>
                      <a:lnTo>
                        <a:pt x="506" y="672"/>
                      </a:lnTo>
                      <a:lnTo>
                        <a:pt x="510" y="672"/>
                      </a:lnTo>
                      <a:lnTo>
                        <a:pt x="514" y="664"/>
                      </a:lnTo>
                      <a:lnTo>
                        <a:pt x="510" y="664"/>
                      </a:lnTo>
                      <a:lnTo>
                        <a:pt x="510" y="668"/>
                      </a:lnTo>
                      <a:lnTo>
                        <a:pt x="506" y="668"/>
                      </a:lnTo>
                      <a:lnTo>
                        <a:pt x="506" y="672"/>
                      </a:lnTo>
                      <a:lnTo>
                        <a:pt x="504" y="672"/>
                      </a:lnTo>
                      <a:lnTo>
                        <a:pt x="504" y="668"/>
                      </a:lnTo>
                      <a:lnTo>
                        <a:pt x="506" y="668"/>
                      </a:lnTo>
                      <a:lnTo>
                        <a:pt x="506" y="664"/>
                      </a:lnTo>
                      <a:lnTo>
                        <a:pt x="504" y="664"/>
                      </a:lnTo>
                      <a:lnTo>
                        <a:pt x="506" y="664"/>
                      </a:lnTo>
                      <a:lnTo>
                        <a:pt x="506" y="660"/>
                      </a:lnTo>
                      <a:lnTo>
                        <a:pt x="506" y="656"/>
                      </a:lnTo>
                      <a:lnTo>
                        <a:pt x="504" y="656"/>
                      </a:lnTo>
                      <a:lnTo>
                        <a:pt x="506" y="660"/>
                      </a:lnTo>
                      <a:lnTo>
                        <a:pt x="510" y="660"/>
                      </a:lnTo>
                      <a:lnTo>
                        <a:pt x="510" y="656"/>
                      </a:lnTo>
                      <a:lnTo>
                        <a:pt x="514" y="656"/>
                      </a:lnTo>
                      <a:lnTo>
                        <a:pt x="514" y="660"/>
                      </a:lnTo>
                      <a:lnTo>
                        <a:pt x="518" y="660"/>
                      </a:lnTo>
                      <a:lnTo>
                        <a:pt x="518" y="656"/>
                      </a:lnTo>
                      <a:lnTo>
                        <a:pt x="514" y="660"/>
                      </a:lnTo>
                      <a:lnTo>
                        <a:pt x="514" y="656"/>
                      </a:lnTo>
                      <a:lnTo>
                        <a:pt x="518" y="652"/>
                      </a:lnTo>
                      <a:lnTo>
                        <a:pt x="518" y="656"/>
                      </a:lnTo>
                      <a:lnTo>
                        <a:pt x="522" y="656"/>
                      </a:lnTo>
                      <a:lnTo>
                        <a:pt x="522" y="660"/>
                      </a:lnTo>
                      <a:lnTo>
                        <a:pt x="518" y="660"/>
                      </a:lnTo>
                      <a:lnTo>
                        <a:pt x="518" y="664"/>
                      </a:lnTo>
                      <a:lnTo>
                        <a:pt x="514" y="664"/>
                      </a:lnTo>
                      <a:lnTo>
                        <a:pt x="518" y="664"/>
                      </a:lnTo>
                      <a:lnTo>
                        <a:pt x="522" y="664"/>
                      </a:lnTo>
                      <a:lnTo>
                        <a:pt x="522" y="660"/>
                      </a:lnTo>
                      <a:lnTo>
                        <a:pt x="522" y="656"/>
                      </a:lnTo>
                      <a:lnTo>
                        <a:pt x="518" y="656"/>
                      </a:lnTo>
                      <a:lnTo>
                        <a:pt x="518" y="652"/>
                      </a:lnTo>
                      <a:lnTo>
                        <a:pt x="522" y="652"/>
                      </a:lnTo>
                      <a:lnTo>
                        <a:pt x="522" y="650"/>
                      </a:lnTo>
                      <a:lnTo>
                        <a:pt x="518" y="646"/>
                      </a:lnTo>
                      <a:lnTo>
                        <a:pt x="514" y="646"/>
                      </a:lnTo>
                      <a:lnTo>
                        <a:pt x="514" y="642"/>
                      </a:lnTo>
                      <a:lnTo>
                        <a:pt x="510" y="642"/>
                      </a:lnTo>
                      <a:lnTo>
                        <a:pt x="510" y="646"/>
                      </a:lnTo>
                      <a:lnTo>
                        <a:pt x="514" y="646"/>
                      </a:lnTo>
                      <a:lnTo>
                        <a:pt x="518" y="646"/>
                      </a:lnTo>
                      <a:lnTo>
                        <a:pt x="518" y="650"/>
                      </a:lnTo>
                      <a:lnTo>
                        <a:pt x="522" y="650"/>
                      </a:lnTo>
                      <a:lnTo>
                        <a:pt x="518" y="652"/>
                      </a:lnTo>
                      <a:lnTo>
                        <a:pt x="518" y="650"/>
                      </a:lnTo>
                      <a:lnTo>
                        <a:pt x="514" y="650"/>
                      </a:lnTo>
                      <a:lnTo>
                        <a:pt x="510" y="646"/>
                      </a:lnTo>
                      <a:lnTo>
                        <a:pt x="510" y="650"/>
                      </a:lnTo>
                      <a:lnTo>
                        <a:pt x="514" y="650"/>
                      </a:lnTo>
                      <a:lnTo>
                        <a:pt x="514" y="652"/>
                      </a:lnTo>
                      <a:lnTo>
                        <a:pt x="510" y="652"/>
                      </a:lnTo>
                      <a:lnTo>
                        <a:pt x="514" y="652"/>
                      </a:lnTo>
                      <a:lnTo>
                        <a:pt x="510" y="652"/>
                      </a:lnTo>
                      <a:lnTo>
                        <a:pt x="510" y="656"/>
                      </a:lnTo>
                      <a:lnTo>
                        <a:pt x="510" y="652"/>
                      </a:lnTo>
                      <a:lnTo>
                        <a:pt x="510" y="650"/>
                      </a:lnTo>
                      <a:lnTo>
                        <a:pt x="510" y="656"/>
                      </a:lnTo>
                      <a:lnTo>
                        <a:pt x="506" y="656"/>
                      </a:lnTo>
                      <a:lnTo>
                        <a:pt x="506" y="652"/>
                      </a:lnTo>
                      <a:lnTo>
                        <a:pt x="506" y="650"/>
                      </a:lnTo>
                      <a:lnTo>
                        <a:pt x="506" y="652"/>
                      </a:lnTo>
                      <a:lnTo>
                        <a:pt x="506" y="656"/>
                      </a:lnTo>
                      <a:lnTo>
                        <a:pt x="506" y="652"/>
                      </a:lnTo>
                      <a:lnTo>
                        <a:pt x="506" y="650"/>
                      </a:lnTo>
                      <a:lnTo>
                        <a:pt x="504" y="650"/>
                      </a:lnTo>
                      <a:lnTo>
                        <a:pt x="504" y="646"/>
                      </a:lnTo>
                      <a:lnTo>
                        <a:pt x="500" y="642"/>
                      </a:lnTo>
                      <a:lnTo>
                        <a:pt x="504" y="642"/>
                      </a:lnTo>
                      <a:lnTo>
                        <a:pt x="504" y="646"/>
                      </a:lnTo>
                      <a:lnTo>
                        <a:pt x="506" y="646"/>
                      </a:lnTo>
                      <a:lnTo>
                        <a:pt x="504" y="642"/>
                      </a:lnTo>
                      <a:lnTo>
                        <a:pt x="504" y="638"/>
                      </a:lnTo>
                      <a:lnTo>
                        <a:pt x="500" y="638"/>
                      </a:lnTo>
                      <a:lnTo>
                        <a:pt x="500" y="634"/>
                      </a:lnTo>
                      <a:lnTo>
                        <a:pt x="496" y="634"/>
                      </a:lnTo>
                      <a:lnTo>
                        <a:pt x="496" y="630"/>
                      </a:lnTo>
                      <a:lnTo>
                        <a:pt x="500" y="630"/>
                      </a:lnTo>
                      <a:lnTo>
                        <a:pt x="504" y="630"/>
                      </a:lnTo>
                      <a:lnTo>
                        <a:pt x="504" y="626"/>
                      </a:lnTo>
                      <a:lnTo>
                        <a:pt x="506" y="626"/>
                      </a:lnTo>
                      <a:lnTo>
                        <a:pt x="504" y="626"/>
                      </a:lnTo>
                      <a:lnTo>
                        <a:pt x="504" y="624"/>
                      </a:lnTo>
                      <a:lnTo>
                        <a:pt x="506" y="624"/>
                      </a:lnTo>
                      <a:lnTo>
                        <a:pt x="504" y="624"/>
                      </a:lnTo>
                      <a:lnTo>
                        <a:pt x="504" y="626"/>
                      </a:lnTo>
                      <a:lnTo>
                        <a:pt x="504" y="630"/>
                      </a:lnTo>
                      <a:lnTo>
                        <a:pt x="500" y="630"/>
                      </a:lnTo>
                      <a:lnTo>
                        <a:pt x="500" y="626"/>
                      </a:lnTo>
                      <a:lnTo>
                        <a:pt x="496" y="626"/>
                      </a:lnTo>
                      <a:lnTo>
                        <a:pt x="496" y="624"/>
                      </a:lnTo>
                      <a:lnTo>
                        <a:pt x="500" y="624"/>
                      </a:lnTo>
                      <a:lnTo>
                        <a:pt x="504" y="624"/>
                      </a:lnTo>
                      <a:lnTo>
                        <a:pt x="500" y="624"/>
                      </a:lnTo>
                      <a:lnTo>
                        <a:pt x="496" y="624"/>
                      </a:lnTo>
                      <a:lnTo>
                        <a:pt x="492" y="620"/>
                      </a:lnTo>
                      <a:lnTo>
                        <a:pt x="492" y="616"/>
                      </a:lnTo>
                      <a:lnTo>
                        <a:pt x="496" y="616"/>
                      </a:lnTo>
                      <a:lnTo>
                        <a:pt x="500" y="620"/>
                      </a:lnTo>
                      <a:lnTo>
                        <a:pt x="504" y="620"/>
                      </a:lnTo>
                      <a:lnTo>
                        <a:pt x="500" y="616"/>
                      </a:lnTo>
                      <a:lnTo>
                        <a:pt x="496" y="616"/>
                      </a:lnTo>
                      <a:lnTo>
                        <a:pt x="496" y="612"/>
                      </a:lnTo>
                      <a:lnTo>
                        <a:pt x="500" y="612"/>
                      </a:lnTo>
                      <a:lnTo>
                        <a:pt x="504" y="616"/>
                      </a:lnTo>
                      <a:lnTo>
                        <a:pt x="504" y="612"/>
                      </a:lnTo>
                      <a:lnTo>
                        <a:pt x="500" y="612"/>
                      </a:lnTo>
                      <a:lnTo>
                        <a:pt x="496" y="612"/>
                      </a:lnTo>
                      <a:lnTo>
                        <a:pt x="496" y="608"/>
                      </a:lnTo>
                      <a:lnTo>
                        <a:pt x="500" y="608"/>
                      </a:lnTo>
                      <a:lnTo>
                        <a:pt x="496" y="608"/>
                      </a:lnTo>
                      <a:lnTo>
                        <a:pt x="496" y="604"/>
                      </a:lnTo>
                      <a:lnTo>
                        <a:pt x="500" y="604"/>
                      </a:lnTo>
                      <a:lnTo>
                        <a:pt x="504" y="604"/>
                      </a:lnTo>
                      <a:lnTo>
                        <a:pt x="504" y="608"/>
                      </a:lnTo>
                      <a:lnTo>
                        <a:pt x="504" y="604"/>
                      </a:lnTo>
                      <a:lnTo>
                        <a:pt x="500" y="604"/>
                      </a:lnTo>
                      <a:lnTo>
                        <a:pt x="500" y="600"/>
                      </a:lnTo>
                      <a:lnTo>
                        <a:pt x="500" y="596"/>
                      </a:lnTo>
                      <a:lnTo>
                        <a:pt x="500" y="600"/>
                      </a:lnTo>
                      <a:lnTo>
                        <a:pt x="504" y="600"/>
                      </a:lnTo>
                      <a:lnTo>
                        <a:pt x="500" y="600"/>
                      </a:lnTo>
                      <a:lnTo>
                        <a:pt x="500" y="596"/>
                      </a:lnTo>
                      <a:lnTo>
                        <a:pt x="500" y="594"/>
                      </a:lnTo>
                      <a:lnTo>
                        <a:pt x="504" y="594"/>
                      </a:lnTo>
                      <a:lnTo>
                        <a:pt x="500" y="594"/>
                      </a:lnTo>
                      <a:lnTo>
                        <a:pt x="500" y="596"/>
                      </a:lnTo>
                      <a:lnTo>
                        <a:pt x="500" y="600"/>
                      </a:lnTo>
                      <a:lnTo>
                        <a:pt x="496" y="604"/>
                      </a:lnTo>
                      <a:lnTo>
                        <a:pt x="496" y="600"/>
                      </a:lnTo>
                      <a:lnTo>
                        <a:pt x="496" y="596"/>
                      </a:lnTo>
                      <a:lnTo>
                        <a:pt x="496" y="594"/>
                      </a:lnTo>
                      <a:lnTo>
                        <a:pt x="496" y="590"/>
                      </a:lnTo>
                      <a:lnTo>
                        <a:pt x="492" y="590"/>
                      </a:lnTo>
                      <a:lnTo>
                        <a:pt x="496" y="590"/>
                      </a:lnTo>
                      <a:lnTo>
                        <a:pt x="496" y="586"/>
                      </a:lnTo>
                      <a:lnTo>
                        <a:pt x="500" y="586"/>
                      </a:lnTo>
                      <a:lnTo>
                        <a:pt x="496" y="586"/>
                      </a:lnTo>
                      <a:lnTo>
                        <a:pt x="496" y="582"/>
                      </a:lnTo>
                      <a:lnTo>
                        <a:pt x="500" y="582"/>
                      </a:lnTo>
                      <a:lnTo>
                        <a:pt x="500" y="578"/>
                      </a:lnTo>
                      <a:lnTo>
                        <a:pt x="496" y="578"/>
                      </a:lnTo>
                      <a:lnTo>
                        <a:pt x="500" y="578"/>
                      </a:lnTo>
                      <a:lnTo>
                        <a:pt x="496" y="578"/>
                      </a:lnTo>
                      <a:lnTo>
                        <a:pt x="496" y="574"/>
                      </a:lnTo>
                      <a:lnTo>
                        <a:pt x="492" y="574"/>
                      </a:lnTo>
                      <a:lnTo>
                        <a:pt x="492" y="570"/>
                      </a:lnTo>
                      <a:lnTo>
                        <a:pt x="496" y="570"/>
                      </a:lnTo>
                      <a:lnTo>
                        <a:pt x="496" y="574"/>
                      </a:lnTo>
                      <a:lnTo>
                        <a:pt x="496" y="570"/>
                      </a:lnTo>
                      <a:lnTo>
                        <a:pt x="500" y="570"/>
                      </a:lnTo>
                      <a:lnTo>
                        <a:pt x="504" y="570"/>
                      </a:lnTo>
                      <a:lnTo>
                        <a:pt x="506" y="574"/>
                      </a:lnTo>
                      <a:lnTo>
                        <a:pt x="506" y="578"/>
                      </a:lnTo>
                      <a:lnTo>
                        <a:pt x="506" y="574"/>
                      </a:lnTo>
                      <a:lnTo>
                        <a:pt x="510" y="574"/>
                      </a:lnTo>
                      <a:lnTo>
                        <a:pt x="506" y="574"/>
                      </a:lnTo>
                      <a:lnTo>
                        <a:pt x="506" y="570"/>
                      </a:lnTo>
                      <a:lnTo>
                        <a:pt x="504" y="570"/>
                      </a:lnTo>
                      <a:lnTo>
                        <a:pt x="506" y="570"/>
                      </a:lnTo>
                      <a:lnTo>
                        <a:pt x="510" y="570"/>
                      </a:lnTo>
                      <a:lnTo>
                        <a:pt x="506" y="570"/>
                      </a:lnTo>
                      <a:lnTo>
                        <a:pt x="504" y="566"/>
                      </a:lnTo>
                      <a:lnTo>
                        <a:pt x="504" y="564"/>
                      </a:lnTo>
                      <a:lnTo>
                        <a:pt x="504" y="566"/>
                      </a:lnTo>
                      <a:lnTo>
                        <a:pt x="500" y="566"/>
                      </a:lnTo>
                      <a:lnTo>
                        <a:pt x="496" y="566"/>
                      </a:lnTo>
                      <a:lnTo>
                        <a:pt x="492" y="566"/>
                      </a:lnTo>
                      <a:lnTo>
                        <a:pt x="488" y="566"/>
                      </a:lnTo>
                      <a:lnTo>
                        <a:pt x="492" y="564"/>
                      </a:lnTo>
                      <a:lnTo>
                        <a:pt x="496" y="564"/>
                      </a:lnTo>
                      <a:lnTo>
                        <a:pt x="496" y="566"/>
                      </a:lnTo>
                      <a:lnTo>
                        <a:pt x="500" y="566"/>
                      </a:lnTo>
                      <a:lnTo>
                        <a:pt x="496" y="566"/>
                      </a:lnTo>
                      <a:lnTo>
                        <a:pt x="496" y="564"/>
                      </a:lnTo>
                      <a:lnTo>
                        <a:pt x="500" y="564"/>
                      </a:lnTo>
                      <a:lnTo>
                        <a:pt x="496" y="564"/>
                      </a:lnTo>
                      <a:lnTo>
                        <a:pt x="492" y="560"/>
                      </a:lnTo>
                      <a:lnTo>
                        <a:pt x="496" y="556"/>
                      </a:lnTo>
                      <a:lnTo>
                        <a:pt x="500" y="556"/>
                      </a:lnTo>
                      <a:lnTo>
                        <a:pt x="500" y="560"/>
                      </a:lnTo>
                      <a:lnTo>
                        <a:pt x="500" y="556"/>
                      </a:lnTo>
                      <a:lnTo>
                        <a:pt x="500" y="552"/>
                      </a:lnTo>
                      <a:lnTo>
                        <a:pt x="496" y="550"/>
                      </a:lnTo>
                      <a:lnTo>
                        <a:pt x="496" y="546"/>
                      </a:lnTo>
                      <a:lnTo>
                        <a:pt x="492" y="550"/>
                      </a:lnTo>
                      <a:lnTo>
                        <a:pt x="496" y="550"/>
                      </a:lnTo>
                      <a:lnTo>
                        <a:pt x="492" y="550"/>
                      </a:lnTo>
                      <a:lnTo>
                        <a:pt x="488" y="550"/>
                      </a:lnTo>
                      <a:lnTo>
                        <a:pt x="484" y="546"/>
                      </a:lnTo>
                      <a:lnTo>
                        <a:pt x="484" y="542"/>
                      </a:lnTo>
                      <a:lnTo>
                        <a:pt x="488" y="542"/>
                      </a:lnTo>
                      <a:lnTo>
                        <a:pt x="484" y="542"/>
                      </a:lnTo>
                      <a:lnTo>
                        <a:pt x="484" y="546"/>
                      </a:lnTo>
                      <a:lnTo>
                        <a:pt x="480" y="546"/>
                      </a:lnTo>
                      <a:lnTo>
                        <a:pt x="476" y="546"/>
                      </a:lnTo>
                      <a:lnTo>
                        <a:pt x="476" y="550"/>
                      </a:lnTo>
                      <a:lnTo>
                        <a:pt x="476" y="546"/>
                      </a:lnTo>
                      <a:lnTo>
                        <a:pt x="480" y="546"/>
                      </a:lnTo>
                      <a:lnTo>
                        <a:pt x="480" y="550"/>
                      </a:lnTo>
                      <a:lnTo>
                        <a:pt x="480" y="552"/>
                      </a:lnTo>
                      <a:lnTo>
                        <a:pt x="476" y="552"/>
                      </a:lnTo>
                      <a:lnTo>
                        <a:pt x="476" y="550"/>
                      </a:lnTo>
                      <a:lnTo>
                        <a:pt x="476" y="546"/>
                      </a:lnTo>
                      <a:lnTo>
                        <a:pt x="476" y="542"/>
                      </a:lnTo>
                      <a:lnTo>
                        <a:pt x="480" y="542"/>
                      </a:lnTo>
                      <a:lnTo>
                        <a:pt x="480" y="538"/>
                      </a:lnTo>
                      <a:lnTo>
                        <a:pt x="484" y="538"/>
                      </a:lnTo>
                      <a:lnTo>
                        <a:pt x="484" y="542"/>
                      </a:lnTo>
                      <a:lnTo>
                        <a:pt x="484" y="538"/>
                      </a:lnTo>
                      <a:lnTo>
                        <a:pt x="484" y="534"/>
                      </a:lnTo>
                      <a:lnTo>
                        <a:pt x="488" y="534"/>
                      </a:lnTo>
                      <a:lnTo>
                        <a:pt x="488" y="530"/>
                      </a:lnTo>
                      <a:lnTo>
                        <a:pt x="492" y="526"/>
                      </a:lnTo>
                      <a:lnTo>
                        <a:pt x="496" y="526"/>
                      </a:lnTo>
                      <a:lnTo>
                        <a:pt x="500" y="526"/>
                      </a:lnTo>
                      <a:lnTo>
                        <a:pt x="500" y="530"/>
                      </a:lnTo>
                      <a:lnTo>
                        <a:pt x="500" y="534"/>
                      </a:lnTo>
                      <a:lnTo>
                        <a:pt x="500" y="530"/>
                      </a:lnTo>
                      <a:lnTo>
                        <a:pt x="500" y="534"/>
                      </a:lnTo>
                      <a:lnTo>
                        <a:pt x="496" y="538"/>
                      </a:lnTo>
                      <a:lnTo>
                        <a:pt x="496" y="534"/>
                      </a:lnTo>
                      <a:lnTo>
                        <a:pt x="492" y="534"/>
                      </a:lnTo>
                      <a:lnTo>
                        <a:pt x="496" y="538"/>
                      </a:lnTo>
                      <a:lnTo>
                        <a:pt x="500" y="538"/>
                      </a:lnTo>
                      <a:lnTo>
                        <a:pt x="500" y="534"/>
                      </a:lnTo>
                      <a:lnTo>
                        <a:pt x="500" y="538"/>
                      </a:lnTo>
                      <a:lnTo>
                        <a:pt x="504" y="538"/>
                      </a:lnTo>
                      <a:lnTo>
                        <a:pt x="500" y="538"/>
                      </a:lnTo>
                      <a:lnTo>
                        <a:pt x="500" y="534"/>
                      </a:lnTo>
                      <a:lnTo>
                        <a:pt x="504" y="534"/>
                      </a:lnTo>
                      <a:lnTo>
                        <a:pt x="504" y="538"/>
                      </a:lnTo>
                      <a:lnTo>
                        <a:pt x="504" y="542"/>
                      </a:lnTo>
                      <a:lnTo>
                        <a:pt x="500" y="542"/>
                      </a:lnTo>
                      <a:lnTo>
                        <a:pt x="504" y="546"/>
                      </a:lnTo>
                      <a:lnTo>
                        <a:pt x="504" y="542"/>
                      </a:lnTo>
                      <a:lnTo>
                        <a:pt x="504" y="538"/>
                      </a:lnTo>
                      <a:lnTo>
                        <a:pt x="506" y="538"/>
                      </a:lnTo>
                      <a:lnTo>
                        <a:pt x="506" y="534"/>
                      </a:lnTo>
                      <a:lnTo>
                        <a:pt x="506" y="538"/>
                      </a:lnTo>
                      <a:lnTo>
                        <a:pt x="504" y="538"/>
                      </a:lnTo>
                      <a:lnTo>
                        <a:pt x="506" y="534"/>
                      </a:lnTo>
                      <a:lnTo>
                        <a:pt x="506" y="530"/>
                      </a:lnTo>
                      <a:lnTo>
                        <a:pt x="504" y="530"/>
                      </a:lnTo>
                      <a:lnTo>
                        <a:pt x="506" y="526"/>
                      </a:lnTo>
                      <a:lnTo>
                        <a:pt x="510" y="526"/>
                      </a:lnTo>
                      <a:lnTo>
                        <a:pt x="510" y="524"/>
                      </a:lnTo>
                      <a:lnTo>
                        <a:pt x="506" y="524"/>
                      </a:lnTo>
                      <a:lnTo>
                        <a:pt x="506" y="526"/>
                      </a:lnTo>
                      <a:lnTo>
                        <a:pt x="506" y="520"/>
                      </a:lnTo>
                      <a:lnTo>
                        <a:pt x="510" y="520"/>
                      </a:lnTo>
                      <a:lnTo>
                        <a:pt x="514" y="520"/>
                      </a:lnTo>
                      <a:lnTo>
                        <a:pt x="518" y="520"/>
                      </a:lnTo>
                      <a:lnTo>
                        <a:pt x="514" y="520"/>
                      </a:lnTo>
                      <a:lnTo>
                        <a:pt x="510" y="520"/>
                      </a:lnTo>
                      <a:lnTo>
                        <a:pt x="510" y="516"/>
                      </a:lnTo>
                      <a:lnTo>
                        <a:pt x="510" y="520"/>
                      </a:lnTo>
                      <a:lnTo>
                        <a:pt x="506" y="516"/>
                      </a:lnTo>
                      <a:lnTo>
                        <a:pt x="510" y="516"/>
                      </a:lnTo>
                      <a:lnTo>
                        <a:pt x="510" y="512"/>
                      </a:lnTo>
                      <a:lnTo>
                        <a:pt x="506" y="512"/>
                      </a:lnTo>
                      <a:lnTo>
                        <a:pt x="510" y="512"/>
                      </a:lnTo>
                      <a:lnTo>
                        <a:pt x="514" y="508"/>
                      </a:lnTo>
                      <a:lnTo>
                        <a:pt x="518" y="508"/>
                      </a:lnTo>
                      <a:lnTo>
                        <a:pt x="518" y="504"/>
                      </a:lnTo>
                      <a:lnTo>
                        <a:pt x="518" y="500"/>
                      </a:lnTo>
                      <a:lnTo>
                        <a:pt x="514" y="496"/>
                      </a:lnTo>
                      <a:lnTo>
                        <a:pt x="510" y="496"/>
                      </a:lnTo>
                      <a:lnTo>
                        <a:pt x="510" y="494"/>
                      </a:lnTo>
                      <a:lnTo>
                        <a:pt x="514" y="490"/>
                      </a:lnTo>
                      <a:lnTo>
                        <a:pt x="518" y="486"/>
                      </a:lnTo>
                      <a:lnTo>
                        <a:pt x="514" y="486"/>
                      </a:lnTo>
                      <a:lnTo>
                        <a:pt x="514" y="486"/>
                      </a:lnTo>
                      <a:lnTo>
                        <a:pt x="514" y="486"/>
                      </a:lnTo>
                      <a:close/>
                      <a:moveTo>
                        <a:pt x="504" y="512"/>
                      </a:moveTo>
                      <a:lnTo>
                        <a:pt x="504" y="508"/>
                      </a:lnTo>
                      <a:lnTo>
                        <a:pt x="500" y="508"/>
                      </a:lnTo>
                      <a:lnTo>
                        <a:pt x="504" y="508"/>
                      </a:lnTo>
                      <a:lnTo>
                        <a:pt x="504" y="512"/>
                      </a:lnTo>
                      <a:lnTo>
                        <a:pt x="504" y="512"/>
                      </a:lnTo>
                      <a:lnTo>
                        <a:pt x="504" y="512"/>
                      </a:lnTo>
                      <a:close/>
                      <a:moveTo>
                        <a:pt x="476" y="590"/>
                      </a:moveTo>
                      <a:lnTo>
                        <a:pt x="476" y="586"/>
                      </a:lnTo>
                      <a:lnTo>
                        <a:pt x="480" y="586"/>
                      </a:lnTo>
                      <a:lnTo>
                        <a:pt x="480" y="590"/>
                      </a:lnTo>
                      <a:lnTo>
                        <a:pt x="476" y="590"/>
                      </a:lnTo>
                      <a:lnTo>
                        <a:pt x="476" y="590"/>
                      </a:lnTo>
                      <a:lnTo>
                        <a:pt x="476" y="590"/>
                      </a:lnTo>
                      <a:close/>
                      <a:moveTo>
                        <a:pt x="484" y="590"/>
                      </a:moveTo>
                      <a:lnTo>
                        <a:pt x="480" y="590"/>
                      </a:lnTo>
                      <a:lnTo>
                        <a:pt x="480" y="586"/>
                      </a:lnTo>
                      <a:lnTo>
                        <a:pt x="484" y="586"/>
                      </a:lnTo>
                      <a:lnTo>
                        <a:pt x="484" y="590"/>
                      </a:lnTo>
                      <a:lnTo>
                        <a:pt x="484" y="590"/>
                      </a:lnTo>
                      <a:lnTo>
                        <a:pt x="484" y="590"/>
                      </a:lnTo>
                      <a:close/>
                      <a:moveTo>
                        <a:pt x="500" y="672"/>
                      </a:moveTo>
                      <a:lnTo>
                        <a:pt x="500" y="668"/>
                      </a:lnTo>
                      <a:lnTo>
                        <a:pt x="500" y="664"/>
                      </a:lnTo>
                      <a:lnTo>
                        <a:pt x="504" y="664"/>
                      </a:lnTo>
                      <a:lnTo>
                        <a:pt x="504" y="668"/>
                      </a:lnTo>
                      <a:lnTo>
                        <a:pt x="504" y="672"/>
                      </a:lnTo>
                      <a:lnTo>
                        <a:pt x="500" y="672"/>
                      </a:lnTo>
                      <a:lnTo>
                        <a:pt x="500" y="672"/>
                      </a:lnTo>
                      <a:lnTo>
                        <a:pt x="500" y="672"/>
                      </a:lnTo>
                      <a:close/>
                      <a:moveTo>
                        <a:pt x="504" y="496"/>
                      </a:moveTo>
                      <a:lnTo>
                        <a:pt x="500" y="496"/>
                      </a:lnTo>
                      <a:lnTo>
                        <a:pt x="504" y="496"/>
                      </a:lnTo>
                      <a:lnTo>
                        <a:pt x="504" y="496"/>
                      </a:lnTo>
                      <a:lnTo>
                        <a:pt x="504" y="496"/>
                      </a:lnTo>
                      <a:close/>
                      <a:moveTo>
                        <a:pt x="484" y="534"/>
                      </a:moveTo>
                      <a:lnTo>
                        <a:pt x="484" y="530"/>
                      </a:lnTo>
                      <a:lnTo>
                        <a:pt x="488" y="530"/>
                      </a:lnTo>
                      <a:lnTo>
                        <a:pt x="484" y="530"/>
                      </a:lnTo>
                      <a:lnTo>
                        <a:pt x="488" y="530"/>
                      </a:lnTo>
                      <a:lnTo>
                        <a:pt x="488" y="526"/>
                      </a:lnTo>
                      <a:lnTo>
                        <a:pt x="488" y="530"/>
                      </a:lnTo>
                      <a:lnTo>
                        <a:pt x="488" y="534"/>
                      </a:lnTo>
                      <a:lnTo>
                        <a:pt x="484" y="534"/>
                      </a:lnTo>
                      <a:lnTo>
                        <a:pt x="484" y="534"/>
                      </a:lnTo>
                      <a:lnTo>
                        <a:pt x="484" y="534"/>
                      </a:lnTo>
                      <a:close/>
                      <a:moveTo>
                        <a:pt x="500" y="556"/>
                      </a:moveTo>
                      <a:lnTo>
                        <a:pt x="496" y="556"/>
                      </a:lnTo>
                      <a:lnTo>
                        <a:pt x="496" y="552"/>
                      </a:lnTo>
                      <a:lnTo>
                        <a:pt x="500" y="552"/>
                      </a:lnTo>
                      <a:lnTo>
                        <a:pt x="500" y="556"/>
                      </a:lnTo>
                      <a:lnTo>
                        <a:pt x="500" y="556"/>
                      </a:lnTo>
                      <a:lnTo>
                        <a:pt x="500" y="556"/>
                      </a:lnTo>
                      <a:close/>
                      <a:moveTo>
                        <a:pt x="496" y="582"/>
                      </a:moveTo>
                      <a:lnTo>
                        <a:pt x="492" y="582"/>
                      </a:lnTo>
                      <a:lnTo>
                        <a:pt x="492" y="578"/>
                      </a:lnTo>
                      <a:lnTo>
                        <a:pt x="496" y="582"/>
                      </a:lnTo>
                      <a:lnTo>
                        <a:pt x="496" y="582"/>
                      </a:lnTo>
                      <a:lnTo>
                        <a:pt x="496" y="582"/>
                      </a:lnTo>
                      <a:close/>
                      <a:moveTo>
                        <a:pt x="484" y="586"/>
                      </a:moveTo>
                      <a:lnTo>
                        <a:pt x="488" y="586"/>
                      </a:lnTo>
                      <a:lnTo>
                        <a:pt x="484" y="586"/>
                      </a:lnTo>
                      <a:lnTo>
                        <a:pt x="484" y="586"/>
                      </a:lnTo>
                      <a:lnTo>
                        <a:pt x="484" y="586"/>
                      </a:lnTo>
                      <a:close/>
                      <a:moveTo>
                        <a:pt x="476" y="596"/>
                      </a:moveTo>
                      <a:lnTo>
                        <a:pt x="476" y="594"/>
                      </a:lnTo>
                      <a:lnTo>
                        <a:pt x="480" y="594"/>
                      </a:lnTo>
                      <a:lnTo>
                        <a:pt x="480" y="596"/>
                      </a:lnTo>
                      <a:lnTo>
                        <a:pt x="476" y="596"/>
                      </a:lnTo>
                      <a:lnTo>
                        <a:pt x="476" y="596"/>
                      </a:lnTo>
                      <a:lnTo>
                        <a:pt x="476" y="596"/>
                      </a:lnTo>
                      <a:close/>
                      <a:moveTo>
                        <a:pt x="500" y="642"/>
                      </a:moveTo>
                      <a:lnTo>
                        <a:pt x="496" y="642"/>
                      </a:lnTo>
                      <a:lnTo>
                        <a:pt x="496" y="638"/>
                      </a:lnTo>
                      <a:lnTo>
                        <a:pt x="500" y="638"/>
                      </a:lnTo>
                      <a:lnTo>
                        <a:pt x="500" y="642"/>
                      </a:lnTo>
                      <a:lnTo>
                        <a:pt x="500" y="642"/>
                      </a:lnTo>
                      <a:lnTo>
                        <a:pt x="500" y="642"/>
                      </a:lnTo>
                      <a:close/>
                      <a:moveTo>
                        <a:pt x="488" y="660"/>
                      </a:moveTo>
                      <a:lnTo>
                        <a:pt x="488" y="656"/>
                      </a:lnTo>
                      <a:lnTo>
                        <a:pt x="492" y="656"/>
                      </a:lnTo>
                      <a:lnTo>
                        <a:pt x="488" y="660"/>
                      </a:lnTo>
                      <a:lnTo>
                        <a:pt x="488" y="660"/>
                      </a:lnTo>
                      <a:lnTo>
                        <a:pt x="488" y="660"/>
                      </a:lnTo>
                      <a:close/>
                      <a:moveTo>
                        <a:pt x="506" y="682"/>
                      </a:moveTo>
                      <a:lnTo>
                        <a:pt x="506" y="686"/>
                      </a:lnTo>
                      <a:lnTo>
                        <a:pt x="506" y="690"/>
                      </a:lnTo>
                      <a:lnTo>
                        <a:pt x="506" y="686"/>
                      </a:lnTo>
                      <a:lnTo>
                        <a:pt x="504" y="686"/>
                      </a:lnTo>
                      <a:lnTo>
                        <a:pt x="506" y="686"/>
                      </a:lnTo>
                      <a:lnTo>
                        <a:pt x="506" y="682"/>
                      </a:lnTo>
                      <a:lnTo>
                        <a:pt x="506" y="682"/>
                      </a:lnTo>
                      <a:lnTo>
                        <a:pt x="506" y="682"/>
                      </a:lnTo>
                      <a:close/>
                      <a:moveTo>
                        <a:pt x="552" y="706"/>
                      </a:moveTo>
                      <a:lnTo>
                        <a:pt x="552" y="702"/>
                      </a:lnTo>
                      <a:lnTo>
                        <a:pt x="548" y="702"/>
                      </a:lnTo>
                      <a:lnTo>
                        <a:pt x="552" y="702"/>
                      </a:lnTo>
                      <a:lnTo>
                        <a:pt x="556" y="702"/>
                      </a:lnTo>
                      <a:lnTo>
                        <a:pt x="552" y="702"/>
                      </a:lnTo>
                      <a:lnTo>
                        <a:pt x="552" y="706"/>
                      </a:lnTo>
                      <a:lnTo>
                        <a:pt x="552" y="706"/>
                      </a:lnTo>
                      <a:lnTo>
                        <a:pt x="552" y="706"/>
                      </a:lnTo>
                      <a:close/>
                      <a:moveTo>
                        <a:pt x="0" y="176"/>
                      </a:moveTo>
                      <a:lnTo>
                        <a:pt x="0" y="172"/>
                      </a:lnTo>
                      <a:lnTo>
                        <a:pt x="2" y="172"/>
                      </a:lnTo>
                      <a:lnTo>
                        <a:pt x="0" y="172"/>
                      </a:lnTo>
                      <a:lnTo>
                        <a:pt x="0" y="176"/>
                      </a:lnTo>
                      <a:lnTo>
                        <a:pt x="0" y="176"/>
                      </a:lnTo>
                      <a:lnTo>
                        <a:pt x="0" y="176"/>
                      </a:lnTo>
                      <a:close/>
                      <a:moveTo>
                        <a:pt x="506" y="470"/>
                      </a:moveTo>
                      <a:lnTo>
                        <a:pt x="506" y="474"/>
                      </a:lnTo>
                      <a:lnTo>
                        <a:pt x="504" y="474"/>
                      </a:lnTo>
                      <a:lnTo>
                        <a:pt x="504" y="478"/>
                      </a:lnTo>
                      <a:lnTo>
                        <a:pt x="500" y="478"/>
                      </a:lnTo>
                      <a:lnTo>
                        <a:pt x="496" y="478"/>
                      </a:lnTo>
                      <a:lnTo>
                        <a:pt x="496" y="474"/>
                      </a:lnTo>
                      <a:lnTo>
                        <a:pt x="496" y="470"/>
                      </a:lnTo>
                      <a:lnTo>
                        <a:pt x="500" y="470"/>
                      </a:lnTo>
                      <a:lnTo>
                        <a:pt x="500" y="464"/>
                      </a:lnTo>
                      <a:lnTo>
                        <a:pt x="496" y="464"/>
                      </a:lnTo>
                      <a:lnTo>
                        <a:pt x="496" y="460"/>
                      </a:lnTo>
                      <a:lnTo>
                        <a:pt x="500" y="456"/>
                      </a:lnTo>
                      <a:lnTo>
                        <a:pt x="500" y="452"/>
                      </a:lnTo>
                      <a:lnTo>
                        <a:pt x="500" y="448"/>
                      </a:lnTo>
                      <a:lnTo>
                        <a:pt x="504" y="448"/>
                      </a:lnTo>
                      <a:lnTo>
                        <a:pt x="500" y="448"/>
                      </a:lnTo>
                      <a:lnTo>
                        <a:pt x="504" y="448"/>
                      </a:lnTo>
                      <a:lnTo>
                        <a:pt x="506" y="448"/>
                      </a:lnTo>
                      <a:lnTo>
                        <a:pt x="506" y="452"/>
                      </a:lnTo>
                      <a:lnTo>
                        <a:pt x="506" y="456"/>
                      </a:lnTo>
                      <a:lnTo>
                        <a:pt x="510" y="456"/>
                      </a:lnTo>
                      <a:lnTo>
                        <a:pt x="506" y="460"/>
                      </a:lnTo>
                      <a:lnTo>
                        <a:pt x="504" y="460"/>
                      </a:lnTo>
                      <a:lnTo>
                        <a:pt x="504" y="464"/>
                      </a:lnTo>
                      <a:lnTo>
                        <a:pt x="506" y="464"/>
                      </a:lnTo>
                      <a:lnTo>
                        <a:pt x="504" y="464"/>
                      </a:lnTo>
                      <a:lnTo>
                        <a:pt x="504" y="460"/>
                      </a:lnTo>
                      <a:lnTo>
                        <a:pt x="504" y="464"/>
                      </a:lnTo>
                      <a:lnTo>
                        <a:pt x="506" y="466"/>
                      </a:lnTo>
                      <a:lnTo>
                        <a:pt x="506" y="470"/>
                      </a:lnTo>
                      <a:lnTo>
                        <a:pt x="506" y="470"/>
                      </a:lnTo>
                      <a:lnTo>
                        <a:pt x="506" y="470"/>
                      </a:lnTo>
                      <a:close/>
                      <a:moveTo>
                        <a:pt x="506" y="464"/>
                      </a:moveTo>
                      <a:lnTo>
                        <a:pt x="506" y="460"/>
                      </a:lnTo>
                      <a:lnTo>
                        <a:pt x="504" y="460"/>
                      </a:lnTo>
                      <a:lnTo>
                        <a:pt x="506" y="460"/>
                      </a:lnTo>
                      <a:lnTo>
                        <a:pt x="506" y="464"/>
                      </a:lnTo>
                      <a:lnTo>
                        <a:pt x="506" y="464"/>
                      </a:lnTo>
                      <a:lnTo>
                        <a:pt x="506" y="464"/>
                      </a:lnTo>
                      <a:close/>
                      <a:moveTo>
                        <a:pt x="488" y="486"/>
                      </a:moveTo>
                      <a:lnTo>
                        <a:pt x="488" y="482"/>
                      </a:lnTo>
                      <a:lnTo>
                        <a:pt x="492" y="482"/>
                      </a:lnTo>
                      <a:lnTo>
                        <a:pt x="492" y="486"/>
                      </a:lnTo>
                      <a:lnTo>
                        <a:pt x="488" y="486"/>
                      </a:lnTo>
                      <a:lnTo>
                        <a:pt x="488" y="486"/>
                      </a:lnTo>
                      <a:lnTo>
                        <a:pt x="488" y="486"/>
                      </a:lnTo>
                      <a:close/>
                      <a:moveTo>
                        <a:pt x="500" y="490"/>
                      </a:moveTo>
                      <a:lnTo>
                        <a:pt x="504" y="490"/>
                      </a:lnTo>
                      <a:lnTo>
                        <a:pt x="504" y="486"/>
                      </a:lnTo>
                      <a:lnTo>
                        <a:pt x="504" y="490"/>
                      </a:lnTo>
                      <a:lnTo>
                        <a:pt x="500" y="490"/>
                      </a:lnTo>
                      <a:lnTo>
                        <a:pt x="500" y="490"/>
                      </a:lnTo>
                      <a:lnTo>
                        <a:pt x="500" y="490"/>
                      </a:lnTo>
                      <a:close/>
                      <a:moveTo>
                        <a:pt x="510" y="494"/>
                      </a:moveTo>
                      <a:lnTo>
                        <a:pt x="510" y="490"/>
                      </a:lnTo>
                      <a:lnTo>
                        <a:pt x="510" y="494"/>
                      </a:lnTo>
                      <a:lnTo>
                        <a:pt x="510" y="494"/>
                      </a:lnTo>
                      <a:lnTo>
                        <a:pt x="510" y="494"/>
                      </a:lnTo>
                      <a:close/>
                      <a:moveTo>
                        <a:pt x="504" y="494"/>
                      </a:moveTo>
                      <a:lnTo>
                        <a:pt x="504" y="490"/>
                      </a:lnTo>
                      <a:lnTo>
                        <a:pt x="506" y="494"/>
                      </a:lnTo>
                      <a:lnTo>
                        <a:pt x="504" y="494"/>
                      </a:lnTo>
                      <a:lnTo>
                        <a:pt x="504" y="494"/>
                      </a:lnTo>
                      <a:lnTo>
                        <a:pt x="504" y="494"/>
                      </a:lnTo>
                      <a:close/>
                      <a:moveTo>
                        <a:pt x="504" y="496"/>
                      </a:moveTo>
                      <a:lnTo>
                        <a:pt x="500" y="496"/>
                      </a:lnTo>
                      <a:lnTo>
                        <a:pt x="500" y="494"/>
                      </a:lnTo>
                      <a:lnTo>
                        <a:pt x="504" y="494"/>
                      </a:lnTo>
                      <a:lnTo>
                        <a:pt x="504" y="496"/>
                      </a:lnTo>
                      <a:lnTo>
                        <a:pt x="504" y="496"/>
                      </a:lnTo>
                      <a:lnTo>
                        <a:pt x="504" y="496"/>
                      </a:lnTo>
                      <a:close/>
                      <a:moveTo>
                        <a:pt x="500" y="496"/>
                      </a:moveTo>
                      <a:lnTo>
                        <a:pt x="500" y="494"/>
                      </a:lnTo>
                      <a:lnTo>
                        <a:pt x="500" y="496"/>
                      </a:lnTo>
                      <a:lnTo>
                        <a:pt x="500" y="496"/>
                      </a:lnTo>
                      <a:lnTo>
                        <a:pt x="500" y="496"/>
                      </a:lnTo>
                      <a:close/>
                      <a:moveTo>
                        <a:pt x="500" y="500"/>
                      </a:moveTo>
                      <a:lnTo>
                        <a:pt x="500" y="496"/>
                      </a:lnTo>
                      <a:lnTo>
                        <a:pt x="500" y="500"/>
                      </a:lnTo>
                      <a:lnTo>
                        <a:pt x="500" y="500"/>
                      </a:lnTo>
                      <a:lnTo>
                        <a:pt x="500" y="500"/>
                      </a:lnTo>
                      <a:close/>
                      <a:moveTo>
                        <a:pt x="514" y="508"/>
                      </a:moveTo>
                      <a:lnTo>
                        <a:pt x="510" y="508"/>
                      </a:lnTo>
                      <a:lnTo>
                        <a:pt x="510" y="512"/>
                      </a:lnTo>
                      <a:lnTo>
                        <a:pt x="506" y="508"/>
                      </a:lnTo>
                      <a:lnTo>
                        <a:pt x="510" y="508"/>
                      </a:lnTo>
                      <a:lnTo>
                        <a:pt x="506" y="508"/>
                      </a:lnTo>
                      <a:lnTo>
                        <a:pt x="506" y="504"/>
                      </a:lnTo>
                      <a:lnTo>
                        <a:pt x="510" y="504"/>
                      </a:lnTo>
                      <a:lnTo>
                        <a:pt x="510" y="500"/>
                      </a:lnTo>
                      <a:lnTo>
                        <a:pt x="514" y="500"/>
                      </a:lnTo>
                      <a:lnTo>
                        <a:pt x="518" y="500"/>
                      </a:lnTo>
                      <a:lnTo>
                        <a:pt x="518" y="504"/>
                      </a:lnTo>
                      <a:lnTo>
                        <a:pt x="514" y="504"/>
                      </a:lnTo>
                      <a:lnTo>
                        <a:pt x="518" y="504"/>
                      </a:lnTo>
                      <a:lnTo>
                        <a:pt x="514" y="508"/>
                      </a:lnTo>
                      <a:lnTo>
                        <a:pt x="514" y="508"/>
                      </a:lnTo>
                      <a:lnTo>
                        <a:pt x="514" y="508"/>
                      </a:lnTo>
                      <a:close/>
                      <a:moveTo>
                        <a:pt x="496" y="504"/>
                      </a:moveTo>
                      <a:lnTo>
                        <a:pt x="492" y="500"/>
                      </a:lnTo>
                      <a:lnTo>
                        <a:pt x="496" y="500"/>
                      </a:lnTo>
                      <a:lnTo>
                        <a:pt x="496" y="504"/>
                      </a:lnTo>
                      <a:lnTo>
                        <a:pt x="496" y="504"/>
                      </a:lnTo>
                      <a:lnTo>
                        <a:pt x="496" y="504"/>
                      </a:lnTo>
                      <a:close/>
                      <a:moveTo>
                        <a:pt x="500" y="504"/>
                      </a:moveTo>
                      <a:lnTo>
                        <a:pt x="500" y="500"/>
                      </a:lnTo>
                      <a:lnTo>
                        <a:pt x="500" y="504"/>
                      </a:lnTo>
                      <a:lnTo>
                        <a:pt x="500" y="504"/>
                      </a:lnTo>
                      <a:lnTo>
                        <a:pt x="500" y="504"/>
                      </a:lnTo>
                      <a:close/>
                      <a:moveTo>
                        <a:pt x="496" y="504"/>
                      </a:moveTo>
                      <a:lnTo>
                        <a:pt x="496" y="500"/>
                      </a:lnTo>
                      <a:lnTo>
                        <a:pt x="500" y="504"/>
                      </a:lnTo>
                      <a:lnTo>
                        <a:pt x="496" y="504"/>
                      </a:lnTo>
                      <a:lnTo>
                        <a:pt x="496" y="504"/>
                      </a:lnTo>
                      <a:lnTo>
                        <a:pt x="496" y="504"/>
                      </a:lnTo>
                      <a:close/>
                      <a:moveTo>
                        <a:pt x="504" y="508"/>
                      </a:moveTo>
                      <a:lnTo>
                        <a:pt x="504" y="504"/>
                      </a:lnTo>
                      <a:lnTo>
                        <a:pt x="504" y="500"/>
                      </a:lnTo>
                      <a:lnTo>
                        <a:pt x="504" y="504"/>
                      </a:lnTo>
                      <a:lnTo>
                        <a:pt x="506" y="504"/>
                      </a:lnTo>
                      <a:lnTo>
                        <a:pt x="504" y="508"/>
                      </a:lnTo>
                      <a:lnTo>
                        <a:pt x="504" y="508"/>
                      </a:lnTo>
                      <a:lnTo>
                        <a:pt x="504" y="508"/>
                      </a:lnTo>
                      <a:close/>
                      <a:moveTo>
                        <a:pt x="496" y="508"/>
                      </a:moveTo>
                      <a:lnTo>
                        <a:pt x="496" y="504"/>
                      </a:lnTo>
                      <a:lnTo>
                        <a:pt x="500" y="504"/>
                      </a:lnTo>
                      <a:lnTo>
                        <a:pt x="504" y="504"/>
                      </a:lnTo>
                      <a:lnTo>
                        <a:pt x="500" y="504"/>
                      </a:lnTo>
                      <a:lnTo>
                        <a:pt x="496" y="508"/>
                      </a:lnTo>
                      <a:lnTo>
                        <a:pt x="496" y="508"/>
                      </a:lnTo>
                      <a:lnTo>
                        <a:pt x="496" y="508"/>
                      </a:lnTo>
                      <a:close/>
                      <a:moveTo>
                        <a:pt x="496" y="508"/>
                      </a:moveTo>
                      <a:lnTo>
                        <a:pt x="492" y="508"/>
                      </a:lnTo>
                      <a:lnTo>
                        <a:pt x="492" y="504"/>
                      </a:lnTo>
                      <a:lnTo>
                        <a:pt x="496" y="504"/>
                      </a:lnTo>
                      <a:lnTo>
                        <a:pt x="496" y="508"/>
                      </a:lnTo>
                      <a:lnTo>
                        <a:pt x="496" y="508"/>
                      </a:lnTo>
                      <a:lnTo>
                        <a:pt x="496" y="508"/>
                      </a:lnTo>
                      <a:close/>
                      <a:moveTo>
                        <a:pt x="504" y="508"/>
                      </a:moveTo>
                      <a:lnTo>
                        <a:pt x="506" y="508"/>
                      </a:lnTo>
                      <a:lnTo>
                        <a:pt x="504" y="508"/>
                      </a:lnTo>
                      <a:lnTo>
                        <a:pt x="504" y="508"/>
                      </a:lnTo>
                      <a:lnTo>
                        <a:pt x="504" y="508"/>
                      </a:lnTo>
                      <a:close/>
                      <a:moveTo>
                        <a:pt x="500" y="508"/>
                      </a:moveTo>
                      <a:lnTo>
                        <a:pt x="496" y="508"/>
                      </a:lnTo>
                      <a:lnTo>
                        <a:pt x="500" y="508"/>
                      </a:lnTo>
                      <a:lnTo>
                        <a:pt x="500" y="508"/>
                      </a:lnTo>
                      <a:lnTo>
                        <a:pt x="500" y="508"/>
                      </a:lnTo>
                      <a:close/>
                      <a:moveTo>
                        <a:pt x="484" y="512"/>
                      </a:moveTo>
                      <a:lnTo>
                        <a:pt x="484" y="508"/>
                      </a:lnTo>
                      <a:lnTo>
                        <a:pt x="484" y="512"/>
                      </a:lnTo>
                      <a:lnTo>
                        <a:pt x="484" y="512"/>
                      </a:lnTo>
                      <a:lnTo>
                        <a:pt x="484" y="512"/>
                      </a:lnTo>
                      <a:close/>
                      <a:moveTo>
                        <a:pt x="496" y="512"/>
                      </a:moveTo>
                      <a:lnTo>
                        <a:pt x="496" y="508"/>
                      </a:lnTo>
                      <a:lnTo>
                        <a:pt x="500" y="508"/>
                      </a:lnTo>
                      <a:lnTo>
                        <a:pt x="500" y="512"/>
                      </a:lnTo>
                      <a:lnTo>
                        <a:pt x="504" y="512"/>
                      </a:lnTo>
                      <a:lnTo>
                        <a:pt x="500" y="512"/>
                      </a:lnTo>
                      <a:lnTo>
                        <a:pt x="496" y="512"/>
                      </a:lnTo>
                      <a:lnTo>
                        <a:pt x="496" y="512"/>
                      </a:lnTo>
                      <a:lnTo>
                        <a:pt x="496" y="512"/>
                      </a:lnTo>
                      <a:close/>
                      <a:moveTo>
                        <a:pt x="504" y="516"/>
                      </a:moveTo>
                      <a:lnTo>
                        <a:pt x="500" y="516"/>
                      </a:lnTo>
                      <a:lnTo>
                        <a:pt x="496" y="516"/>
                      </a:lnTo>
                      <a:lnTo>
                        <a:pt x="496" y="512"/>
                      </a:lnTo>
                      <a:lnTo>
                        <a:pt x="500" y="512"/>
                      </a:lnTo>
                      <a:lnTo>
                        <a:pt x="504" y="512"/>
                      </a:lnTo>
                      <a:lnTo>
                        <a:pt x="504" y="516"/>
                      </a:lnTo>
                      <a:lnTo>
                        <a:pt x="504" y="516"/>
                      </a:lnTo>
                      <a:lnTo>
                        <a:pt x="504" y="516"/>
                      </a:lnTo>
                      <a:close/>
                      <a:moveTo>
                        <a:pt x="496" y="520"/>
                      </a:moveTo>
                      <a:lnTo>
                        <a:pt x="496" y="516"/>
                      </a:lnTo>
                      <a:lnTo>
                        <a:pt x="496" y="520"/>
                      </a:lnTo>
                      <a:lnTo>
                        <a:pt x="496" y="520"/>
                      </a:lnTo>
                      <a:lnTo>
                        <a:pt x="496" y="520"/>
                      </a:lnTo>
                      <a:close/>
                      <a:moveTo>
                        <a:pt x="500" y="520"/>
                      </a:moveTo>
                      <a:lnTo>
                        <a:pt x="500" y="516"/>
                      </a:lnTo>
                      <a:lnTo>
                        <a:pt x="504" y="516"/>
                      </a:lnTo>
                      <a:lnTo>
                        <a:pt x="504" y="520"/>
                      </a:lnTo>
                      <a:lnTo>
                        <a:pt x="500" y="520"/>
                      </a:lnTo>
                      <a:lnTo>
                        <a:pt x="500" y="520"/>
                      </a:lnTo>
                      <a:lnTo>
                        <a:pt x="500" y="520"/>
                      </a:lnTo>
                      <a:close/>
                      <a:moveTo>
                        <a:pt x="496" y="520"/>
                      </a:moveTo>
                      <a:lnTo>
                        <a:pt x="492" y="520"/>
                      </a:lnTo>
                      <a:lnTo>
                        <a:pt x="492" y="516"/>
                      </a:lnTo>
                      <a:lnTo>
                        <a:pt x="496" y="516"/>
                      </a:lnTo>
                      <a:lnTo>
                        <a:pt x="496" y="520"/>
                      </a:lnTo>
                      <a:lnTo>
                        <a:pt x="496" y="520"/>
                      </a:lnTo>
                      <a:lnTo>
                        <a:pt x="496" y="520"/>
                      </a:lnTo>
                      <a:close/>
                      <a:moveTo>
                        <a:pt x="500" y="520"/>
                      </a:moveTo>
                      <a:lnTo>
                        <a:pt x="504" y="520"/>
                      </a:lnTo>
                      <a:lnTo>
                        <a:pt x="500" y="520"/>
                      </a:lnTo>
                      <a:lnTo>
                        <a:pt x="500" y="520"/>
                      </a:lnTo>
                      <a:lnTo>
                        <a:pt x="500" y="520"/>
                      </a:lnTo>
                      <a:close/>
                      <a:moveTo>
                        <a:pt x="500" y="524"/>
                      </a:moveTo>
                      <a:lnTo>
                        <a:pt x="500" y="520"/>
                      </a:lnTo>
                      <a:lnTo>
                        <a:pt x="504" y="520"/>
                      </a:lnTo>
                      <a:lnTo>
                        <a:pt x="504" y="524"/>
                      </a:lnTo>
                      <a:lnTo>
                        <a:pt x="500" y="524"/>
                      </a:lnTo>
                      <a:lnTo>
                        <a:pt x="500" y="524"/>
                      </a:lnTo>
                      <a:lnTo>
                        <a:pt x="500" y="524"/>
                      </a:lnTo>
                      <a:close/>
                      <a:moveTo>
                        <a:pt x="506" y="526"/>
                      </a:moveTo>
                      <a:lnTo>
                        <a:pt x="504" y="526"/>
                      </a:lnTo>
                      <a:lnTo>
                        <a:pt x="504" y="524"/>
                      </a:lnTo>
                      <a:lnTo>
                        <a:pt x="504" y="520"/>
                      </a:lnTo>
                      <a:lnTo>
                        <a:pt x="506" y="520"/>
                      </a:lnTo>
                      <a:lnTo>
                        <a:pt x="506" y="524"/>
                      </a:lnTo>
                      <a:lnTo>
                        <a:pt x="506" y="526"/>
                      </a:lnTo>
                      <a:lnTo>
                        <a:pt x="506" y="526"/>
                      </a:lnTo>
                      <a:lnTo>
                        <a:pt x="506" y="526"/>
                      </a:lnTo>
                      <a:close/>
                      <a:moveTo>
                        <a:pt x="492" y="526"/>
                      </a:moveTo>
                      <a:lnTo>
                        <a:pt x="492" y="524"/>
                      </a:lnTo>
                      <a:lnTo>
                        <a:pt x="496" y="520"/>
                      </a:lnTo>
                      <a:lnTo>
                        <a:pt x="496" y="524"/>
                      </a:lnTo>
                      <a:lnTo>
                        <a:pt x="496" y="526"/>
                      </a:lnTo>
                      <a:lnTo>
                        <a:pt x="492" y="526"/>
                      </a:lnTo>
                      <a:lnTo>
                        <a:pt x="492" y="526"/>
                      </a:lnTo>
                      <a:lnTo>
                        <a:pt x="492" y="526"/>
                      </a:lnTo>
                      <a:close/>
                      <a:moveTo>
                        <a:pt x="500" y="526"/>
                      </a:moveTo>
                      <a:lnTo>
                        <a:pt x="500" y="524"/>
                      </a:lnTo>
                      <a:lnTo>
                        <a:pt x="504" y="524"/>
                      </a:lnTo>
                      <a:lnTo>
                        <a:pt x="504" y="526"/>
                      </a:lnTo>
                      <a:lnTo>
                        <a:pt x="500" y="526"/>
                      </a:lnTo>
                      <a:lnTo>
                        <a:pt x="500" y="526"/>
                      </a:lnTo>
                      <a:lnTo>
                        <a:pt x="500" y="526"/>
                      </a:lnTo>
                      <a:close/>
                      <a:moveTo>
                        <a:pt x="492" y="526"/>
                      </a:moveTo>
                      <a:lnTo>
                        <a:pt x="492" y="524"/>
                      </a:lnTo>
                      <a:lnTo>
                        <a:pt x="492" y="526"/>
                      </a:lnTo>
                      <a:lnTo>
                        <a:pt x="492" y="526"/>
                      </a:lnTo>
                      <a:lnTo>
                        <a:pt x="492" y="526"/>
                      </a:lnTo>
                      <a:close/>
                      <a:moveTo>
                        <a:pt x="500" y="530"/>
                      </a:moveTo>
                      <a:lnTo>
                        <a:pt x="500" y="526"/>
                      </a:lnTo>
                      <a:lnTo>
                        <a:pt x="500" y="530"/>
                      </a:lnTo>
                      <a:lnTo>
                        <a:pt x="500" y="530"/>
                      </a:lnTo>
                      <a:lnTo>
                        <a:pt x="500" y="530"/>
                      </a:lnTo>
                      <a:close/>
                      <a:moveTo>
                        <a:pt x="504" y="530"/>
                      </a:moveTo>
                      <a:lnTo>
                        <a:pt x="500" y="530"/>
                      </a:lnTo>
                      <a:lnTo>
                        <a:pt x="504" y="530"/>
                      </a:lnTo>
                      <a:lnTo>
                        <a:pt x="504" y="526"/>
                      </a:lnTo>
                      <a:lnTo>
                        <a:pt x="504" y="530"/>
                      </a:lnTo>
                      <a:lnTo>
                        <a:pt x="504" y="530"/>
                      </a:lnTo>
                      <a:lnTo>
                        <a:pt x="504" y="530"/>
                      </a:lnTo>
                      <a:close/>
                      <a:moveTo>
                        <a:pt x="504" y="534"/>
                      </a:moveTo>
                      <a:lnTo>
                        <a:pt x="500" y="534"/>
                      </a:lnTo>
                      <a:lnTo>
                        <a:pt x="500" y="530"/>
                      </a:lnTo>
                      <a:lnTo>
                        <a:pt x="504" y="530"/>
                      </a:lnTo>
                      <a:lnTo>
                        <a:pt x="504" y="534"/>
                      </a:lnTo>
                      <a:lnTo>
                        <a:pt x="504" y="534"/>
                      </a:lnTo>
                      <a:lnTo>
                        <a:pt x="504" y="534"/>
                      </a:lnTo>
                      <a:close/>
                      <a:moveTo>
                        <a:pt x="492" y="556"/>
                      </a:moveTo>
                      <a:lnTo>
                        <a:pt x="492" y="552"/>
                      </a:lnTo>
                      <a:lnTo>
                        <a:pt x="496" y="552"/>
                      </a:lnTo>
                      <a:lnTo>
                        <a:pt x="496" y="556"/>
                      </a:lnTo>
                      <a:lnTo>
                        <a:pt x="492" y="556"/>
                      </a:lnTo>
                      <a:lnTo>
                        <a:pt x="492" y="556"/>
                      </a:lnTo>
                      <a:lnTo>
                        <a:pt x="492" y="556"/>
                      </a:lnTo>
                      <a:close/>
                      <a:moveTo>
                        <a:pt x="484" y="566"/>
                      </a:moveTo>
                      <a:lnTo>
                        <a:pt x="488" y="566"/>
                      </a:lnTo>
                      <a:lnTo>
                        <a:pt x="484" y="566"/>
                      </a:lnTo>
                      <a:lnTo>
                        <a:pt x="484" y="566"/>
                      </a:lnTo>
                      <a:lnTo>
                        <a:pt x="484" y="566"/>
                      </a:lnTo>
                      <a:close/>
                      <a:moveTo>
                        <a:pt x="484" y="566"/>
                      </a:moveTo>
                      <a:lnTo>
                        <a:pt x="480" y="566"/>
                      </a:lnTo>
                      <a:lnTo>
                        <a:pt x="484" y="566"/>
                      </a:lnTo>
                      <a:lnTo>
                        <a:pt x="484" y="566"/>
                      </a:lnTo>
                      <a:lnTo>
                        <a:pt x="484" y="566"/>
                      </a:lnTo>
                      <a:close/>
                      <a:moveTo>
                        <a:pt x="496" y="570"/>
                      </a:moveTo>
                      <a:lnTo>
                        <a:pt x="492" y="570"/>
                      </a:lnTo>
                      <a:lnTo>
                        <a:pt x="496" y="566"/>
                      </a:lnTo>
                      <a:lnTo>
                        <a:pt x="500" y="566"/>
                      </a:lnTo>
                      <a:lnTo>
                        <a:pt x="500" y="570"/>
                      </a:lnTo>
                      <a:lnTo>
                        <a:pt x="504" y="570"/>
                      </a:lnTo>
                      <a:lnTo>
                        <a:pt x="504" y="566"/>
                      </a:lnTo>
                      <a:lnTo>
                        <a:pt x="504" y="570"/>
                      </a:lnTo>
                      <a:lnTo>
                        <a:pt x="500" y="570"/>
                      </a:lnTo>
                      <a:lnTo>
                        <a:pt x="496" y="570"/>
                      </a:lnTo>
                      <a:lnTo>
                        <a:pt x="496" y="570"/>
                      </a:lnTo>
                      <a:lnTo>
                        <a:pt x="496" y="570"/>
                      </a:lnTo>
                      <a:close/>
                      <a:moveTo>
                        <a:pt x="488" y="574"/>
                      </a:moveTo>
                      <a:lnTo>
                        <a:pt x="484" y="570"/>
                      </a:lnTo>
                      <a:lnTo>
                        <a:pt x="480" y="570"/>
                      </a:lnTo>
                      <a:lnTo>
                        <a:pt x="484" y="570"/>
                      </a:lnTo>
                      <a:lnTo>
                        <a:pt x="488" y="570"/>
                      </a:lnTo>
                      <a:lnTo>
                        <a:pt x="488" y="566"/>
                      </a:lnTo>
                      <a:lnTo>
                        <a:pt x="488" y="570"/>
                      </a:lnTo>
                      <a:lnTo>
                        <a:pt x="488" y="574"/>
                      </a:lnTo>
                      <a:lnTo>
                        <a:pt x="488" y="574"/>
                      </a:lnTo>
                      <a:lnTo>
                        <a:pt x="488" y="574"/>
                      </a:lnTo>
                      <a:close/>
                      <a:moveTo>
                        <a:pt x="484" y="586"/>
                      </a:moveTo>
                      <a:lnTo>
                        <a:pt x="480" y="586"/>
                      </a:lnTo>
                      <a:lnTo>
                        <a:pt x="480" y="582"/>
                      </a:lnTo>
                      <a:lnTo>
                        <a:pt x="480" y="578"/>
                      </a:lnTo>
                      <a:lnTo>
                        <a:pt x="480" y="582"/>
                      </a:lnTo>
                      <a:lnTo>
                        <a:pt x="476" y="582"/>
                      </a:lnTo>
                      <a:lnTo>
                        <a:pt x="476" y="578"/>
                      </a:lnTo>
                      <a:lnTo>
                        <a:pt x="480" y="578"/>
                      </a:lnTo>
                      <a:lnTo>
                        <a:pt x="476" y="578"/>
                      </a:lnTo>
                      <a:lnTo>
                        <a:pt x="476" y="574"/>
                      </a:lnTo>
                      <a:lnTo>
                        <a:pt x="476" y="570"/>
                      </a:lnTo>
                      <a:lnTo>
                        <a:pt x="480" y="570"/>
                      </a:lnTo>
                      <a:lnTo>
                        <a:pt x="480" y="574"/>
                      </a:lnTo>
                      <a:lnTo>
                        <a:pt x="480" y="578"/>
                      </a:lnTo>
                      <a:lnTo>
                        <a:pt x="484" y="578"/>
                      </a:lnTo>
                      <a:lnTo>
                        <a:pt x="484" y="582"/>
                      </a:lnTo>
                      <a:lnTo>
                        <a:pt x="484" y="586"/>
                      </a:lnTo>
                      <a:lnTo>
                        <a:pt x="484" y="586"/>
                      </a:lnTo>
                      <a:lnTo>
                        <a:pt x="484" y="586"/>
                      </a:lnTo>
                      <a:close/>
                      <a:moveTo>
                        <a:pt x="484" y="582"/>
                      </a:moveTo>
                      <a:lnTo>
                        <a:pt x="484" y="574"/>
                      </a:lnTo>
                      <a:lnTo>
                        <a:pt x="480" y="574"/>
                      </a:lnTo>
                      <a:lnTo>
                        <a:pt x="484" y="574"/>
                      </a:lnTo>
                      <a:lnTo>
                        <a:pt x="488" y="574"/>
                      </a:lnTo>
                      <a:lnTo>
                        <a:pt x="488" y="578"/>
                      </a:lnTo>
                      <a:lnTo>
                        <a:pt x="484" y="582"/>
                      </a:lnTo>
                      <a:lnTo>
                        <a:pt x="484" y="582"/>
                      </a:lnTo>
                      <a:lnTo>
                        <a:pt x="484" y="582"/>
                      </a:lnTo>
                      <a:close/>
                      <a:moveTo>
                        <a:pt x="492" y="578"/>
                      </a:moveTo>
                      <a:lnTo>
                        <a:pt x="492" y="574"/>
                      </a:lnTo>
                      <a:lnTo>
                        <a:pt x="496" y="574"/>
                      </a:lnTo>
                      <a:lnTo>
                        <a:pt x="496" y="578"/>
                      </a:lnTo>
                      <a:lnTo>
                        <a:pt x="492" y="578"/>
                      </a:lnTo>
                      <a:lnTo>
                        <a:pt x="492" y="578"/>
                      </a:lnTo>
                      <a:lnTo>
                        <a:pt x="492" y="578"/>
                      </a:lnTo>
                      <a:close/>
                      <a:moveTo>
                        <a:pt x="492" y="586"/>
                      </a:moveTo>
                      <a:lnTo>
                        <a:pt x="488" y="586"/>
                      </a:lnTo>
                      <a:lnTo>
                        <a:pt x="484" y="586"/>
                      </a:lnTo>
                      <a:lnTo>
                        <a:pt x="484" y="582"/>
                      </a:lnTo>
                      <a:lnTo>
                        <a:pt x="488" y="582"/>
                      </a:lnTo>
                      <a:lnTo>
                        <a:pt x="488" y="578"/>
                      </a:lnTo>
                      <a:lnTo>
                        <a:pt x="488" y="582"/>
                      </a:lnTo>
                      <a:lnTo>
                        <a:pt x="488" y="578"/>
                      </a:lnTo>
                      <a:lnTo>
                        <a:pt x="488" y="574"/>
                      </a:lnTo>
                      <a:lnTo>
                        <a:pt x="492" y="574"/>
                      </a:lnTo>
                      <a:lnTo>
                        <a:pt x="492" y="578"/>
                      </a:lnTo>
                      <a:lnTo>
                        <a:pt x="492" y="582"/>
                      </a:lnTo>
                      <a:lnTo>
                        <a:pt x="492" y="586"/>
                      </a:lnTo>
                      <a:lnTo>
                        <a:pt x="492" y="582"/>
                      </a:lnTo>
                      <a:lnTo>
                        <a:pt x="492" y="586"/>
                      </a:lnTo>
                      <a:lnTo>
                        <a:pt x="492" y="586"/>
                      </a:lnTo>
                      <a:lnTo>
                        <a:pt x="492" y="586"/>
                      </a:lnTo>
                      <a:close/>
                      <a:moveTo>
                        <a:pt x="496" y="582"/>
                      </a:moveTo>
                      <a:lnTo>
                        <a:pt x="496" y="578"/>
                      </a:lnTo>
                      <a:lnTo>
                        <a:pt x="492" y="578"/>
                      </a:lnTo>
                      <a:lnTo>
                        <a:pt x="496" y="578"/>
                      </a:lnTo>
                      <a:lnTo>
                        <a:pt x="496" y="582"/>
                      </a:lnTo>
                      <a:lnTo>
                        <a:pt x="496" y="582"/>
                      </a:lnTo>
                      <a:lnTo>
                        <a:pt x="496" y="582"/>
                      </a:lnTo>
                      <a:close/>
                      <a:moveTo>
                        <a:pt x="500" y="582"/>
                      </a:moveTo>
                      <a:lnTo>
                        <a:pt x="496" y="582"/>
                      </a:lnTo>
                      <a:lnTo>
                        <a:pt x="496" y="578"/>
                      </a:lnTo>
                      <a:lnTo>
                        <a:pt x="500" y="578"/>
                      </a:lnTo>
                      <a:lnTo>
                        <a:pt x="500" y="582"/>
                      </a:lnTo>
                      <a:lnTo>
                        <a:pt x="500" y="582"/>
                      </a:lnTo>
                      <a:lnTo>
                        <a:pt x="500" y="582"/>
                      </a:lnTo>
                      <a:close/>
                      <a:moveTo>
                        <a:pt x="476" y="586"/>
                      </a:moveTo>
                      <a:lnTo>
                        <a:pt x="480" y="586"/>
                      </a:lnTo>
                      <a:lnTo>
                        <a:pt x="476" y="586"/>
                      </a:lnTo>
                      <a:lnTo>
                        <a:pt x="476" y="582"/>
                      </a:lnTo>
                      <a:lnTo>
                        <a:pt x="480" y="582"/>
                      </a:lnTo>
                      <a:lnTo>
                        <a:pt x="480" y="586"/>
                      </a:lnTo>
                      <a:lnTo>
                        <a:pt x="476" y="586"/>
                      </a:lnTo>
                      <a:lnTo>
                        <a:pt x="476" y="586"/>
                      </a:lnTo>
                      <a:lnTo>
                        <a:pt x="476" y="586"/>
                      </a:lnTo>
                      <a:close/>
                      <a:moveTo>
                        <a:pt x="492" y="604"/>
                      </a:moveTo>
                      <a:lnTo>
                        <a:pt x="492" y="608"/>
                      </a:lnTo>
                      <a:lnTo>
                        <a:pt x="492" y="604"/>
                      </a:lnTo>
                      <a:lnTo>
                        <a:pt x="496" y="604"/>
                      </a:lnTo>
                      <a:lnTo>
                        <a:pt x="496" y="608"/>
                      </a:lnTo>
                      <a:lnTo>
                        <a:pt x="492" y="612"/>
                      </a:lnTo>
                      <a:lnTo>
                        <a:pt x="492" y="616"/>
                      </a:lnTo>
                      <a:lnTo>
                        <a:pt x="488" y="616"/>
                      </a:lnTo>
                      <a:lnTo>
                        <a:pt x="488" y="612"/>
                      </a:lnTo>
                      <a:lnTo>
                        <a:pt x="492" y="612"/>
                      </a:lnTo>
                      <a:lnTo>
                        <a:pt x="488" y="612"/>
                      </a:lnTo>
                      <a:lnTo>
                        <a:pt x="488" y="608"/>
                      </a:lnTo>
                      <a:lnTo>
                        <a:pt x="488" y="604"/>
                      </a:lnTo>
                      <a:lnTo>
                        <a:pt x="488" y="600"/>
                      </a:lnTo>
                      <a:lnTo>
                        <a:pt x="492" y="600"/>
                      </a:lnTo>
                      <a:lnTo>
                        <a:pt x="488" y="600"/>
                      </a:lnTo>
                      <a:lnTo>
                        <a:pt x="488" y="604"/>
                      </a:lnTo>
                      <a:lnTo>
                        <a:pt x="488" y="600"/>
                      </a:lnTo>
                      <a:lnTo>
                        <a:pt x="484" y="604"/>
                      </a:lnTo>
                      <a:lnTo>
                        <a:pt x="488" y="604"/>
                      </a:lnTo>
                      <a:lnTo>
                        <a:pt x="484" y="608"/>
                      </a:lnTo>
                      <a:lnTo>
                        <a:pt x="484" y="612"/>
                      </a:lnTo>
                      <a:lnTo>
                        <a:pt x="484" y="608"/>
                      </a:lnTo>
                      <a:lnTo>
                        <a:pt x="480" y="604"/>
                      </a:lnTo>
                      <a:lnTo>
                        <a:pt x="480" y="600"/>
                      </a:lnTo>
                      <a:lnTo>
                        <a:pt x="480" y="596"/>
                      </a:lnTo>
                      <a:lnTo>
                        <a:pt x="480" y="600"/>
                      </a:lnTo>
                      <a:lnTo>
                        <a:pt x="484" y="600"/>
                      </a:lnTo>
                      <a:lnTo>
                        <a:pt x="484" y="604"/>
                      </a:lnTo>
                      <a:lnTo>
                        <a:pt x="484" y="600"/>
                      </a:lnTo>
                      <a:lnTo>
                        <a:pt x="480" y="600"/>
                      </a:lnTo>
                      <a:lnTo>
                        <a:pt x="480" y="596"/>
                      </a:lnTo>
                      <a:lnTo>
                        <a:pt x="484" y="600"/>
                      </a:lnTo>
                      <a:lnTo>
                        <a:pt x="484" y="596"/>
                      </a:lnTo>
                      <a:lnTo>
                        <a:pt x="488" y="600"/>
                      </a:lnTo>
                      <a:lnTo>
                        <a:pt x="488" y="596"/>
                      </a:lnTo>
                      <a:lnTo>
                        <a:pt x="488" y="594"/>
                      </a:lnTo>
                      <a:lnTo>
                        <a:pt x="484" y="590"/>
                      </a:lnTo>
                      <a:lnTo>
                        <a:pt x="484" y="586"/>
                      </a:lnTo>
                      <a:lnTo>
                        <a:pt x="488" y="586"/>
                      </a:lnTo>
                      <a:lnTo>
                        <a:pt x="492" y="586"/>
                      </a:lnTo>
                      <a:lnTo>
                        <a:pt x="492" y="590"/>
                      </a:lnTo>
                      <a:lnTo>
                        <a:pt x="492" y="594"/>
                      </a:lnTo>
                      <a:lnTo>
                        <a:pt x="492" y="596"/>
                      </a:lnTo>
                      <a:lnTo>
                        <a:pt x="496" y="596"/>
                      </a:lnTo>
                      <a:lnTo>
                        <a:pt x="492" y="600"/>
                      </a:lnTo>
                      <a:lnTo>
                        <a:pt x="492" y="604"/>
                      </a:lnTo>
                      <a:lnTo>
                        <a:pt x="492" y="604"/>
                      </a:lnTo>
                      <a:lnTo>
                        <a:pt x="492" y="604"/>
                      </a:lnTo>
                      <a:close/>
                      <a:moveTo>
                        <a:pt x="484" y="594"/>
                      </a:moveTo>
                      <a:lnTo>
                        <a:pt x="480" y="590"/>
                      </a:lnTo>
                      <a:lnTo>
                        <a:pt x="484" y="590"/>
                      </a:lnTo>
                      <a:lnTo>
                        <a:pt x="484" y="594"/>
                      </a:lnTo>
                      <a:lnTo>
                        <a:pt x="484" y="594"/>
                      </a:lnTo>
                      <a:lnTo>
                        <a:pt x="484" y="594"/>
                      </a:lnTo>
                      <a:close/>
                      <a:moveTo>
                        <a:pt x="480" y="594"/>
                      </a:moveTo>
                      <a:lnTo>
                        <a:pt x="480" y="590"/>
                      </a:lnTo>
                      <a:lnTo>
                        <a:pt x="480" y="594"/>
                      </a:lnTo>
                      <a:lnTo>
                        <a:pt x="476" y="594"/>
                      </a:lnTo>
                      <a:lnTo>
                        <a:pt x="476" y="590"/>
                      </a:lnTo>
                      <a:lnTo>
                        <a:pt x="480" y="590"/>
                      </a:lnTo>
                      <a:lnTo>
                        <a:pt x="484" y="594"/>
                      </a:lnTo>
                      <a:lnTo>
                        <a:pt x="480" y="594"/>
                      </a:lnTo>
                      <a:lnTo>
                        <a:pt x="480" y="594"/>
                      </a:lnTo>
                      <a:lnTo>
                        <a:pt x="480" y="594"/>
                      </a:lnTo>
                      <a:close/>
                      <a:moveTo>
                        <a:pt x="488" y="596"/>
                      </a:moveTo>
                      <a:lnTo>
                        <a:pt x="484" y="596"/>
                      </a:lnTo>
                      <a:lnTo>
                        <a:pt x="480" y="596"/>
                      </a:lnTo>
                      <a:lnTo>
                        <a:pt x="480" y="594"/>
                      </a:lnTo>
                      <a:lnTo>
                        <a:pt x="484" y="594"/>
                      </a:lnTo>
                      <a:lnTo>
                        <a:pt x="488" y="594"/>
                      </a:lnTo>
                      <a:lnTo>
                        <a:pt x="488" y="596"/>
                      </a:lnTo>
                      <a:lnTo>
                        <a:pt x="488" y="596"/>
                      </a:lnTo>
                      <a:lnTo>
                        <a:pt x="488" y="596"/>
                      </a:lnTo>
                      <a:close/>
                      <a:moveTo>
                        <a:pt x="496" y="604"/>
                      </a:moveTo>
                      <a:lnTo>
                        <a:pt x="492" y="600"/>
                      </a:lnTo>
                      <a:lnTo>
                        <a:pt x="496" y="600"/>
                      </a:lnTo>
                      <a:lnTo>
                        <a:pt x="496" y="604"/>
                      </a:lnTo>
                      <a:lnTo>
                        <a:pt x="496" y="604"/>
                      </a:lnTo>
                      <a:lnTo>
                        <a:pt x="496" y="604"/>
                      </a:lnTo>
                      <a:close/>
                      <a:moveTo>
                        <a:pt x="484" y="612"/>
                      </a:moveTo>
                      <a:lnTo>
                        <a:pt x="480" y="608"/>
                      </a:lnTo>
                      <a:lnTo>
                        <a:pt x="480" y="612"/>
                      </a:lnTo>
                      <a:lnTo>
                        <a:pt x="480" y="608"/>
                      </a:lnTo>
                      <a:lnTo>
                        <a:pt x="476" y="608"/>
                      </a:lnTo>
                      <a:lnTo>
                        <a:pt x="476" y="604"/>
                      </a:lnTo>
                      <a:lnTo>
                        <a:pt x="480" y="604"/>
                      </a:lnTo>
                      <a:lnTo>
                        <a:pt x="484" y="608"/>
                      </a:lnTo>
                      <a:lnTo>
                        <a:pt x="484" y="612"/>
                      </a:lnTo>
                      <a:lnTo>
                        <a:pt x="484" y="612"/>
                      </a:lnTo>
                      <a:lnTo>
                        <a:pt x="484" y="612"/>
                      </a:lnTo>
                      <a:close/>
                      <a:moveTo>
                        <a:pt x="484" y="620"/>
                      </a:moveTo>
                      <a:lnTo>
                        <a:pt x="484" y="624"/>
                      </a:lnTo>
                      <a:lnTo>
                        <a:pt x="480" y="624"/>
                      </a:lnTo>
                      <a:lnTo>
                        <a:pt x="480" y="620"/>
                      </a:lnTo>
                      <a:lnTo>
                        <a:pt x="484" y="620"/>
                      </a:lnTo>
                      <a:lnTo>
                        <a:pt x="480" y="620"/>
                      </a:lnTo>
                      <a:lnTo>
                        <a:pt x="480" y="616"/>
                      </a:lnTo>
                      <a:lnTo>
                        <a:pt x="480" y="620"/>
                      </a:lnTo>
                      <a:lnTo>
                        <a:pt x="484" y="620"/>
                      </a:lnTo>
                      <a:lnTo>
                        <a:pt x="484" y="616"/>
                      </a:lnTo>
                      <a:lnTo>
                        <a:pt x="480" y="616"/>
                      </a:lnTo>
                      <a:lnTo>
                        <a:pt x="480" y="612"/>
                      </a:lnTo>
                      <a:lnTo>
                        <a:pt x="484" y="612"/>
                      </a:lnTo>
                      <a:lnTo>
                        <a:pt x="484" y="616"/>
                      </a:lnTo>
                      <a:lnTo>
                        <a:pt x="488" y="616"/>
                      </a:lnTo>
                      <a:lnTo>
                        <a:pt x="484" y="620"/>
                      </a:lnTo>
                      <a:lnTo>
                        <a:pt x="484" y="620"/>
                      </a:lnTo>
                      <a:lnTo>
                        <a:pt x="484" y="620"/>
                      </a:lnTo>
                      <a:close/>
                      <a:moveTo>
                        <a:pt x="488" y="624"/>
                      </a:moveTo>
                      <a:lnTo>
                        <a:pt x="488" y="620"/>
                      </a:lnTo>
                      <a:lnTo>
                        <a:pt x="492" y="620"/>
                      </a:lnTo>
                      <a:lnTo>
                        <a:pt x="492" y="624"/>
                      </a:lnTo>
                      <a:lnTo>
                        <a:pt x="488" y="624"/>
                      </a:lnTo>
                      <a:lnTo>
                        <a:pt x="488" y="624"/>
                      </a:lnTo>
                      <a:lnTo>
                        <a:pt x="488" y="624"/>
                      </a:lnTo>
                      <a:close/>
                      <a:moveTo>
                        <a:pt x="496" y="630"/>
                      </a:moveTo>
                      <a:lnTo>
                        <a:pt x="492" y="626"/>
                      </a:lnTo>
                      <a:lnTo>
                        <a:pt x="492" y="624"/>
                      </a:lnTo>
                      <a:lnTo>
                        <a:pt x="496" y="624"/>
                      </a:lnTo>
                      <a:lnTo>
                        <a:pt x="492" y="624"/>
                      </a:lnTo>
                      <a:lnTo>
                        <a:pt x="496" y="624"/>
                      </a:lnTo>
                      <a:lnTo>
                        <a:pt x="496" y="626"/>
                      </a:lnTo>
                      <a:lnTo>
                        <a:pt x="496" y="630"/>
                      </a:lnTo>
                      <a:lnTo>
                        <a:pt x="500" y="630"/>
                      </a:lnTo>
                      <a:lnTo>
                        <a:pt x="496" y="630"/>
                      </a:lnTo>
                      <a:lnTo>
                        <a:pt x="496" y="630"/>
                      </a:lnTo>
                      <a:lnTo>
                        <a:pt x="496" y="630"/>
                      </a:lnTo>
                      <a:close/>
                      <a:moveTo>
                        <a:pt x="480" y="630"/>
                      </a:moveTo>
                      <a:lnTo>
                        <a:pt x="476" y="626"/>
                      </a:lnTo>
                      <a:lnTo>
                        <a:pt x="480" y="626"/>
                      </a:lnTo>
                      <a:lnTo>
                        <a:pt x="480" y="624"/>
                      </a:lnTo>
                      <a:lnTo>
                        <a:pt x="484" y="624"/>
                      </a:lnTo>
                      <a:lnTo>
                        <a:pt x="484" y="626"/>
                      </a:lnTo>
                      <a:lnTo>
                        <a:pt x="480" y="626"/>
                      </a:lnTo>
                      <a:lnTo>
                        <a:pt x="480" y="630"/>
                      </a:lnTo>
                      <a:lnTo>
                        <a:pt x="480" y="630"/>
                      </a:lnTo>
                      <a:lnTo>
                        <a:pt x="480" y="630"/>
                      </a:lnTo>
                      <a:close/>
                      <a:moveTo>
                        <a:pt x="484" y="630"/>
                      </a:moveTo>
                      <a:lnTo>
                        <a:pt x="484" y="626"/>
                      </a:lnTo>
                      <a:lnTo>
                        <a:pt x="484" y="630"/>
                      </a:lnTo>
                      <a:lnTo>
                        <a:pt x="484" y="630"/>
                      </a:lnTo>
                      <a:lnTo>
                        <a:pt x="484" y="630"/>
                      </a:lnTo>
                      <a:close/>
                      <a:moveTo>
                        <a:pt x="492" y="630"/>
                      </a:moveTo>
                      <a:lnTo>
                        <a:pt x="488" y="630"/>
                      </a:lnTo>
                      <a:lnTo>
                        <a:pt x="488" y="626"/>
                      </a:lnTo>
                      <a:lnTo>
                        <a:pt x="492" y="630"/>
                      </a:lnTo>
                      <a:lnTo>
                        <a:pt x="492" y="630"/>
                      </a:lnTo>
                      <a:lnTo>
                        <a:pt x="492" y="630"/>
                      </a:lnTo>
                      <a:close/>
                      <a:moveTo>
                        <a:pt x="488" y="638"/>
                      </a:moveTo>
                      <a:lnTo>
                        <a:pt x="488" y="634"/>
                      </a:lnTo>
                      <a:lnTo>
                        <a:pt x="488" y="630"/>
                      </a:lnTo>
                      <a:lnTo>
                        <a:pt x="492" y="630"/>
                      </a:lnTo>
                      <a:lnTo>
                        <a:pt x="492" y="626"/>
                      </a:lnTo>
                      <a:lnTo>
                        <a:pt x="492" y="630"/>
                      </a:lnTo>
                      <a:lnTo>
                        <a:pt x="496" y="630"/>
                      </a:lnTo>
                      <a:lnTo>
                        <a:pt x="496" y="634"/>
                      </a:lnTo>
                      <a:lnTo>
                        <a:pt x="492" y="634"/>
                      </a:lnTo>
                      <a:lnTo>
                        <a:pt x="488" y="638"/>
                      </a:lnTo>
                      <a:lnTo>
                        <a:pt x="488" y="638"/>
                      </a:lnTo>
                      <a:lnTo>
                        <a:pt x="488" y="638"/>
                      </a:lnTo>
                      <a:close/>
                      <a:moveTo>
                        <a:pt x="496" y="638"/>
                      </a:moveTo>
                      <a:lnTo>
                        <a:pt x="496" y="634"/>
                      </a:lnTo>
                      <a:lnTo>
                        <a:pt x="496" y="630"/>
                      </a:lnTo>
                      <a:lnTo>
                        <a:pt x="496" y="634"/>
                      </a:lnTo>
                      <a:lnTo>
                        <a:pt x="496" y="638"/>
                      </a:lnTo>
                      <a:lnTo>
                        <a:pt x="496" y="638"/>
                      </a:lnTo>
                      <a:lnTo>
                        <a:pt x="496" y="638"/>
                      </a:lnTo>
                      <a:close/>
                      <a:moveTo>
                        <a:pt x="496" y="638"/>
                      </a:moveTo>
                      <a:lnTo>
                        <a:pt x="492" y="638"/>
                      </a:lnTo>
                      <a:lnTo>
                        <a:pt x="492" y="634"/>
                      </a:lnTo>
                      <a:lnTo>
                        <a:pt x="496" y="638"/>
                      </a:lnTo>
                      <a:lnTo>
                        <a:pt x="496" y="638"/>
                      </a:lnTo>
                      <a:lnTo>
                        <a:pt x="496" y="638"/>
                      </a:lnTo>
                      <a:close/>
                      <a:moveTo>
                        <a:pt x="484" y="646"/>
                      </a:moveTo>
                      <a:lnTo>
                        <a:pt x="484" y="642"/>
                      </a:lnTo>
                      <a:lnTo>
                        <a:pt x="488" y="642"/>
                      </a:lnTo>
                      <a:lnTo>
                        <a:pt x="488" y="638"/>
                      </a:lnTo>
                      <a:lnTo>
                        <a:pt x="492" y="638"/>
                      </a:lnTo>
                      <a:lnTo>
                        <a:pt x="492" y="642"/>
                      </a:lnTo>
                      <a:lnTo>
                        <a:pt x="488" y="642"/>
                      </a:lnTo>
                      <a:lnTo>
                        <a:pt x="484" y="646"/>
                      </a:lnTo>
                      <a:lnTo>
                        <a:pt x="484" y="646"/>
                      </a:lnTo>
                      <a:lnTo>
                        <a:pt x="484" y="646"/>
                      </a:lnTo>
                      <a:close/>
                      <a:moveTo>
                        <a:pt x="500" y="642"/>
                      </a:moveTo>
                      <a:lnTo>
                        <a:pt x="500" y="638"/>
                      </a:lnTo>
                      <a:lnTo>
                        <a:pt x="500" y="642"/>
                      </a:lnTo>
                      <a:lnTo>
                        <a:pt x="500" y="642"/>
                      </a:lnTo>
                      <a:lnTo>
                        <a:pt x="500" y="642"/>
                      </a:lnTo>
                      <a:close/>
                      <a:moveTo>
                        <a:pt x="504" y="642"/>
                      </a:moveTo>
                      <a:lnTo>
                        <a:pt x="504" y="638"/>
                      </a:lnTo>
                      <a:lnTo>
                        <a:pt x="504" y="642"/>
                      </a:lnTo>
                      <a:lnTo>
                        <a:pt x="504" y="642"/>
                      </a:lnTo>
                      <a:lnTo>
                        <a:pt x="504" y="642"/>
                      </a:lnTo>
                      <a:close/>
                      <a:moveTo>
                        <a:pt x="480" y="646"/>
                      </a:moveTo>
                      <a:lnTo>
                        <a:pt x="484" y="646"/>
                      </a:lnTo>
                      <a:lnTo>
                        <a:pt x="484" y="642"/>
                      </a:lnTo>
                      <a:lnTo>
                        <a:pt x="484" y="638"/>
                      </a:lnTo>
                      <a:lnTo>
                        <a:pt x="484" y="642"/>
                      </a:lnTo>
                      <a:lnTo>
                        <a:pt x="484" y="646"/>
                      </a:lnTo>
                      <a:lnTo>
                        <a:pt x="480" y="646"/>
                      </a:lnTo>
                      <a:lnTo>
                        <a:pt x="480" y="646"/>
                      </a:lnTo>
                      <a:lnTo>
                        <a:pt x="480" y="646"/>
                      </a:lnTo>
                      <a:close/>
                      <a:moveTo>
                        <a:pt x="500" y="650"/>
                      </a:moveTo>
                      <a:lnTo>
                        <a:pt x="496" y="650"/>
                      </a:lnTo>
                      <a:lnTo>
                        <a:pt x="500" y="650"/>
                      </a:lnTo>
                      <a:lnTo>
                        <a:pt x="500" y="646"/>
                      </a:lnTo>
                      <a:lnTo>
                        <a:pt x="500" y="650"/>
                      </a:lnTo>
                      <a:lnTo>
                        <a:pt x="500" y="650"/>
                      </a:lnTo>
                      <a:lnTo>
                        <a:pt x="500" y="650"/>
                      </a:lnTo>
                      <a:close/>
                      <a:moveTo>
                        <a:pt x="488" y="656"/>
                      </a:moveTo>
                      <a:lnTo>
                        <a:pt x="484" y="656"/>
                      </a:lnTo>
                      <a:lnTo>
                        <a:pt x="484" y="652"/>
                      </a:lnTo>
                      <a:lnTo>
                        <a:pt x="488" y="650"/>
                      </a:lnTo>
                      <a:lnTo>
                        <a:pt x="488" y="652"/>
                      </a:lnTo>
                      <a:lnTo>
                        <a:pt x="488" y="650"/>
                      </a:lnTo>
                      <a:lnTo>
                        <a:pt x="488" y="646"/>
                      </a:lnTo>
                      <a:lnTo>
                        <a:pt x="488" y="650"/>
                      </a:lnTo>
                      <a:lnTo>
                        <a:pt x="488" y="652"/>
                      </a:lnTo>
                      <a:lnTo>
                        <a:pt x="488" y="656"/>
                      </a:lnTo>
                      <a:lnTo>
                        <a:pt x="488" y="656"/>
                      </a:lnTo>
                      <a:lnTo>
                        <a:pt x="488" y="656"/>
                      </a:lnTo>
                      <a:close/>
                      <a:moveTo>
                        <a:pt x="504" y="650"/>
                      </a:moveTo>
                      <a:lnTo>
                        <a:pt x="500" y="650"/>
                      </a:lnTo>
                      <a:lnTo>
                        <a:pt x="504" y="650"/>
                      </a:lnTo>
                      <a:lnTo>
                        <a:pt x="504" y="650"/>
                      </a:lnTo>
                      <a:lnTo>
                        <a:pt x="504" y="650"/>
                      </a:lnTo>
                      <a:close/>
                      <a:moveTo>
                        <a:pt x="500" y="652"/>
                      </a:moveTo>
                      <a:lnTo>
                        <a:pt x="496" y="652"/>
                      </a:lnTo>
                      <a:lnTo>
                        <a:pt x="492" y="650"/>
                      </a:lnTo>
                      <a:lnTo>
                        <a:pt x="496" y="650"/>
                      </a:lnTo>
                      <a:lnTo>
                        <a:pt x="500" y="652"/>
                      </a:lnTo>
                      <a:lnTo>
                        <a:pt x="500" y="652"/>
                      </a:lnTo>
                      <a:lnTo>
                        <a:pt x="500" y="652"/>
                      </a:lnTo>
                      <a:close/>
                      <a:moveTo>
                        <a:pt x="484" y="652"/>
                      </a:moveTo>
                      <a:lnTo>
                        <a:pt x="484" y="650"/>
                      </a:lnTo>
                      <a:lnTo>
                        <a:pt x="488" y="650"/>
                      </a:lnTo>
                      <a:lnTo>
                        <a:pt x="484" y="650"/>
                      </a:lnTo>
                      <a:lnTo>
                        <a:pt x="484" y="652"/>
                      </a:lnTo>
                      <a:lnTo>
                        <a:pt x="484" y="652"/>
                      </a:lnTo>
                      <a:lnTo>
                        <a:pt x="484" y="652"/>
                      </a:lnTo>
                      <a:close/>
                      <a:moveTo>
                        <a:pt x="504" y="652"/>
                      </a:moveTo>
                      <a:lnTo>
                        <a:pt x="500" y="652"/>
                      </a:lnTo>
                      <a:lnTo>
                        <a:pt x="500" y="650"/>
                      </a:lnTo>
                      <a:lnTo>
                        <a:pt x="504" y="650"/>
                      </a:lnTo>
                      <a:lnTo>
                        <a:pt x="504" y="652"/>
                      </a:lnTo>
                      <a:lnTo>
                        <a:pt x="504" y="652"/>
                      </a:lnTo>
                      <a:lnTo>
                        <a:pt x="504" y="652"/>
                      </a:lnTo>
                      <a:close/>
                      <a:moveTo>
                        <a:pt x="488" y="656"/>
                      </a:moveTo>
                      <a:lnTo>
                        <a:pt x="488" y="652"/>
                      </a:lnTo>
                      <a:lnTo>
                        <a:pt x="492" y="652"/>
                      </a:lnTo>
                      <a:lnTo>
                        <a:pt x="488" y="656"/>
                      </a:lnTo>
                      <a:lnTo>
                        <a:pt x="488" y="656"/>
                      </a:lnTo>
                      <a:lnTo>
                        <a:pt x="488" y="656"/>
                      </a:lnTo>
                      <a:close/>
                      <a:moveTo>
                        <a:pt x="514" y="656"/>
                      </a:moveTo>
                      <a:lnTo>
                        <a:pt x="514" y="652"/>
                      </a:lnTo>
                      <a:lnTo>
                        <a:pt x="514" y="656"/>
                      </a:lnTo>
                      <a:lnTo>
                        <a:pt x="514" y="656"/>
                      </a:lnTo>
                      <a:lnTo>
                        <a:pt x="514" y="656"/>
                      </a:lnTo>
                      <a:close/>
                      <a:moveTo>
                        <a:pt x="504" y="660"/>
                      </a:moveTo>
                      <a:lnTo>
                        <a:pt x="504" y="656"/>
                      </a:lnTo>
                      <a:lnTo>
                        <a:pt x="500" y="656"/>
                      </a:lnTo>
                      <a:lnTo>
                        <a:pt x="500" y="652"/>
                      </a:lnTo>
                      <a:lnTo>
                        <a:pt x="504" y="656"/>
                      </a:lnTo>
                      <a:lnTo>
                        <a:pt x="504" y="660"/>
                      </a:lnTo>
                      <a:lnTo>
                        <a:pt x="504" y="660"/>
                      </a:lnTo>
                      <a:lnTo>
                        <a:pt x="504" y="660"/>
                      </a:lnTo>
                      <a:close/>
                      <a:moveTo>
                        <a:pt x="488" y="656"/>
                      </a:moveTo>
                      <a:lnTo>
                        <a:pt x="492" y="656"/>
                      </a:lnTo>
                      <a:lnTo>
                        <a:pt x="492" y="652"/>
                      </a:lnTo>
                      <a:lnTo>
                        <a:pt x="492" y="656"/>
                      </a:lnTo>
                      <a:lnTo>
                        <a:pt x="488" y="656"/>
                      </a:lnTo>
                      <a:lnTo>
                        <a:pt x="488" y="656"/>
                      </a:lnTo>
                      <a:lnTo>
                        <a:pt x="488" y="656"/>
                      </a:lnTo>
                      <a:close/>
                      <a:moveTo>
                        <a:pt x="500" y="664"/>
                      </a:moveTo>
                      <a:lnTo>
                        <a:pt x="496" y="664"/>
                      </a:lnTo>
                      <a:lnTo>
                        <a:pt x="496" y="660"/>
                      </a:lnTo>
                      <a:lnTo>
                        <a:pt x="500" y="660"/>
                      </a:lnTo>
                      <a:lnTo>
                        <a:pt x="496" y="660"/>
                      </a:lnTo>
                      <a:lnTo>
                        <a:pt x="496" y="656"/>
                      </a:lnTo>
                      <a:lnTo>
                        <a:pt x="500" y="660"/>
                      </a:lnTo>
                      <a:lnTo>
                        <a:pt x="500" y="664"/>
                      </a:lnTo>
                      <a:lnTo>
                        <a:pt x="500" y="664"/>
                      </a:lnTo>
                      <a:lnTo>
                        <a:pt x="500" y="664"/>
                      </a:lnTo>
                      <a:close/>
                      <a:moveTo>
                        <a:pt x="504" y="664"/>
                      </a:moveTo>
                      <a:lnTo>
                        <a:pt x="504" y="660"/>
                      </a:lnTo>
                      <a:lnTo>
                        <a:pt x="500" y="660"/>
                      </a:lnTo>
                      <a:lnTo>
                        <a:pt x="500" y="656"/>
                      </a:lnTo>
                      <a:lnTo>
                        <a:pt x="500" y="660"/>
                      </a:lnTo>
                      <a:lnTo>
                        <a:pt x="504" y="660"/>
                      </a:lnTo>
                      <a:lnTo>
                        <a:pt x="504" y="664"/>
                      </a:lnTo>
                      <a:lnTo>
                        <a:pt x="504" y="664"/>
                      </a:lnTo>
                      <a:lnTo>
                        <a:pt x="504" y="664"/>
                      </a:lnTo>
                      <a:close/>
                      <a:moveTo>
                        <a:pt x="488" y="660"/>
                      </a:moveTo>
                      <a:lnTo>
                        <a:pt x="492" y="660"/>
                      </a:lnTo>
                      <a:lnTo>
                        <a:pt x="488" y="660"/>
                      </a:lnTo>
                      <a:lnTo>
                        <a:pt x="488" y="660"/>
                      </a:lnTo>
                      <a:lnTo>
                        <a:pt x="488" y="660"/>
                      </a:lnTo>
                      <a:close/>
                      <a:moveTo>
                        <a:pt x="578" y="716"/>
                      </a:moveTo>
                      <a:lnTo>
                        <a:pt x="574" y="716"/>
                      </a:lnTo>
                      <a:lnTo>
                        <a:pt x="570" y="716"/>
                      </a:lnTo>
                      <a:lnTo>
                        <a:pt x="562" y="716"/>
                      </a:lnTo>
                      <a:lnTo>
                        <a:pt x="562" y="712"/>
                      </a:lnTo>
                      <a:lnTo>
                        <a:pt x="560" y="712"/>
                      </a:lnTo>
                      <a:lnTo>
                        <a:pt x="560" y="716"/>
                      </a:lnTo>
                      <a:lnTo>
                        <a:pt x="556" y="716"/>
                      </a:lnTo>
                      <a:lnTo>
                        <a:pt x="552" y="716"/>
                      </a:lnTo>
                      <a:lnTo>
                        <a:pt x="552" y="712"/>
                      </a:lnTo>
                      <a:lnTo>
                        <a:pt x="552" y="716"/>
                      </a:lnTo>
                      <a:lnTo>
                        <a:pt x="548" y="716"/>
                      </a:lnTo>
                      <a:lnTo>
                        <a:pt x="544" y="716"/>
                      </a:lnTo>
                      <a:lnTo>
                        <a:pt x="544" y="712"/>
                      </a:lnTo>
                      <a:lnTo>
                        <a:pt x="548" y="712"/>
                      </a:lnTo>
                      <a:lnTo>
                        <a:pt x="552" y="712"/>
                      </a:lnTo>
                      <a:lnTo>
                        <a:pt x="548" y="712"/>
                      </a:lnTo>
                      <a:lnTo>
                        <a:pt x="544" y="712"/>
                      </a:lnTo>
                      <a:lnTo>
                        <a:pt x="540" y="712"/>
                      </a:lnTo>
                      <a:lnTo>
                        <a:pt x="544" y="712"/>
                      </a:lnTo>
                      <a:lnTo>
                        <a:pt x="540" y="712"/>
                      </a:lnTo>
                      <a:lnTo>
                        <a:pt x="536" y="712"/>
                      </a:lnTo>
                      <a:lnTo>
                        <a:pt x="540" y="712"/>
                      </a:lnTo>
                      <a:lnTo>
                        <a:pt x="540" y="708"/>
                      </a:lnTo>
                      <a:lnTo>
                        <a:pt x="536" y="708"/>
                      </a:lnTo>
                      <a:lnTo>
                        <a:pt x="536" y="712"/>
                      </a:lnTo>
                      <a:lnTo>
                        <a:pt x="532" y="712"/>
                      </a:lnTo>
                      <a:lnTo>
                        <a:pt x="532" y="708"/>
                      </a:lnTo>
                      <a:lnTo>
                        <a:pt x="532" y="712"/>
                      </a:lnTo>
                      <a:lnTo>
                        <a:pt x="530" y="712"/>
                      </a:lnTo>
                      <a:lnTo>
                        <a:pt x="530" y="708"/>
                      </a:lnTo>
                      <a:lnTo>
                        <a:pt x="532" y="708"/>
                      </a:lnTo>
                      <a:lnTo>
                        <a:pt x="530" y="708"/>
                      </a:lnTo>
                      <a:lnTo>
                        <a:pt x="530" y="706"/>
                      </a:lnTo>
                      <a:lnTo>
                        <a:pt x="532" y="706"/>
                      </a:lnTo>
                      <a:lnTo>
                        <a:pt x="532" y="708"/>
                      </a:lnTo>
                      <a:lnTo>
                        <a:pt x="536" y="708"/>
                      </a:lnTo>
                      <a:lnTo>
                        <a:pt x="532" y="708"/>
                      </a:lnTo>
                      <a:lnTo>
                        <a:pt x="532" y="706"/>
                      </a:lnTo>
                      <a:lnTo>
                        <a:pt x="536" y="708"/>
                      </a:lnTo>
                      <a:lnTo>
                        <a:pt x="536" y="706"/>
                      </a:lnTo>
                      <a:lnTo>
                        <a:pt x="540" y="706"/>
                      </a:lnTo>
                      <a:lnTo>
                        <a:pt x="544" y="708"/>
                      </a:lnTo>
                      <a:lnTo>
                        <a:pt x="544" y="706"/>
                      </a:lnTo>
                      <a:lnTo>
                        <a:pt x="548" y="706"/>
                      </a:lnTo>
                      <a:lnTo>
                        <a:pt x="548" y="708"/>
                      </a:lnTo>
                      <a:lnTo>
                        <a:pt x="548" y="706"/>
                      </a:lnTo>
                      <a:lnTo>
                        <a:pt x="552" y="708"/>
                      </a:lnTo>
                      <a:lnTo>
                        <a:pt x="556" y="708"/>
                      </a:lnTo>
                      <a:lnTo>
                        <a:pt x="552" y="708"/>
                      </a:lnTo>
                      <a:lnTo>
                        <a:pt x="552" y="706"/>
                      </a:lnTo>
                      <a:lnTo>
                        <a:pt x="548" y="706"/>
                      </a:lnTo>
                      <a:lnTo>
                        <a:pt x="544" y="706"/>
                      </a:lnTo>
                      <a:lnTo>
                        <a:pt x="544" y="702"/>
                      </a:lnTo>
                      <a:lnTo>
                        <a:pt x="548" y="702"/>
                      </a:lnTo>
                      <a:lnTo>
                        <a:pt x="552" y="706"/>
                      </a:lnTo>
                      <a:lnTo>
                        <a:pt x="556" y="706"/>
                      </a:lnTo>
                      <a:lnTo>
                        <a:pt x="556" y="702"/>
                      </a:lnTo>
                      <a:lnTo>
                        <a:pt x="556" y="706"/>
                      </a:lnTo>
                      <a:lnTo>
                        <a:pt x="560" y="706"/>
                      </a:lnTo>
                      <a:lnTo>
                        <a:pt x="560" y="708"/>
                      </a:lnTo>
                      <a:lnTo>
                        <a:pt x="560" y="706"/>
                      </a:lnTo>
                      <a:lnTo>
                        <a:pt x="562" y="706"/>
                      </a:lnTo>
                      <a:lnTo>
                        <a:pt x="566" y="706"/>
                      </a:lnTo>
                      <a:lnTo>
                        <a:pt x="566" y="708"/>
                      </a:lnTo>
                      <a:lnTo>
                        <a:pt x="566" y="712"/>
                      </a:lnTo>
                      <a:lnTo>
                        <a:pt x="566" y="708"/>
                      </a:lnTo>
                      <a:lnTo>
                        <a:pt x="570" y="708"/>
                      </a:lnTo>
                      <a:lnTo>
                        <a:pt x="566" y="708"/>
                      </a:lnTo>
                      <a:lnTo>
                        <a:pt x="570" y="708"/>
                      </a:lnTo>
                      <a:lnTo>
                        <a:pt x="570" y="706"/>
                      </a:lnTo>
                      <a:lnTo>
                        <a:pt x="566" y="706"/>
                      </a:lnTo>
                      <a:lnTo>
                        <a:pt x="562" y="706"/>
                      </a:lnTo>
                      <a:lnTo>
                        <a:pt x="562" y="702"/>
                      </a:lnTo>
                      <a:lnTo>
                        <a:pt x="560" y="702"/>
                      </a:lnTo>
                      <a:lnTo>
                        <a:pt x="556" y="702"/>
                      </a:lnTo>
                      <a:lnTo>
                        <a:pt x="556" y="698"/>
                      </a:lnTo>
                      <a:lnTo>
                        <a:pt x="556" y="694"/>
                      </a:lnTo>
                      <a:lnTo>
                        <a:pt x="556" y="690"/>
                      </a:lnTo>
                      <a:lnTo>
                        <a:pt x="560" y="690"/>
                      </a:lnTo>
                      <a:lnTo>
                        <a:pt x="566" y="686"/>
                      </a:lnTo>
                      <a:lnTo>
                        <a:pt x="566" y="682"/>
                      </a:lnTo>
                      <a:lnTo>
                        <a:pt x="562" y="682"/>
                      </a:lnTo>
                      <a:lnTo>
                        <a:pt x="560" y="682"/>
                      </a:lnTo>
                      <a:lnTo>
                        <a:pt x="556" y="682"/>
                      </a:lnTo>
                      <a:lnTo>
                        <a:pt x="556" y="686"/>
                      </a:lnTo>
                      <a:lnTo>
                        <a:pt x="552" y="686"/>
                      </a:lnTo>
                      <a:lnTo>
                        <a:pt x="552" y="682"/>
                      </a:lnTo>
                      <a:lnTo>
                        <a:pt x="552" y="680"/>
                      </a:lnTo>
                      <a:lnTo>
                        <a:pt x="552" y="676"/>
                      </a:lnTo>
                      <a:lnTo>
                        <a:pt x="556" y="676"/>
                      </a:lnTo>
                      <a:lnTo>
                        <a:pt x="556" y="672"/>
                      </a:lnTo>
                      <a:lnTo>
                        <a:pt x="552" y="672"/>
                      </a:lnTo>
                      <a:lnTo>
                        <a:pt x="556" y="672"/>
                      </a:lnTo>
                      <a:lnTo>
                        <a:pt x="560" y="672"/>
                      </a:lnTo>
                      <a:lnTo>
                        <a:pt x="562" y="668"/>
                      </a:lnTo>
                      <a:lnTo>
                        <a:pt x="562" y="664"/>
                      </a:lnTo>
                      <a:lnTo>
                        <a:pt x="566" y="664"/>
                      </a:lnTo>
                      <a:lnTo>
                        <a:pt x="566" y="668"/>
                      </a:lnTo>
                      <a:lnTo>
                        <a:pt x="570" y="668"/>
                      </a:lnTo>
                      <a:lnTo>
                        <a:pt x="574" y="668"/>
                      </a:lnTo>
                      <a:lnTo>
                        <a:pt x="578" y="668"/>
                      </a:lnTo>
                      <a:lnTo>
                        <a:pt x="578" y="672"/>
                      </a:lnTo>
                      <a:lnTo>
                        <a:pt x="578" y="680"/>
                      </a:lnTo>
                      <a:lnTo>
                        <a:pt x="578" y="682"/>
                      </a:lnTo>
                      <a:lnTo>
                        <a:pt x="578" y="686"/>
                      </a:lnTo>
                      <a:lnTo>
                        <a:pt x="578" y="694"/>
                      </a:lnTo>
                      <a:lnTo>
                        <a:pt x="578" y="698"/>
                      </a:lnTo>
                      <a:lnTo>
                        <a:pt x="578" y="706"/>
                      </a:lnTo>
                      <a:lnTo>
                        <a:pt x="578" y="708"/>
                      </a:lnTo>
                      <a:lnTo>
                        <a:pt x="578" y="716"/>
                      </a:lnTo>
                      <a:lnTo>
                        <a:pt x="578" y="716"/>
                      </a:lnTo>
                      <a:lnTo>
                        <a:pt x="578" y="716"/>
                      </a:lnTo>
                      <a:close/>
                      <a:moveTo>
                        <a:pt x="510" y="682"/>
                      </a:moveTo>
                      <a:lnTo>
                        <a:pt x="514" y="682"/>
                      </a:lnTo>
                      <a:lnTo>
                        <a:pt x="510" y="682"/>
                      </a:lnTo>
                      <a:lnTo>
                        <a:pt x="506" y="682"/>
                      </a:lnTo>
                      <a:lnTo>
                        <a:pt x="504" y="680"/>
                      </a:lnTo>
                      <a:lnTo>
                        <a:pt x="500" y="680"/>
                      </a:lnTo>
                      <a:lnTo>
                        <a:pt x="496" y="680"/>
                      </a:lnTo>
                      <a:lnTo>
                        <a:pt x="496" y="676"/>
                      </a:lnTo>
                      <a:lnTo>
                        <a:pt x="492" y="676"/>
                      </a:lnTo>
                      <a:lnTo>
                        <a:pt x="492" y="672"/>
                      </a:lnTo>
                      <a:lnTo>
                        <a:pt x="488" y="672"/>
                      </a:lnTo>
                      <a:lnTo>
                        <a:pt x="492" y="672"/>
                      </a:lnTo>
                      <a:lnTo>
                        <a:pt x="496" y="672"/>
                      </a:lnTo>
                      <a:lnTo>
                        <a:pt x="496" y="676"/>
                      </a:lnTo>
                      <a:lnTo>
                        <a:pt x="500" y="676"/>
                      </a:lnTo>
                      <a:lnTo>
                        <a:pt x="504" y="676"/>
                      </a:lnTo>
                      <a:lnTo>
                        <a:pt x="504" y="680"/>
                      </a:lnTo>
                      <a:lnTo>
                        <a:pt x="506" y="680"/>
                      </a:lnTo>
                      <a:lnTo>
                        <a:pt x="506" y="682"/>
                      </a:lnTo>
                      <a:lnTo>
                        <a:pt x="506" y="680"/>
                      </a:lnTo>
                      <a:lnTo>
                        <a:pt x="510" y="682"/>
                      </a:lnTo>
                      <a:lnTo>
                        <a:pt x="510" y="682"/>
                      </a:lnTo>
                      <a:lnTo>
                        <a:pt x="510" y="682"/>
                      </a:lnTo>
                      <a:close/>
                      <a:moveTo>
                        <a:pt x="506" y="676"/>
                      </a:moveTo>
                      <a:lnTo>
                        <a:pt x="504" y="676"/>
                      </a:lnTo>
                      <a:lnTo>
                        <a:pt x="504" y="672"/>
                      </a:lnTo>
                      <a:lnTo>
                        <a:pt x="506" y="672"/>
                      </a:lnTo>
                      <a:lnTo>
                        <a:pt x="506" y="676"/>
                      </a:lnTo>
                      <a:lnTo>
                        <a:pt x="510" y="676"/>
                      </a:lnTo>
                      <a:lnTo>
                        <a:pt x="506" y="676"/>
                      </a:lnTo>
                      <a:lnTo>
                        <a:pt x="506" y="676"/>
                      </a:lnTo>
                      <a:lnTo>
                        <a:pt x="506" y="676"/>
                      </a:lnTo>
                      <a:close/>
                      <a:moveTo>
                        <a:pt x="500" y="682"/>
                      </a:moveTo>
                      <a:lnTo>
                        <a:pt x="496" y="682"/>
                      </a:lnTo>
                      <a:lnTo>
                        <a:pt x="500" y="682"/>
                      </a:lnTo>
                      <a:lnTo>
                        <a:pt x="500" y="682"/>
                      </a:lnTo>
                      <a:lnTo>
                        <a:pt x="500" y="682"/>
                      </a:lnTo>
                      <a:close/>
                      <a:moveTo>
                        <a:pt x="510" y="694"/>
                      </a:moveTo>
                      <a:lnTo>
                        <a:pt x="510" y="690"/>
                      </a:lnTo>
                      <a:lnTo>
                        <a:pt x="506" y="690"/>
                      </a:lnTo>
                      <a:lnTo>
                        <a:pt x="506" y="694"/>
                      </a:lnTo>
                      <a:lnTo>
                        <a:pt x="506" y="690"/>
                      </a:lnTo>
                      <a:lnTo>
                        <a:pt x="506" y="686"/>
                      </a:lnTo>
                      <a:lnTo>
                        <a:pt x="510" y="690"/>
                      </a:lnTo>
                      <a:lnTo>
                        <a:pt x="514" y="690"/>
                      </a:lnTo>
                      <a:lnTo>
                        <a:pt x="510" y="690"/>
                      </a:lnTo>
                      <a:lnTo>
                        <a:pt x="506" y="686"/>
                      </a:lnTo>
                      <a:lnTo>
                        <a:pt x="510" y="686"/>
                      </a:lnTo>
                      <a:lnTo>
                        <a:pt x="514" y="686"/>
                      </a:lnTo>
                      <a:lnTo>
                        <a:pt x="510" y="686"/>
                      </a:lnTo>
                      <a:lnTo>
                        <a:pt x="514" y="686"/>
                      </a:lnTo>
                      <a:lnTo>
                        <a:pt x="514" y="690"/>
                      </a:lnTo>
                      <a:lnTo>
                        <a:pt x="518" y="690"/>
                      </a:lnTo>
                      <a:lnTo>
                        <a:pt x="518" y="686"/>
                      </a:lnTo>
                      <a:lnTo>
                        <a:pt x="518" y="690"/>
                      </a:lnTo>
                      <a:lnTo>
                        <a:pt x="522" y="686"/>
                      </a:lnTo>
                      <a:lnTo>
                        <a:pt x="522" y="690"/>
                      </a:lnTo>
                      <a:lnTo>
                        <a:pt x="522" y="694"/>
                      </a:lnTo>
                      <a:lnTo>
                        <a:pt x="522" y="690"/>
                      </a:lnTo>
                      <a:lnTo>
                        <a:pt x="526" y="690"/>
                      </a:lnTo>
                      <a:lnTo>
                        <a:pt x="526" y="694"/>
                      </a:lnTo>
                      <a:lnTo>
                        <a:pt x="522" y="694"/>
                      </a:lnTo>
                      <a:lnTo>
                        <a:pt x="522" y="698"/>
                      </a:lnTo>
                      <a:lnTo>
                        <a:pt x="526" y="698"/>
                      </a:lnTo>
                      <a:lnTo>
                        <a:pt x="522" y="698"/>
                      </a:lnTo>
                      <a:lnTo>
                        <a:pt x="522" y="702"/>
                      </a:lnTo>
                      <a:lnTo>
                        <a:pt x="518" y="698"/>
                      </a:lnTo>
                      <a:lnTo>
                        <a:pt x="518" y="702"/>
                      </a:lnTo>
                      <a:lnTo>
                        <a:pt x="514" y="702"/>
                      </a:lnTo>
                      <a:lnTo>
                        <a:pt x="514" y="698"/>
                      </a:lnTo>
                      <a:lnTo>
                        <a:pt x="518" y="698"/>
                      </a:lnTo>
                      <a:lnTo>
                        <a:pt x="518" y="694"/>
                      </a:lnTo>
                      <a:lnTo>
                        <a:pt x="514" y="694"/>
                      </a:lnTo>
                      <a:lnTo>
                        <a:pt x="514" y="698"/>
                      </a:lnTo>
                      <a:lnTo>
                        <a:pt x="510" y="698"/>
                      </a:lnTo>
                      <a:lnTo>
                        <a:pt x="510" y="694"/>
                      </a:lnTo>
                      <a:lnTo>
                        <a:pt x="510" y="694"/>
                      </a:lnTo>
                      <a:lnTo>
                        <a:pt x="510" y="694"/>
                      </a:lnTo>
                      <a:close/>
                      <a:moveTo>
                        <a:pt x="504" y="690"/>
                      </a:moveTo>
                      <a:lnTo>
                        <a:pt x="504" y="686"/>
                      </a:lnTo>
                      <a:lnTo>
                        <a:pt x="504" y="690"/>
                      </a:lnTo>
                      <a:lnTo>
                        <a:pt x="504" y="690"/>
                      </a:lnTo>
                      <a:lnTo>
                        <a:pt x="504" y="690"/>
                      </a:lnTo>
                      <a:close/>
                      <a:moveTo>
                        <a:pt x="548" y="702"/>
                      </a:moveTo>
                      <a:lnTo>
                        <a:pt x="544" y="702"/>
                      </a:lnTo>
                      <a:lnTo>
                        <a:pt x="544" y="698"/>
                      </a:lnTo>
                      <a:lnTo>
                        <a:pt x="544" y="694"/>
                      </a:lnTo>
                      <a:lnTo>
                        <a:pt x="548" y="694"/>
                      </a:lnTo>
                      <a:lnTo>
                        <a:pt x="548" y="690"/>
                      </a:lnTo>
                      <a:lnTo>
                        <a:pt x="548" y="686"/>
                      </a:lnTo>
                      <a:lnTo>
                        <a:pt x="552" y="686"/>
                      </a:lnTo>
                      <a:lnTo>
                        <a:pt x="552" y="690"/>
                      </a:lnTo>
                      <a:lnTo>
                        <a:pt x="548" y="690"/>
                      </a:lnTo>
                      <a:lnTo>
                        <a:pt x="552" y="694"/>
                      </a:lnTo>
                      <a:lnTo>
                        <a:pt x="552" y="698"/>
                      </a:lnTo>
                      <a:lnTo>
                        <a:pt x="548" y="698"/>
                      </a:lnTo>
                      <a:lnTo>
                        <a:pt x="548" y="694"/>
                      </a:lnTo>
                      <a:lnTo>
                        <a:pt x="548" y="698"/>
                      </a:lnTo>
                      <a:lnTo>
                        <a:pt x="548" y="702"/>
                      </a:lnTo>
                      <a:lnTo>
                        <a:pt x="548" y="702"/>
                      </a:lnTo>
                      <a:lnTo>
                        <a:pt x="548" y="702"/>
                      </a:lnTo>
                      <a:close/>
                      <a:moveTo>
                        <a:pt x="532" y="698"/>
                      </a:moveTo>
                      <a:lnTo>
                        <a:pt x="532" y="702"/>
                      </a:lnTo>
                      <a:lnTo>
                        <a:pt x="530" y="702"/>
                      </a:lnTo>
                      <a:lnTo>
                        <a:pt x="530" y="698"/>
                      </a:lnTo>
                      <a:lnTo>
                        <a:pt x="530" y="702"/>
                      </a:lnTo>
                      <a:lnTo>
                        <a:pt x="532" y="702"/>
                      </a:lnTo>
                      <a:lnTo>
                        <a:pt x="530" y="706"/>
                      </a:lnTo>
                      <a:lnTo>
                        <a:pt x="530" y="702"/>
                      </a:lnTo>
                      <a:lnTo>
                        <a:pt x="526" y="702"/>
                      </a:lnTo>
                      <a:lnTo>
                        <a:pt x="526" y="698"/>
                      </a:lnTo>
                      <a:lnTo>
                        <a:pt x="530" y="698"/>
                      </a:lnTo>
                      <a:lnTo>
                        <a:pt x="530" y="694"/>
                      </a:lnTo>
                      <a:lnTo>
                        <a:pt x="532" y="694"/>
                      </a:lnTo>
                      <a:lnTo>
                        <a:pt x="532" y="698"/>
                      </a:lnTo>
                      <a:lnTo>
                        <a:pt x="532" y="698"/>
                      </a:lnTo>
                      <a:lnTo>
                        <a:pt x="532" y="698"/>
                      </a:lnTo>
                      <a:close/>
                      <a:moveTo>
                        <a:pt x="536" y="698"/>
                      </a:moveTo>
                      <a:lnTo>
                        <a:pt x="540" y="698"/>
                      </a:lnTo>
                      <a:lnTo>
                        <a:pt x="544" y="702"/>
                      </a:lnTo>
                      <a:lnTo>
                        <a:pt x="544" y="706"/>
                      </a:lnTo>
                      <a:lnTo>
                        <a:pt x="540" y="706"/>
                      </a:lnTo>
                      <a:lnTo>
                        <a:pt x="536" y="706"/>
                      </a:lnTo>
                      <a:lnTo>
                        <a:pt x="536" y="702"/>
                      </a:lnTo>
                      <a:lnTo>
                        <a:pt x="532" y="702"/>
                      </a:lnTo>
                      <a:lnTo>
                        <a:pt x="532" y="698"/>
                      </a:lnTo>
                      <a:lnTo>
                        <a:pt x="536" y="698"/>
                      </a:lnTo>
                      <a:lnTo>
                        <a:pt x="536" y="698"/>
                      </a:lnTo>
                      <a:lnTo>
                        <a:pt x="536" y="698"/>
                      </a:lnTo>
                      <a:close/>
                      <a:moveTo>
                        <a:pt x="510" y="702"/>
                      </a:moveTo>
                      <a:lnTo>
                        <a:pt x="506" y="698"/>
                      </a:lnTo>
                      <a:lnTo>
                        <a:pt x="510" y="698"/>
                      </a:lnTo>
                      <a:lnTo>
                        <a:pt x="510" y="702"/>
                      </a:lnTo>
                      <a:lnTo>
                        <a:pt x="510" y="702"/>
                      </a:lnTo>
                      <a:lnTo>
                        <a:pt x="510" y="702"/>
                      </a:lnTo>
                      <a:close/>
                      <a:moveTo>
                        <a:pt x="552" y="702"/>
                      </a:moveTo>
                      <a:lnTo>
                        <a:pt x="548" y="698"/>
                      </a:lnTo>
                      <a:lnTo>
                        <a:pt x="552" y="698"/>
                      </a:lnTo>
                      <a:lnTo>
                        <a:pt x="552" y="702"/>
                      </a:lnTo>
                      <a:lnTo>
                        <a:pt x="552" y="702"/>
                      </a:lnTo>
                      <a:lnTo>
                        <a:pt x="552" y="702"/>
                      </a:lnTo>
                      <a:close/>
                      <a:moveTo>
                        <a:pt x="526" y="698"/>
                      </a:moveTo>
                      <a:lnTo>
                        <a:pt x="526" y="702"/>
                      </a:lnTo>
                      <a:lnTo>
                        <a:pt x="522" y="702"/>
                      </a:lnTo>
                      <a:lnTo>
                        <a:pt x="522" y="698"/>
                      </a:lnTo>
                      <a:lnTo>
                        <a:pt x="526" y="698"/>
                      </a:lnTo>
                      <a:lnTo>
                        <a:pt x="526" y="698"/>
                      </a:lnTo>
                      <a:lnTo>
                        <a:pt x="526" y="698"/>
                      </a:lnTo>
                      <a:close/>
                      <a:moveTo>
                        <a:pt x="522" y="706"/>
                      </a:moveTo>
                      <a:lnTo>
                        <a:pt x="526" y="706"/>
                      </a:lnTo>
                      <a:lnTo>
                        <a:pt x="522" y="706"/>
                      </a:lnTo>
                      <a:lnTo>
                        <a:pt x="522" y="706"/>
                      </a:lnTo>
                      <a:lnTo>
                        <a:pt x="522" y="706"/>
                      </a:lnTo>
                      <a:close/>
                      <a:moveTo>
                        <a:pt x="540" y="716"/>
                      </a:moveTo>
                      <a:lnTo>
                        <a:pt x="536" y="716"/>
                      </a:lnTo>
                      <a:lnTo>
                        <a:pt x="540" y="716"/>
                      </a:lnTo>
                      <a:lnTo>
                        <a:pt x="544" y="716"/>
                      </a:lnTo>
                      <a:lnTo>
                        <a:pt x="540" y="716"/>
                      </a:lnTo>
                      <a:lnTo>
                        <a:pt x="540" y="716"/>
                      </a:lnTo>
                      <a:lnTo>
                        <a:pt x="540" y="716"/>
                      </a:lnTo>
                      <a:close/>
                      <a:moveTo>
                        <a:pt x="552" y="716"/>
                      </a:moveTo>
                      <a:lnTo>
                        <a:pt x="548" y="716"/>
                      </a:lnTo>
                      <a:lnTo>
                        <a:pt x="552" y="716"/>
                      </a:lnTo>
                      <a:lnTo>
                        <a:pt x="552" y="716"/>
                      </a:lnTo>
                      <a:lnTo>
                        <a:pt x="552" y="716"/>
                      </a:lnTo>
                      <a:close/>
                      <a:moveTo>
                        <a:pt x="560" y="720"/>
                      </a:moveTo>
                      <a:lnTo>
                        <a:pt x="560" y="716"/>
                      </a:lnTo>
                      <a:lnTo>
                        <a:pt x="562" y="716"/>
                      </a:lnTo>
                      <a:lnTo>
                        <a:pt x="566" y="716"/>
                      </a:lnTo>
                      <a:lnTo>
                        <a:pt x="570" y="720"/>
                      </a:lnTo>
                      <a:lnTo>
                        <a:pt x="566" y="720"/>
                      </a:lnTo>
                      <a:lnTo>
                        <a:pt x="562" y="720"/>
                      </a:lnTo>
                      <a:lnTo>
                        <a:pt x="560" y="720"/>
                      </a:lnTo>
                      <a:lnTo>
                        <a:pt x="560" y="720"/>
                      </a:lnTo>
                      <a:lnTo>
                        <a:pt x="560" y="720"/>
                      </a:lnTo>
                      <a:close/>
                      <a:moveTo>
                        <a:pt x="552" y="716"/>
                      </a:moveTo>
                      <a:lnTo>
                        <a:pt x="548" y="716"/>
                      </a:lnTo>
                      <a:lnTo>
                        <a:pt x="548" y="720"/>
                      </a:lnTo>
                      <a:lnTo>
                        <a:pt x="552" y="720"/>
                      </a:lnTo>
                      <a:lnTo>
                        <a:pt x="552" y="724"/>
                      </a:lnTo>
                      <a:lnTo>
                        <a:pt x="552" y="720"/>
                      </a:lnTo>
                      <a:lnTo>
                        <a:pt x="552" y="724"/>
                      </a:lnTo>
                      <a:lnTo>
                        <a:pt x="548" y="724"/>
                      </a:lnTo>
                      <a:lnTo>
                        <a:pt x="548" y="720"/>
                      </a:lnTo>
                      <a:lnTo>
                        <a:pt x="548" y="724"/>
                      </a:lnTo>
                      <a:lnTo>
                        <a:pt x="548" y="720"/>
                      </a:lnTo>
                      <a:lnTo>
                        <a:pt x="544" y="720"/>
                      </a:lnTo>
                      <a:lnTo>
                        <a:pt x="544" y="716"/>
                      </a:lnTo>
                      <a:lnTo>
                        <a:pt x="548" y="720"/>
                      </a:lnTo>
                      <a:lnTo>
                        <a:pt x="548" y="716"/>
                      </a:lnTo>
                      <a:lnTo>
                        <a:pt x="552" y="716"/>
                      </a:lnTo>
                      <a:lnTo>
                        <a:pt x="552" y="716"/>
                      </a:lnTo>
                      <a:lnTo>
                        <a:pt x="552" y="716"/>
                      </a:lnTo>
                      <a:close/>
                      <a:moveTo>
                        <a:pt x="586" y="716"/>
                      </a:moveTo>
                      <a:lnTo>
                        <a:pt x="590" y="716"/>
                      </a:lnTo>
                      <a:lnTo>
                        <a:pt x="592" y="716"/>
                      </a:lnTo>
                      <a:lnTo>
                        <a:pt x="596" y="716"/>
                      </a:lnTo>
                      <a:lnTo>
                        <a:pt x="596" y="720"/>
                      </a:lnTo>
                      <a:lnTo>
                        <a:pt x="600" y="720"/>
                      </a:lnTo>
                      <a:lnTo>
                        <a:pt x="600" y="724"/>
                      </a:lnTo>
                      <a:lnTo>
                        <a:pt x="596" y="724"/>
                      </a:lnTo>
                      <a:lnTo>
                        <a:pt x="596" y="728"/>
                      </a:lnTo>
                      <a:lnTo>
                        <a:pt x="592" y="724"/>
                      </a:lnTo>
                      <a:lnTo>
                        <a:pt x="590" y="724"/>
                      </a:lnTo>
                      <a:lnTo>
                        <a:pt x="586" y="724"/>
                      </a:lnTo>
                      <a:lnTo>
                        <a:pt x="590" y="724"/>
                      </a:lnTo>
                      <a:lnTo>
                        <a:pt x="586" y="724"/>
                      </a:lnTo>
                      <a:lnTo>
                        <a:pt x="582" y="724"/>
                      </a:lnTo>
                      <a:lnTo>
                        <a:pt x="582" y="720"/>
                      </a:lnTo>
                      <a:lnTo>
                        <a:pt x="582" y="716"/>
                      </a:lnTo>
                      <a:lnTo>
                        <a:pt x="586" y="716"/>
                      </a:lnTo>
                      <a:lnTo>
                        <a:pt x="586" y="716"/>
                      </a:lnTo>
                      <a:lnTo>
                        <a:pt x="586" y="716"/>
                      </a:lnTo>
                      <a:close/>
                      <a:moveTo>
                        <a:pt x="556" y="720"/>
                      </a:moveTo>
                      <a:lnTo>
                        <a:pt x="556" y="716"/>
                      </a:lnTo>
                      <a:lnTo>
                        <a:pt x="556" y="720"/>
                      </a:lnTo>
                      <a:lnTo>
                        <a:pt x="556" y="720"/>
                      </a:lnTo>
                      <a:lnTo>
                        <a:pt x="556" y="720"/>
                      </a:lnTo>
                      <a:close/>
                      <a:moveTo>
                        <a:pt x="586" y="736"/>
                      </a:moveTo>
                      <a:lnTo>
                        <a:pt x="582" y="736"/>
                      </a:lnTo>
                      <a:lnTo>
                        <a:pt x="582" y="732"/>
                      </a:lnTo>
                      <a:lnTo>
                        <a:pt x="578" y="732"/>
                      </a:lnTo>
                      <a:lnTo>
                        <a:pt x="578" y="728"/>
                      </a:lnTo>
                      <a:lnTo>
                        <a:pt x="574" y="728"/>
                      </a:lnTo>
                      <a:lnTo>
                        <a:pt x="574" y="732"/>
                      </a:lnTo>
                      <a:lnTo>
                        <a:pt x="570" y="728"/>
                      </a:lnTo>
                      <a:lnTo>
                        <a:pt x="574" y="728"/>
                      </a:lnTo>
                      <a:lnTo>
                        <a:pt x="570" y="728"/>
                      </a:lnTo>
                      <a:lnTo>
                        <a:pt x="574" y="724"/>
                      </a:lnTo>
                      <a:lnTo>
                        <a:pt x="570" y="724"/>
                      </a:lnTo>
                      <a:lnTo>
                        <a:pt x="566" y="724"/>
                      </a:lnTo>
                      <a:lnTo>
                        <a:pt x="566" y="728"/>
                      </a:lnTo>
                      <a:lnTo>
                        <a:pt x="570" y="728"/>
                      </a:lnTo>
                      <a:lnTo>
                        <a:pt x="570" y="732"/>
                      </a:lnTo>
                      <a:lnTo>
                        <a:pt x="566" y="732"/>
                      </a:lnTo>
                      <a:lnTo>
                        <a:pt x="562" y="728"/>
                      </a:lnTo>
                      <a:lnTo>
                        <a:pt x="566" y="728"/>
                      </a:lnTo>
                      <a:lnTo>
                        <a:pt x="562" y="728"/>
                      </a:lnTo>
                      <a:lnTo>
                        <a:pt x="560" y="728"/>
                      </a:lnTo>
                      <a:lnTo>
                        <a:pt x="562" y="724"/>
                      </a:lnTo>
                      <a:lnTo>
                        <a:pt x="560" y="724"/>
                      </a:lnTo>
                      <a:lnTo>
                        <a:pt x="556" y="724"/>
                      </a:lnTo>
                      <a:lnTo>
                        <a:pt x="560" y="720"/>
                      </a:lnTo>
                      <a:lnTo>
                        <a:pt x="562" y="720"/>
                      </a:lnTo>
                      <a:lnTo>
                        <a:pt x="566" y="720"/>
                      </a:lnTo>
                      <a:lnTo>
                        <a:pt x="570" y="720"/>
                      </a:lnTo>
                      <a:lnTo>
                        <a:pt x="574" y="720"/>
                      </a:lnTo>
                      <a:lnTo>
                        <a:pt x="574" y="716"/>
                      </a:lnTo>
                      <a:lnTo>
                        <a:pt x="578" y="716"/>
                      </a:lnTo>
                      <a:lnTo>
                        <a:pt x="582" y="720"/>
                      </a:lnTo>
                      <a:lnTo>
                        <a:pt x="578" y="724"/>
                      </a:lnTo>
                      <a:lnTo>
                        <a:pt x="574" y="724"/>
                      </a:lnTo>
                      <a:lnTo>
                        <a:pt x="574" y="720"/>
                      </a:lnTo>
                      <a:lnTo>
                        <a:pt x="570" y="720"/>
                      </a:lnTo>
                      <a:lnTo>
                        <a:pt x="574" y="724"/>
                      </a:lnTo>
                      <a:lnTo>
                        <a:pt x="578" y="724"/>
                      </a:lnTo>
                      <a:lnTo>
                        <a:pt x="582" y="724"/>
                      </a:lnTo>
                      <a:lnTo>
                        <a:pt x="578" y="728"/>
                      </a:lnTo>
                      <a:lnTo>
                        <a:pt x="578" y="724"/>
                      </a:lnTo>
                      <a:lnTo>
                        <a:pt x="574" y="724"/>
                      </a:lnTo>
                      <a:lnTo>
                        <a:pt x="578" y="728"/>
                      </a:lnTo>
                      <a:lnTo>
                        <a:pt x="582" y="728"/>
                      </a:lnTo>
                      <a:lnTo>
                        <a:pt x="582" y="732"/>
                      </a:lnTo>
                      <a:lnTo>
                        <a:pt x="586" y="728"/>
                      </a:lnTo>
                      <a:lnTo>
                        <a:pt x="586" y="732"/>
                      </a:lnTo>
                      <a:lnTo>
                        <a:pt x="586" y="736"/>
                      </a:lnTo>
                      <a:lnTo>
                        <a:pt x="586" y="736"/>
                      </a:lnTo>
                      <a:lnTo>
                        <a:pt x="586" y="736"/>
                      </a:lnTo>
                      <a:close/>
                      <a:moveTo>
                        <a:pt x="600" y="720"/>
                      </a:moveTo>
                      <a:lnTo>
                        <a:pt x="596" y="720"/>
                      </a:lnTo>
                      <a:lnTo>
                        <a:pt x="600" y="720"/>
                      </a:lnTo>
                      <a:lnTo>
                        <a:pt x="600" y="720"/>
                      </a:lnTo>
                      <a:lnTo>
                        <a:pt x="600" y="720"/>
                      </a:lnTo>
                      <a:close/>
                      <a:moveTo>
                        <a:pt x="604" y="724"/>
                      </a:moveTo>
                      <a:lnTo>
                        <a:pt x="608" y="724"/>
                      </a:lnTo>
                      <a:lnTo>
                        <a:pt x="604" y="724"/>
                      </a:lnTo>
                      <a:lnTo>
                        <a:pt x="604" y="724"/>
                      </a:lnTo>
                      <a:lnTo>
                        <a:pt x="604" y="724"/>
                      </a:lnTo>
                      <a:close/>
                      <a:moveTo>
                        <a:pt x="600" y="724"/>
                      </a:moveTo>
                      <a:lnTo>
                        <a:pt x="600" y="728"/>
                      </a:lnTo>
                      <a:lnTo>
                        <a:pt x="596" y="724"/>
                      </a:lnTo>
                      <a:lnTo>
                        <a:pt x="600" y="724"/>
                      </a:lnTo>
                      <a:lnTo>
                        <a:pt x="600" y="724"/>
                      </a:lnTo>
                      <a:lnTo>
                        <a:pt x="600" y="724"/>
                      </a:lnTo>
                      <a:close/>
                      <a:moveTo>
                        <a:pt x="590" y="732"/>
                      </a:moveTo>
                      <a:lnTo>
                        <a:pt x="592" y="732"/>
                      </a:lnTo>
                      <a:lnTo>
                        <a:pt x="590" y="732"/>
                      </a:lnTo>
                      <a:lnTo>
                        <a:pt x="590" y="732"/>
                      </a:lnTo>
                      <a:lnTo>
                        <a:pt x="590" y="732"/>
                      </a:lnTo>
                      <a:close/>
                      <a:moveTo>
                        <a:pt x="592" y="736"/>
                      </a:moveTo>
                      <a:lnTo>
                        <a:pt x="592" y="732"/>
                      </a:lnTo>
                      <a:lnTo>
                        <a:pt x="596" y="736"/>
                      </a:lnTo>
                      <a:lnTo>
                        <a:pt x="592" y="736"/>
                      </a:lnTo>
                      <a:lnTo>
                        <a:pt x="592" y="736"/>
                      </a:lnTo>
                      <a:lnTo>
                        <a:pt x="592" y="736"/>
                      </a:lnTo>
                      <a:close/>
                      <a:moveTo>
                        <a:pt x="590" y="738"/>
                      </a:moveTo>
                      <a:lnTo>
                        <a:pt x="592" y="738"/>
                      </a:lnTo>
                      <a:lnTo>
                        <a:pt x="592" y="736"/>
                      </a:lnTo>
                      <a:lnTo>
                        <a:pt x="592" y="738"/>
                      </a:lnTo>
                      <a:lnTo>
                        <a:pt x="590" y="738"/>
                      </a:lnTo>
                      <a:lnTo>
                        <a:pt x="590" y="738"/>
                      </a:lnTo>
                      <a:lnTo>
                        <a:pt x="590" y="738"/>
                      </a:lnTo>
                      <a:close/>
                      <a:moveTo>
                        <a:pt x="596" y="738"/>
                      </a:moveTo>
                      <a:lnTo>
                        <a:pt x="592" y="738"/>
                      </a:lnTo>
                      <a:lnTo>
                        <a:pt x="596" y="738"/>
                      </a:lnTo>
                      <a:lnTo>
                        <a:pt x="596" y="738"/>
                      </a:lnTo>
                      <a:lnTo>
                        <a:pt x="596" y="738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5" name="Freeform 192"/>
                <p:cNvSpPr>
                  <a:spLocks noEditPoints="1"/>
                </p:cNvSpPr>
                <p:nvPr/>
              </p:nvSpPr>
              <p:spPr bwMode="auto">
                <a:xfrm>
                  <a:off x="7559675" y="4600643"/>
                  <a:ext cx="336550" cy="276225"/>
                </a:xfrm>
                <a:custGeom>
                  <a:avLst/>
                  <a:gdLst>
                    <a:gd name="T0" fmla="*/ 88 w 212"/>
                    <a:gd name="T1" fmla="*/ 6 h 174"/>
                    <a:gd name="T2" fmla="*/ 78 w 212"/>
                    <a:gd name="T3" fmla="*/ 14 h 174"/>
                    <a:gd name="T4" fmla="*/ 134 w 212"/>
                    <a:gd name="T5" fmla="*/ 22 h 174"/>
                    <a:gd name="T6" fmla="*/ 134 w 212"/>
                    <a:gd name="T7" fmla="*/ 22 h 174"/>
                    <a:gd name="T8" fmla="*/ 166 w 212"/>
                    <a:gd name="T9" fmla="*/ 58 h 174"/>
                    <a:gd name="T10" fmla="*/ 156 w 212"/>
                    <a:gd name="T11" fmla="*/ 32 h 174"/>
                    <a:gd name="T12" fmla="*/ 138 w 212"/>
                    <a:gd name="T13" fmla="*/ 22 h 174"/>
                    <a:gd name="T14" fmla="*/ 152 w 212"/>
                    <a:gd name="T15" fmla="*/ 28 h 174"/>
                    <a:gd name="T16" fmla="*/ 164 w 212"/>
                    <a:gd name="T17" fmla="*/ 40 h 174"/>
                    <a:gd name="T18" fmla="*/ 58 w 212"/>
                    <a:gd name="T19" fmla="*/ 110 h 174"/>
                    <a:gd name="T20" fmla="*/ 48 w 212"/>
                    <a:gd name="T21" fmla="*/ 106 h 174"/>
                    <a:gd name="T22" fmla="*/ 40 w 212"/>
                    <a:gd name="T23" fmla="*/ 110 h 174"/>
                    <a:gd name="T24" fmla="*/ 26 w 212"/>
                    <a:gd name="T25" fmla="*/ 114 h 174"/>
                    <a:gd name="T26" fmla="*/ 22 w 212"/>
                    <a:gd name="T27" fmla="*/ 118 h 174"/>
                    <a:gd name="T28" fmla="*/ 26 w 212"/>
                    <a:gd name="T29" fmla="*/ 132 h 174"/>
                    <a:gd name="T30" fmla="*/ 0 w 212"/>
                    <a:gd name="T31" fmla="*/ 132 h 174"/>
                    <a:gd name="T32" fmla="*/ 4 w 212"/>
                    <a:gd name="T33" fmla="*/ 18 h 174"/>
                    <a:gd name="T34" fmla="*/ 26 w 212"/>
                    <a:gd name="T35" fmla="*/ 32 h 174"/>
                    <a:gd name="T36" fmla="*/ 48 w 212"/>
                    <a:gd name="T37" fmla="*/ 40 h 174"/>
                    <a:gd name="T38" fmla="*/ 66 w 212"/>
                    <a:gd name="T39" fmla="*/ 54 h 174"/>
                    <a:gd name="T40" fmla="*/ 78 w 212"/>
                    <a:gd name="T41" fmla="*/ 72 h 174"/>
                    <a:gd name="T42" fmla="*/ 96 w 212"/>
                    <a:gd name="T43" fmla="*/ 84 h 174"/>
                    <a:gd name="T44" fmla="*/ 88 w 212"/>
                    <a:gd name="T45" fmla="*/ 102 h 174"/>
                    <a:gd name="T46" fmla="*/ 100 w 212"/>
                    <a:gd name="T47" fmla="*/ 118 h 174"/>
                    <a:gd name="T48" fmla="*/ 118 w 212"/>
                    <a:gd name="T49" fmla="*/ 128 h 174"/>
                    <a:gd name="T50" fmla="*/ 122 w 212"/>
                    <a:gd name="T51" fmla="*/ 140 h 174"/>
                    <a:gd name="T52" fmla="*/ 140 w 212"/>
                    <a:gd name="T53" fmla="*/ 148 h 174"/>
                    <a:gd name="T54" fmla="*/ 130 w 212"/>
                    <a:gd name="T55" fmla="*/ 158 h 174"/>
                    <a:gd name="T56" fmla="*/ 114 w 212"/>
                    <a:gd name="T57" fmla="*/ 152 h 174"/>
                    <a:gd name="T58" fmla="*/ 88 w 212"/>
                    <a:gd name="T59" fmla="*/ 140 h 174"/>
                    <a:gd name="T60" fmla="*/ 78 w 212"/>
                    <a:gd name="T61" fmla="*/ 128 h 174"/>
                    <a:gd name="T62" fmla="*/ 138 w 212"/>
                    <a:gd name="T63" fmla="*/ 26 h 174"/>
                    <a:gd name="T64" fmla="*/ 114 w 212"/>
                    <a:gd name="T65" fmla="*/ 70 h 174"/>
                    <a:gd name="T66" fmla="*/ 126 w 212"/>
                    <a:gd name="T67" fmla="*/ 62 h 174"/>
                    <a:gd name="T68" fmla="*/ 140 w 212"/>
                    <a:gd name="T69" fmla="*/ 66 h 174"/>
                    <a:gd name="T70" fmla="*/ 152 w 212"/>
                    <a:gd name="T71" fmla="*/ 46 h 174"/>
                    <a:gd name="T72" fmla="*/ 156 w 212"/>
                    <a:gd name="T73" fmla="*/ 58 h 174"/>
                    <a:gd name="T74" fmla="*/ 144 w 212"/>
                    <a:gd name="T75" fmla="*/ 76 h 174"/>
                    <a:gd name="T76" fmla="*/ 118 w 212"/>
                    <a:gd name="T77" fmla="*/ 80 h 174"/>
                    <a:gd name="T78" fmla="*/ 104 w 212"/>
                    <a:gd name="T79" fmla="*/ 70 h 174"/>
                    <a:gd name="T80" fmla="*/ 70 w 212"/>
                    <a:gd name="T81" fmla="*/ 54 h 174"/>
                    <a:gd name="T82" fmla="*/ 194 w 212"/>
                    <a:gd name="T83" fmla="*/ 62 h 174"/>
                    <a:gd name="T84" fmla="*/ 84 w 212"/>
                    <a:gd name="T85" fmla="*/ 62 h 174"/>
                    <a:gd name="T86" fmla="*/ 208 w 212"/>
                    <a:gd name="T87" fmla="*/ 84 h 174"/>
                    <a:gd name="T88" fmla="*/ 200 w 212"/>
                    <a:gd name="T89" fmla="*/ 80 h 174"/>
                    <a:gd name="T90" fmla="*/ 204 w 212"/>
                    <a:gd name="T91" fmla="*/ 76 h 174"/>
                    <a:gd name="T92" fmla="*/ 100 w 212"/>
                    <a:gd name="T93" fmla="*/ 72 h 174"/>
                    <a:gd name="T94" fmla="*/ 36 w 212"/>
                    <a:gd name="T95" fmla="*/ 122 h 174"/>
                    <a:gd name="T96" fmla="*/ 36 w 212"/>
                    <a:gd name="T97" fmla="*/ 126 h 174"/>
                    <a:gd name="T98" fmla="*/ 144 w 212"/>
                    <a:gd name="T99" fmla="*/ 126 h 174"/>
                    <a:gd name="T100" fmla="*/ 166 w 212"/>
                    <a:gd name="T101" fmla="*/ 132 h 174"/>
                    <a:gd name="T102" fmla="*/ 34 w 212"/>
                    <a:gd name="T103" fmla="*/ 128 h 174"/>
                    <a:gd name="T104" fmla="*/ 134 w 212"/>
                    <a:gd name="T105" fmla="*/ 140 h 174"/>
                    <a:gd name="T106" fmla="*/ 138 w 212"/>
                    <a:gd name="T107" fmla="*/ 140 h 174"/>
                    <a:gd name="T108" fmla="*/ 140 w 212"/>
                    <a:gd name="T109" fmla="*/ 148 h 174"/>
                    <a:gd name="T110" fmla="*/ 140 w 212"/>
                    <a:gd name="T111" fmla="*/ 156 h 174"/>
                    <a:gd name="T112" fmla="*/ 166 w 212"/>
                    <a:gd name="T113" fmla="*/ 158 h 174"/>
                    <a:gd name="T114" fmla="*/ 186 w 212"/>
                    <a:gd name="T115" fmla="*/ 170 h 174"/>
                    <a:gd name="T116" fmla="*/ 178 w 212"/>
                    <a:gd name="T117" fmla="*/ 170 h 1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12" h="174">
                      <a:moveTo>
                        <a:pt x="122" y="2"/>
                      </a:moveTo>
                      <a:lnTo>
                        <a:pt x="122" y="0"/>
                      </a:lnTo>
                      <a:lnTo>
                        <a:pt x="118" y="0"/>
                      </a:lnTo>
                      <a:lnTo>
                        <a:pt x="122" y="0"/>
                      </a:lnTo>
                      <a:lnTo>
                        <a:pt x="122" y="2"/>
                      </a:lnTo>
                      <a:lnTo>
                        <a:pt x="122" y="2"/>
                      </a:lnTo>
                      <a:lnTo>
                        <a:pt x="122" y="2"/>
                      </a:lnTo>
                      <a:close/>
                      <a:moveTo>
                        <a:pt x="88" y="6"/>
                      </a:moveTo>
                      <a:lnTo>
                        <a:pt x="88" y="10"/>
                      </a:lnTo>
                      <a:lnTo>
                        <a:pt x="92" y="10"/>
                      </a:lnTo>
                      <a:lnTo>
                        <a:pt x="88" y="10"/>
                      </a:lnTo>
                      <a:lnTo>
                        <a:pt x="88" y="14"/>
                      </a:lnTo>
                      <a:lnTo>
                        <a:pt x="84" y="14"/>
                      </a:lnTo>
                      <a:lnTo>
                        <a:pt x="80" y="14"/>
                      </a:lnTo>
                      <a:lnTo>
                        <a:pt x="80" y="10"/>
                      </a:lnTo>
                      <a:lnTo>
                        <a:pt x="78" y="14"/>
                      </a:lnTo>
                      <a:lnTo>
                        <a:pt x="78" y="10"/>
                      </a:lnTo>
                      <a:lnTo>
                        <a:pt x="80" y="6"/>
                      </a:lnTo>
                      <a:lnTo>
                        <a:pt x="84" y="10"/>
                      </a:lnTo>
                      <a:lnTo>
                        <a:pt x="88" y="10"/>
                      </a:lnTo>
                      <a:lnTo>
                        <a:pt x="88" y="6"/>
                      </a:lnTo>
                      <a:lnTo>
                        <a:pt x="88" y="6"/>
                      </a:lnTo>
                      <a:lnTo>
                        <a:pt x="88" y="6"/>
                      </a:lnTo>
                      <a:close/>
                      <a:moveTo>
                        <a:pt x="134" y="22"/>
                      </a:moveTo>
                      <a:lnTo>
                        <a:pt x="130" y="22"/>
                      </a:lnTo>
                      <a:lnTo>
                        <a:pt x="126" y="18"/>
                      </a:lnTo>
                      <a:lnTo>
                        <a:pt x="130" y="18"/>
                      </a:lnTo>
                      <a:lnTo>
                        <a:pt x="130" y="14"/>
                      </a:lnTo>
                      <a:lnTo>
                        <a:pt x="134" y="18"/>
                      </a:lnTo>
                      <a:lnTo>
                        <a:pt x="134" y="22"/>
                      </a:lnTo>
                      <a:lnTo>
                        <a:pt x="134" y="22"/>
                      </a:lnTo>
                      <a:lnTo>
                        <a:pt x="134" y="22"/>
                      </a:lnTo>
                      <a:close/>
                      <a:moveTo>
                        <a:pt x="164" y="40"/>
                      </a:moveTo>
                      <a:lnTo>
                        <a:pt x="166" y="40"/>
                      </a:lnTo>
                      <a:lnTo>
                        <a:pt x="166" y="44"/>
                      </a:lnTo>
                      <a:lnTo>
                        <a:pt x="170" y="44"/>
                      </a:lnTo>
                      <a:lnTo>
                        <a:pt x="170" y="46"/>
                      </a:lnTo>
                      <a:lnTo>
                        <a:pt x="170" y="50"/>
                      </a:lnTo>
                      <a:lnTo>
                        <a:pt x="170" y="54"/>
                      </a:lnTo>
                      <a:lnTo>
                        <a:pt x="166" y="58"/>
                      </a:lnTo>
                      <a:lnTo>
                        <a:pt x="166" y="54"/>
                      </a:lnTo>
                      <a:lnTo>
                        <a:pt x="164" y="50"/>
                      </a:lnTo>
                      <a:lnTo>
                        <a:pt x="164" y="46"/>
                      </a:lnTo>
                      <a:lnTo>
                        <a:pt x="164" y="44"/>
                      </a:lnTo>
                      <a:lnTo>
                        <a:pt x="164" y="40"/>
                      </a:lnTo>
                      <a:lnTo>
                        <a:pt x="160" y="40"/>
                      </a:lnTo>
                      <a:lnTo>
                        <a:pt x="160" y="36"/>
                      </a:lnTo>
                      <a:lnTo>
                        <a:pt x="156" y="32"/>
                      </a:lnTo>
                      <a:lnTo>
                        <a:pt x="152" y="32"/>
                      </a:lnTo>
                      <a:lnTo>
                        <a:pt x="152" y="28"/>
                      </a:lnTo>
                      <a:lnTo>
                        <a:pt x="148" y="28"/>
                      </a:lnTo>
                      <a:lnTo>
                        <a:pt x="148" y="26"/>
                      </a:lnTo>
                      <a:lnTo>
                        <a:pt x="144" y="26"/>
                      </a:lnTo>
                      <a:lnTo>
                        <a:pt x="140" y="26"/>
                      </a:lnTo>
                      <a:lnTo>
                        <a:pt x="140" y="22"/>
                      </a:lnTo>
                      <a:lnTo>
                        <a:pt x="138" y="22"/>
                      </a:lnTo>
                      <a:lnTo>
                        <a:pt x="140" y="22"/>
                      </a:lnTo>
                      <a:lnTo>
                        <a:pt x="138" y="22"/>
                      </a:lnTo>
                      <a:lnTo>
                        <a:pt x="138" y="18"/>
                      </a:lnTo>
                      <a:lnTo>
                        <a:pt x="140" y="22"/>
                      </a:lnTo>
                      <a:lnTo>
                        <a:pt x="144" y="22"/>
                      </a:lnTo>
                      <a:lnTo>
                        <a:pt x="144" y="26"/>
                      </a:lnTo>
                      <a:lnTo>
                        <a:pt x="148" y="26"/>
                      </a:lnTo>
                      <a:lnTo>
                        <a:pt x="152" y="28"/>
                      </a:lnTo>
                      <a:lnTo>
                        <a:pt x="156" y="28"/>
                      </a:lnTo>
                      <a:lnTo>
                        <a:pt x="156" y="32"/>
                      </a:lnTo>
                      <a:lnTo>
                        <a:pt x="160" y="32"/>
                      </a:lnTo>
                      <a:lnTo>
                        <a:pt x="160" y="36"/>
                      </a:lnTo>
                      <a:lnTo>
                        <a:pt x="164" y="36"/>
                      </a:lnTo>
                      <a:lnTo>
                        <a:pt x="164" y="40"/>
                      </a:lnTo>
                      <a:lnTo>
                        <a:pt x="164" y="40"/>
                      </a:lnTo>
                      <a:lnTo>
                        <a:pt x="164" y="40"/>
                      </a:lnTo>
                      <a:close/>
                      <a:moveTo>
                        <a:pt x="74" y="122"/>
                      </a:moveTo>
                      <a:lnTo>
                        <a:pt x="74" y="118"/>
                      </a:lnTo>
                      <a:lnTo>
                        <a:pt x="74" y="114"/>
                      </a:lnTo>
                      <a:lnTo>
                        <a:pt x="70" y="114"/>
                      </a:lnTo>
                      <a:lnTo>
                        <a:pt x="70" y="110"/>
                      </a:lnTo>
                      <a:lnTo>
                        <a:pt x="66" y="110"/>
                      </a:lnTo>
                      <a:lnTo>
                        <a:pt x="62" y="110"/>
                      </a:lnTo>
                      <a:lnTo>
                        <a:pt x="58" y="110"/>
                      </a:lnTo>
                      <a:lnTo>
                        <a:pt x="58" y="106"/>
                      </a:lnTo>
                      <a:lnTo>
                        <a:pt x="54" y="106"/>
                      </a:lnTo>
                      <a:lnTo>
                        <a:pt x="54" y="102"/>
                      </a:lnTo>
                      <a:lnTo>
                        <a:pt x="54" y="106"/>
                      </a:lnTo>
                      <a:lnTo>
                        <a:pt x="52" y="106"/>
                      </a:lnTo>
                      <a:lnTo>
                        <a:pt x="52" y="102"/>
                      </a:lnTo>
                      <a:lnTo>
                        <a:pt x="48" y="102"/>
                      </a:lnTo>
                      <a:lnTo>
                        <a:pt x="48" y="106"/>
                      </a:lnTo>
                      <a:lnTo>
                        <a:pt x="48" y="102"/>
                      </a:lnTo>
                      <a:lnTo>
                        <a:pt x="44" y="106"/>
                      </a:lnTo>
                      <a:lnTo>
                        <a:pt x="40" y="106"/>
                      </a:lnTo>
                      <a:lnTo>
                        <a:pt x="40" y="102"/>
                      </a:lnTo>
                      <a:lnTo>
                        <a:pt x="36" y="102"/>
                      </a:lnTo>
                      <a:lnTo>
                        <a:pt x="40" y="102"/>
                      </a:lnTo>
                      <a:lnTo>
                        <a:pt x="40" y="106"/>
                      </a:lnTo>
                      <a:lnTo>
                        <a:pt x="40" y="110"/>
                      </a:lnTo>
                      <a:lnTo>
                        <a:pt x="36" y="110"/>
                      </a:lnTo>
                      <a:lnTo>
                        <a:pt x="34" y="110"/>
                      </a:lnTo>
                      <a:lnTo>
                        <a:pt x="36" y="110"/>
                      </a:lnTo>
                      <a:lnTo>
                        <a:pt x="36" y="114"/>
                      </a:lnTo>
                      <a:lnTo>
                        <a:pt x="34" y="114"/>
                      </a:lnTo>
                      <a:lnTo>
                        <a:pt x="30" y="118"/>
                      </a:lnTo>
                      <a:lnTo>
                        <a:pt x="26" y="118"/>
                      </a:lnTo>
                      <a:lnTo>
                        <a:pt x="26" y="114"/>
                      </a:lnTo>
                      <a:lnTo>
                        <a:pt x="22" y="114"/>
                      </a:lnTo>
                      <a:lnTo>
                        <a:pt x="22" y="118"/>
                      </a:lnTo>
                      <a:lnTo>
                        <a:pt x="18" y="118"/>
                      </a:lnTo>
                      <a:lnTo>
                        <a:pt x="18" y="114"/>
                      </a:lnTo>
                      <a:lnTo>
                        <a:pt x="14" y="114"/>
                      </a:lnTo>
                      <a:lnTo>
                        <a:pt x="18" y="114"/>
                      </a:lnTo>
                      <a:lnTo>
                        <a:pt x="18" y="118"/>
                      </a:lnTo>
                      <a:lnTo>
                        <a:pt x="22" y="118"/>
                      </a:lnTo>
                      <a:lnTo>
                        <a:pt x="26" y="118"/>
                      </a:lnTo>
                      <a:lnTo>
                        <a:pt x="30" y="118"/>
                      </a:lnTo>
                      <a:lnTo>
                        <a:pt x="30" y="122"/>
                      </a:lnTo>
                      <a:lnTo>
                        <a:pt x="34" y="122"/>
                      </a:lnTo>
                      <a:lnTo>
                        <a:pt x="34" y="126"/>
                      </a:lnTo>
                      <a:lnTo>
                        <a:pt x="34" y="128"/>
                      </a:lnTo>
                      <a:lnTo>
                        <a:pt x="30" y="128"/>
                      </a:lnTo>
                      <a:lnTo>
                        <a:pt x="26" y="132"/>
                      </a:lnTo>
                      <a:lnTo>
                        <a:pt x="22" y="132"/>
                      </a:lnTo>
                      <a:lnTo>
                        <a:pt x="18" y="132"/>
                      </a:lnTo>
                      <a:lnTo>
                        <a:pt x="14" y="132"/>
                      </a:lnTo>
                      <a:lnTo>
                        <a:pt x="10" y="132"/>
                      </a:lnTo>
                      <a:lnTo>
                        <a:pt x="8" y="132"/>
                      </a:lnTo>
                      <a:lnTo>
                        <a:pt x="8" y="128"/>
                      </a:lnTo>
                      <a:lnTo>
                        <a:pt x="4" y="132"/>
                      </a:lnTo>
                      <a:lnTo>
                        <a:pt x="0" y="132"/>
                      </a:lnTo>
                      <a:lnTo>
                        <a:pt x="0" y="128"/>
                      </a:lnTo>
                      <a:lnTo>
                        <a:pt x="0" y="92"/>
                      </a:lnTo>
                      <a:lnTo>
                        <a:pt x="0" y="88"/>
                      </a:lnTo>
                      <a:lnTo>
                        <a:pt x="0" y="84"/>
                      </a:lnTo>
                      <a:lnTo>
                        <a:pt x="0" y="76"/>
                      </a:lnTo>
                      <a:lnTo>
                        <a:pt x="0" y="58"/>
                      </a:lnTo>
                      <a:lnTo>
                        <a:pt x="0" y="18"/>
                      </a:lnTo>
                      <a:lnTo>
                        <a:pt x="4" y="18"/>
                      </a:lnTo>
                      <a:lnTo>
                        <a:pt x="4" y="22"/>
                      </a:lnTo>
                      <a:lnTo>
                        <a:pt x="8" y="22"/>
                      </a:lnTo>
                      <a:lnTo>
                        <a:pt x="10" y="26"/>
                      </a:lnTo>
                      <a:lnTo>
                        <a:pt x="14" y="26"/>
                      </a:lnTo>
                      <a:lnTo>
                        <a:pt x="14" y="28"/>
                      </a:lnTo>
                      <a:lnTo>
                        <a:pt x="18" y="28"/>
                      </a:lnTo>
                      <a:lnTo>
                        <a:pt x="22" y="28"/>
                      </a:lnTo>
                      <a:lnTo>
                        <a:pt x="26" y="32"/>
                      </a:lnTo>
                      <a:lnTo>
                        <a:pt x="30" y="32"/>
                      </a:lnTo>
                      <a:lnTo>
                        <a:pt x="34" y="32"/>
                      </a:lnTo>
                      <a:lnTo>
                        <a:pt x="36" y="32"/>
                      </a:lnTo>
                      <a:lnTo>
                        <a:pt x="36" y="36"/>
                      </a:lnTo>
                      <a:lnTo>
                        <a:pt x="40" y="36"/>
                      </a:lnTo>
                      <a:lnTo>
                        <a:pt x="40" y="40"/>
                      </a:lnTo>
                      <a:lnTo>
                        <a:pt x="44" y="40"/>
                      </a:lnTo>
                      <a:lnTo>
                        <a:pt x="48" y="40"/>
                      </a:lnTo>
                      <a:lnTo>
                        <a:pt x="52" y="40"/>
                      </a:lnTo>
                      <a:lnTo>
                        <a:pt x="52" y="44"/>
                      </a:lnTo>
                      <a:lnTo>
                        <a:pt x="54" y="44"/>
                      </a:lnTo>
                      <a:lnTo>
                        <a:pt x="54" y="46"/>
                      </a:lnTo>
                      <a:lnTo>
                        <a:pt x="58" y="50"/>
                      </a:lnTo>
                      <a:lnTo>
                        <a:pt x="62" y="50"/>
                      </a:lnTo>
                      <a:lnTo>
                        <a:pt x="62" y="54"/>
                      </a:lnTo>
                      <a:lnTo>
                        <a:pt x="66" y="54"/>
                      </a:lnTo>
                      <a:lnTo>
                        <a:pt x="66" y="58"/>
                      </a:lnTo>
                      <a:lnTo>
                        <a:pt x="66" y="62"/>
                      </a:lnTo>
                      <a:lnTo>
                        <a:pt x="66" y="66"/>
                      </a:lnTo>
                      <a:lnTo>
                        <a:pt x="66" y="70"/>
                      </a:lnTo>
                      <a:lnTo>
                        <a:pt x="70" y="70"/>
                      </a:lnTo>
                      <a:lnTo>
                        <a:pt x="74" y="70"/>
                      </a:lnTo>
                      <a:lnTo>
                        <a:pt x="78" y="70"/>
                      </a:lnTo>
                      <a:lnTo>
                        <a:pt x="78" y="72"/>
                      </a:lnTo>
                      <a:lnTo>
                        <a:pt x="80" y="72"/>
                      </a:lnTo>
                      <a:lnTo>
                        <a:pt x="84" y="72"/>
                      </a:lnTo>
                      <a:lnTo>
                        <a:pt x="84" y="76"/>
                      </a:lnTo>
                      <a:lnTo>
                        <a:pt x="88" y="76"/>
                      </a:lnTo>
                      <a:lnTo>
                        <a:pt x="92" y="76"/>
                      </a:lnTo>
                      <a:lnTo>
                        <a:pt x="92" y="80"/>
                      </a:lnTo>
                      <a:lnTo>
                        <a:pt x="96" y="80"/>
                      </a:lnTo>
                      <a:lnTo>
                        <a:pt x="96" y="84"/>
                      </a:lnTo>
                      <a:lnTo>
                        <a:pt x="96" y="88"/>
                      </a:lnTo>
                      <a:lnTo>
                        <a:pt x="92" y="88"/>
                      </a:lnTo>
                      <a:lnTo>
                        <a:pt x="88" y="88"/>
                      </a:lnTo>
                      <a:lnTo>
                        <a:pt x="84" y="88"/>
                      </a:lnTo>
                      <a:lnTo>
                        <a:pt x="84" y="92"/>
                      </a:lnTo>
                      <a:lnTo>
                        <a:pt x="84" y="96"/>
                      </a:lnTo>
                      <a:lnTo>
                        <a:pt x="84" y="100"/>
                      </a:lnTo>
                      <a:lnTo>
                        <a:pt x="88" y="102"/>
                      </a:lnTo>
                      <a:lnTo>
                        <a:pt x="92" y="102"/>
                      </a:lnTo>
                      <a:lnTo>
                        <a:pt x="92" y="106"/>
                      </a:lnTo>
                      <a:lnTo>
                        <a:pt x="96" y="110"/>
                      </a:lnTo>
                      <a:lnTo>
                        <a:pt x="100" y="110"/>
                      </a:lnTo>
                      <a:lnTo>
                        <a:pt x="100" y="114"/>
                      </a:lnTo>
                      <a:lnTo>
                        <a:pt x="100" y="110"/>
                      </a:lnTo>
                      <a:lnTo>
                        <a:pt x="100" y="114"/>
                      </a:lnTo>
                      <a:lnTo>
                        <a:pt x="100" y="118"/>
                      </a:lnTo>
                      <a:lnTo>
                        <a:pt x="100" y="122"/>
                      </a:lnTo>
                      <a:lnTo>
                        <a:pt x="104" y="122"/>
                      </a:lnTo>
                      <a:lnTo>
                        <a:pt x="104" y="126"/>
                      </a:lnTo>
                      <a:lnTo>
                        <a:pt x="108" y="126"/>
                      </a:lnTo>
                      <a:lnTo>
                        <a:pt x="108" y="128"/>
                      </a:lnTo>
                      <a:lnTo>
                        <a:pt x="110" y="128"/>
                      </a:lnTo>
                      <a:lnTo>
                        <a:pt x="114" y="128"/>
                      </a:lnTo>
                      <a:lnTo>
                        <a:pt x="118" y="128"/>
                      </a:lnTo>
                      <a:lnTo>
                        <a:pt x="118" y="132"/>
                      </a:lnTo>
                      <a:lnTo>
                        <a:pt x="114" y="132"/>
                      </a:lnTo>
                      <a:lnTo>
                        <a:pt x="114" y="136"/>
                      </a:lnTo>
                      <a:lnTo>
                        <a:pt x="118" y="136"/>
                      </a:lnTo>
                      <a:lnTo>
                        <a:pt x="118" y="140"/>
                      </a:lnTo>
                      <a:lnTo>
                        <a:pt x="122" y="140"/>
                      </a:lnTo>
                      <a:lnTo>
                        <a:pt x="126" y="140"/>
                      </a:lnTo>
                      <a:lnTo>
                        <a:pt x="122" y="140"/>
                      </a:lnTo>
                      <a:lnTo>
                        <a:pt x="122" y="144"/>
                      </a:lnTo>
                      <a:lnTo>
                        <a:pt x="126" y="148"/>
                      </a:lnTo>
                      <a:lnTo>
                        <a:pt x="130" y="148"/>
                      </a:lnTo>
                      <a:lnTo>
                        <a:pt x="134" y="148"/>
                      </a:lnTo>
                      <a:lnTo>
                        <a:pt x="134" y="152"/>
                      </a:lnTo>
                      <a:lnTo>
                        <a:pt x="138" y="152"/>
                      </a:lnTo>
                      <a:lnTo>
                        <a:pt x="138" y="148"/>
                      </a:lnTo>
                      <a:lnTo>
                        <a:pt x="140" y="148"/>
                      </a:lnTo>
                      <a:lnTo>
                        <a:pt x="140" y="152"/>
                      </a:lnTo>
                      <a:lnTo>
                        <a:pt x="138" y="152"/>
                      </a:lnTo>
                      <a:lnTo>
                        <a:pt x="134" y="152"/>
                      </a:lnTo>
                      <a:lnTo>
                        <a:pt x="134" y="156"/>
                      </a:lnTo>
                      <a:lnTo>
                        <a:pt x="138" y="156"/>
                      </a:lnTo>
                      <a:lnTo>
                        <a:pt x="134" y="156"/>
                      </a:lnTo>
                      <a:lnTo>
                        <a:pt x="134" y="158"/>
                      </a:lnTo>
                      <a:lnTo>
                        <a:pt x="130" y="158"/>
                      </a:lnTo>
                      <a:lnTo>
                        <a:pt x="130" y="156"/>
                      </a:lnTo>
                      <a:lnTo>
                        <a:pt x="126" y="156"/>
                      </a:lnTo>
                      <a:lnTo>
                        <a:pt x="130" y="156"/>
                      </a:lnTo>
                      <a:lnTo>
                        <a:pt x="126" y="156"/>
                      </a:lnTo>
                      <a:lnTo>
                        <a:pt x="126" y="152"/>
                      </a:lnTo>
                      <a:lnTo>
                        <a:pt x="122" y="152"/>
                      </a:lnTo>
                      <a:lnTo>
                        <a:pt x="118" y="152"/>
                      </a:lnTo>
                      <a:lnTo>
                        <a:pt x="114" y="152"/>
                      </a:lnTo>
                      <a:lnTo>
                        <a:pt x="110" y="152"/>
                      </a:lnTo>
                      <a:lnTo>
                        <a:pt x="108" y="148"/>
                      </a:lnTo>
                      <a:lnTo>
                        <a:pt x="104" y="148"/>
                      </a:lnTo>
                      <a:lnTo>
                        <a:pt x="100" y="148"/>
                      </a:lnTo>
                      <a:lnTo>
                        <a:pt x="96" y="148"/>
                      </a:lnTo>
                      <a:lnTo>
                        <a:pt x="92" y="144"/>
                      </a:lnTo>
                      <a:lnTo>
                        <a:pt x="92" y="140"/>
                      </a:lnTo>
                      <a:lnTo>
                        <a:pt x="88" y="140"/>
                      </a:lnTo>
                      <a:lnTo>
                        <a:pt x="88" y="136"/>
                      </a:lnTo>
                      <a:lnTo>
                        <a:pt x="84" y="136"/>
                      </a:lnTo>
                      <a:lnTo>
                        <a:pt x="84" y="132"/>
                      </a:lnTo>
                      <a:lnTo>
                        <a:pt x="80" y="132"/>
                      </a:lnTo>
                      <a:lnTo>
                        <a:pt x="80" y="128"/>
                      </a:lnTo>
                      <a:lnTo>
                        <a:pt x="84" y="128"/>
                      </a:lnTo>
                      <a:lnTo>
                        <a:pt x="80" y="128"/>
                      </a:lnTo>
                      <a:lnTo>
                        <a:pt x="78" y="128"/>
                      </a:lnTo>
                      <a:lnTo>
                        <a:pt x="78" y="126"/>
                      </a:lnTo>
                      <a:lnTo>
                        <a:pt x="78" y="122"/>
                      </a:lnTo>
                      <a:lnTo>
                        <a:pt x="74" y="122"/>
                      </a:lnTo>
                      <a:lnTo>
                        <a:pt x="74" y="122"/>
                      </a:lnTo>
                      <a:lnTo>
                        <a:pt x="74" y="122"/>
                      </a:lnTo>
                      <a:close/>
                      <a:moveTo>
                        <a:pt x="138" y="26"/>
                      </a:moveTo>
                      <a:lnTo>
                        <a:pt x="140" y="26"/>
                      </a:lnTo>
                      <a:lnTo>
                        <a:pt x="138" y="26"/>
                      </a:lnTo>
                      <a:lnTo>
                        <a:pt x="138" y="26"/>
                      </a:lnTo>
                      <a:lnTo>
                        <a:pt x="138" y="26"/>
                      </a:lnTo>
                      <a:close/>
                      <a:moveTo>
                        <a:pt x="164" y="28"/>
                      </a:moveTo>
                      <a:lnTo>
                        <a:pt x="164" y="26"/>
                      </a:lnTo>
                      <a:lnTo>
                        <a:pt x="164" y="28"/>
                      </a:lnTo>
                      <a:lnTo>
                        <a:pt x="164" y="28"/>
                      </a:lnTo>
                      <a:lnTo>
                        <a:pt x="164" y="28"/>
                      </a:lnTo>
                      <a:close/>
                      <a:moveTo>
                        <a:pt x="114" y="70"/>
                      </a:moveTo>
                      <a:lnTo>
                        <a:pt x="118" y="70"/>
                      </a:lnTo>
                      <a:lnTo>
                        <a:pt x="122" y="70"/>
                      </a:lnTo>
                      <a:lnTo>
                        <a:pt x="126" y="70"/>
                      </a:lnTo>
                      <a:lnTo>
                        <a:pt x="126" y="66"/>
                      </a:lnTo>
                      <a:lnTo>
                        <a:pt x="126" y="62"/>
                      </a:lnTo>
                      <a:lnTo>
                        <a:pt x="130" y="58"/>
                      </a:lnTo>
                      <a:lnTo>
                        <a:pt x="130" y="62"/>
                      </a:lnTo>
                      <a:lnTo>
                        <a:pt x="126" y="62"/>
                      </a:lnTo>
                      <a:lnTo>
                        <a:pt x="126" y="66"/>
                      </a:lnTo>
                      <a:lnTo>
                        <a:pt x="130" y="70"/>
                      </a:lnTo>
                      <a:lnTo>
                        <a:pt x="134" y="70"/>
                      </a:lnTo>
                      <a:lnTo>
                        <a:pt x="134" y="66"/>
                      </a:lnTo>
                      <a:lnTo>
                        <a:pt x="134" y="70"/>
                      </a:lnTo>
                      <a:lnTo>
                        <a:pt x="138" y="70"/>
                      </a:lnTo>
                      <a:lnTo>
                        <a:pt x="140" y="70"/>
                      </a:lnTo>
                      <a:lnTo>
                        <a:pt x="140" y="66"/>
                      </a:lnTo>
                      <a:lnTo>
                        <a:pt x="140" y="62"/>
                      </a:lnTo>
                      <a:lnTo>
                        <a:pt x="144" y="58"/>
                      </a:lnTo>
                      <a:lnTo>
                        <a:pt x="148" y="58"/>
                      </a:lnTo>
                      <a:lnTo>
                        <a:pt x="152" y="58"/>
                      </a:lnTo>
                      <a:lnTo>
                        <a:pt x="152" y="54"/>
                      </a:lnTo>
                      <a:lnTo>
                        <a:pt x="148" y="50"/>
                      </a:lnTo>
                      <a:lnTo>
                        <a:pt x="148" y="46"/>
                      </a:lnTo>
                      <a:lnTo>
                        <a:pt x="152" y="46"/>
                      </a:lnTo>
                      <a:lnTo>
                        <a:pt x="156" y="46"/>
                      </a:lnTo>
                      <a:lnTo>
                        <a:pt x="156" y="44"/>
                      </a:lnTo>
                      <a:lnTo>
                        <a:pt x="160" y="46"/>
                      </a:lnTo>
                      <a:lnTo>
                        <a:pt x="156" y="46"/>
                      </a:lnTo>
                      <a:lnTo>
                        <a:pt x="160" y="46"/>
                      </a:lnTo>
                      <a:lnTo>
                        <a:pt x="160" y="54"/>
                      </a:lnTo>
                      <a:lnTo>
                        <a:pt x="160" y="58"/>
                      </a:lnTo>
                      <a:lnTo>
                        <a:pt x="156" y="58"/>
                      </a:lnTo>
                      <a:lnTo>
                        <a:pt x="156" y="62"/>
                      </a:lnTo>
                      <a:lnTo>
                        <a:pt x="156" y="66"/>
                      </a:lnTo>
                      <a:lnTo>
                        <a:pt x="156" y="70"/>
                      </a:lnTo>
                      <a:lnTo>
                        <a:pt x="152" y="70"/>
                      </a:lnTo>
                      <a:lnTo>
                        <a:pt x="148" y="70"/>
                      </a:lnTo>
                      <a:lnTo>
                        <a:pt x="148" y="72"/>
                      </a:lnTo>
                      <a:lnTo>
                        <a:pt x="144" y="72"/>
                      </a:lnTo>
                      <a:lnTo>
                        <a:pt x="144" y="76"/>
                      </a:lnTo>
                      <a:lnTo>
                        <a:pt x="140" y="76"/>
                      </a:lnTo>
                      <a:lnTo>
                        <a:pt x="138" y="76"/>
                      </a:lnTo>
                      <a:lnTo>
                        <a:pt x="138" y="80"/>
                      </a:lnTo>
                      <a:lnTo>
                        <a:pt x="134" y="80"/>
                      </a:lnTo>
                      <a:lnTo>
                        <a:pt x="130" y="80"/>
                      </a:lnTo>
                      <a:lnTo>
                        <a:pt x="126" y="80"/>
                      </a:lnTo>
                      <a:lnTo>
                        <a:pt x="122" y="80"/>
                      </a:lnTo>
                      <a:lnTo>
                        <a:pt x="118" y="80"/>
                      </a:lnTo>
                      <a:lnTo>
                        <a:pt x="118" y="76"/>
                      </a:lnTo>
                      <a:lnTo>
                        <a:pt x="114" y="80"/>
                      </a:lnTo>
                      <a:lnTo>
                        <a:pt x="114" y="76"/>
                      </a:lnTo>
                      <a:lnTo>
                        <a:pt x="110" y="76"/>
                      </a:lnTo>
                      <a:lnTo>
                        <a:pt x="110" y="72"/>
                      </a:lnTo>
                      <a:lnTo>
                        <a:pt x="108" y="72"/>
                      </a:lnTo>
                      <a:lnTo>
                        <a:pt x="104" y="72"/>
                      </a:lnTo>
                      <a:lnTo>
                        <a:pt x="104" y="70"/>
                      </a:lnTo>
                      <a:lnTo>
                        <a:pt x="104" y="66"/>
                      </a:lnTo>
                      <a:lnTo>
                        <a:pt x="104" y="70"/>
                      </a:lnTo>
                      <a:lnTo>
                        <a:pt x="108" y="70"/>
                      </a:lnTo>
                      <a:lnTo>
                        <a:pt x="110" y="70"/>
                      </a:lnTo>
                      <a:lnTo>
                        <a:pt x="114" y="70"/>
                      </a:lnTo>
                      <a:lnTo>
                        <a:pt x="114" y="70"/>
                      </a:lnTo>
                      <a:lnTo>
                        <a:pt x="114" y="70"/>
                      </a:lnTo>
                      <a:close/>
                      <a:moveTo>
                        <a:pt x="70" y="54"/>
                      </a:moveTo>
                      <a:lnTo>
                        <a:pt x="70" y="50"/>
                      </a:lnTo>
                      <a:lnTo>
                        <a:pt x="70" y="54"/>
                      </a:lnTo>
                      <a:lnTo>
                        <a:pt x="70" y="54"/>
                      </a:lnTo>
                      <a:lnTo>
                        <a:pt x="70" y="54"/>
                      </a:lnTo>
                      <a:close/>
                      <a:moveTo>
                        <a:pt x="194" y="70"/>
                      </a:moveTo>
                      <a:lnTo>
                        <a:pt x="194" y="66"/>
                      </a:lnTo>
                      <a:lnTo>
                        <a:pt x="190" y="62"/>
                      </a:lnTo>
                      <a:lnTo>
                        <a:pt x="194" y="62"/>
                      </a:lnTo>
                      <a:lnTo>
                        <a:pt x="194" y="58"/>
                      </a:lnTo>
                      <a:lnTo>
                        <a:pt x="194" y="62"/>
                      </a:lnTo>
                      <a:lnTo>
                        <a:pt x="194" y="66"/>
                      </a:lnTo>
                      <a:lnTo>
                        <a:pt x="194" y="70"/>
                      </a:lnTo>
                      <a:lnTo>
                        <a:pt x="194" y="70"/>
                      </a:lnTo>
                      <a:lnTo>
                        <a:pt x="194" y="70"/>
                      </a:lnTo>
                      <a:close/>
                      <a:moveTo>
                        <a:pt x="84" y="66"/>
                      </a:moveTo>
                      <a:lnTo>
                        <a:pt x="84" y="62"/>
                      </a:lnTo>
                      <a:lnTo>
                        <a:pt x="88" y="66"/>
                      </a:lnTo>
                      <a:lnTo>
                        <a:pt x="84" y="66"/>
                      </a:lnTo>
                      <a:lnTo>
                        <a:pt x="84" y="66"/>
                      </a:lnTo>
                      <a:lnTo>
                        <a:pt x="84" y="66"/>
                      </a:lnTo>
                      <a:close/>
                      <a:moveTo>
                        <a:pt x="204" y="76"/>
                      </a:moveTo>
                      <a:lnTo>
                        <a:pt x="204" y="80"/>
                      </a:lnTo>
                      <a:lnTo>
                        <a:pt x="208" y="80"/>
                      </a:lnTo>
                      <a:lnTo>
                        <a:pt x="208" y="84"/>
                      </a:lnTo>
                      <a:lnTo>
                        <a:pt x="212" y="84"/>
                      </a:lnTo>
                      <a:lnTo>
                        <a:pt x="212" y="88"/>
                      </a:lnTo>
                      <a:lnTo>
                        <a:pt x="212" y="92"/>
                      </a:lnTo>
                      <a:lnTo>
                        <a:pt x="208" y="92"/>
                      </a:lnTo>
                      <a:lnTo>
                        <a:pt x="204" y="92"/>
                      </a:lnTo>
                      <a:lnTo>
                        <a:pt x="200" y="88"/>
                      </a:lnTo>
                      <a:lnTo>
                        <a:pt x="200" y="84"/>
                      </a:lnTo>
                      <a:lnTo>
                        <a:pt x="200" y="80"/>
                      </a:lnTo>
                      <a:lnTo>
                        <a:pt x="196" y="80"/>
                      </a:lnTo>
                      <a:lnTo>
                        <a:pt x="196" y="76"/>
                      </a:lnTo>
                      <a:lnTo>
                        <a:pt x="194" y="76"/>
                      </a:lnTo>
                      <a:lnTo>
                        <a:pt x="194" y="72"/>
                      </a:lnTo>
                      <a:lnTo>
                        <a:pt x="194" y="70"/>
                      </a:lnTo>
                      <a:lnTo>
                        <a:pt x="196" y="70"/>
                      </a:lnTo>
                      <a:lnTo>
                        <a:pt x="200" y="72"/>
                      </a:lnTo>
                      <a:lnTo>
                        <a:pt x="204" y="76"/>
                      </a:lnTo>
                      <a:lnTo>
                        <a:pt x="204" y="76"/>
                      </a:lnTo>
                      <a:lnTo>
                        <a:pt x="204" y="76"/>
                      </a:lnTo>
                      <a:close/>
                      <a:moveTo>
                        <a:pt x="100" y="72"/>
                      </a:moveTo>
                      <a:lnTo>
                        <a:pt x="96" y="72"/>
                      </a:lnTo>
                      <a:lnTo>
                        <a:pt x="96" y="70"/>
                      </a:lnTo>
                      <a:lnTo>
                        <a:pt x="100" y="70"/>
                      </a:lnTo>
                      <a:lnTo>
                        <a:pt x="100" y="72"/>
                      </a:lnTo>
                      <a:lnTo>
                        <a:pt x="100" y="72"/>
                      </a:lnTo>
                      <a:lnTo>
                        <a:pt x="100" y="72"/>
                      </a:lnTo>
                      <a:close/>
                      <a:moveTo>
                        <a:pt x="36" y="118"/>
                      </a:moveTo>
                      <a:lnTo>
                        <a:pt x="34" y="118"/>
                      </a:lnTo>
                      <a:lnTo>
                        <a:pt x="36" y="118"/>
                      </a:lnTo>
                      <a:lnTo>
                        <a:pt x="36" y="118"/>
                      </a:lnTo>
                      <a:lnTo>
                        <a:pt x="36" y="118"/>
                      </a:lnTo>
                      <a:close/>
                      <a:moveTo>
                        <a:pt x="36" y="126"/>
                      </a:moveTo>
                      <a:lnTo>
                        <a:pt x="36" y="122"/>
                      </a:lnTo>
                      <a:lnTo>
                        <a:pt x="34" y="122"/>
                      </a:lnTo>
                      <a:lnTo>
                        <a:pt x="34" y="118"/>
                      </a:lnTo>
                      <a:lnTo>
                        <a:pt x="30" y="118"/>
                      </a:lnTo>
                      <a:lnTo>
                        <a:pt x="34" y="118"/>
                      </a:lnTo>
                      <a:lnTo>
                        <a:pt x="34" y="122"/>
                      </a:lnTo>
                      <a:lnTo>
                        <a:pt x="36" y="122"/>
                      </a:lnTo>
                      <a:lnTo>
                        <a:pt x="36" y="126"/>
                      </a:lnTo>
                      <a:lnTo>
                        <a:pt x="36" y="126"/>
                      </a:lnTo>
                      <a:lnTo>
                        <a:pt x="36" y="126"/>
                      </a:lnTo>
                      <a:close/>
                      <a:moveTo>
                        <a:pt x="144" y="126"/>
                      </a:moveTo>
                      <a:lnTo>
                        <a:pt x="140" y="126"/>
                      </a:lnTo>
                      <a:lnTo>
                        <a:pt x="140" y="122"/>
                      </a:lnTo>
                      <a:lnTo>
                        <a:pt x="140" y="118"/>
                      </a:lnTo>
                      <a:lnTo>
                        <a:pt x="140" y="122"/>
                      </a:lnTo>
                      <a:lnTo>
                        <a:pt x="140" y="126"/>
                      </a:lnTo>
                      <a:lnTo>
                        <a:pt x="144" y="126"/>
                      </a:lnTo>
                      <a:lnTo>
                        <a:pt x="144" y="126"/>
                      </a:lnTo>
                      <a:lnTo>
                        <a:pt x="144" y="126"/>
                      </a:lnTo>
                      <a:close/>
                      <a:moveTo>
                        <a:pt x="166" y="132"/>
                      </a:moveTo>
                      <a:lnTo>
                        <a:pt x="164" y="128"/>
                      </a:lnTo>
                      <a:lnTo>
                        <a:pt x="166" y="128"/>
                      </a:lnTo>
                      <a:lnTo>
                        <a:pt x="170" y="128"/>
                      </a:lnTo>
                      <a:lnTo>
                        <a:pt x="170" y="132"/>
                      </a:lnTo>
                      <a:lnTo>
                        <a:pt x="166" y="132"/>
                      </a:lnTo>
                      <a:lnTo>
                        <a:pt x="166" y="132"/>
                      </a:lnTo>
                      <a:lnTo>
                        <a:pt x="166" y="132"/>
                      </a:lnTo>
                      <a:close/>
                      <a:moveTo>
                        <a:pt x="34" y="128"/>
                      </a:moveTo>
                      <a:lnTo>
                        <a:pt x="34" y="132"/>
                      </a:lnTo>
                      <a:lnTo>
                        <a:pt x="30" y="128"/>
                      </a:lnTo>
                      <a:lnTo>
                        <a:pt x="34" y="128"/>
                      </a:lnTo>
                      <a:lnTo>
                        <a:pt x="34" y="128"/>
                      </a:lnTo>
                      <a:lnTo>
                        <a:pt x="34" y="128"/>
                      </a:lnTo>
                      <a:close/>
                      <a:moveTo>
                        <a:pt x="134" y="136"/>
                      </a:moveTo>
                      <a:lnTo>
                        <a:pt x="130" y="136"/>
                      </a:lnTo>
                      <a:lnTo>
                        <a:pt x="130" y="132"/>
                      </a:lnTo>
                      <a:lnTo>
                        <a:pt x="134" y="136"/>
                      </a:lnTo>
                      <a:lnTo>
                        <a:pt x="134" y="136"/>
                      </a:lnTo>
                      <a:lnTo>
                        <a:pt x="134" y="136"/>
                      </a:lnTo>
                      <a:close/>
                      <a:moveTo>
                        <a:pt x="138" y="140"/>
                      </a:moveTo>
                      <a:lnTo>
                        <a:pt x="134" y="140"/>
                      </a:lnTo>
                      <a:lnTo>
                        <a:pt x="134" y="136"/>
                      </a:lnTo>
                      <a:lnTo>
                        <a:pt x="134" y="132"/>
                      </a:lnTo>
                      <a:lnTo>
                        <a:pt x="134" y="136"/>
                      </a:lnTo>
                      <a:lnTo>
                        <a:pt x="138" y="136"/>
                      </a:lnTo>
                      <a:lnTo>
                        <a:pt x="140" y="136"/>
                      </a:lnTo>
                      <a:lnTo>
                        <a:pt x="140" y="140"/>
                      </a:lnTo>
                      <a:lnTo>
                        <a:pt x="138" y="140"/>
                      </a:lnTo>
                      <a:lnTo>
                        <a:pt x="138" y="140"/>
                      </a:lnTo>
                      <a:lnTo>
                        <a:pt x="138" y="140"/>
                      </a:lnTo>
                      <a:close/>
                      <a:moveTo>
                        <a:pt x="144" y="148"/>
                      </a:moveTo>
                      <a:lnTo>
                        <a:pt x="140" y="148"/>
                      </a:lnTo>
                      <a:lnTo>
                        <a:pt x="140" y="144"/>
                      </a:lnTo>
                      <a:lnTo>
                        <a:pt x="138" y="144"/>
                      </a:lnTo>
                      <a:lnTo>
                        <a:pt x="138" y="140"/>
                      </a:lnTo>
                      <a:lnTo>
                        <a:pt x="140" y="144"/>
                      </a:lnTo>
                      <a:lnTo>
                        <a:pt x="140" y="148"/>
                      </a:lnTo>
                      <a:lnTo>
                        <a:pt x="144" y="148"/>
                      </a:lnTo>
                      <a:lnTo>
                        <a:pt x="144" y="144"/>
                      </a:lnTo>
                      <a:lnTo>
                        <a:pt x="144" y="148"/>
                      </a:lnTo>
                      <a:lnTo>
                        <a:pt x="144" y="148"/>
                      </a:lnTo>
                      <a:lnTo>
                        <a:pt x="144" y="148"/>
                      </a:lnTo>
                      <a:close/>
                      <a:moveTo>
                        <a:pt x="140" y="156"/>
                      </a:moveTo>
                      <a:lnTo>
                        <a:pt x="138" y="156"/>
                      </a:lnTo>
                      <a:lnTo>
                        <a:pt x="140" y="156"/>
                      </a:lnTo>
                      <a:lnTo>
                        <a:pt x="140" y="156"/>
                      </a:lnTo>
                      <a:lnTo>
                        <a:pt x="140" y="156"/>
                      </a:lnTo>
                      <a:close/>
                      <a:moveTo>
                        <a:pt x="166" y="158"/>
                      </a:moveTo>
                      <a:lnTo>
                        <a:pt x="164" y="158"/>
                      </a:lnTo>
                      <a:lnTo>
                        <a:pt x="164" y="156"/>
                      </a:lnTo>
                      <a:lnTo>
                        <a:pt x="166" y="156"/>
                      </a:lnTo>
                      <a:lnTo>
                        <a:pt x="166" y="158"/>
                      </a:lnTo>
                      <a:lnTo>
                        <a:pt x="166" y="158"/>
                      </a:lnTo>
                      <a:lnTo>
                        <a:pt x="166" y="158"/>
                      </a:lnTo>
                      <a:close/>
                      <a:moveTo>
                        <a:pt x="186" y="170"/>
                      </a:moveTo>
                      <a:lnTo>
                        <a:pt x="182" y="170"/>
                      </a:lnTo>
                      <a:lnTo>
                        <a:pt x="186" y="170"/>
                      </a:lnTo>
                      <a:lnTo>
                        <a:pt x="186" y="166"/>
                      </a:lnTo>
                      <a:lnTo>
                        <a:pt x="186" y="170"/>
                      </a:lnTo>
                      <a:lnTo>
                        <a:pt x="190" y="170"/>
                      </a:lnTo>
                      <a:lnTo>
                        <a:pt x="186" y="170"/>
                      </a:lnTo>
                      <a:lnTo>
                        <a:pt x="186" y="170"/>
                      </a:lnTo>
                      <a:lnTo>
                        <a:pt x="186" y="170"/>
                      </a:lnTo>
                      <a:close/>
                      <a:moveTo>
                        <a:pt x="178" y="174"/>
                      </a:moveTo>
                      <a:lnTo>
                        <a:pt x="174" y="174"/>
                      </a:lnTo>
                      <a:lnTo>
                        <a:pt x="174" y="170"/>
                      </a:lnTo>
                      <a:lnTo>
                        <a:pt x="170" y="170"/>
                      </a:lnTo>
                      <a:lnTo>
                        <a:pt x="174" y="170"/>
                      </a:lnTo>
                      <a:lnTo>
                        <a:pt x="178" y="170"/>
                      </a:lnTo>
                      <a:lnTo>
                        <a:pt x="178" y="174"/>
                      </a:lnTo>
                      <a:lnTo>
                        <a:pt x="182" y="174"/>
                      </a:lnTo>
                      <a:lnTo>
                        <a:pt x="178" y="174"/>
                      </a:lnTo>
                      <a:lnTo>
                        <a:pt x="178" y="174"/>
                      </a:lnTo>
                      <a:lnTo>
                        <a:pt x="178" y="17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6" name="Freeform 193"/>
                <p:cNvSpPr>
                  <a:spLocks noEditPoints="1"/>
                </p:cNvSpPr>
                <p:nvPr/>
              </p:nvSpPr>
              <p:spPr bwMode="auto">
                <a:xfrm>
                  <a:off x="3689350" y="3359218"/>
                  <a:ext cx="568325" cy="292100"/>
                </a:xfrm>
                <a:custGeom>
                  <a:avLst/>
                  <a:gdLst>
                    <a:gd name="T0" fmla="*/ 320 w 358"/>
                    <a:gd name="T1" fmla="*/ 16 h 184"/>
                    <a:gd name="T2" fmla="*/ 320 w 358"/>
                    <a:gd name="T3" fmla="*/ 8 h 184"/>
                    <a:gd name="T4" fmla="*/ 324 w 358"/>
                    <a:gd name="T5" fmla="*/ 0 h 184"/>
                    <a:gd name="T6" fmla="*/ 328 w 358"/>
                    <a:gd name="T7" fmla="*/ 8 h 184"/>
                    <a:gd name="T8" fmla="*/ 340 w 358"/>
                    <a:gd name="T9" fmla="*/ 8 h 184"/>
                    <a:gd name="T10" fmla="*/ 348 w 358"/>
                    <a:gd name="T11" fmla="*/ 4 h 184"/>
                    <a:gd name="T12" fmla="*/ 350 w 358"/>
                    <a:gd name="T13" fmla="*/ 12 h 184"/>
                    <a:gd name="T14" fmla="*/ 354 w 358"/>
                    <a:gd name="T15" fmla="*/ 12 h 184"/>
                    <a:gd name="T16" fmla="*/ 350 w 358"/>
                    <a:gd name="T17" fmla="*/ 20 h 184"/>
                    <a:gd name="T18" fmla="*/ 348 w 358"/>
                    <a:gd name="T19" fmla="*/ 30 h 184"/>
                    <a:gd name="T20" fmla="*/ 344 w 358"/>
                    <a:gd name="T21" fmla="*/ 38 h 184"/>
                    <a:gd name="T22" fmla="*/ 344 w 358"/>
                    <a:gd name="T23" fmla="*/ 50 h 184"/>
                    <a:gd name="T24" fmla="*/ 340 w 358"/>
                    <a:gd name="T25" fmla="*/ 54 h 184"/>
                    <a:gd name="T26" fmla="*/ 348 w 358"/>
                    <a:gd name="T27" fmla="*/ 60 h 184"/>
                    <a:gd name="T28" fmla="*/ 340 w 358"/>
                    <a:gd name="T29" fmla="*/ 68 h 184"/>
                    <a:gd name="T30" fmla="*/ 344 w 358"/>
                    <a:gd name="T31" fmla="*/ 76 h 184"/>
                    <a:gd name="T32" fmla="*/ 344 w 358"/>
                    <a:gd name="T33" fmla="*/ 82 h 184"/>
                    <a:gd name="T34" fmla="*/ 336 w 358"/>
                    <a:gd name="T35" fmla="*/ 90 h 184"/>
                    <a:gd name="T36" fmla="*/ 340 w 358"/>
                    <a:gd name="T37" fmla="*/ 98 h 184"/>
                    <a:gd name="T38" fmla="*/ 332 w 358"/>
                    <a:gd name="T39" fmla="*/ 102 h 184"/>
                    <a:gd name="T40" fmla="*/ 324 w 358"/>
                    <a:gd name="T41" fmla="*/ 98 h 184"/>
                    <a:gd name="T42" fmla="*/ 318 w 358"/>
                    <a:gd name="T43" fmla="*/ 102 h 184"/>
                    <a:gd name="T44" fmla="*/ 320 w 358"/>
                    <a:gd name="T45" fmla="*/ 94 h 184"/>
                    <a:gd name="T46" fmla="*/ 320 w 358"/>
                    <a:gd name="T47" fmla="*/ 82 h 184"/>
                    <a:gd name="T48" fmla="*/ 320 w 358"/>
                    <a:gd name="T49" fmla="*/ 76 h 184"/>
                    <a:gd name="T50" fmla="*/ 318 w 358"/>
                    <a:gd name="T51" fmla="*/ 76 h 184"/>
                    <a:gd name="T52" fmla="*/ 314 w 358"/>
                    <a:gd name="T53" fmla="*/ 68 h 184"/>
                    <a:gd name="T54" fmla="*/ 318 w 358"/>
                    <a:gd name="T55" fmla="*/ 64 h 184"/>
                    <a:gd name="T56" fmla="*/ 310 w 358"/>
                    <a:gd name="T57" fmla="*/ 68 h 184"/>
                    <a:gd name="T58" fmla="*/ 314 w 358"/>
                    <a:gd name="T59" fmla="*/ 56 h 184"/>
                    <a:gd name="T60" fmla="*/ 314 w 358"/>
                    <a:gd name="T61" fmla="*/ 54 h 184"/>
                    <a:gd name="T62" fmla="*/ 318 w 358"/>
                    <a:gd name="T63" fmla="*/ 42 h 184"/>
                    <a:gd name="T64" fmla="*/ 320 w 358"/>
                    <a:gd name="T65" fmla="*/ 30 h 184"/>
                    <a:gd name="T66" fmla="*/ 320 w 358"/>
                    <a:gd name="T67" fmla="*/ 26 h 184"/>
                    <a:gd name="T68" fmla="*/ 320 w 358"/>
                    <a:gd name="T69" fmla="*/ 24 h 184"/>
                    <a:gd name="T70" fmla="*/ 0 w 358"/>
                    <a:gd name="T71" fmla="*/ 54 h 184"/>
                    <a:gd name="T72" fmla="*/ 4 w 358"/>
                    <a:gd name="T73" fmla="*/ 56 h 184"/>
                    <a:gd name="T74" fmla="*/ 60 w 358"/>
                    <a:gd name="T75" fmla="*/ 68 h 184"/>
                    <a:gd name="T76" fmla="*/ 60 w 358"/>
                    <a:gd name="T77" fmla="*/ 72 h 184"/>
                    <a:gd name="T78" fmla="*/ 48 w 358"/>
                    <a:gd name="T79" fmla="*/ 72 h 184"/>
                    <a:gd name="T80" fmla="*/ 52 w 358"/>
                    <a:gd name="T81" fmla="*/ 72 h 184"/>
                    <a:gd name="T82" fmla="*/ 48 w 358"/>
                    <a:gd name="T83" fmla="*/ 72 h 184"/>
                    <a:gd name="T84" fmla="*/ 38 w 358"/>
                    <a:gd name="T85" fmla="*/ 72 h 184"/>
                    <a:gd name="T86" fmla="*/ 46 w 358"/>
                    <a:gd name="T87" fmla="*/ 76 h 184"/>
                    <a:gd name="T88" fmla="*/ 46 w 358"/>
                    <a:gd name="T89" fmla="*/ 72 h 184"/>
                    <a:gd name="T90" fmla="*/ 46 w 358"/>
                    <a:gd name="T91" fmla="*/ 76 h 184"/>
                    <a:gd name="T92" fmla="*/ 78 w 358"/>
                    <a:gd name="T93" fmla="*/ 86 h 184"/>
                    <a:gd name="T94" fmla="*/ 86 w 358"/>
                    <a:gd name="T95" fmla="*/ 86 h 184"/>
                    <a:gd name="T96" fmla="*/ 90 w 358"/>
                    <a:gd name="T97" fmla="*/ 86 h 184"/>
                    <a:gd name="T98" fmla="*/ 82 w 358"/>
                    <a:gd name="T99" fmla="*/ 86 h 184"/>
                    <a:gd name="T100" fmla="*/ 86 w 358"/>
                    <a:gd name="T101" fmla="*/ 102 h 184"/>
                    <a:gd name="T102" fmla="*/ 90 w 358"/>
                    <a:gd name="T103" fmla="*/ 102 h 184"/>
                    <a:gd name="T104" fmla="*/ 202 w 358"/>
                    <a:gd name="T105" fmla="*/ 180 h 184"/>
                    <a:gd name="T106" fmla="*/ 204 w 358"/>
                    <a:gd name="T107" fmla="*/ 184 h 1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358" h="184">
                      <a:moveTo>
                        <a:pt x="320" y="24"/>
                      </a:moveTo>
                      <a:lnTo>
                        <a:pt x="320" y="20"/>
                      </a:lnTo>
                      <a:lnTo>
                        <a:pt x="320" y="16"/>
                      </a:lnTo>
                      <a:lnTo>
                        <a:pt x="320" y="12"/>
                      </a:lnTo>
                      <a:lnTo>
                        <a:pt x="318" y="8"/>
                      </a:lnTo>
                      <a:lnTo>
                        <a:pt x="320" y="8"/>
                      </a:lnTo>
                      <a:lnTo>
                        <a:pt x="320" y="4"/>
                      </a:lnTo>
                      <a:lnTo>
                        <a:pt x="324" y="4"/>
                      </a:lnTo>
                      <a:lnTo>
                        <a:pt x="324" y="0"/>
                      </a:lnTo>
                      <a:lnTo>
                        <a:pt x="328" y="0"/>
                      </a:lnTo>
                      <a:lnTo>
                        <a:pt x="328" y="4"/>
                      </a:lnTo>
                      <a:lnTo>
                        <a:pt x="328" y="8"/>
                      </a:lnTo>
                      <a:lnTo>
                        <a:pt x="332" y="8"/>
                      </a:lnTo>
                      <a:lnTo>
                        <a:pt x="336" y="8"/>
                      </a:lnTo>
                      <a:lnTo>
                        <a:pt x="340" y="8"/>
                      </a:lnTo>
                      <a:lnTo>
                        <a:pt x="344" y="8"/>
                      </a:lnTo>
                      <a:lnTo>
                        <a:pt x="344" y="4"/>
                      </a:lnTo>
                      <a:lnTo>
                        <a:pt x="348" y="4"/>
                      </a:lnTo>
                      <a:lnTo>
                        <a:pt x="350" y="4"/>
                      </a:lnTo>
                      <a:lnTo>
                        <a:pt x="350" y="8"/>
                      </a:lnTo>
                      <a:lnTo>
                        <a:pt x="350" y="12"/>
                      </a:lnTo>
                      <a:lnTo>
                        <a:pt x="354" y="12"/>
                      </a:lnTo>
                      <a:lnTo>
                        <a:pt x="358" y="12"/>
                      </a:lnTo>
                      <a:lnTo>
                        <a:pt x="354" y="12"/>
                      </a:lnTo>
                      <a:lnTo>
                        <a:pt x="354" y="16"/>
                      </a:lnTo>
                      <a:lnTo>
                        <a:pt x="354" y="20"/>
                      </a:lnTo>
                      <a:lnTo>
                        <a:pt x="350" y="20"/>
                      </a:lnTo>
                      <a:lnTo>
                        <a:pt x="348" y="24"/>
                      </a:lnTo>
                      <a:lnTo>
                        <a:pt x="348" y="26"/>
                      </a:lnTo>
                      <a:lnTo>
                        <a:pt x="348" y="30"/>
                      </a:lnTo>
                      <a:lnTo>
                        <a:pt x="348" y="34"/>
                      </a:lnTo>
                      <a:lnTo>
                        <a:pt x="348" y="38"/>
                      </a:lnTo>
                      <a:lnTo>
                        <a:pt x="344" y="38"/>
                      </a:lnTo>
                      <a:lnTo>
                        <a:pt x="344" y="42"/>
                      </a:lnTo>
                      <a:lnTo>
                        <a:pt x="348" y="42"/>
                      </a:lnTo>
                      <a:lnTo>
                        <a:pt x="344" y="50"/>
                      </a:lnTo>
                      <a:lnTo>
                        <a:pt x="340" y="50"/>
                      </a:lnTo>
                      <a:lnTo>
                        <a:pt x="336" y="50"/>
                      </a:lnTo>
                      <a:lnTo>
                        <a:pt x="340" y="54"/>
                      </a:lnTo>
                      <a:lnTo>
                        <a:pt x="340" y="56"/>
                      </a:lnTo>
                      <a:lnTo>
                        <a:pt x="344" y="60"/>
                      </a:lnTo>
                      <a:lnTo>
                        <a:pt x="348" y="60"/>
                      </a:lnTo>
                      <a:lnTo>
                        <a:pt x="344" y="64"/>
                      </a:lnTo>
                      <a:lnTo>
                        <a:pt x="344" y="68"/>
                      </a:lnTo>
                      <a:lnTo>
                        <a:pt x="340" y="68"/>
                      </a:lnTo>
                      <a:lnTo>
                        <a:pt x="340" y="72"/>
                      </a:lnTo>
                      <a:lnTo>
                        <a:pt x="340" y="76"/>
                      </a:lnTo>
                      <a:lnTo>
                        <a:pt x="344" y="76"/>
                      </a:lnTo>
                      <a:lnTo>
                        <a:pt x="344" y="80"/>
                      </a:lnTo>
                      <a:lnTo>
                        <a:pt x="348" y="80"/>
                      </a:lnTo>
                      <a:lnTo>
                        <a:pt x="344" y="82"/>
                      </a:lnTo>
                      <a:lnTo>
                        <a:pt x="340" y="82"/>
                      </a:lnTo>
                      <a:lnTo>
                        <a:pt x="340" y="86"/>
                      </a:lnTo>
                      <a:lnTo>
                        <a:pt x="336" y="90"/>
                      </a:lnTo>
                      <a:lnTo>
                        <a:pt x="340" y="90"/>
                      </a:lnTo>
                      <a:lnTo>
                        <a:pt x="340" y="94"/>
                      </a:lnTo>
                      <a:lnTo>
                        <a:pt x="340" y="98"/>
                      </a:lnTo>
                      <a:lnTo>
                        <a:pt x="336" y="98"/>
                      </a:lnTo>
                      <a:lnTo>
                        <a:pt x="336" y="102"/>
                      </a:lnTo>
                      <a:lnTo>
                        <a:pt x="332" y="102"/>
                      </a:lnTo>
                      <a:lnTo>
                        <a:pt x="328" y="102"/>
                      </a:lnTo>
                      <a:lnTo>
                        <a:pt x="328" y="98"/>
                      </a:lnTo>
                      <a:lnTo>
                        <a:pt x="324" y="98"/>
                      </a:lnTo>
                      <a:lnTo>
                        <a:pt x="320" y="98"/>
                      </a:lnTo>
                      <a:lnTo>
                        <a:pt x="320" y="102"/>
                      </a:lnTo>
                      <a:lnTo>
                        <a:pt x="318" y="102"/>
                      </a:lnTo>
                      <a:lnTo>
                        <a:pt x="318" y="98"/>
                      </a:lnTo>
                      <a:lnTo>
                        <a:pt x="318" y="94"/>
                      </a:lnTo>
                      <a:lnTo>
                        <a:pt x="320" y="94"/>
                      </a:lnTo>
                      <a:lnTo>
                        <a:pt x="320" y="90"/>
                      </a:lnTo>
                      <a:lnTo>
                        <a:pt x="320" y="86"/>
                      </a:lnTo>
                      <a:lnTo>
                        <a:pt x="320" y="82"/>
                      </a:lnTo>
                      <a:lnTo>
                        <a:pt x="318" y="82"/>
                      </a:lnTo>
                      <a:lnTo>
                        <a:pt x="320" y="80"/>
                      </a:lnTo>
                      <a:lnTo>
                        <a:pt x="320" y="76"/>
                      </a:lnTo>
                      <a:lnTo>
                        <a:pt x="320" y="72"/>
                      </a:lnTo>
                      <a:lnTo>
                        <a:pt x="318" y="72"/>
                      </a:lnTo>
                      <a:lnTo>
                        <a:pt x="318" y="76"/>
                      </a:lnTo>
                      <a:lnTo>
                        <a:pt x="314" y="76"/>
                      </a:lnTo>
                      <a:lnTo>
                        <a:pt x="314" y="72"/>
                      </a:lnTo>
                      <a:lnTo>
                        <a:pt x="314" y="68"/>
                      </a:lnTo>
                      <a:lnTo>
                        <a:pt x="318" y="72"/>
                      </a:lnTo>
                      <a:lnTo>
                        <a:pt x="318" y="68"/>
                      </a:lnTo>
                      <a:lnTo>
                        <a:pt x="318" y="64"/>
                      </a:lnTo>
                      <a:lnTo>
                        <a:pt x="318" y="68"/>
                      </a:lnTo>
                      <a:lnTo>
                        <a:pt x="314" y="68"/>
                      </a:lnTo>
                      <a:lnTo>
                        <a:pt x="310" y="68"/>
                      </a:lnTo>
                      <a:lnTo>
                        <a:pt x="310" y="64"/>
                      </a:lnTo>
                      <a:lnTo>
                        <a:pt x="310" y="60"/>
                      </a:lnTo>
                      <a:lnTo>
                        <a:pt x="314" y="56"/>
                      </a:lnTo>
                      <a:lnTo>
                        <a:pt x="310" y="56"/>
                      </a:lnTo>
                      <a:lnTo>
                        <a:pt x="314" y="56"/>
                      </a:lnTo>
                      <a:lnTo>
                        <a:pt x="314" y="54"/>
                      </a:lnTo>
                      <a:lnTo>
                        <a:pt x="318" y="50"/>
                      </a:lnTo>
                      <a:lnTo>
                        <a:pt x="318" y="46"/>
                      </a:lnTo>
                      <a:lnTo>
                        <a:pt x="318" y="42"/>
                      </a:lnTo>
                      <a:lnTo>
                        <a:pt x="318" y="38"/>
                      </a:lnTo>
                      <a:lnTo>
                        <a:pt x="320" y="34"/>
                      </a:lnTo>
                      <a:lnTo>
                        <a:pt x="320" y="30"/>
                      </a:lnTo>
                      <a:lnTo>
                        <a:pt x="320" y="26"/>
                      </a:lnTo>
                      <a:lnTo>
                        <a:pt x="320" y="30"/>
                      </a:lnTo>
                      <a:lnTo>
                        <a:pt x="320" y="26"/>
                      </a:lnTo>
                      <a:lnTo>
                        <a:pt x="320" y="24"/>
                      </a:lnTo>
                      <a:lnTo>
                        <a:pt x="320" y="24"/>
                      </a:lnTo>
                      <a:lnTo>
                        <a:pt x="320" y="24"/>
                      </a:lnTo>
                      <a:close/>
                      <a:moveTo>
                        <a:pt x="4" y="56"/>
                      </a:moveTo>
                      <a:lnTo>
                        <a:pt x="0" y="56"/>
                      </a:lnTo>
                      <a:lnTo>
                        <a:pt x="0" y="54"/>
                      </a:lnTo>
                      <a:lnTo>
                        <a:pt x="4" y="54"/>
                      </a:lnTo>
                      <a:lnTo>
                        <a:pt x="4" y="56"/>
                      </a:lnTo>
                      <a:lnTo>
                        <a:pt x="4" y="56"/>
                      </a:lnTo>
                      <a:lnTo>
                        <a:pt x="4" y="56"/>
                      </a:lnTo>
                      <a:close/>
                      <a:moveTo>
                        <a:pt x="60" y="72"/>
                      </a:moveTo>
                      <a:lnTo>
                        <a:pt x="60" y="68"/>
                      </a:lnTo>
                      <a:lnTo>
                        <a:pt x="56" y="68"/>
                      </a:lnTo>
                      <a:lnTo>
                        <a:pt x="60" y="68"/>
                      </a:lnTo>
                      <a:lnTo>
                        <a:pt x="60" y="72"/>
                      </a:lnTo>
                      <a:lnTo>
                        <a:pt x="60" y="72"/>
                      </a:lnTo>
                      <a:lnTo>
                        <a:pt x="60" y="72"/>
                      </a:lnTo>
                      <a:close/>
                      <a:moveTo>
                        <a:pt x="48" y="72"/>
                      </a:moveTo>
                      <a:lnTo>
                        <a:pt x="46" y="68"/>
                      </a:lnTo>
                      <a:lnTo>
                        <a:pt x="48" y="68"/>
                      </a:lnTo>
                      <a:lnTo>
                        <a:pt x="52" y="72"/>
                      </a:lnTo>
                      <a:lnTo>
                        <a:pt x="48" y="72"/>
                      </a:lnTo>
                      <a:lnTo>
                        <a:pt x="48" y="72"/>
                      </a:lnTo>
                      <a:lnTo>
                        <a:pt x="48" y="72"/>
                      </a:lnTo>
                      <a:close/>
                      <a:moveTo>
                        <a:pt x="38" y="72"/>
                      </a:moveTo>
                      <a:lnTo>
                        <a:pt x="38" y="68"/>
                      </a:lnTo>
                      <a:lnTo>
                        <a:pt x="38" y="72"/>
                      </a:lnTo>
                      <a:lnTo>
                        <a:pt x="38" y="72"/>
                      </a:lnTo>
                      <a:lnTo>
                        <a:pt x="38" y="72"/>
                      </a:lnTo>
                      <a:close/>
                      <a:moveTo>
                        <a:pt x="46" y="76"/>
                      </a:moveTo>
                      <a:lnTo>
                        <a:pt x="42" y="76"/>
                      </a:lnTo>
                      <a:lnTo>
                        <a:pt x="42" y="72"/>
                      </a:lnTo>
                      <a:lnTo>
                        <a:pt x="46" y="72"/>
                      </a:lnTo>
                      <a:lnTo>
                        <a:pt x="48" y="76"/>
                      </a:lnTo>
                      <a:lnTo>
                        <a:pt x="46" y="76"/>
                      </a:lnTo>
                      <a:lnTo>
                        <a:pt x="46" y="76"/>
                      </a:lnTo>
                      <a:lnTo>
                        <a:pt x="46" y="76"/>
                      </a:lnTo>
                      <a:close/>
                      <a:moveTo>
                        <a:pt x="82" y="86"/>
                      </a:moveTo>
                      <a:lnTo>
                        <a:pt x="78" y="86"/>
                      </a:lnTo>
                      <a:lnTo>
                        <a:pt x="78" y="82"/>
                      </a:lnTo>
                      <a:lnTo>
                        <a:pt x="82" y="86"/>
                      </a:lnTo>
                      <a:lnTo>
                        <a:pt x="86" y="86"/>
                      </a:lnTo>
                      <a:lnTo>
                        <a:pt x="86" y="82"/>
                      </a:lnTo>
                      <a:lnTo>
                        <a:pt x="90" y="82"/>
                      </a:lnTo>
                      <a:lnTo>
                        <a:pt x="90" y="86"/>
                      </a:lnTo>
                      <a:lnTo>
                        <a:pt x="86" y="86"/>
                      </a:lnTo>
                      <a:lnTo>
                        <a:pt x="82" y="86"/>
                      </a:lnTo>
                      <a:lnTo>
                        <a:pt x="82" y="86"/>
                      </a:lnTo>
                      <a:lnTo>
                        <a:pt x="82" y="86"/>
                      </a:lnTo>
                      <a:close/>
                      <a:moveTo>
                        <a:pt x="90" y="102"/>
                      </a:moveTo>
                      <a:lnTo>
                        <a:pt x="86" y="102"/>
                      </a:lnTo>
                      <a:lnTo>
                        <a:pt x="90" y="102"/>
                      </a:lnTo>
                      <a:lnTo>
                        <a:pt x="90" y="102"/>
                      </a:lnTo>
                      <a:lnTo>
                        <a:pt x="90" y="102"/>
                      </a:lnTo>
                      <a:close/>
                      <a:moveTo>
                        <a:pt x="204" y="184"/>
                      </a:moveTo>
                      <a:lnTo>
                        <a:pt x="202" y="184"/>
                      </a:lnTo>
                      <a:lnTo>
                        <a:pt x="202" y="180"/>
                      </a:lnTo>
                      <a:lnTo>
                        <a:pt x="204" y="180"/>
                      </a:lnTo>
                      <a:lnTo>
                        <a:pt x="208" y="180"/>
                      </a:lnTo>
                      <a:lnTo>
                        <a:pt x="204" y="184"/>
                      </a:lnTo>
                      <a:lnTo>
                        <a:pt x="204" y="184"/>
                      </a:lnTo>
                      <a:lnTo>
                        <a:pt x="204" y="184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7" name="Freeform 194"/>
                <p:cNvSpPr>
                  <a:spLocks noEditPoints="1"/>
                </p:cNvSpPr>
                <p:nvPr/>
              </p:nvSpPr>
              <p:spPr bwMode="auto">
                <a:xfrm>
                  <a:off x="4765675" y="5165793"/>
                  <a:ext cx="479425" cy="746125"/>
                </a:xfrm>
                <a:custGeom>
                  <a:avLst/>
                  <a:gdLst>
                    <a:gd name="T0" fmla="*/ 12 w 302"/>
                    <a:gd name="T1" fmla="*/ 116 h 470"/>
                    <a:gd name="T2" fmla="*/ 28 w 302"/>
                    <a:gd name="T3" fmla="*/ 122 h 470"/>
                    <a:gd name="T4" fmla="*/ 42 w 302"/>
                    <a:gd name="T5" fmla="*/ 116 h 470"/>
                    <a:gd name="T6" fmla="*/ 50 w 302"/>
                    <a:gd name="T7" fmla="*/ 92 h 470"/>
                    <a:gd name="T8" fmla="*/ 50 w 302"/>
                    <a:gd name="T9" fmla="*/ 56 h 470"/>
                    <a:gd name="T10" fmla="*/ 56 w 302"/>
                    <a:gd name="T11" fmla="*/ 60 h 470"/>
                    <a:gd name="T12" fmla="*/ 60 w 302"/>
                    <a:gd name="T13" fmla="*/ 78 h 470"/>
                    <a:gd name="T14" fmla="*/ 68 w 302"/>
                    <a:gd name="T15" fmla="*/ 86 h 470"/>
                    <a:gd name="T16" fmla="*/ 80 w 302"/>
                    <a:gd name="T17" fmla="*/ 76 h 470"/>
                    <a:gd name="T18" fmla="*/ 90 w 302"/>
                    <a:gd name="T19" fmla="*/ 60 h 470"/>
                    <a:gd name="T20" fmla="*/ 110 w 302"/>
                    <a:gd name="T21" fmla="*/ 64 h 470"/>
                    <a:gd name="T22" fmla="*/ 120 w 302"/>
                    <a:gd name="T23" fmla="*/ 68 h 470"/>
                    <a:gd name="T24" fmla="*/ 128 w 302"/>
                    <a:gd name="T25" fmla="*/ 60 h 470"/>
                    <a:gd name="T26" fmla="*/ 142 w 302"/>
                    <a:gd name="T27" fmla="*/ 46 h 470"/>
                    <a:gd name="T28" fmla="*/ 146 w 302"/>
                    <a:gd name="T29" fmla="*/ 26 h 470"/>
                    <a:gd name="T30" fmla="*/ 164 w 302"/>
                    <a:gd name="T31" fmla="*/ 12 h 470"/>
                    <a:gd name="T32" fmla="*/ 180 w 302"/>
                    <a:gd name="T33" fmla="*/ 0 h 470"/>
                    <a:gd name="T34" fmla="*/ 198 w 302"/>
                    <a:gd name="T35" fmla="*/ 4 h 470"/>
                    <a:gd name="T36" fmla="*/ 212 w 302"/>
                    <a:gd name="T37" fmla="*/ 22 h 470"/>
                    <a:gd name="T38" fmla="*/ 216 w 302"/>
                    <a:gd name="T39" fmla="*/ 42 h 470"/>
                    <a:gd name="T40" fmla="*/ 216 w 302"/>
                    <a:gd name="T41" fmla="*/ 60 h 470"/>
                    <a:gd name="T42" fmla="*/ 210 w 302"/>
                    <a:gd name="T43" fmla="*/ 64 h 470"/>
                    <a:gd name="T44" fmla="*/ 202 w 302"/>
                    <a:gd name="T45" fmla="*/ 82 h 470"/>
                    <a:gd name="T46" fmla="*/ 206 w 302"/>
                    <a:gd name="T47" fmla="*/ 92 h 470"/>
                    <a:gd name="T48" fmla="*/ 220 w 302"/>
                    <a:gd name="T49" fmla="*/ 86 h 470"/>
                    <a:gd name="T50" fmla="*/ 228 w 302"/>
                    <a:gd name="T51" fmla="*/ 96 h 470"/>
                    <a:gd name="T52" fmla="*/ 224 w 302"/>
                    <a:gd name="T53" fmla="*/ 116 h 470"/>
                    <a:gd name="T54" fmla="*/ 210 w 302"/>
                    <a:gd name="T55" fmla="*/ 130 h 470"/>
                    <a:gd name="T56" fmla="*/ 202 w 302"/>
                    <a:gd name="T57" fmla="*/ 148 h 470"/>
                    <a:gd name="T58" fmla="*/ 190 w 302"/>
                    <a:gd name="T59" fmla="*/ 168 h 470"/>
                    <a:gd name="T60" fmla="*/ 180 w 302"/>
                    <a:gd name="T61" fmla="*/ 178 h 470"/>
                    <a:gd name="T62" fmla="*/ 164 w 302"/>
                    <a:gd name="T63" fmla="*/ 194 h 470"/>
                    <a:gd name="T64" fmla="*/ 150 w 302"/>
                    <a:gd name="T65" fmla="*/ 206 h 470"/>
                    <a:gd name="T66" fmla="*/ 136 w 302"/>
                    <a:gd name="T67" fmla="*/ 212 h 470"/>
                    <a:gd name="T68" fmla="*/ 124 w 302"/>
                    <a:gd name="T69" fmla="*/ 216 h 470"/>
                    <a:gd name="T70" fmla="*/ 98 w 302"/>
                    <a:gd name="T71" fmla="*/ 216 h 470"/>
                    <a:gd name="T72" fmla="*/ 80 w 302"/>
                    <a:gd name="T73" fmla="*/ 220 h 470"/>
                    <a:gd name="T74" fmla="*/ 60 w 302"/>
                    <a:gd name="T75" fmla="*/ 224 h 470"/>
                    <a:gd name="T76" fmla="*/ 42 w 302"/>
                    <a:gd name="T77" fmla="*/ 232 h 470"/>
                    <a:gd name="T78" fmla="*/ 30 w 302"/>
                    <a:gd name="T79" fmla="*/ 220 h 470"/>
                    <a:gd name="T80" fmla="*/ 28 w 302"/>
                    <a:gd name="T81" fmla="*/ 224 h 470"/>
                    <a:gd name="T82" fmla="*/ 28 w 302"/>
                    <a:gd name="T83" fmla="*/ 212 h 470"/>
                    <a:gd name="T84" fmla="*/ 24 w 302"/>
                    <a:gd name="T85" fmla="*/ 194 h 470"/>
                    <a:gd name="T86" fmla="*/ 24 w 302"/>
                    <a:gd name="T87" fmla="*/ 178 h 470"/>
                    <a:gd name="T88" fmla="*/ 16 w 302"/>
                    <a:gd name="T89" fmla="*/ 164 h 470"/>
                    <a:gd name="T90" fmla="*/ 8 w 302"/>
                    <a:gd name="T91" fmla="*/ 142 h 470"/>
                    <a:gd name="T92" fmla="*/ 0 w 302"/>
                    <a:gd name="T93" fmla="*/ 120 h 470"/>
                    <a:gd name="T94" fmla="*/ 8 w 302"/>
                    <a:gd name="T95" fmla="*/ 108 h 470"/>
                    <a:gd name="T96" fmla="*/ 180 w 302"/>
                    <a:gd name="T97" fmla="*/ 122 h 470"/>
                    <a:gd name="T98" fmla="*/ 168 w 302"/>
                    <a:gd name="T99" fmla="*/ 120 h 470"/>
                    <a:gd name="T100" fmla="*/ 154 w 302"/>
                    <a:gd name="T101" fmla="*/ 134 h 470"/>
                    <a:gd name="T102" fmla="*/ 154 w 302"/>
                    <a:gd name="T103" fmla="*/ 148 h 470"/>
                    <a:gd name="T104" fmla="*/ 164 w 302"/>
                    <a:gd name="T105" fmla="*/ 146 h 470"/>
                    <a:gd name="T106" fmla="*/ 180 w 302"/>
                    <a:gd name="T107" fmla="*/ 134 h 470"/>
                    <a:gd name="T108" fmla="*/ 302 w 302"/>
                    <a:gd name="T109" fmla="*/ 466 h 4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302" h="470">
                      <a:moveTo>
                        <a:pt x="8" y="108"/>
                      </a:moveTo>
                      <a:lnTo>
                        <a:pt x="8" y="112"/>
                      </a:lnTo>
                      <a:lnTo>
                        <a:pt x="12" y="112"/>
                      </a:lnTo>
                      <a:lnTo>
                        <a:pt x="12" y="108"/>
                      </a:lnTo>
                      <a:lnTo>
                        <a:pt x="12" y="112"/>
                      </a:lnTo>
                      <a:lnTo>
                        <a:pt x="12" y="116"/>
                      </a:lnTo>
                      <a:lnTo>
                        <a:pt x="12" y="120"/>
                      </a:lnTo>
                      <a:lnTo>
                        <a:pt x="16" y="120"/>
                      </a:lnTo>
                      <a:lnTo>
                        <a:pt x="20" y="120"/>
                      </a:lnTo>
                      <a:lnTo>
                        <a:pt x="20" y="122"/>
                      </a:lnTo>
                      <a:lnTo>
                        <a:pt x="24" y="122"/>
                      </a:lnTo>
                      <a:lnTo>
                        <a:pt x="28" y="122"/>
                      </a:lnTo>
                      <a:lnTo>
                        <a:pt x="30" y="120"/>
                      </a:lnTo>
                      <a:lnTo>
                        <a:pt x="34" y="122"/>
                      </a:lnTo>
                      <a:lnTo>
                        <a:pt x="38" y="122"/>
                      </a:lnTo>
                      <a:lnTo>
                        <a:pt x="38" y="120"/>
                      </a:lnTo>
                      <a:lnTo>
                        <a:pt x="42" y="120"/>
                      </a:lnTo>
                      <a:lnTo>
                        <a:pt x="42" y="116"/>
                      </a:lnTo>
                      <a:lnTo>
                        <a:pt x="46" y="116"/>
                      </a:lnTo>
                      <a:lnTo>
                        <a:pt x="50" y="112"/>
                      </a:lnTo>
                      <a:lnTo>
                        <a:pt x="50" y="108"/>
                      </a:lnTo>
                      <a:lnTo>
                        <a:pt x="50" y="104"/>
                      </a:lnTo>
                      <a:lnTo>
                        <a:pt x="50" y="96"/>
                      </a:lnTo>
                      <a:lnTo>
                        <a:pt x="50" y="92"/>
                      </a:lnTo>
                      <a:lnTo>
                        <a:pt x="50" y="90"/>
                      </a:lnTo>
                      <a:lnTo>
                        <a:pt x="50" y="78"/>
                      </a:lnTo>
                      <a:lnTo>
                        <a:pt x="50" y="68"/>
                      </a:lnTo>
                      <a:lnTo>
                        <a:pt x="50" y="64"/>
                      </a:lnTo>
                      <a:lnTo>
                        <a:pt x="50" y="60"/>
                      </a:lnTo>
                      <a:lnTo>
                        <a:pt x="50" y="56"/>
                      </a:lnTo>
                      <a:lnTo>
                        <a:pt x="50" y="52"/>
                      </a:lnTo>
                      <a:lnTo>
                        <a:pt x="50" y="48"/>
                      </a:lnTo>
                      <a:lnTo>
                        <a:pt x="54" y="48"/>
                      </a:lnTo>
                      <a:lnTo>
                        <a:pt x="54" y="52"/>
                      </a:lnTo>
                      <a:lnTo>
                        <a:pt x="56" y="56"/>
                      </a:lnTo>
                      <a:lnTo>
                        <a:pt x="56" y="60"/>
                      </a:lnTo>
                      <a:lnTo>
                        <a:pt x="60" y="64"/>
                      </a:lnTo>
                      <a:lnTo>
                        <a:pt x="56" y="64"/>
                      </a:lnTo>
                      <a:lnTo>
                        <a:pt x="60" y="68"/>
                      </a:lnTo>
                      <a:lnTo>
                        <a:pt x="60" y="72"/>
                      </a:lnTo>
                      <a:lnTo>
                        <a:pt x="60" y="76"/>
                      </a:lnTo>
                      <a:lnTo>
                        <a:pt x="60" y="78"/>
                      </a:lnTo>
                      <a:lnTo>
                        <a:pt x="56" y="78"/>
                      </a:lnTo>
                      <a:lnTo>
                        <a:pt x="56" y="82"/>
                      </a:lnTo>
                      <a:lnTo>
                        <a:pt x="56" y="86"/>
                      </a:lnTo>
                      <a:lnTo>
                        <a:pt x="60" y="86"/>
                      </a:lnTo>
                      <a:lnTo>
                        <a:pt x="64" y="86"/>
                      </a:lnTo>
                      <a:lnTo>
                        <a:pt x="68" y="86"/>
                      </a:lnTo>
                      <a:lnTo>
                        <a:pt x="72" y="86"/>
                      </a:lnTo>
                      <a:lnTo>
                        <a:pt x="76" y="86"/>
                      </a:lnTo>
                      <a:lnTo>
                        <a:pt x="76" y="82"/>
                      </a:lnTo>
                      <a:lnTo>
                        <a:pt x="80" y="82"/>
                      </a:lnTo>
                      <a:lnTo>
                        <a:pt x="80" y="78"/>
                      </a:lnTo>
                      <a:lnTo>
                        <a:pt x="80" y="76"/>
                      </a:lnTo>
                      <a:lnTo>
                        <a:pt x="84" y="76"/>
                      </a:lnTo>
                      <a:lnTo>
                        <a:pt x="86" y="72"/>
                      </a:lnTo>
                      <a:lnTo>
                        <a:pt x="86" y="68"/>
                      </a:lnTo>
                      <a:lnTo>
                        <a:pt x="86" y="64"/>
                      </a:lnTo>
                      <a:lnTo>
                        <a:pt x="90" y="64"/>
                      </a:lnTo>
                      <a:lnTo>
                        <a:pt x="90" y="60"/>
                      </a:lnTo>
                      <a:lnTo>
                        <a:pt x="90" y="56"/>
                      </a:lnTo>
                      <a:lnTo>
                        <a:pt x="94" y="56"/>
                      </a:lnTo>
                      <a:lnTo>
                        <a:pt x="98" y="56"/>
                      </a:lnTo>
                      <a:lnTo>
                        <a:pt x="102" y="60"/>
                      </a:lnTo>
                      <a:lnTo>
                        <a:pt x="106" y="64"/>
                      </a:lnTo>
                      <a:lnTo>
                        <a:pt x="110" y="64"/>
                      </a:lnTo>
                      <a:lnTo>
                        <a:pt x="110" y="68"/>
                      </a:lnTo>
                      <a:lnTo>
                        <a:pt x="112" y="68"/>
                      </a:lnTo>
                      <a:lnTo>
                        <a:pt x="112" y="64"/>
                      </a:lnTo>
                      <a:lnTo>
                        <a:pt x="112" y="68"/>
                      </a:lnTo>
                      <a:lnTo>
                        <a:pt x="116" y="68"/>
                      </a:lnTo>
                      <a:lnTo>
                        <a:pt x="120" y="68"/>
                      </a:lnTo>
                      <a:lnTo>
                        <a:pt x="120" y="64"/>
                      </a:lnTo>
                      <a:lnTo>
                        <a:pt x="120" y="68"/>
                      </a:lnTo>
                      <a:lnTo>
                        <a:pt x="124" y="68"/>
                      </a:lnTo>
                      <a:lnTo>
                        <a:pt x="124" y="64"/>
                      </a:lnTo>
                      <a:lnTo>
                        <a:pt x="128" y="64"/>
                      </a:lnTo>
                      <a:lnTo>
                        <a:pt x="128" y="60"/>
                      </a:lnTo>
                      <a:lnTo>
                        <a:pt x="132" y="56"/>
                      </a:lnTo>
                      <a:lnTo>
                        <a:pt x="132" y="52"/>
                      </a:lnTo>
                      <a:lnTo>
                        <a:pt x="132" y="48"/>
                      </a:lnTo>
                      <a:lnTo>
                        <a:pt x="136" y="46"/>
                      </a:lnTo>
                      <a:lnTo>
                        <a:pt x="140" y="46"/>
                      </a:lnTo>
                      <a:lnTo>
                        <a:pt x="142" y="46"/>
                      </a:lnTo>
                      <a:lnTo>
                        <a:pt x="142" y="42"/>
                      </a:lnTo>
                      <a:lnTo>
                        <a:pt x="146" y="42"/>
                      </a:lnTo>
                      <a:lnTo>
                        <a:pt x="146" y="38"/>
                      </a:lnTo>
                      <a:lnTo>
                        <a:pt x="146" y="34"/>
                      </a:lnTo>
                      <a:lnTo>
                        <a:pt x="146" y="30"/>
                      </a:lnTo>
                      <a:lnTo>
                        <a:pt x="146" y="26"/>
                      </a:lnTo>
                      <a:lnTo>
                        <a:pt x="150" y="26"/>
                      </a:lnTo>
                      <a:lnTo>
                        <a:pt x="154" y="22"/>
                      </a:lnTo>
                      <a:lnTo>
                        <a:pt x="158" y="22"/>
                      </a:lnTo>
                      <a:lnTo>
                        <a:pt x="158" y="18"/>
                      </a:lnTo>
                      <a:lnTo>
                        <a:pt x="162" y="16"/>
                      </a:lnTo>
                      <a:lnTo>
                        <a:pt x="164" y="12"/>
                      </a:lnTo>
                      <a:lnTo>
                        <a:pt x="164" y="8"/>
                      </a:lnTo>
                      <a:lnTo>
                        <a:pt x="168" y="8"/>
                      </a:lnTo>
                      <a:lnTo>
                        <a:pt x="172" y="8"/>
                      </a:lnTo>
                      <a:lnTo>
                        <a:pt x="176" y="8"/>
                      </a:lnTo>
                      <a:lnTo>
                        <a:pt x="176" y="4"/>
                      </a:lnTo>
                      <a:lnTo>
                        <a:pt x="180" y="0"/>
                      </a:lnTo>
                      <a:lnTo>
                        <a:pt x="182" y="0"/>
                      </a:lnTo>
                      <a:lnTo>
                        <a:pt x="186" y="0"/>
                      </a:lnTo>
                      <a:lnTo>
                        <a:pt x="190" y="0"/>
                      </a:lnTo>
                      <a:lnTo>
                        <a:pt x="190" y="4"/>
                      </a:lnTo>
                      <a:lnTo>
                        <a:pt x="194" y="4"/>
                      </a:lnTo>
                      <a:lnTo>
                        <a:pt x="198" y="4"/>
                      </a:lnTo>
                      <a:lnTo>
                        <a:pt x="202" y="4"/>
                      </a:lnTo>
                      <a:lnTo>
                        <a:pt x="206" y="4"/>
                      </a:lnTo>
                      <a:lnTo>
                        <a:pt x="210" y="4"/>
                      </a:lnTo>
                      <a:lnTo>
                        <a:pt x="210" y="8"/>
                      </a:lnTo>
                      <a:lnTo>
                        <a:pt x="212" y="18"/>
                      </a:lnTo>
                      <a:lnTo>
                        <a:pt x="212" y="22"/>
                      </a:lnTo>
                      <a:lnTo>
                        <a:pt x="212" y="26"/>
                      </a:lnTo>
                      <a:lnTo>
                        <a:pt x="212" y="30"/>
                      </a:lnTo>
                      <a:lnTo>
                        <a:pt x="216" y="30"/>
                      </a:lnTo>
                      <a:lnTo>
                        <a:pt x="216" y="34"/>
                      </a:lnTo>
                      <a:lnTo>
                        <a:pt x="216" y="38"/>
                      </a:lnTo>
                      <a:lnTo>
                        <a:pt x="216" y="42"/>
                      </a:lnTo>
                      <a:lnTo>
                        <a:pt x="220" y="42"/>
                      </a:lnTo>
                      <a:lnTo>
                        <a:pt x="216" y="46"/>
                      </a:lnTo>
                      <a:lnTo>
                        <a:pt x="216" y="48"/>
                      </a:lnTo>
                      <a:lnTo>
                        <a:pt x="216" y="52"/>
                      </a:lnTo>
                      <a:lnTo>
                        <a:pt x="220" y="52"/>
                      </a:lnTo>
                      <a:lnTo>
                        <a:pt x="216" y="60"/>
                      </a:lnTo>
                      <a:lnTo>
                        <a:pt x="216" y="64"/>
                      </a:lnTo>
                      <a:lnTo>
                        <a:pt x="216" y="68"/>
                      </a:lnTo>
                      <a:lnTo>
                        <a:pt x="216" y="72"/>
                      </a:lnTo>
                      <a:lnTo>
                        <a:pt x="216" y="68"/>
                      </a:lnTo>
                      <a:lnTo>
                        <a:pt x="212" y="68"/>
                      </a:lnTo>
                      <a:lnTo>
                        <a:pt x="210" y="64"/>
                      </a:lnTo>
                      <a:lnTo>
                        <a:pt x="206" y="68"/>
                      </a:lnTo>
                      <a:lnTo>
                        <a:pt x="206" y="72"/>
                      </a:lnTo>
                      <a:lnTo>
                        <a:pt x="206" y="76"/>
                      </a:lnTo>
                      <a:lnTo>
                        <a:pt x="202" y="76"/>
                      </a:lnTo>
                      <a:lnTo>
                        <a:pt x="202" y="78"/>
                      </a:lnTo>
                      <a:lnTo>
                        <a:pt x="202" y="82"/>
                      </a:lnTo>
                      <a:lnTo>
                        <a:pt x="202" y="86"/>
                      </a:lnTo>
                      <a:lnTo>
                        <a:pt x="202" y="82"/>
                      </a:lnTo>
                      <a:lnTo>
                        <a:pt x="202" y="86"/>
                      </a:lnTo>
                      <a:lnTo>
                        <a:pt x="206" y="86"/>
                      </a:lnTo>
                      <a:lnTo>
                        <a:pt x="206" y="90"/>
                      </a:lnTo>
                      <a:lnTo>
                        <a:pt x="206" y="92"/>
                      </a:lnTo>
                      <a:lnTo>
                        <a:pt x="210" y="92"/>
                      </a:lnTo>
                      <a:lnTo>
                        <a:pt x="212" y="92"/>
                      </a:lnTo>
                      <a:lnTo>
                        <a:pt x="216" y="92"/>
                      </a:lnTo>
                      <a:lnTo>
                        <a:pt x="216" y="90"/>
                      </a:lnTo>
                      <a:lnTo>
                        <a:pt x="216" y="86"/>
                      </a:lnTo>
                      <a:lnTo>
                        <a:pt x="220" y="86"/>
                      </a:lnTo>
                      <a:lnTo>
                        <a:pt x="224" y="86"/>
                      </a:lnTo>
                      <a:lnTo>
                        <a:pt x="228" y="86"/>
                      </a:lnTo>
                      <a:lnTo>
                        <a:pt x="232" y="86"/>
                      </a:lnTo>
                      <a:lnTo>
                        <a:pt x="232" y="90"/>
                      </a:lnTo>
                      <a:lnTo>
                        <a:pt x="228" y="92"/>
                      </a:lnTo>
                      <a:lnTo>
                        <a:pt x="228" y="96"/>
                      </a:lnTo>
                      <a:lnTo>
                        <a:pt x="228" y="100"/>
                      </a:lnTo>
                      <a:lnTo>
                        <a:pt x="228" y="104"/>
                      </a:lnTo>
                      <a:lnTo>
                        <a:pt x="228" y="108"/>
                      </a:lnTo>
                      <a:lnTo>
                        <a:pt x="224" y="108"/>
                      </a:lnTo>
                      <a:lnTo>
                        <a:pt x="224" y="112"/>
                      </a:lnTo>
                      <a:lnTo>
                        <a:pt x="224" y="116"/>
                      </a:lnTo>
                      <a:lnTo>
                        <a:pt x="220" y="120"/>
                      </a:lnTo>
                      <a:lnTo>
                        <a:pt x="220" y="122"/>
                      </a:lnTo>
                      <a:lnTo>
                        <a:pt x="216" y="122"/>
                      </a:lnTo>
                      <a:lnTo>
                        <a:pt x="212" y="122"/>
                      </a:lnTo>
                      <a:lnTo>
                        <a:pt x="212" y="126"/>
                      </a:lnTo>
                      <a:lnTo>
                        <a:pt x="210" y="130"/>
                      </a:lnTo>
                      <a:lnTo>
                        <a:pt x="206" y="134"/>
                      </a:lnTo>
                      <a:lnTo>
                        <a:pt x="206" y="138"/>
                      </a:lnTo>
                      <a:lnTo>
                        <a:pt x="206" y="142"/>
                      </a:lnTo>
                      <a:lnTo>
                        <a:pt x="202" y="142"/>
                      </a:lnTo>
                      <a:lnTo>
                        <a:pt x="202" y="146"/>
                      </a:lnTo>
                      <a:lnTo>
                        <a:pt x="202" y="148"/>
                      </a:lnTo>
                      <a:lnTo>
                        <a:pt x="198" y="148"/>
                      </a:lnTo>
                      <a:lnTo>
                        <a:pt x="198" y="156"/>
                      </a:lnTo>
                      <a:lnTo>
                        <a:pt x="194" y="156"/>
                      </a:lnTo>
                      <a:lnTo>
                        <a:pt x="194" y="160"/>
                      </a:lnTo>
                      <a:lnTo>
                        <a:pt x="190" y="164"/>
                      </a:lnTo>
                      <a:lnTo>
                        <a:pt x="190" y="168"/>
                      </a:lnTo>
                      <a:lnTo>
                        <a:pt x="186" y="168"/>
                      </a:lnTo>
                      <a:lnTo>
                        <a:pt x="186" y="172"/>
                      </a:lnTo>
                      <a:lnTo>
                        <a:pt x="182" y="172"/>
                      </a:lnTo>
                      <a:lnTo>
                        <a:pt x="182" y="176"/>
                      </a:lnTo>
                      <a:lnTo>
                        <a:pt x="180" y="176"/>
                      </a:lnTo>
                      <a:lnTo>
                        <a:pt x="180" y="178"/>
                      </a:lnTo>
                      <a:lnTo>
                        <a:pt x="176" y="178"/>
                      </a:lnTo>
                      <a:lnTo>
                        <a:pt x="176" y="182"/>
                      </a:lnTo>
                      <a:lnTo>
                        <a:pt x="172" y="186"/>
                      </a:lnTo>
                      <a:lnTo>
                        <a:pt x="168" y="190"/>
                      </a:lnTo>
                      <a:lnTo>
                        <a:pt x="168" y="194"/>
                      </a:lnTo>
                      <a:lnTo>
                        <a:pt x="164" y="194"/>
                      </a:lnTo>
                      <a:lnTo>
                        <a:pt x="164" y="198"/>
                      </a:lnTo>
                      <a:lnTo>
                        <a:pt x="162" y="198"/>
                      </a:lnTo>
                      <a:lnTo>
                        <a:pt x="158" y="198"/>
                      </a:lnTo>
                      <a:lnTo>
                        <a:pt x="158" y="202"/>
                      </a:lnTo>
                      <a:lnTo>
                        <a:pt x="154" y="206"/>
                      </a:lnTo>
                      <a:lnTo>
                        <a:pt x="150" y="206"/>
                      </a:lnTo>
                      <a:lnTo>
                        <a:pt x="150" y="208"/>
                      </a:lnTo>
                      <a:lnTo>
                        <a:pt x="146" y="208"/>
                      </a:lnTo>
                      <a:lnTo>
                        <a:pt x="142" y="208"/>
                      </a:lnTo>
                      <a:lnTo>
                        <a:pt x="142" y="212"/>
                      </a:lnTo>
                      <a:lnTo>
                        <a:pt x="140" y="212"/>
                      </a:lnTo>
                      <a:lnTo>
                        <a:pt x="136" y="212"/>
                      </a:lnTo>
                      <a:lnTo>
                        <a:pt x="132" y="212"/>
                      </a:lnTo>
                      <a:lnTo>
                        <a:pt x="128" y="212"/>
                      </a:lnTo>
                      <a:lnTo>
                        <a:pt x="128" y="216"/>
                      </a:lnTo>
                      <a:lnTo>
                        <a:pt x="132" y="216"/>
                      </a:lnTo>
                      <a:lnTo>
                        <a:pt x="128" y="216"/>
                      </a:lnTo>
                      <a:lnTo>
                        <a:pt x="124" y="216"/>
                      </a:lnTo>
                      <a:lnTo>
                        <a:pt x="120" y="216"/>
                      </a:lnTo>
                      <a:lnTo>
                        <a:pt x="116" y="220"/>
                      </a:lnTo>
                      <a:lnTo>
                        <a:pt x="112" y="220"/>
                      </a:lnTo>
                      <a:lnTo>
                        <a:pt x="106" y="216"/>
                      </a:lnTo>
                      <a:lnTo>
                        <a:pt x="102" y="216"/>
                      </a:lnTo>
                      <a:lnTo>
                        <a:pt x="98" y="216"/>
                      </a:lnTo>
                      <a:lnTo>
                        <a:pt x="94" y="216"/>
                      </a:lnTo>
                      <a:lnTo>
                        <a:pt x="90" y="216"/>
                      </a:lnTo>
                      <a:lnTo>
                        <a:pt x="86" y="216"/>
                      </a:lnTo>
                      <a:lnTo>
                        <a:pt x="84" y="216"/>
                      </a:lnTo>
                      <a:lnTo>
                        <a:pt x="80" y="216"/>
                      </a:lnTo>
                      <a:lnTo>
                        <a:pt x="80" y="220"/>
                      </a:lnTo>
                      <a:lnTo>
                        <a:pt x="76" y="220"/>
                      </a:lnTo>
                      <a:lnTo>
                        <a:pt x="76" y="224"/>
                      </a:lnTo>
                      <a:lnTo>
                        <a:pt x="72" y="224"/>
                      </a:lnTo>
                      <a:lnTo>
                        <a:pt x="68" y="224"/>
                      </a:lnTo>
                      <a:lnTo>
                        <a:pt x="64" y="224"/>
                      </a:lnTo>
                      <a:lnTo>
                        <a:pt x="60" y="224"/>
                      </a:lnTo>
                      <a:lnTo>
                        <a:pt x="56" y="224"/>
                      </a:lnTo>
                      <a:lnTo>
                        <a:pt x="56" y="228"/>
                      </a:lnTo>
                      <a:lnTo>
                        <a:pt x="54" y="228"/>
                      </a:lnTo>
                      <a:lnTo>
                        <a:pt x="50" y="232"/>
                      </a:lnTo>
                      <a:lnTo>
                        <a:pt x="46" y="232"/>
                      </a:lnTo>
                      <a:lnTo>
                        <a:pt x="42" y="232"/>
                      </a:lnTo>
                      <a:lnTo>
                        <a:pt x="42" y="228"/>
                      </a:lnTo>
                      <a:lnTo>
                        <a:pt x="38" y="228"/>
                      </a:lnTo>
                      <a:lnTo>
                        <a:pt x="38" y="224"/>
                      </a:lnTo>
                      <a:lnTo>
                        <a:pt x="34" y="224"/>
                      </a:lnTo>
                      <a:lnTo>
                        <a:pt x="30" y="224"/>
                      </a:lnTo>
                      <a:lnTo>
                        <a:pt x="30" y="220"/>
                      </a:lnTo>
                      <a:lnTo>
                        <a:pt x="34" y="220"/>
                      </a:lnTo>
                      <a:lnTo>
                        <a:pt x="30" y="220"/>
                      </a:lnTo>
                      <a:lnTo>
                        <a:pt x="30" y="216"/>
                      </a:lnTo>
                      <a:lnTo>
                        <a:pt x="28" y="216"/>
                      </a:lnTo>
                      <a:lnTo>
                        <a:pt x="28" y="220"/>
                      </a:lnTo>
                      <a:lnTo>
                        <a:pt x="28" y="224"/>
                      </a:lnTo>
                      <a:lnTo>
                        <a:pt x="28" y="220"/>
                      </a:lnTo>
                      <a:lnTo>
                        <a:pt x="24" y="216"/>
                      </a:lnTo>
                      <a:lnTo>
                        <a:pt x="28" y="216"/>
                      </a:lnTo>
                      <a:lnTo>
                        <a:pt x="28" y="212"/>
                      </a:lnTo>
                      <a:lnTo>
                        <a:pt x="28" y="216"/>
                      </a:lnTo>
                      <a:lnTo>
                        <a:pt x="28" y="212"/>
                      </a:lnTo>
                      <a:lnTo>
                        <a:pt x="28" y="208"/>
                      </a:lnTo>
                      <a:lnTo>
                        <a:pt x="24" y="206"/>
                      </a:lnTo>
                      <a:lnTo>
                        <a:pt x="24" y="202"/>
                      </a:lnTo>
                      <a:lnTo>
                        <a:pt x="20" y="198"/>
                      </a:lnTo>
                      <a:lnTo>
                        <a:pt x="20" y="194"/>
                      </a:lnTo>
                      <a:lnTo>
                        <a:pt x="24" y="194"/>
                      </a:lnTo>
                      <a:lnTo>
                        <a:pt x="24" y="190"/>
                      </a:lnTo>
                      <a:lnTo>
                        <a:pt x="28" y="190"/>
                      </a:lnTo>
                      <a:lnTo>
                        <a:pt x="28" y="186"/>
                      </a:lnTo>
                      <a:lnTo>
                        <a:pt x="28" y="182"/>
                      </a:lnTo>
                      <a:lnTo>
                        <a:pt x="24" y="182"/>
                      </a:lnTo>
                      <a:lnTo>
                        <a:pt x="24" y="178"/>
                      </a:lnTo>
                      <a:lnTo>
                        <a:pt x="24" y="176"/>
                      </a:lnTo>
                      <a:lnTo>
                        <a:pt x="24" y="172"/>
                      </a:lnTo>
                      <a:lnTo>
                        <a:pt x="20" y="172"/>
                      </a:lnTo>
                      <a:lnTo>
                        <a:pt x="20" y="168"/>
                      </a:lnTo>
                      <a:lnTo>
                        <a:pt x="20" y="164"/>
                      </a:lnTo>
                      <a:lnTo>
                        <a:pt x="16" y="164"/>
                      </a:lnTo>
                      <a:lnTo>
                        <a:pt x="16" y="160"/>
                      </a:lnTo>
                      <a:lnTo>
                        <a:pt x="12" y="156"/>
                      </a:lnTo>
                      <a:lnTo>
                        <a:pt x="12" y="152"/>
                      </a:lnTo>
                      <a:lnTo>
                        <a:pt x="12" y="148"/>
                      </a:lnTo>
                      <a:lnTo>
                        <a:pt x="8" y="146"/>
                      </a:lnTo>
                      <a:lnTo>
                        <a:pt x="8" y="142"/>
                      </a:lnTo>
                      <a:lnTo>
                        <a:pt x="8" y="138"/>
                      </a:lnTo>
                      <a:lnTo>
                        <a:pt x="8" y="134"/>
                      </a:lnTo>
                      <a:lnTo>
                        <a:pt x="4" y="130"/>
                      </a:lnTo>
                      <a:lnTo>
                        <a:pt x="4" y="126"/>
                      </a:lnTo>
                      <a:lnTo>
                        <a:pt x="0" y="122"/>
                      </a:lnTo>
                      <a:lnTo>
                        <a:pt x="0" y="120"/>
                      </a:lnTo>
                      <a:lnTo>
                        <a:pt x="0" y="116"/>
                      </a:lnTo>
                      <a:lnTo>
                        <a:pt x="4" y="116"/>
                      </a:lnTo>
                      <a:lnTo>
                        <a:pt x="4" y="112"/>
                      </a:lnTo>
                      <a:lnTo>
                        <a:pt x="4" y="108"/>
                      </a:lnTo>
                      <a:lnTo>
                        <a:pt x="8" y="108"/>
                      </a:lnTo>
                      <a:lnTo>
                        <a:pt x="8" y="108"/>
                      </a:lnTo>
                      <a:lnTo>
                        <a:pt x="8" y="108"/>
                      </a:lnTo>
                      <a:close/>
                      <a:moveTo>
                        <a:pt x="180" y="134"/>
                      </a:moveTo>
                      <a:lnTo>
                        <a:pt x="180" y="130"/>
                      </a:lnTo>
                      <a:lnTo>
                        <a:pt x="182" y="130"/>
                      </a:lnTo>
                      <a:lnTo>
                        <a:pt x="180" y="126"/>
                      </a:lnTo>
                      <a:lnTo>
                        <a:pt x="180" y="122"/>
                      </a:lnTo>
                      <a:lnTo>
                        <a:pt x="176" y="122"/>
                      </a:lnTo>
                      <a:lnTo>
                        <a:pt x="176" y="120"/>
                      </a:lnTo>
                      <a:lnTo>
                        <a:pt x="172" y="120"/>
                      </a:lnTo>
                      <a:lnTo>
                        <a:pt x="172" y="116"/>
                      </a:lnTo>
                      <a:lnTo>
                        <a:pt x="168" y="116"/>
                      </a:lnTo>
                      <a:lnTo>
                        <a:pt x="168" y="120"/>
                      </a:lnTo>
                      <a:lnTo>
                        <a:pt x="164" y="120"/>
                      </a:lnTo>
                      <a:lnTo>
                        <a:pt x="162" y="122"/>
                      </a:lnTo>
                      <a:lnTo>
                        <a:pt x="158" y="122"/>
                      </a:lnTo>
                      <a:lnTo>
                        <a:pt x="158" y="126"/>
                      </a:lnTo>
                      <a:lnTo>
                        <a:pt x="154" y="130"/>
                      </a:lnTo>
                      <a:lnTo>
                        <a:pt x="154" y="134"/>
                      </a:lnTo>
                      <a:lnTo>
                        <a:pt x="150" y="134"/>
                      </a:lnTo>
                      <a:lnTo>
                        <a:pt x="150" y="138"/>
                      </a:lnTo>
                      <a:lnTo>
                        <a:pt x="150" y="142"/>
                      </a:lnTo>
                      <a:lnTo>
                        <a:pt x="154" y="142"/>
                      </a:lnTo>
                      <a:lnTo>
                        <a:pt x="154" y="146"/>
                      </a:lnTo>
                      <a:lnTo>
                        <a:pt x="154" y="148"/>
                      </a:lnTo>
                      <a:lnTo>
                        <a:pt x="158" y="148"/>
                      </a:lnTo>
                      <a:lnTo>
                        <a:pt x="158" y="152"/>
                      </a:lnTo>
                      <a:lnTo>
                        <a:pt x="162" y="152"/>
                      </a:lnTo>
                      <a:lnTo>
                        <a:pt x="164" y="152"/>
                      </a:lnTo>
                      <a:lnTo>
                        <a:pt x="164" y="148"/>
                      </a:lnTo>
                      <a:lnTo>
                        <a:pt x="164" y="146"/>
                      </a:lnTo>
                      <a:lnTo>
                        <a:pt x="168" y="146"/>
                      </a:lnTo>
                      <a:lnTo>
                        <a:pt x="172" y="146"/>
                      </a:lnTo>
                      <a:lnTo>
                        <a:pt x="176" y="142"/>
                      </a:lnTo>
                      <a:lnTo>
                        <a:pt x="180" y="142"/>
                      </a:lnTo>
                      <a:lnTo>
                        <a:pt x="180" y="138"/>
                      </a:lnTo>
                      <a:lnTo>
                        <a:pt x="180" y="134"/>
                      </a:lnTo>
                      <a:lnTo>
                        <a:pt x="180" y="134"/>
                      </a:lnTo>
                      <a:lnTo>
                        <a:pt x="180" y="134"/>
                      </a:lnTo>
                      <a:close/>
                      <a:moveTo>
                        <a:pt x="302" y="470"/>
                      </a:moveTo>
                      <a:lnTo>
                        <a:pt x="298" y="470"/>
                      </a:lnTo>
                      <a:lnTo>
                        <a:pt x="298" y="466"/>
                      </a:lnTo>
                      <a:lnTo>
                        <a:pt x="302" y="466"/>
                      </a:lnTo>
                      <a:lnTo>
                        <a:pt x="302" y="470"/>
                      </a:lnTo>
                      <a:lnTo>
                        <a:pt x="302" y="470"/>
                      </a:lnTo>
                      <a:lnTo>
                        <a:pt x="302" y="47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8" name="Freeform 195"/>
                <p:cNvSpPr>
                  <a:spLocks noEditPoints="1"/>
                </p:cNvSpPr>
                <p:nvPr/>
              </p:nvSpPr>
              <p:spPr bwMode="auto">
                <a:xfrm>
                  <a:off x="3984625" y="3314768"/>
                  <a:ext cx="504825" cy="479425"/>
                </a:xfrm>
                <a:custGeom>
                  <a:avLst/>
                  <a:gdLst>
                    <a:gd name="T0" fmla="*/ 210 w 318"/>
                    <a:gd name="T1" fmla="*/ 8 h 302"/>
                    <a:gd name="T2" fmla="*/ 224 w 318"/>
                    <a:gd name="T3" fmla="*/ 8 h 302"/>
                    <a:gd name="T4" fmla="*/ 236 w 318"/>
                    <a:gd name="T5" fmla="*/ 12 h 302"/>
                    <a:gd name="T6" fmla="*/ 250 w 318"/>
                    <a:gd name="T7" fmla="*/ 18 h 302"/>
                    <a:gd name="T8" fmla="*/ 266 w 318"/>
                    <a:gd name="T9" fmla="*/ 18 h 302"/>
                    <a:gd name="T10" fmla="*/ 278 w 318"/>
                    <a:gd name="T11" fmla="*/ 22 h 302"/>
                    <a:gd name="T12" fmla="*/ 296 w 318"/>
                    <a:gd name="T13" fmla="*/ 26 h 302"/>
                    <a:gd name="T14" fmla="*/ 304 w 318"/>
                    <a:gd name="T15" fmla="*/ 36 h 302"/>
                    <a:gd name="T16" fmla="*/ 284 w 318"/>
                    <a:gd name="T17" fmla="*/ 48 h 302"/>
                    <a:gd name="T18" fmla="*/ 270 w 318"/>
                    <a:gd name="T19" fmla="*/ 58 h 302"/>
                    <a:gd name="T20" fmla="*/ 266 w 318"/>
                    <a:gd name="T21" fmla="*/ 62 h 302"/>
                    <a:gd name="T22" fmla="*/ 254 w 318"/>
                    <a:gd name="T23" fmla="*/ 88 h 302"/>
                    <a:gd name="T24" fmla="*/ 258 w 318"/>
                    <a:gd name="T25" fmla="*/ 100 h 302"/>
                    <a:gd name="T26" fmla="*/ 248 w 318"/>
                    <a:gd name="T27" fmla="*/ 110 h 302"/>
                    <a:gd name="T28" fmla="*/ 236 w 318"/>
                    <a:gd name="T29" fmla="*/ 122 h 302"/>
                    <a:gd name="T30" fmla="*/ 220 w 318"/>
                    <a:gd name="T31" fmla="*/ 134 h 302"/>
                    <a:gd name="T32" fmla="*/ 202 w 318"/>
                    <a:gd name="T33" fmla="*/ 134 h 302"/>
                    <a:gd name="T34" fmla="*/ 188 w 318"/>
                    <a:gd name="T35" fmla="*/ 140 h 302"/>
                    <a:gd name="T36" fmla="*/ 176 w 318"/>
                    <a:gd name="T37" fmla="*/ 144 h 302"/>
                    <a:gd name="T38" fmla="*/ 168 w 318"/>
                    <a:gd name="T39" fmla="*/ 134 h 302"/>
                    <a:gd name="T40" fmla="*/ 154 w 318"/>
                    <a:gd name="T41" fmla="*/ 118 h 302"/>
                    <a:gd name="T42" fmla="*/ 158 w 318"/>
                    <a:gd name="T43" fmla="*/ 108 h 302"/>
                    <a:gd name="T44" fmla="*/ 158 w 318"/>
                    <a:gd name="T45" fmla="*/ 92 h 302"/>
                    <a:gd name="T46" fmla="*/ 154 w 318"/>
                    <a:gd name="T47" fmla="*/ 78 h 302"/>
                    <a:gd name="T48" fmla="*/ 162 w 318"/>
                    <a:gd name="T49" fmla="*/ 62 h 302"/>
                    <a:gd name="T50" fmla="*/ 168 w 318"/>
                    <a:gd name="T51" fmla="*/ 44 h 302"/>
                    <a:gd name="T52" fmla="*/ 164 w 318"/>
                    <a:gd name="T53" fmla="*/ 32 h 302"/>
                    <a:gd name="T54" fmla="*/ 146 w 318"/>
                    <a:gd name="T55" fmla="*/ 36 h 302"/>
                    <a:gd name="T56" fmla="*/ 134 w 318"/>
                    <a:gd name="T57" fmla="*/ 32 h 302"/>
                    <a:gd name="T58" fmla="*/ 134 w 318"/>
                    <a:gd name="T59" fmla="*/ 28 h 302"/>
                    <a:gd name="T60" fmla="*/ 132 w 318"/>
                    <a:gd name="T61" fmla="*/ 26 h 302"/>
                    <a:gd name="T62" fmla="*/ 132 w 318"/>
                    <a:gd name="T63" fmla="*/ 18 h 302"/>
                    <a:gd name="T64" fmla="*/ 134 w 318"/>
                    <a:gd name="T65" fmla="*/ 8 h 302"/>
                    <a:gd name="T66" fmla="*/ 154 w 318"/>
                    <a:gd name="T67" fmla="*/ 4 h 302"/>
                    <a:gd name="T68" fmla="*/ 176 w 318"/>
                    <a:gd name="T69" fmla="*/ 0 h 302"/>
                    <a:gd name="T70" fmla="*/ 192 w 318"/>
                    <a:gd name="T71" fmla="*/ 8 h 302"/>
                    <a:gd name="T72" fmla="*/ 184 w 318"/>
                    <a:gd name="T73" fmla="*/ 152 h 302"/>
                    <a:gd name="T74" fmla="*/ 218 w 318"/>
                    <a:gd name="T75" fmla="*/ 164 h 302"/>
                    <a:gd name="T76" fmla="*/ 318 w 318"/>
                    <a:gd name="T77" fmla="*/ 70 h 302"/>
                    <a:gd name="T78" fmla="*/ 296 w 318"/>
                    <a:gd name="T79" fmla="*/ 78 h 302"/>
                    <a:gd name="T80" fmla="*/ 304 w 318"/>
                    <a:gd name="T81" fmla="*/ 82 h 302"/>
                    <a:gd name="T82" fmla="*/ 292 w 318"/>
                    <a:gd name="T83" fmla="*/ 82 h 302"/>
                    <a:gd name="T84" fmla="*/ 278 w 318"/>
                    <a:gd name="T85" fmla="*/ 92 h 302"/>
                    <a:gd name="T86" fmla="*/ 278 w 318"/>
                    <a:gd name="T87" fmla="*/ 96 h 302"/>
                    <a:gd name="T88" fmla="*/ 64 w 318"/>
                    <a:gd name="T89" fmla="*/ 276 h 302"/>
                    <a:gd name="T90" fmla="*/ 64 w 318"/>
                    <a:gd name="T91" fmla="*/ 282 h 302"/>
                    <a:gd name="T92" fmla="*/ 8 w 318"/>
                    <a:gd name="T93" fmla="*/ 282 h 302"/>
                    <a:gd name="T94" fmla="*/ 56 w 318"/>
                    <a:gd name="T95" fmla="*/ 294 h 302"/>
                    <a:gd name="T96" fmla="*/ 60 w 318"/>
                    <a:gd name="T97" fmla="*/ 290 h 302"/>
                    <a:gd name="T98" fmla="*/ 22 w 318"/>
                    <a:gd name="T99" fmla="*/ 294 h 302"/>
                    <a:gd name="T100" fmla="*/ 26 w 318"/>
                    <a:gd name="T101" fmla="*/ 286 h 302"/>
                    <a:gd name="T102" fmla="*/ 22 w 318"/>
                    <a:gd name="T103" fmla="*/ 298 h 302"/>
                    <a:gd name="T104" fmla="*/ 16 w 318"/>
                    <a:gd name="T105" fmla="*/ 298 h 302"/>
                    <a:gd name="T106" fmla="*/ 42 w 318"/>
                    <a:gd name="T107" fmla="*/ 298 h 302"/>
                    <a:gd name="T108" fmla="*/ 4 w 318"/>
                    <a:gd name="T109" fmla="*/ 302 h 3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318" h="302">
                      <a:moveTo>
                        <a:pt x="194" y="8"/>
                      </a:moveTo>
                      <a:lnTo>
                        <a:pt x="198" y="8"/>
                      </a:lnTo>
                      <a:lnTo>
                        <a:pt x="202" y="4"/>
                      </a:lnTo>
                      <a:lnTo>
                        <a:pt x="206" y="4"/>
                      </a:lnTo>
                      <a:lnTo>
                        <a:pt x="210" y="4"/>
                      </a:lnTo>
                      <a:lnTo>
                        <a:pt x="210" y="8"/>
                      </a:lnTo>
                      <a:lnTo>
                        <a:pt x="214" y="8"/>
                      </a:lnTo>
                      <a:lnTo>
                        <a:pt x="218" y="8"/>
                      </a:lnTo>
                      <a:lnTo>
                        <a:pt x="218" y="4"/>
                      </a:lnTo>
                      <a:lnTo>
                        <a:pt x="220" y="4"/>
                      </a:lnTo>
                      <a:lnTo>
                        <a:pt x="220" y="8"/>
                      </a:lnTo>
                      <a:lnTo>
                        <a:pt x="224" y="8"/>
                      </a:lnTo>
                      <a:lnTo>
                        <a:pt x="228" y="8"/>
                      </a:lnTo>
                      <a:lnTo>
                        <a:pt x="232" y="8"/>
                      </a:lnTo>
                      <a:lnTo>
                        <a:pt x="236" y="8"/>
                      </a:lnTo>
                      <a:lnTo>
                        <a:pt x="240" y="8"/>
                      </a:lnTo>
                      <a:lnTo>
                        <a:pt x="240" y="12"/>
                      </a:lnTo>
                      <a:lnTo>
                        <a:pt x="236" y="12"/>
                      </a:lnTo>
                      <a:lnTo>
                        <a:pt x="240" y="12"/>
                      </a:lnTo>
                      <a:lnTo>
                        <a:pt x="240" y="14"/>
                      </a:lnTo>
                      <a:lnTo>
                        <a:pt x="240" y="12"/>
                      </a:lnTo>
                      <a:lnTo>
                        <a:pt x="244" y="14"/>
                      </a:lnTo>
                      <a:lnTo>
                        <a:pt x="248" y="14"/>
                      </a:lnTo>
                      <a:lnTo>
                        <a:pt x="250" y="18"/>
                      </a:lnTo>
                      <a:lnTo>
                        <a:pt x="254" y="18"/>
                      </a:lnTo>
                      <a:lnTo>
                        <a:pt x="258" y="18"/>
                      </a:lnTo>
                      <a:lnTo>
                        <a:pt x="262" y="18"/>
                      </a:lnTo>
                      <a:lnTo>
                        <a:pt x="266" y="18"/>
                      </a:lnTo>
                      <a:lnTo>
                        <a:pt x="270" y="18"/>
                      </a:lnTo>
                      <a:lnTo>
                        <a:pt x="266" y="18"/>
                      </a:lnTo>
                      <a:lnTo>
                        <a:pt x="270" y="18"/>
                      </a:lnTo>
                      <a:lnTo>
                        <a:pt x="270" y="14"/>
                      </a:lnTo>
                      <a:lnTo>
                        <a:pt x="270" y="18"/>
                      </a:lnTo>
                      <a:lnTo>
                        <a:pt x="274" y="18"/>
                      </a:lnTo>
                      <a:lnTo>
                        <a:pt x="278" y="18"/>
                      </a:lnTo>
                      <a:lnTo>
                        <a:pt x="278" y="22"/>
                      </a:lnTo>
                      <a:lnTo>
                        <a:pt x="280" y="26"/>
                      </a:lnTo>
                      <a:lnTo>
                        <a:pt x="284" y="22"/>
                      </a:lnTo>
                      <a:lnTo>
                        <a:pt x="284" y="26"/>
                      </a:lnTo>
                      <a:lnTo>
                        <a:pt x="288" y="26"/>
                      </a:lnTo>
                      <a:lnTo>
                        <a:pt x="292" y="26"/>
                      </a:lnTo>
                      <a:lnTo>
                        <a:pt x="296" y="26"/>
                      </a:lnTo>
                      <a:lnTo>
                        <a:pt x="300" y="22"/>
                      </a:lnTo>
                      <a:lnTo>
                        <a:pt x="304" y="26"/>
                      </a:lnTo>
                      <a:lnTo>
                        <a:pt x="306" y="26"/>
                      </a:lnTo>
                      <a:lnTo>
                        <a:pt x="304" y="28"/>
                      </a:lnTo>
                      <a:lnTo>
                        <a:pt x="304" y="32"/>
                      </a:lnTo>
                      <a:lnTo>
                        <a:pt x="304" y="36"/>
                      </a:lnTo>
                      <a:lnTo>
                        <a:pt x="300" y="36"/>
                      </a:lnTo>
                      <a:lnTo>
                        <a:pt x="296" y="40"/>
                      </a:lnTo>
                      <a:lnTo>
                        <a:pt x="292" y="44"/>
                      </a:lnTo>
                      <a:lnTo>
                        <a:pt x="288" y="44"/>
                      </a:lnTo>
                      <a:lnTo>
                        <a:pt x="288" y="48"/>
                      </a:lnTo>
                      <a:lnTo>
                        <a:pt x="284" y="48"/>
                      </a:lnTo>
                      <a:lnTo>
                        <a:pt x="280" y="48"/>
                      </a:lnTo>
                      <a:lnTo>
                        <a:pt x="278" y="52"/>
                      </a:lnTo>
                      <a:lnTo>
                        <a:pt x="274" y="52"/>
                      </a:lnTo>
                      <a:lnTo>
                        <a:pt x="270" y="52"/>
                      </a:lnTo>
                      <a:lnTo>
                        <a:pt x="270" y="54"/>
                      </a:lnTo>
                      <a:lnTo>
                        <a:pt x="270" y="58"/>
                      </a:lnTo>
                      <a:lnTo>
                        <a:pt x="270" y="62"/>
                      </a:lnTo>
                      <a:lnTo>
                        <a:pt x="266" y="62"/>
                      </a:lnTo>
                      <a:lnTo>
                        <a:pt x="266" y="58"/>
                      </a:lnTo>
                      <a:lnTo>
                        <a:pt x="270" y="58"/>
                      </a:lnTo>
                      <a:lnTo>
                        <a:pt x="266" y="58"/>
                      </a:lnTo>
                      <a:lnTo>
                        <a:pt x="266" y="62"/>
                      </a:lnTo>
                      <a:lnTo>
                        <a:pt x="262" y="66"/>
                      </a:lnTo>
                      <a:lnTo>
                        <a:pt x="258" y="70"/>
                      </a:lnTo>
                      <a:lnTo>
                        <a:pt x="258" y="74"/>
                      </a:lnTo>
                      <a:lnTo>
                        <a:pt x="254" y="78"/>
                      </a:lnTo>
                      <a:lnTo>
                        <a:pt x="254" y="82"/>
                      </a:lnTo>
                      <a:lnTo>
                        <a:pt x="254" y="88"/>
                      </a:lnTo>
                      <a:lnTo>
                        <a:pt x="254" y="92"/>
                      </a:lnTo>
                      <a:lnTo>
                        <a:pt x="258" y="92"/>
                      </a:lnTo>
                      <a:lnTo>
                        <a:pt x="262" y="92"/>
                      </a:lnTo>
                      <a:lnTo>
                        <a:pt x="262" y="96"/>
                      </a:lnTo>
                      <a:lnTo>
                        <a:pt x="258" y="96"/>
                      </a:lnTo>
                      <a:lnTo>
                        <a:pt x="258" y="100"/>
                      </a:lnTo>
                      <a:lnTo>
                        <a:pt x="254" y="100"/>
                      </a:lnTo>
                      <a:lnTo>
                        <a:pt x="254" y="104"/>
                      </a:lnTo>
                      <a:lnTo>
                        <a:pt x="250" y="104"/>
                      </a:lnTo>
                      <a:lnTo>
                        <a:pt x="250" y="108"/>
                      </a:lnTo>
                      <a:lnTo>
                        <a:pt x="250" y="110"/>
                      </a:lnTo>
                      <a:lnTo>
                        <a:pt x="248" y="110"/>
                      </a:lnTo>
                      <a:lnTo>
                        <a:pt x="248" y="114"/>
                      </a:lnTo>
                      <a:lnTo>
                        <a:pt x="248" y="118"/>
                      </a:lnTo>
                      <a:lnTo>
                        <a:pt x="244" y="118"/>
                      </a:lnTo>
                      <a:lnTo>
                        <a:pt x="240" y="118"/>
                      </a:lnTo>
                      <a:lnTo>
                        <a:pt x="236" y="118"/>
                      </a:lnTo>
                      <a:lnTo>
                        <a:pt x="236" y="122"/>
                      </a:lnTo>
                      <a:lnTo>
                        <a:pt x="232" y="126"/>
                      </a:lnTo>
                      <a:lnTo>
                        <a:pt x="232" y="130"/>
                      </a:lnTo>
                      <a:lnTo>
                        <a:pt x="228" y="130"/>
                      </a:lnTo>
                      <a:lnTo>
                        <a:pt x="228" y="134"/>
                      </a:lnTo>
                      <a:lnTo>
                        <a:pt x="224" y="134"/>
                      </a:lnTo>
                      <a:lnTo>
                        <a:pt x="220" y="134"/>
                      </a:lnTo>
                      <a:lnTo>
                        <a:pt x="218" y="138"/>
                      </a:lnTo>
                      <a:lnTo>
                        <a:pt x="218" y="134"/>
                      </a:lnTo>
                      <a:lnTo>
                        <a:pt x="214" y="134"/>
                      </a:lnTo>
                      <a:lnTo>
                        <a:pt x="210" y="134"/>
                      </a:lnTo>
                      <a:lnTo>
                        <a:pt x="206" y="134"/>
                      </a:lnTo>
                      <a:lnTo>
                        <a:pt x="202" y="134"/>
                      </a:lnTo>
                      <a:lnTo>
                        <a:pt x="198" y="134"/>
                      </a:lnTo>
                      <a:lnTo>
                        <a:pt x="194" y="134"/>
                      </a:lnTo>
                      <a:lnTo>
                        <a:pt x="194" y="138"/>
                      </a:lnTo>
                      <a:lnTo>
                        <a:pt x="192" y="138"/>
                      </a:lnTo>
                      <a:lnTo>
                        <a:pt x="188" y="138"/>
                      </a:lnTo>
                      <a:lnTo>
                        <a:pt x="188" y="140"/>
                      </a:lnTo>
                      <a:lnTo>
                        <a:pt x="184" y="140"/>
                      </a:lnTo>
                      <a:lnTo>
                        <a:pt x="184" y="144"/>
                      </a:lnTo>
                      <a:lnTo>
                        <a:pt x="180" y="144"/>
                      </a:lnTo>
                      <a:lnTo>
                        <a:pt x="180" y="148"/>
                      </a:lnTo>
                      <a:lnTo>
                        <a:pt x="176" y="148"/>
                      </a:lnTo>
                      <a:lnTo>
                        <a:pt x="176" y="144"/>
                      </a:lnTo>
                      <a:lnTo>
                        <a:pt x="172" y="144"/>
                      </a:lnTo>
                      <a:lnTo>
                        <a:pt x="172" y="140"/>
                      </a:lnTo>
                      <a:lnTo>
                        <a:pt x="168" y="140"/>
                      </a:lnTo>
                      <a:lnTo>
                        <a:pt x="172" y="138"/>
                      </a:lnTo>
                      <a:lnTo>
                        <a:pt x="168" y="138"/>
                      </a:lnTo>
                      <a:lnTo>
                        <a:pt x="168" y="134"/>
                      </a:lnTo>
                      <a:lnTo>
                        <a:pt x="164" y="130"/>
                      </a:lnTo>
                      <a:lnTo>
                        <a:pt x="162" y="126"/>
                      </a:lnTo>
                      <a:lnTo>
                        <a:pt x="158" y="126"/>
                      </a:lnTo>
                      <a:lnTo>
                        <a:pt x="154" y="126"/>
                      </a:lnTo>
                      <a:lnTo>
                        <a:pt x="154" y="122"/>
                      </a:lnTo>
                      <a:lnTo>
                        <a:pt x="154" y="118"/>
                      </a:lnTo>
                      <a:lnTo>
                        <a:pt x="150" y="118"/>
                      </a:lnTo>
                      <a:lnTo>
                        <a:pt x="154" y="114"/>
                      </a:lnTo>
                      <a:lnTo>
                        <a:pt x="154" y="110"/>
                      </a:lnTo>
                      <a:lnTo>
                        <a:pt x="158" y="110"/>
                      </a:lnTo>
                      <a:lnTo>
                        <a:pt x="162" y="108"/>
                      </a:lnTo>
                      <a:lnTo>
                        <a:pt x="158" y="108"/>
                      </a:lnTo>
                      <a:lnTo>
                        <a:pt x="158" y="104"/>
                      </a:lnTo>
                      <a:lnTo>
                        <a:pt x="154" y="104"/>
                      </a:lnTo>
                      <a:lnTo>
                        <a:pt x="154" y="100"/>
                      </a:lnTo>
                      <a:lnTo>
                        <a:pt x="154" y="96"/>
                      </a:lnTo>
                      <a:lnTo>
                        <a:pt x="158" y="96"/>
                      </a:lnTo>
                      <a:lnTo>
                        <a:pt x="158" y="92"/>
                      </a:lnTo>
                      <a:lnTo>
                        <a:pt x="162" y="88"/>
                      </a:lnTo>
                      <a:lnTo>
                        <a:pt x="158" y="88"/>
                      </a:lnTo>
                      <a:lnTo>
                        <a:pt x="154" y="84"/>
                      </a:lnTo>
                      <a:lnTo>
                        <a:pt x="154" y="82"/>
                      </a:lnTo>
                      <a:lnTo>
                        <a:pt x="150" y="78"/>
                      </a:lnTo>
                      <a:lnTo>
                        <a:pt x="154" y="78"/>
                      </a:lnTo>
                      <a:lnTo>
                        <a:pt x="158" y="78"/>
                      </a:lnTo>
                      <a:lnTo>
                        <a:pt x="162" y="70"/>
                      </a:lnTo>
                      <a:lnTo>
                        <a:pt x="158" y="70"/>
                      </a:lnTo>
                      <a:lnTo>
                        <a:pt x="158" y="66"/>
                      </a:lnTo>
                      <a:lnTo>
                        <a:pt x="162" y="66"/>
                      </a:lnTo>
                      <a:lnTo>
                        <a:pt x="162" y="62"/>
                      </a:lnTo>
                      <a:lnTo>
                        <a:pt x="162" y="58"/>
                      </a:lnTo>
                      <a:lnTo>
                        <a:pt x="162" y="54"/>
                      </a:lnTo>
                      <a:lnTo>
                        <a:pt x="162" y="52"/>
                      </a:lnTo>
                      <a:lnTo>
                        <a:pt x="164" y="48"/>
                      </a:lnTo>
                      <a:lnTo>
                        <a:pt x="168" y="48"/>
                      </a:lnTo>
                      <a:lnTo>
                        <a:pt x="168" y="44"/>
                      </a:lnTo>
                      <a:lnTo>
                        <a:pt x="168" y="40"/>
                      </a:lnTo>
                      <a:lnTo>
                        <a:pt x="172" y="40"/>
                      </a:lnTo>
                      <a:lnTo>
                        <a:pt x="168" y="40"/>
                      </a:lnTo>
                      <a:lnTo>
                        <a:pt x="164" y="40"/>
                      </a:lnTo>
                      <a:lnTo>
                        <a:pt x="164" y="36"/>
                      </a:lnTo>
                      <a:lnTo>
                        <a:pt x="164" y="32"/>
                      </a:lnTo>
                      <a:lnTo>
                        <a:pt x="162" y="32"/>
                      </a:lnTo>
                      <a:lnTo>
                        <a:pt x="158" y="32"/>
                      </a:lnTo>
                      <a:lnTo>
                        <a:pt x="158" y="36"/>
                      </a:lnTo>
                      <a:lnTo>
                        <a:pt x="154" y="36"/>
                      </a:lnTo>
                      <a:lnTo>
                        <a:pt x="150" y="36"/>
                      </a:lnTo>
                      <a:lnTo>
                        <a:pt x="146" y="36"/>
                      </a:lnTo>
                      <a:lnTo>
                        <a:pt x="142" y="36"/>
                      </a:lnTo>
                      <a:lnTo>
                        <a:pt x="142" y="32"/>
                      </a:lnTo>
                      <a:lnTo>
                        <a:pt x="142" y="28"/>
                      </a:lnTo>
                      <a:lnTo>
                        <a:pt x="138" y="28"/>
                      </a:lnTo>
                      <a:lnTo>
                        <a:pt x="138" y="32"/>
                      </a:lnTo>
                      <a:lnTo>
                        <a:pt x="134" y="32"/>
                      </a:lnTo>
                      <a:lnTo>
                        <a:pt x="132" y="36"/>
                      </a:lnTo>
                      <a:lnTo>
                        <a:pt x="132" y="32"/>
                      </a:lnTo>
                      <a:lnTo>
                        <a:pt x="132" y="28"/>
                      </a:lnTo>
                      <a:lnTo>
                        <a:pt x="134" y="28"/>
                      </a:lnTo>
                      <a:lnTo>
                        <a:pt x="134" y="26"/>
                      </a:lnTo>
                      <a:lnTo>
                        <a:pt x="134" y="28"/>
                      </a:lnTo>
                      <a:lnTo>
                        <a:pt x="132" y="28"/>
                      </a:lnTo>
                      <a:lnTo>
                        <a:pt x="132" y="26"/>
                      </a:lnTo>
                      <a:lnTo>
                        <a:pt x="134" y="26"/>
                      </a:lnTo>
                      <a:lnTo>
                        <a:pt x="132" y="26"/>
                      </a:lnTo>
                      <a:lnTo>
                        <a:pt x="132" y="22"/>
                      </a:lnTo>
                      <a:lnTo>
                        <a:pt x="132" y="26"/>
                      </a:lnTo>
                      <a:lnTo>
                        <a:pt x="134" y="22"/>
                      </a:lnTo>
                      <a:lnTo>
                        <a:pt x="132" y="22"/>
                      </a:lnTo>
                      <a:lnTo>
                        <a:pt x="134" y="22"/>
                      </a:lnTo>
                      <a:lnTo>
                        <a:pt x="134" y="18"/>
                      </a:lnTo>
                      <a:lnTo>
                        <a:pt x="132" y="22"/>
                      </a:lnTo>
                      <a:lnTo>
                        <a:pt x="132" y="18"/>
                      </a:lnTo>
                      <a:lnTo>
                        <a:pt x="128" y="18"/>
                      </a:lnTo>
                      <a:lnTo>
                        <a:pt x="128" y="14"/>
                      </a:lnTo>
                      <a:lnTo>
                        <a:pt x="128" y="12"/>
                      </a:lnTo>
                      <a:lnTo>
                        <a:pt x="132" y="12"/>
                      </a:lnTo>
                      <a:lnTo>
                        <a:pt x="132" y="8"/>
                      </a:lnTo>
                      <a:lnTo>
                        <a:pt x="134" y="8"/>
                      </a:lnTo>
                      <a:lnTo>
                        <a:pt x="138" y="8"/>
                      </a:lnTo>
                      <a:lnTo>
                        <a:pt x="142" y="4"/>
                      </a:lnTo>
                      <a:lnTo>
                        <a:pt x="146" y="0"/>
                      </a:lnTo>
                      <a:lnTo>
                        <a:pt x="150" y="0"/>
                      </a:lnTo>
                      <a:lnTo>
                        <a:pt x="154" y="0"/>
                      </a:lnTo>
                      <a:lnTo>
                        <a:pt x="154" y="4"/>
                      </a:lnTo>
                      <a:lnTo>
                        <a:pt x="158" y="4"/>
                      </a:lnTo>
                      <a:lnTo>
                        <a:pt x="162" y="4"/>
                      </a:lnTo>
                      <a:lnTo>
                        <a:pt x="164" y="4"/>
                      </a:lnTo>
                      <a:lnTo>
                        <a:pt x="168" y="4"/>
                      </a:lnTo>
                      <a:lnTo>
                        <a:pt x="172" y="4"/>
                      </a:lnTo>
                      <a:lnTo>
                        <a:pt x="176" y="0"/>
                      </a:lnTo>
                      <a:lnTo>
                        <a:pt x="176" y="4"/>
                      </a:lnTo>
                      <a:lnTo>
                        <a:pt x="180" y="4"/>
                      </a:lnTo>
                      <a:lnTo>
                        <a:pt x="184" y="4"/>
                      </a:lnTo>
                      <a:lnTo>
                        <a:pt x="188" y="4"/>
                      </a:lnTo>
                      <a:lnTo>
                        <a:pt x="192" y="4"/>
                      </a:lnTo>
                      <a:lnTo>
                        <a:pt x="192" y="8"/>
                      </a:lnTo>
                      <a:lnTo>
                        <a:pt x="194" y="8"/>
                      </a:lnTo>
                      <a:lnTo>
                        <a:pt x="194" y="8"/>
                      </a:lnTo>
                      <a:lnTo>
                        <a:pt x="194" y="8"/>
                      </a:lnTo>
                      <a:close/>
                      <a:moveTo>
                        <a:pt x="184" y="152"/>
                      </a:moveTo>
                      <a:lnTo>
                        <a:pt x="184" y="148"/>
                      </a:lnTo>
                      <a:lnTo>
                        <a:pt x="184" y="152"/>
                      </a:lnTo>
                      <a:lnTo>
                        <a:pt x="184" y="152"/>
                      </a:lnTo>
                      <a:lnTo>
                        <a:pt x="184" y="152"/>
                      </a:lnTo>
                      <a:close/>
                      <a:moveTo>
                        <a:pt x="218" y="164"/>
                      </a:moveTo>
                      <a:lnTo>
                        <a:pt x="218" y="160"/>
                      </a:lnTo>
                      <a:lnTo>
                        <a:pt x="218" y="164"/>
                      </a:lnTo>
                      <a:lnTo>
                        <a:pt x="218" y="164"/>
                      </a:lnTo>
                      <a:lnTo>
                        <a:pt x="218" y="164"/>
                      </a:lnTo>
                      <a:close/>
                      <a:moveTo>
                        <a:pt x="318" y="74"/>
                      </a:moveTo>
                      <a:lnTo>
                        <a:pt x="314" y="74"/>
                      </a:lnTo>
                      <a:lnTo>
                        <a:pt x="310" y="70"/>
                      </a:lnTo>
                      <a:lnTo>
                        <a:pt x="314" y="70"/>
                      </a:lnTo>
                      <a:lnTo>
                        <a:pt x="318" y="70"/>
                      </a:lnTo>
                      <a:lnTo>
                        <a:pt x="318" y="74"/>
                      </a:lnTo>
                      <a:lnTo>
                        <a:pt x="318" y="74"/>
                      </a:lnTo>
                      <a:lnTo>
                        <a:pt x="318" y="74"/>
                      </a:lnTo>
                      <a:close/>
                      <a:moveTo>
                        <a:pt x="292" y="82"/>
                      </a:moveTo>
                      <a:lnTo>
                        <a:pt x="292" y="78"/>
                      </a:lnTo>
                      <a:lnTo>
                        <a:pt x="296" y="78"/>
                      </a:lnTo>
                      <a:lnTo>
                        <a:pt x="300" y="74"/>
                      </a:lnTo>
                      <a:lnTo>
                        <a:pt x="304" y="74"/>
                      </a:lnTo>
                      <a:lnTo>
                        <a:pt x="304" y="78"/>
                      </a:lnTo>
                      <a:lnTo>
                        <a:pt x="306" y="78"/>
                      </a:lnTo>
                      <a:lnTo>
                        <a:pt x="306" y="82"/>
                      </a:lnTo>
                      <a:lnTo>
                        <a:pt x="304" y="82"/>
                      </a:lnTo>
                      <a:lnTo>
                        <a:pt x="304" y="84"/>
                      </a:lnTo>
                      <a:lnTo>
                        <a:pt x="300" y="84"/>
                      </a:lnTo>
                      <a:lnTo>
                        <a:pt x="296" y="84"/>
                      </a:lnTo>
                      <a:lnTo>
                        <a:pt x="296" y="82"/>
                      </a:lnTo>
                      <a:lnTo>
                        <a:pt x="292" y="82"/>
                      </a:lnTo>
                      <a:lnTo>
                        <a:pt x="292" y="82"/>
                      </a:lnTo>
                      <a:lnTo>
                        <a:pt x="292" y="82"/>
                      </a:lnTo>
                      <a:close/>
                      <a:moveTo>
                        <a:pt x="278" y="92"/>
                      </a:moveTo>
                      <a:lnTo>
                        <a:pt x="278" y="88"/>
                      </a:lnTo>
                      <a:lnTo>
                        <a:pt x="280" y="88"/>
                      </a:lnTo>
                      <a:lnTo>
                        <a:pt x="280" y="92"/>
                      </a:lnTo>
                      <a:lnTo>
                        <a:pt x="278" y="92"/>
                      </a:lnTo>
                      <a:lnTo>
                        <a:pt x="278" y="92"/>
                      </a:lnTo>
                      <a:lnTo>
                        <a:pt x="278" y="92"/>
                      </a:lnTo>
                      <a:close/>
                      <a:moveTo>
                        <a:pt x="278" y="96"/>
                      </a:moveTo>
                      <a:lnTo>
                        <a:pt x="280" y="96"/>
                      </a:lnTo>
                      <a:lnTo>
                        <a:pt x="278" y="96"/>
                      </a:lnTo>
                      <a:lnTo>
                        <a:pt x="278" y="96"/>
                      </a:lnTo>
                      <a:lnTo>
                        <a:pt x="278" y="96"/>
                      </a:lnTo>
                      <a:close/>
                      <a:moveTo>
                        <a:pt x="64" y="282"/>
                      </a:moveTo>
                      <a:lnTo>
                        <a:pt x="64" y="278"/>
                      </a:lnTo>
                      <a:lnTo>
                        <a:pt x="60" y="278"/>
                      </a:lnTo>
                      <a:lnTo>
                        <a:pt x="64" y="278"/>
                      </a:lnTo>
                      <a:lnTo>
                        <a:pt x="64" y="276"/>
                      </a:lnTo>
                      <a:lnTo>
                        <a:pt x="68" y="276"/>
                      </a:lnTo>
                      <a:lnTo>
                        <a:pt x="68" y="278"/>
                      </a:lnTo>
                      <a:lnTo>
                        <a:pt x="64" y="278"/>
                      </a:lnTo>
                      <a:lnTo>
                        <a:pt x="64" y="282"/>
                      </a:lnTo>
                      <a:lnTo>
                        <a:pt x="64" y="282"/>
                      </a:lnTo>
                      <a:lnTo>
                        <a:pt x="64" y="282"/>
                      </a:lnTo>
                      <a:close/>
                      <a:moveTo>
                        <a:pt x="8" y="286"/>
                      </a:moveTo>
                      <a:lnTo>
                        <a:pt x="4" y="286"/>
                      </a:lnTo>
                      <a:lnTo>
                        <a:pt x="4" y="282"/>
                      </a:lnTo>
                      <a:lnTo>
                        <a:pt x="4" y="278"/>
                      </a:lnTo>
                      <a:lnTo>
                        <a:pt x="4" y="282"/>
                      </a:lnTo>
                      <a:lnTo>
                        <a:pt x="8" y="282"/>
                      </a:lnTo>
                      <a:lnTo>
                        <a:pt x="8" y="286"/>
                      </a:lnTo>
                      <a:lnTo>
                        <a:pt x="8" y="286"/>
                      </a:lnTo>
                      <a:lnTo>
                        <a:pt x="8" y="286"/>
                      </a:lnTo>
                      <a:close/>
                      <a:moveTo>
                        <a:pt x="56" y="294"/>
                      </a:moveTo>
                      <a:lnTo>
                        <a:pt x="52" y="294"/>
                      </a:lnTo>
                      <a:lnTo>
                        <a:pt x="56" y="294"/>
                      </a:lnTo>
                      <a:lnTo>
                        <a:pt x="56" y="290"/>
                      </a:lnTo>
                      <a:lnTo>
                        <a:pt x="60" y="286"/>
                      </a:lnTo>
                      <a:lnTo>
                        <a:pt x="60" y="282"/>
                      </a:lnTo>
                      <a:lnTo>
                        <a:pt x="64" y="282"/>
                      </a:lnTo>
                      <a:lnTo>
                        <a:pt x="64" y="286"/>
                      </a:lnTo>
                      <a:lnTo>
                        <a:pt x="60" y="290"/>
                      </a:lnTo>
                      <a:lnTo>
                        <a:pt x="60" y="294"/>
                      </a:lnTo>
                      <a:lnTo>
                        <a:pt x="56" y="294"/>
                      </a:lnTo>
                      <a:lnTo>
                        <a:pt x="56" y="294"/>
                      </a:lnTo>
                      <a:lnTo>
                        <a:pt x="56" y="294"/>
                      </a:lnTo>
                      <a:close/>
                      <a:moveTo>
                        <a:pt x="22" y="298"/>
                      </a:moveTo>
                      <a:lnTo>
                        <a:pt x="22" y="294"/>
                      </a:lnTo>
                      <a:lnTo>
                        <a:pt x="20" y="294"/>
                      </a:lnTo>
                      <a:lnTo>
                        <a:pt x="20" y="290"/>
                      </a:lnTo>
                      <a:lnTo>
                        <a:pt x="22" y="290"/>
                      </a:lnTo>
                      <a:lnTo>
                        <a:pt x="26" y="286"/>
                      </a:lnTo>
                      <a:lnTo>
                        <a:pt x="30" y="286"/>
                      </a:lnTo>
                      <a:lnTo>
                        <a:pt x="26" y="286"/>
                      </a:lnTo>
                      <a:lnTo>
                        <a:pt x="26" y="290"/>
                      </a:lnTo>
                      <a:lnTo>
                        <a:pt x="26" y="294"/>
                      </a:lnTo>
                      <a:lnTo>
                        <a:pt x="22" y="294"/>
                      </a:lnTo>
                      <a:lnTo>
                        <a:pt x="22" y="298"/>
                      </a:lnTo>
                      <a:lnTo>
                        <a:pt x="22" y="298"/>
                      </a:lnTo>
                      <a:lnTo>
                        <a:pt x="22" y="298"/>
                      </a:lnTo>
                      <a:close/>
                      <a:moveTo>
                        <a:pt x="16" y="298"/>
                      </a:moveTo>
                      <a:lnTo>
                        <a:pt x="12" y="294"/>
                      </a:lnTo>
                      <a:lnTo>
                        <a:pt x="16" y="294"/>
                      </a:lnTo>
                      <a:lnTo>
                        <a:pt x="16" y="298"/>
                      </a:lnTo>
                      <a:lnTo>
                        <a:pt x="16" y="298"/>
                      </a:lnTo>
                      <a:lnTo>
                        <a:pt x="16" y="298"/>
                      </a:lnTo>
                      <a:close/>
                      <a:moveTo>
                        <a:pt x="38" y="302"/>
                      </a:moveTo>
                      <a:lnTo>
                        <a:pt x="34" y="298"/>
                      </a:lnTo>
                      <a:lnTo>
                        <a:pt x="34" y="294"/>
                      </a:lnTo>
                      <a:lnTo>
                        <a:pt x="38" y="294"/>
                      </a:lnTo>
                      <a:lnTo>
                        <a:pt x="42" y="294"/>
                      </a:lnTo>
                      <a:lnTo>
                        <a:pt x="42" y="298"/>
                      </a:lnTo>
                      <a:lnTo>
                        <a:pt x="38" y="302"/>
                      </a:lnTo>
                      <a:lnTo>
                        <a:pt x="38" y="302"/>
                      </a:lnTo>
                      <a:lnTo>
                        <a:pt x="38" y="302"/>
                      </a:lnTo>
                      <a:close/>
                      <a:moveTo>
                        <a:pt x="4" y="302"/>
                      </a:moveTo>
                      <a:lnTo>
                        <a:pt x="0" y="302"/>
                      </a:lnTo>
                      <a:lnTo>
                        <a:pt x="4" y="302"/>
                      </a:lnTo>
                      <a:lnTo>
                        <a:pt x="4" y="298"/>
                      </a:lnTo>
                      <a:lnTo>
                        <a:pt x="4" y="302"/>
                      </a:lnTo>
                      <a:lnTo>
                        <a:pt x="4" y="302"/>
                      </a:lnTo>
                      <a:lnTo>
                        <a:pt x="4" y="302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9" name="Freeform 196"/>
                <p:cNvSpPr>
                  <a:spLocks noEditPoints="1"/>
                </p:cNvSpPr>
                <p:nvPr/>
              </p:nvSpPr>
              <p:spPr bwMode="auto">
                <a:xfrm>
                  <a:off x="393700" y="2330518"/>
                  <a:ext cx="8032750" cy="1711325"/>
                </a:xfrm>
                <a:custGeom>
                  <a:avLst/>
                  <a:gdLst>
                    <a:gd name="T0" fmla="*/ 374 w 5060"/>
                    <a:gd name="T1" fmla="*/ 280 h 1078"/>
                    <a:gd name="T2" fmla="*/ 344 w 5060"/>
                    <a:gd name="T3" fmla="*/ 284 h 1078"/>
                    <a:gd name="T4" fmla="*/ 280 w 5060"/>
                    <a:gd name="T5" fmla="*/ 358 h 1078"/>
                    <a:gd name="T6" fmla="*/ 228 w 5060"/>
                    <a:gd name="T7" fmla="*/ 370 h 1078"/>
                    <a:gd name="T8" fmla="*/ 284 w 5060"/>
                    <a:gd name="T9" fmla="*/ 294 h 1078"/>
                    <a:gd name="T10" fmla="*/ 224 w 5060"/>
                    <a:gd name="T11" fmla="*/ 262 h 1078"/>
                    <a:gd name="T12" fmla="*/ 192 w 5060"/>
                    <a:gd name="T13" fmla="*/ 238 h 1078"/>
                    <a:gd name="T14" fmla="*/ 244 w 5060"/>
                    <a:gd name="T15" fmla="*/ 176 h 1078"/>
                    <a:gd name="T16" fmla="*/ 162 w 5060"/>
                    <a:gd name="T17" fmla="*/ 150 h 1078"/>
                    <a:gd name="T18" fmla="*/ 232 w 5060"/>
                    <a:gd name="T19" fmla="*/ 136 h 1078"/>
                    <a:gd name="T20" fmla="*/ 202 w 5060"/>
                    <a:gd name="T21" fmla="*/ 94 h 1078"/>
                    <a:gd name="T22" fmla="*/ 254 w 5060"/>
                    <a:gd name="T23" fmla="*/ 24 h 1078"/>
                    <a:gd name="T24" fmla="*/ 344 w 5060"/>
                    <a:gd name="T25" fmla="*/ 12 h 1078"/>
                    <a:gd name="T26" fmla="*/ 508 w 5060"/>
                    <a:gd name="T27" fmla="*/ 38 h 1078"/>
                    <a:gd name="T28" fmla="*/ 606 w 5060"/>
                    <a:gd name="T29" fmla="*/ 280 h 1078"/>
                    <a:gd name="T30" fmla="*/ 672 w 5060"/>
                    <a:gd name="T31" fmla="*/ 380 h 1078"/>
                    <a:gd name="T32" fmla="*/ 630 w 5060"/>
                    <a:gd name="T33" fmla="*/ 322 h 1078"/>
                    <a:gd name="T34" fmla="*/ 598 w 5060"/>
                    <a:gd name="T35" fmla="*/ 302 h 1078"/>
                    <a:gd name="T36" fmla="*/ 552 w 5060"/>
                    <a:gd name="T37" fmla="*/ 276 h 1078"/>
                    <a:gd name="T38" fmla="*/ 448 w 5060"/>
                    <a:gd name="T39" fmla="*/ 246 h 1078"/>
                    <a:gd name="T40" fmla="*/ 1440 w 5060"/>
                    <a:gd name="T41" fmla="*/ 728 h 1078"/>
                    <a:gd name="T42" fmla="*/ 1450 w 5060"/>
                    <a:gd name="T43" fmla="*/ 764 h 1078"/>
                    <a:gd name="T44" fmla="*/ 1428 w 5060"/>
                    <a:gd name="T45" fmla="*/ 794 h 1078"/>
                    <a:gd name="T46" fmla="*/ 1380 w 5060"/>
                    <a:gd name="T47" fmla="*/ 906 h 1078"/>
                    <a:gd name="T48" fmla="*/ 1350 w 5060"/>
                    <a:gd name="T49" fmla="*/ 914 h 1078"/>
                    <a:gd name="T50" fmla="*/ 1274 w 5060"/>
                    <a:gd name="T51" fmla="*/ 874 h 1078"/>
                    <a:gd name="T52" fmla="*/ 1198 w 5060"/>
                    <a:gd name="T53" fmla="*/ 884 h 1078"/>
                    <a:gd name="T54" fmla="*/ 1144 w 5060"/>
                    <a:gd name="T55" fmla="*/ 952 h 1078"/>
                    <a:gd name="T56" fmla="*/ 1026 w 5060"/>
                    <a:gd name="T57" fmla="*/ 858 h 1078"/>
                    <a:gd name="T58" fmla="*/ 846 w 5060"/>
                    <a:gd name="T59" fmla="*/ 806 h 1078"/>
                    <a:gd name="T60" fmla="*/ 784 w 5060"/>
                    <a:gd name="T61" fmla="*/ 732 h 1078"/>
                    <a:gd name="T62" fmla="*/ 772 w 5060"/>
                    <a:gd name="T63" fmla="*/ 568 h 1078"/>
                    <a:gd name="T64" fmla="*/ 790 w 5060"/>
                    <a:gd name="T65" fmla="*/ 546 h 1078"/>
                    <a:gd name="T66" fmla="*/ 1010 w 5060"/>
                    <a:gd name="T67" fmla="*/ 512 h 1078"/>
                    <a:gd name="T68" fmla="*/ 1242 w 5060"/>
                    <a:gd name="T69" fmla="*/ 530 h 1078"/>
                    <a:gd name="T70" fmla="*/ 1376 w 5060"/>
                    <a:gd name="T71" fmla="*/ 648 h 1078"/>
                    <a:gd name="T72" fmla="*/ 1532 w 5060"/>
                    <a:gd name="T73" fmla="*/ 556 h 1078"/>
                    <a:gd name="T74" fmla="*/ 1526 w 5060"/>
                    <a:gd name="T75" fmla="*/ 620 h 1078"/>
                    <a:gd name="T76" fmla="*/ 1472 w 5060"/>
                    <a:gd name="T77" fmla="*/ 676 h 1078"/>
                    <a:gd name="T78" fmla="*/ 1442 w 5060"/>
                    <a:gd name="T79" fmla="*/ 728 h 1078"/>
                    <a:gd name="T80" fmla="*/ 426 w 5060"/>
                    <a:gd name="T81" fmla="*/ 258 h 1078"/>
                    <a:gd name="T82" fmla="*/ 120 w 5060"/>
                    <a:gd name="T83" fmla="*/ 350 h 1078"/>
                    <a:gd name="T84" fmla="*/ 1144 w 5060"/>
                    <a:gd name="T85" fmla="*/ 926 h 1078"/>
                    <a:gd name="T86" fmla="*/ 116 w 5060"/>
                    <a:gd name="T87" fmla="*/ 194 h 1078"/>
                    <a:gd name="T88" fmla="*/ 172 w 5060"/>
                    <a:gd name="T89" fmla="*/ 266 h 1078"/>
                    <a:gd name="T90" fmla="*/ 370 w 5060"/>
                    <a:gd name="T91" fmla="*/ 318 h 1078"/>
                    <a:gd name="T92" fmla="*/ 606 w 5060"/>
                    <a:gd name="T93" fmla="*/ 314 h 1078"/>
                    <a:gd name="T94" fmla="*/ 348 w 5060"/>
                    <a:gd name="T95" fmla="*/ 324 h 1078"/>
                    <a:gd name="T96" fmla="*/ 340 w 5060"/>
                    <a:gd name="T97" fmla="*/ 328 h 1078"/>
                    <a:gd name="T98" fmla="*/ 354 w 5060"/>
                    <a:gd name="T99" fmla="*/ 340 h 1078"/>
                    <a:gd name="T100" fmla="*/ 630 w 5060"/>
                    <a:gd name="T101" fmla="*/ 350 h 1078"/>
                    <a:gd name="T102" fmla="*/ 648 w 5060"/>
                    <a:gd name="T103" fmla="*/ 378 h 1078"/>
                    <a:gd name="T104" fmla="*/ 660 w 5060"/>
                    <a:gd name="T105" fmla="*/ 374 h 1078"/>
                    <a:gd name="T106" fmla="*/ 630 w 5060"/>
                    <a:gd name="T107" fmla="*/ 374 h 1078"/>
                    <a:gd name="T108" fmla="*/ 634 w 5060"/>
                    <a:gd name="T109" fmla="*/ 384 h 1078"/>
                    <a:gd name="T110" fmla="*/ 642 w 5060"/>
                    <a:gd name="T111" fmla="*/ 388 h 1078"/>
                    <a:gd name="T112" fmla="*/ 168 w 5060"/>
                    <a:gd name="T113" fmla="*/ 414 h 1078"/>
                    <a:gd name="T114" fmla="*/ 52 w 5060"/>
                    <a:gd name="T115" fmla="*/ 440 h 1078"/>
                    <a:gd name="T116" fmla="*/ 24 w 5060"/>
                    <a:gd name="T117" fmla="*/ 452 h 1078"/>
                    <a:gd name="T118" fmla="*/ 780 w 5060"/>
                    <a:gd name="T119" fmla="*/ 522 h 1078"/>
                    <a:gd name="T120" fmla="*/ 1480 w 5060"/>
                    <a:gd name="T121" fmla="*/ 678 h 1078"/>
                    <a:gd name="T122" fmla="*/ 1152 w 5060"/>
                    <a:gd name="T123" fmla="*/ 914 h 1078"/>
                    <a:gd name="T124" fmla="*/ 302 w 5060"/>
                    <a:gd name="T125" fmla="*/ 1046 h 10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5060" h="1078">
                      <a:moveTo>
                        <a:pt x="418" y="266"/>
                      </a:moveTo>
                      <a:lnTo>
                        <a:pt x="418" y="262"/>
                      </a:lnTo>
                      <a:lnTo>
                        <a:pt x="422" y="262"/>
                      </a:lnTo>
                      <a:lnTo>
                        <a:pt x="426" y="262"/>
                      </a:lnTo>
                      <a:lnTo>
                        <a:pt x="430" y="262"/>
                      </a:lnTo>
                      <a:lnTo>
                        <a:pt x="430" y="266"/>
                      </a:lnTo>
                      <a:lnTo>
                        <a:pt x="426" y="266"/>
                      </a:lnTo>
                      <a:lnTo>
                        <a:pt x="422" y="268"/>
                      </a:lnTo>
                      <a:lnTo>
                        <a:pt x="426" y="268"/>
                      </a:lnTo>
                      <a:lnTo>
                        <a:pt x="426" y="272"/>
                      </a:lnTo>
                      <a:lnTo>
                        <a:pt x="422" y="272"/>
                      </a:lnTo>
                      <a:lnTo>
                        <a:pt x="422" y="268"/>
                      </a:lnTo>
                      <a:lnTo>
                        <a:pt x="422" y="272"/>
                      </a:lnTo>
                      <a:lnTo>
                        <a:pt x="422" y="276"/>
                      </a:lnTo>
                      <a:lnTo>
                        <a:pt x="418" y="276"/>
                      </a:lnTo>
                      <a:lnTo>
                        <a:pt x="414" y="276"/>
                      </a:lnTo>
                      <a:lnTo>
                        <a:pt x="410" y="276"/>
                      </a:lnTo>
                      <a:lnTo>
                        <a:pt x="410" y="272"/>
                      </a:lnTo>
                      <a:lnTo>
                        <a:pt x="410" y="276"/>
                      </a:lnTo>
                      <a:lnTo>
                        <a:pt x="406" y="276"/>
                      </a:lnTo>
                      <a:lnTo>
                        <a:pt x="406" y="272"/>
                      </a:lnTo>
                      <a:lnTo>
                        <a:pt x="406" y="276"/>
                      </a:lnTo>
                      <a:lnTo>
                        <a:pt x="404" y="276"/>
                      </a:lnTo>
                      <a:lnTo>
                        <a:pt x="404" y="280"/>
                      </a:lnTo>
                      <a:lnTo>
                        <a:pt x="406" y="280"/>
                      </a:lnTo>
                      <a:lnTo>
                        <a:pt x="404" y="280"/>
                      </a:lnTo>
                      <a:lnTo>
                        <a:pt x="404" y="276"/>
                      </a:lnTo>
                      <a:lnTo>
                        <a:pt x="404" y="280"/>
                      </a:lnTo>
                      <a:lnTo>
                        <a:pt x="404" y="284"/>
                      </a:lnTo>
                      <a:lnTo>
                        <a:pt x="404" y="280"/>
                      </a:lnTo>
                      <a:lnTo>
                        <a:pt x="400" y="280"/>
                      </a:lnTo>
                      <a:lnTo>
                        <a:pt x="400" y="284"/>
                      </a:lnTo>
                      <a:lnTo>
                        <a:pt x="396" y="288"/>
                      </a:lnTo>
                      <a:lnTo>
                        <a:pt x="392" y="288"/>
                      </a:lnTo>
                      <a:lnTo>
                        <a:pt x="392" y="284"/>
                      </a:lnTo>
                      <a:lnTo>
                        <a:pt x="396" y="284"/>
                      </a:lnTo>
                      <a:lnTo>
                        <a:pt x="396" y="280"/>
                      </a:lnTo>
                      <a:lnTo>
                        <a:pt x="396" y="284"/>
                      </a:lnTo>
                      <a:lnTo>
                        <a:pt x="392" y="284"/>
                      </a:lnTo>
                      <a:lnTo>
                        <a:pt x="392" y="288"/>
                      </a:lnTo>
                      <a:lnTo>
                        <a:pt x="392" y="284"/>
                      </a:lnTo>
                      <a:lnTo>
                        <a:pt x="388" y="284"/>
                      </a:lnTo>
                      <a:lnTo>
                        <a:pt x="392" y="288"/>
                      </a:lnTo>
                      <a:lnTo>
                        <a:pt x="388" y="288"/>
                      </a:lnTo>
                      <a:lnTo>
                        <a:pt x="384" y="292"/>
                      </a:lnTo>
                      <a:lnTo>
                        <a:pt x="380" y="292"/>
                      </a:lnTo>
                      <a:lnTo>
                        <a:pt x="384" y="292"/>
                      </a:lnTo>
                      <a:lnTo>
                        <a:pt x="380" y="292"/>
                      </a:lnTo>
                      <a:lnTo>
                        <a:pt x="378" y="292"/>
                      </a:lnTo>
                      <a:lnTo>
                        <a:pt x="378" y="294"/>
                      </a:lnTo>
                      <a:lnTo>
                        <a:pt x="374" y="294"/>
                      </a:lnTo>
                      <a:lnTo>
                        <a:pt x="374" y="292"/>
                      </a:lnTo>
                      <a:lnTo>
                        <a:pt x="370" y="292"/>
                      </a:lnTo>
                      <a:lnTo>
                        <a:pt x="374" y="288"/>
                      </a:lnTo>
                      <a:lnTo>
                        <a:pt x="378" y="288"/>
                      </a:lnTo>
                      <a:lnTo>
                        <a:pt x="378" y="284"/>
                      </a:lnTo>
                      <a:lnTo>
                        <a:pt x="380" y="284"/>
                      </a:lnTo>
                      <a:lnTo>
                        <a:pt x="384" y="280"/>
                      </a:lnTo>
                      <a:lnTo>
                        <a:pt x="380" y="280"/>
                      </a:lnTo>
                      <a:lnTo>
                        <a:pt x="378" y="284"/>
                      </a:lnTo>
                      <a:lnTo>
                        <a:pt x="374" y="280"/>
                      </a:lnTo>
                      <a:lnTo>
                        <a:pt x="374" y="272"/>
                      </a:lnTo>
                      <a:lnTo>
                        <a:pt x="378" y="272"/>
                      </a:lnTo>
                      <a:lnTo>
                        <a:pt x="378" y="268"/>
                      </a:lnTo>
                      <a:lnTo>
                        <a:pt x="380" y="266"/>
                      </a:lnTo>
                      <a:lnTo>
                        <a:pt x="380" y="262"/>
                      </a:lnTo>
                      <a:lnTo>
                        <a:pt x="380" y="258"/>
                      </a:lnTo>
                      <a:lnTo>
                        <a:pt x="378" y="258"/>
                      </a:lnTo>
                      <a:lnTo>
                        <a:pt x="380" y="258"/>
                      </a:lnTo>
                      <a:lnTo>
                        <a:pt x="384" y="258"/>
                      </a:lnTo>
                      <a:lnTo>
                        <a:pt x="388" y="254"/>
                      </a:lnTo>
                      <a:lnTo>
                        <a:pt x="392" y="250"/>
                      </a:lnTo>
                      <a:lnTo>
                        <a:pt x="396" y="250"/>
                      </a:lnTo>
                      <a:lnTo>
                        <a:pt x="396" y="254"/>
                      </a:lnTo>
                      <a:lnTo>
                        <a:pt x="400" y="254"/>
                      </a:lnTo>
                      <a:lnTo>
                        <a:pt x="400" y="250"/>
                      </a:lnTo>
                      <a:lnTo>
                        <a:pt x="404" y="250"/>
                      </a:lnTo>
                      <a:lnTo>
                        <a:pt x="404" y="254"/>
                      </a:lnTo>
                      <a:lnTo>
                        <a:pt x="406" y="254"/>
                      </a:lnTo>
                      <a:lnTo>
                        <a:pt x="410" y="254"/>
                      </a:lnTo>
                      <a:lnTo>
                        <a:pt x="406" y="254"/>
                      </a:lnTo>
                      <a:lnTo>
                        <a:pt x="404" y="250"/>
                      </a:lnTo>
                      <a:lnTo>
                        <a:pt x="400" y="250"/>
                      </a:lnTo>
                      <a:lnTo>
                        <a:pt x="400" y="246"/>
                      </a:lnTo>
                      <a:lnTo>
                        <a:pt x="400" y="242"/>
                      </a:lnTo>
                      <a:lnTo>
                        <a:pt x="404" y="242"/>
                      </a:lnTo>
                      <a:lnTo>
                        <a:pt x="406" y="242"/>
                      </a:lnTo>
                      <a:lnTo>
                        <a:pt x="410" y="238"/>
                      </a:lnTo>
                      <a:lnTo>
                        <a:pt x="406" y="238"/>
                      </a:lnTo>
                      <a:lnTo>
                        <a:pt x="404" y="238"/>
                      </a:lnTo>
                      <a:lnTo>
                        <a:pt x="404" y="242"/>
                      </a:lnTo>
                      <a:lnTo>
                        <a:pt x="400" y="242"/>
                      </a:lnTo>
                      <a:lnTo>
                        <a:pt x="400" y="246"/>
                      </a:lnTo>
                      <a:lnTo>
                        <a:pt x="396" y="246"/>
                      </a:lnTo>
                      <a:lnTo>
                        <a:pt x="392" y="246"/>
                      </a:lnTo>
                      <a:lnTo>
                        <a:pt x="388" y="246"/>
                      </a:lnTo>
                      <a:lnTo>
                        <a:pt x="384" y="246"/>
                      </a:lnTo>
                      <a:lnTo>
                        <a:pt x="380" y="250"/>
                      </a:lnTo>
                      <a:lnTo>
                        <a:pt x="378" y="250"/>
                      </a:lnTo>
                      <a:lnTo>
                        <a:pt x="374" y="254"/>
                      </a:lnTo>
                      <a:lnTo>
                        <a:pt x="374" y="258"/>
                      </a:lnTo>
                      <a:lnTo>
                        <a:pt x="370" y="258"/>
                      </a:lnTo>
                      <a:lnTo>
                        <a:pt x="370" y="262"/>
                      </a:lnTo>
                      <a:lnTo>
                        <a:pt x="366" y="262"/>
                      </a:lnTo>
                      <a:lnTo>
                        <a:pt x="366" y="266"/>
                      </a:lnTo>
                      <a:lnTo>
                        <a:pt x="366" y="268"/>
                      </a:lnTo>
                      <a:lnTo>
                        <a:pt x="362" y="268"/>
                      </a:lnTo>
                      <a:lnTo>
                        <a:pt x="358" y="268"/>
                      </a:lnTo>
                      <a:lnTo>
                        <a:pt x="354" y="268"/>
                      </a:lnTo>
                      <a:lnTo>
                        <a:pt x="358" y="268"/>
                      </a:lnTo>
                      <a:lnTo>
                        <a:pt x="362" y="272"/>
                      </a:lnTo>
                      <a:lnTo>
                        <a:pt x="358" y="276"/>
                      </a:lnTo>
                      <a:lnTo>
                        <a:pt x="354" y="276"/>
                      </a:lnTo>
                      <a:lnTo>
                        <a:pt x="350" y="280"/>
                      </a:lnTo>
                      <a:lnTo>
                        <a:pt x="354" y="276"/>
                      </a:lnTo>
                      <a:lnTo>
                        <a:pt x="354" y="280"/>
                      </a:lnTo>
                      <a:lnTo>
                        <a:pt x="354" y="284"/>
                      </a:lnTo>
                      <a:lnTo>
                        <a:pt x="350" y="284"/>
                      </a:lnTo>
                      <a:lnTo>
                        <a:pt x="350" y="280"/>
                      </a:lnTo>
                      <a:lnTo>
                        <a:pt x="350" y="284"/>
                      </a:lnTo>
                      <a:lnTo>
                        <a:pt x="348" y="284"/>
                      </a:lnTo>
                      <a:lnTo>
                        <a:pt x="344" y="284"/>
                      </a:lnTo>
                      <a:lnTo>
                        <a:pt x="348" y="288"/>
                      </a:lnTo>
                      <a:lnTo>
                        <a:pt x="344" y="288"/>
                      </a:lnTo>
                      <a:lnTo>
                        <a:pt x="340" y="288"/>
                      </a:lnTo>
                      <a:lnTo>
                        <a:pt x="344" y="288"/>
                      </a:lnTo>
                      <a:lnTo>
                        <a:pt x="340" y="292"/>
                      </a:lnTo>
                      <a:lnTo>
                        <a:pt x="340" y="294"/>
                      </a:lnTo>
                      <a:lnTo>
                        <a:pt x="344" y="294"/>
                      </a:lnTo>
                      <a:lnTo>
                        <a:pt x="348" y="294"/>
                      </a:lnTo>
                      <a:lnTo>
                        <a:pt x="348" y="298"/>
                      </a:lnTo>
                      <a:lnTo>
                        <a:pt x="350" y="298"/>
                      </a:lnTo>
                      <a:lnTo>
                        <a:pt x="350" y="302"/>
                      </a:lnTo>
                      <a:lnTo>
                        <a:pt x="348" y="306"/>
                      </a:lnTo>
                      <a:lnTo>
                        <a:pt x="344" y="306"/>
                      </a:lnTo>
                      <a:lnTo>
                        <a:pt x="344" y="310"/>
                      </a:lnTo>
                      <a:lnTo>
                        <a:pt x="340" y="310"/>
                      </a:lnTo>
                      <a:lnTo>
                        <a:pt x="344" y="310"/>
                      </a:lnTo>
                      <a:lnTo>
                        <a:pt x="340" y="310"/>
                      </a:lnTo>
                      <a:lnTo>
                        <a:pt x="336" y="314"/>
                      </a:lnTo>
                      <a:lnTo>
                        <a:pt x="340" y="314"/>
                      </a:lnTo>
                      <a:lnTo>
                        <a:pt x="340" y="318"/>
                      </a:lnTo>
                      <a:lnTo>
                        <a:pt x="336" y="318"/>
                      </a:lnTo>
                      <a:lnTo>
                        <a:pt x="332" y="318"/>
                      </a:lnTo>
                      <a:lnTo>
                        <a:pt x="332" y="322"/>
                      </a:lnTo>
                      <a:lnTo>
                        <a:pt x="328" y="318"/>
                      </a:lnTo>
                      <a:lnTo>
                        <a:pt x="328" y="322"/>
                      </a:lnTo>
                      <a:lnTo>
                        <a:pt x="324" y="322"/>
                      </a:lnTo>
                      <a:lnTo>
                        <a:pt x="324" y="324"/>
                      </a:lnTo>
                      <a:lnTo>
                        <a:pt x="322" y="324"/>
                      </a:lnTo>
                      <a:lnTo>
                        <a:pt x="318" y="324"/>
                      </a:lnTo>
                      <a:lnTo>
                        <a:pt x="318" y="328"/>
                      </a:lnTo>
                      <a:lnTo>
                        <a:pt x="314" y="328"/>
                      </a:lnTo>
                      <a:lnTo>
                        <a:pt x="314" y="332"/>
                      </a:lnTo>
                      <a:lnTo>
                        <a:pt x="310" y="332"/>
                      </a:lnTo>
                      <a:lnTo>
                        <a:pt x="306" y="336"/>
                      </a:lnTo>
                      <a:lnTo>
                        <a:pt x="310" y="336"/>
                      </a:lnTo>
                      <a:lnTo>
                        <a:pt x="310" y="340"/>
                      </a:lnTo>
                      <a:lnTo>
                        <a:pt x="306" y="340"/>
                      </a:lnTo>
                      <a:lnTo>
                        <a:pt x="306" y="344"/>
                      </a:lnTo>
                      <a:lnTo>
                        <a:pt x="302" y="344"/>
                      </a:lnTo>
                      <a:lnTo>
                        <a:pt x="298" y="344"/>
                      </a:lnTo>
                      <a:lnTo>
                        <a:pt x="298" y="348"/>
                      </a:lnTo>
                      <a:lnTo>
                        <a:pt x="294" y="348"/>
                      </a:lnTo>
                      <a:lnTo>
                        <a:pt x="294" y="344"/>
                      </a:lnTo>
                      <a:lnTo>
                        <a:pt x="292" y="344"/>
                      </a:lnTo>
                      <a:lnTo>
                        <a:pt x="292" y="348"/>
                      </a:lnTo>
                      <a:lnTo>
                        <a:pt x="292" y="350"/>
                      </a:lnTo>
                      <a:lnTo>
                        <a:pt x="288" y="348"/>
                      </a:lnTo>
                      <a:lnTo>
                        <a:pt x="288" y="350"/>
                      </a:lnTo>
                      <a:lnTo>
                        <a:pt x="284" y="350"/>
                      </a:lnTo>
                      <a:lnTo>
                        <a:pt x="288" y="350"/>
                      </a:lnTo>
                      <a:lnTo>
                        <a:pt x="288" y="354"/>
                      </a:lnTo>
                      <a:lnTo>
                        <a:pt x="284" y="354"/>
                      </a:lnTo>
                      <a:lnTo>
                        <a:pt x="284" y="350"/>
                      </a:lnTo>
                      <a:lnTo>
                        <a:pt x="284" y="354"/>
                      </a:lnTo>
                      <a:lnTo>
                        <a:pt x="280" y="354"/>
                      </a:lnTo>
                      <a:lnTo>
                        <a:pt x="278" y="354"/>
                      </a:lnTo>
                      <a:lnTo>
                        <a:pt x="278" y="358"/>
                      </a:lnTo>
                      <a:lnTo>
                        <a:pt x="280" y="354"/>
                      </a:lnTo>
                      <a:lnTo>
                        <a:pt x="280" y="358"/>
                      </a:lnTo>
                      <a:lnTo>
                        <a:pt x="284" y="358"/>
                      </a:lnTo>
                      <a:lnTo>
                        <a:pt x="280" y="358"/>
                      </a:lnTo>
                      <a:lnTo>
                        <a:pt x="284" y="358"/>
                      </a:lnTo>
                      <a:lnTo>
                        <a:pt x="280" y="362"/>
                      </a:lnTo>
                      <a:lnTo>
                        <a:pt x="280" y="358"/>
                      </a:lnTo>
                      <a:lnTo>
                        <a:pt x="280" y="362"/>
                      </a:lnTo>
                      <a:lnTo>
                        <a:pt x="278" y="362"/>
                      </a:lnTo>
                      <a:lnTo>
                        <a:pt x="280" y="358"/>
                      </a:lnTo>
                      <a:lnTo>
                        <a:pt x="278" y="358"/>
                      </a:lnTo>
                      <a:lnTo>
                        <a:pt x="278" y="362"/>
                      </a:lnTo>
                      <a:lnTo>
                        <a:pt x="278" y="366"/>
                      </a:lnTo>
                      <a:lnTo>
                        <a:pt x="278" y="362"/>
                      </a:lnTo>
                      <a:lnTo>
                        <a:pt x="274" y="362"/>
                      </a:lnTo>
                      <a:lnTo>
                        <a:pt x="274" y="366"/>
                      </a:lnTo>
                      <a:lnTo>
                        <a:pt x="270" y="366"/>
                      </a:lnTo>
                      <a:lnTo>
                        <a:pt x="266" y="366"/>
                      </a:lnTo>
                      <a:lnTo>
                        <a:pt x="266" y="370"/>
                      </a:lnTo>
                      <a:lnTo>
                        <a:pt x="262" y="370"/>
                      </a:lnTo>
                      <a:lnTo>
                        <a:pt x="262" y="374"/>
                      </a:lnTo>
                      <a:lnTo>
                        <a:pt x="262" y="370"/>
                      </a:lnTo>
                      <a:lnTo>
                        <a:pt x="262" y="366"/>
                      </a:lnTo>
                      <a:lnTo>
                        <a:pt x="258" y="366"/>
                      </a:lnTo>
                      <a:lnTo>
                        <a:pt x="258" y="370"/>
                      </a:lnTo>
                      <a:lnTo>
                        <a:pt x="254" y="370"/>
                      </a:lnTo>
                      <a:lnTo>
                        <a:pt x="254" y="374"/>
                      </a:lnTo>
                      <a:lnTo>
                        <a:pt x="250" y="374"/>
                      </a:lnTo>
                      <a:lnTo>
                        <a:pt x="248" y="374"/>
                      </a:lnTo>
                      <a:lnTo>
                        <a:pt x="248" y="378"/>
                      </a:lnTo>
                      <a:lnTo>
                        <a:pt x="248" y="374"/>
                      </a:lnTo>
                      <a:lnTo>
                        <a:pt x="244" y="374"/>
                      </a:lnTo>
                      <a:lnTo>
                        <a:pt x="244" y="378"/>
                      </a:lnTo>
                      <a:lnTo>
                        <a:pt x="240" y="378"/>
                      </a:lnTo>
                      <a:lnTo>
                        <a:pt x="236" y="378"/>
                      </a:lnTo>
                      <a:lnTo>
                        <a:pt x="236" y="374"/>
                      </a:lnTo>
                      <a:lnTo>
                        <a:pt x="240" y="374"/>
                      </a:lnTo>
                      <a:lnTo>
                        <a:pt x="236" y="374"/>
                      </a:lnTo>
                      <a:lnTo>
                        <a:pt x="232" y="374"/>
                      </a:lnTo>
                      <a:lnTo>
                        <a:pt x="232" y="378"/>
                      </a:lnTo>
                      <a:lnTo>
                        <a:pt x="232" y="380"/>
                      </a:lnTo>
                      <a:lnTo>
                        <a:pt x="228" y="380"/>
                      </a:lnTo>
                      <a:lnTo>
                        <a:pt x="228" y="384"/>
                      </a:lnTo>
                      <a:lnTo>
                        <a:pt x="228" y="380"/>
                      </a:lnTo>
                      <a:lnTo>
                        <a:pt x="224" y="384"/>
                      </a:lnTo>
                      <a:lnTo>
                        <a:pt x="222" y="384"/>
                      </a:lnTo>
                      <a:lnTo>
                        <a:pt x="222" y="380"/>
                      </a:lnTo>
                      <a:lnTo>
                        <a:pt x="222" y="384"/>
                      </a:lnTo>
                      <a:lnTo>
                        <a:pt x="218" y="388"/>
                      </a:lnTo>
                      <a:lnTo>
                        <a:pt x="218" y="384"/>
                      </a:lnTo>
                      <a:lnTo>
                        <a:pt x="214" y="384"/>
                      </a:lnTo>
                      <a:lnTo>
                        <a:pt x="214" y="380"/>
                      </a:lnTo>
                      <a:lnTo>
                        <a:pt x="214" y="384"/>
                      </a:lnTo>
                      <a:lnTo>
                        <a:pt x="214" y="388"/>
                      </a:lnTo>
                      <a:lnTo>
                        <a:pt x="210" y="388"/>
                      </a:lnTo>
                      <a:lnTo>
                        <a:pt x="210" y="384"/>
                      </a:lnTo>
                      <a:lnTo>
                        <a:pt x="210" y="380"/>
                      </a:lnTo>
                      <a:lnTo>
                        <a:pt x="214" y="380"/>
                      </a:lnTo>
                      <a:lnTo>
                        <a:pt x="218" y="380"/>
                      </a:lnTo>
                      <a:lnTo>
                        <a:pt x="218" y="378"/>
                      </a:lnTo>
                      <a:lnTo>
                        <a:pt x="222" y="378"/>
                      </a:lnTo>
                      <a:lnTo>
                        <a:pt x="222" y="374"/>
                      </a:lnTo>
                      <a:lnTo>
                        <a:pt x="224" y="374"/>
                      </a:lnTo>
                      <a:lnTo>
                        <a:pt x="224" y="370"/>
                      </a:lnTo>
                      <a:lnTo>
                        <a:pt x="228" y="370"/>
                      </a:lnTo>
                      <a:lnTo>
                        <a:pt x="232" y="366"/>
                      </a:lnTo>
                      <a:lnTo>
                        <a:pt x="240" y="366"/>
                      </a:lnTo>
                      <a:lnTo>
                        <a:pt x="244" y="366"/>
                      </a:lnTo>
                      <a:lnTo>
                        <a:pt x="248" y="370"/>
                      </a:lnTo>
                      <a:lnTo>
                        <a:pt x="248" y="366"/>
                      </a:lnTo>
                      <a:lnTo>
                        <a:pt x="250" y="366"/>
                      </a:lnTo>
                      <a:lnTo>
                        <a:pt x="250" y="370"/>
                      </a:lnTo>
                      <a:lnTo>
                        <a:pt x="254" y="370"/>
                      </a:lnTo>
                      <a:lnTo>
                        <a:pt x="254" y="366"/>
                      </a:lnTo>
                      <a:lnTo>
                        <a:pt x="250" y="366"/>
                      </a:lnTo>
                      <a:lnTo>
                        <a:pt x="250" y="362"/>
                      </a:lnTo>
                      <a:lnTo>
                        <a:pt x="250" y="358"/>
                      </a:lnTo>
                      <a:lnTo>
                        <a:pt x="254" y="358"/>
                      </a:lnTo>
                      <a:lnTo>
                        <a:pt x="254" y="354"/>
                      </a:lnTo>
                      <a:lnTo>
                        <a:pt x="258" y="354"/>
                      </a:lnTo>
                      <a:lnTo>
                        <a:pt x="258" y="350"/>
                      </a:lnTo>
                      <a:lnTo>
                        <a:pt x="262" y="350"/>
                      </a:lnTo>
                      <a:lnTo>
                        <a:pt x="266" y="350"/>
                      </a:lnTo>
                      <a:lnTo>
                        <a:pt x="270" y="348"/>
                      </a:lnTo>
                      <a:lnTo>
                        <a:pt x="274" y="348"/>
                      </a:lnTo>
                      <a:lnTo>
                        <a:pt x="278" y="348"/>
                      </a:lnTo>
                      <a:lnTo>
                        <a:pt x="278" y="344"/>
                      </a:lnTo>
                      <a:lnTo>
                        <a:pt x="278" y="340"/>
                      </a:lnTo>
                      <a:lnTo>
                        <a:pt x="280" y="336"/>
                      </a:lnTo>
                      <a:lnTo>
                        <a:pt x="284" y="332"/>
                      </a:lnTo>
                      <a:lnTo>
                        <a:pt x="288" y="332"/>
                      </a:lnTo>
                      <a:lnTo>
                        <a:pt x="288" y="328"/>
                      </a:lnTo>
                      <a:lnTo>
                        <a:pt x="292" y="328"/>
                      </a:lnTo>
                      <a:lnTo>
                        <a:pt x="292" y="332"/>
                      </a:lnTo>
                      <a:lnTo>
                        <a:pt x="294" y="332"/>
                      </a:lnTo>
                      <a:lnTo>
                        <a:pt x="294" y="328"/>
                      </a:lnTo>
                      <a:lnTo>
                        <a:pt x="292" y="332"/>
                      </a:lnTo>
                      <a:lnTo>
                        <a:pt x="292" y="328"/>
                      </a:lnTo>
                      <a:lnTo>
                        <a:pt x="292" y="324"/>
                      </a:lnTo>
                      <a:lnTo>
                        <a:pt x="292" y="322"/>
                      </a:lnTo>
                      <a:lnTo>
                        <a:pt x="292" y="318"/>
                      </a:lnTo>
                      <a:lnTo>
                        <a:pt x="294" y="314"/>
                      </a:lnTo>
                      <a:lnTo>
                        <a:pt x="298" y="314"/>
                      </a:lnTo>
                      <a:lnTo>
                        <a:pt x="298" y="318"/>
                      </a:lnTo>
                      <a:lnTo>
                        <a:pt x="298" y="314"/>
                      </a:lnTo>
                      <a:lnTo>
                        <a:pt x="294" y="314"/>
                      </a:lnTo>
                      <a:lnTo>
                        <a:pt x="292" y="314"/>
                      </a:lnTo>
                      <a:lnTo>
                        <a:pt x="292" y="310"/>
                      </a:lnTo>
                      <a:lnTo>
                        <a:pt x="294" y="306"/>
                      </a:lnTo>
                      <a:lnTo>
                        <a:pt x="298" y="302"/>
                      </a:lnTo>
                      <a:lnTo>
                        <a:pt x="298" y="298"/>
                      </a:lnTo>
                      <a:lnTo>
                        <a:pt x="302" y="298"/>
                      </a:lnTo>
                      <a:lnTo>
                        <a:pt x="302" y="294"/>
                      </a:lnTo>
                      <a:lnTo>
                        <a:pt x="298" y="298"/>
                      </a:lnTo>
                      <a:lnTo>
                        <a:pt x="294" y="298"/>
                      </a:lnTo>
                      <a:lnTo>
                        <a:pt x="294" y="302"/>
                      </a:lnTo>
                      <a:lnTo>
                        <a:pt x="292" y="302"/>
                      </a:lnTo>
                      <a:lnTo>
                        <a:pt x="288" y="302"/>
                      </a:lnTo>
                      <a:lnTo>
                        <a:pt x="284" y="306"/>
                      </a:lnTo>
                      <a:lnTo>
                        <a:pt x="280" y="306"/>
                      </a:lnTo>
                      <a:lnTo>
                        <a:pt x="280" y="302"/>
                      </a:lnTo>
                      <a:lnTo>
                        <a:pt x="278" y="302"/>
                      </a:lnTo>
                      <a:lnTo>
                        <a:pt x="278" y="298"/>
                      </a:lnTo>
                      <a:lnTo>
                        <a:pt x="280" y="298"/>
                      </a:lnTo>
                      <a:lnTo>
                        <a:pt x="280" y="294"/>
                      </a:lnTo>
                      <a:lnTo>
                        <a:pt x="284" y="294"/>
                      </a:lnTo>
                      <a:lnTo>
                        <a:pt x="284" y="298"/>
                      </a:lnTo>
                      <a:lnTo>
                        <a:pt x="284" y="294"/>
                      </a:lnTo>
                      <a:lnTo>
                        <a:pt x="280" y="294"/>
                      </a:lnTo>
                      <a:lnTo>
                        <a:pt x="278" y="292"/>
                      </a:lnTo>
                      <a:lnTo>
                        <a:pt x="278" y="294"/>
                      </a:lnTo>
                      <a:lnTo>
                        <a:pt x="280" y="294"/>
                      </a:lnTo>
                      <a:lnTo>
                        <a:pt x="278" y="298"/>
                      </a:lnTo>
                      <a:lnTo>
                        <a:pt x="274" y="298"/>
                      </a:lnTo>
                      <a:lnTo>
                        <a:pt x="274" y="302"/>
                      </a:lnTo>
                      <a:lnTo>
                        <a:pt x="278" y="310"/>
                      </a:lnTo>
                      <a:lnTo>
                        <a:pt x="274" y="310"/>
                      </a:lnTo>
                      <a:lnTo>
                        <a:pt x="270" y="310"/>
                      </a:lnTo>
                      <a:lnTo>
                        <a:pt x="270" y="306"/>
                      </a:lnTo>
                      <a:lnTo>
                        <a:pt x="266" y="302"/>
                      </a:lnTo>
                      <a:lnTo>
                        <a:pt x="262" y="298"/>
                      </a:lnTo>
                      <a:lnTo>
                        <a:pt x="262" y="302"/>
                      </a:lnTo>
                      <a:lnTo>
                        <a:pt x="258" y="302"/>
                      </a:lnTo>
                      <a:lnTo>
                        <a:pt x="258" y="298"/>
                      </a:lnTo>
                      <a:lnTo>
                        <a:pt x="254" y="298"/>
                      </a:lnTo>
                      <a:lnTo>
                        <a:pt x="254" y="294"/>
                      </a:lnTo>
                      <a:lnTo>
                        <a:pt x="250" y="294"/>
                      </a:lnTo>
                      <a:lnTo>
                        <a:pt x="248" y="298"/>
                      </a:lnTo>
                      <a:lnTo>
                        <a:pt x="244" y="298"/>
                      </a:lnTo>
                      <a:lnTo>
                        <a:pt x="244" y="302"/>
                      </a:lnTo>
                      <a:lnTo>
                        <a:pt x="240" y="302"/>
                      </a:lnTo>
                      <a:lnTo>
                        <a:pt x="240" y="306"/>
                      </a:lnTo>
                      <a:lnTo>
                        <a:pt x="236" y="306"/>
                      </a:lnTo>
                      <a:lnTo>
                        <a:pt x="232" y="306"/>
                      </a:lnTo>
                      <a:lnTo>
                        <a:pt x="228" y="306"/>
                      </a:lnTo>
                      <a:lnTo>
                        <a:pt x="228" y="302"/>
                      </a:lnTo>
                      <a:lnTo>
                        <a:pt x="228" y="306"/>
                      </a:lnTo>
                      <a:lnTo>
                        <a:pt x="232" y="306"/>
                      </a:lnTo>
                      <a:lnTo>
                        <a:pt x="232" y="302"/>
                      </a:lnTo>
                      <a:lnTo>
                        <a:pt x="236" y="302"/>
                      </a:lnTo>
                      <a:lnTo>
                        <a:pt x="232" y="302"/>
                      </a:lnTo>
                      <a:lnTo>
                        <a:pt x="232" y="298"/>
                      </a:lnTo>
                      <a:lnTo>
                        <a:pt x="232" y="294"/>
                      </a:lnTo>
                      <a:lnTo>
                        <a:pt x="236" y="294"/>
                      </a:lnTo>
                      <a:lnTo>
                        <a:pt x="232" y="294"/>
                      </a:lnTo>
                      <a:lnTo>
                        <a:pt x="228" y="294"/>
                      </a:lnTo>
                      <a:lnTo>
                        <a:pt x="228" y="292"/>
                      </a:lnTo>
                      <a:lnTo>
                        <a:pt x="228" y="288"/>
                      </a:lnTo>
                      <a:lnTo>
                        <a:pt x="232" y="288"/>
                      </a:lnTo>
                      <a:lnTo>
                        <a:pt x="232" y="284"/>
                      </a:lnTo>
                      <a:lnTo>
                        <a:pt x="232" y="280"/>
                      </a:lnTo>
                      <a:lnTo>
                        <a:pt x="228" y="280"/>
                      </a:lnTo>
                      <a:lnTo>
                        <a:pt x="228" y="276"/>
                      </a:lnTo>
                      <a:lnTo>
                        <a:pt x="224" y="272"/>
                      </a:lnTo>
                      <a:lnTo>
                        <a:pt x="228" y="268"/>
                      </a:lnTo>
                      <a:lnTo>
                        <a:pt x="224" y="268"/>
                      </a:lnTo>
                      <a:lnTo>
                        <a:pt x="224" y="272"/>
                      </a:lnTo>
                      <a:lnTo>
                        <a:pt x="224" y="268"/>
                      </a:lnTo>
                      <a:lnTo>
                        <a:pt x="224" y="266"/>
                      </a:lnTo>
                      <a:lnTo>
                        <a:pt x="224" y="262"/>
                      </a:lnTo>
                      <a:lnTo>
                        <a:pt x="228" y="262"/>
                      </a:lnTo>
                      <a:lnTo>
                        <a:pt x="228" y="258"/>
                      </a:lnTo>
                      <a:lnTo>
                        <a:pt x="228" y="262"/>
                      </a:lnTo>
                      <a:lnTo>
                        <a:pt x="228" y="258"/>
                      </a:lnTo>
                      <a:lnTo>
                        <a:pt x="232" y="258"/>
                      </a:lnTo>
                      <a:lnTo>
                        <a:pt x="228" y="258"/>
                      </a:lnTo>
                      <a:lnTo>
                        <a:pt x="224" y="262"/>
                      </a:lnTo>
                      <a:lnTo>
                        <a:pt x="224" y="266"/>
                      </a:lnTo>
                      <a:lnTo>
                        <a:pt x="222" y="266"/>
                      </a:lnTo>
                      <a:lnTo>
                        <a:pt x="222" y="268"/>
                      </a:lnTo>
                      <a:lnTo>
                        <a:pt x="224" y="268"/>
                      </a:lnTo>
                      <a:lnTo>
                        <a:pt x="222" y="272"/>
                      </a:lnTo>
                      <a:lnTo>
                        <a:pt x="222" y="276"/>
                      </a:lnTo>
                      <a:lnTo>
                        <a:pt x="218" y="276"/>
                      </a:lnTo>
                      <a:lnTo>
                        <a:pt x="214" y="276"/>
                      </a:lnTo>
                      <a:lnTo>
                        <a:pt x="210" y="280"/>
                      </a:lnTo>
                      <a:lnTo>
                        <a:pt x="206" y="280"/>
                      </a:lnTo>
                      <a:lnTo>
                        <a:pt x="202" y="280"/>
                      </a:lnTo>
                      <a:lnTo>
                        <a:pt x="198" y="280"/>
                      </a:lnTo>
                      <a:lnTo>
                        <a:pt x="198" y="276"/>
                      </a:lnTo>
                      <a:lnTo>
                        <a:pt x="198" y="272"/>
                      </a:lnTo>
                      <a:lnTo>
                        <a:pt x="194" y="272"/>
                      </a:lnTo>
                      <a:lnTo>
                        <a:pt x="194" y="268"/>
                      </a:lnTo>
                      <a:lnTo>
                        <a:pt x="192" y="268"/>
                      </a:lnTo>
                      <a:lnTo>
                        <a:pt x="188" y="266"/>
                      </a:lnTo>
                      <a:lnTo>
                        <a:pt x="184" y="266"/>
                      </a:lnTo>
                      <a:lnTo>
                        <a:pt x="188" y="266"/>
                      </a:lnTo>
                      <a:lnTo>
                        <a:pt x="188" y="262"/>
                      </a:lnTo>
                      <a:lnTo>
                        <a:pt x="184" y="262"/>
                      </a:lnTo>
                      <a:lnTo>
                        <a:pt x="180" y="262"/>
                      </a:lnTo>
                      <a:lnTo>
                        <a:pt x="184" y="262"/>
                      </a:lnTo>
                      <a:lnTo>
                        <a:pt x="188" y="258"/>
                      </a:lnTo>
                      <a:lnTo>
                        <a:pt x="188" y="254"/>
                      </a:lnTo>
                      <a:lnTo>
                        <a:pt x="192" y="254"/>
                      </a:lnTo>
                      <a:lnTo>
                        <a:pt x="194" y="258"/>
                      </a:lnTo>
                      <a:lnTo>
                        <a:pt x="198" y="258"/>
                      </a:lnTo>
                      <a:lnTo>
                        <a:pt x="194" y="258"/>
                      </a:lnTo>
                      <a:lnTo>
                        <a:pt x="194" y="262"/>
                      </a:lnTo>
                      <a:lnTo>
                        <a:pt x="198" y="258"/>
                      </a:lnTo>
                      <a:lnTo>
                        <a:pt x="202" y="258"/>
                      </a:lnTo>
                      <a:lnTo>
                        <a:pt x="202" y="262"/>
                      </a:lnTo>
                      <a:lnTo>
                        <a:pt x="206" y="262"/>
                      </a:lnTo>
                      <a:lnTo>
                        <a:pt x="210" y="258"/>
                      </a:lnTo>
                      <a:lnTo>
                        <a:pt x="206" y="258"/>
                      </a:lnTo>
                      <a:lnTo>
                        <a:pt x="206" y="254"/>
                      </a:lnTo>
                      <a:lnTo>
                        <a:pt x="202" y="254"/>
                      </a:lnTo>
                      <a:lnTo>
                        <a:pt x="206" y="254"/>
                      </a:lnTo>
                      <a:lnTo>
                        <a:pt x="206" y="250"/>
                      </a:lnTo>
                      <a:lnTo>
                        <a:pt x="202" y="254"/>
                      </a:lnTo>
                      <a:lnTo>
                        <a:pt x="198" y="254"/>
                      </a:lnTo>
                      <a:lnTo>
                        <a:pt x="194" y="254"/>
                      </a:lnTo>
                      <a:lnTo>
                        <a:pt x="192" y="254"/>
                      </a:lnTo>
                      <a:lnTo>
                        <a:pt x="188" y="254"/>
                      </a:lnTo>
                      <a:lnTo>
                        <a:pt x="184" y="254"/>
                      </a:lnTo>
                      <a:lnTo>
                        <a:pt x="184" y="250"/>
                      </a:lnTo>
                      <a:lnTo>
                        <a:pt x="188" y="250"/>
                      </a:lnTo>
                      <a:lnTo>
                        <a:pt x="192" y="250"/>
                      </a:lnTo>
                      <a:lnTo>
                        <a:pt x="188" y="250"/>
                      </a:lnTo>
                      <a:lnTo>
                        <a:pt x="184" y="250"/>
                      </a:lnTo>
                      <a:lnTo>
                        <a:pt x="184" y="246"/>
                      </a:lnTo>
                      <a:lnTo>
                        <a:pt x="180" y="246"/>
                      </a:lnTo>
                      <a:lnTo>
                        <a:pt x="184" y="246"/>
                      </a:lnTo>
                      <a:lnTo>
                        <a:pt x="184" y="242"/>
                      </a:lnTo>
                      <a:lnTo>
                        <a:pt x="188" y="242"/>
                      </a:lnTo>
                      <a:lnTo>
                        <a:pt x="188" y="238"/>
                      </a:lnTo>
                      <a:lnTo>
                        <a:pt x="192" y="238"/>
                      </a:lnTo>
                      <a:lnTo>
                        <a:pt x="192" y="236"/>
                      </a:lnTo>
                      <a:lnTo>
                        <a:pt x="192" y="238"/>
                      </a:lnTo>
                      <a:lnTo>
                        <a:pt x="188" y="238"/>
                      </a:lnTo>
                      <a:lnTo>
                        <a:pt x="188" y="242"/>
                      </a:lnTo>
                      <a:lnTo>
                        <a:pt x="184" y="242"/>
                      </a:lnTo>
                      <a:lnTo>
                        <a:pt x="184" y="246"/>
                      </a:lnTo>
                      <a:lnTo>
                        <a:pt x="180" y="246"/>
                      </a:lnTo>
                      <a:lnTo>
                        <a:pt x="184" y="246"/>
                      </a:lnTo>
                      <a:lnTo>
                        <a:pt x="180" y="250"/>
                      </a:lnTo>
                      <a:lnTo>
                        <a:pt x="176" y="246"/>
                      </a:lnTo>
                      <a:lnTo>
                        <a:pt x="180" y="246"/>
                      </a:lnTo>
                      <a:lnTo>
                        <a:pt x="176" y="242"/>
                      </a:lnTo>
                      <a:lnTo>
                        <a:pt x="172" y="242"/>
                      </a:lnTo>
                      <a:lnTo>
                        <a:pt x="176" y="242"/>
                      </a:lnTo>
                      <a:lnTo>
                        <a:pt x="176" y="238"/>
                      </a:lnTo>
                      <a:lnTo>
                        <a:pt x="172" y="238"/>
                      </a:lnTo>
                      <a:lnTo>
                        <a:pt x="168" y="238"/>
                      </a:lnTo>
                      <a:lnTo>
                        <a:pt x="168" y="236"/>
                      </a:lnTo>
                      <a:lnTo>
                        <a:pt x="172" y="236"/>
                      </a:lnTo>
                      <a:lnTo>
                        <a:pt x="176" y="236"/>
                      </a:lnTo>
                      <a:lnTo>
                        <a:pt x="172" y="236"/>
                      </a:lnTo>
                      <a:lnTo>
                        <a:pt x="172" y="232"/>
                      </a:lnTo>
                      <a:lnTo>
                        <a:pt x="176" y="232"/>
                      </a:lnTo>
                      <a:lnTo>
                        <a:pt x="176" y="228"/>
                      </a:lnTo>
                      <a:lnTo>
                        <a:pt x="176" y="224"/>
                      </a:lnTo>
                      <a:lnTo>
                        <a:pt x="180" y="224"/>
                      </a:lnTo>
                      <a:lnTo>
                        <a:pt x="180" y="222"/>
                      </a:lnTo>
                      <a:lnTo>
                        <a:pt x="184" y="222"/>
                      </a:lnTo>
                      <a:lnTo>
                        <a:pt x="184" y="218"/>
                      </a:lnTo>
                      <a:lnTo>
                        <a:pt x="188" y="218"/>
                      </a:lnTo>
                      <a:lnTo>
                        <a:pt x="192" y="218"/>
                      </a:lnTo>
                      <a:lnTo>
                        <a:pt x="192" y="222"/>
                      </a:lnTo>
                      <a:lnTo>
                        <a:pt x="192" y="218"/>
                      </a:lnTo>
                      <a:lnTo>
                        <a:pt x="188" y="218"/>
                      </a:lnTo>
                      <a:lnTo>
                        <a:pt x="192" y="214"/>
                      </a:lnTo>
                      <a:lnTo>
                        <a:pt x="194" y="210"/>
                      </a:lnTo>
                      <a:lnTo>
                        <a:pt x="192" y="214"/>
                      </a:lnTo>
                      <a:lnTo>
                        <a:pt x="188" y="210"/>
                      </a:lnTo>
                      <a:lnTo>
                        <a:pt x="192" y="206"/>
                      </a:lnTo>
                      <a:lnTo>
                        <a:pt x="194" y="206"/>
                      </a:lnTo>
                      <a:lnTo>
                        <a:pt x="194" y="202"/>
                      </a:lnTo>
                      <a:lnTo>
                        <a:pt x="192" y="202"/>
                      </a:lnTo>
                      <a:lnTo>
                        <a:pt x="194" y="198"/>
                      </a:lnTo>
                      <a:lnTo>
                        <a:pt x="198" y="198"/>
                      </a:lnTo>
                      <a:lnTo>
                        <a:pt x="202" y="198"/>
                      </a:lnTo>
                      <a:lnTo>
                        <a:pt x="206" y="198"/>
                      </a:lnTo>
                      <a:lnTo>
                        <a:pt x="206" y="202"/>
                      </a:lnTo>
                      <a:lnTo>
                        <a:pt x="210" y="202"/>
                      </a:lnTo>
                      <a:lnTo>
                        <a:pt x="210" y="206"/>
                      </a:lnTo>
                      <a:lnTo>
                        <a:pt x="214" y="206"/>
                      </a:lnTo>
                      <a:lnTo>
                        <a:pt x="214" y="202"/>
                      </a:lnTo>
                      <a:lnTo>
                        <a:pt x="218" y="202"/>
                      </a:lnTo>
                      <a:lnTo>
                        <a:pt x="222" y="198"/>
                      </a:lnTo>
                      <a:lnTo>
                        <a:pt x="224" y="194"/>
                      </a:lnTo>
                      <a:lnTo>
                        <a:pt x="224" y="192"/>
                      </a:lnTo>
                      <a:lnTo>
                        <a:pt x="228" y="194"/>
                      </a:lnTo>
                      <a:lnTo>
                        <a:pt x="232" y="194"/>
                      </a:lnTo>
                      <a:lnTo>
                        <a:pt x="236" y="194"/>
                      </a:lnTo>
                      <a:lnTo>
                        <a:pt x="240" y="194"/>
                      </a:lnTo>
                      <a:lnTo>
                        <a:pt x="248" y="188"/>
                      </a:lnTo>
                      <a:lnTo>
                        <a:pt x="248" y="184"/>
                      </a:lnTo>
                      <a:lnTo>
                        <a:pt x="244" y="180"/>
                      </a:lnTo>
                      <a:lnTo>
                        <a:pt x="244" y="176"/>
                      </a:lnTo>
                      <a:lnTo>
                        <a:pt x="240" y="172"/>
                      </a:lnTo>
                      <a:lnTo>
                        <a:pt x="236" y="172"/>
                      </a:lnTo>
                      <a:lnTo>
                        <a:pt x="236" y="168"/>
                      </a:lnTo>
                      <a:lnTo>
                        <a:pt x="240" y="168"/>
                      </a:lnTo>
                      <a:lnTo>
                        <a:pt x="244" y="168"/>
                      </a:lnTo>
                      <a:lnTo>
                        <a:pt x="248" y="166"/>
                      </a:lnTo>
                      <a:lnTo>
                        <a:pt x="248" y="162"/>
                      </a:lnTo>
                      <a:lnTo>
                        <a:pt x="244" y="162"/>
                      </a:lnTo>
                      <a:lnTo>
                        <a:pt x="240" y="162"/>
                      </a:lnTo>
                      <a:lnTo>
                        <a:pt x="244" y="162"/>
                      </a:lnTo>
                      <a:lnTo>
                        <a:pt x="244" y="158"/>
                      </a:lnTo>
                      <a:lnTo>
                        <a:pt x="240" y="158"/>
                      </a:lnTo>
                      <a:lnTo>
                        <a:pt x="240" y="162"/>
                      </a:lnTo>
                      <a:lnTo>
                        <a:pt x="236" y="166"/>
                      </a:lnTo>
                      <a:lnTo>
                        <a:pt x="236" y="162"/>
                      </a:lnTo>
                      <a:lnTo>
                        <a:pt x="232" y="162"/>
                      </a:lnTo>
                      <a:lnTo>
                        <a:pt x="232" y="166"/>
                      </a:lnTo>
                      <a:lnTo>
                        <a:pt x="228" y="166"/>
                      </a:lnTo>
                      <a:lnTo>
                        <a:pt x="232" y="166"/>
                      </a:lnTo>
                      <a:lnTo>
                        <a:pt x="228" y="166"/>
                      </a:lnTo>
                      <a:lnTo>
                        <a:pt x="224" y="166"/>
                      </a:lnTo>
                      <a:lnTo>
                        <a:pt x="224" y="168"/>
                      </a:lnTo>
                      <a:lnTo>
                        <a:pt x="222" y="168"/>
                      </a:lnTo>
                      <a:lnTo>
                        <a:pt x="222" y="172"/>
                      </a:lnTo>
                      <a:lnTo>
                        <a:pt x="218" y="172"/>
                      </a:lnTo>
                      <a:lnTo>
                        <a:pt x="218" y="168"/>
                      </a:lnTo>
                      <a:lnTo>
                        <a:pt x="214" y="166"/>
                      </a:lnTo>
                      <a:lnTo>
                        <a:pt x="210" y="166"/>
                      </a:lnTo>
                      <a:lnTo>
                        <a:pt x="210" y="168"/>
                      </a:lnTo>
                      <a:lnTo>
                        <a:pt x="214" y="168"/>
                      </a:lnTo>
                      <a:lnTo>
                        <a:pt x="214" y="172"/>
                      </a:lnTo>
                      <a:lnTo>
                        <a:pt x="210" y="172"/>
                      </a:lnTo>
                      <a:lnTo>
                        <a:pt x="210" y="168"/>
                      </a:lnTo>
                      <a:lnTo>
                        <a:pt x="206" y="168"/>
                      </a:lnTo>
                      <a:lnTo>
                        <a:pt x="202" y="168"/>
                      </a:lnTo>
                      <a:lnTo>
                        <a:pt x="198" y="168"/>
                      </a:lnTo>
                      <a:lnTo>
                        <a:pt x="194" y="168"/>
                      </a:lnTo>
                      <a:lnTo>
                        <a:pt x="192" y="168"/>
                      </a:lnTo>
                      <a:lnTo>
                        <a:pt x="188" y="168"/>
                      </a:lnTo>
                      <a:lnTo>
                        <a:pt x="188" y="172"/>
                      </a:lnTo>
                      <a:lnTo>
                        <a:pt x="192" y="172"/>
                      </a:lnTo>
                      <a:lnTo>
                        <a:pt x="192" y="168"/>
                      </a:lnTo>
                      <a:lnTo>
                        <a:pt x="192" y="172"/>
                      </a:lnTo>
                      <a:lnTo>
                        <a:pt x="188" y="172"/>
                      </a:lnTo>
                      <a:lnTo>
                        <a:pt x="184" y="172"/>
                      </a:lnTo>
                      <a:lnTo>
                        <a:pt x="184" y="168"/>
                      </a:lnTo>
                      <a:lnTo>
                        <a:pt x="180" y="168"/>
                      </a:lnTo>
                      <a:lnTo>
                        <a:pt x="176" y="168"/>
                      </a:lnTo>
                      <a:lnTo>
                        <a:pt x="172" y="168"/>
                      </a:lnTo>
                      <a:lnTo>
                        <a:pt x="168" y="168"/>
                      </a:lnTo>
                      <a:lnTo>
                        <a:pt x="168" y="166"/>
                      </a:lnTo>
                      <a:lnTo>
                        <a:pt x="166" y="166"/>
                      </a:lnTo>
                      <a:lnTo>
                        <a:pt x="166" y="162"/>
                      </a:lnTo>
                      <a:lnTo>
                        <a:pt x="168" y="162"/>
                      </a:lnTo>
                      <a:lnTo>
                        <a:pt x="166" y="162"/>
                      </a:lnTo>
                      <a:lnTo>
                        <a:pt x="166" y="158"/>
                      </a:lnTo>
                      <a:lnTo>
                        <a:pt x="162" y="158"/>
                      </a:lnTo>
                      <a:lnTo>
                        <a:pt x="162" y="154"/>
                      </a:lnTo>
                      <a:lnTo>
                        <a:pt x="158" y="154"/>
                      </a:lnTo>
                      <a:lnTo>
                        <a:pt x="162" y="154"/>
                      </a:lnTo>
                      <a:lnTo>
                        <a:pt x="162" y="150"/>
                      </a:lnTo>
                      <a:lnTo>
                        <a:pt x="162" y="154"/>
                      </a:lnTo>
                      <a:lnTo>
                        <a:pt x="166" y="154"/>
                      </a:lnTo>
                      <a:lnTo>
                        <a:pt x="168" y="150"/>
                      </a:lnTo>
                      <a:lnTo>
                        <a:pt x="168" y="154"/>
                      </a:lnTo>
                      <a:lnTo>
                        <a:pt x="172" y="154"/>
                      </a:lnTo>
                      <a:lnTo>
                        <a:pt x="172" y="150"/>
                      </a:lnTo>
                      <a:lnTo>
                        <a:pt x="168" y="150"/>
                      </a:lnTo>
                      <a:lnTo>
                        <a:pt x="166" y="150"/>
                      </a:lnTo>
                      <a:lnTo>
                        <a:pt x="162" y="150"/>
                      </a:lnTo>
                      <a:lnTo>
                        <a:pt x="158" y="150"/>
                      </a:lnTo>
                      <a:lnTo>
                        <a:pt x="154" y="146"/>
                      </a:lnTo>
                      <a:lnTo>
                        <a:pt x="150" y="146"/>
                      </a:lnTo>
                      <a:lnTo>
                        <a:pt x="146" y="146"/>
                      </a:lnTo>
                      <a:lnTo>
                        <a:pt x="146" y="142"/>
                      </a:lnTo>
                      <a:lnTo>
                        <a:pt x="142" y="142"/>
                      </a:lnTo>
                      <a:lnTo>
                        <a:pt x="142" y="138"/>
                      </a:lnTo>
                      <a:lnTo>
                        <a:pt x="146" y="138"/>
                      </a:lnTo>
                      <a:lnTo>
                        <a:pt x="146" y="142"/>
                      </a:lnTo>
                      <a:lnTo>
                        <a:pt x="142" y="142"/>
                      </a:lnTo>
                      <a:lnTo>
                        <a:pt x="146" y="142"/>
                      </a:lnTo>
                      <a:lnTo>
                        <a:pt x="150" y="138"/>
                      </a:lnTo>
                      <a:lnTo>
                        <a:pt x="154" y="138"/>
                      </a:lnTo>
                      <a:lnTo>
                        <a:pt x="154" y="136"/>
                      </a:lnTo>
                      <a:lnTo>
                        <a:pt x="158" y="138"/>
                      </a:lnTo>
                      <a:lnTo>
                        <a:pt x="158" y="136"/>
                      </a:lnTo>
                      <a:lnTo>
                        <a:pt x="162" y="136"/>
                      </a:lnTo>
                      <a:lnTo>
                        <a:pt x="158" y="136"/>
                      </a:lnTo>
                      <a:lnTo>
                        <a:pt x="162" y="136"/>
                      </a:lnTo>
                      <a:lnTo>
                        <a:pt x="162" y="132"/>
                      </a:lnTo>
                      <a:lnTo>
                        <a:pt x="166" y="132"/>
                      </a:lnTo>
                      <a:lnTo>
                        <a:pt x="168" y="128"/>
                      </a:lnTo>
                      <a:lnTo>
                        <a:pt x="172" y="132"/>
                      </a:lnTo>
                      <a:lnTo>
                        <a:pt x="176" y="132"/>
                      </a:lnTo>
                      <a:lnTo>
                        <a:pt x="180" y="132"/>
                      </a:lnTo>
                      <a:lnTo>
                        <a:pt x="176" y="128"/>
                      </a:lnTo>
                      <a:lnTo>
                        <a:pt x="172" y="128"/>
                      </a:lnTo>
                      <a:lnTo>
                        <a:pt x="176" y="128"/>
                      </a:lnTo>
                      <a:lnTo>
                        <a:pt x="176" y="124"/>
                      </a:lnTo>
                      <a:lnTo>
                        <a:pt x="180" y="124"/>
                      </a:lnTo>
                      <a:lnTo>
                        <a:pt x="184" y="124"/>
                      </a:lnTo>
                      <a:lnTo>
                        <a:pt x="188" y="124"/>
                      </a:lnTo>
                      <a:lnTo>
                        <a:pt x="192" y="120"/>
                      </a:lnTo>
                      <a:lnTo>
                        <a:pt x="194" y="120"/>
                      </a:lnTo>
                      <a:lnTo>
                        <a:pt x="198" y="120"/>
                      </a:lnTo>
                      <a:lnTo>
                        <a:pt x="202" y="120"/>
                      </a:lnTo>
                      <a:lnTo>
                        <a:pt x="206" y="120"/>
                      </a:lnTo>
                      <a:lnTo>
                        <a:pt x="202" y="120"/>
                      </a:lnTo>
                      <a:lnTo>
                        <a:pt x="206" y="120"/>
                      </a:lnTo>
                      <a:lnTo>
                        <a:pt x="202" y="124"/>
                      </a:lnTo>
                      <a:lnTo>
                        <a:pt x="202" y="128"/>
                      </a:lnTo>
                      <a:lnTo>
                        <a:pt x="198" y="128"/>
                      </a:lnTo>
                      <a:lnTo>
                        <a:pt x="202" y="128"/>
                      </a:lnTo>
                      <a:lnTo>
                        <a:pt x="202" y="132"/>
                      </a:lnTo>
                      <a:lnTo>
                        <a:pt x="206" y="132"/>
                      </a:lnTo>
                      <a:lnTo>
                        <a:pt x="210" y="132"/>
                      </a:lnTo>
                      <a:lnTo>
                        <a:pt x="214" y="132"/>
                      </a:lnTo>
                      <a:lnTo>
                        <a:pt x="218" y="132"/>
                      </a:lnTo>
                      <a:lnTo>
                        <a:pt x="222" y="132"/>
                      </a:lnTo>
                      <a:lnTo>
                        <a:pt x="224" y="132"/>
                      </a:lnTo>
                      <a:lnTo>
                        <a:pt x="228" y="132"/>
                      </a:lnTo>
                      <a:lnTo>
                        <a:pt x="232" y="136"/>
                      </a:lnTo>
                      <a:lnTo>
                        <a:pt x="232" y="132"/>
                      </a:lnTo>
                      <a:lnTo>
                        <a:pt x="236" y="132"/>
                      </a:lnTo>
                      <a:lnTo>
                        <a:pt x="236" y="128"/>
                      </a:lnTo>
                      <a:lnTo>
                        <a:pt x="240" y="128"/>
                      </a:lnTo>
                      <a:lnTo>
                        <a:pt x="244" y="128"/>
                      </a:lnTo>
                      <a:lnTo>
                        <a:pt x="244" y="132"/>
                      </a:lnTo>
                      <a:lnTo>
                        <a:pt x="240" y="132"/>
                      </a:lnTo>
                      <a:lnTo>
                        <a:pt x="244" y="132"/>
                      </a:lnTo>
                      <a:lnTo>
                        <a:pt x="244" y="128"/>
                      </a:lnTo>
                      <a:lnTo>
                        <a:pt x="244" y="124"/>
                      </a:lnTo>
                      <a:lnTo>
                        <a:pt x="240" y="124"/>
                      </a:lnTo>
                      <a:lnTo>
                        <a:pt x="236" y="124"/>
                      </a:lnTo>
                      <a:lnTo>
                        <a:pt x="232" y="124"/>
                      </a:lnTo>
                      <a:lnTo>
                        <a:pt x="232" y="128"/>
                      </a:lnTo>
                      <a:lnTo>
                        <a:pt x="228" y="124"/>
                      </a:lnTo>
                      <a:lnTo>
                        <a:pt x="232" y="124"/>
                      </a:lnTo>
                      <a:lnTo>
                        <a:pt x="232" y="120"/>
                      </a:lnTo>
                      <a:lnTo>
                        <a:pt x="228" y="116"/>
                      </a:lnTo>
                      <a:lnTo>
                        <a:pt x="224" y="116"/>
                      </a:lnTo>
                      <a:lnTo>
                        <a:pt x="222" y="116"/>
                      </a:lnTo>
                      <a:lnTo>
                        <a:pt x="222" y="112"/>
                      </a:lnTo>
                      <a:lnTo>
                        <a:pt x="224" y="110"/>
                      </a:lnTo>
                      <a:lnTo>
                        <a:pt x="228" y="112"/>
                      </a:lnTo>
                      <a:lnTo>
                        <a:pt x="228" y="116"/>
                      </a:lnTo>
                      <a:lnTo>
                        <a:pt x="232" y="120"/>
                      </a:lnTo>
                      <a:lnTo>
                        <a:pt x="236" y="124"/>
                      </a:lnTo>
                      <a:lnTo>
                        <a:pt x="240" y="120"/>
                      </a:lnTo>
                      <a:lnTo>
                        <a:pt x="244" y="120"/>
                      </a:lnTo>
                      <a:lnTo>
                        <a:pt x="244" y="124"/>
                      </a:lnTo>
                      <a:lnTo>
                        <a:pt x="248" y="124"/>
                      </a:lnTo>
                      <a:lnTo>
                        <a:pt x="250" y="124"/>
                      </a:lnTo>
                      <a:lnTo>
                        <a:pt x="254" y="124"/>
                      </a:lnTo>
                      <a:lnTo>
                        <a:pt x="254" y="120"/>
                      </a:lnTo>
                      <a:lnTo>
                        <a:pt x="254" y="116"/>
                      </a:lnTo>
                      <a:lnTo>
                        <a:pt x="250" y="120"/>
                      </a:lnTo>
                      <a:lnTo>
                        <a:pt x="248" y="120"/>
                      </a:lnTo>
                      <a:lnTo>
                        <a:pt x="248" y="116"/>
                      </a:lnTo>
                      <a:lnTo>
                        <a:pt x="244" y="116"/>
                      </a:lnTo>
                      <a:lnTo>
                        <a:pt x="240" y="116"/>
                      </a:lnTo>
                      <a:lnTo>
                        <a:pt x="240" y="120"/>
                      </a:lnTo>
                      <a:lnTo>
                        <a:pt x="236" y="120"/>
                      </a:lnTo>
                      <a:lnTo>
                        <a:pt x="232" y="120"/>
                      </a:lnTo>
                      <a:lnTo>
                        <a:pt x="232" y="116"/>
                      </a:lnTo>
                      <a:lnTo>
                        <a:pt x="232" y="112"/>
                      </a:lnTo>
                      <a:lnTo>
                        <a:pt x="232" y="110"/>
                      </a:lnTo>
                      <a:lnTo>
                        <a:pt x="236" y="110"/>
                      </a:lnTo>
                      <a:lnTo>
                        <a:pt x="232" y="110"/>
                      </a:lnTo>
                      <a:lnTo>
                        <a:pt x="224" y="110"/>
                      </a:lnTo>
                      <a:lnTo>
                        <a:pt x="222" y="110"/>
                      </a:lnTo>
                      <a:lnTo>
                        <a:pt x="224" y="110"/>
                      </a:lnTo>
                      <a:lnTo>
                        <a:pt x="224" y="106"/>
                      </a:lnTo>
                      <a:lnTo>
                        <a:pt x="222" y="110"/>
                      </a:lnTo>
                      <a:lnTo>
                        <a:pt x="218" y="110"/>
                      </a:lnTo>
                      <a:lnTo>
                        <a:pt x="214" y="110"/>
                      </a:lnTo>
                      <a:lnTo>
                        <a:pt x="210" y="110"/>
                      </a:lnTo>
                      <a:lnTo>
                        <a:pt x="206" y="106"/>
                      </a:lnTo>
                      <a:lnTo>
                        <a:pt x="202" y="106"/>
                      </a:lnTo>
                      <a:lnTo>
                        <a:pt x="206" y="106"/>
                      </a:lnTo>
                      <a:lnTo>
                        <a:pt x="202" y="102"/>
                      </a:lnTo>
                      <a:lnTo>
                        <a:pt x="202" y="98"/>
                      </a:lnTo>
                      <a:lnTo>
                        <a:pt x="202" y="94"/>
                      </a:lnTo>
                      <a:lnTo>
                        <a:pt x="198" y="94"/>
                      </a:lnTo>
                      <a:lnTo>
                        <a:pt x="194" y="94"/>
                      </a:lnTo>
                      <a:lnTo>
                        <a:pt x="194" y="90"/>
                      </a:lnTo>
                      <a:lnTo>
                        <a:pt x="192" y="90"/>
                      </a:lnTo>
                      <a:lnTo>
                        <a:pt x="184" y="86"/>
                      </a:lnTo>
                      <a:lnTo>
                        <a:pt x="184" y="82"/>
                      </a:lnTo>
                      <a:lnTo>
                        <a:pt x="180" y="82"/>
                      </a:lnTo>
                      <a:lnTo>
                        <a:pt x="176" y="82"/>
                      </a:lnTo>
                      <a:lnTo>
                        <a:pt x="172" y="82"/>
                      </a:lnTo>
                      <a:lnTo>
                        <a:pt x="172" y="80"/>
                      </a:lnTo>
                      <a:lnTo>
                        <a:pt x="168" y="80"/>
                      </a:lnTo>
                      <a:lnTo>
                        <a:pt x="168" y="76"/>
                      </a:lnTo>
                      <a:lnTo>
                        <a:pt x="166" y="76"/>
                      </a:lnTo>
                      <a:lnTo>
                        <a:pt x="162" y="76"/>
                      </a:lnTo>
                      <a:lnTo>
                        <a:pt x="166" y="76"/>
                      </a:lnTo>
                      <a:lnTo>
                        <a:pt x="162" y="76"/>
                      </a:lnTo>
                      <a:lnTo>
                        <a:pt x="166" y="76"/>
                      </a:lnTo>
                      <a:lnTo>
                        <a:pt x="168" y="76"/>
                      </a:lnTo>
                      <a:lnTo>
                        <a:pt x="168" y="72"/>
                      </a:lnTo>
                      <a:lnTo>
                        <a:pt x="168" y="68"/>
                      </a:lnTo>
                      <a:lnTo>
                        <a:pt x="168" y="64"/>
                      </a:lnTo>
                      <a:lnTo>
                        <a:pt x="172" y="64"/>
                      </a:lnTo>
                      <a:lnTo>
                        <a:pt x="176" y="64"/>
                      </a:lnTo>
                      <a:lnTo>
                        <a:pt x="180" y="64"/>
                      </a:lnTo>
                      <a:lnTo>
                        <a:pt x="184" y="64"/>
                      </a:lnTo>
                      <a:lnTo>
                        <a:pt x="188" y="60"/>
                      </a:lnTo>
                      <a:lnTo>
                        <a:pt x="192" y="60"/>
                      </a:lnTo>
                      <a:lnTo>
                        <a:pt x="194" y="60"/>
                      </a:lnTo>
                      <a:lnTo>
                        <a:pt x="198" y="60"/>
                      </a:lnTo>
                      <a:lnTo>
                        <a:pt x="202" y="60"/>
                      </a:lnTo>
                      <a:lnTo>
                        <a:pt x="206" y="56"/>
                      </a:lnTo>
                      <a:lnTo>
                        <a:pt x="210" y="56"/>
                      </a:lnTo>
                      <a:lnTo>
                        <a:pt x="210" y="52"/>
                      </a:lnTo>
                      <a:lnTo>
                        <a:pt x="214" y="50"/>
                      </a:lnTo>
                      <a:lnTo>
                        <a:pt x="210" y="52"/>
                      </a:lnTo>
                      <a:lnTo>
                        <a:pt x="214" y="50"/>
                      </a:lnTo>
                      <a:lnTo>
                        <a:pt x="214" y="46"/>
                      </a:lnTo>
                      <a:lnTo>
                        <a:pt x="214" y="42"/>
                      </a:lnTo>
                      <a:lnTo>
                        <a:pt x="218" y="42"/>
                      </a:lnTo>
                      <a:lnTo>
                        <a:pt x="214" y="42"/>
                      </a:lnTo>
                      <a:lnTo>
                        <a:pt x="218" y="38"/>
                      </a:lnTo>
                      <a:lnTo>
                        <a:pt x="222" y="38"/>
                      </a:lnTo>
                      <a:lnTo>
                        <a:pt x="222" y="34"/>
                      </a:lnTo>
                      <a:lnTo>
                        <a:pt x="224" y="30"/>
                      </a:lnTo>
                      <a:lnTo>
                        <a:pt x="228" y="26"/>
                      </a:lnTo>
                      <a:lnTo>
                        <a:pt x="232" y="26"/>
                      </a:lnTo>
                      <a:lnTo>
                        <a:pt x="232" y="30"/>
                      </a:lnTo>
                      <a:lnTo>
                        <a:pt x="228" y="30"/>
                      </a:lnTo>
                      <a:lnTo>
                        <a:pt x="232" y="30"/>
                      </a:lnTo>
                      <a:lnTo>
                        <a:pt x="232" y="26"/>
                      </a:lnTo>
                      <a:lnTo>
                        <a:pt x="236" y="26"/>
                      </a:lnTo>
                      <a:lnTo>
                        <a:pt x="240" y="26"/>
                      </a:lnTo>
                      <a:lnTo>
                        <a:pt x="244" y="26"/>
                      </a:lnTo>
                      <a:lnTo>
                        <a:pt x="248" y="26"/>
                      </a:lnTo>
                      <a:lnTo>
                        <a:pt x="248" y="24"/>
                      </a:lnTo>
                      <a:lnTo>
                        <a:pt x="250" y="24"/>
                      </a:lnTo>
                      <a:lnTo>
                        <a:pt x="250" y="20"/>
                      </a:lnTo>
                      <a:lnTo>
                        <a:pt x="254" y="20"/>
                      </a:lnTo>
                      <a:lnTo>
                        <a:pt x="258" y="20"/>
                      </a:lnTo>
                      <a:lnTo>
                        <a:pt x="258" y="24"/>
                      </a:lnTo>
                      <a:lnTo>
                        <a:pt x="254" y="24"/>
                      </a:lnTo>
                      <a:lnTo>
                        <a:pt x="258" y="24"/>
                      </a:lnTo>
                      <a:lnTo>
                        <a:pt x="258" y="26"/>
                      </a:lnTo>
                      <a:lnTo>
                        <a:pt x="258" y="24"/>
                      </a:lnTo>
                      <a:lnTo>
                        <a:pt x="262" y="24"/>
                      </a:lnTo>
                      <a:lnTo>
                        <a:pt x="266" y="24"/>
                      </a:lnTo>
                      <a:lnTo>
                        <a:pt x="266" y="20"/>
                      </a:lnTo>
                      <a:lnTo>
                        <a:pt x="262" y="20"/>
                      </a:lnTo>
                      <a:lnTo>
                        <a:pt x="262" y="24"/>
                      </a:lnTo>
                      <a:lnTo>
                        <a:pt x="258" y="20"/>
                      </a:lnTo>
                      <a:lnTo>
                        <a:pt x="254" y="20"/>
                      </a:lnTo>
                      <a:lnTo>
                        <a:pt x="258" y="16"/>
                      </a:lnTo>
                      <a:lnTo>
                        <a:pt x="262" y="16"/>
                      </a:lnTo>
                      <a:lnTo>
                        <a:pt x="262" y="12"/>
                      </a:lnTo>
                      <a:lnTo>
                        <a:pt x="266" y="12"/>
                      </a:lnTo>
                      <a:lnTo>
                        <a:pt x="270" y="12"/>
                      </a:lnTo>
                      <a:lnTo>
                        <a:pt x="266" y="12"/>
                      </a:lnTo>
                      <a:lnTo>
                        <a:pt x="270" y="12"/>
                      </a:lnTo>
                      <a:lnTo>
                        <a:pt x="266" y="12"/>
                      </a:lnTo>
                      <a:lnTo>
                        <a:pt x="266" y="16"/>
                      </a:lnTo>
                      <a:lnTo>
                        <a:pt x="270" y="16"/>
                      </a:lnTo>
                      <a:lnTo>
                        <a:pt x="274" y="16"/>
                      </a:lnTo>
                      <a:lnTo>
                        <a:pt x="274" y="12"/>
                      </a:lnTo>
                      <a:lnTo>
                        <a:pt x="274" y="16"/>
                      </a:lnTo>
                      <a:lnTo>
                        <a:pt x="278" y="16"/>
                      </a:lnTo>
                      <a:lnTo>
                        <a:pt x="278" y="12"/>
                      </a:lnTo>
                      <a:lnTo>
                        <a:pt x="280" y="12"/>
                      </a:lnTo>
                      <a:lnTo>
                        <a:pt x="284" y="12"/>
                      </a:lnTo>
                      <a:lnTo>
                        <a:pt x="288" y="12"/>
                      </a:lnTo>
                      <a:lnTo>
                        <a:pt x="292" y="8"/>
                      </a:lnTo>
                      <a:lnTo>
                        <a:pt x="294" y="8"/>
                      </a:lnTo>
                      <a:lnTo>
                        <a:pt x="294" y="4"/>
                      </a:lnTo>
                      <a:lnTo>
                        <a:pt x="298" y="4"/>
                      </a:lnTo>
                      <a:lnTo>
                        <a:pt x="302" y="0"/>
                      </a:lnTo>
                      <a:lnTo>
                        <a:pt x="306" y="0"/>
                      </a:lnTo>
                      <a:lnTo>
                        <a:pt x="310" y="0"/>
                      </a:lnTo>
                      <a:lnTo>
                        <a:pt x="314" y="0"/>
                      </a:lnTo>
                      <a:lnTo>
                        <a:pt x="314" y="4"/>
                      </a:lnTo>
                      <a:lnTo>
                        <a:pt x="318" y="4"/>
                      </a:lnTo>
                      <a:lnTo>
                        <a:pt x="322" y="4"/>
                      </a:lnTo>
                      <a:lnTo>
                        <a:pt x="318" y="8"/>
                      </a:lnTo>
                      <a:lnTo>
                        <a:pt x="314" y="8"/>
                      </a:lnTo>
                      <a:lnTo>
                        <a:pt x="310" y="12"/>
                      </a:lnTo>
                      <a:lnTo>
                        <a:pt x="314" y="12"/>
                      </a:lnTo>
                      <a:lnTo>
                        <a:pt x="314" y="16"/>
                      </a:lnTo>
                      <a:lnTo>
                        <a:pt x="314" y="12"/>
                      </a:lnTo>
                      <a:lnTo>
                        <a:pt x="318" y="12"/>
                      </a:lnTo>
                      <a:lnTo>
                        <a:pt x="322" y="12"/>
                      </a:lnTo>
                      <a:lnTo>
                        <a:pt x="322" y="8"/>
                      </a:lnTo>
                      <a:lnTo>
                        <a:pt x="324" y="8"/>
                      </a:lnTo>
                      <a:lnTo>
                        <a:pt x="324" y="4"/>
                      </a:lnTo>
                      <a:lnTo>
                        <a:pt x="328" y="4"/>
                      </a:lnTo>
                      <a:lnTo>
                        <a:pt x="328" y="8"/>
                      </a:lnTo>
                      <a:lnTo>
                        <a:pt x="324" y="8"/>
                      </a:lnTo>
                      <a:lnTo>
                        <a:pt x="328" y="8"/>
                      </a:lnTo>
                      <a:lnTo>
                        <a:pt x="328" y="4"/>
                      </a:lnTo>
                      <a:lnTo>
                        <a:pt x="332" y="8"/>
                      </a:lnTo>
                      <a:lnTo>
                        <a:pt x="332" y="12"/>
                      </a:lnTo>
                      <a:lnTo>
                        <a:pt x="336" y="12"/>
                      </a:lnTo>
                      <a:lnTo>
                        <a:pt x="340" y="12"/>
                      </a:lnTo>
                      <a:lnTo>
                        <a:pt x="340" y="16"/>
                      </a:lnTo>
                      <a:lnTo>
                        <a:pt x="344" y="12"/>
                      </a:lnTo>
                      <a:lnTo>
                        <a:pt x="348" y="12"/>
                      </a:lnTo>
                      <a:lnTo>
                        <a:pt x="350" y="12"/>
                      </a:lnTo>
                      <a:lnTo>
                        <a:pt x="354" y="12"/>
                      </a:lnTo>
                      <a:lnTo>
                        <a:pt x="358" y="12"/>
                      </a:lnTo>
                      <a:lnTo>
                        <a:pt x="362" y="12"/>
                      </a:lnTo>
                      <a:lnTo>
                        <a:pt x="366" y="12"/>
                      </a:lnTo>
                      <a:lnTo>
                        <a:pt x="366" y="16"/>
                      </a:lnTo>
                      <a:lnTo>
                        <a:pt x="362" y="16"/>
                      </a:lnTo>
                      <a:lnTo>
                        <a:pt x="362" y="20"/>
                      </a:lnTo>
                      <a:lnTo>
                        <a:pt x="366" y="20"/>
                      </a:lnTo>
                      <a:lnTo>
                        <a:pt x="370" y="20"/>
                      </a:lnTo>
                      <a:lnTo>
                        <a:pt x="366" y="20"/>
                      </a:lnTo>
                      <a:lnTo>
                        <a:pt x="362" y="20"/>
                      </a:lnTo>
                      <a:lnTo>
                        <a:pt x="366" y="20"/>
                      </a:lnTo>
                      <a:lnTo>
                        <a:pt x="370" y="20"/>
                      </a:lnTo>
                      <a:lnTo>
                        <a:pt x="374" y="20"/>
                      </a:lnTo>
                      <a:lnTo>
                        <a:pt x="374" y="24"/>
                      </a:lnTo>
                      <a:lnTo>
                        <a:pt x="370" y="24"/>
                      </a:lnTo>
                      <a:lnTo>
                        <a:pt x="374" y="24"/>
                      </a:lnTo>
                      <a:lnTo>
                        <a:pt x="378" y="24"/>
                      </a:lnTo>
                      <a:lnTo>
                        <a:pt x="380" y="24"/>
                      </a:lnTo>
                      <a:lnTo>
                        <a:pt x="384" y="24"/>
                      </a:lnTo>
                      <a:lnTo>
                        <a:pt x="388" y="24"/>
                      </a:lnTo>
                      <a:lnTo>
                        <a:pt x="388" y="20"/>
                      </a:lnTo>
                      <a:lnTo>
                        <a:pt x="392" y="20"/>
                      </a:lnTo>
                      <a:lnTo>
                        <a:pt x="392" y="24"/>
                      </a:lnTo>
                      <a:lnTo>
                        <a:pt x="396" y="24"/>
                      </a:lnTo>
                      <a:lnTo>
                        <a:pt x="400" y="24"/>
                      </a:lnTo>
                      <a:lnTo>
                        <a:pt x="400" y="20"/>
                      </a:lnTo>
                      <a:lnTo>
                        <a:pt x="406" y="20"/>
                      </a:lnTo>
                      <a:lnTo>
                        <a:pt x="406" y="24"/>
                      </a:lnTo>
                      <a:lnTo>
                        <a:pt x="410" y="24"/>
                      </a:lnTo>
                      <a:lnTo>
                        <a:pt x="414" y="24"/>
                      </a:lnTo>
                      <a:lnTo>
                        <a:pt x="418" y="24"/>
                      </a:lnTo>
                      <a:lnTo>
                        <a:pt x="418" y="26"/>
                      </a:lnTo>
                      <a:lnTo>
                        <a:pt x="422" y="26"/>
                      </a:lnTo>
                      <a:lnTo>
                        <a:pt x="426" y="24"/>
                      </a:lnTo>
                      <a:lnTo>
                        <a:pt x="426" y="26"/>
                      </a:lnTo>
                      <a:lnTo>
                        <a:pt x="430" y="26"/>
                      </a:lnTo>
                      <a:lnTo>
                        <a:pt x="434" y="30"/>
                      </a:lnTo>
                      <a:lnTo>
                        <a:pt x="436" y="30"/>
                      </a:lnTo>
                      <a:lnTo>
                        <a:pt x="440" y="30"/>
                      </a:lnTo>
                      <a:lnTo>
                        <a:pt x="444" y="30"/>
                      </a:lnTo>
                      <a:lnTo>
                        <a:pt x="448" y="30"/>
                      </a:lnTo>
                      <a:lnTo>
                        <a:pt x="452" y="30"/>
                      </a:lnTo>
                      <a:lnTo>
                        <a:pt x="456" y="30"/>
                      </a:lnTo>
                      <a:lnTo>
                        <a:pt x="460" y="30"/>
                      </a:lnTo>
                      <a:lnTo>
                        <a:pt x="464" y="34"/>
                      </a:lnTo>
                      <a:lnTo>
                        <a:pt x="466" y="34"/>
                      </a:lnTo>
                      <a:lnTo>
                        <a:pt x="470" y="34"/>
                      </a:lnTo>
                      <a:lnTo>
                        <a:pt x="474" y="34"/>
                      </a:lnTo>
                      <a:lnTo>
                        <a:pt x="478" y="34"/>
                      </a:lnTo>
                      <a:lnTo>
                        <a:pt x="482" y="34"/>
                      </a:lnTo>
                      <a:lnTo>
                        <a:pt x="482" y="30"/>
                      </a:lnTo>
                      <a:lnTo>
                        <a:pt x="490" y="30"/>
                      </a:lnTo>
                      <a:lnTo>
                        <a:pt x="492" y="30"/>
                      </a:lnTo>
                      <a:lnTo>
                        <a:pt x="496" y="30"/>
                      </a:lnTo>
                      <a:lnTo>
                        <a:pt x="500" y="30"/>
                      </a:lnTo>
                      <a:lnTo>
                        <a:pt x="504" y="34"/>
                      </a:lnTo>
                      <a:lnTo>
                        <a:pt x="508" y="34"/>
                      </a:lnTo>
                      <a:lnTo>
                        <a:pt x="508" y="38"/>
                      </a:lnTo>
                      <a:lnTo>
                        <a:pt x="512" y="38"/>
                      </a:lnTo>
                      <a:lnTo>
                        <a:pt x="516" y="38"/>
                      </a:lnTo>
                      <a:lnTo>
                        <a:pt x="516" y="42"/>
                      </a:lnTo>
                      <a:lnTo>
                        <a:pt x="520" y="42"/>
                      </a:lnTo>
                      <a:lnTo>
                        <a:pt x="522" y="42"/>
                      </a:lnTo>
                      <a:lnTo>
                        <a:pt x="526" y="42"/>
                      </a:lnTo>
                      <a:lnTo>
                        <a:pt x="526" y="46"/>
                      </a:lnTo>
                      <a:lnTo>
                        <a:pt x="526" y="50"/>
                      </a:lnTo>
                      <a:lnTo>
                        <a:pt x="526" y="60"/>
                      </a:lnTo>
                      <a:lnTo>
                        <a:pt x="526" y="72"/>
                      </a:lnTo>
                      <a:lnTo>
                        <a:pt x="526" y="80"/>
                      </a:lnTo>
                      <a:lnTo>
                        <a:pt x="526" y="82"/>
                      </a:lnTo>
                      <a:lnTo>
                        <a:pt x="526" y="86"/>
                      </a:lnTo>
                      <a:lnTo>
                        <a:pt x="526" y="90"/>
                      </a:lnTo>
                      <a:lnTo>
                        <a:pt x="526" y="98"/>
                      </a:lnTo>
                      <a:lnTo>
                        <a:pt x="526" y="102"/>
                      </a:lnTo>
                      <a:lnTo>
                        <a:pt x="526" y="110"/>
                      </a:lnTo>
                      <a:lnTo>
                        <a:pt x="526" y="112"/>
                      </a:lnTo>
                      <a:lnTo>
                        <a:pt x="526" y="116"/>
                      </a:lnTo>
                      <a:lnTo>
                        <a:pt x="526" y="120"/>
                      </a:lnTo>
                      <a:lnTo>
                        <a:pt x="526" y="132"/>
                      </a:lnTo>
                      <a:lnTo>
                        <a:pt x="526" y="142"/>
                      </a:lnTo>
                      <a:lnTo>
                        <a:pt x="526" y="154"/>
                      </a:lnTo>
                      <a:lnTo>
                        <a:pt x="526" y="176"/>
                      </a:lnTo>
                      <a:lnTo>
                        <a:pt x="526" y="184"/>
                      </a:lnTo>
                      <a:lnTo>
                        <a:pt x="526" y="188"/>
                      </a:lnTo>
                      <a:lnTo>
                        <a:pt x="526" y="202"/>
                      </a:lnTo>
                      <a:lnTo>
                        <a:pt x="526" y="214"/>
                      </a:lnTo>
                      <a:lnTo>
                        <a:pt x="526" y="254"/>
                      </a:lnTo>
                      <a:lnTo>
                        <a:pt x="526" y="266"/>
                      </a:lnTo>
                      <a:lnTo>
                        <a:pt x="526" y="268"/>
                      </a:lnTo>
                      <a:lnTo>
                        <a:pt x="534" y="268"/>
                      </a:lnTo>
                      <a:lnTo>
                        <a:pt x="542" y="268"/>
                      </a:lnTo>
                      <a:lnTo>
                        <a:pt x="546" y="268"/>
                      </a:lnTo>
                      <a:lnTo>
                        <a:pt x="546" y="266"/>
                      </a:lnTo>
                      <a:lnTo>
                        <a:pt x="548" y="266"/>
                      </a:lnTo>
                      <a:lnTo>
                        <a:pt x="552" y="266"/>
                      </a:lnTo>
                      <a:lnTo>
                        <a:pt x="552" y="268"/>
                      </a:lnTo>
                      <a:lnTo>
                        <a:pt x="552" y="272"/>
                      </a:lnTo>
                      <a:lnTo>
                        <a:pt x="556" y="276"/>
                      </a:lnTo>
                      <a:lnTo>
                        <a:pt x="560" y="276"/>
                      </a:lnTo>
                      <a:lnTo>
                        <a:pt x="560" y="280"/>
                      </a:lnTo>
                      <a:lnTo>
                        <a:pt x="564" y="284"/>
                      </a:lnTo>
                      <a:lnTo>
                        <a:pt x="568" y="284"/>
                      </a:lnTo>
                      <a:lnTo>
                        <a:pt x="572" y="288"/>
                      </a:lnTo>
                      <a:lnTo>
                        <a:pt x="576" y="292"/>
                      </a:lnTo>
                      <a:lnTo>
                        <a:pt x="576" y="294"/>
                      </a:lnTo>
                      <a:lnTo>
                        <a:pt x="576" y="298"/>
                      </a:lnTo>
                      <a:lnTo>
                        <a:pt x="578" y="298"/>
                      </a:lnTo>
                      <a:lnTo>
                        <a:pt x="578" y="294"/>
                      </a:lnTo>
                      <a:lnTo>
                        <a:pt x="582" y="294"/>
                      </a:lnTo>
                      <a:lnTo>
                        <a:pt x="586" y="294"/>
                      </a:lnTo>
                      <a:lnTo>
                        <a:pt x="590" y="294"/>
                      </a:lnTo>
                      <a:lnTo>
                        <a:pt x="590" y="292"/>
                      </a:lnTo>
                      <a:lnTo>
                        <a:pt x="590" y="288"/>
                      </a:lnTo>
                      <a:lnTo>
                        <a:pt x="594" y="288"/>
                      </a:lnTo>
                      <a:lnTo>
                        <a:pt x="594" y="284"/>
                      </a:lnTo>
                      <a:lnTo>
                        <a:pt x="598" y="284"/>
                      </a:lnTo>
                      <a:lnTo>
                        <a:pt x="598" y="280"/>
                      </a:lnTo>
                      <a:lnTo>
                        <a:pt x="602" y="280"/>
                      </a:lnTo>
                      <a:lnTo>
                        <a:pt x="606" y="280"/>
                      </a:lnTo>
                      <a:lnTo>
                        <a:pt x="608" y="284"/>
                      </a:lnTo>
                      <a:lnTo>
                        <a:pt x="612" y="284"/>
                      </a:lnTo>
                      <a:lnTo>
                        <a:pt x="612" y="288"/>
                      </a:lnTo>
                      <a:lnTo>
                        <a:pt x="608" y="288"/>
                      </a:lnTo>
                      <a:lnTo>
                        <a:pt x="612" y="292"/>
                      </a:lnTo>
                      <a:lnTo>
                        <a:pt x="616" y="292"/>
                      </a:lnTo>
                      <a:lnTo>
                        <a:pt x="616" y="294"/>
                      </a:lnTo>
                      <a:lnTo>
                        <a:pt x="620" y="294"/>
                      </a:lnTo>
                      <a:lnTo>
                        <a:pt x="620" y="298"/>
                      </a:lnTo>
                      <a:lnTo>
                        <a:pt x="622" y="298"/>
                      </a:lnTo>
                      <a:lnTo>
                        <a:pt x="622" y="302"/>
                      </a:lnTo>
                      <a:lnTo>
                        <a:pt x="626" y="302"/>
                      </a:lnTo>
                      <a:lnTo>
                        <a:pt x="626" y="306"/>
                      </a:lnTo>
                      <a:lnTo>
                        <a:pt x="630" y="306"/>
                      </a:lnTo>
                      <a:lnTo>
                        <a:pt x="634" y="310"/>
                      </a:lnTo>
                      <a:lnTo>
                        <a:pt x="634" y="314"/>
                      </a:lnTo>
                      <a:lnTo>
                        <a:pt x="638" y="314"/>
                      </a:lnTo>
                      <a:lnTo>
                        <a:pt x="638" y="318"/>
                      </a:lnTo>
                      <a:lnTo>
                        <a:pt x="638" y="322"/>
                      </a:lnTo>
                      <a:lnTo>
                        <a:pt x="642" y="322"/>
                      </a:lnTo>
                      <a:lnTo>
                        <a:pt x="642" y="324"/>
                      </a:lnTo>
                      <a:lnTo>
                        <a:pt x="646" y="328"/>
                      </a:lnTo>
                      <a:lnTo>
                        <a:pt x="646" y="332"/>
                      </a:lnTo>
                      <a:lnTo>
                        <a:pt x="648" y="332"/>
                      </a:lnTo>
                      <a:lnTo>
                        <a:pt x="648" y="336"/>
                      </a:lnTo>
                      <a:lnTo>
                        <a:pt x="648" y="340"/>
                      </a:lnTo>
                      <a:lnTo>
                        <a:pt x="652" y="340"/>
                      </a:lnTo>
                      <a:lnTo>
                        <a:pt x="652" y="344"/>
                      </a:lnTo>
                      <a:lnTo>
                        <a:pt x="656" y="348"/>
                      </a:lnTo>
                      <a:lnTo>
                        <a:pt x="656" y="350"/>
                      </a:lnTo>
                      <a:lnTo>
                        <a:pt x="660" y="350"/>
                      </a:lnTo>
                      <a:lnTo>
                        <a:pt x="664" y="350"/>
                      </a:lnTo>
                      <a:lnTo>
                        <a:pt x="664" y="354"/>
                      </a:lnTo>
                      <a:lnTo>
                        <a:pt x="668" y="354"/>
                      </a:lnTo>
                      <a:lnTo>
                        <a:pt x="672" y="354"/>
                      </a:lnTo>
                      <a:lnTo>
                        <a:pt x="672" y="358"/>
                      </a:lnTo>
                      <a:lnTo>
                        <a:pt x="676" y="358"/>
                      </a:lnTo>
                      <a:lnTo>
                        <a:pt x="676" y="362"/>
                      </a:lnTo>
                      <a:lnTo>
                        <a:pt x="678" y="362"/>
                      </a:lnTo>
                      <a:lnTo>
                        <a:pt x="682" y="362"/>
                      </a:lnTo>
                      <a:lnTo>
                        <a:pt x="682" y="366"/>
                      </a:lnTo>
                      <a:lnTo>
                        <a:pt x="678" y="366"/>
                      </a:lnTo>
                      <a:lnTo>
                        <a:pt x="678" y="370"/>
                      </a:lnTo>
                      <a:lnTo>
                        <a:pt x="678" y="374"/>
                      </a:lnTo>
                      <a:lnTo>
                        <a:pt x="678" y="378"/>
                      </a:lnTo>
                      <a:lnTo>
                        <a:pt x="682" y="380"/>
                      </a:lnTo>
                      <a:lnTo>
                        <a:pt x="678" y="380"/>
                      </a:lnTo>
                      <a:lnTo>
                        <a:pt x="678" y="384"/>
                      </a:lnTo>
                      <a:lnTo>
                        <a:pt x="676" y="388"/>
                      </a:lnTo>
                      <a:lnTo>
                        <a:pt x="672" y="388"/>
                      </a:lnTo>
                      <a:lnTo>
                        <a:pt x="672" y="392"/>
                      </a:lnTo>
                      <a:lnTo>
                        <a:pt x="672" y="388"/>
                      </a:lnTo>
                      <a:lnTo>
                        <a:pt x="672" y="392"/>
                      </a:lnTo>
                      <a:lnTo>
                        <a:pt x="668" y="392"/>
                      </a:lnTo>
                      <a:lnTo>
                        <a:pt x="668" y="388"/>
                      </a:lnTo>
                      <a:lnTo>
                        <a:pt x="668" y="384"/>
                      </a:lnTo>
                      <a:lnTo>
                        <a:pt x="672" y="384"/>
                      </a:lnTo>
                      <a:lnTo>
                        <a:pt x="676" y="380"/>
                      </a:lnTo>
                      <a:lnTo>
                        <a:pt x="676" y="378"/>
                      </a:lnTo>
                      <a:lnTo>
                        <a:pt x="676" y="380"/>
                      </a:lnTo>
                      <a:lnTo>
                        <a:pt x="672" y="380"/>
                      </a:lnTo>
                      <a:lnTo>
                        <a:pt x="672" y="384"/>
                      </a:lnTo>
                      <a:lnTo>
                        <a:pt x="672" y="380"/>
                      </a:lnTo>
                      <a:lnTo>
                        <a:pt x="668" y="384"/>
                      </a:lnTo>
                      <a:lnTo>
                        <a:pt x="668" y="380"/>
                      </a:lnTo>
                      <a:lnTo>
                        <a:pt x="672" y="380"/>
                      </a:lnTo>
                      <a:lnTo>
                        <a:pt x="672" y="378"/>
                      </a:lnTo>
                      <a:lnTo>
                        <a:pt x="668" y="378"/>
                      </a:lnTo>
                      <a:lnTo>
                        <a:pt x="668" y="374"/>
                      </a:lnTo>
                      <a:lnTo>
                        <a:pt x="668" y="370"/>
                      </a:lnTo>
                      <a:lnTo>
                        <a:pt x="668" y="366"/>
                      </a:lnTo>
                      <a:lnTo>
                        <a:pt x="664" y="366"/>
                      </a:lnTo>
                      <a:lnTo>
                        <a:pt x="664" y="362"/>
                      </a:lnTo>
                      <a:lnTo>
                        <a:pt x="668" y="362"/>
                      </a:lnTo>
                      <a:lnTo>
                        <a:pt x="664" y="362"/>
                      </a:lnTo>
                      <a:lnTo>
                        <a:pt x="664" y="366"/>
                      </a:lnTo>
                      <a:lnTo>
                        <a:pt x="660" y="366"/>
                      </a:lnTo>
                      <a:lnTo>
                        <a:pt x="660" y="362"/>
                      </a:lnTo>
                      <a:lnTo>
                        <a:pt x="660" y="366"/>
                      </a:lnTo>
                      <a:lnTo>
                        <a:pt x="656" y="366"/>
                      </a:lnTo>
                      <a:lnTo>
                        <a:pt x="652" y="366"/>
                      </a:lnTo>
                      <a:lnTo>
                        <a:pt x="656" y="366"/>
                      </a:lnTo>
                      <a:lnTo>
                        <a:pt x="656" y="370"/>
                      </a:lnTo>
                      <a:lnTo>
                        <a:pt x="656" y="374"/>
                      </a:lnTo>
                      <a:lnTo>
                        <a:pt x="652" y="374"/>
                      </a:lnTo>
                      <a:lnTo>
                        <a:pt x="648" y="374"/>
                      </a:lnTo>
                      <a:lnTo>
                        <a:pt x="648" y="370"/>
                      </a:lnTo>
                      <a:lnTo>
                        <a:pt x="652" y="370"/>
                      </a:lnTo>
                      <a:lnTo>
                        <a:pt x="652" y="366"/>
                      </a:lnTo>
                      <a:lnTo>
                        <a:pt x="652" y="362"/>
                      </a:lnTo>
                      <a:lnTo>
                        <a:pt x="652" y="358"/>
                      </a:lnTo>
                      <a:lnTo>
                        <a:pt x="656" y="358"/>
                      </a:lnTo>
                      <a:lnTo>
                        <a:pt x="652" y="358"/>
                      </a:lnTo>
                      <a:lnTo>
                        <a:pt x="652" y="354"/>
                      </a:lnTo>
                      <a:lnTo>
                        <a:pt x="648" y="354"/>
                      </a:lnTo>
                      <a:lnTo>
                        <a:pt x="648" y="350"/>
                      </a:lnTo>
                      <a:lnTo>
                        <a:pt x="646" y="350"/>
                      </a:lnTo>
                      <a:lnTo>
                        <a:pt x="646" y="348"/>
                      </a:lnTo>
                      <a:lnTo>
                        <a:pt x="648" y="348"/>
                      </a:lnTo>
                      <a:lnTo>
                        <a:pt x="646" y="348"/>
                      </a:lnTo>
                      <a:lnTo>
                        <a:pt x="642" y="348"/>
                      </a:lnTo>
                      <a:lnTo>
                        <a:pt x="642" y="344"/>
                      </a:lnTo>
                      <a:lnTo>
                        <a:pt x="642" y="340"/>
                      </a:lnTo>
                      <a:lnTo>
                        <a:pt x="638" y="340"/>
                      </a:lnTo>
                      <a:lnTo>
                        <a:pt x="634" y="340"/>
                      </a:lnTo>
                      <a:lnTo>
                        <a:pt x="630" y="340"/>
                      </a:lnTo>
                      <a:lnTo>
                        <a:pt x="630" y="336"/>
                      </a:lnTo>
                      <a:lnTo>
                        <a:pt x="634" y="336"/>
                      </a:lnTo>
                      <a:lnTo>
                        <a:pt x="638" y="336"/>
                      </a:lnTo>
                      <a:lnTo>
                        <a:pt x="638" y="332"/>
                      </a:lnTo>
                      <a:lnTo>
                        <a:pt x="638" y="336"/>
                      </a:lnTo>
                      <a:lnTo>
                        <a:pt x="634" y="336"/>
                      </a:lnTo>
                      <a:lnTo>
                        <a:pt x="634" y="332"/>
                      </a:lnTo>
                      <a:lnTo>
                        <a:pt x="630" y="332"/>
                      </a:lnTo>
                      <a:lnTo>
                        <a:pt x="634" y="328"/>
                      </a:lnTo>
                      <a:lnTo>
                        <a:pt x="630" y="328"/>
                      </a:lnTo>
                      <a:lnTo>
                        <a:pt x="630" y="324"/>
                      </a:lnTo>
                      <a:lnTo>
                        <a:pt x="638" y="328"/>
                      </a:lnTo>
                      <a:lnTo>
                        <a:pt x="634" y="328"/>
                      </a:lnTo>
                      <a:lnTo>
                        <a:pt x="634" y="324"/>
                      </a:lnTo>
                      <a:lnTo>
                        <a:pt x="630" y="324"/>
                      </a:lnTo>
                      <a:lnTo>
                        <a:pt x="630" y="322"/>
                      </a:lnTo>
                      <a:lnTo>
                        <a:pt x="634" y="322"/>
                      </a:lnTo>
                      <a:lnTo>
                        <a:pt x="638" y="322"/>
                      </a:lnTo>
                      <a:lnTo>
                        <a:pt x="634" y="322"/>
                      </a:lnTo>
                      <a:lnTo>
                        <a:pt x="630" y="322"/>
                      </a:lnTo>
                      <a:lnTo>
                        <a:pt x="630" y="324"/>
                      </a:lnTo>
                      <a:lnTo>
                        <a:pt x="626" y="322"/>
                      </a:lnTo>
                      <a:lnTo>
                        <a:pt x="626" y="318"/>
                      </a:lnTo>
                      <a:lnTo>
                        <a:pt x="630" y="318"/>
                      </a:lnTo>
                      <a:lnTo>
                        <a:pt x="626" y="318"/>
                      </a:lnTo>
                      <a:lnTo>
                        <a:pt x="626" y="322"/>
                      </a:lnTo>
                      <a:lnTo>
                        <a:pt x="626" y="318"/>
                      </a:lnTo>
                      <a:lnTo>
                        <a:pt x="622" y="318"/>
                      </a:lnTo>
                      <a:lnTo>
                        <a:pt x="622" y="314"/>
                      </a:lnTo>
                      <a:lnTo>
                        <a:pt x="626" y="310"/>
                      </a:lnTo>
                      <a:lnTo>
                        <a:pt x="622" y="310"/>
                      </a:lnTo>
                      <a:lnTo>
                        <a:pt x="626" y="310"/>
                      </a:lnTo>
                      <a:lnTo>
                        <a:pt x="626" y="306"/>
                      </a:lnTo>
                      <a:lnTo>
                        <a:pt x="626" y="310"/>
                      </a:lnTo>
                      <a:lnTo>
                        <a:pt x="626" y="306"/>
                      </a:lnTo>
                      <a:lnTo>
                        <a:pt x="626" y="310"/>
                      </a:lnTo>
                      <a:lnTo>
                        <a:pt x="622" y="310"/>
                      </a:lnTo>
                      <a:lnTo>
                        <a:pt x="622" y="314"/>
                      </a:lnTo>
                      <a:lnTo>
                        <a:pt x="620" y="314"/>
                      </a:lnTo>
                      <a:lnTo>
                        <a:pt x="620" y="310"/>
                      </a:lnTo>
                      <a:lnTo>
                        <a:pt x="616" y="310"/>
                      </a:lnTo>
                      <a:lnTo>
                        <a:pt x="612" y="306"/>
                      </a:lnTo>
                      <a:lnTo>
                        <a:pt x="612" y="302"/>
                      </a:lnTo>
                      <a:lnTo>
                        <a:pt x="608" y="302"/>
                      </a:lnTo>
                      <a:lnTo>
                        <a:pt x="608" y="298"/>
                      </a:lnTo>
                      <a:lnTo>
                        <a:pt x="608" y="294"/>
                      </a:lnTo>
                      <a:lnTo>
                        <a:pt x="608" y="292"/>
                      </a:lnTo>
                      <a:lnTo>
                        <a:pt x="606" y="292"/>
                      </a:lnTo>
                      <a:lnTo>
                        <a:pt x="606" y="288"/>
                      </a:lnTo>
                      <a:lnTo>
                        <a:pt x="606" y="292"/>
                      </a:lnTo>
                      <a:lnTo>
                        <a:pt x="608" y="294"/>
                      </a:lnTo>
                      <a:lnTo>
                        <a:pt x="606" y="294"/>
                      </a:lnTo>
                      <a:lnTo>
                        <a:pt x="606" y="292"/>
                      </a:lnTo>
                      <a:lnTo>
                        <a:pt x="606" y="294"/>
                      </a:lnTo>
                      <a:lnTo>
                        <a:pt x="606" y="298"/>
                      </a:lnTo>
                      <a:lnTo>
                        <a:pt x="608" y="298"/>
                      </a:lnTo>
                      <a:lnTo>
                        <a:pt x="608" y="302"/>
                      </a:lnTo>
                      <a:lnTo>
                        <a:pt x="608" y="306"/>
                      </a:lnTo>
                      <a:lnTo>
                        <a:pt x="608" y="310"/>
                      </a:lnTo>
                      <a:lnTo>
                        <a:pt x="612" y="310"/>
                      </a:lnTo>
                      <a:lnTo>
                        <a:pt x="612" y="314"/>
                      </a:lnTo>
                      <a:lnTo>
                        <a:pt x="608" y="314"/>
                      </a:lnTo>
                      <a:lnTo>
                        <a:pt x="606" y="314"/>
                      </a:lnTo>
                      <a:lnTo>
                        <a:pt x="606" y="310"/>
                      </a:lnTo>
                      <a:lnTo>
                        <a:pt x="602" y="310"/>
                      </a:lnTo>
                      <a:lnTo>
                        <a:pt x="598" y="310"/>
                      </a:lnTo>
                      <a:lnTo>
                        <a:pt x="602" y="306"/>
                      </a:lnTo>
                      <a:lnTo>
                        <a:pt x="598" y="306"/>
                      </a:lnTo>
                      <a:lnTo>
                        <a:pt x="598" y="302"/>
                      </a:lnTo>
                      <a:lnTo>
                        <a:pt x="598" y="298"/>
                      </a:lnTo>
                      <a:lnTo>
                        <a:pt x="602" y="298"/>
                      </a:lnTo>
                      <a:lnTo>
                        <a:pt x="598" y="298"/>
                      </a:lnTo>
                      <a:lnTo>
                        <a:pt x="598" y="294"/>
                      </a:lnTo>
                      <a:lnTo>
                        <a:pt x="594" y="294"/>
                      </a:lnTo>
                      <a:lnTo>
                        <a:pt x="594" y="298"/>
                      </a:lnTo>
                      <a:lnTo>
                        <a:pt x="598" y="298"/>
                      </a:lnTo>
                      <a:lnTo>
                        <a:pt x="598" y="302"/>
                      </a:lnTo>
                      <a:lnTo>
                        <a:pt x="594" y="302"/>
                      </a:lnTo>
                      <a:lnTo>
                        <a:pt x="590" y="302"/>
                      </a:lnTo>
                      <a:lnTo>
                        <a:pt x="590" y="298"/>
                      </a:lnTo>
                      <a:lnTo>
                        <a:pt x="586" y="298"/>
                      </a:lnTo>
                      <a:lnTo>
                        <a:pt x="582" y="294"/>
                      </a:lnTo>
                      <a:lnTo>
                        <a:pt x="582" y="298"/>
                      </a:lnTo>
                      <a:lnTo>
                        <a:pt x="582" y="302"/>
                      </a:lnTo>
                      <a:lnTo>
                        <a:pt x="582" y="298"/>
                      </a:lnTo>
                      <a:lnTo>
                        <a:pt x="586" y="298"/>
                      </a:lnTo>
                      <a:lnTo>
                        <a:pt x="590" y="298"/>
                      </a:lnTo>
                      <a:lnTo>
                        <a:pt x="590" y="302"/>
                      </a:lnTo>
                      <a:lnTo>
                        <a:pt x="586" y="302"/>
                      </a:lnTo>
                      <a:lnTo>
                        <a:pt x="590" y="302"/>
                      </a:lnTo>
                      <a:lnTo>
                        <a:pt x="594" y="302"/>
                      </a:lnTo>
                      <a:lnTo>
                        <a:pt x="590" y="306"/>
                      </a:lnTo>
                      <a:lnTo>
                        <a:pt x="594" y="306"/>
                      </a:lnTo>
                      <a:lnTo>
                        <a:pt x="598" y="306"/>
                      </a:lnTo>
                      <a:lnTo>
                        <a:pt x="598" y="310"/>
                      </a:lnTo>
                      <a:lnTo>
                        <a:pt x="594" y="314"/>
                      </a:lnTo>
                      <a:lnTo>
                        <a:pt x="594" y="310"/>
                      </a:lnTo>
                      <a:lnTo>
                        <a:pt x="590" y="310"/>
                      </a:lnTo>
                      <a:lnTo>
                        <a:pt x="590" y="314"/>
                      </a:lnTo>
                      <a:lnTo>
                        <a:pt x="590" y="310"/>
                      </a:lnTo>
                      <a:lnTo>
                        <a:pt x="594" y="314"/>
                      </a:lnTo>
                      <a:lnTo>
                        <a:pt x="590" y="314"/>
                      </a:lnTo>
                      <a:lnTo>
                        <a:pt x="590" y="310"/>
                      </a:lnTo>
                      <a:lnTo>
                        <a:pt x="586" y="314"/>
                      </a:lnTo>
                      <a:lnTo>
                        <a:pt x="590" y="314"/>
                      </a:lnTo>
                      <a:lnTo>
                        <a:pt x="586" y="314"/>
                      </a:lnTo>
                      <a:lnTo>
                        <a:pt x="586" y="310"/>
                      </a:lnTo>
                      <a:lnTo>
                        <a:pt x="582" y="310"/>
                      </a:lnTo>
                      <a:lnTo>
                        <a:pt x="578" y="310"/>
                      </a:lnTo>
                      <a:lnTo>
                        <a:pt x="578" y="306"/>
                      </a:lnTo>
                      <a:lnTo>
                        <a:pt x="576" y="306"/>
                      </a:lnTo>
                      <a:lnTo>
                        <a:pt x="576" y="302"/>
                      </a:lnTo>
                      <a:lnTo>
                        <a:pt x="576" y="306"/>
                      </a:lnTo>
                      <a:lnTo>
                        <a:pt x="572" y="302"/>
                      </a:lnTo>
                      <a:lnTo>
                        <a:pt x="572" y="298"/>
                      </a:lnTo>
                      <a:lnTo>
                        <a:pt x="568" y="298"/>
                      </a:lnTo>
                      <a:lnTo>
                        <a:pt x="568" y="294"/>
                      </a:lnTo>
                      <a:lnTo>
                        <a:pt x="564" y="294"/>
                      </a:lnTo>
                      <a:lnTo>
                        <a:pt x="560" y="294"/>
                      </a:lnTo>
                      <a:lnTo>
                        <a:pt x="564" y="292"/>
                      </a:lnTo>
                      <a:lnTo>
                        <a:pt x="560" y="292"/>
                      </a:lnTo>
                      <a:lnTo>
                        <a:pt x="560" y="294"/>
                      </a:lnTo>
                      <a:lnTo>
                        <a:pt x="556" y="292"/>
                      </a:lnTo>
                      <a:lnTo>
                        <a:pt x="552" y="292"/>
                      </a:lnTo>
                      <a:lnTo>
                        <a:pt x="552" y="288"/>
                      </a:lnTo>
                      <a:lnTo>
                        <a:pt x="548" y="288"/>
                      </a:lnTo>
                      <a:lnTo>
                        <a:pt x="546" y="288"/>
                      </a:lnTo>
                      <a:lnTo>
                        <a:pt x="546" y="284"/>
                      </a:lnTo>
                      <a:lnTo>
                        <a:pt x="548" y="280"/>
                      </a:lnTo>
                      <a:lnTo>
                        <a:pt x="546" y="280"/>
                      </a:lnTo>
                      <a:lnTo>
                        <a:pt x="546" y="276"/>
                      </a:lnTo>
                      <a:lnTo>
                        <a:pt x="548" y="276"/>
                      </a:lnTo>
                      <a:lnTo>
                        <a:pt x="548" y="280"/>
                      </a:lnTo>
                      <a:lnTo>
                        <a:pt x="548" y="284"/>
                      </a:lnTo>
                      <a:lnTo>
                        <a:pt x="552" y="284"/>
                      </a:lnTo>
                      <a:lnTo>
                        <a:pt x="552" y="280"/>
                      </a:lnTo>
                      <a:lnTo>
                        <a:pt x="548" y="280"/>
                      </a:lnTo>
                      <a:lnTo>
                        <a:pt x="552" y="276"/>
                      </a:lnTo>
                      <a:lnTo>
                        <a:pt x="556" y="280"/>
                      </a:lnTo>
                      <a:lnTo>
                        <a:pt x="556" y="276"/>
                      </a:lnTo>
                      <a:lnTo>
                        <a:pt x="552" y="276"/>
                      </a:lnTo>
                      <a:lnTo>
                        <a:pt x="548" y="276"/>
                      </a:lnTo>
                      <a:lnTo>
                        <a:pt x="548" y="272"/>
                      </a:lnTo>
                      <a:lnTo>
                        <a:pt x="546" y="272"/>
                      </a:lnTo>
                      <a:lnTo>
                        <a:pt x="546" y="276"/>
                      </a:lnTo>
                      <a:lnTo>
                        <a:pt x="542" y="280"/>
                      </a:lnTo>
                      <a:lnTo>
                        <a:pt x="538" y="280"/>
                      </a:lnTo>
                      <a:lnTo>
                        <a:pt x="534" y="280"/>
                      </a:lnTo>
                      <a:lnTo>
                        <a:pt x="530" y="280"/>
                      </a:lnTo>
                      <a:lnTo>
                        <a:pt x="526" y="280"/>
                      </a:lnTo>
                      <a:lnTo>
                        <a:pt x="522" y="276"/>
                      </a:lnTo>
                      <a:lnTo>
                        <a:pt x="520" y="276"/>
                      </a:lnTo>
                      <a:lnTo>
                        <a:pt x="522" y="276"/>
                      </a:lnTo>
                      <a:lnTo>
                        <a:pt x="522" y="272"/>
                      </a:lnTo>
                      <a:lnTo>
                        <a:pt x="520" y="272"/>
                      </a:lnTo>
                      <a:lnTo>
                        <a:pt x="520" y="276"/>
                      </a:lnTo>
                      <a:lnTo>
                        <a:pt x="516" y="276"/>
                      </a:lnTo>
                      <a:lnTo>
                        <a:pt x="516" y="272"/>
                      </a:lnTo>
                      <a:lnTo>
                        <a:pt x="512" y="272"/>
                      </a:lnTo>
                      <a:lnTo>
                        <a:pt x="504" y="272"/>
                      </a:lnTo>
                      <a:lnTo>
                        <a:pt x="500" y="272"/>
                      </a:lnTo>
                      <a:lnTo>
                        <a:pt x="496" y="272"/>
                      </a:lnTo>
                      <a:lnTo>
                        <a:pt x="492" y="272"/>
                      </a:lnTo>
                      <a:lnTo>
                        <a:pt x="490" y="272"/>
                      </a:lnTo>
                      <a:lnTo>
                        <a:pt x="486" y="272"/>
                      </a:lnTo>
                      <a:lnTo>
                        <a:pt x="482" y="272"/>
                      </a:lnTo>
                      <a:lnTo>
                        <a:pt x="482" y="268"/>
                      </a:lnTo>
                      <a:lnTo>
                        <a:pt x="478" y="268"/>
                      </a:lnTo>
                      <a:lnTo>
                        <a:pt x="474" y="268"/>
                      </a:lnTo>
                      <a:lnTo>
                        <a:pt x="470" y="268"/>
                      </a:lnTo>
                      <a:lnTo>
                        <a:pt x="470" y="266"/>
                      </a:lnTo>
                      <a:lnTo>
                        <a:pt x="470" y="262"/>
                      </a:lnTo>
                      <a:lnTo>
                        <a:pt x="474" y="262"/>
                      </a:lnTo>
                      <a:lnTo>
                        <a:pt x="474" y="258"/>
                      </a:lnTo>
                      <a:lnTo>
                        <a:pt x="470" y="262"/>
                      </a:lnTo>
                      <a:lnTo>
                        <a:pt x="466" y="266"/>
                      </a:lnTo>
                      <a:lnTo>
                        <a:pt x="464" y="266"/>
                      </a:lnTo>
                      <a:lnTo>
                        <a:pt x="460" y="266"/>
                      </a:lnTo>
                      <a:lnTo>
                        <a:pt x="456" y="262"/>
                      </a:lnTo>
                      <a:lnTo>
                        <a:pt x="460" y="262"/>
                      </a:lnTo>
                      <a:lnTo>
                        <a:pt x="460" y="258"/>
                      </a:lnTo>
                      <a:lnTo>
                        <a:pt x="460" y="262"/>
                      </a:lnTo>
                      <a:lnTo>
                        <a:pt x="456" y="262"/>
                      </a:lnTo>
                      <a:lnTo>
                        <a:pt x="456" y="258"/>
                      </a:lnTo>
                      <a:lnTo>
                        <a:pt x="456" y="262"/>
                      </a:lnTo>
                      <a:lnTo>
                        <a:pt x="452" y="262"/>
                      </a:lnTo>
                      <a:lnTo>
                        <a:pt x="452" y="258"/>
                      </a:lnTo>
                      <a:lnTo>
                        <a:pt x="456" y="258"/>
                      </a:lnTo>
                      <a:lnTo>
                        <a:pt x="452" y="258"/>
                      </a:lnTo>
                      <a:lnTo>
                        <a:pt x="448" y="258"/>
                      </a:lnTo>
                      <a:lnTo>
                        <a:pt x="444" y="258"/>
                      </a:lnTo>
                      <a:lnTo>
                        <a:pt x="448" y="258"/>
                      </a:lnTo>
                      <a:lnTo>
                        <a:pt x="452" y="254"/>
                      </a:lnTo>
                      <a:lnTo>
                        <a:pt x="448" y="254"/>
                      </a:lnTo>
                      <a:lnTo>
                        <a:pt x="444" y="254"/>
                      </a:lnTo>
                      <a:lnTo>
                        <a:pt x="448" y="250"/>
                      </a:lnTo>
                      <a:lnTo>
                        <a:pt x="452" y="250"/>
                      </a:lnTo>
                      <a:lnTo>
                        <a:pt x="452" y="246"/>
                      </a:lnTo>
                      <a:lnTo>
                        <a:pt x="448" y="246"/>
                      </a:lnTo>
                      <a:lnTo>
                        <a:pt x="448" y="250"/>
                      </a:lnTo>
                      <a:lnTo>
                        <a:pt x="444" y="250"/>
                      </a:lnTo>
                      <a:lnTo>
                        <a:pt x="440" y="254"/>
                      </a:lnTo>
                      <a:lnTo>
                        <a:pt x="440" y="250"/>
                      </a:lnTo>
                      <a:lnTo>
                        <a:pt x="436" y="250"/>
                      </a:lnTo>
                      <a:lnTo>
                        <a:pt x="436" y="254"/>
                      </a:lnTo>
                      <a:lnTo>
                        <a:pt x="434" y="254"/>
                      </a:lnTo>
                      <a:lnTo>
                        <a:pt x="434" y="250"/>
                      </a:lnTo>
                      <a:lnTo>
                        <a:pt x="434" y="246"/>
                      </a:lnTo>
                      <a:lnTo>
                        <a:pt x="434" y="254"/>
                      </a:lnTo>
                      <a:lnTo>
                        <a:pt x="430" y="254"/>
                      </a:lnTo>
                      <a:lnTo>
                        <a:pt x="426" y="254"/>
                      </a:lnTo>
                      <a:lnTo>
                        <a:pt x="430" y="250"/>
                      </a:lnTo>
                      <a:lnTo>
                        <a:pt x="430" y="246"/>
                      </a:lnTo>
                      <a:lnTo>
                        <a:pt x="430" y="250"/>
                      </a:lnTo>
                      <a:lnTo>
                        <a:pt x="426" y="250"/>
                      </a:lnTo>
                      <a:lnTo>
                        <a:pt x="422" y="250"/>
                      </a:lnTo>
                      <a:lnTo>
                        <a:pt x="426" y="250"/>
                      </a:lnTo>
                      <a:lnTo>
                        <a:pt x="422" y="254"/>
                      </a:lnTo>
                      <a:lnTo>
                        <a:pt x="418" y="254"/>
                      </a:lnTo>
                      <a:lnTo>
                        <a:pt x="418" y="258"/>
                      </a:lnTo>
                      <a:lnTo>
                        <a:pt x="418" y="254"/>
                      </a:lnTo>
                      <a:lnTo>
                        <a:pt x="422" y="258"/>
                      </a:lnTo>
                      <a:lnTo>
                        <a:pt x="418" y="258"/>
                      </a:lnTo>
                      <a:lnTo>
                        <a:pt x="422" y="258"/>
                      </a:lnTo>
                      <a:lnTo>
                        <a:pt x="426" y="262"/>
                      </a:lnTo>
                      <a:lnTo>
                        <a:pt x="422" y="262"/>
                      </a:lnTo>
                      <a:lnTo>
                        <a:pt x="418" y="262"/>
                      </a:lnTo>
                      <a:lnTo>
                        <a:pt x="418" y="266"/>
                      </a:lnTo>
                      <a:lnTo>
                        <a:pt x="418" y="266"/>
                      </a:lnTo>
                      <a:lnTo>
                        <a:pt x="418" y="266"/>
                      </a:lnTo>
                      <a:close/>
                      <a:moveTo>
                        <a:pt x="434" y="266"/>
                      </a:moveTo>
                      <a:lnTo>
                        <a:pt x="430" y="266"/>
                      </a:lnTo>
                      <a:lnTo>
                        <a:pt x="434" y="266"/>
                      </a:lnTo>
                      <a:lnTo>
                        <a:pt x="430" y="268"/>
                      </a:lnTo>
                      <a:lnTo>
                        <a:pt x="430" y="266"/>
                      </a:lnTo>
                      <a:lnTo>
                        <a:pt x="434" y="262"/>
                      </a:lnTo>
                      <a:lnTo>
                        <a:pt x="434" y="266"/>
                      </a:lnTo>
                      <a:lnTo>
                        <a:pt x="434" y="266"/>
                      </a:lnTo>
                      <a:lnTo>
                        <a:pt x="434" y="266"/>
                      </a:lnTo>
                      <a:close/>
                      <a:moveTo>
                        <a:pt x="224" y="384"/>
                      </a:moveTo>
                      <a:lnTo>
                        <a:pt x="224" y="388"/>
                      </a:lnTo>
                      <a:lnTo>
                        <a:pt x="224" y="384"/>
                      </a:lnTo>
                      <a:lnTo>
                        <a:pt x="224" y="384"/>
                      </a:lnTo>
                      <a:lnTo>
                        <a:pt x="224" y="384"/>
                      </a:lnTo>
                      <a:close/>
                      <a:moveTo>
                        <a:pt x="1440" y="706"/>
                      </a:moveTo>
                      <a:lnTo>
                        <a:pt x="1440" y="708"/>
                      </a:lnTo>
                      <a:lnTo>
                        <a:pt x="1440" y="706"/>
                      </a:lnTo>
                      <a:lnTo>
                        <a:pt x="1436" y="706"/>
                      </a:lnTo>
                      <a:lnTo>
                        <a:pt x="1440" y="708"/>
                      </a:lnTo>
                      <a:lnTo>
                        <a:pt x="1440" y="712"/>
                      </a:lnTo>
                      <a:lnTo>
                        <a:pt x="1440" y="716"/>
                      </a:lnTo>
                      <a:lnTo>
                        <a:pt x="1440" y="720"/>
                      </a:lnTo>
                      <a:lnTo>
                        <a:pt x="1440" y="724"/>
                      </a:lnTo>
                      <a:lnTo>
                        <a:pt x="1436" y="724"/>
                      </a:lnTo>
                      <a:lnTo>
                        <a:pt x="1436" y="720"/>
                      </a:lnTo>
                      <a:lnTo>
                        <a:pt x="1436" y="716"/>
                      </a:lnTo>
                      <a:lnTo>
                        <a:pt x="1436" y="720"/>
                      </a:lnTo>
                      <a:lnTo>
                        <a:pt x="1436" y="724"/>
                      </a:lnTo>
                      <a:lnTo>
                        <a:pt x="1440" y="724"/>
                      </a:lnTo>
                      <a:lnTo>
                        <a:pt x="1440" y="728"/>
                      </a:lnTo>
                      <a:lnTo>
                        <a:pt x="1440" y="732"/>
                      </a:lnTo>
                      <a:lnTo>
                        <a:pt x="1440" y="728"/>
                      </a:lnTo>
                      <a:lnTo>
                        <a:pt x="1436" y="728"/>
                      </a:lnTo>
                      <a:lnTo>
                        <a:pt x="1432" y="724"/>
                      </a:lnTo>
                      <a:lnTo>
                        <a:pt x="1428" y="724"/>
                      </a:lnTo>
                      <a:lnTo>
                        <a:pt x="1428" y="720"/>
                      </a:lnTo>
                      <a:lnTo>
                        <a:pt x="1428" y="716"/>
                      </a:lnTo>
                      <a:lnTo>
                        <a:pt x="1432" y="716"/>
                      </a:lnTo>
                      <a:lnTo>
                        <a:pt x="1432" y="712"/>
                      </a:lnTo>
                      <a:lnTo>
                        <a:pt x="1432" y="716"/>
                      </a:lnTo>
                      <a:lnTo>
                        <a:pt x="1428" y="716"/>
                      </a:lnTo>
                      <a:lnTo>
                        <a:pt x="1428" y="720"/>
                      </a:lnTo>
                      <a:lnTo>
                        <a:pt x="1428" y="724"/>
                      </a:lnTo>
                      <a:lnTo>
                        <a:pt x="1432" y="724"/>
                      </a:lnTo>
                      <a:lnTo>
                        <a:pt x="1432" y="728"/>
                      </a:lnTo>
                      <a:lnTo>
                        <a:pt x="1436" y="728"/>
                      </a:lnTo>
                      <a:lnTo>
                        <a:pt x="1440" y="732"/>
                      </a:lnTo>
                      <a:lnTo>
                        <a:pt x="1442" y="732"/>
                      </a:lnTo>
                      <a:lnTo>
                        <a:pt x="1442" y="734"/>
                      </a:lnTo>
                      <a:lnTo>
                        <a:pt x="1440" y="738"/>
                      </a:lnTo>
                      <a:lnTo>
                        <a:pt x="1440" y="734"/>
                      </a:lnTo>
                      <a:lnTo>
                        <a:pt x="1436" y="734"/>
                      </a:lnTo>
                      <a:lnTo>
                        <a:pt x="1432" y="732"/>
                      </a:lnTo>
                      <a:lnTo>
                        <a:pt x="1432" y="728"/>
                      </a:lnTo>
                      <a:lnTo>
                        <a:pt x="1428" y="728"/>
                      </a:lnTo>
                      <a:lnTo>
                        <a:pt x="1432" y="728"/>
                      </a:lnTo>
                      <a:lnTo>
                        <a:pt x="1432" y="732"/>
                      </a:lnTo>
                      <a:lnTo>
                        <a:pt x="1436" y="734"/>
                      </a:lnTo>
                      <a:lnTo>
                        <a:pt x="1440" y="738"/>
                      </a:lnTo>
                      <a:lnTo>
                        <a:pt x="1442" y="738"/>
                      </a:lnTo>
                      <a:lnTo>
                        <a:pt x="1442" y="742"/>
                      </a:lnTo>
                      <a:lnTo>
                        <a:pt x="1440" y="742"/>
                      </a:lnTo>
                      <a:lnTo>
                        <a:pt x="1440" y="746"/>
                      </a:lnTo>
                      <a:lnTo>
                        <a:pt x="1440" y="742"/>
                      </a:lnTo>
                      <a:lnTo>
                        <a:pt x="1436" y="742"/>
                      </a:lnTo>
                      <a:lnTo>
                        <a:pt x="1440" y="742"/>
                      </a:lnTo>
                      <a:lnTo>
                        <a:pt x="1440" y="746"/>
                      </a:lnTo>
                      <a:lnTo>
                        <a:pt x="1442" y="746"/>
                      </a:lnTo>
                      <a:lnTo>
                        <a:pt x="1440" y="750"/>
                      </a:lnTo>
                      <a:lnTo>
                        <a:pt x="1436" y="746"/>
                      </a:lnTo>
                      <a:lnTo>
                        <a:pt x="1432" y="746"/>
                      </a:lnTo>
                      <a:lnTo>
                        <a:pt x="1432" y="742"/>
                      </a:lnTo>
                      <a:lnTo>
                        <a:pt x="1428" y="742"/>
                      </a:lnTo>
                      <a:lnTo>
                        <a:pt x="1432" y="742"/>
                      </a:lnTo>
                      <a:lnTo>
                        <a:pt x="1432" y="746"/>
                      </a:lnTo>
                      <a:lnTo>
                        <a:pt x="1436" y="746"/>
                      </a:lnTo>
                      <a:lnTo>
                        <a:pt x="1436" y="750"/>
                      </a:lnTo>
                      <a:lnTo>
                        <a:pt x="1440" y="750"/>
                      </a:lnTo>
                      <a:lnTo>
                        <a:pt x="1440" y="754"/>
                      </a:lnTo>
                      <a:lnTo>
                        <a:pt x="1440" y="750"/>
                      </a:lnTo>
                      <a:lnTo>
                        <a:pt x="1442" y="750"/>
                      </a:lnTo>
                      <a:lnTo>
                        <a:pt x="1446" y="750"/>
                      </a:lnTo>
                      <a:lnTo>
                        <a:pt x="1446" y="754"/>
                      </a:lnTo>
                      <a:lnTo>
                        <a:pt x="1446" y="758"/>
                      </a:lnTo>
                      <a:lnTo>
                        <a:pt x="1446" y="762"/>
                      </a:lnTo>
                      <a:lnTo>
                        <a:pt x="1446" y="764"/>
                      </a:lnTo>
                      <a:lnTo>
                        <a:pt x="1450" y="764"/>
                      </a:lnTo>
                      <a:lnTo>
                        <a:pt x="1450" y="768"/>
                      </a:lnTo>
                      <a:lnTo>
                        <a:pt x="1450" y="772"/>
                      </a:lnTo>
                      <a:lnTo>
                        <a:pt x="1450" y="768"/>
                      </a:lnTo>
                      <a:lnTo>
                        <a:pt x="1450" y="764"/>
                      </a:lnTo>
                      <a:lnTo>
                        <a:pt x="1446" y="764"/>
                      </a:lnTo>
                      <a:lnTo>
                        <a:pt x="1446" y="762"/>
                      </a:lnTo>
                      <a:lnTo>
                        <a:pt x="1446" y="758"/>
                      </a:lnTo>
                      <a:lnTo>
                        <a:pt x="1446" y="754"/>
                      </a:lnTo>
                      <a:lnTo>
                        <a:pt x="1446" y="758"/>
                      </a:lnTo>
                      <a:lnTo>
                        <a:pt x="1442" y="758"/>
                      </a:lnTo>
                      <a:lnTo>
                        <a:pt x="1446" y="762"/>
                      </a:lnTo>
                      <a:lnTo>
                        <a:pt x="1446" y="764"/>
                      </a:lnTo>
                      <a:lnTo>
                        <a:pt x="1446" y="768"/>
                      </a:lnTo>
                      <a:lnTo>
                        <a:pt x="1446" y="764"/>
                      </a:lnTo>
                      <a:lnTo>
                        <a:pt x="1446" y="762"/>
                      </a:lnTo>
                      <a:lnTo>
                        <a:pt x="1446" y="764"/>
                      </a:lnTo>
                      <a:lnTo>
                        <a:pt x="1442" y="764"/>
                      </a:lnTo>
                      <a:lnTo>
                        <a:pt x="1442" y="762"/>
                      </a:lnTo>
                      <a:lnTo>
                        <a:pt x="1442" y="764"/>
                      </a:lnTo>
                      <a:lnTo>
                        <a:pt x="1440" y="764"/>
                      </a:lnTo>
                      <a:lnTo>
                        <a:pt x="1440" y="768"/>
                      </a:lnTo>
                      <a:lnTo>
                        <a:pt x="1436" y="768"/>
                      </a:lnTo>
                      <a:lnTo>
                        <a:pt x="1436" y="764"/>
                      </a:lnTo>
                      <a:lnTo>
                        <a:pt x="1436" y="768"/>
                      </a:lnTo>
                      <a:lnTo>
                        <a:pt x="1440" y="768"/>
                      </a:lnTo>
                      <a:lnTo>
                        <a:pt x="1442" y="768"/>
                      </a:lnTo>
                      <a:lnTo>
                        <a:pt x="1440" y="768"/>
                      </a:lnTo>
                      <a:lnTo>
                        <a:pt x="1442" y="768"/>
                      </a:lnTo>
                      <a:lnTo>
                        <a:pt x="1446" y="768"/>
                      </a:lnTo>
                      <a:lnTo>
                        <a:pt x="1442" y="772"/>
                      </a:lnTo>
                      <a:lnTo>
                        <a:pt x="1442" y="776"/>
                      </a:lnTo>
                      <a:lnTo>
                        <a:pt x="1442" y="772"/>
                      </a:lnTo>
                      <a:lnTo>
                        <a:pt x="1442" y="776"/>
                      </a:lnTo>
                      <a:lnTo>
                        <a:pt x="1446" y="772"/>
                      </a:lnTo>
                      <a:lnTo>
                        <a:pt x="1446" y="768"/>
                      </a:lnTo>
                      <a:lnTo>
                        <a:pt x="1450" y="772"/>
                      </a:lnTo>
                      <a:lnTo>
                        <a:pt x="1450" y="776"/>
                      </a:lnTo>
                      <a:lnTo>
                        <a:pt x="1446" y="776"/>
                      </a:lnTo>
                      <a:lnTo>
                        <a:pt x="1446" y="780"/>
                      </a:lnTo>
                      <a:lnTo>
                        <a:pt x="1442" y="780"/>
                      </a:lnTo>
                      <a:lnTo>
                        <a:pt x="1440" y="780"/>
                      </a:lnTo>
                      <a:lnTo>
                        <a:pt x="1436" y="780"/>
                      </a:lnTo>
                      <a:lnTo>
                        <a:pt x="1436" y="776"/>
                      </a:lnTo>
                      <a:lnTo>
                        <a:pt x="1440" y="776"/>
                      </a:lnTo>
                      <a:lnTo>
                        <a:pt x="1436" y="776"/>
                      </a:lnTo>
                      <a:lnTo>
                        <a:pt x="1436" y="780"/>
                      </a:lnTo>
                      <a:lnTo>
                        <a:pt x="1432" y="780"/>
                      </a:lnTo>
                      <a:lnTo>
                        <a:pt x="1432" y="776"/>
                      </a:lnTo>
                      <a:lnTo>
                        <a:pt x="1432" y="780"/>
                      </a:lnTo>
                      <a:lnTo>
                        <a:pt x="1440" y="780"/>
                      </a:lnTo>
                      <a:lnTo>
                        <a:pt x="1440" y="784"/>
                      </a:lnTo>
                      <a:lnTo>
                        <a:pt x="1436" y="784"/>
                      </a:lnTo>
                      <a:lnTo>
                        <a:pt x="1436" y="788"/>
                      </a:lnTo>
                      <a:lnTo>
                        <a:pt x="1432" y="788"/>
                      </a:lnTo>
                      <a:lnTo>
                        <a:pt x="1432" y="784"/>
                      </a:lnTo>
                      <a:lnTo>
                        <a:pt x="1432" y="788"/>
                      </a:lnTo>
                      <a:lnTo>
                        <a:pt x="1436" y="788"/>
                      </a:lnTo>
                      <a:lnTo>
                        <a:pt x="1440" y="788"/>
                      </a:lnTo>
                      <a:lnTo>
                        <a:pt x="1442" y="788"/>
                      </a:lnTo>
                      <a:lnTo>
                        <a:pt x="1440" y="788"/>
                      </a:lnTo>
                      <a:lnTo>
                        <a:pt x="1440" y="790"/>
                      </a:lnTo>
                      <a:lnTo>
                        <a:pt x="1436" y="790"/>
                      </a:lnTo>
                      <a:lnTo>
                        <a:pt x="1428" y="794"/>
                      </a:lnTo>
                      <a:lnTo>
                        <a:pt x="1424" y="794"/>
                      </a:lnTo>
                      <a:lnTo>
                        <a:pt x="1428" y="794"/>
                      </a:lnTo>
                      <a:lnTo>
                        <a:pt x="1424" y="790"/>
                      </a:lnTo>
                      <a:lnTo>
                        <a:pt x="1424" y="794"/>
                      </a:lnTo>
                      <a:lnTo>
                        <a:pt x="1424" y="798"/>
                      </a:lnTo>
                      <a:lnTo>
                        <a:pt x="1420" y="798"/>
                      </a:lnTo>
                      <a:lnTo>
                        <a:pt x="1420" y="802"/>
                      </a:lnTo>
                      <a:lnTo>
                        <a:pt x="1416" y="802"/>
                      </a:lnTo>
                      <a:lnTo>
                        <a:pt x="1416" y="806"/>
                      </a:lnTo>
                      <a:lnTo>
                        <a:pt x="1416" y="802"/>
                      </a:lnTo>
                      <a:lnTo>
                        <a:pt x="1416" y="806"/>
                      </a:lnTo>
                      <a:lnTo>
                        <a:pt x="1416" y="810"/>
                      </a:lnTo>
                      <a:lnTo>
                        <a:pt x="1416" y="806"/>
                      </a:lnTo>
                      <a:lnTo>
                        <a:pt x="1414" y="806"/>
                      </a:lnTo>
                      <a:lnTo>
                        <a:pt x="1410" y="810"/>
                      </a:lnTo>
                      <a:lnTo>
                        <a:pt x="1406" y="810"/>
                      </a:lnTo>
                      <a:lnTo>
                        <a:pt x="1406" y="814"/>
                      </a:lnTo>
                      <a:lnTo>
                        <a:pt x="1402" y="814"/>
                      </a:lnTo>
                      <a:lnTo>
                        <a:pt x="1402" y="818"/>
                      </a:lnTo>
                      <a:lnTo>
                        <a:pt x="1398" y="820"/>
                      </a:lnTo>
                      <a:lnTo>
                        <a:pt x="1398" y="818"/>
                      </a:lnTo>
                      <a:lnTo>
                        <a:pt x="1398" y="820"/>
                      </a:lnTo>
                      <a:lnTo>
                        <a:pt x="1398" y="824"/>
                      </a:lnTo>
                      <a:lnTo>
                        <a:pt x="1394" y="824"/>
                      </a:lnTo>
                      <a:lnTo>
                        <a:pt x="1390" y="828"/>
                      </a:lnTo>
                      <a:lnTo>
                        <a:pt x="1390" y="832"/>
                      </a:lnTo>
                      <a:lnTo>
                        <a:pt x="1386" y="832"/>
                      </a:lnTo>
                      <a:lnTo>
                        <a:pt x="1384" y="836"/>
                      </a:lnTo>
                      <a:lnTo>
                        <a:pt x="1380" y="832"/>
                      </a:lnTo>
                      <a:lnTo>
                        <a:pt x="1380" y="836"/>
                      </a:lnTo>
                      <a:lnTo>
                        <a:pt x="1384" y="836"/>
                      </a:lnTo>
                      <a:lnTo>
                        <a:pt x="1380" y="840"/>
                      </a:lnTo>
                      <a:lnTo>
                        <a:pt x="1380" y="836"/>
                      </a:lnTo>
                      <a:lnTo>
                        <a:pt x="1376" y="836"/>
                      </a:lnTo>
                      <a:lnTo>
                        <a:pt x="1376" y="832"/>
                      </a:lnTo>
                      <a:lnTo>
                        <a:pt x="1376" y="836"/>
                      </a:lnTo>
                      <a:lnTo>
                        <a:pt x="1380" y="840"/>
                      </a:lnTo>
                      <a:lnTo>
                        <a:pt x="1376" y="840"/>
                      </a:lnTo>
                      <a:lnTo>
                        <a:pt x="1376" y="844"/>
                      </a:lnTo>
                      <a:lnTo>
                        <a:pt x="1376" y="848"/>
                      </a:lnTo>
                      <a:lnTo>
                        <a:pt x="1372" y="848"/>
                      </a:lnTo>
                      <a:lnTo>
                        <a:pt x="1372" y="850"/>
                      </a:lnTo>
                      <a:lnTo>
                        <a:pt x="1368" y="850"/>
                      </a:lnTo>
                      <a:lnTo>
                        <a:pt x="1372" y="854"/>
                      </a:lnTo>
                      <a:lnTo>
                        <a:pt x="1372" y="850"/>
                      </a:lnTo>
                      <a:lnTo>
                        <a:pt x="1372" y="854"/>
                      </a:lnTo>
                      <a:lnTo>
                        <a:pt x="1372" y="858"/>
                      </a:lnTo>
                      <a:lnTo>
                        <a:pt x="1368" y="858"/>
                      </a:lnTo>
                      <a:lnTo>
                        <a:pt x="1368" y="862"/>
                      </a:lnTo>
                      <a:lnTo>
                        <a:pt x="1368" y="858"/>
                      </a:lnTo>
                      <a:lnTo>
                        <a:pt x="1368" y="862"/>
                      </a:lnTo>
                      <a:lnTo>
                        <a:pt x="1368" y="866"/>
                      </a:lnTo>
                      <a:lnTo>
                        <a:pt x="1368" y="870"/>
                      </a:lnTo>
                      <a:lnTo>
                        <a:pt x="1368" y="874"/>
                      </a:lnTo>
                      <a:lnTo>
                        <a:pt x="1368" y="876"/>
                      </a:lnTo>
                      <a:lnTo>
                        <a:pt x="1368" y="880"/>
                      </a:lnTo>
                      <a:lnTo>
                        <a:pt x="1372" y="880"/>
                      </a:lnTo>
                      <a:lnTo>
                        <a:pt x="1372" y="884"/>
                      </a:lnTo>
                      <a:lnTo>
                        <a:pt x="1372" y="888"/>
                      </a:lnTo>
                      <a:lnTo>
                        <a:pt x="1376" y="896"/>
                      </a:lnTo>
                      <a:lnTo>
                        <a:pt x="1376" y="900"/>
                      </a:lnTo>
                      <a:lnTo>
                        <a:pt x="1380" y="904"/>
                      </a:lnTo>
                      <a:lnTo>
                        <a:pt x="1380" y="906"/>
                      </a:lnTo>
                      <a:lnTo>
                        <a:pt x="1380" y="910"/>
                      </a:lnTo>
                      <a:lnTo>
                        <a:pt x="1380" y="914"/>
                      </a:lnTo>
                      <a:lnTo>
                        <a:pt x="1384" y="918"/>
                      </a:lnTo>
                      <a:lnTo>
                        <a:pt x="1380" y="918"/>
                      </a:lnTo>
                      <a:lnTo>
                        <a:pt x="1380" y="914"/>
                      </a:lnTo>
                      <a:lnTo>
                        <a:pt x="1380" y="910"/>
                      </a:lnTo>
                      <a:lnTo>
                        <a:pt x="1380" y="906"/>
                      </a:lnTo>
                      <a:lnTo>
                        <a:pt x="1376" y="906"/>
                      </a:lnTo>
                      <a:lnTo>
                        <a:pt x="1376" y="904"/>
                      </a:lnTo>
                      <a:lnTo>
                        <a:pt x="1380" y="904"/>
                      </a:lnTo>
                      <a:lnTo>
                        <a:pt x="1376" y="904"/>
                      </a:lnTo>
                      <a:lnTo>
                        <a:pt x="1380" y="910"/>
                      </a:lnTo>
                      <a:lnTo>
                        <a:pt x="1380" y="914"/>
                      </a:lnTo>
                      <a:lnTo>
                        <a:pt x="1384" y="918"/>
                      </a:lnTo>
                      <a:lnTo>
                        <a:pt x="1384" y="922"/>
                      </a:lnTo>
                      <a:lnTo>
                        <a:pt x="1384" y="926"/>
                      </a:lnTo>
                      <a:lnTo>
                        <a:pt x="1386" y="932"/>
                      </a:lnTo>
                      <a:lnTo>
                        <a:pt x="1386" y="936"/>
                      </a:lnTo>
                      <a:lnTo>
                        <a:pt x="1386" y="940"/>
                      </a:lnTo>
                      <a:lnTo>
                        <a:pt x="1386" y="944"/>
                      </a:lnTo>
                      <a:lnTo>
                        <a:pt x="1386" y="948"/>
                      </a:lnTo>
                      <a:lnTo>
                        <a:pt x="1386" y="956"/>
                      </a:lnTo>
                      <a:lnTo>
                        <a:pt x="1386" y="960"/>
                      </a:lnTo>
                      <a:lnTo>
                        <a:pt x="1384" y="960"/>
                      </a:lnTo>
                      <a:lnTo>
                        <a:pt x="1384" y="962"/>
                      </a:lnTo>
                      <a:lnTo>
                        <a:pt x="1384" y="966"/>
                      </a:lnTo>
                      <a:lnTo>
                        <a:pt x="1380" y="966"/>
                      </a:lnTo>
                      <a:lnTo>
                        <a:pt x="1376" y="966"/>
                      </a:lnTo>
                      <a:lnTo>
                        <a:pt x="1372" y="970"/>
                      </a:lnTo>
                      <a:lnTo>
                        <a:pt x="1372" y="966"/>
                      </a:lnTo>
                      <a:lnTo>
                        <a:pt x="1376" y="966"/>
                      </a:lnTo>
                      <a:lnTo>
                        <a:pt x="1372" y="966"/>
                      </a:lnTo>
                      <a:lnTo>
                        <a:pt x="1372" y="962"/>
                      </a:lnTo>
                      <a:lnTo>
                        <a:pt x="1368" y="956"/>
                      </a:lnTo>
                      <a:lnTo>
                        <a:pt x="1364" y="956"/>
                      </a:lnTo>
                      <a:lnTo>
                        <a:pt x="1364" y="952"/>
                      </a:lnTo>
                      <a:lnTo>
                        <a:pt x="1360" y="948"/>
                      </a:lnTo>
                      <a:lnTo>
                        <a:pt x="1360" y="944"/>
                      </a:lnTo>
                      <a:lnTo>
                        <a:pt x="1364" y="940"/>
                      </a:lnTo>
                      <a:lnTo>
                        <a:pt x="1360" y="940"/>
                      </a:lnTo>
                      <a:lnTo>
                        <a:pt x="1360" y="944"/>
                      </a:lnTo>
                      <a:lnTo>
                        <a:pt x="1360" y="940"/>
                      </a:lnTo>
                      <a:lnTo>
                        <a:pt x="1360" y="936"/>
                      </a:lnTo>
                      <a:lnTo>
                        <a:pt x="1358" y="936"/>
                      </a:lnTo>
                      <a:lnTo>
                        <a:pt x="1358" y="940"/>
                      </a:lnTo>
                      <a:lnTo>
                        <a:pt x="1358" y="936"/>
                      </a:lnTo>
                      <a:lnTo>
                        <a:pt x="1354" y="936"/>
                      </a:lnTo>
                      <a:lnTo>
                        <a:pt x="1354" y="932"/>
                      </a:lnTo>
                      <a:lnTo>
                        <a:pt x="1354" y="930"/>
                      </a:lnTo>
                      <a:lnTo>
                        <a:pt x="1354" y="926"/>
                      </a:lnTo>
                      <a:lnTo>
                        <a:pt x="1350" y="926"/>
                      </a:lnTo>
                      <a:lnTo>
                        <a:pt x="1354" y="926"/>
                      </a:lnTo>
                      <a:lnTo>
                        <a:pt x="1350" y="926"/>
                      </a:lnTo>
                      <a:lnTo>
                        <a:pt x="1354" y="922"/>
                      </a:lnTo>
                      <a:lnTo>
                        <a:pt x="1354" y="918"/>
                      </a:lnTo>
                      <a:lnTo>
                        <a:pt x="1350" y="914"/>
                      </a:lnTo>
                      <a:lnTo>
                        <a:pt x="1350" y="918"/>
                      </a:lnTo>
                      <a:lnTo>
                        <a:pt x="1354" y="918"/>
                      </a:lnTo>
                      <a:lnTo>
                        <a:pt x="1350" y="922"/>
                      </a:lnTo>
                      <a:lnTo>
                        <a:pt x="1350" y="918"/>
                      </a:lnTo>
                      <a:lnTo>
                        <a:pt x="1350" y="914"/>
                      </a:lnTo>
                      <a:lnTo>
                        <a:pt x="1350" y="910"/>
                      </a:lnTo>
                      <a:lnTo>
                        <a:pt x="1350" y="906"/>
                      </a:lnTo>
                      <a:lnTo>
                        <a:pt x="1350" y="904"/>
                      </a:lnTo>
                      <a:lnTo>
                        <a:pt x="1350" y="900"/>
                      </a:lnTo>
                      <a:lnTo>
                        <a:pt x="1350" y="896"/>
                      </a:lnTo>
                      <a:lnTo>
                        <a:pt x="1346" y="896"/>
                      </a:lnTo>
                      <a:lnTo>
                        <a:pt x="1346" y="892"/>
                      </a:lnTo>
                      <a:lnTo>
                        <a:pt x="1342" y="892"/>
                      </a:lnTo>
                      <a:lnTo>
                        <a:pt x="1342" y="888"/>
                      </a:lnTo>
                      <a:lnTo>
                        <a:pt x="1338" y="888"/>
                      </a:lnTo>
                      <a:lnTo>
                        <a:pt x="1338" y="884"/>
                      </a:lnTo>
                      <a:lnTo>
                        <a:pt x="1338" y="880"/>
                      </a:lnTo>
                      <a:lnTo>
                        <a:pt x="1334" y="880"/>
                      </a:lnTo>
                      <a:lnTo>
                        <a:pt x="1330" y="880"/>
                      </a:lnTo>
                      <a:lnTo>
                        <a:pt x="1330" y="876"/>
                      </a:lnTo>
                      <a:lnTo>
                        <a:pt x="1328" y="876"/>
                      </a:lnTo>
                      <a:lnTo>
                        <a:pt x="1324" y="880"/>
                      </a:lnTo>
                      <a:lnTo>
                        <a:pt x="1328" y="880"/>
                      </a:lnTo>
                      <a:lnTo>
                        <a:pt x="1324" y="880"/>
                      </a:lnTo>
                      <a:lnTo>
                        <a:pt x="1324" y="884"/>
                      </a:lnTo>
                      <a:lnTo>
                        <a:pt x="1320" y="884"/>
                      </a:lnTo>
                      <a:lnTo>
                        <a:pt x="1316" y="884"/>
                      </a:lnTo>
                      <a:lnTo>
                        <a:pt x="1312" y="884"/>
                      </a:lnTo>
                      <a:lnTo>
                        <a:pt x="1312" y="880"/>
                      </a:lnTo>
                      <a:lnTo>
                        <a:pt x="1308" y="880"/>
                      </a:lnTo>
                      <a:lnTo>
                        <a:pt x="1308" y="876"/>
                      </a:lnTo>
                      <a:lnTo>
                        <a:pt x="1308" y="880"/>
                      </a:lnTo>
                      <a:lnTo>
                        <a:pt x="1312" y="880"/>
                      </a:lnTo>
                      <a:lnTo>
                        <a:pt x="1308" y="876"/>
                      </a:lnTo>
                      <a:lnTo>
                        <a:pt x="1308" y="874"/>
                      </a:lnTo>
                      <a:lnTo>
                        <a:pt x="1304" y="874"/>
                      </a:lnTo>
                      <a:lnTo>
                        <a:pt x="1304" y="876"/>
                      </a:lnTo>
                      <a:lnTo>
                        <a:pt x="1308" y="876"/>
                      </a:lnTo>
                      <a:lnTo>
                        <a:pt x="1304" y="876"/>
                      </a:lnTo>
                      <a:lnTo>
                        <a:pt x="1304" y="874"/>
                      </a:lnTo>
                      <a:lnTo>
                        <a:pt x="1300" y="874"/>
                      </a:lnTo>
                      <a:lnTo>
                        <a:pt x="1298" y="874"/>
                      </a:lnTo>
                      <a:lnTo>
                        <a:pt x="1300" y="874"/>
                      </a:lnTo>
                      <a:lnTo>
                        <a:pt x="1300" y="870"/>
                      </a:lnTo>
                      <a:lnTo>
                        <a:pt x="1298" y="870"/>
                      </a:lnTo>
                      <a:lnTo>
                        <a:pt x="1298" y="874"/>
                      </a:lnTo>
                      <a:lnTo>
                        <a:pt x="1294" y="874"/>
                      </a:lnTo>
                      <a:lnTo>
                        <a:pt x="1290" y="874"/>
                      </a:lnTo>
                      <a:lnTo>
                        <a:pt x="1286" y="874"/>
                      </a:lnTo>
                      <a:lnTo>
                        <a:pt x="1290" y="874"/>
                      </a:lnTo>
                      <a:lnTo>
                        <a:pt x="1290" y="870"/>
                      </a:lnTo>
                      <a:lnTo>
                        <a:pt x="1286" y="870"/>
                      </a:lnTo>
                      <a:lnTo>
                        <a:pt x="1286" y="874"/>
                      </a:lnTo>
                      <a:lnTo>
                        <a:pt x="1282" y="874"/>
                      </a:lnTo>
                      <a:lnTo>
                        <a:pt x="1286" y="874"/>
                      </a:lnTo>
                      <a:lnTo>
                        <a:pt x="1282" y="870"/>
                      </a:lnTo>
                      <a:lnTo>
                        <a:pt x="1282" y="874"/>
                      </a:lnTo>
                      <a:lnTo>
                        <a:pt x="1278" y="876"/>
                      </a:lnTo>
                      <a:lnTo>
                        <a:pt x="1274" y="876"/>
                      </a:lnTo>
                      <a:lnTo>
                        <a:pt x="1278" y="876"/>
                      </a:lnTo>
                      <a:lnTo>
                        <a:pt x="1278" y="874"/>
                      </a:lnTo>
                      <a:lnTo>
                        <a:pt x="1274" y="874"/>
                      </a:lnTo>
                      <a:lnTo>
                        <a:pt x="1274" y="870"/>
                      </a:lnTo>
                      <a:lnTo>
                        <a:pt x="1274" y="866"/>
                      </a:lnTo>
                      <a:lnTo>
                        <a:pt x="1274" y="870"/>
                      </a:lnTo>
                      <a:lnTo>
                        <a:pt x="1274" y="874"/>
                      </a:lnTo>
                      <a:lnTo>
                        <a:pt x="1272" y="874"/>
                      </a:lnTo>
                      <a:lnTo>
                        <a:pt x="1268" y="874"/>
                      </a:lnTo>
                      <a:lnTo>
                        <a:pt x="1264" y="874"/>
                      </a:lnTo>
                      <a:lnTo>
                        <a:pt x="1260" y="874"/>
                      </a:lnTo>
                      <a:lnTo>
                        <a:pt x="1258" y="874"/>
                      </a:lnTo>
                      <a:lnTo>
                        <a:pt x="1258" y="876"/>
                      </a:lnTo>
                      <a:lnTo>
                        <a:pt x="1254" y="876"/>
                      </a:lnTo>
                      <a:lnTo>
                        <a:pt x="1250" y="876"/>
                      </a:lnTo>
                      <a:lnTo>
                        <a:pt x="1250" y="874"/>
                      </a:lnTo>
                      <a:lnTo>
                        <a:pt x="1246" y="874"/>
                      </a:lnTo>
                      <a:lnTo>
                        <a:pt x="1242" y="876"/>
                      </a:lnTo>
                      <a:lnTo>
                        <a:pt x="1242" y="880"/>
                      </a:lnTo>
                      <a:lnTo>
                        <a:pt x="1246" y="880"/>
                      </a:lnTo>
                      <a:lnTo>
                        <a:pt x="1250" y="876"/>
                      </a:lnTo>
                      <a:lnTo>
                        <a:pt x="1254" y="876"/>
                      </a:lnTo>
                      <a:lnTo>
                        <a:pt x="1254" y="880"/>
                      </a:lnTo>
                      <a:lnTo>
                        <a:pt x="1250" y="880"/>
                      </a:lnTo>
                      <a:lnTo>
                        <a:pt x="1254" y="880"/>
                      </a:lnTo>
                      <a:lnTo>
                        <a:pt x="1254" y="876"/>
                      </a:lnTo>
                      <a:lnTo>
                        <a:pt x="1258" y="880"/>
                      </a:lnTo>
                      <a:lnTo>
                        <a:pt x="1258" y="884"/>
                      </a:lnTo>
                      <a:lnTo>
                        <a:pt x="1254" y="884"/>
                      </a:lnTo>
                      <a:lnTo>
                        <a:pt x="1250" y="888"/>
                      </a:lnTo>
                      <a:lnTo>
                        <a:pt x="1254" y="888"/>
                      </a:lnTo>
                      <a:lnTo>
                        <a:pt x="1254" y="892"/>
                      </a:lnTo>
                      <a:lnTo>
                        <a:pt x="1258" y="892"/>
                      </a:lnTo>
                      <a:lnTo>
                        <a:pt x="1260" y="892"/>
                      </a:lnTo>
                      <a:lnTo>
                        <a:pt x="1260" y="896"/>
                      </a:lnTo>
                      <a:lnTo>
                        <a:pt x="1260" y="900"/>
                      </a:lnTo>
                      <a:lnTo>
                        <a:pt x="1258" y="896"/>
                      </a:lnTo>
                      <a:lnTo>
                        <a:pt x="1258" y="900"/>
                      </a:lnTo>
                      <a:lnTo>
                        <a:pt x="1258" y="896"/>
                      </a:lnTo>
                      <a:lnTo>
                        <a:pt x="1254" y="896"/>
                      </a:lnTo>
                      <a:lnTo>
                        <a:pt x="1254" y="892"/>
                      </a:lnTo>
                      <a:lnTo>
                        <a:pt x="1250" y="892"/>
                      </a:lnTo>
                      <a:lnTo>
                        <a:pt x="1250" y="888"/>
                      </a:lnTo>
                      <a:lnTo>
                        <a:pt x="1246" y="888"/>
                      </a:lnTo>
                      <a:lnTo>
                        <a:pt x="1246" y="892"/>
                      </a:lnTo>
                      <a:lnTo>
                        <a:pt x="1246" y="896"/>
                      </a:lnTo>
                      <a:lnTo>
                        <a:pt x="1242" y="896"/>
                      </a:lnTo>
                      <a:lnTo>
                        <a:pt x="1242" y="892"/>
                      </a:lnTo>
                      <a:lnTo>
                        <a:pt x="1238" y="892"/>
                      </a:lnTo>
                      <a:lnTo>
                        <a:pt x="1238" y="896"/>
                      </a:lnTo>
                      <a:lnTo>
                        <a:pt x="1234" y="896"/>
                      </a:lnTo>
                      <a:lnTo>
                        <a:pt x="1230" y="896"/>
                      </a:lnTo>
                      <a:lnTo>
                        <a:pt x="1230" y="892"/>
                      </a:lnTo>
                      <a:lnTo>
                        <a:pt x="1228" y="892"/>
                      </a:lnTo>
                      <a:lnTo>
                        <a:pt x="1230" y="892"/>
                      </a:lnTo>
                      <a:lnTo>
                        <a:pt x="1230" y="896"/>
                      </a:lnTo>
                      <a:lnTo>
                        <a:pt x="1230" y="892"/>
                      </a:lnTo>
                      <a:lnTo>
                        <a:pt x="1230" y="888"/>
                      </a:lnTo>
                      <a:lnTo>
                        <a:pt x="1228" y="888"/>
                      </a:lnTo>
                      <a:lnTo>
                        <a:pt x="1224" y="884"/>
                      </a:lnTo>
                      <a:lnTo>
                        <a:pt x="1220" y="884"/>
                      </a:lnTo>
                      <a:lnTo>
                        <a:pt x="1216" y="884"/>
                      </a:lnTo>
                      <a:lnTo>
                        <a:pt x="1216" y="888"/>
                      </a:lnTo>
                      <a:lnTo>
                        <a:pt x="1212" y="888"/>
                      </a:lnTo>
                      <a:lnTo>
                        <a:pt x="1208" y="888"/>
                      </a:lnTo>
                      <a:lnTo>
                        <a:pt x="1204" y="884"/>
                      </a:lnTo>
                      <a:lnTo>
                        <a:pt x="1202" y="884"/>
                      </a:lnTo>
                      <a:lnTo>
                        <a:pt x="1198" y="884"/>
                      </a:lnTo>
                      <a:lnTo>
                        <a:pt x="1194" y="884"/>
                      </a:lnTo>
                      <a:lnTo>
                        <a:pt x="1194" y="880"/>
                      </a:lnTo>
                      <a:lnTo>
                        <a:pt x="1190" y="884"/>
                      </a:lnTo>
                      <a:lnTo>
                        <a:pt x="1194" y="884"/>
                      </a:lnTo>
                      <a:lnTo>
                        <a:pt x="1190" y="884"/>
                      </a:lnTo>
                      <a:lnTo>
                        <a:pt x="1190" y="888"/>
                      </a:lnTo>
                      <a:lnTo>
                        <a:pt x="1186" y="888"/>
                      </a:lnTo>
                      <a:lnTo>
                        <a:pt x="1182" y="888"/>
                      </a:lnTo>
                      <a:lnTo>
                        <a:pt x="1182" y="892"/>
                      </a:lnTo>
                      <a:lnTo>
                        <a:pt x="1178" y="892"/>
                      </a:lnTo>
                      <a:lnTo>
                        <a:pt x="1182" y="888"/>
                      </a:lnTo>
                      <a:lnTo>
                        <a:pt x="1178" y="888"/>
                      </a:lnTo>
                      <a:lnTo>
                        <a:pt x="1182" y="888"/>
                      </a:lnTo>
                      <a:lnTo>
                        <a:pt x="1182" y="884"/>
                      </a:lnTo>
                      <a:lnTo>
                        <a:pt x="1178" y="884"/>
                      </a:lnTo>
                      <a:lnTo>
                        <a:pt x="1174" y="884"/>
                      </a:lnTo>
                      <a:lnTo>
                        <a:pt x="1174" y="888"/>
                      </a:lnTo>
                      <a:lnTo>
                        <a:pt x="1178" y="892"/>
                      </a:lnTo>
                      <a:lnTo>
                        <a:pt x="1174" y="896"/>
                      </a:lnTo>
                      <a:lnTo>
                        <a:pt x="1172" y="900"/>
                      </a:lnTo>
                      <a:lnTo>
                        <a:pt x="1168" y="904"/>
                      </a:lnTo>
                      <a:lnTo>
                        <a:pt x="1164" y="904"/>
                      </a:lnTo>
                      <a:lnTo>
                        <a:pt x="1164" y="906"/>
                      </a:lnTo>
                      <a:lnTo>
                        <a:pt x="1164" y="904"/>
                      </a:lnTo>
                      <a:lnTo>
                        <a:pt x="1168" y="904"/>
                      </a:lnTo>
                      <a:lnTo>
                        <a:pt x="1164" y="904"/>
                      </a:lnTo>
                      <a:lnTo>
                        <a:pt x="1164" y="906"/>
                      </a:lnTo>
                      <a:lnTo>
                        <a:pt x="1160" y="906"/>
                      </a:lnTo>
                      <a:lnTo>
                        <a:pt x="1164" y="906"/>
                      </a:lnTo>
                      <a:lnTo>
                        <a:pt x="1164" y="904"/>
                      </a:lnTo>
                      <a:lnTo>
                        <a:pt x="1160" y="906"/>
                      </a:lnTo>
                      <a:lnTo>
                        <a:pt x="1160" y="904"/>
                      </a:lnTo>
                      <a:lnTo>
                        <a:pt x="1156" y="904"/>
                      </a:lnTo>
                      <a:lnTo>
                        <a:pt x="1156" y="906"/>
                      </a:lnTo>
                      <a:lnTo>
                        <a:pt x="1156" y="904"/>
                      </a:lnTo>
                      <a:lnTo>
                        <a:pt x="1152" y="904"/>
                      </a:lnTo>
                      <a:lnTo>
                        <a:pt x="1152" y="906"/>
                      </a:lnTo>
                      <a:lnTo>
                        <a:pt x="1156" y="906"/>
                      </a:lnTo>
                      <a:lnTo>
                        <a:pt x="1152" y="910"/>
                      </a:lnTo>
                      <a:lnTo>
                        <a:pt x="1152" y="906"/>
                      </a:lnTo>
                      <a:lnTo>
                        <a:pt x="1148" y="910"/>
                      </a:lnTo>
                      <a:lnTo>
                        <a:pt x="1152" y="910"/>
                      </a:lnTo>
                      <a:lnTo>
                        <a:pt x="1148" y="914"/>
                      </a:lnTo>
                      <a:lnTo>
                        <a:pt x="1144" y="914"/>
                      </a:lnTo>
                      <a:lnTo>
                        <a:pt x="1148" y="914"/>
                      </a:lnTo>
                      <a:lnTo>
                        <a:pt x="1144" y="918"/>
                      </a:lnTo>
                      <a:lnTo>
                        <a:pt x="1142" y="918"/>
                      </a:lnTo>
                      <a:lnTo>
                        <a:pt x="1142" y="922"/>
                      </a:lnTo>
                      <a:lnTo>
                        <a:pt x="1144" y="922"/>
                      </a:lnTo>
                      <a:lnTo>
                        <a:pt x="1142" y="930"/>
                      </a:lnTo>
                      <a:lnTo>
                        <a:pt x="1138" y="930"/>
                      </a:lnTo>
                      <a:lnTo>
                        <a:pt x="1138" y="926"/>
                      </a:lnTo>
                      <a:lnTo>
                        <a:pt x="1138" y="930"/>
                      </a:lnTo>
                      <a:lnTo>
                        <a:pt x="1142" y="930"/>
                      </a:lnTo>
                      <a:lnTo>
                        <a:pt x="1142" y="932"/>
                      </a:lnTo>
                      <a:lnTo>
                        <a:pt x="1142" y="936"/>
                      </a:lnTo>
                      <a:lnTo>
                        <a:pt x="1142" y="940"/>
                      </a:lnTo>
                      <a:lnTo>
                        <a:pt x="1142" y="944"/>
                      </a:lnTo>
                      <a:lnTo>
                        <a:pt x="1142" y="948"/>
                      </a:lnTo>
                      <a:lnTo>
                        <a:pt x="1144" y="948"/>
                      </a:lnTo>
                      <a:lnTo>
                        <a:pt x="1144" y="952"/>
                      </a:lnTo>
                      <a:lnTo>
                        <a:pt x="1144" y="956"/>
                      </a:lnTo>
                      <a:lnTo>
                        <a:pt x="1142" y="956"/>
                      </a:lnTo>
                      <a:lnTo>
                        <a:pt x="1142" y="952"/>
                      </a:lnTo>
                      <a:lnTo>
                        <a:pt x="1138" y="952"/>
                      </a:lnTo>
                      <a:lnTo>
                        <a:pt x="1134" y="952"/>
                      </a:lnTo>
                      <a:lnTo>
                        <a:pt x="1130" y="952"/>
                      </a:lnTo>
                      <a:lnTo>
                        <a:pt x="1130" y="948"/>
                      </a:lnTo>
                      <a:lnTo>
                        <a:pt x="1126" y="948"/>
                      </a:lnTo>
                      <a:lnTo>
                        <a:pt x="1122" y="948"/>
                      </a:lnTo>
                      <a:lnTo>
                        <a:pt x="1122" y="944"/>
                      </a:lnTo>
                      <a:lnTo>
                        <a:pt x="1118" y="944"/>
                      </a:lnTo>
                      <a:lnTo>
                        <a:pt x="1118" y="940"/>
                      </a:lnTo>
                      <a:lnTo>
                        <a:pt x="1116" y="936"/>
                      </a:lnTo>
                      <a:lnTo>
                        <a:pt x="1116" y="932"/>
                      </a:lnTo>
                      <a:lnTo>
                        <a:pt x="1116" y="930"/>
                      </a:lnTo>
                      <a:lnTo>
                        <a:pt x="1116" y="926"/>
                      </a:lnTo>
                      <a:lnTo>
                        <a:pt x="1112" y="926"/>
                      </a:lnTo>
                      <a:lnTo>
                        <a:pt x="1112" y="922"/>
                      </a:lnTo>
                      <a:lnTo>
                        <a:pt x="1108" y="922"/>
                      </a:lnTo>
                      <a:lnTo>
                        <a:pt x="1108" y="918"/>
                      </a:lnTo>
                      <a:lnTo>
                        <a:pt x="1104" y="914"/>
                      </a:lnTo>
                      <a:lnTo>
                        <a:pt x="1104" y="910"/>
                      </a:lnTo>
                      <a:lnTo>
                        <a:pt x="1100" y="910"/>
                      </a:lnTo>
                      <a:lnTo>
                        <a:pt x="1100" y="906"/>
                      </a:lnTo>
                      <a:lnTo>
                        <a:pt x="1100" y="904"/>
                      </a:lnTo>
                      <a:lnTo>
                        <a:pt x="1096" y="900"/>
                      </a:lnTo>
                      <a:lnTo>
                        <a:pt x="1096" y="896"/>
                      </a:lnTo>
                      <a:lnTo>
                        <a:pt x="1092" y="892"/>
                      </a:lnTo>
                      <a:lnTo>
                        <a:pt x="1092" y="888"/>
                      </a:lnTo>
                      <a:lnTo>
                        <a:pt x="1088" y="888"/>
                      </a:lnTo>
                      <a:lnTo>
                        <a:pt x="1086" y="888"/>
                      </a:lnTo>
                      <a:lnTo>
                        <a:pt x="1086" y="884"/>
                      </a:lnTo>
                      <a:lnTo>
                        <a:pt x="1082" y="884"/>
                      </a:lnTo>
                      <a:lnTo>
                        <a:pt x="1078" y="884"/>
                      </a:lnTo>
                      <a:lnTo>
                        <a:pt x="1074" y="884"/>
                      </a:lnTo>
                      <a:lnTo>
                        <a:pt x="1074" y="880"/>
                      </a:lnTo>
                      <a:lnTo>
                        <a:pt x="1074" y="884"/>
                      </a:lnTo>
                      <a:lnTo>
                        <a:pt x="1070" y="884"/>
                      </a:lnTo>
                      <a:lnTo>
                        <a:pt x="1066" y="884"/>
                      </a:lnTo>
                      <a:lnTo>
                        <a:pt x="1066" y="888"/>
                      </a:lnTo>
                      <a:lnTo>
                        <a:pt x="1066" y="892"/>
                      </a:lnTo>
                      <a:lnTo>
                        <a:pt x="1066" y="896"/>
                      </a:lnTo>
                      <a:lnTo>
                        <a:pt x="1062" y="896"/>
                      </a:lnTo>
                      <a:lnTo>
                        <a:pt x="1062" y="900"/>
                      </a:lnTo>
                      <a:lnTo>
                        <a:pt x="1060" y="900"/>
                      </a:lnTo>
                      <a:lnTo>
                        <a:pt x="1056" y="896"/>
                      </a:lnTo>
                      <a:lnTo>
                        <a:pt x="1052" y="896"/>
                      </a:lnTo>
                      <a:lnTo>
                        <a:pt x="1052" y="892"/>
                      </a:lnTo>
                      <a:lnTo>
                        <a:pt x="1048" y="892"/>
                      </a:lnTo>
                      <a:lnTo>
                        <a:pt x="1048" y="888"/>
                      </a:lnTo>
                      <a:lnTo>
                        <a:pt x="1044" y="888"/>
                      </a:lnTo>
                      <a:lnTo>
                        <a:pt x="1040" y="884"/>
                      </a:lnTo>
                      <a:lnTo>
                        <a:pt x="1040" y="880"/>
                      </a:lnTo>
                      <a:lnTo>
                        <a:pt x="1040" y="876"/>
                      </a:lnTo>
                      <a:lnTo>
                        <a:pt x="1036" y="874"/>
                      </a:lnTo>
                      <a:lnTo>
                        <a:pt x="1036" y="870"/>
                      </a:lnTo>
                      <a:lnTo>
                        <a:pt x="1032" y="866"/>
                      </a:lnTo>
                      <a:lnTo>
                        <a:pt x="1030" y="866"/>
                      </a:lnTo>
                      <a:lnTo>
                        <a:pt x="1030" y="862"/>
                      </a:lnTo>
                      <a:lnTo>
                        <a:pt x="1026" y="862"/>
                      </a:lnTo>
                      <a:lnTo>
                        <a:pt x="1026" y="858"/>
                      </a:lnTo>
                      <a:lnTo>
                        <a:pt x="1022" y="858"/>
                      </a:lnTo>
                      <a:lnTo>
                        <a:pt x="1022" y="854"/>
                      </a:lnTo>
                      <a:lnTo>
                        <a:pt x="1018" y="854"/>
                      </a:lnTo>
                      <a:lnTo>
                        <a:pt x="1018" y="850"/>
                      </a:lnTo>
                      <a:lnTo>
                        <a:pt x="1014" y="850"/>
                      </a:lnTo>
                      <a:lnTo>
                        <a:pt x="1014" y="848"/>
                      </a:lnTo>
                      <a:lnTo>
                        <a:pt x="1010" y="848"/>
                      </a:lnTo>
                      <a:lnTo>
                        <a:pt x="1006" y="848"/>
                      </a:lnTo>
                      <a:lnTo>
                        <a:pt x="1002" y="848"/>
                      </a:lnTo>
                      <a:lnTo>
                        <a:pt x="1000" y="848"/>
                      </a:lnTo>
                      <a:lnTo>
                        <a:pt x="996" y="848"/>
                      </a:lnTo>
                      <a:lnTo>
                        <a:pt x="988" y="848"/>
                      </a:lnTo>
                      <a:lnTo>
                        <a:pt x="988" y="850"/>
                      </a:lnTo>
                      <a:lnTo>
                        <a:pt x="988" y="854"/>
                      </a:lnTo>
                      <a:lnTo>
                        <a:pt x="980" y="854"/>
                      </a:lnTo>
                      <a:lnTo>
                        <a:pt x="976" y="854"/>
                      </a:lnTo>
                      <a:lnTo>
                        <a:pt x="970" y="854"/>
                      </a:lnTo>
                      <a:lnTo>
                        <a:pt x="966" y="854"/>
                      </a:lnTo>
                      <a:lnTo>
                        <a:pt x="962" y="854"/>
                      </a:lnTo>
                      <a:lnTo>
                        <a:pt x="958" y="854"/>
                      </a:lnTo>
                      <a:lnTo>
                        <a:pt x="950" y="854"/>
                      </a:lnTo>
                      <a:lnTo>
                        <a:pt x="944" y="854"/>
                      </a:lnTo>
                      <a:lnTo>
                        <a:pt x="936" y="850"/>
                      </a:lnTo>
                      <a:lnTo>
                        <a:pt x="932" y="848"/>
                      </a:lnTo>
                      <a:lnTo>
                        <a:pt x="930" y="848"/>
                      </a:lnTo>
                      <a:lnTo>
                        <a:pt x="926" y="844"/>
                      </a:lnTo>
                      <a:lnTo>
                        <a:pt x="922" y="844"/>
                      </a:lnTo>
                      <a:lnTo>
                        <a:pt x="918" y="844"/>
                      </a:lnTo>
                      <a:lnTo>
                        <a:pt x="914" y="840"/>
                      </a:lnTo>
                      <a:lnTo>
                        <a:pt x="910" y="840"/>
                      </a:lnTo>
                      <a:lnTo>
                        <a:pt x="906" y="840"/>
                      </a:lnTo>
                      <a:lnTo>
                        <a:pt x="904" y="836"/>
                      </a:lnTo>
                      <a:lnTo>
                        <a:pt x="900" y="836"/>
                      </a:lnTo>
                      <a:lnTo>
                        <a:pt x="896" y="832"/>
                      </a:lnTo>
                      <a:lnTo>
                        <a:pt x="900" y="832"/>
                      </a:lnTo>
                      <a:lnTo>
                        <a:pt x="900" y="828"/>
                      </a:lnTo>
                      <a:lnTo>
                        <a:pt x="896" y="828"/>
                      </a:lnTo>
                      <a:lnTo>
                        <a:pt x="892" y="832"/>
                      </a:lnTo>
                      <a:lnTo>
                        <a:pt x="888" y="832"/>
                      </a:lnTo>
                      <a:lnTo>
                        <a:pt x="884" y="832"/>
                      </a:lnTo>
                      <a:lnTo>
                        <a:pt x="880" y="832"/>
                      </a:lnTo>
                      <a:lnTo>
                        <a:pt x="876" y="832"/>
                      </a:lnTo>
                      <a:lnTo>
                        <a:pt x="874" y="832"/>
                      </a:lnTo>
                      <a:lnTo>
                        <a:pt x="870" y="832"/>
                      </a:lnTo>
                      <a:lnTo>
                        <a:pt x="866" y="832"/>
                      </a:lnTo>
                      <a:lnTo>
                        <a:pt x="862" y="832"/>
                      </a:lnTo>
                      <a:lnTo>
                        <a:pt x="866" y="832"/>
                      </a:lnTo>
                      <a:lnTo>
                        <a:pt x="862" y="832"/>
                      </a:lnTo>
                      <a:lnTo>
                        <a:pt x="862" y="828"/>
                      </a:lnTo>
                      <a:lnTo>
                        <a:pt x="862" y="832"/>
                      </a:lnTo>
                      <a:lnTo>
                        <a:pt x="862" y="828"/>
                      </a:lnTo>
                      <a:lnTo>
                        <a:pt x="862" y="824"/>
                      </a:lnTo>
                      <a:lnTo>
                        <a:pt x="862" y="820"/>
                      </a:lnTo>
                      <a:lnTo>
                        <a:pt x="858" y="820"/>
                      </a:lnTo>
                      <a:lnTo>
                        <a:pt x="858" y="818"/>
                      </a:lnTo>
                      <a:lnTo>
                        <a:pt x="854" y="818"/>
                      </a:lnTo>
                      <a:lnTo>
                        <a:pt x="854" y="814"/>
                      </a:lnTo>
                      <a:lnTo>
                        <a:pt x="850" y="814"/>
                      </a:lnTo>
                      <a:lnTo>
                        <a:pt x="850" y="810"/>
                      </a:lnTo>
                      <a:lnTo>
                        <a:pt x="846" y="810"/>
                      </a:lnTo>
                      <a:lnTo>
                        <a:pt x="846" y="806"/>
                      </a:lnTo>
                      <a:lnTo>
                        <a:pt x="844" y="806"/>
                      </a:lnTo>
                      <a:lnTo>
                        <a:pt x="840" y="806"/>
                      </a:lnTo>
                      <a:lnTo>
                        <a:pt x="836" y="806"/>
                      </a:lnTo>
                      <a:lnTo>
                        <a:pt x="836" y="802"/>
                      </a:lnTo>
                      <a:lnTo>
                        <a:pt x="832" y="802"/>
                      </a:lnTo>
                      <a:lnTo>
                        <a:pt x="832" y="798"/>
                      </a:lnTo>
                      <a:lnTo>
                        <a:pt x="828" y="798"/>
                      </a:lnTo>
                      <a:lnTo>
                        <a:pt x="824" y="798"/>
                      </a:lnTo>
                      <a:lnTo>
                        <a:pt x="820" y="798"/>
                      </a:lnTo>
                      <a:lnTo>
                        <a:pt x="818" y="798"/>
                      </a:lnTo>
                      <a:lnTo>
                        <a:pt x="818" y="794"/>
                      </a:lnTo>
                      <a:lnTo>
                        <a:pt x="814" y="794"/>
                      </a:lnTo>
                      <a:lnTo>
                        <a:pt x="814" y="790"/>
                      </a:lnTo>
                      <a:lnTo>
                        <a:pt x="814" y="788"/>
                      </a:lnTo>
                      <a:lnTo>
                        <a:pt x="814" y="784"/>
                      </a:lnTo>
                      <a:lnTo>
                        <a:pt x="810" y="784"/>
                      </a:lnTo>
                      <a:lnTo>
                        <a:pt x="810" y="780"/>
                      </a:lnTo>
                      <a:lnTo>
                        <a:pt x="810" y="776"/>
                      </a:lnTo>
                      <a:lnTo>
                        <a:pt x="806" y="776"/>
                      </a:lnTo>
                      <a:lnTo>
                        <a:pt x="806" y="772"/>
                      </a:lnTo>
                      <a:lnTo>
                        <a:pt x="802" y="772"/>
                      </a:lnTo>
                      <a:lnTo>
                        <a:pt x="802" y="768"/>
                      </a:lnTo>
                      <a:lnTo>
                        <a:pt x="798" y="764"/>
                      </a:lnTo>
                      <a:lnTo>
                        <a:pt x="798" y="762"/>
                      </a:lnTo>
                      <a:lnTo>
                        <a:pt x="794" y="762"/>
                      </a:lnTo>
                      <a:lnTo>
                        <a:pt x="794" y="758"/>
                      </a:lnTo>
                      <a:lnTo>
                        <a:pt x="798" y="758"/>
                      </a:lnTo>
                      <a:lnTo>
                        <a:pt x="798" y="754"/>
                      </a:lnTo>
                      <a:lnTo>
                        <a:pt x="798" y="750"/>
                      </a:lnTo>
                      <a:lnTo>
                        <a:pt x="794" y="750"/>
                      </a:lnTo>
                      <a:lnTo>
                        <a:pt x="790" y="750"/>
                      </a:lnTo>
                      <a:lnTo>
                        <a:pt x="790" y="746"/>
                      </a:lnTo>
                      <a:lnTo>
                        <a:pt x="790" y="742"/>
                      </a:lnTo>
                      <a:lnTo>
                        <a:pt x="788" y="738"/>
                      </a:lnTo>
                      <a:lnTo>
                        <a:pt x="788" y="734"/>
                      </a:lnTo>
                      <a:lnTo>
                        <a:pt x="790" y="734"/>
                      </a:lnTo>
                      <a:lnTo>
                        <a:pt x="790" y="738"/>
                      </a:lnTo>
                      <a:lnTo>
                        <a:pt x="794" y="742"/>
                      </a:lnTo>
                      <a:lnTo>
                        <a:pt x="794" y="738"/>
                      </a:lnTo>
                      <a:lnTo>
                        <a:pt x="794" y="734"/>
                      </a:lnTo>
                      <a:lnTo>
                        <a:pt x="790" y="734"/>
                      </a:lnTo>
                      <a:lnTo>
                        <a:pt x="790" y="732"/>
                      </a:lnTo>
                      <a:lnTo>
                        <a:pt x="790" y="728"/>
                      </a:lnTo>
                      <a:lnTo>
                        <a:pt x="790" y="732"/>
                      </a:lnTo>
                      <a:lnTo>
                        <a:pt x="794" y="732"/>
                      </a:lnTo>
                      <a:lnTo>
                        <a:pt x="794" y="728"/>
                      </a:lnTo>
                      <a:lnTo>
                        <a:pt x="798" y="732"/>
                      </a:lnTo>
                      <a:lnTo>
                        <a:pt x="798" y="728"/>
                      </a:lnTo>
                      <a:lnTo>
                        <a:pt x="802" y="728"/>
                      </a:lnTo>
                      <a:lnTo>
                        <a:pt x="802" y="732"/>
                      </a:lnTo>
                      <a:lnTo>
                        <a:pt x="802" y="728"/>
                      </a:lnTo>
                      <a:lnTo>
                        <a:pt x="798" y="728"/>
                      </a:lnTo>
                      <a:lnTo>
                        <a:pt x="798" y="732"/>
                      </a:lnTo>
                      <a:lnTo>
                        <a:pt x="798" y="728"/>
                      </a:lnTo>
                      <a:lnTo>
                        <a:pt x="794" y="728"/>
                      </a:lnTo>
                      <a:lnTo>
                        <a:pt x="790" y="728"/>
                      </a:lnTo>
                      <a:lnTo>
                        <a:pt x="788" y="728"/>
                      </a:lnTo>
                      <a:lnTo>
                        <a:pt x="788" y="732"/>
                      </a:lnTo>
                      <a:lnTo>
                        <a:pt x="788" y="734"/>
                      </a:lnTo>
                      <a:lnTo>
                        <a:pt x="788" y="732"/>
                      </a:lnTo>
                      <a:lnTo>
                        <a:pt x="784" y="732"/>
                      </a:lnTo>
                      <a:lnTo>
                        <a:pt x="784" y="728"/>
                      </a:lnTo>
                      <a:lnTo>
                        <a:pt x="780" y="728"/>
                      </a:lnTo>
                      <a:lnTo>
                        <a:pt x="784" y="728"/>
                      </a:lnTo>
                      <a:lnTo>
                        <a:pt x="780" y="724"/>
                      </a:lnTo>
                      <a:lnTo>
                        <a:pt x="780" y="720"/>
                      </a:lnTo>
                      <a:lnTo>
                        <a:pt x="776" y="720"/>
                      </a:lnTo>
                      <a:lnTo>
                        <a:pt x="776" y="716"/>
                      </a:lnTo>
                      <a:lnTo>
                        <a:pt x="772" y="716"/>
                      </a:lnTo>
                      <a:lnTo>
                        <a:pt x="772" y="712"/>
                      </a:lnTo>
                      <a:lnTo>
                        <a:pt x="772" y="708"/>
                      </a:lnTo>
                      <a:lnTo>
                        <a:pt x="768" y="706"/>
                      </a:lnTo>
                      <a:lnTo>
                        <a:pt x="768" y="702"/>
                      </a:lnTo>
                      <a:lnTo>
                        <a:pt x="768" y="698"/>
                      </a:lnTo>
                      <a:lnTo>
                        <a:pt x="768" y="694"/>
                      </a:lnTo>
                      <a:lnTo>
                        <a:pt x="764" y="690"/>
                      </a:lnTo>
                      <a:lnTo>
                        <a:pt x="762" y="686"/>
                      </a:lnTo>
                      <a:lnTo>
                        <a:pt x="762" y="682"/>
                      </a:lnTo>
                      <a:lnTo>
                        <a:pt x="762" y="678"/>
                      </a:lnTo>
                      <a:lnTo>
                        <a:pt x="764" y="678"/>
                      </a:lnTo>
                      <a:lnTo>
                        <a:pt x="764" y="676"/>
                      </a:lnTo>
                      <a:lnTo>
                        <a:pt x="764" y="672"/>
                      </a:lnTo>
                      <a:lnTo>
                        <a:pt x="764" y="668"/>
                      </a:lnTo>
                      <a:lnTo>
                        <a:pt x="764" y="664"/>
                      </a:lnTo>
                      <a:lnTo>
                        <a:pt x="764" y="660"/>
                      </a:lnTo>
                      <a:lnTo>
                        <a:pt x="764" y="656"/>
                      </a:lnTo>
                      <a:lnTo>
                        <a:pt x="764" y="652"/>
                      </a:lnTo>
                      <a:lnTo>
                        <a:pt x="762" y="652"/>
                      </a:lnTo>
                      <a:lnTo>
                        <a:pt x="762" y="648"/>
                      </a:lnTo>
                      <a:lnTo>
                        <a:pt x="762" y="646"/>
                      </a:lnTo>
                      <a:lnTo>
                        <a:pt x="762" y="642"/>
                      </a:lnTo>
                      <a:lnTo>
                        <a:pt x="762" y="638"/>
                      </a:lnTo>
                      <a:lnTo>
                        <a:pt x="758" y="638"/>
                      </a:lnTo>
                      <a:lnTo>
                        <a:pt x="758" y="634"/>
                      </a:lnTo>
                      <a:lnTo>
                        <a:pt x="762" y="634"/>
                      </a:lnTo>
                      <a:lnTo>
                        <a:pt x="762" y="632"/>
                      </a:lnTo>
                      <a:lnTo>
                        <a:pt x="762" y="628"/>
                      </a:lnTo>
                      <a:lnTo>
                        <a:pt x="764" y="628"/>
                      </a:lnTo>
                      <a:lnTo>
                        <a:pt x="764" y="624"/>
                      </a:lnTo>
                      <a:lnTo>
                        <a:pt x="762" y="628"/>
                      </a:lnTo>
                      <a:lnTo>
                        <a:pt x="762" y="624"/>
                      </a:lnTo>
                      <a:lnTo>
                        <a:pt x="764" y="624"/>
                      </a:lnTo>
                      <a:lnTo>
                        <a:pt x="764" y="620"/>
                      </a:lnTo>
                      <a:lnTo>
                        <a:pt x="764" y="616"/>
                      </a:lnTo>
                      <a:lnTo>
                        <a:pt x="764" y="612"/>
                      </a:lnTo>
                      <a:lnTo>
                        <a:pt x="764" y="606"/>
                      </a:lnTo>
                      <a:lnTo>
                        <a:pt x="764" y="602"/>
                      </a:lnTo>
                      <a:lnTo>
                        <a:pt x="764" y="598"/>
                      </a:lnTo>
                      <a:lnTo>
                        <a:pt x="764" y="594"/>
                      </a:lnTo>
                      <a:lnTo>
                        <a:pt x="768" y="590"/>
                      </a:lnTo>
                      <a:lnTo>
                        <a:pt x="768" y="586"/>
                      </a:lnTo>
                      <a:lnTo>
                        <a:pt x="768" y="582"/>
                      </a:lnTo>
                      <a:lnTo>
                        <a:pt x="768" y="578"/>
                      </a:lnTo>
                      <a:lnTo>
                        <a:pt x="768" y="576"/>
                      </a:lnTo>
                      <a:lnTo>
                        <a:pt x="768" y="572"/>
                      </a:lnTo>
                      <a:lnTo>
                        <a:pt x="772" y="572"/>
                      </a:lnTo>
                      <a:lnTo>
                        <a:pt x="772" y="568"/>
                      </a:lnTo>
                      <a:lnTo>
                        <a:pt x="776" y="572"/>
                      </a:lnTo>
                      <a:lnTo>
                        <a:pt x="780" y="572"/>
                      </a:lnTo>
                      <a:lnTo>
                        <a:pt x="776" y="572"/>
                      </a:lnTo>
                      <a:lnTo>
                        <a:pt x="776" y="568"/>
                      </a:lnTo>
                      <a:lnTo>
                        <a:pt x="772" y="568"/>
                      </a:lnTo>
                      <a:lnTo>
                        <a:pt x="768" y="568"/>
                      </a:lnTo>
                      <a:lnTo>
                        <a:pt x="764" y="568"/>
                      </a:lnTo>
                      <a:lnTo>
                        <a:pt x="764" y="564"/>
                      </a:lnTo>
                      <a:lnTo>
                        <a:pt x="764" y="560"/>
                      </a:lnTo>
                      <a:lnTo>
                        <a:pt x="764" y="564"/>
                      </a:lnTo>
                      <a:lnTo>
                        <a:pt x="768" y="568"/>
                      </a:lnTo>
                      <a:lnTo>
                        <a:pt x="768" y="564"/>
                      </a:lnTo>
                      <a:lnTo>
                        <a:pt x="768" y="560"/>
                      </a:lnTo>
                      <a:lnTo>
                        <a:pt x="764" y="560"/>
                      </a:lnTo>
                      <a:lnTo>
                        <a:pt x="764" y="556"/>
                      </a:lnTo>
                      <a:lnTo>
                        <a:pt x="768" y="556"/>
                      </a:lnTo>
                      <a:lnTo>
                        <a:pt x="768" y="552"/>
                      </a:lnTo>
                      <a:lnTo>
                        <a:pt x="764" y="552"/>
                      </a:lnTo>
                      <a:lnTo>
                        <a:pt x="764" y="556"/>
                      </a:lnTo>
                      <a:lnTo>
                        <a:pt x="764" y="552"/>
                      </a:lnTo>
                      <a:lnTo>
                        <a:pt x="764" y="550"/>
                      </a:lnTo>
                      <a:lnTo>
                        <a:pt x="762" y="546"/>
                      </a:lnTo>
                      <a:lnTo>
                        <a:pt x="762" y="542"/>
                      </a:lnTo>
                      <a:lnTo>
                        <a:pt x="762" y="538"/>
                      </a:lnTo>
                      <a:lnTo>
                        <a:pt x="758" y="534"/>
                      </a:lnTo>
                      <a:lnTo>
                        <a:pt x="758" y="530"/>
                      </a:lnTo>
                      <a:lnTo>
                        <a:pt x="758" y="526"/>
                      </a:lnTo>
                      <a:lnTo>
                        <a:pt x="762" y="526"/>
                      </a:lnTo>
                      <a:lnTo>
                        <a:pt x="764" y="526"/>
                      </a:lnTo>
                      <a:lnTo>
                        <a:pt x="764" y="530"/>
                      </a:lnTo>
                      <a:lnTo>
                        <a:pt x="768" y="530"/>
                      </a:lnTo>
                      <a:lnTo>
                        <a:pt x="772" y="530"/>
                      </a:lnTo>
                      <a:lnTo>
                        <a:pt x="776" y="530"/>
                      </a:lnTo>
                      <a:lnTo>
                        <a:pt x="780" y="530"/>
                      </a:lnTo>
                      <a:lnTo>
                        <a:pt x="784" y="530"/>
                      </a:lnTo>
                      <a:lnTo>
                        <a:pt x="784" y="534"/>
                      </a:lnTo>
                      <a:lnTo>
                        <a:pt x="788" y="534"/>
                      </a:lnTo>
                      <a:lnTo>
                        <a:pt x="784" y="538"/>
                      </a:lnTo>
                      <a:lnTo>
                        <a:pt x="784" y="542"/>
                      </a:lnTo>
                      <a:lnTo>
                        <a:pt x="780" y="542"/>
                      </a:lnTo>
                      <a:lnTo>
                        <a:pt x="780" y="546"/>
                      </a:lnTo>
                      <a:lnTo>
                        <a:pt x="784" y="546"/>
                      </a:lnTo>
                      <a:lnTo>
                        <a:pt x="780" y="546"/>
                      </a:lnTo>
                      <a:lnTo>
                        <a:pt x="780" y="542"/>
                      </a:lnTo>
                      <a:lnTo>
                        <a:pt x="784" y="542"/>
                      </a:lnTo>
                      <a:lnTo>
                        <a:pt x="784" y="538"/>
                      </a:lnTo>
                      <a:lnTo>
                        <a:pt x="788" y="534"/>
                      </a:lnTo>
                      <a:lnTo>
                        <a:pt x="788" y="538"/>
                      </a:lnTo>
                      <a:lnTo>
                        <a:pt x="788" y="542"/>
                      </a:lnTo>
                      <a:lnTo>
                        <a:pt x="784" y="542"/>
                      </a:lnTo>
                      <a:lnTo>
                        <a:pt x="788" y="542"/>
                      </a:lnTo>
                      <a:lnTo>
                        <a:pt x="788" y="546"/>
                      </a:lnTo>
                      <a:lnTo>
                        <a:pt x="788" y="550"/>
                      </a:lnTo>
                      <a:lnTo>
                        <a:pt x="784" y="550"/>
                      </a:lnTo>
                      <a:lnTo>
                        <a:pt x="788" y="546"/>
                      </a:lnTo>
                      <a:lnTo>
                        <a:pt x="784" y="546"/>
                      </a:lnTo>
                      <a:lnTo>
                        <a:pt x="784" y="550"/>
                      </a:lnTo>
                      <a:lnTo>
                        <a:pt x="784" y="546"/>
                      </a:lnTo>
                      <a:lnTo>
                        <a:pt x="784" y="550"/>
                      </a:lnTo>
                      <a:lnTo>
                        <a:pt x="780" y="550"/>
                      </a:lnTo>
                      <a:lnTo>
                        <a:pt x="780" y="552"/>
                      </a:lnTo>
                      <a:lnTo>
                        <a:pt x="784" y="552"/>
                      </a:lnTo>
                      <a:lnTo>
                        <a:pt x="784" y="550"/>
                      </a:lnTo>
                      <a:lnTo>
                        <a:pt x="784" y="552"/>
                      </a:lnTo>
                      <a:lnTo>
                        <a:pt x="788" y="550"/>
                      </a:lnTo>
                      <a:lnTo>
                        <a:pt x="790" y="546"/>
                      </a:lnTo>
                      <a:lnTo>
                        <a:pt x="790" y="542"/>
                      </a:lnTo>
                      <a:lnTo>
                        <a:pt x="788" y="542"/>
                      </a:lnTo>
                      <a:lnTo>
                        <a:pt x="790" y="538"/>
                      </a:lnTo>
                      <a:lnTo>
                        <a:pt x="790" y="534"/>
                      </a:lnTo>
                      <a:lnTo>
                        <a:pt x="790" y="530"/>
                      </a:lnTo>
                      <a:lnTo>
                        <a:pt x="788" y="530"/>
                      </a:lnTo>
                      <a:lnTo>
                        <a:pt x="788" y="526"/>
                      </a:lnTo>
                      <a:lnTo>
                        <a:pt x="790" y="526"/>
                      </a:lnTo>
                      <a:lnTo>
                        <a:pt x="788" y="522"/>
                      </a:lnTo>
                      <a:lnTo>
                        <a:pt x="788" y="526"/>
                      </a:lnTo>
                      <a:lnTo>
                        <a:pt x="784" y="522"/>
                      </a:lnTo>
                      <a:lnTo>
                        <a:pt x="788" y="522"/>
                      </a:lnTo>
                      <a:lnTo>
                        <a:pt x="788" y="520"/>
                      </a:lnTo>
                      <a:lnTo>
                        <a:pt x="784" y="516"/>
                      </a:lnTo>
                      <a:lnTo>
                        <a:pt x="784" y="512"/>
                      </a:lnTo>
                      <a:lnTo>
                        <a:pt x="788" y="512"/>
                      </a:lnTo>
                      <a:lnTo>
                        <a:pt x="790" y="512"/>
                      </a:lnTo>
                      <a:lnTo>
                        <a:pt x="794" y="512"/>
                      </a:lnTo>
                      <a:lnTo>
                        <a:pt x="810" y="512"/>
                      </a:lnTo>
                      <a:lnTo>
                        <a:pt x="818" y="512"/>
                      </a:lnTo>
                      <a:lnTo>
                        <a:pt x="820" y="512"/>
                      </a:lnTo>
                      <a:lnTo>
                        <a:pt x="824" y="512"/>
                      </a:lnTo>
                      <a:lnTo>
                        <a:pt x="832" y="512"/>
                      </a:lnTo>
                      <a:lnTo>
                        <a:pt x="836" y="512"/>
                      </a:lnTo>
                      <a:lnTo>
                        <a:pt x="840" y="512"/>
                      </a:lnTo>
                      <a:lnTo>
                        <a:pt x="846" y="512"/>
                      </a:lnTo>
                      <a:lnTo>
                        <a:pt x="850" y="512"/>
                      </a:lnTo>
                      <a:lnTo>
                        <a:pt x="854" y="512"/>
                      </a:lnTo>
                      <a:lnTo>
                        <a:pt x="858" y="512"/>
                      </a:lnTo>
                      <a:lnTo>
                        <a:pt x="862" y="512"/>
                      </a:lnTo>
                      <a:lnTo>
                        <a:pt x="866" y="512"/>
                      </a:lnTo>
                      <a:lnTo>
                        <a:pt x="880" y="512"/>
                      </a:lnTo>
                      <a:lnTo>
                        <a:pt x="884" y="512"/>
                      </a:lnTo>
                      <a:lnTo>
                        <a:pt x="888" y="512"/>
                      </a:lnTo>
                      <a:lnTo>
                        <a:pt x="892" y="512"/>
                      </a:lnTo>
                      <a:lnTo>
                        <a:pt x="896" y="512"/>
                      </a:lnTo>
                      <a:lnTo>
                        <a:pt x="900" y="512"/>
                      </a:lnTo>
                      <a:lnTo>
                        <a:pt x="904" y="512"/>
                      </a:lnTo>
                      <a:lnTo>
                        <a:pt x="906" y="512"/>
                      </a:lnTo>
                      <a:lnTo>
                        <a:pt x="914" y="512"/>
                      </a:lnTo>
                      <a:lnTo>
                        <a:pt x="918" y="512"/>
                      </a:lnTo>
                      <a:lnTo>
                        <a:pt x="922" y="512"/>
                      </a:lnTo>
                      <a:lnTo>
                        <a:pt x="930" y="512"/>
                      </a:lnTo>
                      <a:lnTo>
                        <a:pt x="932" y="512"/>
                      </a:lnTo>
                      <a:lnTo>
                        <a:pt x="936" y="512"/>
                      </a:lnTo>
                      <a:lnTo>
                        <a:pt x="940" y="512"/>
                      </a:lnTo>
                      <a:lnTo>
                        <a:pt x="944" y="512"/>
                      </a:lnTo>
                      <a:lnTo>
                        <a:pt x="954" y="512"/>
                      </a:lnTo>
                      <a:lnTo>
                        <a:pt x="958" y="512"/>
                      </a:lnTo>
                      <a:lnTo>
                        <a:pt x="962" y="512"/>
                      </a:lnTo>
                      <a:lnTo>
                        <a:pt x="966" y="512"/>
                      </a:lnTo>
                      <a:lnTo>
                        <a:pt x="970" y="512"/>
                      </a:lnTo>
                      <a:lnTo>
                        <a:pt x="974" y="512"/>
                      </a:lnTo>
                      <a:lnTo>
                        <a:pt x="980" y="512"/>
                      </a:lnTo>
                      <a:lnTo>
                        <a:pt x="984" y="512"/>
                      </a:lnTo>
                      <a:lnTo>
                        <a:pt x="988" y="512"/>
                      </a:lnTo>
                      <a:lnTo>
                        <a:pt x="992" y="512"/>
                      </a:lnTo>
                      <a:lnTo>
                        <a:pt x="996" y="512"/>
                      </a:lnTo>
                      <a:lnTo>
                        <a:pt x="1000" y="512"/>
                      </a:lnTo>
                      <a:lnTo>
                        <a:pt x="1002" y="512"/>
                      </a:lnTo>
                      <a:lnTo>
                        <a:pt x="1010" y="512"/>
                      </a:lnTo>
                      <a:lnTo>
                        <a:pt x="1014" y="512"/>
                      </a:lnTo>
                      <a:lnTo>
                        <a:pt x="1018" y="512"/>
                      </a:lnTo>
                      <a:lnTo>
                        <a:pt x="1022" y="512"/>
                      </a:lnTo>
                      <a:lnTo>
                        <a:pt x="1026" y="512"/>
                      </a:lnTo>
                      <a:lnTo>
                        <a:pt x="1032" y="512"/>
                      </a:lnTo>
                      <a:lnTo>
                        <a:pt x="1036" y="512"/>
                      </a:lnTo>
                      <a:lnTo>
                        <a:pt x="1044" y="512"/>
                      </a:lnTo>
                      <a:lnTo>
                        <a:pt x="1048" y="512"/>
                      </a:lnTo>
                      <a:lnTo>
                        <a:pt x="1052" y="512"/>
                      </a:lnTo>
                      <a:lnTo>
                        <a:pt x="1056" y="512"/>
                      </a:lnTo>
                      <a:lnTo>
                        <a:pt x="1060" y="512"/>
                      </a:lnTo>
                      <a:lnTo>
                        <a:pt x="1062" y="512"/>
                      </a:lnTo>
                      <a:lnTo>
                        <a:pt x="1066" y="512"/>
                      </a:lnTo>
                      <a:lnTo>
                        <a:pt x="1070" y="512"/>
                      </a:lnTo>
                      <a:lnTo>
                        <a:pt x="1074" y="512"/>
                      </a:lnTo>
                      <a:lnTo>
                        <a:pt x="1086" y="512"/>
                      </a:lnTo>
                      <a:lnTo>
                        <a:pt x="1088" y="512"/>
                      </a:lnTo>
                      <a:lnTo>
                        <a:pt x="1100" y="512"/>
                      </a:lnTo>
                      <a:lnTo>
                        <a:pt x="1108" y="512"/>
                      </a:lnTo>
                      <a:lnTo>
                        <a:pt x="1116" y="512"/>
                      </a:lnTo>
                      <a:lnTo>
                        <a:pt x="1122" y="512"/>
                      </a:lnTo>
                      <a:lnTo>
                        <a:pt x="1126" y="512"/>
                      </a:lnTo>
                      <a:lnTo>
                        <a:pt x="1130" y="512"/>
                      </a:lnTo>
                      <a:lnTo>
                        <a:pt x="1134" y="512"/>
                      </a:lnTo>
                      <a:lnTo>
                        <a:pt x="1138" y="512"/>
                      </a:lnTo>
                      <a:lnTo>
                        <a:pt x="1142" y="512"/>
                      </a:lnTo>
                      <a:lnTo>
                        <a:pt x="1144" y="512"/>
                      </a:lnTo>
                      <a:lnTo>
                        <a:pt x="1172" y="512"/>
                      </a:lnTo>
                      <a:lnTo>
                        <a:pt x="1174" y="512"/>
                      </a:lnTo>
                      <a:lnTo>
                        <a:pt x="1174" y="508"/>
                      </a:lnTo>
                      <a:lnTo>
                        <a:pt x="1174" y="504"/>
                      </a:lnTo>
                      <a:lnTo>
                        <a:pt x="1178" y="504"/>
                      </a:lnTo>
                      <a:lnTo>
                        <a:pt x="1178" y="508"/>
                      </a:lnTo>
                      <a:lnTo>
                        <a:pt x="1178" y="512"/>
                      </a:lnTo>
                      <a:lnTo>
                        <a:pt x="1182" y="512"/>
                      </a:lnTo>
                      <a:lnTo>
                        <a:pt x="1182" y="516"/>
                      </a:lnTo>
                      <a:lnTo>
                        <a:pt x="1182" y="520"/>
                      </a:lnTo>
                      <a:lnTo>
                        <a:pt x="1186" y="520"/>
                      </a:lnTo>
                      <a:lnTo>
                        <a:pt x="1190" y="520"/>
                      </a:lnTo>
                      <a:lnTo>
                        <a:pt x="1194" y="520"/>
                      </a:lnTo>
                      <a:lnTo>
                        <a:pt x="1194" y="522"/>
                      </a:lnTo>
                      <a:lnTo>
                        <a:pt x="1198" y="522"/>
                      </a:lnTo>
                      <a:lnTo>
                        <a:pt x="1202" y="520"/>
                      </a:lnTo>
                      <a:lnTo>
                        <a:pt x="1204" y="520"/>
                      </a:lnTo>
                      <a:lnTo>
                        <a:pt x="1208" y="522"/>
                      </a:lnTo>
                      <a:lnTo>
                        <a:pt x="1212" y="522"/>
                      </a:lnTo>
                      <a:lnTo>
                        <a:pt x="1212" y="526"/>
                      </a:lnTo>
                      <a:lnTo>
                        <a:pt x="1216" y="530"/>
                      </a:lnTo>
                      <a:lnTo>
                        <a:pt x="1216" y="526"/>
                      </a:lnTo>
                      <a:lnTo>
                        <a:pt x="1220" y="526"/>
                      </a:lnTo>
                      <a:lnTo>
                        <a:pt x="1220" y="530"/>
                      </a:lnTo>
                      <a:lnTo>
                        <a:pt x="1224" y="530"/>
                      </a:lnTo>
                      <a:lnTo>
                        <a:pt x="1228" y="530"/>
                      </a:lnTo>
                      <a:lnTo>
                        <a:pt x="1228" y="534"/>
                      </a:lnTo>
                      <a:lnTo>
                        <a:pt x="1228" y="530"/>
                      </a:lnTo>
                      <a:lnTo>
                        <a:pt x="1230" y="530"/>
                      </a:lnTo>
                      <a:lnTo>
                        <a:pt x="1234" y="530"/>
                      </a:lnTo>
                      <a:lnTo>
                        <a:pt x="1234" y="526"/>
                      </a:lnTo>
                      <a:lnTo>
                        <a:pt x="1234" y="530"/>
                      </a:lnTo>
                      <a:lnTo>
                        <a:pt x="1238" y="530"/>
                      </a:lnTo>
                      <a:lnTo>
                        <a:pt x="1242" y="530"/>
                      </a:lnTo>
                      <a:lnTo>
                        <a:pt x="1246" y="530"/>
                      </a:lnTo>
                      <a:lnTo>
                        <a:pt x="1246" y="534"/>
                      </a:lnTo>
                      <a:lnTo>
                        <a:pt x="1250" y="534"/>
                      </a:lnTo>
                      <a:lnTo>
                        <a:pt x="1254" y="534"/>
                      </a:lnTo>
                      <a:lnTo>
                        <a:pt x="1258" y="534"/>
                      </a:lnTo>
                      <a:lnTo>
                        <a:pt x="1260" y="530"/>
                      </a:lnTo>
                      <a:lnTo>
                        <a:pt x="1264" y="526"/>
                      </a:lnTo>
                      <a:lnTo>
                        <a:pt x="1268" y="526"/>
                      </a:lnTo>
                      <a:lnTo>
                        <a:pt x="1272" y="526"/>
                      </a:lnTo>
                      <a:lnTo>
                        <a:pt x="1282" y="534"/>
                      </a:lnTo>
                      <a:lnTo>
                        <a:pt x="1286" y="534"/>
                      </a:lnTo>
                      <a:lnTo>
                        <a:pt x="1286" y="538"/>
                      </a:lnTo>
                      <a:lnTo>
                        <a:pt x="1290" y="538"/>
                      </a:lnTo>
                      <a:lnTo>
                        <a:pt x="1294" y="542"/>
                      </a:lnTo>
                      <a:lnTo>
                        <a:pt x="1298" y="542"/>
                      </a:lnTo>
                      <a:lnTo>
                        <a:pt x="1300" y="546"/>
                      </a:lnTo>
                      <a:lnTo>
                        <a:pt x="1304" y="546"/>
                      </a:lnTo>
                      <a:lnTo>
                        <a:pt x="1304" y="550"/>
                      </a:lnTo>
                      <a:lnTo>
                        <a:pt x="1308" y="550"/>
                      </a:lnTo>
                      <a:lnTo>
                        <a:pt x="1312" y="550"/>
                      </a:lnTo>
                      <a:lnTo>
                        <a:pt x="1312" y="552"/>
                      </a:lnTo>
                      <a:lnTo>
                        <a:pt x="1320" y="556"/>
                      </a:lnTo>
                      <a:lnTo>
                        <a:pt x="1320" y="560"/>
                      </a:lnTo>
                      <a:lnTo>
                        <a:pt x="1324" y="564"/>
                      </a:lnTo>
                      <a:lnTo>
                        <a:pt x="1328" y="564"/>
                      </a:lnTo>
                      <a:lnTo>
                        <a:pt x="1330" y="564"/>
                      </a:lnTo>
                      <a:lnTo>
                        <a:pt x="1330" y="568"/>
                      </a:lnTo>
                      <a:lnTo>
                        <a:pt x="1330" y="572"/>
                      </a:lnTo>
                      <a:lnTo>
                        <a:pt x="1334" y="572"/>
                      </a:lnTo>
                      <a:lnTo>
                        <a:pt x="1338" y="572"/>
                      </a:lnTo>
                      <a:lnTo>
                        <a:pt x="1338" y="576"/>
                      </a:lnTo>
                      <a:lnTo>
                        <a:pt x="1338" y="578"/>
                      </a:lnTo>
                      <a:lnTo>
                        <a:pt x="1342" y="578"/>
                      </a:lnTo>
                      <a:lnTo>
                        <a:pt x="1346" y="582"/>
                      </a:lnTo>
                      <a:lnTo>
                        <a:pt x="1350" y="586"/>
                      </a:lnTo>
                      <a:lnTo>
                        <a:pt x="1354" y="586"/>
                      </a:lnTo>
                      <a:lnTo>
                        <a:pt x="1354" y="598"/>
                      </a:lnTo>
                      <a:lnTo>
                        <a:pt x="1358" y="606"/>
                      </a:lnTo>
                      <a:lnTo>
                        <a:pt x="1358" y="616"/>
                      </a:lnTo>
                      <a:lnTo>
                        <a:pt x="1358" y="624"/>
                      </a:lnTo>
                      <a:lnTo>
                        <a:pt x="1358" y="628"/>
                      </a:lnTo>
                      <a:lnTo>
                        <a:pt x="1358" y="632"/>
                      </a:lnTo>
                      <a:lnTo>
                        <a:pt x="1354" y="632"/>
                      </a:lnTo>
                      <a:lnTo>
                        <a:pt x="1354" y="634"/>
                      </a:lnTo>
                      <a:lnTo>
                        <a:pt x="1354" y="638"/>
                      </a:lnTo>
                      <a:lnTo>
                        <a:pt x="1354" y="642"/>
                      </a:lnTo>
                      <a:lnTo>
                        <a:pt x="1350" y="642"/>
                      </a:lnTo>
                      <a:lnTo>
                        <a:pt x="1350" y="646"/>
                      </a:lnTo>
                      <a:lnTo>
                        <a:pt x="1346" y="646"/>
                      </a:lnTo>
                      <a:lnTo>
                        <a:pt x="1346" y="648"/>
                      </a:lnTo>
                      <a:lnTo>
                        <a:pt x="1342" y="652"/>
                      </a:lnTo>
                      <a:lnTo>
                        <a:pt x="1346" y="652"/>
                      </a:lnTo>
                      <a:lnTo>
                        <a:pt x="1346" y="656"/>
                      </a:lnTo>
                      <a:lnTo>
                        <a:pt x="1350" y="660"/>
                      </a:lnTo>
                      <a:lnTo>
                        <a:pt x="1354" y="660"/>
                      </a:lnTo>
                      <a:lnTo>
                        <a:pt x="1358" y="656"/>
                      </a:lnTo>
                      <a:lnTo>
                        <a:pt x="1360" y="652"/>
                      </a:lnTo>
                      <a:lnTo>
                        <a:pt x="1364" y="652"/>
                      </a:lnTo>
                      <a:lnTo>
                        <a:pt x="1368" y="648"/>
                      </a:lnTo>
                      <a:lnTo>
                        <a:pt x="1372" y="648"/>
                      </a:lnTo>
                      <a:lnTo>
                        <a:pt x="1376" y="648"/>
                      </a:lnTo>
                      <a:lnTo>
                        <a:pt x="1380" y="646"/>
                      </a:lnTo>
                      <a:lnTo>
                        <a:pt x="1386" y="646"/>
                      </a:lnTo>
                      <a:lnTo>
                        <a:pt x="1390" y="642"/>
                      </a:lnTo>
                      <a:lnTo>
                        <a:pt x="1394" y="642"/>
                      </a:lnTo>
                      <a:lnTo>
                        <a:pt x="1398" y="638"/>
                      </a:lnTo>
                      <a:lnTo>
                        <a:pt x="1402" y="638"/>
                      </a:lnTo>
                      <a:lnTo>
                        <a:pt x="1402" y="634"/>
                      </a:lnTo>
                      <a:lnTo>
                        <a:pt x="1406" y="634"/>
                      </a:lnTo>
                      <a:lnTo>
                        <a:pt x="1402" y="634"/>
                      </a:lnTo>
                      <a:lnTo>
                        <a:pt x="1402" y="632"/>
                      </a:lnTo>
                      <a:lnTo>
                        <a:pt x="1402" y="628"/>
                      </a:lnTo>
                      <a:lnTo>
                        <a:pt x="1402" y="624"/>
                      </a:lnTo>
                      <a:lnTo>
                        <a:pt x="1406" y="620"/>
                      </a:lnTo>
                      <a:lnTo>
                        <a:pt x="1414" y="620"/>
                      </a:lnTo>
                      <a:lnTo>
                        <a:pt x="1416" y="620"/>
                      </a:lnTo>
                      <a:lnTo>
                        <a:pt x="1420" y="620"/>
                      </a:lnTo>
                      <a:lnTo>
                        <a:pt x="1424" y="620"/>
                      </a:lnTo>
                      <a:lnTo>
                        <a:pt x="1428" y="620"/>
                      </a:lnTo>
                      <a:lnTo>
                        <a:pt x="1432" y="620"/>
                      </a:lnTo>
                      <a:lnTo>
                        <a:pt x="1436" y="620"/>
                      </a:lnTo>
                      <a:lnTo>
                        <a:pt x="1436" y="616"/>
                      </a:lnTo>
                      <a:lnTo>
                        <a:pt x="1440" y="616"/>
                      </a:lnTo>
                      <a:lnTo>
                        <a:pt x="1440" y="612"/>
                      </a:lnTo>
                      <a:lnTo>
                        <a:pt x="1442" y="608"/>
                      </a:lnTo>
                      <a:lnTo>
                        <a:pt x="1446" y="608"/>
                      </a:lnTo>
                      <a:lnTo>
                        <a:pt x="1446" y="606"/>
                      </a:lnTo>
                      <a:lnTo>
                        <a:pt x="1450" y="606"/>
                      </a:lnTo>
                      <a:lnTo>
                        <a:pt x="1450" y="602"/>
                      </a:lnTo>
                      <a:lnTo>
                        <a:pt x="1454" y="598"/>
                      </a:lnTo>
                      <a:lnTo>
                        <a:pt x="1458" y="598"/>
                      </a:lnTo>
                      <a:lnTo>
                        <a:pt x="1458" y="594"/>
                      </a:lnTo>
                      <a:lnTo>
                        <a:pt x="1462" y="594"/>
                      </a:lnTo>
                      <a:lnTo>
                        <a:pt x="1466" y="594"/>
                      </a:lnTo>
                      <a:lnTo>
                        <a:pt x="1470" y="594"/>
                      </a:lnTo>
                      <a:lnTo>
                        <a:pt x="1476" y="594"/>
                      </a:lnTo>
                      <a:lnTo>
                        <a:pt x="1480" y="594"/>
                      </a:lnTo>
                      <a:lnTo>
                        <a:pt x="1484" y="594"/>
                      </a:lnTo>
                      <a:lnTo>
                        <a:pt x="1488" y="594"/>
                      </a:lnTo>
                      <a:lnTo>
                        <a:pt x="1492" y="594"/>
                      </a:lnTo>
                      <a:lnTo>
                        <a:pt x="1496" y="594"/>
                      </a:lnTo>
                      <a:lnTo>
                        <a:pt x="1498" y="594"/>
                      </a:lnTo>
                      <a:lnTo>
                        <a:pt x="1502" y="594"/>
                      </a:lnTo>
                      <a:lnTo>
                        <a:pt x="1506" y="594"/>
                      </a:lnTo>
                      <a:lnTo>
                        <a:pt x="1510" y="594"/>
                      </a:lnTo>
                      <a:lnTo>
                        <a:pt x="1510" y="590"/>
                      </a:lnTo>
                      <a:lnTo>
                        <a:pt x="1510" y="586"/>
                      </a:lnTo>
                      <a:lnTo>
                        <a:pt x="1514" y="586"/>
                      </a:lnTo>
                      <a:lnTo>
                        <a:pt x="1514" y="590"/>
                      </a:lnTo>
                      <a:lnTo>
                        <a:pt x="1514" y="586"/>
                      </a:lnTo>
                      <a:lnTo>
                        <a:pt x="1518" y="590"/>
                      </a:lnTo>
                      <a:lnTo>
                        <a:pt x="1522" y="586"/>
                      </a:lnTo>
                      <a:lnTo>
                        <a:pt x="1522" y="582"/>
                      </a:lnTo>
                      <a:lnTo>
                        <a:pt x="1522" y="578"/>
                      </a:lnTo>
                      <a:lnTo>
                        <a:pt x="1526" y="578"/>
                      </a:lnTo>
                      <a:lnTo>
                        <a:pt x="1526" y="576"/>
                      </a:lnTo>
                      <a:lnTo>
                        <a:pt x="1526" y="572"/>
                      </a:lnTo>
                      <a:lnTo>
                        <a:pt x="1526" y="568"/>
                      </a:lnTo>
                      <a:lnTo>
                        <a:pt x="1528" y="568"/>
                      </a:lnTo>
                      <a:lnTo>
                        <a:pt x="1528" y="564"/>
                      </a:lnTo>
                      <a:lnTo>
                        <a:pt x="1528" y="560"/>
                      </a:lnTo>
                      <a:lnTo>
                        <a:pt x="1532" y="556"/>
                      </a:lnTo>
                      <a:lnTo>
                        <a:pt x="1532" y="552"/>
                      </a:lnTo>
                      <a:lnTo>
                        <a:pt x="1536" y="552"/>
                      </a:lnTo>
                      <a:lnTo>
                        <a:pt x="1540" y="550"/>
                      </a:lnTo>
                      <a:lnTo>
                        <a:pt x="1540" y="546"/>
                      </a:lnTo>
                      <a:lnTo>
                        <a:pt x="1544" y="546"/>
                      </a:lnTo>
                      <a:lnTo>
                        <a:pt x="1544" y="550"/>
                      </a:lnTo>
                      <a:lnTo>
                        <a:pt x="1548" y="550"/>
                      </a:lnTo>
                      <a:lnTo>
                        <a:pt x="1552" y="550"/>
                      </a:lnTo>
                      <a:lnTo>
                        <a:pt x="1556" y="546"/>
                      </a:lnTo>
                      <a:lnTo>
                        <a:pt x="1558" y="550"/>
                      </a:lnTo>
                      <a:lnTo>
                        <a:pt x="1558" y="552"/>
                      </a:lnTo>
                      <a:lnTo>
                        <a:pt x="1562" y="552"/>
                      </a:lnTo>
                      <a:lnTo>
                        <a:pt x="1562" y="556"/>
                      </a:lnTo>
                      <a:lnTo>
                        <a:pt x="1562" y="568"/>
                      </a:lnTo>
                      <a:lnTo>
                        <a:pt x="1562" y="576"/>
                      </a:lnTo>
                      <a:lnTo>
                        <a:pt x="1562" y="578"/>
                      </a:lnTo>
                      <a:lnTo>
                        <a:pt x="1562" y="582"/>
                      </a:lnTo>
                      <a:lnTo>
                        <a:pt x="1566" y="582"/>
                      </a:lnTo>
                      <a:lnTo>
                        <a:pt x="1566" y="586"/>
                      </a:lnTo>
                      <a:lnTo>
                        <a:pt x="1566" y="590"/>
                      </a:lnTo>
                      <a:lnTo>
                        <a:pt x="1570" y="590"/>
                      </a:lnTo>
                      <a:lnTo>
                        <a:pt x="1570" y="594"/>
                      </a:lnTo>
                      <a:lnTo>
                        <a:pt x="1574" y="594"/>
                      </a:lnTo>
                      <a:lnTo>
                        <a:pt x="1570" y="594"/>
                      </a:lnTo>
                      <a:lnTo>
                        <a:pt x="1570" y="598"/>
                      </a:lnTo>
                      <a:lnTo>
                        <a:pt x="1574" y="598"/>
                      </a:lnTo>
                      <a:lnTo>
                        <a:pt x="1570" y="602"/>
                      </a:lnTo>
                      <a:lnTo>
                        <a:pt x="1566" y="602"/>
                      </a:lnTo>
                      <a:lnTo>
                        <a:pt x="1562" y="606"/>
                      </a:lnTo>
                      <a:lnTo>
                        <a:pt x="1562" y="602"/>
                      </a:lnTo>
                      <a:lnTo>
                        <a:pt x="1558" y="606"/>
                      </a:lnTo>
                      <a:lnTo>
                        <a:pt x="1558" y="608"/>
                      </a:lnTo>
                      <a:lnTo>
                        <a:pt x="1558" y="606"/>
                      </a:lnTo>
                      <a:lnTo>
                        <a:pt x="1556" y="606"/>
                      </a:lnTo>
                      <a:lnTo>
                        <a:pt x="1552" y="606"/>
                      </a:lnTo>
                      <a:lnTo>
                        <a:pt x="1552" y="608"/>
                      </a:lnTo>
                      <a:lnTo>
                        <a:pt x="1548" y="608"/>
                      </a:lnTo>
                      <a:lnTo>
                        <a:pt x="1548" y="606"/>
                      </a:lnTo>
                      <a:lnTo>
                        <a:pt x="1548" y="602"/>
                      </a:lnTo>
                      <a:lnTo>
                        <a:pt x="1548" y="606"/>
                      </a:lnTo>
                      <a:lnTo>
                        <a:pt x="1544" y="606"/>
                      </a:lnTo>
                      <a:lnTo>
                        <a:pt x="1544" y="608"/>
                      </a:lnTo>
                      <a:lnTo>
                        <a:pt x="1544" y="612"/>
                      </a:lnTo>
                      <a:lnTo>
                        <a:pt x="1540" y="616"/>
                      </a:lnTo>
                      <a:lnTo>
                        <a:pt x="1540" y="612"/>
                      </a:lnTo>
                      <a:lnTo>
                        <a:pt x="1536" y="616"/>
                      </a:lnTo>
                      <a:lnTo>
                        <a:pt x="1536" y="612"/>
                      </a:lnTo>
                      <a:lnTo>
                        <a:pt x="1536" y="616"/>
                      </a:lnTo>
                      <a:lnTo>
                        <a:pt x="1536" y="612"/>
                      </a:lnTo>
                      <a:lnTo>
                        <a:pt x="1536" y="616"/>
                      </a:lnTo>
                      <a:lnTo>
                        <a:pt x="1532" y="616"/>
                      </a:lnTo>
                      <a:lnTo>
                        <a:pt x="1536" y="616"/>
                      </a:lnTo>
                      <a:lnTo>
                        <a:pt x="1532" y="620"/>
                      </a:lnTo>
                      <a:lnTo>
                        <a:pt x="1532" y="616"/>
                      </a:lnTo>
                      <a:lnTo>
                        <a:pt x="1532" y="612"/>
                      </a:lnTo>
                      <a:lnTo>
                        <a:pt x="1532" y="616"/>
                      </a:lnTo>
                      <a:lnTo>
                        <a:pt x="1532" y="620"/>
                      </a:lnTo>
                      <a:lnTo>
                        <a:pt x="1532" y="616"/>
                      </a:lnTo>
                      <a:lnTo>
                        <a:pt x="1528" y="616"/>
                      </a:lnTo>
                      <a:lnTo>
                        <a:pt x="1528" y="620"/>
                      </a:lnTo>
                      <a:lnTo>
                        <a:pt x="1526" y="620"/>
                      </a:lnTo>
                      <a:lnTo>
                        <a:pt x="1528" y="620"/>
                      </a:lnTo>
                      <a:lnTo>
                        <a:pt x="1528" y="624"/>
                      </a:lnTo>
                      <a:lnTo>
                        <a:pt x="1526" y="624"/>
                      </a:lnTo>
                      <a:lnTo>
                        <a:pt x="1526" y="628"/>
                      </a:lnTo>
                      <a:lnTo>
                        <a:pt x="1522" y="628"/>
                      </a:lnTo>
                      <a:lnTo>
                        <a:pt x="1522" y="632"/>
                      </a:lnTo>
                      <a:lnTo>
                        <a:pt x="1522" y="634"/>
                      </a:lnTo>
                      <a:lnTo>
                        <a:pt x="1518" y="634"/>
                      </a:lnTo>
                      <a:lnTo>
                        <a:pt x="1518" y="638"/>
                      </a:lnTo>
                      <a:lnTo>
                        <a:pt x="1522" y="642"/>
                      </a:lnTo>
                      <a:lnTo>
                        <a:pt x="1522" y="638"/>
                      </a:lnTo>
                      <a:lnTo>
                        <a:pt x="1522" y="642"/>
                      </a:lnTo>
                      <a:lnTo>
                        <a:pt x="1518" y="642"/>
                      </a:lnTo>
                      <a:lnTo>
                        <a:pt x="1514" y="646"/>
                      </a:lnTo>
                      <a:lnTo>
                        <a:pt x="1518" y="648"/>
                      </a:lnTo>
                      <a:lnTo>
                        <a:pt x="1522" y="648"/>
                      </a:lnTo>
                      <a:lnTo>
                        <a:pt x="1522" y="652"/>
                      </a:lnTo>
                      <a:lnTo>
                        <a:pt x="1522" y="656"/>
                      </a:lnTo>
                      <a:lnTo>
                        <a:pt x="1526" y="656"/>
                      </a:lnTo>
                      <a:lnTo>
                        <a:pt x="1526" y="660"/>
                      </a:lnTo>
                      <a:lnTo>
                        <a:pt x="1528" y="656"/>
                      </a:lnTo>
                      <a:lnTo>
                        <a:pt x="1528" y="652"/>
                      </a:lnTo>
                      <a:lnTo>
                        <a:pt x="1526" y="652"/>
                      </a:lnTo>
                      <a:lnTo>
                        <a:pt x="1528" y="652"/>
                      </a:lnTo>
                      <a:lnTo>
                        <a:pt x="1532" y="652"/>
                      </a:lnTo>
                      <a:lnTo>
                        <a:pt x="1532" y="656"/>
                      </a:lnTo>
                      <a:lnTo>
                        <a:pt x="1532" y="660"/>
                      </a:lnTo>
                      <a:lnTo>
                        <a:pt x="1528" y="660"/>
                      </a:lnTo>
                      <a:lnTo>
                        <a:pt x="1526" y="660"/>
                      </a:lnTo>
                      <a:lnTo>
                        <a:pt x="1522" y="660"/>
                      </a:lnTo>
                      <a:lnTo>
                        <a:pt x="1522" y="656"/>
                      </a:lnTo>
                      <a:lnTo>
                        <a:pt x="1518" y="660"/>
                      </a:lnTo>
                      <a:lnTo>
                        <a:pt x="1514" y="664"/>
                      </a:lnTo>
                      <a:lnTo>
                        <a:pt x="1514" y="660"/>
                      </a:lnTo>
                      <a:lnTo>
                        <a:pt x="1514" y="656"/>
                      </a:lnTo>
                      <a:lnTo>
                        <a:pt x="1514" y="660"/>
                      </a:lnTo>
                      <a:lnTo>
                        <a:pt x="1510" y="660"/>
                      </a:lnTo>
                      <a:lnTo>
                        <a:pt x="1510" y="656"/>
                      </a:lnTo>
                      <a:lnTo>
                        <a:pt x="1510" y="660"/>
                      </a:lnTo>
                      <a:lnTo>
                        <a:pt x="1510" y="664"/>
                      </a:lnTo>
                      <a:lnTo>
                        <a:pt x="1506" y="664"/>
                      </a:lnTo>
                      <a:lnTo>
                        <a:pt x="1506" y="668"/>
                      </a:lnTo>
                      <a:lnTo>
                        <a:pt x="1502" y="668"/>
                      </a:lnTo>
                      <a:lnTo>
                        <a:pt x="1502" y="664"/>
                      </a:lnTo>
                      <a:lnTo>
                        <a:pt x="1498" y="668"/>
                      </a:lnTo>
                      <a:lnTo>
                        <a:pt x="1496" y="668"/>
                      </a:lnTo>
                      <a:lnTo>
                        <a:pt x="1492" y="668"/>
                      </a:lnTo>
                      <a:lnTo>
                        <a:pt x="1488" y="668"/>
                      </a:lnTo>
                      <a:lnTo>
                        <a:pt x="1484" y="668"/>
                      </a:lnTo>
                      <a:lnTo>
                        <a:pt x="1484" y="672"/>
                      </a:lnTo>
                      <a:lnTo>
                        <a:pt x="1480" y="672"/>
                      </a:lnTo>
                      <a:lnTo>
                        <a:pt x="1476" y="672"/>
                      </a:lnTo>
                      <a:lnTo>
                        <a:pt x="1476" y="676"/>
                      </a:lnTo>
                      <a:lnTo>
                        <a:pt x="1472" y="676"/>
                      </a:lnTo>
                      <a:lnTo>
                        <a:pt x="1476" y="676"/>
                      </a:lnTo>
                      <a:lnTo>
                        <a:pt x="1476" y="672"/>
                      </a:lnTo>
                      <a:lnTo>
                        <a:pt x="1476" y="668"/>
                      </a:lnTo>
                      <a:lnTo>
                        <a:pt x="1472" y="668"/>
                      </a:lnTo>
                      <a:lnTo>
                        <a:pt x="1476" y="668"/>
                      </a:lnTo>
                      <a:lnTo>
                        <a:pt x="1476" y="672"/>
                      </a:lnTo>
                      <a:lnTo>
                        <a:pt x="1472" y="676"/>
                      </a:lnTo>
                      <a:lnTo>
                        <a:pt x="1472" y="678"/>
                      </a:lnTo>
                      <a:lnTo>
                        <a:pt x="1470" y="678"/>
                      </a:lnTo>
                      <a:lnTo>
                        <a:pt x="1470" y="682"/>
                      </a:lnTo>
                      <a:lnTo>
                        <a:pt x="1472" y="682"/>
                      </a:lnTo>
                      <a:lnTo>
                        <a:pt x="1472" y="686"/>
                      </a:lnTo>
                      <a:lnTo>
                        <a:pt x="1472" y="690"/>
                      </a:lnTo>
                      <a:lnTo>
                        <a:pt x="1472" y="698"/>
                      </a:lnTo>
                      <a:lnTo>
                        <a:pt x="1472" y="694"/>
                      </a:lnTo>
                      <a:lnTo>
                        <a:pt x="1472" y="690"/>
                      </a:lnTo>
                      <a:lnTo>
                        <a:pt x="1472" y="694"/>
                      </a:lnTo>
                      <a:lnTo>
                        <a:pt x="1472" y="698"/>
                      </a:lnTo>
                      <a:lnTo>
                        <a:pt x="1470" y="698"/>
                      </a:lnTo>
                      <a:lnTo>
                        <a:pt x="1470" y="702"/>
                      </a:lnTo>
                      <a:lnTo>
                        <a:pt x="1466" y="702"/>
                      </a:lnTo>
                      <a:lnTo>
                        <a:pt x="1466" y="706"/>
                      </a:lnTo>
                      <a:lnTo>
                        <a:pt x="1470" y="706"/>
                      </a:lnTo>
                      <a:lnTo>
                        <a:pt x="1466" y="706"/>
                      </a:lnTo>
                      <a:lnTo>
                        <a:pt x="1466" y="708"/>
                      </a:lnTo>
                      <a:lnTo>
                        <a:pt x="1462" y="708"/>
                      </a:lnTo>
                      <a:lnTo>
                        <a:pt x="1462" y="712"/>
                      </a:lnTo>
                      <a:lnTo>
                        <a:pt x="1462" y="708"/>
                      </a:lnTo>
                      <a:lnTo>
                        <a:pt x="1458" y="708"/>
                      </a:lnTo>
                      <a:lnTo>
                        <a:pt x="1458" y="706"/>
                      </a:lnTo>
                      <a:lnTo>
                        <a:pt x="1454" y="706"/>
                      </a:lnTo>
                      <a:lnTo>
                        <a:pt x="1450" y="702"/>
                      </a:lnTo>
                      <a:lnTo>
                        <a:pt x="1450" y="698"/>
                      </a:lnTo>
                      <a:lnTo>
                        <a:pt x="1454" y="698"/>
                      </a:lnTo>
                      <a:lnTo>
                        <a:pt x="1454" y="694"/>
                      </a:lnTo>
                      <a:lnTo>
                        <a:pt x="1458" y="694"/>
                      </a:lnTo>
                      <a:lnTo>
                        <a:pt x="1458" y="690"/>
                      </a:lnTo>
                      <a:lnTo>
                        <a:pt x="1458" y="694"/>
                      </a:lnTo>
                      <a:lnTo>
                        <a:pt x="1454" y="694"/>
                      </a:lnTo>
                      <a:lnTo>
                        <a:pt x="1454" y="698"/>
                      </a:lnTo>
                      <a:lnTo>
                        <a:pt x="1450" y="698"/>
                      </a:lnTo>
                      <a:lnTo>
                        <a:pt x="1450" y="702"/>
                      </a:lnTo>
                      <a:lnTo>
                        <a:pt x="1454" y="706"/>
                      </a:lnTo>
                      <a:lnTo>
                        <a:pt x="1454" y="708"/>
                      </a:lnTo>
                      <a:lnTo>
                        <a:pt x="1454" y="712"/>
                      </a:lnTo>
                      <a:lnTo>
                        <a:pt x="1458" y="716"/>
                      </a:lnTo>
                      <a:lnTo>
                        <a:pt x="1458" y="720"/>
                      </a:lnTo>
                      <a:lnTo>
                        <a:pt x="1458" y="724"/>
                      </a:lnTo>
                      <a:lnTo>
                        <a:pt x="1458" y="720"/>
                      </a:lnTo>
                      <a:lnTo>
                        <a:pt x="1458" y="724"/>
                      </a:lnTo>
                      <a:lnTo>
                        <a:pt x="1458" y="728"/>
                      </a:lnTo>
                      <a:lnTo>
                        <a:pt x="1454" y="728"/>
                      </a:lnTo>
                      <a:lnTo>
                        <a:pt x="1454" y="732"/>
                      </a:lnTo>
                      <a:lnTo>
                        <a:pt x="1454" y="734"/>
                      </a:lnTo>
                      <a:lnTo>
                        <a:pt x="1450" y="734"/>
                      </a:lnTo>
                      <a:lnTo>
                        <a:pt x="1450" y="738"/>
                      </a:lnTo>
                      <a:lnTo>
                        <a:pt x="1446" y="742"/>
                      </a:lnTo>
                      <a:lnTo>
                        <a:pt x="1446" y="746"/>
                      </a:lnTo>
                      <a:lnTo>
                        <a:pt x="1446" y="742"/>
                      </a:lnTo>
                      <a:lnTo>
                        <a:pt x="1446" y="738"/>
                      </a:lnTo>
                      <a:lnTo>
                        <a:pt x="1446" y="734"/>
                      </a:lnTo>
                      <a:lnTo>
                        <a:pt x="1450" y="734"/>
                      </a:lnTo>
                      <a:lnTo>
                        <a:pt x="1450" y="732"/>
                      </a:lnTo>
                      <a:lnTo>
                        <a:pt x="1446" y="732"/>
                      </a:lnTo>
                      <a:lnTo>
                        <a:pt x="1446" y="728"/>
                      </a:lnTo>
                      <a:lnTo>
                        <a:pt x="1446" y="724"/>
                      </a:lnTo>
                      <a:lnTo>
                        <a:pt x="1446" y="728"/>
                      </a:lnTo>
                      <a:lnTo>
                        <a:pt x="1442" y="728"/>
                      </a:lnTo>
                      <a:lnTo>
                        <a:pt x="1442" y="724"/>
                      </a:lnTo>
                      <a:lnTo>
                        <a:pt x="1440" y="720"/>
                      </a:lnTo>
                      <a:lnTo>
                        <a:pt x="1442" y="720"/>
                      </a:lnTo>
                      <a:lnTo>
                        <a:pt x="1446" y="720"/>
                      </a:lnTo>
                      <a:lnTo>
                        <a:pt x="1446" y="716"/>
                      </a:lnTo>
                      <a:lnTo>
                        <a:pt x="1446" y="720"/>
                      </a:lnTo>
                      <a:lnTo>
                        <a:pt x="1442" y="720"/>
                      </a:lnTo>
                      <a:lnTo>
                        <a:pt x="1442" y="716"/>
                      </a:lnTo>
                      <a:lnTo>
                        <a:pt x="1440" y="716"/>
                      </a:lnTo>
                      <a:lnTo>
                        <a:pt x="1442" y="712"/>
                      </a:lnTo>
                      <a:lnTo>
                        <a:pt x="1442" y="716"/>
                      </a:lnTo>
                      <a:lnTo>
                        <a:pt x="1442" y="712"/>
                      </a:lnTo>
                      <a:lnTo>
                        <a:pt x="1440" y="712"/>
                      </a:lnTo>
                      <a:lnTo>
                        <a:pt x="1440" y="708"/>
                      </a:lnTo>
                      <a:lnTo>
                        <a:pt x="1442" y="712"/>
                      </a:lnTo>
                      <a:lnTo>
                        <a:pt x="1442" y="708"/>
                      </a:lnTo>
                      <a:lnTo>
                        <a:pt x="1442" y="706"/>
                      </a:lnTo>
                      <a:lnTo>
                        <a:pt x="1446" y="706"/>
                      </a:lnTo>
                      <a:lnTo>
                        <a:pt x="1446" y="702"/>
                      </a:lnTo>
                      <a:lnTo>
                        <a:pt x="1446" y="698"/>
                      </a:lnTo>
                      <a:lnTo>
                        <a:pt x="1442" y="702"/>
                      </a:lnTo>
                      <a:lnTo>
                        <a:pt x="1442" y="706"/>
                      </a:lnTo>
                      <a:lnTo>
                        <a:pt x="1442" y="702"/>
                      </a:lnTo>
                      <a:lnTo>
                        <a:pt x="1440" y="706"/>
                      </a:lnTo>
                      <a:lnTo>
                        <a:pt x="1440" y="706"/>
                      </a:lnTo>
                      <a:lnTo>
                        <a:pt x="1440" y="706"/>
                      </a:lnTo>
                      <a:close/>
                      <a:moveTo>
                        <a:pt x="780" y="520"/>
                      </a:moveTo>
                      <a:lnTo>
                        <a:pt x="780" y="522"/>
                      </a:lnTo>
                      <a:lnTo>
                        <a:pt x="780" y="520"/>
                      </a:lnTo>
                      <a:lnTo>
                        <a:pt x="780" y="520"/>
                      </a:lnTo>
                      <a:lnTo>
                        <a:pt x="780" y="520"/>
                      </a:lnTo>
                      <a:close/>
                      <a:moveTo>
                        <a:pt x="824" y="806"/>
                      </a:moveTo>
                      <a:lnTo>
                        <a:pt x="828" y="806"/>
                      </a:lnTo>
                      <a:lnTo>
                        <a:pt x="824" y="806"/>
                      </a:lnTo>
                      <a:lnTo>
                        <a:pt x="824" y="806"/>
                      </a:lnTo>
                      <a:lnTo>
                        <a:pt x="824" y="806"/>
                      </a:lnTo>
                      <a:close/>
                      <a:moveTo>
                        <a:pt x="192" y="120"/>
                      </a:moveTo>
                      <a:lnTo>
                        <a:pt x="188" y="120"/>
                      </a:lnTo>
                      <a:lnTo>
                        <a:pt x="180" y="124"/>
                      </a:lnTo>
                      <a:lnTo>
                        <a:pt x="184" y="120"/>
                      </a:lnTo>
                      <a:lnTo>
                        <a:pt x="188" y="120"/>
                      </a:lnTo>
                      <a:lnTo>
                        <a:pt x="192" y="120"/>
                      </a:lnTo>
                      <a:lnTo>
                        <a:pt x="192" y="120"/>
                      </a:lnTo>
                      <a:lnTo>
                        <a:pt x="192" y="120"/>
                      </a:lnTo>
                      <a:close/>
                      <a:moveTo>
                        <a:pt x="168" y="128"/>
                      </a:moveTo>
                      <a:lnTo>
                        <a:pt x="166" y="132"/>
                      </a:lnTo>
                      <a:lnTo>
                        <a:pt x="166" y="128"/>
                      </a:lnTo>
                      <a:lnTo>
                        <a:pt x="168" y="128"/>
                      </a:lnTo>
                      <a:lnTo>
                        <a:pt x="168" y="128"/>
                      </a:lnTo>
                      <a:lnTo>
                        <a:pt x="168" y="128"/>
                      </a:lnTo>
                      <a:close/>
                      <a:moveTo>
                        <a:pt x="224" y="192"/>
                      </a:moveTo>
                      <a:lnTo>
                        <a:pt x="222" y="192"/>
                      </a:lnTo>
                      <a:lnTo>
                        <a:pt x="224" y="192"/>
                      </a:lnTo>
                      <a:lnTo>
                        <a:pt x="224" y="192"/>
                      </a:lnTo>
                      <a:lnTo>
                        <a:pt x="224" y="192"/>
                      </a:lnTo>
                      <a:close/>
                      <a:moveTo>
                        <a:pt x="426" y="258"/>
                      </a:moveTo>
                      <a:lnTo>
                        <a:pt x="426" y="262"/>
                      </a:lnTo>
                      <a:lnTo>
                        <a:pt x="426" y="258"/>
                      </a:lnTo>
                      <a:lnTo>
                        <a:pt x="422" y="258"/>
                      </a:lnTo>
                      <a:lnTo>
                        <a:pt x="426" y="258"/>
                      </a:lnTo>
                      <a:lnTo>
                        <a:pt x="426" y="258"/>
                      </a:lnTo>
                      <a:lnTo>
                        <a:pt x="426" y="258"/>
                      </a:lnTo>
                      <a:close/>
                      <a:moveTo>
                        <a:pt x="82" y="268"/>
                      </a:moveTo>
                      <a:lnTo>
                        <a:pt x="82" y="266"/>
                      </a:lnTo>
                      <a:lnTo>
                        <a:pt x="80" y="266"/>
                      </a:lnTo>
                      <a:lnTo>
                        <a:pt x="76" y="266"/>
                      </a:lnTo>
                      <a:lnTo>
                        <a:pt x="72" y="262"/>
                      </a:lnTo>
                      <a:lnTo>
                        <a:pt x="76" y="262"/>
                      </a:lnTo>
                      <a:lnTo>
                        <a:pt x="76" y="266"/>
                      </a:lnTo>
                      <a:lnTo>
                        <a:pt x="80" y="266"/>
                      </a:lnTo>
                      <a:lnTo>
                        <a:pt x="82" y="266"/>
                      </a:lnTo>
                      <a:lnTo>
                        <a:pt x="82" y="268"/>
                      </a:lnTo>
                      <a:lnTo>
                        <a:pt x="82" y="268"/>
                      </a:lnTo>
                      <a:lnTo>
                        <a:pt x="82" y="268"/>
                      </a:lnTo>
                      <a:close/>
                      <a:moveTo>
                        <a:pt x="466" y="266"/>
                      </a:moveTo>
                      <a:lnTo>
                        <a:pt x="466" y="268"/>
                      </a:lnTo>
                      <a:lnTo>
                        <a:pt x="466" y="266"/>
                      </a:lnTo>
                      <a:lnTo>
                        <a:pt x="466" y="266"/>
                      </a:lnTo>
                      <a:lnTo>
                        <a:pt x="466" y="266"/>
                      </a:lnTo>
                      <a:close/>
                      <a:moveTo>
                        <a:pt x="426" y="266"/>
                      </a:moveTo>
                      <a:lnTo>
                        <a:pt x="426" y="268"/>
                      </a:lnTo>
                      <a:lnTo>
                        <a:pt x="426" y="266"/>
                      </a:lnTo>
                      <a:lnTo>
                        <a:pt x="426" y="266"/>
                      </a:lnTo>
                      <a:lnTo>
                        <a:pt x="426" y="266"/>
                      </a:lnTo>
                      <a:close/>
                      <a:moveTo>
                        <a:pt x="426" y="268"/>
                      </a:moveTo>
                      <a:lnTo>
                        <a:pt x="426" y="272"/>
                      </a:lnTo>
                      <a:lnTo>
                        <a:pt x="422" y="272"/>
                      </a:lnTo>
                      <a:lnTo>
                        <a:pt x="426" y="272"/>
                      </a:lnTo>
                      <a:lnTo>
                        <a:pt x="426" y="268"/>
                      </a:lnTo>
                      <a:lnTo>
                        <a:pt x="426" y="268"/>
                      </a:lnTo>
                      <a:lnTo>
                        <a:pt x="426" y="268"/>
                      </a:lnTo>
                      <a:close/>
                      <a:moveTo>
                        <a:pt x="482" y="276"/>
                      </a:moveTo>
                      <a:lnTo>
                        <a:pt x="478" y="276"/>
                      </a:lnTo>
                      <a:lnTo>
                        <a:pt x="474" y="276"/>
                      </a:lnTo>
                      <a:lnTo>
                        <a:pt x="474" y="280"/>
                      </a:lnTo>
                      <a:lnTo>
                        <a:pt x="474" y="276"/>
                      </a:lnTo>
                      <a:lnTo>
                        <a:pt x="478" y="276"/>
                      </a:lnTo>
                      <a:lnTo>
                        <a:pt x="478" y="272"/>
                      </a:lnTo>
                      <a:lnTo>
                        <a:pt x="482" y="272"/>
                      </a:lnTo>
                      <a:lnTo>
                        <a:pt x="482" y="276"/>
                      </a:lnTo>
                      <a:lnTo>
                        <a:pt x="482" y="276"/>
                      </a:lnTo>
                      <a:lnTo>
                        <a:pt x="482" y="276"/>
                      </a:lnTo>
                      <a:close/>
                      <a:moveTo>
                        <a:pt x="244" y="306"/>
                      </a:moveTo>
                      <a:lnTo>
                        <a:pt x="244" y="302"/>
                      </a:lnTo>
                      <a:lnTo>
                        <a:pt x="248" y="302"/>
                      </a:lnTo>
                      <a:lnTo>
                        <a:pt x="244" y="306"/>
                      </a:lnTo>
                      <a:lnTo>
                        <a:pt x="244" y="306"/>
                      </a:lnTo>
                      <a:lnTo>
                        <a:pt x="244" y="306"/>
                      </a:lnTo>
                      <a:close/>
                      <a:moveTo>
                        <a:pt x="620" y="314"/>
                      </a:moveTo>
                      <a:lnTo>
                        <a:pt x="616" y="314"/>
                      </a:lnTo>
                      <a:lnTo>
                        <a:pt x="616" y="310"/>
                      </a:lnTo>
                      <a:lnTo>
                        <a:pt x="620" y="314"/>
                      </a:lnTo>
                      <a:lnTo>
                        <a:pt x="620" y="314"/>
                      </a:lnTo>
                      <a:lnTo>
                        <a:pt x="620" y="314"/>
                      </a:lnTo>
                      <a:close/>
                      <a:moveTo>
                        <a:pt x="112" y="340"/>
                      </a:moveTo>
                      <a:lnTo>
                        <a:pt x="110" y="340"/>
                      </a:lnTo>
                      <a:lnTo>
                        <a:pt x="110" y="336"/>
                      </a:lnTo>
                      <a:lnTo>
                        <a:pt x="112" y="336"/>
                      </a:lnTo>
                      <a:lnTo>
                        <a:pt x="112" y="340"/>
                      </a:lnTo>
                      <a:lnTo>
                        <a:pt x="112" y="340"/>
                      </a:lnTo>
                      <a:lnTo>
                        <a:pt x="112" y="340"/>
                      </a:lnTo>
                      <a:close/>
                      <a:moveTo>
                        <a:pt x="120" y="350"/>
                      </a:moveTo>
                      <a:lnTo>
                        <a:pt x="124" y="350"/>
                      </a:lnTo>
                      <a:lnTo>
                        <a:pt x="120" y="350"/>
                      </a:lnTo>
                      <a:lnTo>
                        <a:pt x="120" y="350"/>
                      </a:lnTo>
                      <a:lnTo>
                        <a:pt x="120" y="350"/>
                      </a:lnTo>
                      <a:close/>
                      <a:moveTo>
                        <a:pt x="340" y="350"/>
                      </a:moveTo>
                      <a:lnTo>
                        <a:pt x="336" y="350"/>
                      </a:lnTo>
                      <a:lnTo>
                        <a:pt x="340" y="350"/>
                      </a:lnTo>
                      <a:lnTo>
                        <a:pt x="340" y="350"/>
                      </a:lnTo>
                      <a:lnTo>
                        <a:pt x="340" y="350"/>
                      </a:lnTo>
                      <a:close/>
                      <a:moveTo>
                        <a:pt x="344" y="350"/>
                      </a:moveTo>
                      <a:lnTo>
                        <a:pt x="340" y="350"/>
                      </a:lnTo>
                      <a:lnTo>
                        <a:pt x="344" y="350"/>
                      </a:lnTo>
                      <a:lnTo>
                        <a:pt x="344" y="350"/>
                      </a:lnTo>
                      <a:lnTo>
                        <a:pt x="344" y="350"/>
                      </a:lnTo>
                      <a:close/>
                      <a:moveTo>
                        <a:pt x="322" y="366"/>
                      </a:moveTo>
                      <a:lnTo>
                        <a:pt x="322" y="370"/>
                      </a:lnTo>
                      <a:lnTo>
                        <a:pt x="318" y="370"/>
                      </a:lnTo>
                      <a:lnTo>
                        <a:pt x="318" y="366"/>
                      </a:lnTo>
                      <a:lnTo>
                        <a:pt x="322" y="366"/>
                      </a:lnTo>
                      <a:lnTo>
                        <a:pt x="322" y="366"/>
                      </a:lnTo>
                      <a:lnTo>
                        <a:pt x="322" y="366"/>
                      </a:lnTo>
                      <a:close/>
                      <a:moveTo>
                        <a:pt x="634" y="366"/>
                      </a:moveTo>
                      <a:lnTo>
                        <a:pt x="634" y="370"/>
                      </a:lnTo>
                      <a:lnTo>
                        <a:pt x="634" y="366"/>
                      </a:lnTo>
                      <a:lnTo>
                        <a:pt x="634" y="366"/>
                      </a:lnTo>
                      <a:lnTo>
                        <a:pt x="634" y="366"/>
                      </a:lnTo>
                      <a:close/>
                      <a:moveTo>
                        <a:pt x="1472" y="678"/>
                      </a:moveTo>
                      <a:lnTo>
                        <a:pt x="1472" y="682"/>
                      </a:lnTo>
                      <a:lnTo>
                        <a:pt x="1470" y="682"/>
                      </a:lnTo>
                      <a:lnTo>
                        <a:pt x="1470" y="678"/>
                      </a:lnTo>
                      <a:lnTo>
                        <a:pt x="1472" y="678"/>
                      </a:lnTo>
                      <a:lnTo>
                        <a:pt x="1472" y="678"/>
                      </a:lnTo>
                      <a:lnTo>
                        <a:pt x="1472" y="678"/>
                      </a:lnTo>
                      <a:close/>
                      <a:moveTo>
                        <a:pt x="1450" y="784"/>
                      </a:moveTo>
                      <a:lnTo>
                        <a:pt x="1450" y="780"/>
                      </a:lnTo>
                      <a:lnTo>
                        <a:pt x="1454" y="780"/>
                      </a:lnTo>
                      <a:lnTo>
                        <a:pt x="1454" y="776"/>
                      </a:lnTo>
                      <a:lnTo>
                        <a:pt x="1450" y="772"/>
                      </a:lnTo>
                      <a:lnTo>
                        <a:pt x="1454" y="772"/>
                      </a:lnTo>
                      <a:lnTo>
                        <a:pt x="1454" y="776"/>
                      </a:lnTo>
                      <a:lnTo>
                        <a:pt x="1454" y="780"/>
                      </a:lnTo>
                      <a:lnTo>
                        <a:pt x="1450" y="784"/>
                      </a:lnTo>
                      <a:lnTo>
                        <a:pt x="1450" y="784"/>
                      </a:lnTo>
                      <a:lnTo>
                        <a:pt x="1450" y="784"/>
                      </a:lnTo>
                      <a:close/>
                      <a:moveTo>
                        <a:pt x="1380" y="910"/>
                      </a:moveTo>
                      <a:lnTo>
                        <a:pt x="1380" y="906"/>
                      </a:lnTo>
                      <a:lnTo>
                        <a:pt x="1380" y="910"/>
                      </a:lnTo>
                      <a:lnTo>
                        <a:pt x="1380" y="910"/>
                      </a:lnTo>
                      <a:lnTo>
                        <a:pt x="1380" y="910"/>
                      </a:lnTo>
                      <a:close/>
                      <a:moveTo>
                        <a:pt x="1384" y="918"/>
                      </a:moveTo>
                      <a:lnTo>
                        <a:pt x="1384" y="922"/>
                      </a:lnTo>
                      <a:lnTo>
                        <a:pt x="1384" y="926"/>
                      </a:lnTo>
                      <a:lnTo>
                        <a:pt x="1386" y="930"/>
                      </a:lnTo>
                      <a:lnTo>
                        <a:pt x="1386" y="932"/>
                      </a:lnTo>
                      <a:lnTo>
                        <a:pt x="1386" y="930"/>
                      </a:lnTo>
                      <a:lnTo>
                        <a:pt x="1384" y="926"/>
                      </a:lnTo>
                      <a:lnTo>
                        <a:pt x="1384" y="922"/>
                      </a:lnTo>
                      <a:lnTo>
                        <a:pt x="1384" y="918"/>
                      </a:lnTo>
                      <a:lnTo>
                        <a:pt x="1384" y="918"/>
                      </a:lnTo>
                      <a:lnTo>
                        <a:pt x="1384" y="918"/>
                      </a:lnTo>
                      <a:close/>
                      <a:moveTo>
                        <a:pt x="1144" y="926"/>
                      </a:moveTo>
                      <a:lnTo>
                        <a:pt x="1144" y="930"/>
                      </a:lnTo>
                      <a:lnTo>
                        <a:pt x="1142" y="930"/>
                      </a:lnTo>
                      <a:lnTo>
                        <a:pt x="1144" y="926"/>
                      </a:lnTo>
                      <a:lnTo>
                        <a:pt x="1144" y="922"/>
                      </a:lnTo>
                      <a:lnTo>
                        <a:pt x="1148" y="918"/>
                      </a:lnTo>
                      <a:lnTo>
                        <a:pt x="1148" y="922"/>
                      </a:lnTo>
                      <a:lnTo>
                        <a:pt x="1144" y="922"/>
                      </a:lnTo>
                      <a:lnTo>
                        <a:pt x="1144" y="926"/>
                      </a:lnTo>
                      <a:lnTo>
                        <a:pt x="1144" y="926"/>
                      </a:lnTo>
                      <a:lnTo>
                        <a:pt x="1144" y="926"/>
                      </a:lnTo>
                      <a:close/>
                      <a:moveTo>
                        <a:pt x="1144" y="940"/>
                      </a:moveTo>
                      <a:lnTo>
                        <a:pt x="1144" y="936"/>
                      </a:lnTo>
                      <a:lnTo>
                        <a:pt x="1142" y="936"/>
                      </a:lnTo>
                      <a:lnTo>
                        <a:pt x="1142" y="932"/>
                      </a:lnTo>
                      <a:lnTo>
                        <a:pt x="1142" y="930"/>
                      </a:lnTo>
                      <a:lnTo>
                        <a:pt x="1142" y="932"/>
                      </a:lnTo>
                      <a:lnTo>
                        <a:pt x="1144" y="936"/>
                      </a:lnTo>
                      <a:lnTo>
                        <a:pt x="1144" y="940"/>
                      </a:lnTo>
                      <a:lnTo>
                        <a:pt x="1144" y="944"/>
                      </a:lnTo>
                      <a:lnTo>
                        <a:pt x="1144" y="948"/>
                      </a:lnTo>
                      <a:lnTo>
                        <a:pt x="1144" y="952"/>
                      </a:lnTo>
                      <a:lnTo>
                        <a:pt x="1144" y="948"/>
                      </a:lnTo>
                      <a:lnTo>
                        <a:pt x="1144" y="944"/>
                      </a:lnTo>
                      <a:lnTo>
                        <a:pt x="1144" y="940"/>
                      </a:lnTo>
                      <a:lnTo>
                        <a:pt x="1144" y="940"/>
                      </a:lnTo>
                      <a:lnTo>
                        <a:pt x="1144" y="940"/>
                      </a:lnTo>
                      <a:close/>
                      <a:moveTo>
                        <a:pt x="132" y="202"/>
                      </a:moveTo>
                      <a:lnTo>
                        <a:pt x="128" y="202"/>
                      </a:lnTo>
                      <a:lnTo>
                        <a:pt x="124" y="202"/>
                      </a:lnTo>
                      <a:lnTo>
                        <a:pt x="120" y="206"/>
                      </a:lnTo>
                      <a:lnTo>
                        <a:pt x="120" y="202"/>
                      </a:lnTo>
                      <a:lnTo>
                        <a:pt x="116" y="202"/>
                      </a:lnTo>
                      <a:lnTo>
                        <a:pt x="112" y="202"/>
                      </a:lnTo>
                      <a:lnTo>
                        <a:pt x="112" y="198"/>
                      </a:lnTo>
                      <a:lnTo>
                        <a:pt x="110" y="194"/>
                      </a:lnTo>
                      <a:lnTo>
                        <a:pt x="106" y="194"/>
                      </a:lnTo>
                      <a:lnTo>
                        <a:pt x="102" y="194"/>
                      </a:lnTo>
                      <a:lnTo>
                        <a:pt x="106" y="194"/>
                      </a:lnTo>
                      <a:lnTo>
                        <a:pt x="110" y="194"/>
                      </a:lnTo>
                      <a:lnTo>
                        <a:pt x="110" y="198"/>
                      </a:lnTo>
                      <a:lnTo>
                        <a:pt x="112" y="198"/>
                      </a:lnTo>
                      <a:lnTo>
                        <a:pt x="110" y="198"/>
                      </a:lnTo>
                      <a:lnTo>
                        <a:pt x="106" y="194"/>
                      </a:lnTo>
                      <a:lnTo>
                        <a:pt x="102" y="194"/>
                      </a:lnTo>
                      <a:lnTo>
                        <a:pt x="98" y="194"/>
                      </a:lnTo>
                      <a:lnTo>
                        <a:pt x="98" y="198"/>
                      </a:lnTo>
                      <a:lnTo>
                        <a:pt x="94" y="198"/>
                      </a:lnTo>
                      <a:lnTo>
                        <a:pt x="90" y="198"/>
                      </a:lnTo>
                      <a:lnTo>
                        <a:pt x="90" y="194"/>
                      </a:lnTo>
                      <a:lnTo>
                        <a:pt x="90" y="192"/>
                      </a:lnTo>
                      <a:lnTo>
                        <a:pt x="90" y="188"/>
                      </a:lnTo>
                      <a:lnTo>
                        <a:pt x="94" y="188"/>
                      </a:lnTo>
                      <a:lnTo>
                        <a:pt x="94" y="192"/>
                      </a:lnTo>
                      <a:lnTo>
                        <a:pt x="98" y="192"/>
                      </a:lnTo>
                      <a:lnTo>
                        <a:pt x="102" y="192"/>
                      </a:lnTo>
                      <a:lnTo>
                        <a:pt x="106" y="192"/>
                      </a:lnTo>
                      <a:lnTo>
                        <a:pt x="110" y="188"/>
                      </a:lnTo>
                      <a:lnTo>
                        <a:pt x="112" y="188"/>
                      </a:lnTo>
                      <a:lnTo>
                        <a:pt x="112" y="192"/>
                      </a:lnTo>
                      <a:lnTo>
                        <a:pt x="116" y="192"/>
                      </a:lnTo>
                      <a:lnTo>
                        <a:pt x="116" y="194"/>
                      </a:lnTo>
                      <a:lnTo>
                        <a:pt x="120" y="194"/>
                      </a:lnTo>
                      <a:lnTo>
                        <a:pt x="124" y="194"/>
                      </a:lnTo>
                      <a:lnTo>
                        <a:pt x="124" y="198"/>
                      </a:lnTo>
                      <a:lnTo>
                        <a:pt x="128" y="198"/>
                      </a:lnTo>
                      <a:lnTo>
                        <a:pt x="132" y="198"/>
                      </a:lnTo>
                      <a:lnTo>
                        <a:pt x="136" y="198"/>
                      </a:lnTo>
                      <a:lnTo>
                        <a:pt x="132" y="202"/>
                      </a:lnTo>
                      <a:lnTo>
                        <a:pt x="132" y="202"/>
                      </a:lnTo>
                      <a:lnTo>
                        <a:pt x="132" y="202"/>
                      </a:lnTo>
                      <a:close/>
                      <a:moveTo>
                        <a:pt x="426" y="254"/>
                      </a:moveTo>
                      <a:lnTo>
                        <a:pt x="430" y="254"/>
                      </a:lnTo>
                      <a:lnTo>
                        <a:pt x="426" y="258"/>
                      </a:lnTo>
                      <a:lnTo>
                        <a:pt x="426" y="254"/>
                      </a:lnTo>
                      <a:lnTo>
                        <a:pt x="426" y="254"/>
                      </a:lnTo>
                      <a:lnTo>
                        <a:pt x="426" y="254"/>
                      </a:lnTo>
                      <a:close/>
                      <a:moveTo>
                        <a:pt x="460" y="262"/>
                      </a:moveTo>
                      <a:lnTo>
                        <a:pt x="456" y="262"/>
                      </a:lnTo>
                      <a:lnTo>
                        <a:pt x="452" y="266"/>
                      </a:lnTo>
                      <a:lnTo>
                        <a:pt x="452" y="262"/>
                      </a:lnTo>
                      <a:lnTo>
                        <a:pt x="456" y="262"/>
                      </a:lnTo>
                      <a:lnTo>
                        <a:pt x="460" y="262"/>
                      </a:lnTo>
                      <a:lnTo>
                        <a:pt x="460" y="262"/>
                      </a:lnTo>
                      <a:lnTo>
                        <a:pt x="460" y="262"/>
                      </a:lnTo>
                      <a:close/>
                      <a:moveTo>
                        <a:pt x="456" y="266"/>
                      </a:moveTo>
                      <a:lnTo>
                        <a:pt x="452" y="266"/>
                      </a:lnTo>
                      <a:lnTo>
                        <a:pt x="448" y="266"/>
                      </a:lnTo>
                      <a:lnTo>
                        <a:pt x="448" y="268"/>
                      </a:lnTo>
                      <a:lnTo>
                        <a:pt x="444" y="268"/>
                      </a:lnTo>
                      <a:lnTo>
                        <a:pt x="448" y="268"/>
                      </a:lnTo>
                      <a:lnTo>
                        <a:pt x="448" y="266"/>
                      </a:lnTo>
                      <a:lnTo>
                        <a:pt x="444" y="266"/>
                      </a:lnTo>
                      <a:lnTo>
                        <a:pt x="448" y="266"/>
                      </a:lnTo>
                      <a:lnTo>
                        <a:pt x="448" y="262"/>
                      </a:lnTo>
                      <a:lnTo>
                        <a:pt x="448" y="266"/>
                      </a:lnTo>
                      <a:lnTo>
                        <a:pt x="452" y="266"/>
                      </a:lnTo>
                      <a:lnTo>
                        <a:pt x="456" y="266"/>
                      </a:lnTo>
                      <a:lnTo>
                        <a:pt x="456" y="266"/>
                      </a:lnTo>
                      <a:lnTo>
                        <a:pt x="456" y="266"/>
                      </a:lnTo>
                      <a:close/>
                      <a:moveTo>
                        <a:pt x="172" y="266"/>
                      </a:moveTo>
                      <a:lnTo>
                        <a:pt x="176" y="266"/>
                      </a:lnTo>
                      <a:lnTo>
                        <a:pt x="176" y="268"/>
                      </a:lnTo>
                      <a:lnTo>
                        <a:pt x="176" y="272"/>
                      </a:lnTo>
                      <a:lnTo>
                        <a:pt x="180" y="276"/>
                      </a:lnTo>
                      <a:lnTo>
                        <a:pt x="176" y="276"/>
                      </a:lnTo>
                      <a:lnTo>
                        <a:pt x="172" y="276"/>
                      </a:lnTo>
                      <a:lnTo>
                        <a:pt x="168" y="276"/>
                      </a:lnTo>
                      <a:lnTo>
                        <a:pt x="168" y="280"/>
                      </a:lnTo>
                      <a:lnTo>
                        <a:pt x="172" y="280"/>
                      </a:lnTo>
                      <a:lnTo>
                        <a:pt x="168" y="280"/>
                      </a:lnTo>
                      <a:lnTo>
                        <a:pt x="166" y="276"/>
                      </a:lnTo>
                      <a:lnTo>
                        <a:pt x="158" y="276"/>
                      </a:lnTo>
                      <a:lnTo>
                        <a:pt x="158" y="272"/>
                      </a:lnTo>
                      <a:lnTo>
                        <a:pt x="154" y="272"/>
                      </a:lnTo>
                      <a:lnTo>
                        <a:pt x="154" y="268"/>
                      </a:lnTo>
                      <a:lnTo>
                        <a:pt x="158" y="268"/>
                      </a:lnTo>
                      <a:lnTo>
                        <a:pt x="162" y="268"/>
                      </a:lnTo>
                      <a:lnTo>
                        <a:pt x="162" y="266"/>
                      </a:lnTo>
                      <a:lnTo>
                        <a:pt x="166" y="266"/>
                      </a:lnTo>
                      <a:lnTo>
                        <a:pt x="168" y="266"/>
                      </a:lnTo>
                      <a:lnTo>
                        <a:pt x="172" y="266"/>
                      </a:lnTo>
                      <a:lnTo>
                        <a:pt x="172" y="266"/>
                      </a:lnTo>
                      <a:lnTo>
                        <a:pt x="172" y="266"/>
                      </a:lnTo>
                      <a:close/>
                      <a:moveTo>
                        <a:pt x="440" y="268"/>
                      </a:moveTo>
                      <a:lnTo>
                        <a:pt x="436" y="268"/>
                      </a:lnTo>
                      <a:lnTo>
                        <a:pt x="436" y="272"/>
                      </a:lnTo>
                      <a:lnTo>
                        <a:pt x="434" y="276"/>
                      </a:lnTo>
                      <a:lnTo>
                        <a:pt x="430" y="280"/>
                      </a:lnTo>
                      <a:lnTo>
                        <a:pt x="430" y="276"/>
                      </a:lnTo>
                      <a:lnTo>
                        <a:pt x="434" y="272"/>
                      </a:lnTo>
                      <a:lnTo>
                        <a:pt x="436" y="272"/>
                      </a:lnTo>
                      <a:lnTo>
                        <a:pt x="436" y="268"/>
                      </a:lnTo>
                      <a:lnTo>
                        <a:pt x="436" y="266"/>
                      </a:lnTo>
                      <a:lnTo>
                        <a:pt x="440" y="266"/>
                      </a:lnTo>
                      <a:lnTo>
                        <a:pt x="440" y="268"/>
                      </a:lnTo>
                      <a:lnTo>
                        <a:pt x="440" y="268"/>
                      </a:lnTo>
                      <a:lnTo>
                        <a:pt x="440" y="268"/>
                      </a:lnTo>
                      <a:close/>
                      <a:moveTo>
                        <a:pt x="430" y="272"/>
                      </a:moveTo>
                      <a:lnTo>
                        <a:pt x="426" y="272"/>
                      </a:lnTo>
                      <a:lnTo>
                        <a:pt x="430" y="268"/>
                      </a:lnTo>
                      <a:lnTo>
                        <a:pt x="430" y="272"/>
                      </a:lnTo>
                      <a:lnTo>
                        <a:pt x="430" y="272"/>
                      </a:lnTo>
                      <a:lnTo>
                        <a:pt x="430" y="272"/>
                      </a:lnTo>
                      <a:close/>
                      <a:moveTo>
                        <a:pt x="430" y="272"/>
                      </a:moveTo>
                      <a:lnTo>
                        <a:pt x="430" y="276"/>
                      </a:lnTo>
                      <a:lnTo>
                        <a:pt x="426" y="276"/>
                      </a:lnTo>
                      <a:lnTo>
                        <a:pt x="426" y="272"/>
                      </a:lnTo>
                      <a:lnTo>
                        <a:pt x="430" y="272"/>
                      </a:lnTo>
                      <a:lnTo>
                        <a:pt x="430" y="272"/>
                      </a:lnTo>
                      <a:lnTo>
                        <a:pt x="430" y="272"/>
                      </a:lnTo>
                      <a:close/>
                      <a:moveTo>
                        <a:pt x="350" y="288"/>
                      </a:moveTo>
                      <a:lnTo>
                        <a:pt x="350" y="292"/>
                      </a:lnTo>
                      <a:lnTo>
                        <a:pt x="348" y="292"/>
                      </a:lnTo>
                      <a:lnTo>
                        <a:pt x="348" y="288"/>
                      </a:lnTo>
                      <a:lnTo>
                        <a:pt x="350" y="288"/>
                      </a:lnTo>
                      <a:lnTo>
                        <a:pt x="350" y="288"/>
                      </a:lnTo>
                      <a:lnTo>
                        <a:pt x="350" y="288"/>
                      </a:lnTo>
                      <a:close/>
                      <a:moveTo>
                        <a:pt x="388" y="288"/>
                      </a:moveTo>
                      <a:lnTo>
                        <a:pt x="388" y="292"/>
                      </a:lnTo>
                      <a:lnTo>
                        <a:pt x="388" y="288"/>
                      </a:lnTo>
                      <a:lnTo>
                        <a:pt x="388" y="288"/>
                      </a:lnTo>
                      <a:lnTo>
                        <a:pt x="388" y="288"/>
                      </a:lnTo>
                      <a:close/>
                      <a:moveTo>
                        <a:pt x="366" y="306"/>
                      </a:moveTo>
                      <a:lnTo>
                        <a:pt x="362" y="310"/>
                      </a:lnTo>
                      <a:lnTo>
                        <a:pt x="362" y="306"/>
                      </a:lnTo>
                      <a:lnTo>
                        <a:pt x="366" y="306"/>
                      </a:lnTo>
                      <a:lnTo>
                        <a:pt x="366" y="306"/>
                      </a:lnTo>
                      <a:lnTo>
                        <a:pt x="366" y="306"/>
                      </a:lnTo>
                      <a:close/>
                      <a:moveTo>
                        <a:pt x="362" y="318"/>
                      </a:moveTo>
                      <a:lnTo>
                        <a:pt x="358" y="322"/>
                      </a:lnTo>
                      <a:lnTo>
                        <a:pt x="358" y="318"/>
                      </a:lnTo>
                      <a:lnTo>
                        <a:pt x="354" y="318"/>
                      </a:lnTo>
                      <a:lnTo>
                        <a:pt x="354" y="314"/>
                      </a:lnTo>
                      <a:lnTo>
                        <a:pt x="358" y="318"/>
                      </a:lnTo>
                      <a:lnTo>
                        <a:pt x="358" y="314"/>
                      </a:lnTo>
                      <a:lnTo>
                        <a:pt x="354" y="314"/>
                      </a:lnTo>
                      <a:lnTo>
                        <a:pt x="358" y="314"/>
                      </a:lnTo>
                      <a:lnTo>
                        <a:pt x="358" y="310"/>
                      </a:lnTo>
                      <a:lnTo>
                        <a:pt x="362" y="310"/>
                      </a:lnTo>
                      <a:lnTo>
                        <a:pt x="366" y="310"/>
                      </a:lnTo>
                      <a:lnTo>
                        <a:pt x="370" y="310"/>
                      </a:lnTo>
                      <a:lnTo>
                        <a:pt x="370" y="314"/>
                      </a:lnTo>
                      <a:lnTo>
                        <a:pt x="370" y="318"/>
                      </a:lnTo>
                      <a:lnTo>
                        <a:pt x="366" y="314"/>
                      </a:lnTo>
                      <a:lnTo>
                        <a:pt x="366" y="318"/>
                      </a:lnTo>
                      <a:lnTo>
                        <a:pt x="362" y="318"/>
                      </a:lnTo>
                      <a:lnTo>
                        <a:pt x="362" y="318"/>
                      </a:lnTo>
                      <a:lnTo>
                        <a:pt x="362" y="318"/>
                      </a:lnTo>
                      <a:close/>
                      <a:moveTo>
                        <a:pt x="626" y="332"/>
                      </a:moveTo>
                      <a:lnTo>
                        <a:pt x="622" y="332"/>
                      </a:lnTo>
                      <a:lnTo>
                        <a:pt x="626" y="332"/>
                      </a:lnTo>
                      <a:lnTo>
                        <a:pt x="626" y="336"/>
                      </a:lnTo>
                      <a:lnTo>
                        <a:pt x="622" y="336"/>
                      </a:lnTo>
                      <a:lnTo>
                        <a:pt x="622" y="332"/>
                      </a:lnTo>
                      <a:lnTo>
                        <a:pt x="622" y="336"/>
                      </a:lnTo>
                      <a:lnTo>
                        <a:pt x="620" y="340"/>
                      </a:lnTo>
                      <a:lnTo>
                        <a:pt x="616" y="340"/>
                      </a:lnTo>
                      <a:lnTo>
                        <a:pt x="616" y="336"/>
                      </a:lnTo>
                      <a:lnTo>
                        <a:pt x="620" y="332"/>
                      </a:lnTo>
                      <a:lnTo>
                        <a:pt x="620" y="336"/>
                      </a:lnTo>
                      <a:lnTo>
                        <a:pt x="620" y="332"/>
                      </a:lnTo>
                      <a:lnTo>
                        <a:pt x="616" y="332"/>
                      </a:lnTo>
                      <a:lnTo>
                        <a:pt x="620" y="332"/>
                      </a:lnTo>
                      <a:lnTo>
                        <a:pt x="620" y="328"/>
                      </a:lnTo>
                      <a:lnTo>
                        <a:pt x="616" y="328"/>
                      </a:lnTo>
                      <a:lnTo>
                        <a:pt x="616" y="324"/>
                      </a:lnTo>
                      <a:lnTo>
                        <a:pt x="616" y="318"/>
                      </a:lnTo>
                      <a:lnTo>
                        <a:pt x="612" y="314"/>
                      </a:lnTo>
                      <a:lnTo>
                        <a:pt x="612" y="310"/>
                      </a:lnTo>
                      <a:lnTo>
                        <a:pt x="612" y="314"/>
                      </a:lnTo>
                      <a:lnTo>
                        <a:pt x="616" y="314"/>
                      </a:lnTo>
                      <a:lnTo>
                        <a:pt x="616" y="318"/>
                      </a:lnTo>
                      <a:lnTo>
                        <a:pt x="616" y="314"/>
                      </a:lnTo>
                      <a:lnTo>
                        <a:pt x="620" y="314"/>
                      </a:lnTo>
                      <a:lnTo>
                        <a:pt x="620" y="318"/>
                      </a:lnTo>
                      <a:lnTo>
                        <a:pt x="622" y="318"/>
                      </a:lnTo>
                      <a:lnTo>
                        <a:pt x="622" y="322"/>
                      </a:lnTo>
                      <a:lnTo>
                        <a:pt x="626" y="324"/>
                      </a:lnTo>
                      <a:lnTo>
                        <a:pt x="626" y="328"/>
                      </a:lnTo>
                      <a:lnTo>
                        <a:pt x="626" y="324"/>
                      </a:lnTo>
                      <a:lnTo>
                        <a:pt x="622" y="324"/>
                      </a:lnTo>
                      <a:lnTo>
                        <a:pt x="622" y="322"/>
                      </a:lnTo>
                      <a:lnTo>
                        <a:pt x="622" y="318"/>
                      </a:lnTo>
                      <a:lnTo>
                        <a:pt x="620" y="318"/>
                      </a:lnTo>
                      <a:lnTo>
                        <a:pt x="620" y="322"/>
                      </a:lnTo>
                      <a:lnTo>
                        <a:pt x="622" y="322"/>
                      </a:lnTo>
                      <a:lnTo>
                        <a:pt x="622" y="324"/>
                      </a:lnTo>
                      <a:lnTo>
                        <a:pt x="622" y="328"/>
                      </a:lnTo>
                      <a:lnTo>
                        <a:pt x="626" y="328"/>
                      </a:lnTo>
                      <a:lnTo>
                        <a:pt x="626" y="332"/>
                      </a:lnTo>
                      <a:lnTo>
                        <a:pt x="626" y="332"/>
                      </a:lnTo>
                      <a:lnTo>
                        <a:pt x="626" y="332"/>
                      </a:lnTo>
                      <a:close/>
                      <a:moveTo>
                        <a:pt x="594" y="324"/>
                      </a:moveTo>
                      <a:lnTo>
                        <a:pt x="590" y="324"/>
                      </a:lnTo>
                      <a:lnTo>
                        <a:pt x="594" y="322"/>
                      </a:lnTo>
                      <a:lnTo>
                        <a:pt x="598" y="322"/>
                      </a:lnTo>
                      <a:lnTo>
                        <a:pt x="594" y="322"/>
                      </a:lnTo>
                      <a:lnTo>
                        <a:pt x="590" y="318"/>
                      </a:lnTo>
                      <a:lnTo>
                        <a:pt x="594" y="314"/>
                      </a:lnTo>
                      <a:lnTo>
                        <a:pt x="594" y="318"/>
                      </a:lnTo>
                      <a:lnTo>
                        <a:pt x="594" y="314"/>
                      </a:lnTo>
                      <a:lnTo>
                        <a:pt x="598" y="314"/>
                      </a:lnTo>
                      <a:lnTo>
                        <a:pt x="602" y="314"/>
                      </a:lnTo>
                      <a:lnTo>
                        <a:pt x="606" y="314"/>
                      </a:lnTo>
                      <a:lnTo>
                        <a:pt x="606" y="318"/>
                      </a:lnTo>
                      <a:lnTo>
                        <a:pt x="602" y="318"/>
                      </a:lnTo>
                      <a:lnTo>
                        <a:pt x="602" y="322"/>
                      </a:lnTo>
                      <a:lnTo>
                        <a:pt x="606" y="322"/>
                      </a:lnTo>
                      <a:lnTo>
                        <a:pt x="606" y="318"/>
                      </a:lnTo>
                      <a:lnTo>
                        <a:pt x="608" y="318"/>
                      </a:lnTo>
                      <a:lnTo>
                        <a:pt x="612" y="318"/>
                      </a:lnTo>
                      <a:lnTo>
                        <a:pt x="612" y="322"/>
                      </a:lnTo>
                      <a:lnTo>
                        <a:pt x="608" y="322"/>
                      </a:lnTo>
                      <a:lnTo>
                        <a:pt x="612" y="322"/>
                      </a:lnTo>
                      <a:lnTo>
                        <a:pt x="612" y="324"/>
                      </a:lnTo>
                      <a:lnTo>
                        <a:pt x="608" y="324"/>
                      </a:lnTo>
                      <a:lnTo>
                        <a:pt x="606" y="324"/>
                      </a:lnTo>
                      <a:lnTo>
                        <a:pt x="606" y="322"/>
                      </a:lnTo>
                      <a:lnTo>
                        <a:pt x="602" y="322"/>
                      </a:lnTo>
                      <a:lnTo>
                        <a:pt x="598" y="322"/>
                      </a:lnTo>
                      <a:lnTo>
                        <a:pt x="602" y="322"/>
                      </a:lnTo>
                      <a:lnTo>
                        <a:pt x="606" y="322"/>
                      </a:lnTo>
                      <a:lnTo>
                        <a:pt x="606" y="324"/>
                      </a:lnTo>
                      <a:lnTo>
                        <a:pt x="608" y="324"/>
                      </a:lnTo>
                      <a:lnTo>
                        <a:pt x="612" y="324"/>
                      </a:lnTo>
                      <a:lnTo>
                        <a:pt x="612" y="328"/>
                      </a:lnTo>
                      <a:lnTo>
                        <a:pt x="612" y="332"/>
                      </a:lnTo>
                      <a:lnTo>
                        <a:pt x="608" y="332"/>
                      </a:lnTo>
                      <a:lnTo>
                        <a:pt x="608" y="328"/>
                      </a:lnTo>
                      <a:lnTo>
                        <a:pt x="606" y="328"/>
                      </a:lnTo>
                      <a:lnTo>
                        <a:pt x="606" y="324"/>
                      </a:lnTo>
                      <a:lnTo>
                        <a:pt x="602" y="324"/>
                      </a:lnTo>
                      <a:lnTo>
                        <a:pt x="602" y="328"/>
                      </a:lnTo>
                      <a:lnTo>
                        <a:pt x="606" y="328"/>
                      </a:lnTo>
                      <a:lnTo>
                        <a:pt x="606" y="332"/>
                      </a:lnTo>
                      <a:lnTo>
                        <a:pt x="602" y="332"/>
                      </a:lnTo>
                      <a:lnTo>
                        <a:pt x="598" y="332"/>
                      </a:lnTo>
                      <a:lnTo>
                        <a:pt x="598" y="328"/>
                      </a:lnTo>
                      <a:lnTo>
                        <a:pt x="598" y="332"/>
                      </a:lnTo>
                      <a:lnTo>
                        <a:pt x="602" y="332"/>
                      </a:lnTo>
                      <a:lnTo>
                        <a:pt x="598" y="328"/>
                      </a:lnTo>
                      <a:lnTo>
                        <a:pt x="594" y="324"/>
                      </a:lnTo>
                      <a:lnTo>
                        <a:pt x="594" y="324"/>
                      </a:lnTo>
                      <a:lnTo>
                        <a:pt x="594" y="324"/>
                      </a:lnTo>
                      <a:close/>
                      <a:moveTo>
                        <a:pt x="350" y="318"/>
                      </a:moveTo>
                      <a:lnTo>
                        <a:pt x="354" y="318"/>
                      </a:lnTo>
                      <a:lnTo>
                        <a:pt x="358" y="318"/>
                      </a:lnTo>
                      <a:lnTo>
                        <a:pt x="358" y="322"/>
                      </a:lnTo>
                      <a:lnTo>
                        <a:pt x="354" y="322"/>
                      </a:lnTo>
                      <a:lnTo>
                        <a:pt x="354" y="318"/>
                      </a:lnTo>
                      <a:lnTo>
                        <a:pt x="350" y="318"/>
                      </a:lnTo>
                      <a:lnTo>
                        <a:pt x="350" y="318"/>
                      </a:lnTo>
                      <a:lnTo>
                        <a:pt x="350" y="318"/>
                      </a:lnTo>
                      <a:close/>
                      <a:moveTo>
                        <a:pt x="590" y="318"/>
                      </a:moveTo>
                      <a:lnTo>
                        <a:pt x="594" y="318"/>
                      </a:lnTo>
                      <a:lnTo>
                        <a:pt x="594" y="322"/>
                      </a:lnTo>
                      <a:lnTo>
                        <a:pt x="590" y="322"/>
                      </a:lnTo>
                      <a:lnTo>
                        <a:pt x="590" y="318"/>
                      </a:lnTo>
                      <a:lnTo>
                        <a:pt x="590" y="318"/>
                      </a:lnTo>
                      <a:lnTo>
                        <a:pt x="590" y="318"/>
                      </a:lnTo>
                      <a:close/>
                      <a:moveTo>
                        <a:pt x="348" y="328"/>
                      </a:moveTo>
                      <a:lnTo>
                        <a:pt x="348" y="324"/>
                      </a:lnTo>
                      <a:lnTo>
                        <a:pt x="344" y="324"/>
                      </a:lnTo>
                      <a:lnTo>
                        <a:pt x="348" y="322"/>
                      </a:lnTo>
                      <a:lnTo>
                        <a:pt x="348" y="324"/>
                      </a:lnTo>
                      <a:lnTo>
                        <a:pt x="348" y="328"/>
                      </a:lnTo>
                      <a:lnTo>
                        <a:pt x="350" y="324"/>
                      </a:lnTo>
                      <a:lnTo>
                        <a:pt x="350" y="322"/>
                      </a:lnTo>
                      <a:lnTo>
                        <a:pt x="354" y="324"/>
                      </a:lnTo>
                      <a:lnTo>
                        <a:pt x="354" y="322"/>
                      </a:lnTo>
                      <a:lnTo>
                        <a:pt x="354" y="324"/>
                      </a:lnTo>
                      <a:lnTo>
                        <a:pt x="354" y="322"/>
                      </a:lnTo>
                      <a:lnTo>
                        <a:pt x="350" y="322"/>
                      </a:lnTo>
                      <a:lnTo>
                        <a:pt x="354" y="322"/>
                      </a:lnTo>
                      <a:lnTo>
                        <a:pt x="358" y="322"/>
                      </a:lnTo>
                      <a:lnTo>
                        <a:pt x="358" y="324"/>
                      </a:lnTo>
                      <a:lnTo>
                        <a:pt x="358" y="322"/>
                      </a:lnTo>
                      <a:lnTo>
                        <a:pt x="362" y="322"/>
                      </a:lnTo>
                      <a:lnTo>
                        <a:pt x="366" y="322"/>
                      </a:lnTo>
                      <a:lnTo>
                        <a:pt x="366" y="324"/>
                      </a:lnTo>
                      <a:lnTo>
                        <a:pt x="362" y="324"/>
                      </a:lnTo>
                      <a:lnTo>
                        <a:pt x="366" y="328"/>
                      </a:lnTo>
                      <a:lnTo>
                        <a:pt x="370" y="328"/>
                      </a:lnTo>
                      <a:lnTo>
                        <a:pt x="366" y="328"/>
                      </a:lnTo>
                      <a:lnTo>
                        <a:pt x="366" y="332"/>
                      </a:lnTo>
                      <a:lnTo>
                        <a:pt x="362" y="332"/>
                      </a:lnTo>
                      <a:lnTo>
                        <a:pt x="358" y="328"/>
                      </a:lnTo>
                      <a:lnTo>
                        <a:pt x="354" y="332"/>
                      </a:lnTo>
                      <a:lnTo>
                        <a:pt x="358" y="332"/>
                      </a:lnTo>
                      <a:lnTo>
                        <a:pt x="362" y="332"/>
                      </a:lnTo>
                      <a:lnTo>
                        <a:pt x="362" y="336"/>
                      </a:lnTo>
                      <a:lnTo>
                        <a:pt x="358" y="336"/>
                      </a:lnTo>
                      <a:lnTo>
                        <a:pt x="354" y="332"/>
                      </a:lnTo>
                      <a:lnTo>
                        <a:pt x="354" y="336"/>
                      </a:lnTo>
                      <a:lnTo>
                        <a:pt x="358" y="336"/>
                      </a:lnTo>
                      <a:lnTo>
                        <a:pt x="354" y="336"/>
                      </a:lnTo>
                      <a:lnTo>
                        <a:pt x="350" y="336"/>
                      </a:lnTo>
                      <a:lnTo>
                        <a:pt x="350" y="340"/>
                      </a:lnTo>
                      <a:lnTo>
                        <a:pt x="348" y="340"/>
                      </a:lnTo>
                      <a:lnTo>
                        <a:pt x="348" y="344"/>
                      </a:lnTo>
                      <a:lnTo>
                        <a:pt x="344" y="344"/>
                      </a:lnTo>
                      <a:lnTo>
                        <a:pt x="344" y="348"/>
                      </a:lnTo>
                      <a:lnTo>
                        <a:pt x="340" y="348"/>
                      </a:lnTo>
                      <a:lnTo>
                        <a:pt x="340" y="344"/>
                      </a:lnTo>
                      <a:lnTo>
                        <a:pt x="344" y="344"/>
                      </a:lnTo>
                      <a:lnTo>
                        <a:pt x="344" y="340"/>
                      </a:lnTo>
                      <a:lnTo>
                        <a:pt x="344" y="344"/>
                      </a:lnTo>
                      <a:lnTo>
                        <a:pt x="344" y="340"/>
                      </a:lnTo>
                      <a:lnTo>
                        <a:pt x="348" y="340"/>
                      </a:lnTo>
                      <a:lnTo>
                        <a:pt x="344" y="340"/>
                      </a:lnTo>
                      <a:lnTo>
                        <a:pt x="340" y="340"/>
                      </a:lnTo>
                      <a:lnTo>
                        <a:pt x="340" y="344"/>
                      </a:lnTo>
                      <a:lnTo>
                        <a:pt x="340" y="340"/>
                      </a:lnTo>
                      <a:lnTo>
                        <a:pt x="344" y="340"/>
                      </a:lnTo>
                      <a:lnTo>
                        <a:pt x="340" y="340"/>
                      </a:lnTo>
                      <a:lnTo>
                        <a:pt x="336" y="340"/>
                      </a:lnTo>
                      <a:lnTo>
                        <a:pt x="340" y="340"/>
                      </a:lnTo>
                      <a:lnTo>
                        <a:pt x="340" y="344"/>
                      </a:lnTo>
                      <a:lnTo>
                        <a:pt x="336" y="344"/>
                      </a:lnTo>
                      <a:lnTo>
                        <a:pt x="336" y="340"/>
                      </a:lnTo>
                      <a:lnTo>
                        <a:pt x="336" y="336"/>
                      </a:lnTo>
                      <a:lnTo>
                        <a:pt x="332" y="336"/>
                      </a:lnTo>
                      <a:lnTo>
                        <a:pt x="332" y="332"/>
                      </a:lnTo>
                      <a:lnTo>
                        <a:pt x="332" y="328"/>
                      </a:lnTo>
                      <a:lnTo>
                        <a:pt x="336" y="328"/>
                      </a:lnTo>
                      <a:lnTo>
                        <a:pt x="340" y="328"/>
                      </a:lnTo>
                      <a:lnTo>
                        <a:pt x="344" y="328"/>
                      </a:lnTo>
                      <a:lnTo>
                        <a:pt x="344" y="332"/>
                      </a:lnTo>
                      <a:lnTo>
                        <a:pt x="344" y="336"/>
                      </a:lnTo>
                      <a:lnTo>
                        <a:pt x="348" y="336"/>
                      </a:lnTo>
                      <a:lnTo>
                        <a:pt x="344" y="332"/>
                      </a:lnTo>
                      <a:lnTo>
                        <a:pt x="344" y="328"/>
                      </a:lnTo>
                      <a:lnTo>
                        <a:pt x="348" y="328"/>
                      </a:lnTo>
                      <a:lnTo>
                        <a:pt x="348" y="328"/>
                      </a:lnTo>
                      <a:lnTo>
                        <a:pt x="348" y="328"/>
                      </a:lnTo>
                      <a:close/>
                      <a:moveTo>
                        <a:pt x="350" y="322"/>
                      </a:moveTo>
                      <a:lnTo>
                        <a:pt x="354" y="322"/>
                      </a:lnTo>
                      <a:lnTo>
                        <a:pt x="354" y="324"/>
                      </a:lnTo>
                      <a:lnTo>
                        <a:pt x="350" y="324"/>
                      </a:lnTo>
                      <a:lnTo>
                        <a:pt x="350" y="322"/>
                      </a:lnTo>
                      <a:lnTo>
                        <a:pt x="348" y="322"/>
                      </a:lnTo>
                      <a:lnTo>
                        <a:pt x="350" y="322"/>
                      </a:lnTo>
                      <a:lnTo>
                        <a:pt x="350" y="322"/>
                      </a:lnTo>
                      <a:lnTo>
                        <a:pt x="350" y="322"/>
                      </a:lnTo>
                      <a:close/>
                      <a:moveTo>
                        <a:pt x="616" y="350"/>
                      </a:moveTo>
                      <a:lnTo>
                        <a:pt x="616" y="354"/>
                      </a:lnTo>
                      <a:lnTo>
                        <a:pt x="616" y="358"/>
                      </a:lnTo>
                      <a:lnTo>
                        <a:pt x="612" y="354"/>
                      </a:lnTo>
                      <a:lnTo>
                        <a:pt x="612" y="350"/>
                      </a:lnTo>
                      <a:lnTo>
                        <a:pt x="612" y="348"/>
                      </a:lnTo>
                      <a:lnTo>
                        <a:pt x="608" y="350"/>
                      </a:lnTo>
                      <a:lnTo>
                        <a:pt x="608" y="348"/>
                      </a:lnTo>
                      <a:lnTo>
                        <a:pt x="606" y="344"/>
                      </a:lnTo>
                      <a:lnTo>
                        <a:pt x="606" y="340"/>
                      </a:lnTo>
                      <a:lnTo>
                        <a:pt x="606" y="336"/>
                      </a:lnTo>
                      <a:lnTo>
                        <a:pt x="602" y="336"/>
                      </a:lnTo>
                      <a:lnTo>
                        <a:pt x="602" y="332"/>
                      </a:lnTo>
                      <a:lnTo>
                        <a:pt x="606" y="332"/>
                      </a:lnTo>
                      <a:lnTo>
                        <a:pt x="606" y="328"/>
                      </a:lnTo>
                      <a:lnTo>
                        <a:pt x="608" y="332"/>
                      </a:lnTo>
                      <a:lnTo>
                        <a:pt x="612" y="332"/>
                      </a:lnTo>
                      <a:lnTo>
                        <a:pt x="612" y="336"/>
                      </a:lnTo>
                      <a:lnTo>
                        <a:pt x="616" y="340"/>
                      </a:lnTo>
                      <a:lnTo>
                        <a:pt x="616" y="344"/>
                      </a:lnTo>
                      <a:lnTo>
                        <a:pt x="616" y="348"/>
                      </a:lnTo>
                      <a:lnTo>
                        <a:pt x="616" y="350"/>
                      </a:lnTo>
                      <a:lnTo>
                        <a:pt x="616" y="350"/>
                      </a:lnTo>
                      <a:lnTo>
                        <a:pt x="616" y="350"/>
                      </a:lnTo>
                      <a:close/>
                      <a:moveTo>
                        <a:pt x="612" y="332"/>
                      </a:moveTo>
                      <a:lnTo>
                        <a:pt x="616" y="332"/>
                      </a:lnTo>
                      <a:lnTo>
                        <a:pt x="612" y="336"/>
                      </a:lnTo>
                      <a:lnTo>
                        <a:pt x="612" y="332"/>
                      </a:lnTo>
                      <a:lnTo>
                        <a:pt x="612" y="332"/>
                      </a:lnTo>
                      <a:lnTo>
                        <a:pt x="612" y="332"/>
                      </a:lnTo>
                      <a:close/>
                      <a:moveTo>
                        <a:pt x="602" y="336"/>
                      </a:moveTo>
                      <a:lnTo>
                        <a:pt x="606" y="336"/>
                      </a:lnTo>
                      <a:lnTo>
                        <a:pt x="606" y="340"/>
                      </a:lnTo>
                      <a:lnTo>
                        <a:pt x="602" y="340"/>
                      </a:lnTo>
                      <a:lnTo>
                        <a:pt x="602" y="344"/>
                      </a:lnTo>
                      <a:lnTo>
                        <a:pt x="602" y="340"/>
                      </a:lnTo>
                      <a:lnTo>
                        <a:pt x="602" y="336"/>
                      </a:lnTo>
                      <a:lnTo>
                        <a:pt x="598" y="336"/>
                      </a:lnTo>
                      <a:lnTo>
                        <a:pt x="602" y="336"/>
                      </a:lnTo>
                      <a:lnTo>
                        <a:pt x="602" y="336"/>
                      </a:lnTo>
                      <a:lnTo>
                        <a:pt x="602" y="336"/>
                      </a:lnTo>
                      <a:close/>
                      <a:moveTo>
                        <a:pt x="358" y="340"/>
                      </a:moveTo>
                      <a:lnTo>
                        <a:pt x="354" y="340"/>
                      </a:lnTo>
                      <a:lnTo>
                        <a:pt x="350" y="340"/>
                      </a:lnTo>
                      <a:lnTo>
                        <a:pt x="350" y="344"/>
                      </a:lnTo>
                      <a:lnTo>
                        <a:pt x="350" y="340"/>
                      </a:lnTo>
                      <a:lnTo>
                        <a:pt x="350" y="336"/>
                      </a:lnTo>
                      <a:lnTo>
                        <a:pt x="354" y="336"/>
                      </a:lnTo>
                      <a:lnTo>
                        <a:pt x="358" y="336"/>
                      </a:lnTo>
                      <a:lnTo>
                        <a:pt x="358" y="340"/>
                      </a:lnTo>
                      <a:lnTo>
                        <a:pt x="358" y="340"/>
                      </a:lnTo>
                      <a:lnTo>
                        <a:pt x="358" y="340"/>
                      </a:lnTo>
                      <a:close/>
                      <a:moveTo>
                        <a:pt x="638" y="344"/>
                      </a:moveTo>
                      <a:lnTo>
                        <a:pt x="642" y="344"/>
                      </a:lnTo>
                      <a:lnTo>
                        <a:pt x="638" y="348"/>
                      </a:lnTo>
                      <a:lnTo>
                        <a:pt x="642" y="350"/>
                      </a:lnTo>
                      <a:lnTo>
                        <a:pt x="638" y="350"/>
                      </a:lnTo>
                      <a:lnTo>
                        <a:pt x="638" y="348"/>
                      </a:lnTo>
                      <a:lnTo>
                        <a:pt x="634" y="348"/>
                      </a:lnTo>
                      <a:lnTo>
                        <a:pt x="634" y="344"/>
                      </a:lnTo>
                      <a:lnTo>
                        <a:pt x="634" y="348"/>
                      </a:lnTo>
                      <a:lnTo>
                        <a:pt x="638" y="350"/>
                      </a:lnTo>
                      <a:lnTo>
                        <a:pt x="638" y="354"/>
                      </a:lnTo>
                      <a:lnTo>
                        <a:pt x="634" y="354"/>
                      </a:lnTo>
                      <a:lnTo>
                        <a:pt x="630" y="354"/>
                      </a:lnTo>
                      <a:lnTo>
                        <a:pt x="630" y="350"/>
                      </a:lnTo>
                      <a:lnTo>
                        <a:pt x="630" y="348"/>
                      </a:lnTo>
                      <a:lnTo>
                        <a:pt x="626" y="348"/>
                      </a:lnTo>
                      <a:lnTo>
                        <a:pt x="626" y="344"/>
                      </a:lnTo>
                      <a:lnTo>
                        <a:pt x="622" y="340"/>
                      </a:lnTo>
                      <a:lnTo>
                        <a:pt x="626" y="340"/>
                      </a:lnTo>
                      <a:lnTo>
                        <a:pt x="630" y="340"/>
                      </a:lnTo>
                      <a:lnTo>
                        <a:pt x="634" y="340"/>
                      </a:lnTo>
                      <a:lnTo>
                        <a:pt x="634" y="344"/>
                      </a:lnTo>
                      <a:lnTo>
                        <a:pt x="638" y="340"/>
                      </a:lnTo>
                      <a:lnTo>
                        <a:pt x="638" y="344"/>
                      </a:lnTo>
                      <a:lnTo>
                        <a:pt x="638" y="344"/>
                      </a:lnTo>
                      <a:lnTo>
                        <a:pt x="638" y="344"/>
                      </a:lnTo>
                      <a:close/>
                      <a:moveTo>
                        <a:pt x="626" y="358"/>
                      </a:moveTo>
                      <a:lnTo>
                        <a:pt x="626" y="354"/>
                      </a:lnTo>
                      <a:lnTo>
                        <a:pt x="626" y="358"/>
                      </a:lnTo>
                      <a:lnTo>
                        <a:pt x="626" y="362"/>
                      </a:lnTo>
                      <a:lnTo>
                        <a:pt x="622" y="362"/>
                      </a:lnTo>
                      <a:lnTo>
                        <a:pt x="622" y="358"/>
                      </a:lnTo>
                      <a:lnTo>
                        <a:pt x="622" y="362"/>
                      </a:lnTo>
                      <a:lnTo>
                        <a:pt x="620" y="358"/>
                      </a:lnTo>
                      <a:lnTo>
                        <a:pt x="622" y="358"/>
                      </a:lnTo>
                      <a:lnTo>
                        <a:pt x="620" y="354"/>
                      </a:lnTo>
                      <a:lnTo>
                        <a:pt x="622" y="354"/>
                      </a:lnTo>
                      <a:lnTo>
                        <a:pt x="622" y="350"/>
                      </a:lnTo>
                      <a:lnTo>
                        <a:pt x="620" y="350"/>
                      </a:lnTo>
                      <a:lnTo>
                        <a:pt x="620" y="348"/>
                      </a:lnTo>
                      <a:lnTo>
                        <a:pt x="620" y="344"/>
                      </a:lnTo>
                      <a:lnTo>
                        <a:pt x="622" y="344"/>
                      </a:lnTo>
                      <a:lnTo>
                        <a:pt x="620" y="344"/>
                      </a:lnTo>
                      <a:lnTo>
                        <a:pt x="622" y="344"/>
                      </a:lnTo>
                      <a:lnTo>
                        <a:pt x="626" y="344"/>
                      </a:lnTo>
                      <a:lnTo>
                        <a:pt x="626" y="348"/>
                      </a:lnTo>
                      <a:lnTo>
                        <a:pt x="626" y="350"/>
                      </a:lnTo>
                      <a:lnTo>
                        <a:pt x="622" y="350"/>
                      </a:lnTo>
                      <a:lnTo>
                        <a:pt x="626" y="350"/>
                      </a:lnTo>
                      <a:lnTo>
                        <a:pt x="626" y="348"/>
                      </a:lnTo>
                      <a:lnTo>
                        <a:pt x="630" y="348"/>
                      </a:lnTo>
                      <a:lnTo>
                        <a:pt x="630" y="350"/>
                      </a:lnTo>
                      <a:lnTo>
                        <a:pt x="626" y="350"/>
                      </a:lnTo>
                      <a:lnTo>
                        <a:pt x="626" y="354"/>
                      </a:lnTo>
                      <a:lnTo>
                        <a:pt x="626" y="358"/>
                      </a:lnTo>
                      <a:lnTo>
                        <a:pt x="626" y="358"/>
                      </a:lnTo>
                      <a:lnTo>
                        <a:pt x="626" y="358"/>
                      </a:lnTo>
                      <a:close/>
                      <a:moveTo>
                        <a:pt x="642" y="348"/>
                      </a:moveTo>
                      <a:lnTo>
                        <a:pt x="646" y="348"/>
                      </a:lnTo>
                      <a:lnTo>
                        <a:pt x="646" y="350"/>
                      </a:lnTo>
                      <a:lnTo>
                        <a:pt x="642" y="350"/>
                      </a:lnTo>
                      <a:lnTo>
                        <a:pt x="638" y="350"/>
                      </a:lnTo>
                      <a:lnTo>
                        <a:pt x="642" y="350"/>
                      </a:lnTo>
                      <a:lnTo>
                        <a:pt x="642" y="348"/>
                      </a:lnTo>
                      <a:lnTo>
                        <a:pt x="642" y="348"/>
                      </a:lnTo>
                      <a:lnTo>
                        <a:pt x="642" y="348"/>
                      </a:lnTo>
                      <a:close/>
                      <a:moveTo>
                        <a:pt x="336" y="350"/>
                      </a:moveTo>
                      <a:lnTo>
                        <a:pt x="332" y="354"/>
                      </a:lnTo>
                      <a:lnTo>
                        <a:pt x="332" y="350"/>
                      </a:lnTo>
                      <a:lnTo>
                        <a:pt x="336" y="350"/>
                      </a:lnTo>
                      <a:lnTo>
                        <a:pt x="336" y="350"/>
                      </a:lnTo>
                      <a:lnTo>
                        <a:pt x="336" y="350"/>
                      </a:lnTo>
                      <a:close/>
                      <a:moveTo>
                        <a:pt x="294" y="350"/>
                      </a:moveTo>
                      <a:lnTo>
                        <a:pt x="298" y="350"/>
                      </a:lnTo>
                      <a:lnTo>
                        <a:pt x="294" y="350"/>
                      </a:lnTo>
                      <a:lnTo>
                        <a:pt x="294" y="350"/>
                      </a:lnTo>
                      <a:lnTo>
                        <a:pt x="294" y="350"/>
                      </a:lnTo>
                      <a:close/>
                      <a:moveTo>
                        <a:pt x="652" y="362"/>
                      </a:moveTo>
                      <a:lnTo>
                        <a:pt x="652" y="358"/>
                      </a:lnTo>
                      <a:lnTo>
                        <a:pt x="648" y="358"/>
                      </a:lnTo>
                      <a:lnTo>
                        <a:pt x="648" y="354"/>
                      </a:lnTo>
                      <a:lnTo>
                        <a:pt x="652" y="354"/>
                      </a:lnTo>
                      <a:lnTo>
                        <a:pt x="652" y="358"/>
                      </a:lnTo>
                      <a:lnTo>
                        <a:pt x="652" y="362"/>
                      </a:lnTo>
                      <a:lnTo>
                        <a:pt x="652" y="362"/>
                      </a:lnTo>
                      <a:lnTo>
                        <a:pt x="652" y="362"/>
                      </a:lnTo>
                      <a:close/>
                      <a:moveTo>
                        <a:pt x="642" y="358"/>
                      </a:moveTo>
                      <a:lnTo>
                        <a:pt x="638" y="354"/>
                      </a:lnTo>
                      <a:lnTo>
                        <a:pt x="642" y="354"/>
                      </a:lnTo>
                      <a:lnTo>
                        <a:pt x="646" y="354"/>
                      </a:lnTo>
                      <a:lnTo>
                        <a:pt x="646" y="358"/>
                      </a:lnTo>
                      <a:lnTo>
                        <a:pt x="642" y="358"/>
                      </a:lnTo>
                      <a:lnTo>
                        <a:pt x="642" y="358"/>
                      </a:lnTo>
                      <a:lnTo>
                        <a:pt x="642" y="358"/>
                      </a:lnTo>
                      <a:close/>
                      <a:moveTo>
                        <a:pt x="648" y="366"/>
                      </a:moveTo>
                      <a:lnTo>
                        <a:pt x="646" y="366"/>
                      </a:lnTo>
                      <a:lnTo>
                        <a:pt x="648" y="362"/>
                      </a:lnTo>
                      <a:lnTo>
                        <a:pt x="646" y="362"/>
                      </a:lnTo>
                      <a:lnTo>
                        <a:pt x="642" y="362"/>
                      </a:lnTo>
                      <a:lnTo>
                        <a:pt x="642" y="358"/>
                      </a:lnTo>
                      <a:lnTo>
                        <a:pt x="646" y="358"/>
                      </a:lnTo>
                      <a:lnTo>
                        <a:pt x="646" y="354"/>
                      </a:lnTo>
                      <a:lnTo>
                        <a:pt x="648" y="354"/>
                      </a:lnTo>
                      <a:lnTo>
                        <a:pt x="648" y="358"/>
                      </a:lnTo>
                      <a:lnTo>
                        <a:pt x="652" y="362"/>
                      </a:lnTo>
                      <a:lnTo>
                        <a:pt x="652" y="366"/>
                      </a:lnTo>
                      <a:lnTo>
                        <a:pt x="648" y="366"/>
                      </a:lnTo>
                      <a:lnTo>
                        <a:pt x="648" y="366"/>
                      </a:lnTo>
                      <a:lnTo>
                        <a:pt x="648" y="366"/>
                      </a:lnTo>
                      <a:close/>
                      <a:moveTo>
                        <a:pt x="648" y="378"/>
                      </a:moveTo>
                      <a:lnTo>
                        <a:pt x="648" y="374"/>
                      </a:lnTo>
                      <a:lnTo>
                        <a:pt x="646" y="374"/>
                      </a:lnTo>
                      <a:lnTo>
                        <a:pt x="648" y="378"/>
                      </a:lnTo>
                      <a:lnTo>
                        <a:pt x="652" y="380"/>
                      </a:lnTo>
                      <a:lnTo>
                        <a:pt x="648" y="380"/>
                      </a:lnTo>
                      <a:lnTo>
                        <a:pt x="652" y="380"/>
                      </a:lnTo>
                      <a:lnTo>
                        <a:pt x="652" y="384"/>
                      </a:lnTo>
                      <a:lnTo>
                        <a:pt x="648" y="384"/>
                      </a:lnTo>
                      <a:lnTo>
                        <a:pt x="652" y="384"/>
                      </a:lnTo>
                      <a:lnTo>
                        <a:pt x="652" y="388"/>
                      </a:lnTo>
                      <a:lnTo>
                        <a:pt x="652" y="392"/>
                      </a:lnTo>
                      <a:lnTo>
                        <a:pt x="648" y="392"/>
                      </a:lnTo>
                      <a:lnTo>
                        <a:pt x="648" y="388"/>
                      </a:lnTo>
                      <a:lnTo>
                        <a:pt x="646" y="384"/>
                      </a:lnTo>
                      <a:lnTo>
                        <a:pt x="646" y="388"/>
                      </a:lnTo>
                      <a:lnTo>
                        <a:pt x="646" y="384"/>
                      </a:lnTo>
                      <a:lnTo>
                        <a:pt x="646" y="380"/>
                      </a:lnTo>
                      <a:lnTo>
                        <a:pt x="642" y="380"/>
                      </a:lnTo>
                      <a:lnTo>
                        <a:pt x="638" y="380"/>
                      </a:lnTo>
                      <a:lnTo>
                        <a:pt x="642" y="380"/>
                      </a:lnTo>
                      <a:lnTo>
                        <a:pt x="638" y="380"/>
                      </a:lnTo>
                      <a:lnTo>
                        <a:pt x="634" y="380"/>
                      </a:lnTo>
                      <a:lnTo>
                        <a:pt x="634" y="378"/>
                      </a:lnTo>
                      <a:lnTo>
                        <a:pt x="638" y="378"/>
                      </a:lnTo>
                      <a:lnTo>
                        <a:pt x="642" y="378"/>
                      </a:lnTo>
                      <a:lnTo>
                        <a:pt x="638" y="378"/>
                      </a:lnTo>
                      <a:lnTo>
                        <a:pt x="638" y="374"/>
                      </a:lnTo>
                      <a:lnTo>
                        <a:pt x="642" y="374"/>
                      </a:lnTo>
                      <a:lnTo>
                        <a:pt x="638" y="374"/>
                      </a:lnTo>
                      <a:lnTo>
                        <a:pt x="634" y="374"/>
                      </a:lnTo>
                      <a:lnTo>
                        <a:pt x="634" y="370"/>
                      </a:lnTo>
                      <a:lnTo>
                        <a:pt x="638" y="366"/>
                      </a:lnTo>
                      <a:lnTo>
                        <a:pt x="634" y="366"/>
                      </a:lnTo>
                      <a:lnTo>
                        <a:pt x="634" y="358"/>
                      </a:lnTo>
                      <a:lnTo>
                        <a:pt x="630" y="358"/>
                      </a:lnTo>
                      <a:lnTo>
                        <a:pt x="630" y="354"/>
                      </a:lnTo>
                      <a:lnTo>
                        <a:pt x="634" y="354"/>
                      </a:lnTo>
                      <a:lnTo>
                        <a:pt x="638" y="354"/>
                      </a:lnTo>
                      <a:lnTo>
                        <a:pt x="638" y="358"/>
                      </a:lnTo>
                      <a:lnTo>
                        <a:pt x="638" y="362"/>
                      </a:lnTo>
                      <a:lnTo>
                        <a:pt x="642" y="362"/>
                      </a:lnTo>
                      <a:lnTo>
                        <a:pt x="646" y="366"/>
                      </a:lnTo>
                      <a:lnTo>
                        <a:pt x="646" y="370"/>
                      </a:lnTo>
                      <a:lnTo>
                        <a:pt x="648" y="370"/>
                      </a:lnTo>
                      <a:lnTo>
                        <a:pt x="648" y="374"/>
                      </a:lnTo>
                      <a:lnTo>
                        <a:pt x="652" y="374"/>
                      </a:lnTo>
                      <a:lnTo>
                        <a:pt x="652" y="378"/>
                      </a:lnTo>
                      <a:lnTo>
                        <a:pt x="648" y="378"/>
                      </a:lnTo>
                      <a:lnTo>
                        <a:pt x="648" y="378"/>
                      </a:lnTo>
                      <a:lnTo>
                        <a:pt x="648" y="378"/>
                      </a:lnTo>
                      <a:close/>
                      <a:moveTo>
                        <a:pt x="634" y="362"/>
                      </a:moveTo>
                      <a:lnTo>
                        <a:pt x="630" y="366"/>
                      </a:lnTo>
                      <a:lnTo>
                        <a:pt x="626" y="366"/>
                      </a:lnTo>
                      <a:lnTo>
                        <a:pt x="630" y="362"/>
                      </a:lnTo>
                      <a:lnTo>
                        <a:pt x="634" y="358"/>
                      </a:lnTo>
                      <a:lnTo>
                        <a:pt x="634" y="362"/>
                      </a:lnTo>
                      <a:lnTo>
                        <a:pt x="634" y="362"/>
                      </a:lnTo>
                      <a:lnTo>
                        <a:pt x="634" y="362"/>
                      </a:lnTo>
                      <a:close/>
                      <a:moveTo>
                        <a:pt x="660" y="380"/>
                      </a:moveTo>
                      <a:lnTo>
                        <a:pt x="660" y="378"/>
                      </a:lnTo>
                      <a:lnTo>
                        <a:pt x="664" y="378"/>
                      </a:lnTo>
                      <a:lnTo>
                        <a:pt x="664" y="374"/>
                      </a:lnTo>
                      <a:lnTo>
                        <a:pt x="664" y="370"/>
                      </a:lnTo>
                      <a:lnTo>
                        <a:pt x="660" y="374"/>
                      </a:lnTo>
                      <a:lnTo>
                        <a:pt x="664" y="374"/>
                      </a:lnTo>
                      <a:lnTo>
                        <a:pt x="664" y="378"/>
                      </a:lnTo>
                      <a:lnTo>
                        <a:pt x="660" y="378"/>
                      </a:lnTo>
                      <a:lnTo>
                        <a:pt x="660" y="374"/>
                      </a:lnTo>
                      <a:lnTo>
                        <a:pt x="660" y="378"/>
                      </a:lnTo>
                      <a:lnTo>
                        <a:pt x="660" y="380"/>
                      </a:lnTo>
                      <a:lnTo>
                        <a:pt x="656" y="378"/>
                      </a:lnTo>
                      <a:lnTo>
                        <a:pt x="656" y="374"/>
                      </a:lnTo>
                      <a:lnTo>
                        <a:pt x="656" y="370"/>
                      </a:lnTo>
                      <a:lnTo>
                        <a:pt x="660" y="370"/>
                      </a:lnTo>
                      <a:lnTo>
                        <a:pt x="656" y="370"/>
                      </a:lnTo>
                      <a:lnTo>
                        <a:pt x="656" y="366"/>
                      </a:lnTo>
                      <a:lnTo>
                        <a:pt x="660" y="366"/>
                      </a:lnTo>
                      <a:lnTo>
                        <a:pt x="664" y="366"/>
                      </a:lnTo>
                      <a:lnTo>
                        <a:pt x="668" y="366"/>
                      </a:lnTo>
                      <a:lnTo>
                        <a:pt x="668" y="370"/>
                      </a:lnTo>
                      <a:lnTo>
                        <a:pt x="668" y="374"/>
                      </a:lnTo>
                      <a:lnTo>
                        <a:pt x="668" y="378"/>
                      </a:lnTo>
                      <a:lnTo>
                        <a:pt x="668" y="380"/>
                      </a:lnTo>
                      <a:lnTo>
                        <a:pt x="664" y="380"/>
                      </a:lnTo>
                      <a:lnTo>
                        <a:pt x="664" y="378"/>
                      </a:lnTo>
                      <a:lnTo>
                        <a:pt x="664" y="380"/>
                      </a:lnTo>
                      <a:lnTo>
                        <a:pt x="660" y="380"/>
                      </a:lnTo>
                      <a:lnTo>
                        <a:pt x="660" y="380"/>
                      </a:lnTo>
                      <a:lnTo>
                        <a:pt x="660" y="380"/>
                      </a:lnTo>
                      <a:close/>
                      <a:moveTo>
                        <a:pt x="622" y="366"/>
                      </a:moveTo>
                      <a:lnTo>
                        <a:pt x="620" y="366"/>
                      </a:lnTo>
                      <a:lnTo>
                        <a:pt x="622" y="366"/>
                      </a:lnTo>
                      <a:lnTo>
                        <a:pt x="622" y="366"/>
                      </a:lnTo>
                      <a:lnTo>
                        <a:pt x="622" y="366"/>
                      </a:lnTo>
                      <a:close/>
                      <a:moveTo>
                        <a:pt x="274" y="366"/>
                      </a:moveTo>
                      <a:lnTo>
                        <a:pt x="278" y="366"/>
                      </a:lnTo>
                      <a:lnTo>
                        <a:pt x="274" y="370"/>
                      </a:lnTo>
                      <a:lnTo>
                        <a:pt x="274" y="366"/>
                      </a:lnTo>
                      <a:lnTo>
                        <a:pt x="274" y="366"/>
                      </a:lnTo>
                      <a:lnTo>
                        <a:pt x="274" y="366"/>
                      </a:lnTo>
                      <a:close/>
                      <a:moveTo>
                        <a:pt x="634" y="370"/>
                      </a:moveTo>
                      <a:lnTo>
                        <a:pt x="630" y="370"/>
                      </a:lnTo>
                      <a:lnTo>
                        <a:pt x="630" y="366"/>
                      </a:lnTo>
                      <a:lnTo>
                        <a:pt x="634" y="370"/>
                      </a:lnTo>
                      <a:lnTo>
                        <a:pt x="634" y="370"/>
                      </a:lnTo>
                      <a:lnTo>
                        <a:pt x="634" y="370"/>
                      </a:lnTo>
                      <a:close/>
                      <a:moveTo>
                        <a:pt x="634" y="374"/>
                      </a:moveTo>
                      <a:lnTo>
                        <a:pt x="634" y="378"/>
                      </a:lnTo>
                      <a:lnTo>
                        <a:pt x="634" y="374"/>
                      </a:lnTo>
                      <a:lnTo>
                        <a:pt x="634" y="374"/>
                      </a:lnTo>
                      <a:lnTo>
                        <a:pt x="634" y="374"/>
                      </a:lnTo>
                      <a:close/>
                      <a:moveTo>
                        <a:pt x="630" y="378"/>
                      </a:moveTo>
                      <a:lnTo>
                        <a:pt x="626" y="378"/>
                      </a:lnTo>
                      <a:lnTo>
                        <a:pt x="626" y="374"/>
                      </a:lnTo>
                      <a:lnTo>
                        <a:pt x="630" y="374"/>
                      </a:lnTo>
                      <a:lnTo>
                        <a:pt x="630" y="378"/>
                      </a:lnTo>
                      <a:lnTo>
                        <a:pt x="630" y="378"/>
                      </a:lnTo>
                      <a:lnTo>
                        <a:pt x="630" y="378"/>
                      </a:lnTo>
                      <a:close/>
                      <a:moveTo>
                        <a:pt x="630" y="374"/>
                      </a:moveTo>
                      <a:lnTo>
                        <a:pt x="634" y="374"/>
                      </a:lnTo>
                      <a:lnTo>
                        <a:pt x="634" y="378"/>
                      </a:lnTo>
                      <a:lnTo>
                        <a:pt x="630" y="378"/>
                      </a:lnTo>
                      <a:lnTo>
                        <a:pt x="630" y="374"/>
                      </a:lnTo>
                      <a:lnTo>
                        <a:pt x="630" y="374"/>
                      </a:lnTo>
                      <a:lnTo>
                        <a:pt x="630" y="374"/>
                      </a:lnTo>
                      <a:close/>
                      <a:moveTo>
                        <a:pt x="634" y="378"/>
                      </a:moveTo>
                      <a:lnTo>
                        <a:pt x="630" y="378"/>
                      </a:lnTo>
                      <a:lnTo>
                        <a:pt x="630" y="380"/>
                      </a:lnTo>
                      <a:lnTo>
                        <a:pt x="630" y="378"/>
                      </a:lnTo>
                      <a:lnTo>
                        <a:pt x="634" y="378"/>
                      </a:lnTo>
                      <a:lnTo>
                        <a:pt x="634" y="378"/>
                      </a:lnTo>
                      <a:lnTo>
                        <a:pt x="634" y="378"/>
                      </a:lnTo>
                      <a:close/>
                      <a:moveTo>
                        <a:pt x="656" y="378"/>
                      </a:moveTo>
                      <a:lnTo>
                        <a:pt x="660" y="380"/>
                      </a:lnTo>
                      <a:lnTo>
                        <a:pt x="656" y="380"/>
                      </a:lnTo>
                      <a:lnTo>
                        <a:pt x="656" y="378"/>
                      </a:lnTo>
                      <a:lnTo>
                        <a:pt x="656" y="378"/>
                      </a:lnTo>
                      <a:lnTo>
                        <a:pt x="656" y="378"/>
                      </a:lnTo>
                      <a:close/>
                      <a:moveTo>
                        <a:pt x="248" y="378"/>
                      </a:moveTo>
                      <a:lnTo>
                        <a:pt x="250" y="378"/>
                      </a:lnTo>
                      <a:lnTo>
                        <a:pt x="250" y="380"/>
                      </a:lnTo>
                      <a:lnTo>
                        <a:pt x="248" y="380"/>
                      </a:lnTo>
                      <a:lnTo>
                        <a:pt x="248" y="384"/>
                      </a:lnTo>
                      <a:lnTo>
                        <a:pt x="248" y="380"/>
                      </a:lnTo>
                      <a:lnTo>
                        <a:pt x="248" y="378"/>
                      </a:lnTo>
                      <a:lnTo>
                        <a:pt x="248" y="378"/>
                      </a:lnTo>
                      <a:lnTo>
                        <a:pt x="248" y="378"/>
                      </a:lnTo>
                      <a:close/>
                      <a:moveTo>
                        <a:pt x="254" y="378"/>
                      </a:moveTo>
                      <a:lnTo>
                        <a:pt x="254" y="380"/>
                      </a:lnTo>
                      <a:lnTo>
                        <a:pt x="250" y="380"/>
                      </a:lnTo>
                      <a:lnTo>
                        <a:pt x="250" y="378"/>
                      </a:lnTo>
                      <a:lnTo>
                        <a:pt x="254" y="378"/>
                      </a:lnTo>
                      <a:lnTo>
                        <a:pt x="254" y="378"/>
                      </a:lnTo>
                      <a:lnTo>
                        <a:pt x="254" y="378"/>
                      </a:lnTo>
                      <a:close/>
                      <a:moveTo>
                        <a:pt x="634" y="378"/>
                      </a:moveTo>
                      <a:lnTo>
                        <a:pt x="634" y="380"/>
                      </a:lnTo>
                      <a:lnTo>
                        <a:pt x="634" y="378"/>
                      </a:lnTo>
                      <a:lnTo>
                        <a:pt x="634" y="378"/>
                      </a:lnTo>
                      <a:lnTo>
                        <a:pt x="634" y="378"/>
                      </a:lnTo>
                      <a:close/>
                      <a:moveTo>
                        <a:pt x="258" y="380"/>
                      </a:moveTo>
                      <a:lnTo>
                        <a:pt x="258" y="384"/>
                      </a:lnTo>
                      <a:lnTo>
                        <a:pt x="254" y="384"/>
                      </a:lnTo>
                      <a:lnTo>
                        <a:pt x="254" y="388"/>
                      </a:lnTo>
                      <a:lnTo>
                        <a:pt x="254" y="384"/>
                      </a:lnTo>
                      <a:lnTo>
                        <a:pt x="254" y="380"/>
                      </a:lnTo>
                      <a:lnTo>
                        <a:pt x="258" y="380"/>
                      </a:lnTo>
                      <a:lnTo>
                        <a:pt x="258" y="384"/>
                      </a:lnTo>
                      <a:lnTo>
                        <a:pt x="258" y="380"/>
                      </a:lnTo>
                      <a:lnTo>
                        <a:pt x="258" y="380"/>
                      </a:lnTo>
                      <a:lnTo>
                        <a:pt x="258" y="380"/>
                      </a:lnTo>
                      <a:close/>
                      <a:moveTo>
                        <a:pt x="660" y="380"/>
                      </a:moveTo>
                      <a:lnTo>
                        <a:pt x="664" y="384"/>
                      </a:lnTo>
                      <a:lnTo>
                        <a:pt x="660" y="384"/>
                      </a:lnTo>
                      <a:lnTo>
                        <a:pt x="660" y="380"/>
                      </a:lnTo>
                      <a:lnTo>
                        <a:pt x="660" y="380"/>
                      </a:lnTo>
                      <a:lnTo>
                        <a:pt x="660" y="380"/>
                      </a:lnTo>
                      <a:close/>
                      <a:moveTo>
                        <a:pt x="638" y="380"/>
                      </a:moveTo>
                      <a:lnTo>
                        <a:pt x="638" y="384"/>
                      </a:lnTo>
                      <a:lnTo>
                        <a:pt x="642" y="388"/>
                      </a:lnTo>
                      <a:lnTo>
                        <a:pt x="642" y="392"/>
                      </a:lnTo>
                      <a:lnTo>
                        <a:pt x="646" y="392"/>
                      </a:lnTo>
                      <a:lnTo>
                        <a:pt x="642" y="392"/>
                      </a:lnTo>
                      <a:lnTo>
                        <a:pt x="642" y="388"/>
                      </a:lnTo>
                      <a:lnTo>
                        <a:pt x="638" y="388"/>
                      </a:lnTo>
                      <a:lnTo>
                        <a:pt x="638" y="384"/>
                      </a:lnTo>
                      <a:lnTo>
                        <a:pt x="634" y="384"/>
                      </a:lnTo>
                      <a:lnTo>
                        <a:pt x="638" y="380"/>
                      </a:lnTo>
                      <a:lnTo>
                        <a:pt x="638" y="380"/>
                      </a:lnTo>
                      <a:lnTo>
                        <a:pt x="638" y="380"/>
                      </a:lnTo>
                      <a:close/>
                      <a:moveTo>
                        <a:pt x="266" y="380"/>
                      </a:moveTo>
                      <a:lnTo>
                        <a:pt x="266" y="384"/>
                      </a:lnTo>
                      <a:lnTo>
                        <a:pt x="262" y="384"/>
                      </a:lnTo>
                      <a:lnTo>
                        <a:pt x="266" y="380"/>
                      </a:lnTo>
                      <a:lnTo>
                        <a:pt x="266" y="380"/>
                      </a:lnTo>
                      <a:lnTo>
                        <a:pt x="266" y="380"/>
                      </a:lnTo>
                      <a:close/>
                      <a:moveTo>
                        <a:pt x="642" y="380"/>
                      </a:moveTo>
                      <a:lnTo>
                        <a:pt x="642" y="384"/>
                      </a:lnTo>
                      <a:lnTo>
                        <a:pt x="646" y="384"/>
                      </a:lnTo>
                      <a:lnTo>
                        <a:pt x="642" y="384"/>
                      </a:lnTo>
                      <a:lnTo>
                        <a:pt x="642" y="380"/>
                      </a:lnTo>
                      <a:lnTo>
                        <a:pt x="642" y="380"/>
                      </a:lnTo>
                      <a:lnTo>
                        <a:pt x="642" y="380"/>
                      </a:lnTo>
                      <a:close/>
                      <a:moveTo>
                        <a:pt x="232" y="380"/>
                      </a:moveTo>
                      <a:lnTo>
                        <a:pt x="236" y="380"/>
                      </a:lnTo>
                      <a:lnTo>
                        <a:pt x="236" y="384"/>
                      </a:lnTo>
                      <a:lnTo>
                        <a:pt x="232" y="384"/>
                      </a:lnTo>
                      <a:lnTo>
                        <a:pt x="232" y="380"/>
                      </a:lnTo>
                      <a:lnTo>
                        <a:pt x="232" y="380"/>
                      </a:lnTo>
                      <a:lnTo>
                        <a:pt x="232" y="380"/>
                      </a:lnTo>
                      <a:close/>
                      <a:moveTo>
                        <a:pt x="266" y="384"/>
                      </a:moveTo>
                      <a:lnTo>
                        <a:pt x="266" y="388"/>
                      </a:lnTo>
                      <a:lnTo>
                        <a:pt x="266" y="384"/>
                      </a:lnTo>
                      <a:lnTo>
                        <a:pt x="266" y="384"/>
                      </a:lnTo>
                      <a:lnTo>
                        <a:pt x="266" y="384"/>
                      </a:lnTo>
                      <a:close/>
                      <a:moveTo>
                        <a:pt x="198" y="396"/>
                      </a:moveTo>
                      <a:lnTo>
                        <a:pt x="194" y="396"/>
                      </a:lnTo>
                      <a:lnTo>
                        <a:pt x="194" y="400"/>
                      </a:lnTo>
                      <a:lnTo>
                        <a:pt x="192" y="400"/>
                      </a:lnTo>
                      <a:lnTo>
                        <a:pt x="188" y="400"/>
                      </a:lnTo>
                      <a:lnTo>
                        <a:pt x="188" y="396"/>
                      </a:lnTo>
                      <a:lnTo>
                        <a:pt x="188" y="392"/>
                      </a:lnTo>
                      <a:lnTo>
                        <a:pt x="192" y="392"/>
                      </a:lnTo>
                      <a:lnTo>
                        <a:pt x="194" y="388"/>
                      </a:lnTo>
                      <a:lnTo>
                        <a:pt x="198" y="388"/>
                      </a:lnTo>
                      <a:lnTo>
                        <a:pt x="202" y="384"/>
                      </a:lnTo>
                      <a:lnTo>
                        <a:pt x="206" y="384"/>
                      </a:lnTo>
                      <a:lnTo>
                        <a:pt x="210" y="388"/>
                      </a:lnTo>
                      <a:lnTo>
                        <a:pt x="210" y="392"/>
                      </a:lnTo>
                      <a:lnTo>
                        <a:pt x="214" y="392"/>
                      </a:lnTo>
                      <a:lnTo>
                        <a:pt x="210" y="392"/>
                      </a:lnTo>
                      <a:lnTo>
                        <a:pt x="206" y="392"/>
                      </a:lnTo>
                      <a:lnTo>
                        <a:pt x="206" y="396"/>
                      </a:lnTo>
                      <a:lnTo>
                        <a:pt x="206" y="392"/>
                      </a:lnTo>
                      <a:lnTo>
                        <a:pt x="202" y="392"/>
                      </a:lnTo>
                      <a:lnTo>
                        <a:pt x="198" y="392"/>
                      </a:lnTo>
                      <a:lnTo>
                        <a:pt x="198" y="396"/>
                      </a:lnTo>
                      <a:lnTo>
                        <a:pt x="198" y="396"/>
                      </a:lnTo>
                      <a:lnTo>
                        <a:pt x="198" y="396"/>
                      </a:lnTo>
                      <a:close/>
                      <a:moveTo>
                        <a:pt x="664" y="384"/>
                      </a:moveTo>
                      <a:lnTo>
                        <a:pt x="664" y="388"/>
                      </a:lnTo>
                      <a:lnTo>
                        <a:pt x="660" y="388"/>
                      </a:lnTo>
                      <a:lnTo>
                        <a:pt x="664" y="384"/>
                      </a:lnTo>
                      <a:lnTo>
                        <a:pt x="664" y="384"/>
                      </a:lnTo>
                      <a:lnTo>
                        <a:pt x="664" y="384"/>
                      </a:lnTo>
                      <a:close/>
                      <a:moveTo>
                        <a:pt x="646" y="388"/>
                      </a:moveTo>
                      <a:lnTo>
                        <a:pt x="646" y="392"/>
                      </a:lnTo>
                      <a:lnTo>
                        <a:pt x="642" y="388"/>
                      </a:lnTo>
                      <a:lnTo>
                        <a:pt x="646" y="388"/>
                      </a:lnTo>
                      <a:lnTo>
                        <a:pt x="646" y="388"/>
                      </a:lnTo>
                      <a:lnTo>
                        <a:pt x="646" y="388"/>
                      </a:lnTo>
                      <a:close/>
                      <a:moveTo>
                        <a:pt x="218" y="396"/>
                      </a:moveTo>
                      <a:lnTo>
                        <a:pt x="222" y="396"/>
                      </a:lnTo>
                      <a:lnTo>
                        <a:pt x="222" y="400"/>
                      </a:lnTo>
                      <a:lnTo>
                        <a:pt x="218" y="400"/>
                      </a:lnTo>
                      <a:lnTo>
                        <a:pt x="218" y="396"/>
                      </a:lnTo>
                      <a:lnTo>
                        <a:pt x="218" y="396"/>
                      </a:lnTo>
                      <a:lnTo>
                        <a:pt x="218" y="396"/>
                      </a:lnTo>
                      <a:close/>
                      <a:moveTo>
                        <a:pt x="180" y="404"/>
                      </a:moveTo>
                      <a:lnTo>
                        <a:pt x="176" y="404"/>
                      </a:lnTo>
                      <a:lnTo>
                        <a:pt x="176" y="400"/>
                      </a:lnTo>
                      <a:lnTo>
                        <a:pt x="180" y="400"/>
                      </a:lnTo>
                      <a:lnTo>
                        <a:pt x="180" y="404"/>
                      </a:lnTo>
                      <a:lnTo>
                        <a:pt x="180" y="404"/>
                      </a:lnTo>
                      <a:lnTo>
                        <a:pt x="180" y="404"/>
                      </a:lnTo>
                      <a:close/>
                      <a:moveTo>
                        <a:pt x="172" y="408"/>
                      </a:moveTo>
                      <a:lnTo>
                        <a:pt x="172" y="404"/>
                      </a:lnTo>
                      <a:lnTo>
                        <a:pt x="176" y="404"/>
                      </a:lnTo>
                      <a:lnTo>
                        <a:pt x="176" y="408"/>
                      </a:lnTo>
                      <a:lnTo>
                        <a:pt x="172" y="408"/>
                      </a:lnTo>
                      <a:lnTo>
                        <a:pt x="172" y="408"/>
                      </a:lnTo>
                      <a:lnTo>
                        <a:pt x="172" y="408"/>
                      </a:lnTo>
                      <a:close/>
                      <a:moveTo>
                        <a:pt x="188" y="404"/>
                      </a:moveTo>
                      <a:lnTo>
                        <a:pt x="188" y="408"/>
                      </a:lnTo>
                      <a:lnTo>
                        <a:pt x="184" y="408"/>
                      </a:lnTo>
                      <a:lnTo>
                        <a:pt x="184" y="404"/>
                      </a:lnTo>
                      <a:lnTo>
                        <a:pt x="188" y="404"/>
                      </a:lnTo>
                      <a:lnTo>
                        <a:pt x="188" y="404"/>
                      </a:lnTo>
                      <a:lnTo>
                        <a:pt x="188" y="404"/>
                      </a:lnTo>
                      <a:close/>
                      <a:moveTo>
                        <a:pt x="158" y="414"/>
                      </a:moveTo>
                      <a:lnTo>
                        <a:pt x="162" y="414"/>
                      </a:lnTo>
                      <a:lnTo>
                        <a:pt x="158" y="410"/>
                      </a:lnTo>
                      <a:lnTo>
                        <a:pt x="158" y="408"/>
                      </a:lnTo>
                      <a:lnTo>
                        <a:pt x="162" y="408"/>
                      </a:lnTo>
                      <a:lnTo>
                        <a:pt x="166" y="408"/>
                      </a:lnTo>
                      <a:lnTo>
                        <a:pt x="166" y="410"/>
                      </a:lnTo>
                      <a:lnTo>
                        <a:pt x="166" y="408"/>
                      </a:lnTo>
                      <a:lnTo>
                        <a:pt x="168" y="408"/>
                      </a:lnTo>
                      <a:lnTo>
                        <a:pt x="168" y="410"/>
                      </a:lnTo>
                      <a:lnTo>
                        <a:pt x="166" y="410"/>
                      </a:lnTo>
                      <a:lnTo>
                        <a:pt x="166" y="414"/>
                      </a:lnTo>
                      <a:lnTo>
                        <a:pt x="166" y="410"/>
                      </a:lnTo>
                      <a:lnTo>
                        <a:pt x="168" y="410"/>
                      </a:lnTo>
                      <a:lnTo>
                        <a:pt x="168" y="414"/>
                      </a:lnTo>
                      <a:lnTo>
                        <a:pt x="166" y="414"/>
                      </a:lnTo>
                      <a:lnTo>
                        <a:pt x="166" y="418"/>
                      </a:lnTo>
                      <a:lnTo>
                        <a:pt x="162" y="418"/>
                      </a:lnTo>
                      <a:lnTo>
                        <a:pt x="158" y="418"/>
                      </a:lnTo>
                      <a:lnTo>
                        <a:pt x="154" y="422"/>
                      </a:lnTo>
                      <a:lnTo>
                        <a:pt x="150" y="422"/>
                      </a:lnTo>
                      <a:lnTo>
                        <a:pt x="146" y="422"/>
                      </a:lnTo>
                      <a:lnTo>
                        <a:pt x="150" y="422"/>
                      </a:lnTo>
                      <a:lnTo>
                        <a:pt x="150" y="418"/>
                      </a:lnTo>
                      <a:lnTo>
                        <a:pt x="154" y="418"/>
                      </a:lnTo>
                      <a:lnTo>
                        <a:pt x="158" y="418"/>
                      </a:lnTo>
                      <a:lnTo>
                        <a:pt x="158" y="414"/>
                      </a:lnTo>
                      <a:lnTo>
                        <a:pt x="158" y="414"/>
                      </a:lnTo>
                      <a:lnTo>
                        <a:pt x="158" y="414"/>
                      </a:lnTo>
                      <a:close/>
                      <a:moveTo>
                        <a:pt x="168" y="414"/>
                      </a:moveTo>
                      <a:lnTo>
                        <a:pt x="168" y="410"/>
                      </a:lnTo>
                      <a:lnTo>
                        <a:pt x="172" y="410"/>
                      </a:lnTo>
                      <a:lnTo>
                        <a:pt x="168" y="414"/>
                      </a:lnTo>
                      <a:lnTo>
                        <a:pt x="168" y="414"/>
                      </a:lnTo>
                      <a:lnTo>
                        <a:pt x="168" y="414"/>
                      </a:lnTo>
                      <a:close/>
                      <a:moveTo>
                        <a:pt x="146" y="418"/>
                      </a:moveTo>
                      <a:lnTo>
                        <a:pt x="146" y="422"/>
                      </a:lnTo>
                      <a:lnTo>
                        <a:pt x="142" y="422"/>
                      </a:lnTo>
                      <a:lnTo>
                        <a:pt x="138" y="422"/>
                      </a:lnTo>
                      <a:lnTo>
                        <a:pt x="138" y="426"/>
                      </a:lnTo>
                      <a:lnTo>
                        <a:pt x="138" y="430"/>
                      </a:lnTo>
                      <a:lnTo>
                        <a:pt x="136" y="430"/>
                      </a:lnTo>
                      <a:lnTo>
                        <a:pt x="132" y="430"/>
                      </a:lnTo>
                      <a:lnTo>
                        <a:pt x="132" y="434"/>
                      </a:lnTo>
                      <a:lnTo>
                        <a:pt x="128" y="434"/>
                      </a:lnTo>
                      <a:lnTo>
                        <a:pt x="132" y="430"/>
                      </a:lnTo>
                      <a:lnTo>
                        <a:pt x="136" y="426"/>
                      </a:lnTo>
                      <a:lnTo>
                        <a:pt x="132" y="426"/>
                      </a:lnTo>
                      <a:lnTo>
                        <a:pt x="136" y="426"/>
                      </a:lnTo>
                      <a:lnTo>
                        <a:pt x="136" y="422"/>
                      </a:lnTo>
                      <a:lnTo>
                        <a:pt x="138" y="422"/>
                      </a:lnTo>
                      <a:lnTo>
                        <a:pt x="138" y="418"/>
                      </a:lnTo>
                      <a:lnTo>
                        <a:pt x="142" y="418"/>
                      </a:lnTo>
                      <a:lnTo>
                        <a:pt x="146" y="418"/>
                      </a:lnTo>
                      <a:lnTo>
                        <a:pt x="146" y="418"/>
                      </a:lnTo>
                      <a:lnTo>
                        <a:pt x="146" y="418"/>
                      </a:lnTo>
                      <a:close/>
                      <a:moveTo>
                        <a:pt x="4964" y="434"/>
                      </a:moveTo>
                      <a:lnTo>
                        <a:pt x="4964" y="430"/>
                      </a:lnTo>
                      <a:lnTo>
                        <a:pt x="4960" y="434"/>
                      </a:lnTo>
                      <a:lnTo>
                        <a:pt x="4960" y="430"/>
                      </a:lnTo>
                      <a:lnTo>
                        <a:pt x="4964" y="430"/>
                      </a:lnTo>
                      <a:lnTo>
                        <a:pt x="4968" y="430"/>
                      </a:lnTo>
                      <a:lnTo>
                        <a:pt x="4972" y="430"/>
                      </a:lnTo>
                      <a:lnTo>
                        <a:pt x="4972" y="434"/>
                      </a:lnTo>
                      <a:lnTo>
                        <a:pt x="4968" y="434"/>
                      </a:lnTo>
                      <a:lnTo>
                        <a:pt x="4964" y="434"/>
                      </a:lnTo>
                      <a:lnTo>
                        <a:pt x="4964" y="434"/>
                      </a:lnTo>
                      <a:lnTo>
                        <a:pt x="4964" y="434"/>
                      </a:lnTo>
                      <a:close/>
                      <a:moveTo>
                        <a:pt x="116" y="434"/>
                      </a:moveTo>
                      <a:lnTo>
                        <a:pt x="120" y="430"/>
                      </a:lnTo>
                      <a:lnTo>
                        <a:pt x="120" y="434"/>
                      </a:lnTo>
                      <a:lnTo>
                        <a:pt x="116" y="434"/>
                      </a:lnTo>
                      <a:lnTo>
                        <a:pt x="116" y="434"/>
                      </a:lnTo>
                      <a:lnTo>
                        <a:pt x="116" y="434"/>
                      </a:lnTo>
                      <a:close/>
                      <a:moveTo>
                        <a:pt x="106" y="436"/>
                      </a:moveTo>
                      <a:lnTo>
                        <a:pt x="110" y="436"/>
                      </a:lnTo>
                      <a:lnTo>
                        <a:pt x="106" y="436"/>
                      </a:lnTo>
                      <a:lnTo>
                        <a:pt x="106" y="436"/>
                      </a:lnTo>
                      <a:lnTo>
                        <a:pt x="106" y="436"/>
                      </a:lnTo>
                      <a:close/>
                      <a:moveTo>
                        <a:pt x="4974" y="440"/>
                      </a:moveTo>
                      <a:lnTo>
                        <a:pt x="4972" y="440"/>
                      </a:lnTo>
                      <a:lnTo>
                        <a:pt x="4974" y="440"/>
                      </a:lnTo>
                      <a:lnTo>
                        <a:pt x="4974" y="440"/>
                      </a:lnTo>
                      <a:lnTo>
                        <a:pt x="4974" y="440"/>
                      </a:lnTo>
                      <a:close/>
                      <a:moveTo>
                        <a:pt x="46" y="448"/>
                      </a:moveTo>
                      <a:lnTo>
                        <a:pt x="50" y="448"/>
                      </a:lnTo>
                      <a:lnTo>
                        <a:pt x="52" y="448"/>
                      </a:lnTo>
                      <a:lnTo>
                        <a:pt x="52" y="444"/>
                      </a:lnTo>
                      <a:lnTo>
                        <a:pt x="56" y="444"/>
                      </a:lnTo>
                      <a:lnTo>
                        <a:pt x="52" y="444"/>
                      </a:lnTo>
                      <a:lnTo>
                        <a:pt x="52" y="440"/>
                      </a:lnTo>
                      <a:lnTo>
                        <a:pt x="56" y="440"/>
                      </a:lnTo>
                      <a:lnTo>
                        <a:pt x="60" y="440"/>
                      </a:lnTo>
                      <a:lnTo>
                        <a:pt x="60" y="444"/>
                      </a:lnTo>
                      <a:lnTo>
                        <a:pt x="56" y="448"/>
                      </a:lnTo>
                      <a:lnTo>
                        <a:pt x="52" y="448"/>
                      </a:lnTo>
                      <a:lnTo>
                        <a:pt x="50" y="448"/>
                      </a:lnTo>
                      <a:lnTo>
                        <a:pt x="46" y="448"/>
                      </a:lnTo>
                      <a:lnTo>
                        <a:pt x="42" y="448"/>
                      </a:lnTo>
                      <a:lnTo>
                        <a:pt x="46" y="448"/>
                      </a:lnTo>
                      <a:lnTo>
                        <a:pt x="46" y="448"/>
                      </a:lnTo>
                      <a:lnTo>
                        <a:pt x="46" y="448"/>
                      </a:lnTo>
                      <a:close/>
                      <a:moveTo>
                        <a:pt x="80" y="444"/>
                      </a:moveTo>
                      <a:lnTo>
                        <a:pt x="80" y="440"/>
                      </a:lnTo>
                      <a:lnTo>
                        <a:pt x="82" y="440"/>
                      </a:lnTo>
                      <a:lnTo>
                        <a:pt x="82" y="444"/>
                      </a:lnTo>
                      <a:lnTo>
                        <a:pt x="80" y="444"/>
                      </a:lnTo>
                      <a:lnTo>
                        <a:pt x="80" y="444"/>
                      </a:lnTo>
                      <a:lnTo>
                        <a:pt x="80" y="444"/>
                      </a:lnTo>
                      <a:close/>
                      <a:moveTo>
                        <a:pt x="68" y="448"/>
                      </a:moveTo>
                      <a:lnTo>
                        <a:pt x="64" y="448"/>
                      </a:lnTo>
                      <a:lnTo>
                        <a:pt x="60" y="448"/>
                      </a:lnTo>
                      <a:lnTo>
                        <a:pt x="56" y="448"/>
                      </a:lnTo>
                      <a:lnTo>
                        <a:pt x="60" y="448"/>
                      </a:lnTo>
                      <a:lnTo>
                        <a:pt x="64" y="448"/>
                      </a:lnTo>
                      <a:lnTo>
                        <a:pt x="68" y="448"/>
                      </a:lnTo>
                      <a:lnTo>
                        <a:pt x="72" y="448"/>
                      </a:lnTo>
                      <a:lnTo>
                        <a:pt x="76" y="448"/>
                      </a:lnTo>
                      <a:lnTo>
                        <a:pt x="72" y="448"/>
                      </a:lnTo>
                      <a:lnTo>
                        <a:pt x="68" y="448"/>
                      </a:lnTo>
                      <a:lnTo>
                        <a:pt x="68" y="448"/>
                      </a:lnTo>
                      <a:lnTo>
                        <a:pt x="68" y="448"/>
                      </a:lnTo>
                      <a:close/>
                      <a:moveTo>
                        <a:pt x="5028" y="452"/>
                      </a:moveTo>
                      <a:lnTo>
                        <a:pt x="5030" y="448"/>
                      </a:lnTo>
                      <a:lnTo>
                        <a:pt x="5030" y="452"/>
                      </a:lnTo>
                      <a:lnTo>
                        <a:pt x="5028" y="452"/>
                      </a:lnTo>
                      <a:lnTo>
                        <a:pt x="5028" y="452"/>
                      </a:lnTo>
                      <a:lnTo>
                        <a:pt x="5028" y="452"/>
                      </a:lnTo>
                      <a:close/>
                      <a:moveTo>
                        <a:pt x="30" y="452"/>
                      </a:moveTo>
                      <a:lnTo>
                        <a:pt x="26" y="452"/>
                      </a:lnTo>
                      <a:lnTo>
                        <a:pt x="26" y="448"/>
                      </a:lnTo>
                      <a:lnTo>
                        <a:pt x="30" y="448"/>
                      </a:lnTo>
                      <a:lnTo>
                        <a:pt x="30" y="452"/>
                      </a:lnTo>
                      <a:lnTo>
                        <a:pt x="30" y="452"/>
                      </a:lnTo>
                      <a:lnTo>
                        <a:pt x="30" y="452"/>
                      </a:lnTo>
                      <a:close/>
                      <a:moveTo>
                        <a:pt x="5060" y="452"/>
                      </a:moveTo>
                      <a:lnTo>
                        <a:pt x="5058" y="452"/>
                      </a:lnTo>
                      <a:lnTo>
                        <a:pt x="5060" y="448"/>
                      </a:lnTo>
                      <a:lnTo>
                        <a:pt x="5060" y="452"/>
                      </a:lnTo>
                      <a:lnTo>
                        <a:pt x="5060" y="452"/>
                      </a:lnTo>
                      <a:lnTo>
                        <a:pt x="5060" y="452"/>
                      </a:lnTo>
                      <a:close/>
                      <a:moveTo>
                        <a:pt x="5042" y="452"/>
                      </a:moveTo>
                      <a:lnTo>
                        <a:pt x="5046" y="452"/>
                      </a:lnTo>
                      <a:lnTo>
                        <a:pt x="5042" y="452"/>
                      </a:lnTo>
                      <a:lnTo>
                        <a:pt x="5042" y="452"/>
                      </a:lnTo>
                      <a:lnTo>
                        <a:pt x="5042" y="452"/>
                      </a:lnTo>
                      <a:close/>
                      <a:moveTo>
                        <a:pt x="20" y="460"/>
                      </a:moveTo>
                      <a:lnTo>
                        <a:pt x="16" y="460"/>
                      </a:lnTo>
                      <a:lnTo>
                        <a:pt x="16" y="456"/>
                      </a:lnTo>
                      <a:lnTo>
                        <a:pt x="20" y="456"/>
                      </a:lnTo>
                      <a:lnTo>
                        <a:pt x="20" y="452"/>
                      </a:lnTo>
                      <a:lnTo>
                        <a:pt x="24" y="452"/>
                      </a:lnTo>
                      <a:lnTo>
                        <a:pt x="26" y="456"/>
                      </a:lnTo>
                      <a:lnTo>
                        <a:pt x="24" y="456"/>
                      </a:lnTo>
                      <a:lnTo>
                        <a:pt x="20" y="456"/>
                      </a:lnTo>
                      <a:lnTo>
                        <a:pt x="20" y="460"/>
                      </a:lnTo>
                      <a:lnTo>
                        <a:pt x="20" y="460"/>
                      </a:lnTo>
                      <a:lnTo>
                        <a:pt x="20" y="460"/>
                      </a:lnTo>
                      <a:close/>
                      <a:moveTo>
                        <a:pt x="8" y="456"/>
                      </a:moveTo>
                      <a:lnTo>
                        <a:pt x="12" y="456"/>
                      </a:lnTo>
                      <a:lnTo>
                        <a:pt x="16" y="456"/>
                      </a:lnTo>
                      <a:lnTo>
                        <a:pt x="16" y="452"/>
                      </a:lnTo>
                      <a:lnTo>
                        <a:pt x="16" y="456"/>
                      </a:lnTo>
                      <a:lnTo>
                        <a:pt x="12" y="456"/>
                      </a:lnTo>
                      <a:lnTo>
                        <a:pt x="8" y="456"/>
                      </a:lnTo>
                      <a:lnTo>
                        <a:pt x="8" y="456"/>
                      </a:lnTo>
                      <a:lnTo>
                        <a:pt x="8" y="456"/>
                      </a:lnTo>
                      <a:close/>
                      <a:moveTo>
                        <a:pt x="4" y="460"/>
                      </a:moveTo>
                      <a:lnTo>
                        <a:pt x="0" y="456"/>
                      </a:lnTo>
                      <a:lnTo>
                        <a:pt x="4" y="456"/>
                      </a:lnTo>
                      <a:lnTo>
                        <a:pt x="0" y="456"/>
                      </a:lnTo>
                      <a:lnTo>
                        <a:pt x="0" y="452"/>
                      </a:lnTo>
                      <a:lnTo>
                        <a:pt x="4" y="452"/>
                      </a:lnTo>
                      <a:lnTo>
                        <a:pt x="4" y="456"/>
                      </a:lnTo>
                      <a:lnTo>
                        <a:pt x="4" y="460"/>
                      </a:lnTo>
                      <a:lnTo>
                        <a:pt x="4" y="460"/>
                      </a:lnTo>
                      <a:lnTo>
                        <a:pt x="4" y="460"/>
                      </a:lnTo>
                      <a:close/>
                      <a:moveTo>
                        <a:pt x="30" y="456"/>
                      </a:moveTo>
                      <a:lnTo>
                        <a:pt x="26" y="456"/>
                      </a:lnTo>
                      <a:lnTo>
                        <a:pt x="26" y="452"/>
                      </a:lnTo>
                      <a:lnTo>
                        <a:pt x="30" y="452"/>
                      </a:lnTo>
                      <a:lnTo>
                        <a:pt x="30" y="456"/>
                      </a:lnTo>
                      <a:lnTo>
                        <a:pt x="30" y="452"/>
                      </a:lnTo>
                      <a:lnTo>
                        <a:pt x="30" y="456"/>
                      </a:lnTo>
                      <a:lnTo>
                        <a:pt x="30" y="456"/>
                      </a:lnTo>
                      <a:lnTo>
                        <a:pt x="30" y="456"/>
                      </a:lnTo>
                      <a:close/>
                      <a:moveTo>
                        <a:pt x="26" y="456"/>
                      </a:moveTo>
                      <a:lnTo>
                        <a:pt x="26" y="452"/>
                      </a:lnTo>
                      <a:lnTo>
                        <a:pt x="26" y="456"/>
                      </a:lnTo>
                      <a:lnTo>
                        <a:pt x="26" y="456"/>
                      </a:lnTo>
                      <a:lnTo>
                        <a:pt x="26" y="456"/>
                      </a:lnTo>
                      <a:close/>
                      <a:moveTo>
                        <a:pt x="5054" y="464"/>
                      </a:moveTo>
                      <a:lnTo>
                        <a:pt x="5050" y="460"/>
                      </a:lnTo>
                      <a:lnTo>
                        <a:pt x="5046" y="460"/>
                      </a:lnTo>
                      <a:lnTo>
                        <a:pt x="5046" y="456"/>
                      </a:lnTo>
                      <a:lnTo>
                        <a:pt x="5046" y="460"/>
                      </a:lnTo>
                      <a:lnTo>
                        <a:pt x="5050" y="460"/>
                      </a:lnTo>
                      <a:lnTo>
                        <a:pt x="5054" y="460"/>
                      </a:lnTo>
                      <a:lnTo>
                        <a:pt x="5054" y="464"/>
                      </a:lnTo>
                      <a:lnTo>
                        <a:pt x="5058" y="464"/>
                      </a:lnTo>
                      <a:lnTo>
                        <a:pt x="5054" y="464"/>
                      </a:lnTo>
                      <a:lnTo>
                        <a:pt x="5054" y="464"/>
                      </a:lnTo>
                      <a:lnTo>
                        <a:pt x="5054" y="464"/>
                      </a:lnTo>
                      <a:close/>
                      <a:moveTo>
                        <a:pt x="784" y="520"/>
                      </a:moveTo>
                      <a:lnTo>
                        <a:pt x="784" y="522"/>
                      </a:lnTo>
                      <a:lnTo>
                        <a:pt x="780" y="520"/>
                      </a:lnTo>
                      <a:lnTo>
                        <a:pt x="784" y="520"/>
                      </a:lnTo>
                      <a:lnTo>
                        <a:pt x="784" y="520"/>
                      </a:lnTo>
                      <a:lnTo>
                        <a:pt x="784" y="520"/>
                      </a:lnTo>
                      <a:close/>
                      <a:moveTo>
                        <a:pt x="784" y="522"/>
                      </a:moveTo>
                      <a:lnTo>
                        <a:pt x="784" y="526"/>
                      </a:lnTo>
                      <a:lnTo>
                        <a:pt x="784" y="522"/>
                      </a:lnTo>
                      <a:lnTo>
                        <a:pt x="780" y="522"/>
                      </a:lnTo>
                      <a:lnTo>
                        <a:pt x="784" y="522"/>
                      </a:lnTo>
                      <a:lnTo>
                        <a:pt x="784" y="522"/>
                      </a:lnTo>
                      <a:lnTo>
                        <a:pt x="784" y="522"/>
                      </a:lnTo>
                      <a:close/>
                      <a:moveTo>
                        <a:pt x="788" y="526"/>
                      </a:moveTo>
                      <a:lnTo>
                        <a:pt x="788" y="530"/>
                      </a:lnTo>
                      <a:lnTo>
                        <a:pt x="790" y="534"/>
                      </a:lnTo>
                      <a:lnTo>
                        <a:pt x="788" y="534"/>
                      </a:lnTo>
                      <a:lnTo>
                        <a:pt x="788" y="530"/>
                      </a:lnTo>
                      <a:lnTo>
                        <a:pt x="784" y="530"/>
                      </a:lnTo>
                      <a:lnTo>
                        <a:pt x="784" y="526"/>
                      </a:lnTo>
                      <a:lnTo>
                        <a:pt x="788" y="526"/>
                      </a:lnTo>
                      <a:lnTo>
                        <a:pt x="788" y="526"/>
                      </a:lnTo>
                      <a:lnTo>
                        <a:pt x="788" y="526"/>
                      </a:lnTo>
                      <a:close/>
                      <a:moveTo>
                        <a:pt x="790" y="546"/>
                      </a:moveTo>
                      <a:lnTo>
                        <a:pt x="788" y="546"/>
                      </a:lnTo>
                      <a:lnTo>
                        <a:pt x="788" y="542"/>
                      </a:lnTo>
                      <a:lnTo>
                        <a:pt x="788" y="546"/>
                      </a:lnTo>
                      <a:lnTo>
                        <a:pt x="790" y="546"/>
                      </a:lnTo>
                      <a:lnTo>
                        <a:pt x="790" y="546"/>
                      </a:lnTo>
                      <a:lnTo>
                        <a:pt x="790" y="546"/>
                      </a:lnTo>
                      <a:close/>
                      <a:moveTo>
                        <a:pt x="1556" y="606"/>
                      </a:moveTo>
                      <a:lnTo>
                        <a:pt x="1556" y="608"/>
                      </a:lnTo>
                      <a:lnTo>
                        <a:pt x="1552" y="608"/>
                      </a:lnTo>
                      <a:lnTo>
                        <a:pt x="1552" y="606"/>
                      </a:lnTo>
                      <a:lnTo>
                        <a:pt x="1556" y="606"/>
                      </a:lnTo>
                      <a:lnTo>
                        <a:pt x="1556" y="606"/>
                      </a:lnTo>
                      <a:lnTo>
                        <a:pt x="1556" y="606"/>
                      </a:lnTo>
                      <a:close/>
                      <a:moveTo>
                        <a:pt x="1552" y="608"/>
                      </a:moveTo>
                      <a:lnTo>
                        <a:pt x="1548" y="612"/>
                      </a:lnTo>
                      <a:lnTo>
                        <a:pt x="1548" y="608"/>
                      </a:lnTo>
                      <a:lnTo>
                        <a:pt x="1552" y="608"/>
                      </a:lnTo>
                      <a:lnTo>
                        <a:pt x="1552" y="608"/>
                      </a:lnTo>
                      <a:lnTo>
                        <a:pt x="1552" y="608"/>
                      </a:lnTo>
                      <a:close/>
                      <a:moveTo>
                        <a:pt x="1514" y="660"/>
                      </a:moveTo>
                      <a:lnTo>
                        <a:pt x="1514" y="664"/>
                      </a:lnTo>
                      <a:lnTo>
                        <a:pt x="1510" y="664"/>
                      </a:lnTo>
                      <a:lnTo>
                        <a:pt x="1510" y="660"/>
                      </a:lnTo>
                      <a:lnTo>
                        <a:pt x="1514" y="660"/>
                      </a:lnTo>
                      <a:lnTo>
                        <a:pt x="1514" y="660"/>
                      </a:lnTo>
                      <a:lnTo>
                        <a:pt x="1514" y="660"/>
                      </a:lnTo>
                      <a:close/>
                      <a:moveTo>
                        <a:pt x="1522" y="664"/>
                      </a:moveTo>
                      <a:lnTo>
                        <a:pt x="1522" y="668"/>
                      </a:lnTo>
                      <a:lnTo>
                        <a:pt x="1518" y="668"/>
                      </a:lnTo>
                      <a:lnTo>
                        <a:pt x="1518" y="664"/>
                      </a:lnTo>
                      <a:lnTo>
                        <a:pt x="1522" y="664"/>
                      </a:lnTo>
                      <a:lnTo>
                        <a:pt x="1522" y="664"/>
                      </a:lnTo>
                      <a:lnTo>
                        <a:pt x="1522" y="664"/>
                      </a:lnTo>
                      <a:close/>
                      <a:moveTo>
                        <a:pt x="1528" y="664"/>
                      </a:moveTo>
                      <a:lnTo>
                        <a:pt x="1528" y="668"/>
                      </a:lnTo>
                      <a:lnTo>
                        <a:pt x="1532" y="668"/>
                      </a:lnTo>
                      <a:lnTo>
                        <a:pt x="1528" y="668"/>
                      </a:lnTo>
                      <a:lnTo>
                        <a:pt x="1526" y="668"/>
                      </a:lnTo>
                      <a:lnTo>
                        <a:pt x="1528" y="668"/>
                      </a:lnTo>
                      <a:lnTo>
                        <a:pt x="1528" y="664"/>
                      </a:lnTo>
                      <a:lnTo>
                        <a:pt x="1528" y="664"/>
                      </a:lnTo>
                      <a:lnTo>
                        <a:pt x="1528" y="664"/>
                      </a:lnTo>
                      <a:close/>
                      <a:moveTo>
                        <a:pt x="1488" y="678"/>
                      </a:moveTo>
                      <a:lnTo>
                        <a:pt x="1488" y="676"/>
                      </a:lnTo>
                      <a:lnTo>
                        <a:pt x="1488" y="678"/>
                      </a:lnTo>
                      <a:lnTo>
                        <a:pt x="1484" y="678"/>
                      </a:lnTo>
                      <a:lnTo>
                        <a:pt x="1480" y="678"/>
                      </a:lnTo>
                      <a:lnTo>
                        <a:pt x="1476" y="678"/>
                      </a:lnTo>
                      <a:lnTo>
                        <a:pt x="1472" y="678"/>
                      </a:lnTo>
                      <a:lnTo>
                        <a:pt x="1472" y="676"/>
                      </a:lnTo>
                      <a:lnTo>
                        <a:pt x="1476" y="676"/>
                      </a:lnTo>
                      <a:lnTo>
                        <a:pt x="1480" y="676"/>
                      </a:lnTo>
                      <a:lnTo>
                        <a:pt x="1484" y="676"/>
                      </a:lnTo>
                      <a:lnTo>
                        <a:pt x="1488" y="672"/>
                      </a:lnTo>
                      <a:lnTo>
                        <a:pt x="1492" y="672"/>
                      </a:lnTo>
                      <a:lnTo>
                        <a:pt x="1496" y="672"/>
                      </a:lnTo>
                      <a:lnTo>
                        <a:pt x="1498" y="668"/>
                      </a:lnTo>
                      <a:lnTo>
                        <a:pt x="1498" y="672"/>
                      </a:lnTo>
                      <a:lnTo>
                        <a:pt x="1496" y="672"/>
                      </a:lnTo>
                      <a:lnTo>
                        <a:pt x="1492" y="676"/>
                      </a:lnTo>
                      <a:lnTo>
                        <a:pt x="1496" y="676"/>
                      </a:lnTo>
                      <a:lnTo>
                        <a:pt x="1496" y="672"/>
                      </a:lnTo>
                      <a:lnTo>
                        <a:pt x="1498" y="672"/>
                      </a:lnTo>
                      <a:lnTo>
                        <a:pt x="1502" y="672"/>
                      </a:lnTo>
                      <a:lnTo>
                        <a:pt x="1498" y="672"/>
                      </a:lnTo>
                      <a:lnTo>
                        <a:pt x="1496" y="676"/>
                      </a:lnTo>
                      <a:lnTo>
                        <a:pt x="1492" y="676"/>
                      </a:lnTo>
                      <a:lnTo>
                        <a:pt x="1488" y="678"/>
                      </a:lnTo>
                      <a:lnTo>
                        <a:pt x="1488" y="678"/>
                      </a:lnTo>
                      <a:lnTo>
                        <a:pt x="1488" y="678"/>
                      </a:lnTo>
                      <a:close/>
                      <a:moveTo>
                        <a:pt x="824" y="806"/>
                      </a:moveTo>
                      <a:lnTo>
                        <a:pt x="820" y="806"/>
                      </a:lnTo>
                      <a:lnTo>
                        <a:pt x="824" y="806"/>
                      </a:lnTo>
                      <a:lnTo>
                        <a:pt x="824" y="806"/>
                      </a:lnTo>
                      <a:lnTo>
                        <a:pt x="824" y="806"/>
                      </a:lnTo>
                      <a:close/>
                      <a:moveTo>
                        <a:pt x="844" y="818"/>
                      </a:moveTo>
                      <a:lnTo>
                        <a:pt x="846" y="818"/>
                      </a:lnTo>
                      <a:lnTo>
                        <a:pt x="844" y="818"/>
                      </a:lnTo>
                      <a:lnTo>
                        <a:pt x="844" y="818"/>
                      </a:lnTo>
                      <a:lnTo>
                        <a:pt x="844" y="818"/>
                      </a:lnTo>
                      <a:close/>
                      <a:moveTo>
                        <a:pt x="844" y="824"/>
                      </a:moveTo>
                      <a:lnTo>
                        <a:pt x="846" y="828"/>
                      </a:lnTo>
                      <a:lnTo>
                        <a:pt x="844" y="828"/>
                      </a:lnTo>
                      <a:lnTo>
                        <a:pt x="844" y="824"/>
                      </a:lnTo>
                      <a:lnTo>
                        <a:pt x="844" y="824"/>
                      </a:lnTo>
                      <a:lnTo>
                        <a:pt x="844" y="824"/>
                      </a:lnTo>
                      <a:close/>
                      <a:moveTo>
                        <a:pt x="1298" y="874"/>
                      </a:moveTo>
                      <a:lnTo>
                        <a:pt x="1294" y="874"/>
                      </a:lnTo>
                      <a:lnTo>
                        <a:pt x="1290" y="874"/>
                      </a:lnTo>
                      <a:lnTo>
                        <a:pt x="1286" y="874"/>
                      </a:lnTo>
                      <a:lnTo>
                        <a:pt x="1290" y="874"/>
                      </a:lnTo>
                      <a:lnTo>
                        <a:pt x="1294" y="874"/>
                      </a:lnTo>
                      <a:lnTo>
                        <a:pt x="1298" y="874"/>
                      </a:lnTo>
                      <a:lnTo>
                        <a:pt x="1298" y="874"/>
                      </a:lnTo>
                      <a:lnTo>
                        <a:pt x="1298" y="874"/>
                      </a:lnTo>
                      <a:close/>
                      <a:moveTo>
                        <a:pt x="1224" y="888"/>
                      </a:moveTo>
                      <a:lnTo>
                        <a:pt x="1220" y="888"/>
                      </a:lnTo>
                      <a:lnTo>
                        <a:pt x="1224" y="888"/>
                      </a:lnTo>
                      <a:lnTo>
                        <a:pt x="1224" y="888"/>
                      </a:lnTo>
                      <a:lnTo>
                        <a:pt x="1224" y="888"/>
                      </a:lnTo>
                      <a:close/>
                      <a:moveTo>
                        <a:pt x="1178" y="892"/>
                      </a:moveTo>
                      <a:lnTo>
                        <a:pt x="1178" y="896"/>
                      </a:lnTo>
                      <a:lnTo>
                        <a:pt x="1174" y="896"/>
                      </a:lnTo>
                      <a:lnTo>
                        <a:pt x="1178" y="896"/>
                      </a:lnTo>
                      <a:lnTo>
                        <a:pt x="1178" y="892"/>
                      </a:lnTo>
                      <a:lnTo>
                        <a:pt x="1178" y="892"/>
                      </a:lnTo>
                      <a:lnTo>
                        <a:pt x="1178" y="892"/>
                      </a:lnTo>
                      <a:close/>
                      <a:moveTo>
                        <a:pt x="1152" y="914"/>
                      </a:moveTo>
                      <a:lnTo>
                        <a:pt x="1152" y="910"/>
                      </a:lnTo>
                      <a:lnTo>
                        <a:pt x="1156" y="910"/>
                      </a:lnTo>
                      <a:lnTo>
                        <a:pt x="1152" y="914"/>
                      </a:lnTo>
                      <a:lnTo>
                        <a:pt x="1152" y="914"/>
                      </a:lnTo>
                      <a:lnTo>
                        <a:pt x="1152" y="914"/>
                      </a:lnTo>
                      <a:close/>
                      <a:moveTo>
                        <a:pt x="1152" y="914"/>
                      </a:moveTo>
                      <a:lnTo>
                        <a:pt x="1148" y="914"/>
                      </a:lnTo>
                      <a:lnTo>
                        <a:pt x="1148" y="918"/>
                      </a:lnTo>
                      <a:lnTo>
                        <a:pt x="1148" y="914"/>
                      </a:lnTo>
                      <a:lnTo>
                        <a:pt x="1152" y="914"/>
                      </a:lnTo>
                      <a:lnTo>
                        <a:pt x="1152" y="914"/>
                      </a:lnTo>
                      <a:lnTo>
                        <a:pt x="1152" y="914"/>
                      </a:lnTo>
                      <a:close/>
                      <a:moveTo>
                        <a:pt x="1384" y="966"/>
                      </a:moveTo>
                      <a:lnTo>
                        <a:pt x="1384" y="962"/>
                      </a:lnTo>
                      <a:lnTo>
                        <a:pt x="1384" y="966"/>
                      </a:lnTo>
                      <a:lnTo>
                        <a:pt x="1380" y="970"/>
                      </a:lnTo>
                      <a:lnTo>
                        <a:pt x="1384" y="970"/>
                      </a:lnTo>
                      <a:lnTo>
                        <a:pt x="1384" y="966"/>
                      </a:lnTo>
                      <a:lnTo>
                        <a:pt x="1384" y="966"/>
                      </a:lnTo>
                      <a:lnTo>
                        <a:pt x="1384" y="966"/>
                      </a:lnTo>
                      <a:close/>
                      <a:moveTo>
                        <a:pt x="266" y="1026"/>
                      </a:moveTo>
                      <a:lnTo>
                        <a:pt x="262" y="1026"/>
                      </a:lnTo>
                      <a:lnTo>
                        <a:pt x="262" y="1022"/>
                      </a:lnTo>
                      <a:lnTo>
                        <a:pt x="262" y="1018"/>
                      </a:lnTo>
                      <a:lnTo>
                        <a:pt x="266" y="1018"/>
                      </a:lnTo>
                      <a:lnTo>
                        <a:pt x="266" y="1022"/>
                      </a:lnTo>
                      <a:lnTo>
                        <a:pt x="270" y="1022"/>
                      </a:lnTo>
                      <a:lnTo>
                        <a:pt x="266" y="1026"/>
                      </a:lnTo>
                      <a:lnTo>
                        <a:pt x="266" y="1026"/>
                      </a:lnTo>
                      <a:lnTo>
                        <a:pt x="266" y="1026"/>
                      </a:lnTo>
                      <a:close/>
                      <a:moveTo>
                        <a:pt x="254" y="1026"/>
                      </a:moveTo>
                      <a:lnTo>
                        <a:pt x="254" y="1022"/>
                      </a:lnTo>
                      <a:lnTo>
                        <a:pt x="258" y="1022"/>
                      </a:lnTo>
                      <a:lnTo>
                        <a:pt x="258" y="1026"/>
                      </a:lnTo>
                      <a:lnTo>
                        <a:pt x="254" y="1026"/>
                      </a:lnTo>
                      <a:lnTo>
                        <a:pt x="254" y="1026"/>
                      </a:lnTo>
                      <a:lnTo>
                        <a:pt x="254" y="1026"/>
                      </a:lnTo>
                      <a:close/>
                      <a:moveTo>
                        <a:pt x="288" y="1038"/>
                      </a:moveTo>
                      <a:lnTo>
                        <a:pt x="284" y="1038"/>
                      </a:lnTo>
                      <a:lnTo>
                        <a:pt x="284" y="1034"/>
                      </a:lnTo>
                      <a:lnTo>
                        <a:pt x="280" y="1030"/>
                      </a:lnTo>
                      <a:lnTo>
                        <a:pt x="284" y="1030"/>
                      </a:lnTo>
                      <a:lnTo>
                        <a:pt x="288" y="1030"/>
                      </a:lnTo>
                      <a:lnTo>
                        <a:pt x="288" y="1034"/>
                      </a:lnTo>
                      <a:lnTo>
                        <a:pt x="292" y="1038"/>
                      </a:lnTo>
                      <a:lnTo>
                        <a:pt x="288" y="1038"/>
                      </a:lnTo>
                      <a:lnTo>
                        <a:pt x="288" y="1038"/>
                      </a:lnTo>
                      <a:lnTo>
                        <a:pt x="288" y="1038"/>
                      </a:lnTo>
                      <a:close/>
                      <a:moveTo>
                        <a:pt x="302" y="1042"/>
                      </a:moveTo>
                      <a:lnTo>
                        <a:pt x="298" y="1042"/>
                      </a:lnTo>
                      <a:lnTo>
                        <a:pt x="294" y="1042"/>
                      </a:lnTo>
                      <a:lnTo>
                        <a:pt x="294" y="1038"/>
                      </a:lnTo>
                      <a:lnTo>
                        <a:pt x="298" y="1038"/>
                      </a:lnTo>
                      <a:lnTo>
                        <a:pt x="302" y="1038"/>
                      </a:lnTo>
                      <a:lnTo>
                        <a:pt x="302" y="1042"/>
                      </a:lnTo>
                      <a:lnTo>
                        <a:pt x="302" y="1042"/>
                      </a:lnTo>
                      <a:lnTo>
                        <a:pt x="302" y="1042"/>
                      </a:lnTo>
                      <a:close/>
                      <a:moveTo>
                        <a:pt x="310" y="1048"/>
                      </a:moveTo>
                      <a:lnTo>
                        <a:pt x="306" y="1048"/>
                      </a:lnTo>
                      <a:lnTo>
                        <a:pt x="306" y="1046"/>
                      </a:lnTo>
                      <a:lnTo>
                        <a:pt x="302" y="1046"/>
                      </a:lnTo>
                      <a:lnTo>
                        <a:pt x="302" y="1042"/>
                      </a:lnTo>
                      <a:lnTo>
                        <a:pt x="306" y="1042"/>
                      </a:lnTo>
                      <a:lnTo>
                        <a:pt x="306" y="1046"/>
                      </a:lnTo>
                      <a:lnTo>
                        <a:pt x="310" y="1046"/>
                      </a:lnTo>
                      <a:lnTo>
                        <a:pt x="310" y="1042"/>
                      </a:lnTo>
                      <a:lnTo>
                        <a:pt x="310" y="1046"/>
                      </a:lnTo>
                      <a:lnTo>
                        <a:pt x="314" y="1046"/>
                      </a:lnTo>
                      <a:lnTo>
                        <a:pt x="314" y="1048"/>
                      </a:lnTo>
                      <a:lnTo>
                        <a:pt x="310" y="1048"/>
                      </a:lnTo>
                      <a:lnTo>
                        <a:pt x="310" y="1048"/>
                      </a:lnTo>
                      <a:lnTo>
                        <a:pt x="310" y="1048"/>
                      </a:lnTo>
                      <a:close/>
                      <a:moveTo>
                        <a:pt x="302" y="1046"/>
                      </a:moveTo>
                      <a:lnTo>
                        <a:pt x="298" y="1046"/>
                      </a:lnTo>
                      <a:lnTo>
                        <a:pt x="302" y="1046"/>
                      </a:lnTo>
                      <a:lnTo>
                        <a:pt x="302" y="1046"/>
                      </a:lnTo>
                      <a:lnTo>
                        <a:pt x="302" y="1046"/>
                      </a:lnTo>
                      <a:close/>
                      <a:moveTo>
                        <a:pt x="318" y="1056"/>
                      </a:moveTo>
                      <a:lnTo>
                        <a:pt x="322" y="1056"/>
                      </a:lnTo>
                      <a:lnTo>
                        <a:pt x="324" y="1060"/>
                      </a:lnTo>
                      <a:lnTo>
                        <a:pt x="324" y="1062"/>
                      </a:lnTo>
                      <a:lnTo>
                        <a:pt x="328" y="1062"/>
                      </a:lnTo>
                      <a:lnTo>
                        <a:pt x="328" y="1066"/>
                      </a:lnTo>
                      <a:lnTo>
                        <a:pt x="332" y="1066"/>
                      </a:lnTo>
                      <a:lnTo>
                        <a:pt x="328" y="1070"/>
                      </a:lnTo>
                      <a:lnTo>
                        <a:pt x="324" y="1070"/>
                      </a:lnTo>
                      <a:lnTo>
                        <a:pt x="322" y="1074"/>
                      </a:lnTo>
                      <a:lnTo>
                        <a:pt x="322" y="1078"/>
                      </a:lnTo>
                      <a:lnTo>
                        <a:pt x="318" y="1078"/>
                      </a:lnTo>
                      <a:lnTo>
                        <a:pt x="314" y="1074"/>
                      </a:lnTo>
                      <a:lnTo>
                        <a:pt x="314" y="1070"/>
                      </a:lnTo>
                      <a:lnTo>
                        <a:pt x="314" y="1066"/>
                      </a:lnTo>
                      <a:lnTo>
                        <a:pt x="314" y="1062"/>
                      </a:lnTo>
                      <a:lnTo>
                        <a:pt x="318" y="1060"/>
                      </a:lnTo>
                      <a:lnTo>
                        <a:pt x="314" y="1056"/>
                      </a:lnTo>
                      <a:lnTo>
                        <a:pt x="318" y="1056"/>
                      </a:lnTo>
                      <a:lnTo>
                        <a:pt x="318" y="1056"/>
                      </a:lnTo>
                      <a:lnTo>
                        <a:pt x="318" y="1056"/>
                      </a:lnTo>
                      <a:close/>
                    </a:path>
                  </a:pathLst>
                </a:custGeom>
                <a:solidFill>
                  <a:srgbClr val="00306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0" name="Freeform 197"/>
                <p:cNvSpPr>
                  <a:spLocks/>
                </p:cNvSpPr>
                <p:nvPr/>
              </p:nvSpPr>
              <p:spPr bwMode="auto">
                <a:xfrm>
                  <a:off x="2790825" y="2505143"/>
                  <a:ext cx="53975" cy="41275"/>
                </a:xfrm>
                <a:custGeom>
                  <a:avLst/>
                  <a:gdLst>
                    <a:gd name="T0" fmla="*/ 0 w 34"/>
                    <a:gd name="T1" fmla="*/ 6 h 26"/>
                    <a:gd name="T2" fmla="*/ 4 w 34"/>
                    <a:gd name="T3" fmla="*/ 2 h 26"/>
                    <a:gd name="T4" fmla="*/ 4 w 34"/>
                    <a:gd name="T5" fmla="*/ 0 h 26"/>
                    <a:gd name="T6" fmla="*/ 4 w 34"/>
                    <a:gd name="T7" fmla="*/ 0 h 26"/>
                    <a:gd name="T8" fmla="*/ 4 w 34"/>
                    <a:gd name="T9" fmla="*/ 0 h 26"/>
                    <a:gd name="T10" fmla="*/ 8 w 34"/>
                    <a:gd name="T11" fmla="*/ 0 h 26"/>
                    <a:gd name="T12" fmla="*/ 8 w 34"/>
                    <a:gd name="T13" fmla="*/ 0 h 26"/>
                    <a:gd name="T14" fmla="*/ 8 w 34"/>
                    <a:gd name="T15" fmla="*/ 0 h 26"/>
                    <a:gd name="T16" fmla="*/ 8 w 34"/>
                    <a:gd name="T17" fmla="*/ 0 h 26"/>
                    <a:gd name="T18" fmla="*/ 12 w 34"/>
                    <a:gd name="T19" fmla="*/ 2 h 26"/>
                    <a:gd name="T20" fmla="*/ 12 w 34"/>
                    <a:gd name="T21" fmla="*/ 2 h 26"/>
                    <a:gd name="T22" fmla="*/ 20 w 34"/>
                    <a:gd name="T23" fmla="*/ 6 h 26"/>
                    <a:gd name="T24" fmla="*/ 26 w 34"/>
                    <a:gd name="T25" fmla="*/ 10 h 26"/>
                    <a:gd name="T26" fmla="*/ 26 w 34"/>
                    <a:gd name="T27" fmla="*/ 10 h 26"/>
                    <a:gd name="T28" fmla="*/ 26 w 34"/>
                    <a:gd name="T29" fmla="*/ 10 h 26"/>
                    <a:gd name="T30" fmla="*/ 26 w 34"/>
                    <a:gd name="T31" fmla="*/ 10 h 26"/>
                    <a:gd name="T32" fmla="*/ 30 w 34"/>
                    <a:gd name="T33" fmla="*/ 10 h 26"/>
                    <a:gd name="T34" fmla="*/ 30 w 34"/>
                    <a:gd name="T35" fmla="*/ 10 h 26"/>
                    <a:gd name="T36" fmla="*/ 30 w 34"/>
                    <a:gd name="T37" fmla="*/ 10 h 26"/>
                    <a:gd name="T38" fmla="*/ 26 w 34"/>
                    <a:gd name="T39" fmla="*/ 10 h 26"/>
                    <a:gd name="T40" fmla="*/ 24 w 34"/>
                    <a:gd name="T41" fmla="*/ 14 h 26"/>
                    <a:gd name="T42" fmla="*/ 26 w 34"/>
                    <a:gd name="T43" fmla="*/ 14 h 26"/>
                    <a:gd name="T44" fmla="*/ 30 w 34"/>
                    <a:gd name="T45" fmla="*/ 14 h 26"/>
                    <a:gd name="T46" fmla="*/ 30 w 34"/>
                    <a:gd name="T47" fmla="*/ 14 h 26"/>
                    <a:gd name="T48" fmla="*/ 34 w 34"/>
                    <a:gd name="T49" fmla="*/ 14 h 26"/>
                    <a:gd name="T50" fmla="*/ 34 w 34"/>
                    <a:gd name="T51" fmla="*/ 14 h 26"/>
                    <a:gd name="T52" fmla="*/ 30 w 34"/>
                    <a:gd name="T53" fmla="*/ 14 h 26"/>
                    <a:gd name="T54" fmla="*/ 26 w 34"/>
                    <a:gd name="T55" fmla="*/ 18 h 26"/>
                    <a:gd name="T56" fmla="*/ 26 w 34"/>
                    <a:gd name="T57" fmla="*/ 18 h 26"/>
                    <a:gd name="T58" fmla="*/ 26 w 34"/>
                    <a:gd name="T59" fmla="*/ 18 h 26"/>
                    <a:gd name="T60" fmla="*/ 24 w 34"/>
                    <a:gd name="T61" fmla="*/ 18 h 26"/>
                    <a:gd name="T62" fmla="*/ 24 w 34"/>
                    <a:gd name="T63" fmla="*/ 18 h 26"/>
                    <a:gd name="T64" fmla="*/ 20 w 34"/>
                    <a:gd name="T65" fmla="*/ 18 h 26"/>
                    <a:gd name="T66" fmla="*/ 16 w 34"/>
                    <a:gd name="T67" fmla="*/ 18 h 26"/>
                    <a:gd name="T68" fmla="*/ 16 w 34"/>
                    <a:gd name="T69" fmla="*/ 18 h 26"/>
                    <a:gd name="T70" fmla="*/ 16 w 34"/>
                    <a:gd name="T71" fmla="*/ 18 h 26"/>
                    <a:gd name="T72" fmla="*/ 12 w 34"/>
                    <a:gd name="T73" fmla="*/ 14 h 26"/>
                    <a:gd name="T74" fmla="*/ 12 w 34"/>
                    <a:gd name="T75" fmla="*/ 18 h 26"/>
                    <a:gd name="T76" fmla="*/ 8 w 34"/>
                    <a:gd name="T77" fmla="*/ 22 h 26"/>
                    <a:gd name="T78" fmla="*/ 4 w 34"/>
                    <a:gd name="T79" fmla="*/ 26 h 26"/>
                    <a:gd name="T80" fmla="*/ 0 w 34"/>
                    <a:gd name="T81" fmla="*/ 26 h 26"/>
                    <a:gd name="T82" fmla="*/ 4 w 34"/>
                    <a:gd name="T83" fmla="*/ 22 h 26"/>
                    <a:gd name="T84" fmla="*/ 4 w 34"/>
                    <a:gd name="T85" fmla="*/ 22 h 26"/>
                    <a:gd name="T86" fmla="*/ 4 w 34"/>
                    <a:gd name="T87" fmla="*/ 22 h 26"/>
                    <a:gd name="T88" fmla="*/ 4 w 34"/>
                    <a:gd name="T89" fmla="*/ 22 h 26"/>
                    <a:gd name="T90" fmla="*/ 0 w 34"/>
                    <a:gd name="T91" fmla="*/ 22 h 26"/>
                    <a:gd name="T92" fmla="*/ 4 w 34"/>
                    <a:gd name="T93" fmla="*/ 22 h 26"/>
                    <a:gd name="T94" fmla="*/ 4 w 34"/>
                    <a:gd name="T95" fmla="*/ 18 h 26"/>
                    <a:gd name="T96" fmla="*/ 4 w 34"/>
                    <a:gd name="T97" fmla="*/ 14 h 26"/>
                    <a:gd name="T98" fmla="*/ 0 w 34"/>
                    <a:gd name="T99" fmla="*/ 10 h 26"/>
                    <a:gd name="T100" fmla="*/ 0 w 34"/>
                    <a:gd name="T101" fmla="*/ 1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34" h="26">
                      <a:moveTo>
                        <a:pt x="0" y="10"/>
                      </a:moveTo>
                      <a:lnTo>
                        <a:pt x="0" y="10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6" y="6"/>
                      </a:lnTo>
                      <a:lnTo>
                        <a:pt x="20" y="6"/>
                      </a:lnTo>
                      <a:lnTo>
                        <a:pt x="20" y="6"/>
                      </a:lnTo>
                      <a:lnTo>
                        <a:pt x="20" y="6"/>
                      </a:lnTo>
                      <a:lnTo>
                        <a:pt x="24" y="6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30" y="10"/>
                      </a:lnTo>
                      <a:lnTo>
                        <a:pt x="30" y="10"/>
                      </a:lnTo>
                      <a:lnTo>
                        <a:pt x="30" y="10"/>
                      </a:lnTo>
                      <a:lnTo>
                        <a:pt x="30" y="10"/>
                      </a:lnTo>
                      <a:lnTo>
                        <a:pt x="30" y="10"/>
                      </a:lnTo>
                      <a:lnTo>
                        <a:pt x="30" y="10"/>
                      </a:lnTo>
                      <a:lnTo>
                        <a:pt x="30" y="10"/>
                      </a:lnTo>
                      <a:lnTo>
                        <a:pt x="30" y="10"/>
                      </a:lnTo>
                      <a:lnTo>
                        <a:pt x="30" y="10"/>
                      </a:lnTo>
                      <a:lnTo>
                        <a:pt x="30" y="10"/>
                      </a:lnTo>
                      <a:lnTo>
                        <a:pt x="30" y="10"/>
                      </a:lnTo>
                      <a:lnTo>
                        <a:pt x="30" y="10"/>
                      </a:lnTo>
                      <a:lnTo>
                        <a:pt x="30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4"/>
                      </a:lnTo>
                      <a:lnTo>
                        <a:pt x="24" y="14"/>
                      </a:lnTo>
                      <a:lnTo>
                        <a:pt x="24" y="14"/>
                      </a:lnTo>
                      <a:lnTo>
                        <a:pt x="26" y="14"/>
                      </a:lnTo>
                      <a:lnTo>
                        <a:pt x="26" y="14"/>
                      </a:lnTo>
                      <a:lnTo>
                        <a:pt x="26" y="14"/>
                      </a:lnTo>
                      <a:lnTo>
                        <a:pt x="26" y="14"/>
                      </a:lnTo>
                      <a:lnTo>
                        <a:pt x="30" y="14"/>
                      </a:lnTo>
                      <a:lnTo>
                        <a:pt x="30" y="14"/>
                      </a:lnTo>
                      <a:lnTo>
                        <a:pt x="30" y="14"/>
                      </a:lnTo>
                      <a:lnTo>
                        <a:pt x="30" y="14"/>
                      </a:lnTo>
                      <a:lnTo>
                        <a:pt x="30" y="14"/>
                      </a:lnTo>
                      <a:lnTo>
                        <a:pt x="30" y="14"/>
                      </a:lnTo>
                      <a:lnTo>
                        <a:pt x="30" y="14"/>
                      </a:lnTo>
                      <a:lnTo>
                        <a:pt x="30" y="14"/>
                      </a:lnTo>
                      <a:lnTo>
                        <a:pt x="30" y="14"/>
                      </a:lnTo>
                      <a:lnTo>
                        <a:pt x="30" y="14"/>
                      </a:lnTo>
                      <a:lnTo>
                        <a:pt x="34" y="14"/>
                      </a:lnTo>
                      <a:lnTo>
                        <a:pt x="34" y="14"/>
                      </a:lnTo>
                      <a:lnTo>
                        <a:pt x="34" y="14"/>
                      </a:lnTo>
                      <a:lnTo>
                        <a:pt x="34" y="14"/>
                      </a:lnTo>
                      <a:lnTo>
                        <a:pt x="34" y="14"/>
                      </a:lnTo>
                      <a:lnTo>
                        <a:pt x="34" y="14"/>
                      </a:lnTo>
                      <a:lnTo>
                        <a:pt x="34" y="14"/>
                      </a:lnTo>
                      <a:lnTo>
                        <a:pt x="30" y="14"/>
                      </a:lnTo>
                      <a:lnTo>
                        <a:pt x="30" y="14"/>
                      </a:lnTo>
                      <a:lnTo>
                        <a:pt x="30" y="14"/>
                      </a:lnTo>
                      <a:lnTo>
                        <a:pt x="30" y="14"/>
                      </a:lnTo>
                      <a:lnTo>
                        <a:pt x="26" y="18"/>
                      </a:lnTo>
                      <a:lnTo>
                        <a:pt x="26" y="18"/>
                      </a:lnTo>
                      <a:lnTo>
                        <a:pt x="26" y="18"/>
                      </a:lnTo>
                      <a:lnTo>
                        <a:pt x="26" y="18"/>
                      </a:lnTo>
                      <a:lnTo>
                        <a:pt x="26" y="18"/>
                      </a:lnTo>
                      <a:lnTo>
                        <a:pt x="26" y="18"/>
                      </a:lnTo>
                      <a:lnTo>
                        <a:pt x="26" y="18"/>
                      </a:lnTo>
                      <a:lnTo>
                        <a:pt x="26" y="18"/>
                      </a:lnTo>
                      <a:lnTo>
                        <a:pt x="26" y="18"/>
                      </a:lnTo>
                      <a:lnTo>
                        <a:pt x="26" y="18"/>
                      </a:lnTo>
                      <a:lnTo>
                        <a:pt x="26" y="18"/>
                      </a:lnTo>
                      <a:lnTo>
                        <a:pt x="26" y="18"/>
                      </a:lnTo>
                      <a:lnTo>
                        <a:pt x="24" y="18"/>
                      </a:lnTo>
                      <a:lnTo>
                        <a:pt x="24" y="18"/>
                      </a:lnTo>
                      <a:lnTo>
                        <a:pt x="24" y="18"/>
                      </a:lnTo>
                      <a:lnTo>
                        <a:pt x="24" y="18"/>
                      </a:lnTo>
                      <a:lnTo>
                        <a:pt x="24" y="18"/>
                      </a:lnTo>
                      <a:lnTo>
                        <a:pt x="24" y="18"/>
                      </a:lnTo>
                      <a:lnTo>
                        <a:pt x="24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20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22"/>
                      </a:lnTo>
                      <a:lnTo>
                        <a:pt x="16" y="22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2" y="14"/>
                      </a:lnTo>
                      <a:lnTo>
                        <a:pt x="12" y="14"/>
                      </a:lnTo>
                      <a:lnTo>
                        <a:pt x="12" y="14"/>
                      </a:lnTo>
                      <a:lnTo>
                        <a:pt x="12" y="14"/>
                      </a:lnTo>
                      <a:lnTo>
                        <a:pt x="12" y="18"/>
                      </a:lnTo>
                      <a:lnTo>
                        <a:pt x="12" y="18"/>
                      </a:lnTo>
                      <a:lnTo>
                        <a:pt x="12" y="18"/>
                      </a:lnTo>
                      <a:lnTo>
                        <a:pt x="12" y="18"/>
                      </a:lnTo>
                      <a:lnTo>
                        <a:pt x="12" y="18"/>
                      </a:lnTo>
                      <a:lnTo>
                        <a:pt x="12" y="18"/>
                      </a:lnTo>
                      <a:lnTo>
                        <a:pt x="12" y="18"/>
                      </a:lnTo>
                      <a:lnTo>
                        <a:pt x="8" y="22"/>
                      </a:lnTo>
                      <a:lnTo>
                        <a:pt x="8" y="22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4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1" name="Freeform 198"/>
                <p:cNvSpPr>
                  <a:spLocks/>
                </p:cNvSpPr>
                <p:nvPr/>
              </p:nvSpPr>
              <p:spPr bwMode="auto">
                <a:xfrm>
                  <a:off x="2466975" y="4229168"/>
                  <a:ext cx="22225" cy="31750"/>
                </a:xfrm>
                <a:custGeom>
                  <a:avLst/>
                  <a:gdLst>
                    <a:gd name="T0" fmla="*/ 14 w 14"/>
                    <a:gd name="T1" fmla="*/ 16 h 20"/>
                    <a:gd name="T2" fmla="*/ 14 w 14"/>
                    <a:gd name="T3" fmla="*/ 20 h 20"/>
                    <a:gd name="T4" fmla="*/ 14 w 14"/>
                    <a:gd name="T5" fmla="*/ 20 h 20"/>
                    <a:gd name="T6" fmla="*/ 14 w 14"/>
                    <a:gd name="T7" fmla="*/ 20 h 20"/>
                    <a:gd name="T8" fmla="*/ 14 w 14"/>
                    <a:gd name="T9" fmla="*/ 20 h 20"/>
                    <a:gd name="T10" fmla="*/ 14 w 14"/>
                    <a:gd name="T11" fmla="*/ 20 h 20"/>
                    <a:gd name="T12" fmla="*/ 10 w 14"/>
                    <a:gd name="T13" fmla="*/ 20 h 20"/>
                    <a:gd name="T14" fmla="*/ 6 w 14"/>
                    <a:gd name="T15" fmla="*/ 16 h 20"/>
                    <a:gd name="T16" fmla="*/ 2 w 14"/>
                    <a:gd name="T17" fmla="*/ 16 h 20"/>
                    <a:gd name="T18" fmla="*/ 2 w 14"/>
                    <a:gd name="T19" fmla="*/ 12 h 20"/>
                    <a:gd name="T20" fmla="*/ 2 w 14"/>
                    <a:gd name="T21" fmla="*/ 12 h 20"/>
                    <a:gd name="T22" fmla="*/ 0 w 14"/>
                    <a:gd name="T23" fmla="*/ 12 h 20"/>
                    <a:gd name="T24" fmla="*/ 0 w 14"/>
                    <a:gd name="T25" fmla="*/ 12 h 20"/>
                    <a:gd name="T26" fmla="*/ 0 w 14"/>
                    <a:gd name="T27" fmla="*/ 12 h 20"/>
                    <a:gd name="T28" fmla="*/ 0 w 14"/>
                    <a:gd name="T29" fmla="*/ 8 h 20"/>
                    <a:gd name="T30" fmla="*/ 0 w 14"/>
                    <a:gd name="T31" fmla="*/ 8 h 20"/>
                    <a:gd name="T32" fmla="*/ 0 w 14"/>
                    <a:gd name="T33" fmla="*/ 4 h 20"/>
                    <a:gd name="T34" fmla="*/ 0 w 14"/>
                    <a:gd name="T35" fmla="*/ 4 h 20"/>
                    <a:gd name="T36" fmla="*/ 0 w 14"/>
                    <a:gd name="T37" fmla="*/ 4 h 20"/>
                    <a:gd name="T38" fmla="*/ 0 w 14"/>
                    <a:gd name="T39" fmla="*/ 4 h 20"/>
                    <a:gd name="T40" fmla="*/ 0 w 14"/>
                    <a:gd name="T41" fmla="*/ 4 h 20"/>
                    <a:gd name="T42" fmla="*/ 0 w 14"/>
                    <a:gd name="T43" fmla="*/ 0 h 20"/>
                    <a:gd name="T44" fmla="*/ 0 w 14"/>
                    <a:gd name="T45" fmla="*/ 0 h 20"/>
                    <a:gd name="T46" fmla="*/ 0 w 14"/>
                    <a:gd name="T47" fmla="*/ 0 h 20"/>
                    <a:gd name="T48" fmla="*/ 0 w 14"/>
                    <a:gd name="T49" fmla="*/ 0 h 20"/>
                    <a:gd name="T50" fmla="*/ 0 w 14"/>
                    <a:gd name="T51" fmla="*/ 0 h 20"/>
                    <a:gd name="T52" fmla="*/ 2 w 14"/>
                    <a:gd name="T53" fmla="*/ 0 h 20"/>
                    <a:gd name="T54" fmla="*/ 2 w 14"/>
                    <a:gd name="T55" fmla="*/ 0 h 20"/>
                    <a:gd name="T56" fmla="*/ 2 w 14"/>
                    <a:gd name="T57" fmla="*/ 0 h 20"/>
                    <a:gd name="T58" fmla="*/ 6 w 14"/>
                    <a:gd name="T59" fmla="*/ 4 h 20"/>
                    <a:gd name="T60" fmla="*/ 6 w 14"/>
                    <a:gd name="T61" fmla="*/ 4 h 20"/>
                    <a:gd name="T62" fmla="*/ 6 w 14"/>
                    <a:gd name="T63" fmla="*/ 4 h 20"/>
                    <a:gd name="T64" fmla="*/ 10 w 14"/>
                    <a:gd name="T65" fmla="*/ 8 h 20"/>
                    <a:gd name="T66" fmla="*/ 10 w 14"/>
                    <a:gd name="T67" fmla="*/ 8 h 20"/>
                    <a:gd name="T68" fmla="*/ 10 w 14"/>
                    <a:gd name="T69" fmla="*/ 8 h 20"/>
                    <a:gd name="T70" fmla="*/ 14 w 14"/>
                    <a:gd name="T71" fmla="*/ 12 h 20"/>
                    <a:gd name="T72" fmla="*/ 14 w 14"/>
                    <a:gd name="T73" fmla="*/ 16 h 20"/>
                    <a:gd name="T74" fmla="*/ 14 w 14"/>
                    <a:gd name="T75" fmla="*/ 16 h 20"/>
                    <a:gd name="T76" fmla="*/ 14 w 14"/>
                    <a:gd name="T77" fmla="*/ 16 h 20"/>
                    <a:gd name="T78" fmla="*/ 14 w 14"/>
                    <a:gd name="T79" fmla="*/ 16 h 20"/>
                    <a:gd name="T80" fmla="*/ 14 w 14"/>
                    <a:gd name="T81" fmla="*/ 16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4" h="20">
                      <a:moveTo>
                        <a:pt x="14" y="16"/>
                      </a:moveTo>
                      <a:lnTo>
                        <a:pt x="14" y="16"/>
                      </a:lnTo>
                      <a:lnTo>
                        <a:pt x="14" y="20"/>
                      </a:lnTo>
                      <a:lnTo>
                        <a:pt x="14" y="20"/>
                      </a:lnTo>
                      <a:lnTo>
                        <a:pt x="14" y="20"/>
                      </a:lnTo>
                      <a:lnTo>
                        <a:pt x="14" y="20"/>
                      </a:lnTo>
                      <a:lnTo>
                        <a:pt x="14" y="20"/>
                      </a:lnTo>
                      <a:lnTo>
                        <a:pt x="14" y="20"/>
                      </a:lnTo>
                      <a:lnTo>
                        <a:pt x="14" y="20"/>
                      </a:lnTo>
                      <a:lnTo>
                        <a:pt x="14" y="20"/>
                      </a:lnTo>
                      <a:lnTo>
                        <a:pt x="14" y="20"/>
                      </a:lnTo>
                      <a:lnTo>
                        <a:pt x="14" y="20"/>
                      </a:lnTo>
                      <a:lnTo>
                        <a:pt x="14" y="20"/>
                      </a:lnTo>
                      <a:lnTo>
                        <a:pt x="10" y="20"/>
                      </a:lnTo>
                      <a:lnTo>
                        <a:pt x="10" y="16"/>
                      </a:lnTo>
                      <a:lnTo>
                        <a:pt x="6" y="16"/>
                      </a:lnTo>
                      <a:lnTo>
                        <a:pt x="6" y="16"/>
                      </a:lnTo>
                      <a:lnTo>
                        <a:pt x="2" y="16"/>
                      </a:lnTo>
                      <a:lnTo>
                        <a:pt x="2" y="16"/>
                      </a:lnTo>
                      <a:lnTo>
                        <a:pt x="2" y="12"/>
                      </a:lnTo>
                      <a:lnTo>
                        <a:pt x="2" y="12"/>
                      </a:lnTo>
                      <a:lnTo>
                        <a:pt x="2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12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4" y="16"/>
                      </a:lnTo>
                      <a:lnTo>
                        <a:pt x="14" y="16"/>
                      </a:lnTo>
                      <a:lnTo>
                        <a:pt x="14" y="16"/>
                      </a:lnTo>
                      <a:lnTo>
                        <a:pt x="14" y="16"/>
                      </a:lnTo>
                      <a:lnTo>
                        <a:pt x="14" y="16"/>
                      </a:lnTo>
                      <a:lnTo>
                        <a:pt x="14" y="16"/>
                      </a:lnTo>
                      <a:lnTo>
                        <a:pt x="14" y="16"/>
                      </a:lnTo>
                      <a:lnTo>
                        <a:pt x="14" y="16"/>
                      </a:lnTo>
                      <a:lnTo>
                        <a:pt x="14" y="16"/>
                      </a:lnTo>
                      <a:lnTo>
                        <a:pt x="14" y="1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2" name="Freeform 199"/>
                <p:cNvSpPr>
                  <a:spLocks/>
                </p:cNvSpPr>
                <p:nvPr/>
              </p:nvSpPr>
              <p:spPr bwMode="auto">
                <a:xfrm>
                  <a:off x="2530475" y="3343343"/>
                  <a:ext cx="12700" cy="9525"/>
                </a:xfrm>
                <a:custGeom>
                  <a:avLst/>
                  <a:gdLst>
                    <a:gd name="T0" fmla="*/ 4 w 8"/>
                    <a:gd name="T1" fmla="*/ 4 h 6"/>
                    <a:gd name="T2" fmla="*/ 4 w 8"/>
                    <a:gd name="T3" fmla="*/ 4 h 6"/>
                    <a:gd name="T4" fmla="*/ 8 w 8"/>
                    <a:gd name="T5" fmla="*/ 4 h 6"/>
                    <a:gd name="T6" fmla="*/ 8 w 8"/>
                    <a:gd name="T7" fmla="*/ 4 h 6"/>
                    <a:gd name="T8" fmla="*/ 8 w 8"/>
                    <a:gd name="T9" fmla="*/ 4 h 6"/>
                    <a:gd name="T10" fmla="*/ 8 w 8"/>
                    <a:gd name="T11" fmla="*/ 4 h 6"/>
                    <a:gd name="T12" fmla="*/ 8 w 8"/>
                    <a:gd name="T13" fmla="*/ 4 h 6"/>
                    <a:gd name="T14" fmla="*/ 8 w 8"/>
                    <a:gd name="T15" fmla="*/ 4 h 6"/>
                    <a:gd name="T16" fmla="*/ 8 w 8"/>
                    <a:gd name="T17" fmla="*/ 6 h 6"/>
                    <a:gd name="T18" fmla="*/ 8 w 8"/>
                    <a:gd name="T19" fmla="*/ 6 h 6"/>
                    <a:gd name="T20" fmla="*/ 8 w 8"/>
                    <a:gd name="T21" fmla="*/ 6 h 6"/>
                    <a:gd name="T22" fmla="*/ 8 w 8"/>
                    <a:gd name="T23" fmla="*/ 6 h 6"/>
                    <a:gd name="T24" fmla="*/ 8 w 8"/>
                    <a:gd name="T25" fmla="*/ 6 h 6"/>
                    <a:gd name="T26" fmla="*/ 8 w 8"/>
                    <a:gd name="T27" fmla="*/ 6 h 6"/>
                    <a:gd name="T28" fmla="*/ 4 w 8"/>
                    <a:gd name="T29" fmla="*/ 6 h 6"/>
                    <a:gd name="T30" fmla="*/ 4 w 8"/>
                    <a:gd name="T31" fmla="*/ 6 h 6"/>
                    <a:gd name="T32" fmla="*/ 4 w 8"/>
                    <a:gd name="T33" fmla="*/ 6 h 6"/>
                    <a:gd name="T34" fmla="*/ 4 w 8"/>
                    <a:gd name="T35" fmla="*/ 6 h 6"/>
                    <a:gd name="T36" fmla="*/ 0 w 8"/>
                    <a:gd name="T37" fmla="*/ 6 h 6"/>
                    <a:gd name="T38" fmla="*/ 0 w 8"/>
                    <a:gd name="T39" fmla="*/ 6 h 6"/>
                    <a:gd name="T40" fmla="*/ 0 w 8"/>
                    <a:gd name="T41" fmla="*/ 6 h 6"/>
                    <a:gd name="T42" fmla="*/ 0 w 8"/>
                    <a:gd name="T43" fmla="*/ 6 h 6"/>
                    <a:gd name="T44" fmla="*/ 0 w 8"/>
                    <a:gd name="T45" fmla="*/ 6 h 6"/>
                    <a:gd name="T46" fmla="*/ 0 w 8"/>
                    <a:gd name="T47" fmla="*/ 6 h 6"/>
                    <a:gd name="T48" fmla="*/ 0 w 8"/>
                    <a:gd name="T49" fmla="*/ 6 h 6"/>
                    <a:gd name="T50" fmla="*/ 0 w 8"/>
                    <a:gd name="T51" fmla="*/ 6 h 6"/>
                    <a:gd name="T52" fmla="*/ 0 w 8"/>
                    <a:gd name="T53" fmla="*/ 6 h 6"/>
                    <a:gd name="T54" fmla="*/ 0 w 8"/>
                    <a:gd name="T55" fmla="*/ 6 h 6"/>
                    <a:gd name="T56" fmla="*/ 0 w 8"/>
                    <a:gd name="T57" fmla="*/ 6 h 6"/>
                    <a:gd name="T58" fmla="*/ 0 w 8"/>
                    <a:gd name="T59" fmla="*/ 6 h 6"/>
                    <a:gd name="T60" fmla="*/ 4 w 8"/>
                    <a:gd name="T61" fmla="*/ 6 h 6"/>
                    <a:gd name="T62" fmla="*/ 4 w 8"/>
                    <a:gd name="T63" fmla="*/ 6 h 6"/>
                    <a:gd name="T64" fmla="*/ 4 w 8"/>
                    <a:gd name="T65" fmla="*/ 6 h 6"/>
                    <a:gd name="T66" fmla="*/ 0 w 8"/>
                    <a:gd name="T67" fmla="*/ 4 h 6"/>
                    <a:gd name="T68" fmla="*/ 0 w 8"/>
                    <a:gd name="T69" fmla="*/ 4 h 6"/>
                    <a:gd name="T70" fmla="*/ 0 w 8"/>
                    <a:gd name="T71" fmla="*/ 4 h 6"/>
                    <a:gd name="T72" fmla="*/ 4 w 8"/>
                    <a:gd name="T73" fmla="*/ 4 h 6"/>
                    <a:gd name="T74" fmla="*/ 4 w 8"/>
                    <a:gd name="T75" fmla="*/ 4 h 6"/>
                    <a:gd name="T76" fmla="*/ 4 w 8"/>
                    <a:gd name="T77" fmla="*/ 4 h 6"/>
                    <a:gd name="T78" fmla="*/ 4 w 8"/>
                    <a:gd name="T79" fmla="*/ 0 h 6"/>
                    <a:gd name="T80" fmla="*/ 4 w 8"/>
                    <a:gd name="T81" fmla="*/ 0 h 6"/>
                    <a:gd name="T82" fmla="*/ 4 w 8"/>
                    <a:gd name="T83" fmla="*/ 0 h 6"/>
                    <a:gd name="T84" fmla="*/ 4 w 8"/>
                    <a:gd name="T85" fmla="*/ 0 h 6"/>
                    <a:gd name="T86" fmla="*/ 4 w 8"/>
                    <a:gd name="T87" fmla="*/ 0 h 6"/>
                    <a:gd name="T88" fmla="*/ 4 w 8"/>
                    <a:gd name="T89" fmla="*/ 4 h 6"/>
                    <a:gd name="T90" fmla="*/ 4 w 8"/>
                    <a:gd name="T91" fmla="*/ 4 h 6"/>
                    <a:gd name="T92" fmla="*/ 4 w 8"/>
                    <a:gd name="T93" fmla="*/ 4 h 6"/>
                    <a:gd name="T94" fmla="*/ 4 w 8"/>
                    <a:gd name="T95" fmla="*/ 4 h 6"/>
                    <a:gd name="T96" fmla="*/ 4 w 8"/>
                    <a:gd name="T97" fmla="*/ 4 h 6"/>
                    <a:gd name="T98" fmla="*/ 4 w 8"/>
                    <a:gd name="T99" fmla="*/ 4 h 6"/>
                    <a:gd name="T100" fmla="*/ 4 w 8"/>
                    <a:gd name="T101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8" h="6">
                      <a:moveTo>
                        <a:pt x="4" y="4"/>
                      </a:moveTo>
                      <a:lnTo>
                        <a:pt x="4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3" name="Freeform 200"/>
                <p:cNvSpPr>
                  <a:spLocks/>
                </p:cNvSpPr>
                <p:nvPr/>
              </p:nvSpPr>
              <p:spPr bwMode="auto">
                <a:xfrm>
                  <a:off x="8270875" y="5524568"/>
                  <a:ext cx="136525" cy="222250"/>
                </a:xfrm>
                <a:custGeom>
                  <a:avLst/>
                  <a:gdLst>
                    <a:gd name="T0" fmla="*/ 52 w 86"/>
                    <a:gd name="T1" fmla="*/ 124 h 140"/>
                    <a:gd name="T2" fmla="*/ 44 w 86"/>
                    <a:gd name="T3" fmla="*/ 136 h 140"/>
                    <a:gd name="T4" fmla="*/ 38 w 86"/>
                    <a:gd name="T5" fmla="*/ 136 h 140"/>
                    <a:gd name="T6" fmla="*/ 30 w 86"/>
                    <a:gd name="T7" fmla="*/ 136 h 140"/>
                    <a:gd name="T8" fmla="*/ 34 w 86"/>
                    <a:gd name="T9" fmla="*/ 124 h 140"/>
                    <a:gd name="T10" fmla="*/ 38 w 86"/>
                    <a:gd name="T11" fmla="*/ 112 h 140"/>
                    <a:gd name="T12" fmla="*/ 30 w 86"/>
                    <a:gd name="T13" fmla="*/ 106 h 140"/>
                    <a:gd name="T14" fmla="*/ 22 w 86"/>
                    <a:gd name="T15" fmla="*/ 98 h 140"/>
                    <a:gd name="T16" fmla="*/ 18 w 86"/>
                    <a:gd name="T17" fmla="*/ 90 h 140"/>
                    <a:gd name="T18" fmla="*/ 30 w 86"/>
                    <a:gd name="T19" fmla="*/ 86 h 140"/>
                    <a:gd name="T20" fmla="*/ 30 w 86"/>
                    <a:gd name="T21" fmla="*/ 72 h 140"/>
                    <a:gd name="T22" fmla="*/ 30 w 86"/>
                    <a:gd name="T23" fmla="*/ 64 h 140"/>
                    <a:gd name="T24" fmla="*/ 30 w 86"/>
                    <a:gd name="T25" fmla="*/ 56 h 140"/>
                    <a:gd name="T26" fmla="*/ 26 w 86"/>
                    <a:gd name="T27" fmla="*/ 54 h 140"/>
                    <a:gd name="T28" fmla="*/ 34 w 86"/>
                    <a:gd name="T29" fmla="*/ 54 h 140"/>
                    <a:gd name="T30" fmla="*/ 26 w 86"/>
                    <a:gd name="T31" fmla="*/ 46 h 140"/>
                    <a:gd name="T32" fmla="*/ 26 w 86"/>
                    <a:gd name="T33" fmla="*/ 42 h 140"/>
                    <a:gd name="T34" fmla="*/ 26 w 86"/>
                    <a:gd name="T35" fmla="*/ 34 h 140"/>
                    <a:gd name="T36" fmla="*/ 22 w 86"/>
                    <a:gd name="T37" fmla="*/ 34 h 140"/>
                    <a:gd name="T38" fmla="*/ 18 w 86"/>
                    <a:gd name="T39" fmla="*/ 30 h 140"/>
                    <a:gd name="T40" fmla="*/ 18 w 86"/>
                    <a:gd name="T41" fmla="*/ 38 h 140"/>
                    <a:gd name="T42" fmla="*/ 14 w 86"/>
                    <a:gd name="T43" fmla="*/ 26 h 140"/>
                    <a:gd name="T44" fmla="*/ 14 w 86"/>
                    <a:gd name="T45" fmla="*/ 16 h 140"/>
                    <a:gd name="T46" fmla="*/ 12 w 86"/>
                    <a:gd name="T47" fmla="*/ 20 h 140"/>
                    <a:gd name="T48" fmla="*/ 4 w 86"/>
                    <a:gd name="T49" fmla="*/ 8 h 140"/>
                    <a:gd name="T50" fmla="*/ 8 w 86"/>
                    <a:gd name="T51" fmla="*/ 0 h 140"/>
                    <a:gd name="T52" fmla="*/ 4 w 86"/>
                    <a:gd name="T53" fmla="*/ 4 h 140"/>
                    <a:gd name="T54" fmla="*/ 8 w 86"/>
                    <a:gd name="T55" fmla="*/ 12 h 140"/>
                    <a:gd name="T56" fmla="*/ 14 w 86"/>
                    <a:gd name="T57" fmla="*/ 12 h 140"/>
                    <a:gd name="T58" fmla="*/ 22 w 86"/>
                    <a:gd name="T59" fmla="*/ 16 h 140"/>
                    <a:gd name="T60" fmla="*/ 26 w 86"/>
                    <a:gd name="T61" fmla="*/ 20 h 140"/>
                    <a:gd name="T62" fmla="*/ 26 w 86"/>
                    <a:gd name="T63" fmla="*/ 26 h 140"/>
                    <a:gd name="T64" fmla="*/ 30 w 86"/>
                    <a:gd name="T65" fmla="*/ 30 h 140"/>
                    <a:gd name="T66" fmla="*/ 30 w 86"/>
                    <a:gd name="T67" fmla="*/ 46 h 140"/>
                    <a:gd name="T68" fmla="*/ 34 w 86"/>
                    <a:gd name="T69" fmla="*/ 50 h 140"/>
                    <a:gd name="T70" fmla="*/ 40 w 86"/>
                    <a:gd name="T71" fmla="*/ 50 h 140"/>
                    <a:gd name="T72" fmla="*/ 38 w 86"/>
                    <a:gd name="T73" fmla="*/ 38 h 140"/>
                    <a:gd name="T74" fmla="*/ 44 w 86"/>
                    <a:gd name="T75" fmla="*/ 50 h 140"/>
                    <a:gd name="T76" fmla="*/ 48 w 86"/>
                    <a:gd name="T77" fmla="*/ 54 h 140"/>
                    <a:gd name="T78" fmla="*/ 48 w 86"/>
                    <a:gd name="T79" fmla="*/ 60 h 140"/>
                    <a:gd name="T80" fmla="*/ 52 w 86"/>
                    <a:gd name="T81" fmla="*/ 64 h 140"/>
                    <a:gd name="T82" fmla="*/ 64 w 86"/>
                    <a:gd name="T83" fmla="*/ 68 h 140"/>
                    <a:gd name="T84" fmla="*/ 74 w 86"/>
                    <a:gd name="T85" fmla="*/ 64 h 140"/>
                    <a:gd name="T86" fmla="*/ 86 w 86"/>
                    <a:gd name="T87" fmla="*/ 64 h 140"/>
                    <a:gd name="T88" fmla="*/ 82 w 86"/>
                    <a:gd name="T89" fmla="*/ 76 h 140"/>
                    <a:gd name="T90" fmla="*/ 74 w 86"/>
                    <a:gd name="T91" fmla="*/ 86 h 140"/>
                    <a:gd name="T92" fmla="*/ 70 w 86"/>
                    <a:gd name="T93" fmla="*/ 90 h 140"/>
                    <a:gd name="T94" fmla="*/ 60 w 86"/>
                    <a:gd name="T95" fmla="*/ 98 h 140"/>
                    <a:gd name="T96" fmla="*/ 60 w 86"/>
                    <a:gd name="T97" fmla="*/ 112 h 1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86" h="140">
                      <a:moveTo>
                        <a:pt x="56" y="116"/>
                      </a:moveTo>
                      <a:lnTo>
                        <a:pt x="56" y="120"/>
                      </a:lnTo>
                      <a:lnTo>
                        <a:pt x="52" y="120"/>
                      </a:lnTo>
                      <a:lnTo>
                        <a:pt x="52" y="124"/>
                      </a:lnTo>
                      <a:lnTo>
                        <a:pt x="52" y="128"/>
                      </a:lnTo>
                      <a:lnTo>
                        <a:pt x="48" y="128"/>
                      </a:lnTo>
                      <a:lnTo>
                        <a:pt x="48" y="132"/>
                      </a:lnTo>
                      <a:lnTo>
                        <a:pt x="44" y="136"/>
                      </a:lnTo>
                      <a:lnTo>
                        <a:pt x="40" y="136"/>
                      </a:lnTo>
                      <a:lnTo>
                        <a:pt x="40" y="140"/>
                      </a:lnTo>
                      <a:lnTo>
                        <a:pt x="38" y="140"/>
                      </a:lnTo>
                      <a:lnTo>
                        <a:pt x="38" y="136"/>
                      </a:lnTo>
                      <a:lnTo>
                        <a:pt x="34" y="136"/>
                      </a:lnTo>
                      <a:lnTo>
                        <a:pt x="34" y="132"/>
                      </a:lnTo>
                      <a:lnTo>
                        <a:pt x="30" y="132"/>
                      </a:lnTo>
                      <a:lnTo>
                        <a:pt x="30" y="136"/>
                      </a:lnTo>
                      <a:lnTo>
                        <a:pt x="30" y="132"/>
                      </a:lnTo>
                      <a:lnTo>
                        <a:pt x="30" y="128"/>
                      </a:lnTo>
                      <a:lnTo>
                        <a:pt x="34" y="128"/>
                      </a:lnTo>
                      <a:lnTo>
                        <a:pt x="34" y="124"/>
                      </a:lnTo>
                      <a:lnTo>
                        <a:pt x="34" y="120"/>
                      </a:lnTo>
                      <a:lnTo>
                        <a:pt x="38" y="120"/>
                      </a:lnTo>
                      <a:lnTo>
                        <a:pt x="38" y="116"/>
                      </a:lnTo>
                      <a:lnTo>
                        <a:pt x="38" y="112"/>
                      </a:lnTo>
                      <a:lnTo>
                        <a:pt x="38" y="110"/>
                      </a:lnTo>
                      <a:lnTo>
                        <a:pt x="34" y="110"/>
                      </a:lnTo>
                      <a:lnTo>
                        <a:pt x="34" y="106"/>
                      </a:lnTo>
                      <a:lnTo>
                        <a:pt x="30" y="106"/>
                      </a:lnTo>
                      <a:lnTo>
                        <a:pt x="26" y="106"/>
                      </a:lnTo>
                      <a:lnTo>
                        <a:pt x="26" y="102"/>
                      </a:lnTo>
                      <a:lnTo>
                        <a:pt x="22" y="102"/>
                      </a:lnTo>
                      <a:lnTo>
                        <a:pt x="22" y="98"/>
                      </a:lnTo>
                      <a:lnTo>
                        <a:pt x="18" y="98"/>
                      </a:lnTo>
                      <a:lnTo>
                        <a:pt x="14" y="94"/>
                      </a:lnTo>
                      <a:lnTo>
                        <a:pt x="14" y="90"/>
                      </a:lnTo>
                      <a:lnTo>
                        <a:pt x="18" y="90"/>
                      </a:lnTo>
                      <a:lnTo>
                        <a:pt x="22" y="90"/>
                      </a:lnTo>
                      <a:lnTo>
                        <a:pt x="22" y="86"/>
                      </a:lnTo>
                      <a:lnTo>
                        <a:pt x="26" y="86"/>
                      </a:lnTo>
                      <a:lnTo>
                        <a:pt x="30" y="86"/>
                      </a:lnTo>
                      <a:lnTo>
                        <a:pt x="30" y="82"/>
                      </a:lnTo>
                      <a:lnTo>
                        <a:pt x="30" y="80"/>
                      </a:lnTo>
                      <a:lnTo>
                        <a:pt x="30" y="76"/>
                      </a:lnTo>
                      <a:lnTo>
                        <a:pt x="30" y="72"/>
                      </a:lnTo>
                      <a:lnTo>
                        <a:pt x="34" y="72"/>
                      </a:lnTo>
                      <a:lnTo>
                        <a:pt x="34" y="68"/>
                      </a:lnTo>
                      <a:lnTo>
                        <a:pt x="30" y="68"/>
                      </a:lnTo>
                      <a:lnTo>
                        <a:pt x="30" y="64"/>
                      </a:lnTo>
                      <a:lnTo>
                        <a:pt x="34" y="64"/>
                      </a:lnTo>
                      <a:lnTo>
                        <a:pt x="30" y="64"/>
                      </a:lnTo>
                      <a:lnTo>
                        <a:pt x="30" y="60"/>
                      </a:lnTo>
                      <a:lnTo>
                        <a:pt x="30" y="56"/>
                      </a:lnTo>
                      <a:lnTo>
                        <a:pt x="34" y="56"/>
                      </a:lnTo>
                      <a:lnTo>
                        <a:pt x="30" y="56"/>
                      </a:lnTo>
                      <a:lnTo>
                        <a:pt x="30" y="54"/>
                      </a:lnTo>
                      <a:lnTo>
                        <a:pt x="26" y="54"/>
                      </a:lnTo>
                      <a:lnTo>
                        <a:pt x="26" y="50"/>
                      </a:lnTo>
                      <a:lnTo>
                        <a:pt x="30" y="50"/>
                      </a:lnTo>
                      <a:lnTo>
                        <a:pt x="30" y="54"/>
                      </a:lnTo>
                      <a:lnTo>
                        <a:pt x="34" y="54"/>
                      </a:lnTo>
                      <a:lnTo>
                        <a:pt x="34" y="50"/>
                      </a:lnTo>
                      <a:lnTo>
                        <a:pt x="30" y="50"/>
                      </a:lnTo>
                      <a:lnTo>
                        <a:pt x="26" y="50"/>
                      </a:lnTo>
                      <a:lnTo>
                        <a:pt x="26" y="46"/>
                      </a:lnTo>
                      <a:lnTo>
                        <a:pt x="22" y="42"/>
                      </a:lnTo>
                      <a:lnTo>
                        <a:pt x="22" y="38"/>
                      </a:lnTo>
                      <a:lnTo>
                        <a:pt x="22" y="42"/>
                      </a:lnTo>
                      <a:lnTo>
                        <a:pt x="26" y="42"/>
                      </a:lnTo>
                      <a:lnTo>
                        <a:pt x="26" y="38"/>
                      </a:lnTo>
                      <a:lnTo>
                        <a:pt x="22" y="38"/>
                      </a:lnTo>
                      <a:lnTo>
                        <a:pt x="26" y="38"/>
                      </a:lnTo>
                      <a:lnTo>
                        <a:pt x="26" y="34"/>
                      </a:lnTo>
                      <a:lnTo>
                        <a:pt x="26" y="38"/>
                      </a:lnTo>
                      <a:lnTo>
                        <a:pt x="22" y="38"/>
                      </a:lnTo>
                      <a:lnTo>
                        <a:pt x="26" y="34"/>
                      </a:lnTo>
                      <a:lnTo>
                        <a:pt x="22" y="34"/>
                      </a:lnTo>
                      <a:lnTo>
                        <a:pt x="18" y="34"/>
                      </a:lnTo>
                      <a:lnTo>
                        <a:pt x="18" y="30"/>
                      </a:lnTo>
                      <a:lnTo>
                        <a:pt x="18" y="26"/>
                      </a:lnTo>
                      <a:lnTo>
                        <a:pt x="18" y="30"/>
                      </a:lnTo>
                      <a:lnTo>
                        <a:pt x="18" y="34"/>
                      </a:lnTo>
                      <a:lnTo>
                        <a:pt x="22" y="34"/>
                      </a:lnTo>
                      <a:lnTo>
                        <a:pt x="22" y="38"/>
                      </a:lnTo>
                      <a:lnTo>
                        <a:pt x="18" y="38"/>
                      </a:lnTo>
                      <a:lnTo>
                        <a:pt x="18" y="34"/>
                      </a:lnTo>
                      <a:lnTo>
                        <a:pt x="18" y="30"/>
                      </a:lnTo>
                      <a:lnTo>
                        <a:pt x="14" y="30"/>
                      </a:lnTo>
                      <a:lnTo>
                        <a:pt x="14" y="26"/>
                      </a:lnTo>
                      <a:lnTo>
                        <a:pt x="12" y="24"/>
                      </a:lnTo>
                      <a:lnTo>
                        <a:pt x="12" y="20"/>
                      </a:lnTo>
                      <a:lnTo>
                        <a:pt x="14" y="20"/>
                      </a:lnTo>
                      <a:lnTo>
                        <a:pt x="14" y="16"/>
                      </a:lnTo>
                      <a:lnTo>
                        <a:pt x="14" y="20"/>
                      </a:lnTo>
                      <a:lnTo>
                        <a:pt x="12" y="20"/>
                      </a:lnTo>
                      <a:lnTo>
                        <a:pt x="12" y="24"/>
                      </a:lnTo>
                      <a:lnTo>
                        <a:pt x="12" y="20"/>
                      </a:lnTo>
                      <a:lnTo>
                        <a:pt x="8" y="20"/>
                      </a:lnTo>
                      <a:lnTo>
                        <a:pt x="8" y="16"/>
                      </a:lnTo>
                      <a:lnTo>
                        <a:pt x="8" y="12"/>
                      </a:lnTo>
                      <a:lnTo>
                        <a:pt x="4" y="8"/>
                      </a:lnTo>
                      <a:lnTo>
                        <a:pt x="4" y="4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8" y="0"/>
                      </a:lnTo>
                      <a:lnTo>
                        <a:pt x="8" y="4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4" y="4"/>
                      </a:lnTo>
                      <a:lnTo>
                        <a:pt x="8" y="4"/>
                      </a:lnTo>
                      <a:lnTo>
                        <a:pt x="8" y="8"/>
                      </a:lnTo>
                      <a:lnTo>
                        <a:pt x="12" y="12"/>
                      </a:lnTo>
                      <a:lnTo>
                        <a:pt x="8" y="12"/>
                      </a:lnTo>
                      <a:lnTo>
                        <a:pt x="12" y="12"/>
                      </a:lnTo>
                      <a:lnTo>
                        <a:pt x="12" y="8"/>
                      </a:lnTo>
                      <a:lnTo>
                        <a:pt x="12" y="12"/>
                      </a:lnTo>
                      <a:lnTo>
                        <a:pt x="14" y="12"/>
                      </a:lnTo>
                      <a:lnTo>
                        <a:pt x="18" y="12"/>
                      </a:lnTo>
                      <a:lnTo>
                        <a:pt x="22" y="16"/>
                      </a:lnTo>
                      <a:lnTo>
                        <a:pt x="18" y="16"/>
                      </a:lnTo>
                      <a:lnTo>
                        <a:pt x="22" y="16"/>
                      </a:lnTo>
                      <a:lnTo>
                        <a:pt x="22" y="20"/>
                      </a:lnTo>
                      <a:lnTo>
                        <a:pt x="22" y="16"/>
                      </a:lnTo>
                      <a:lnTo>
                        <a:pt x="26" y="16"/>
                      </a:lnTo>
                      <a:lnTo>
                        <a:pt x="26" y="20"/>
                      </a:lnTo>
                      <a:lnTo>
                        <a:pt x="26" y="24"/>
                      </a:lnTo>
                      <a:lnTo>
                        <a:pt x="30" y="24"/>
                      </a:lnTo>
                      <a:lnTo>
                        <a:pt x="26" y="24"/>
                      </a:lnTo>
                      <a:lnTo>
                        <a:pt x="26" y="26"/>
                      </a:lnTo>
                      <a:lnTo>
                        <a:pt x="30" y="26"/>
                      </a:lnTo>
                      <a:lnTo>
                        <a:pt x="26" y="26"/>
                      </a:lnTo>
                      <a:lnTo>
                        <a:pt x="26" y="30"/>
                      </a:lnTo>
                      <a:lnTo>
                        <a:pt x="30" y="30"/>
                      </a:lnTo>
                      <a:lnTo>
                        <a:pt x="30" y="34"/>
                      </a:lnTo>
                      <a:lnTo>
                        <a:pt x="30" y="38"/>
                      </a:lnTo>
                      <a:lnTo>
                        <a:pt x="30" y="42"/>
                      </a:lnTo>
                      <a:lnTo>
                        <a:pt x="30" y="46"/>
                      </a:lnTo>
                      <a:lnTo>
                        <a:pt x="34" y="46"/>
                      </a:lnTo>
                      <a:lnTo>
                        <a:pt x="34" y="50"/>
                      </a:lnTo>
                      <a:lnTo>
                        <a:pt x="34" y="46"/>
                      </a:lnTo>
                      <a:lnTo>
                        <a:pt x="34" y="50"/>
                      </a:lnTo>
                      <a:lnTo>
                        <a:pt x="38" y="50"/>
                      </a:lnTo>
                      <a:lnTo>
                        <a:pt x="38" y="54"/>
                      </a:lnTo>
                      <a:lnTo>
                        <a:pt x="40" y="54"/>
                      </a:lnTo>
                      <a:lnTo>
                        <a:pt x="40" y="50"/>
                      </a:lnTo>
                      <a:lnTo>
                        <a:pt x="40" y="46"/>
                      </a:lnTo>
                      <a:lnTo>
                        <a:pt x="40" y="42"/>
                      </a:lnTo>
                      <a:lnTo>
                        <a:pt x="38" y="42"/>
                      </a:lnTo>
                      <a:lnTo>
                        <a:pt x="38" y="38"/>
                      </a:lnTo>
                      <a:lnTo>
                        <a:pt x="40" y="42"/>
                      </a:lnTo>
                      <a:lnTo>
                        <a:pt x="40" y="46"/>
                      </a:lnTo>
                      <a:lnTo>
                        <a:pt x="44" y="46"/>
                      </a:lnTo>
                      <a:lnTo>
                        <a:pt x="44" y="50"/>
                      </a:lnTo>
                      <a:lnTo>
                        <a:pt x="44" y="46"/>
                      </a:lnTo>
                      <a:lnTo>
                        <a:pt x="44" y="50"/>
                      </a:lnTo>
                      <a:lnTo>
                        <a:pt x="48" y="50"/>
                      </a:lnTo>
                      <a:lnTo>
                        <a:pt x="48" y="54"/>
                      </a:lnTo>
                      <a:lnTo>
                        <a:pt x="44" y="54"/>
                      </a:lnTo>
                      <a:lnTo>
                        <a:pt x="48" y="54"/>
                      </a:lnTo>
                      <a:lnTo>
                        <a:pt x="48" y="56"/>
                      </a:lnTo>
                      <a:lnTo>
                        <a:pt x="48" y="60"/>
                      </a:lnTo>
                      <a:lnTo>
                        <a:pt x="52" y="60"/>
                      </a:lnTo>
                      <a:lnTo>
                        <a:pt x="48" y="60"/>
                      </a:lnTo>
                      <a:lnTo>
                        <a:pt x="48" y="64"/>
                      </a:lnTo>
                      <a:lnTo>
                        <a:pt x="52" y="64"/>
                      </a:lnTo>
                      <a:lnTo>
                        <a:pt x="56" y="64"/>
                      </a:lnTo>
                      <a:lnTo>
                        <a:pt x="56" y="68"/>
                      </a:lnTo>
                      <a:lnTo>
                        <a:pt x="60" y="68"/>
                      </a:lnTo>
                      <a:lnTo>
                        <a:pt x="64" y="68"/>
                      </a:lnTo>
                      <a:lnTo>
                        <a:pt x="66" y="68"/>
                      </a:lnTo>
                      <a:lnTo>
                        <a:pt x="70" y="68"/>
                      </a:lnTo>
                      <a:lnTo>
                        <a:pt x="70" y="64"/>
                      </a:lnTo>
                      <a:lnTo>
                        <a:pt x="74" y="64"/>
                      </a:lnTo>
                      <a:lnTo>
                        <a:pt x="74" y="60"/>
                      </a:lnTo>
                      <a:lnTo>
                        <a:pt x="78" y="60"/>
                      </a:lnTo>
                      <a:lnTo>
                        <a:pt x="82" y="60"/>
                      </a:lnTo>
                      <a:lnTo>
                        <a:pt x="86" y="64"/>
                      </a:lnTo>
                      <a:lnTo>
                        <a:pt x="82" y="64"/>
                      </a:lnTo>
                      <a:lnTo>
                        <a:pt x="82" y="68"/>
                      </a:lnTo>
                      <a:lnTo>
                        <a:pt x="82" y="72"/>
                      </a:lnTo>
                      <a:lnTo>
                        <a:pt x="82" y="76"/>
                      </a:lnTo>
                      <a:lnTo>
                        <a:pt x="82" y="80"/>
                      </a:lnTo>
                      <a:lnTo>
                        <a:pt x="78" y="82"/>
                      </a:lnTo>
                      <a:lnTo>
                        <a:pt x="74" y="82"/>
                      </a:lnTo>
                      <a:lnTo>
                        <a:pt x="74" y="86"/>
                      </a:lnTo>
                      <a:lnTo>
                        <a:pt x="74" y="90"/>
                      </a:lnTo>
                      <a:lnTo>
                        <a:pt x="74" y="94"/>
                      </a:lnTo>
                      <a:lnTo>
                        <a:pt x="74" y="90"/>
                      </a:lnTo>
                      <a:lnTo>
                        <a:pt x="70" y="90"/>
                      </a:lnTo>
                      <a:lnTo>
                        <a:pt x="66" y="90"/>
                      </a:lnTo>
                      <a:lnTo>
                        <a:pt x="64" y="90"/>
                      </a:lnTo>
                      <a:lnTo>
                        <a:pt x="60" y="94"/>
                      </a:lnTo>
                      <a:lnTo>
                        <a:pt x="60" y="98"/>
                      </a:lnTo>
                      <a:lnTo>
                        <a:pt x="60" y="102"/>
                      </a:lnTo>
                      <a:lnTo>
                        <a:pt x="64" y="102"/>
                      </a:lnTo>
                      <a:lnTo>
                        <a:pt x="60" y="110"/>
                      </a:lnTo>
                      <a:lnTo>
                        <a:pt x="60" y="112"/>
                      </a:lnTo>
                      <a:lnTo>
                        <a:pt x="56" y="11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4" name="Freeform 201"/>
                <p:cNvSpPr>
                  <a:spLocks/>
                </p:cNvSpPr>
                <p:nvPr/>
              </p:nvSpPr>
              <p:spPr bwMode="auto">
                <a:xfrm>
                  <a:off x="8270875" y="5524568"/>
                  <a:ext cx="136525" cy="222250"/>
                </a:xfrm>
                <a:custGeom>
                  <a:avLst/>
                  <a:gdLst>
                    <a:gd name="T0" fmla="*/ 52 w 86"/>
                    <a:gd name="T1" fmla="*/ 124 h 140"/>
                    <a:gd name="T2" fmla="*/ 44 w 86"/>
                    <a:gd name="T3" fmla="*/ 136 h 140"/>
                    <a:gd name="T4" fmla="*/ 38 w 86"/>
                    <a:gd name="T5" fmla="*/ 136 h 140"/>
                    <a:gd name="T6" fmla="*/ 30 w 86"/>
                    <a:gd name="T7" fmla="*/ 136 h 140"/>
                    <a:gd name="T8" fmla="*/ 34 w 86"/>
                    <a:gd name="T9" fmla="*/ 124 h 140"/>
                    <a:gd name="T10" fmla="*/ 38 w 86"/>
                    <a:gd name="T11" fmla="*/ 112 h 140"/>
                    <a:gd name="T12" fmla="*/ 30 w 86"/>
                    <a:gd name="T13" fmla="*/ 106 h 140"/>
                    <a:gd name="T14" fmla="*/ 22 w 86"/>
                    <a:gd name="T15" fmla="*/ 98 h 140"/>
                    <a:gd name="T16" fmla="*/ 18 w 86"/>
                    <a:gd name="T17" fmla="*/ 90 h 140"/>
                    <a:gd name="T18" fmla="*/ 30 w 86"/>
                    <a:gd name="T19" fmla="*/ 86 h 140"/>
                    <a:gd name="T20" fmla="*/ 30 w 86"/>
                    <a:gd name="T21" fmla="*/ 72 h 140"/>
                    <a:gd name="T22" fmla="*/ 30 w 86"/>
                    <a:gd name="T23" fmla="*/ 64 h 140"/>
                    <a:gd name="T24" fmla="*/ 30 w 86"/>
                    <a:gd name="T25" fmla="*/ 56 h 140"/>
                    <a:gd name="T26" fmla="*/ 26 w 86"/>
                    <a:gd name="T27" fmla="*/ 54 h 140"/>
                    <a:gd name="T28" fmla="*/ 34 w 86"/>
                    <a:gd name="T29" fmla="*/ 54 h 140"/>
                    <a:gd name="T30" fmla="*/ 26 w 86"/>
                    <a:gd name="T31" fmla="*/ 46 h 140"/>
                    <a:gd name="T32" fmla="*/ 26 w 86"/>
                    <a:gd name="T33" fmla="*/ 42 h 140"/>
                    <a:gd name="T34" fmla="*/ 26 w 86"/>
                    <a:gd name="T35" fmla="*/ 34 h 140"/>
                    <a:gd name="T36" fmla="*/ 22 w 86"/>
                    <a:gd name="T37" fmla="*/ 34 h 140"/>
                    <a:gd name="T38" fmla="*/ 18 w 86"/>
                    <a:gd name="T39" fmla="*/ 30 h 140"/>
                    <a:gd name="T40" fmla="*/ 18 w 86"/>
                    <a:gd name="T41" fmla="*/ 38 h 140"/>
                    <a:gd name="T42" fmla="*/ 14 w 86"/>
                    <a:gd name="T43" fmla="*/ 26 h 140"/>
                    <a:gd name="T44" fmla="*/ 14 w 86"/>
                    <a:gd name="T45" fmla="*/ 16 h 140"/>
                    <a:gd name="T46" fmla="*/ 12 w 86"/>
                    <a:gd name="T47" fmla="*/ 20 h 140"/>
                    <a:gd name="T48" fmla="*/ 4 w 86"/>
                    <a:gd name="T49" fmla="*/ 8 h 140"/>
                    <a:gd name="T50" fmla="*/ 8 w 86"/>
                    <a:gd name="T51" fmla="*/ 0 h 140"/>
                    <a:gd name="T52" fmla="*/ 4 w 86"/>
                    <a:gd name="T53" fmla="*/ 4 h 140"/>
                    <a:gd name="T54" fmla="*/ 8 w 86"/>
                    <a:gd name="T55" fmla="*/ 12 h 140"/>
                    <a:gd name="T56" fmla="*/ 14 w 86"/>
                    <a:gd name="T57" fmla="*/ 12 h 140"/>
                    <a:gd name="T58" fmla="*/ 22 w 86"/>
                    <a:gd name="T59" fmla="*/ 16 h 140"/>
                    <a:gd name="T60" fmla="*/ 26 w 86"/>
                    <a:gd name="T61" fmla="*/ 20 h 140"/>
                    <a:gd name="T62" fmla="*/ 26 w 86"/>
                    <a:gd name="T63" fmla="*/ 26 h 140"/>
                    <a:gd name="T64" fmla="*/ 30 w 86"/>
                    <a:gd name="T65" fmla="*/ 30 h 140"/>
                    <a:gd name="T66" fmla="*/ 30 w 86"/>
                    <a:gd name="T67" fmla="*/ 46 h 140"/>
                    <a:gd name="T68" fmla="*/ 34 w 86"/>
                    <a:gd name="T69" fmla="*/ 50 h 140"/>
                    <a:gd name="T70" fmla="*/ 40 w 86"/>
                    <a:gd name="T71" fmla="*/ 50 h 140"/>
                    <a:gd name="T72" fmla="*/ 38 w 86"/>
                    <a:gd name="T73" fmla="*/ 38 h 140"/>
                    <a:gd name="T74" fmla="*/ 44 w 86"/>
                    <a:gd name="T75" fmla="*/ 50 h 140"/>
                    <a:gd name="T76" fmla="*/ 48 w 86"/>
                    <a:gd name="T77" fmla="*/ 54 h 140"/>
                    <a:gd name="T78" fmla="*/ 48 w 86"/>
                    <a:gd name="T79" fmla="*/ 60 h 140"/>
                    <a:gd name="T80" fmla="*/ 52 w 86"/>
                    <a:gd name="T81" fmla="*/ 64 h 140"/>
                    <a:gd name="T82" fmla="*/ 64 w 86"/>
                    <a:gd name="T83" fmla="*/ 68 h 140"/>
                    <a:gd name="T84" fmla="*/ 74 w 86"/>
                    <a:gd name="T85" fmla="*/ 64 h 140"/>
                    <a:gd name="T86" fmla="*/ 86 w 86"/>
                    <a:gd name="T87" fmla="*/ 64 h 140"/>
                    <a:gd name="T88" fmla="*/ 82 w 86"/>
                    <a:gd name="T89" fmla="*/ 76 h 140"/>
                    <a:gd name="T90" fmla="*/ 74 w 86"/>
                    <a:gd name="T91" fmla="*/ 86 h 140"/>
                    <a:gd name="T92" fmla="*/ 70 w 86"/>
                    <a:gd name="T93" fmla="*/ 90 h 140"/>
                    <a:gd name="T94" fmla="*/ 60 w 86"/>
                    <a:gd name="T95" fmla="*/ 98 h 140"/>
                    <a:gd name="T96" fmla="*/ 60 w 86"/>
                    <a:gd name="T97" fmla="*/ 112 h 1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86" h="140">
                      <a:moveTo>
                        <a:pt x="56" y="116"/>
                      </a:moveTo>
                      <a:lnTo>
                        <a:pt x="56" y="120"/>
                      </a:lnTo>
                      <a:lnTo>
                        <a:pt x="52" y="120"/>
                      </a:lnTo>
                      <a:lnTo>
                        <a:pt x="52" y="124"/>
                      </a:lnTo>
                      <a:lnTo>
                        <a:pt x="52" y="128"/>
                      </a:lnTo>
                      <a:lnTo>
                        <a:pt x="48" y="128"/>
                      </a:lnTo>
                      <a:lnTo>
                        <a:pt x="48" y="132"/>
                      </a:lnTo>
                      <a:lnTo>
                        <a:pt x="44" y="136"/>
                      </a:lnTo>
                      <a:lnTo>
                        <a:pt x="40" y="136"/>
                      </a:lnTo>
                      <a:lnTo>
                        <a:pt x="40" y="140"/>
                      </a:lnTo>
                      <a:lnTo>
                        <a:pt x="38" y="140"/>
                      </a:lnTo>
                      <a:lnTo>
                        <a:pt x="38" y="136"/>
                      </a:lnTo>
                      <a:lnTo>
                        <a:pt x="34" y="136"/>
                      </a:lnTo>
                      <a:lnTo>
                        <a:pt x="34" y="132"/>
                      </a:lnTo>
                      <a:lnTo>
                        <a:pt x="30" y="132"/>
                      </a:lnTo>
                      <a:lnTo>
                        <a:pt x="30" y="136"/>
                      </a:lnTo>
                      <a:lnTo>
                        <a:pt x="30" y="132"/>
                      </a:lnTo>
                      <a:lnTo>
                        <a:pt x="30" y="128"/>
                      </a:lnTo>
                      <a:lnTo>
                        <a:pt x="34" y="128"/>
                      </a:lnTo>
                      <a:lnTo>
                        <a:pt x="34" y="124"/>
                      </a:lnTo>
                      <a:lnTo>
                        <a:pt x="34" y="120"/>
                      </a:lnTo>
                      <a:lnTo>
                        <a:pt x="38" y="120"/>
                      </a:lnTo>
                      <a:lnTo>
                        <a:pt x="38" y="116"/>
                      </a:lnTo>
                      <a:lnTo>
                        <a:pt x="38" y="112"/>
                      </a:lnTo>
                      <a:lnTo>
                        <a:pt x="38" y="110"/>
                      </a:lnTo>
                      <a:lnTo>
                        <a:pt x="34" y="110"/>
                      </a:lnTo>
                      <a:lnTo>
                        <a:pt x="34" y="106"/>
                      </a:lnTo>
                      <a:lnTo>
                        <a:pt x="30" y="106"/>
                      </a:lnTo>
                      <a:lnTo>
                        <a:pt x="26" y="106"/>
                      </a:lnTo>
                      <a:lnTo>
                        <a:pt x="26" y="102"/>
                      </a:lnTo>
                      <a:lnTo>
                        <a:pt x="22" y="102"/>
                      </a:lnTo>
                      <a:lnTo>
                        <a:pt x="22" y="98"/>
                      </a:lnTo>
                      <a:lnTo>
                        <a:pt x="18" y="98"/>
                      </a:lnTo>
                      <a:lnTo>
                        <a:pt x="14" y="94"/>
                      </a:lnTo>
                      <a:lnTo>
                        <a:pt x="14" y="90"/>
                      </a:lnTo>
                      <a:lnTo>
                        <a:pt x="18" y="90"/>
                      </a:lnTo>
                      <a:lnTo>
                        <a:pt x="22" y="90"/>
                      </a:lnTo>
                      <a:lnTo>
                        <a:pt x="22" y="86"/>
                      </a:lnTo>
                      <a:lnTo>
                        <a:pt x="26" y="86"/>
                      </a:lnTo>
                      <a:lnTo>
                        <a:pt x="30" y="86"/>
                      </a:lnTo>
                      <a:lnTo>
                        <a:pt x="30" y="82"/>
                      </a:lnTo>
                      <a:lnTo>
                        <a:pt x="30" y="80"/>
                      </a:lnTo>
                      <a:lnTo>
                        <a:pt x="30" y="76"/>
                      </a:lnTo>
                      <a:lnTo>
                        <a:pt x="30" y="72"/>
                      </a:lnTo>
                      <a:lnTo>
                        <a:pt x="34" y="72"/>
                      </a:lnTo>
                      <a:lnTo>
                        <a:pt x="34" y="68"/>
                      </a:lnTo>
                      <a:lnTo>
                        <a:pt x="30" y="68"/>
                      </a:lnTo>
                      <a:lnTo>
                        <a:pt x="30" y="64"/>
                      </a:lnTo>
                      <a:lnTo>
                        <a:pt x="34" y="64"/>
                      </a:lnTo>
                      <a:lnTo>
                        <a:pt x="30" y="64"/>
                      </a:lnTo>
                      <a:lnTo>
                        <a:pt x="30" y="60"/>
                      </a:lnTo>
                      <a:lnTo>
                        <a:pt x="30" y="56"/>
                      </a:lnTo>
                      <a:lnTo>
                        <a:pt x="34" y="56"/>
                      </a:lnTo>
                      <a:lnTo>
                        <a:pt x="30" y="56"/>
                      </a:lnTo>
                      <a:lnTo>
                        <a:pt x="30" y="54"/>
                      </a:lnTo>
                      <a:lnTo>
                        <a:pt x="26" y="54"/>
                      </a:lnTo>
                      <a:lnTo>
                        <a:pt x="26" y="50"/>
                      </a:lnTo>
                      <a:lnTo>
                        <a:pt x="30" y="50"/>
                      </a:lnTo>
                      <a:lnTo>
                        <a:pt x="30" y="54"/>
                      </a:lnTo>
                      <a:lnTo>
                        <a:pt x="34" y="54"/>
                      </a:lnTo>
                      <a:lnTo>
                        <a:pt x="34" y="50"/>
                      </a:lnTo>
                      <a:lnTo>
                        <a:pt x="30" y="50"/>
                      </a:lnTo>
                      <a:lnTo>
                        <a:pt x="26" y="50"/>
                      </a:lnTo>
                      <a:lnTo>
                        <a:pt x="26" y="46"/>
                      </a:lnTo>
                      <a:lnTo>
                        <a:pt x="22" y="42"/>
                      </a:lnTo>
                      <a:lnTo>
                        <a:pt x="22" y="38"/>
                      </a:lnTo>
                      <a:lnTo>
                        <a:pt x="22" y="42"/>
                      </a:lnTo>
                      <a:lnTo>
                        <a:pt x="26" y="42"/>
                      </a:lnTo>
                      <a:lnTo>
                        <a:pt x="26" y="38"/>
                      </a:lnTo>
                      <a:lnTo>
                        <a:pt x="22" y="38"/>
                      </a:lnTo>
                      <a:lnTo>
                        <a:pt x="26" y="38"/>
                      </a:lnTo>
                      <a:lnTo>
                        <a:pt x="26" y="34"/>
                      </a:lnTo>
                      <a:lnTo>
                        <a:pt x="26" y="38"/>
                      </a:lnTo>
                      <a:lnTo>
                        <a:pt x="22" y="38"/>
                      </a:lnTo>
                      <a:lnTo>
                        <a:pt x="26" y="34"/>
                      </a:lnTo>
                      <a:lnTo>
                        <a:pt x="22" y="34"/>
                      </a:lnTo>
                      <a:lnTo>
                        <a:pt x="18" y="34"/>
                      </a:lnTo>
                      <a:lnTo>
                        <a:pt x="18" y="30"/>
                      </a:lnTo>
                      <a:lnTo>
                        <a:pt x="18" y="26"/>
                      </a:lnTo>
                      <a:lnTo>
                        <a:pt x="18" y="30"/>
                      </a:lnTo>
                      <a:lnTo>
                        <a:pt x="18" y="34"/>
                      </a:lnTo>
                      <a:lnTo>
                        <a:pt x="22" y="34"/>
                      </a:lnTo>
                      <a:lnTo>
                        <a:pt x="22" y="38"/>
                      </a:lnTo>
                      <a:lnTo>
                        <a:pt x="18" y="38"/>
                      </a:lnTo>
                      <a:lnTo>
                        <a:pt x="18" y="34"/>
                      </a:lnTo>
                      <a:lnTo>
                        <a:pt x="18" y="30"/>
                      </a:lnTo>
                      <a:lnTo>
                        <a:pt x="14" y="30"/>
                      </a:lnTo>
                      <a:lnTo>
                        <a:pt x="14" y="26"/>
                      </a:lnTo>
                      <a:lnTo>
                        <a:pt x="12" y="24"/>
                      </a:lnTo>
                      <a:lnTo>
                        <a:pt x="12" y="20"/>
                      </a:lnTo>
                      <a:lnTo>
                        <a:pt x="14" y="20"/>
                      </a:lnTo>
                      <a:lnTo>
                        <a:pt x="14" y="16"/>
                      </a:lnTo>
                      <a:lnTo>
                        <a:pt x="14" y="20"/>
                      </a:lnTo>
                      <a:lnTo>
                        <a:pt x="12" y="20"/>
                      </a:lnTo>
                      <a:lnTo>
                        <a:pt x="12" y="24"/>
                      </a:lnTo>
                      <a:lnTo>
                        <a:pt x="12" y="20"/>
                      </a:lnTo>
                      <a:lnTo>
                        <a:pt x="8" y="20"/>
                      </a:lnTo>
                      <a:lnTo>
                        <a:pt x="8" y="16"/>
                      </a:lnTo>
                      <a:lnTo>
                        <a:pt x="8" y="12"/>
                      </a:lnTo>
                      <a:lnTo>
                        <a:pt x="4" y="8"/>
                      </a:lnTo>
                      <a:lnTo>
                        <a:pt x="4" y="4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8" y="0"/>
                      </a:lnTo>
                      <a:lnTo>
                        <a:pt x="8" y="4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4" y="4"/>
                      </a:lnTo>
                      <a:lnTo>
                        <a:pt x="8" y="4"/>
                      </a:lnTo>
                      <a:lnTo>
                        <a:pt x="8" y="8"/>
                      </a:lnTo>
                      <a:lnTo>
                        <a:pt x="12" y="12"/>
                      </a:lnTo>
                      <a:lnTo>
                        <a:pt x="8" y="12"/>
                      </a:lnTo>
                      <a:lnTo>
                        <a:pt x="12" y="12"/>
                      </a:lnTo>
                      <a:lnTo>
                        <a:pt x="12" y="8"/>
                      </a:lnTo>
                      <a:lnTo>
                        <a:pt x="12" y="12"/>
                      </a:lnTo>
                      <a:lnTo>
                        <a:pt x="14" y="12"/>
                      </a:lnTo>
                      <a:lnTo>
                        <a:pt x="18" y="12"/>
                      </a:lnTo>
                      <a:lnTo>
                        <a:pt x="22" y="16"/>
                      </a:lnTo>
                      <a:lnTo>
                        <a:pt x="18" y="16"/>
                      </a:lnTo>
                      <a:lnTo>
                        <a:pt x="22" y="16"/>
                      </a:lnTo>
                      <a:lnTo>
                        <a:pt x="22" y="20"/>
                      </a:lnTo>
                      <a:lnTo>
                        <a:pt x="22" y="16"/>
                      </a:lnTo>
                      <a:lnTo>
                        <a:pt x="26" y="16"/>
                      </a:lnTo>
                      <a:lnTo>
                        <a:pt x="26" y="20"/>
                      </a:lnTo>
                      <a:lnTo>
                        <a:pt x="26" y="24"/>
                      </a:lnTo>
                      <a:lnTo>
                        <a:pt x="30" y="24"/>
                      </a:lnTo>
                      <a:lnTo>
                        <a:pt x="26" y="24"/>
                      </a:lnTo>
                      <a:lnTo>
                        <a:pt x="26" y="26"/>
                      </a:lnTo>
                      <a:lnTo>
                        <a:pt x="30" y="26"/>
                      </a:lnTo>
                      <a:lnTo>
                        <a:pt x="26" y="26"/>
                      </a:lnTo>
                      <a:lnTo>
                        <a:pt x="26" y="30"/>
                      </a:lnTo>
                      <a:lnTo>
                        <a:pt x="30" y="30"/>
                      </a:lnTo>
                      <a:lnTo>
                        <a:pt x="30" y="34"/>
                      </a:lnTo>
                      <a:lnTo>
                        <a:pt x="30" y="38"/>
                      </a:lnTo>
                      <a:lnTo>
                        <a:pt x="30" y="42"/>
                      </a:lnTo>
                      <a:lnTo>
                        <a:pt x="30" y="46"/>
                      </a:lnTo>
                      <a:lnTo>
                        <a:pt x="34" y="46"/>
                      </a:lnTo>
                      <a:lnTo>
                        <a:pt x="34" y="50"/>
                      </a:lnTo>
                      <a:lnTo>
                        <a:pt x="34" y="46"/>
                      </a:lnTo>
                      <a:lnTo>
                        <a:pt x="34" y="50"/>
                      </a:lnTo>
                      <a:lnTo>
                        <a:pt x="38" y="50"/>
                      </a:lnTo>
                      <a:lnTo>
                        <a:pt x="38" y="54"/>
                      </a:lnTo>
                      <a:lnTo>
                        <a:pt x="40" y="54"/>
                      </a:lnTo>
                      <a:lnTo>
                        <a:pt x="40" y="50"/>
                      </a:lnTo>
                      <a:lnTo>
                        <a:pt x="40" y="46"/>
                      </a:lnTo>
                      <a:lnTo>
                        <a:pt x="40" y="42"/>
                      </a:lnTo>
                      <a:lnTo>
                        <a:pt x="38" y="42"/>
                      </a:lnTo>
                      <a:lnTo>
                        <a:pt x="38" y="38"/>
                      </a:lnTo>
                      <a:lnTo>
                        <a:pt x="40" y="42"/>
                      </a:lnTo>
                      <a:lnTo>
                        <a:pt x="40" y="46"/>
                      </a:lnTo>
                      <a:lnTo>
                        <a:pt x="44" y="46"/>
                      </a:lnTo>
                      <a:lnTo>
                        <a:pt x="44" y="50"/>
                      </a:lnTo>
                      <a:lnTo>
                        <a:pt x="44" y="46"/>
                      </a:lnTo>
                      <a:lnTo>
                        <a:pt x="44" y="50"/>
                      </a:lnTo>
                      <a:lnTo>
                        <a:pt x="48" y="50"/>
                      </a:lnTo>
                      <a:lnTo>
                        <a:pt x="48" y="54"/>
                      </a:lnTo>
                      <a:lnTo>
                        <a:pt x="44" y="54"/>
                      </a:lnTo>
                      <a:lnTo>
                        <a:pt x="48" y="54"/>
                      </a:lnTo>
                      <a:lnTo>
                        <a:pt x="48" y="56"/>
                      </a:lnTo>
                      <a:lnTo>
                        <a:pt x="48" y="60"/>
                      </a:lnTo>
                      <a:lnTo>
                        <a:pt x="52" y="60"/>
                      </a:lnTo>
                      <a:lnTo>
                        <a:pt x="48" y="60"/>
                      </a:lnTo>
                      <a:lnTo>
                        <a:pt x="48" y="64"/>
                      </a:lnTo>
                      <a:lnTo>
                        <a:pt x="52" y="64"/>
                      </a:lnTo>
                      <a:lnTo>
                        <a:pt x="56" y="64"/>
                      </a:lnTo>
                      <a:lnTo>
                        <a:pt x="56" y="68"/>
                      </a:lnTo>
                      <a:lnTo>
                        <a:pt x="60" y="68"/>
                      </a:lnTo>
                      <a:lnTo>
                        <a:pt x="64" y="68"/>
                      </a:lnTo>
                      <a:lnTo>
                        <a:pt x="66" y="68"/>
                      </a:lnTo>
                      <a:lnTo>
                        <a:pt x="70" y="68"/>
                      </a:lnTo>
                      <a:lnTo>
                        <a:pt x="70" y="64"/>
                      </a:lnTo>
                      <a:lnTo>
                        <a:pt x="74" y="64"/>
                      </a:lnTo>
                      <a:lnTo>
                        <a:pt x="74" y="60"/>
                      </a:lnTo>
                      <a:lnTo>
                        <a:pt x="78" y="60"/>
                      </a:lnTo>
                      <a:lnTo>
                        <a:pt x="82" y="60"/>
                      </a:lnTo>
                      <a:lnTo>
                        <a:pt x="86" y="64"/>
                      </a:lnTo>
                      <a:lnTo>
                        <a:pt x="82" y="64"/>
                      </a:lnTo>
                      <a:lnTo>
                        <a:pt x="82" y="68"/>
                      </a:lnTo>
                      <a:lnTo>
                        <a:pt x="82" y="72"/>
                      </a:lnTo>
                      <a:lnTo>
                        <a:pt x="82" y="76"/>
                      </a:lnTo>
                      <a:lnTo>
                        <a:pt x="82" y="80"/>
                      </a:lnTo>
                      <a:lnTo>
                        <a:pt x="78" y="82"/>
                      </a:lnTo>
                      <a:lnTo>
                        <a:pt x="74" y="82"/>
                      </a:lnTo>
                      <a:lnTo>
                        <a:pt x="74" y="86"/>
                      </a:lnTo>
                      <a:lnTo>
                        <a:pt x="74" y="90"/>
                      </a:lnTo>
                      <a:lnTo>
                        <a:pt x="74" y="94"/>
                      </a:lnTo>
                      <a:lnTo>
                        <a:pt x="74" y="90"/>
                      </a:lnTo>
                      <a:lnTo>
                        <a:pt x="70" y="90"/>
                      </a:lnTo>
                      <a:lnTo>
                        <a:pt x="66" y="90"/>
                      </a:lnTo>
                      <a:lnTo>
                        <a:pt x="64" y="90"/>
                      </a:lnTo>
                      <a:lnTo>
                        <a:pt x="60" y="94"/>
                      </a:lnTo>
                      <a:lnTo>
                        <a:pt x="60" y="98"/>
                      </a:lnTo>
                      <a:lnTo>
                        <a:pt x="60" y="102"/>
                      </a:lnTo>
                      <a:lnTo>
                        <a:pt x="64" y="102"/>
                      </a:lnTo>
                      <a:lnTo>
                        <a:pt x="60" y="110"/>
                      </a:lnTo>
                      <a:lnTo>
                        <a:pt x="60" y="112"/>
                      </a:lnTo>
                      <a:lnTo>
                        <a:pt x="56" y="116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5" name="Freeform 202"/>
                <p:cNvSpPr>
                  <a:spLocks/>
                </p:cNvSpPr>
                <p:nvPr/>
              </p:nvSpPr>
              <p:spPr bwMode="auto">
                <a:xfrm>
                  <a:off x="8134350" y="5708718"/>
                  <a:ext cx="177800" cy="193675"/>
                </a:xfrm>
                <a:custGeom>
                  <a:avLst/>
                  <a:gdLst>
                    <a:gd name="T0" fmla="*/ 12 w 112"/>
                    <a:gd name="T1" fmla="*/ 96 h 122"/>
                    <a:gd name="T2" fmla="*/ 12 w 112"/>
                    <a:gd name="T3" fmla="*/ 90 h 122"/>
                    <a:gd name="T4" fmla="*/ 16 w 112"/>
                    <a:gd name="T5" fmla="*/ 90 h 122"/>
                    <a:gd name="T6" fmla="*/ 16 w 112"/>
                    <a:gd name="T7" fmla="*/ 82 h 122"/>
                    <a:gd name="T8" fmla="*/ 22 w 112"/>
                    <a:gd name="T9" fmla="*/ 74 h 122"/>
                    <a:gd name="T10" fmla="*/ 34 w 112"/>
                    <a:gd name="T11" fmla="*/ 70 h 122"/>
                    <a:gd name="T12" fmla="*/ 36 w 112"/>
                    <a:gd name="T13" fmla="*/ 64 h 122"/>
                    <a:gd name="T14" fmla="*/ 44 w 112"/>
                    <a:gd name="T15" fmla="*/ 60 h 122"/>
                    <a:gd name="T16" fmla="*/ 52 w 112"/>
                    <a:gd name="T17" fmla="*/ 52 h 122"/>
                    <a:gd name="T18" fmla="*/ 60 w 112"/>
                    <a:gd name="T19" fmla="*/ 50 h 122"/>
                    <a:gd name="T20" fmla="*/ 66 w 112"/>
                    <a:gd name="T21" fmla="*/ 38 h 122"/>
                    <a:gd name="T22" fmla="*/ 70 w 112"/>
                    <a:gd name="T23" fmla="*/ 28 h 122"/>
                    <a:gd name="T24" fmla="*/ 78 w 112"/>
                    <a:gd name="T25" fmla="*/ 24 h 122"/>
                    <a:gd name="T26" fmla="*/ 78 w 112"/>
                    <a:gd name="T27" fmla="*/ 8 h 122"/>
                    <a:gd name="T28" fmla="*/ 86 w 112"/>
                    <a:gd name="T29" fmla="*/ 4 h 122"/>
                    <a:gd name="T30" fmla="*/ 86 w 112"/>
                    <a:gd name="T31" fmla="*/ 4 h 122"/>
                    <a:gd name="T32" fmla="*/ 94 w 112"/>
                    <a:gd name="T33" fmla="*/ 12 h 122"/>
                    <a:gd name="T34" fmla="*/ 100 w 112"/>
                    <a:gd name="T35" fmla="*/ 12 h 122"/>
                    <a:gd name="T36" fmla="*/ 104 w 112"/>
                    <a:gd name="T37" fmla="*/ 12 h 122"/>
                    <a:gd name="T38" fmla="*/ 104 w 112"/>
                    <a:gd name="T39" fmla="*/ 16 h 122"/>
                    <a:gd name="T40" fmla="*/ 108 w 112"/>
                    <a:gd name="T41" fmla="*/ 16 h 122"/>
                    <a:gd name="T42" fmla="*/ 108 w 112"/>
                    <a:gd name="T43" fmla="*/ 12 h 122"/>
                    <a:gd name="T44" fmla="*/ 104 w 112"/>
                    <a:gd name="T45" fmla="*/ 16 h 122"/>
                    <a:gd name="T46" fmla="*/ 108 w 112"/>
                    <a:gd name="T47" fmla="*/ 16 h 122"/>
                    <a:gd name="T48" fmla="*/ 108 w 112"/>
                    <a:gd name="T49" fmla="*/ 20 h 122"/>
                    <a:gd name="T50" fmla="*/ 108 w 112"/>
                    <a:gd name="T51" fmla="*/ 24 h 122"/>
                    <a:gd name="T52" fmla="*/ 104 w 112"/>
                    <a:gd name="T53" fmla="*/ 30 h 122"/>
                    <a:gd name="T54" fmla="*/ 100 w 112"/>
                    <a:gd name="T55" fmla="*/ 40 h 122"/>
                    <a:gd name="T56" fmla="*/ 96 w 112"/>
                    <a:gd name="T57" fmla="*/ 50 h 122"/>
                    <a:gd name="T58" fmla="*/ 90 w 112"/>
                    <a:gd name="T59" fmla="*/ 56 h 122"/>
                    <a:gd name="T60" fmla="*/ 94 w 112"/>
                    <a:gd name="T61" fmla="*/ 64 h 122"/>
                    <a:gd name="T62" fmla="*/ 90 w 112"/>
                    <a:gd name="T63" fmla="*/ 64 h 122"/>
                    <a:gd name="T64" fmla="*/ 86 w 112"/>
                    <a:gd name="T65" fmla="*/ 64 h 122"/>
                    <a:gd name="T66" fmla="*/ 78 w 112"/>
                    <a:gd name="T67" fmla="*/ 68 h 122"/>
                    <a:gd name="T68" fmla="*/ 70 w 112"/>
                    <a:gd name="T69" fmla="*/ 70 h 122"/>
                    <a:gd name="T70" fmla="*/ 66 w 112"/>
                    <a:gd name="T71" fmla="*/ 78 h 122"/>
                    <a:gd name="T72" fmla="*/ 66 w 112"/>
                    <a:gd name="T73" fmla="*/ 90 h 122"/>
                    <a:gd name="T74" fmla="*/ 60 w 112"/>
                    <a:gd name="T75" fmla="*/ 96 h 122"/>
                    <a:gd name="T76" fmla="*/ 56 w 112"/>
                    <a:gd name="T77" fmla="*/ 104 h 122"/>
                    <a:gd name="T78" fmla="*/ 60 w 112"/>
                    <a:gd name="T79" fmla="*/ 104 h 122"/>
                    <a:gd name="T80" fmla="*/ 52 w 112"/>
                    <a:gd name="T81" fmla="*/ 108 h 122"/>
                    <a:gd name="T82" fmla="*/ 48 w 112"/>
                    <a:gd name="T83" fmla="*/ 120 h 122"/>
                    <a:gd name="T84" fmla="*/ 36 w 112"/>
                    <a:gd name="T85" fmla="*/ 122 h 122"/>
                    <a:gd name="T86" fmla="*/ 30 w 112"/>
                    <a:gd name="T87" fmla="*/ 120 h 122"/>
                    <a:gd name="T88" fmla="*/ 26 w 112"/>
                    <a:gd name="T89" fmla="*/ 120 h 122"/>
                    <a:gd name="T90" fmla="*/ 26 w 112"/>
                    <a:gd name="T91" fmla="*/ 120 h 122"/>
                    <a:gd name="T92" fmla="*/ 22 w 112"/>
                    <a:gd name="T93" fmla="*/ 116 h 122"/>
                    <a:gd name="T94" fmla="*/ 12 w 112"/>
                    <a:gd name="T95" fmla="*/ 112 h 122"/>
                    <a:gd name="T96" fmla="*/ 4 w 112"/>
                    <a:gd name="T97" fmla="*/ 116 h 122"/>
                    <a:gd name="T98" fmla="*/ 4 w 112"/>
                    <a:gd name="T99" fmla="*/ 112 h 122"/>
                    <a:gd name="T100" fmla="*/ 4 w 112"/>
                    <a:gd name="T101" fmla="*/ 108 h 122"/>
                    <a:gd name="T102" fmla="*/ 0 w 112"/>
                    <a:gd name="T103" fmla="*/ 108 h 122"/>
                    <a:gd name="T104" fmla="*/ 8 w 112"/>
                    <a:gd name="T105" fmla="*/ 104 h 122"/>
                    <a:gd name="T106" fmla="*/ 8 w 112"/>
                    <a:gd name="T107" fmla="*/ 100 h 122"/>
                    <a:gd name="T108" fmla="*/ 4 w 112"/>
                    <a:gd name="T109" fmla="*/ 94 h 1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12" h="122">
                      <a:moveTo>
                        <a:pt x="12" y="96"/>
                      </a:moveTo>
                      <a:lnTo>
                        <a:pt x="8" y="96"/>
                      </a:lnTo>
                      <a:lnTo>
                        <a:pt x="12" y="96"/>
                      </a:lnTo>
                      <a:lnTo>
                        <a:pt x="8" y="94"/>
                      </a:lnTo>
                      <a:lnTo>
                        <a:pt x="8" y="90"/>
                      </a:lnTo>
                      <a:lnTo>
                        <a:pt x="12" y="90"/>
                      </a:lnTo>
                      <a:lnTo>
                        <a:pt x="12" y="86"/>
                      </a:lnTo>
                      <a:lnTo>
                        <a:pt x="12" y="90"/>
                      </a:lnTo>
                      <a:lnTo>
                        <a:pt x="16" y="90"/>
                      </a:lnTo>
                      <a:lnTo>
                        <a:pt x="16" y="86"/>
                      </a:lnTo>
                      <a:lnTo>
                        <a:pt x="12" y="86"/>
                      </a:lnTo>
                      <a:lnTo>
                        <a:pt x="16" y="82"/>
                      </a:lnTo>
                      <a:lnTo>
                        <a:pt x="20" y="82"/>
                      </a:lnTo>
                      <a:lnTo>
                        <a:pt x="20" y="78"/>
                      </a:lnTo>
                      <a:lnTo>
                        <a:pt x="22" y="74"/>
                      </a:lnTo>
                      <a:lnTo>
                        <a:pt x="26" y="70"/>
                      </a:lnTo>
                      <a:lnTo>
                        <a:pt x="30" y="70"/>
                      </a:lnTo>
                      <a:lnTo>
                        <a:pt x="34" y="70"/>
                      </a:lnTo>
                      <a:lnTo>
                        <a:pt x="34" y="68"/>
                      </a:lnTo>
                      <a:lnTo>
                        <a:pt x="36" y="68"/>
                      </a:lnTo>
                      <a:lnTo>
                        <a:pt x="36" y="64"/>
                      </a:lnTo>
                      <a:lnTo>
                        <a:pt x="40" y="64"/>
                      </a:lnTo>
                      <a:lnTo>
                        <a:pt x="44" y="64"/>
                      </a:lnTo>
                      <a:lnTo>
                        <a:pt x="44" y="60"/>
                      </a:lnTo>
                      <a:lnTo>
                        <a:pt x="48" y="56"/>
                      </a:lnTo>
                      <a:lnTo>
                        <a:pt x="52" y="56"/>
                      </a:lnTo>
                      <a:lnTo>
                        <a:pt x="52" y="52"/>
                      </a:lnTo>
                      <a:lnTo>
                        <a:pt x="56" y="52"/>
                      </a:lnTo>
                      <a:lnTo>
                        <a:pt x="56" y="50"/>
                      </a:lnTo>
                      <a:lnTo>
                        <a:pt x="60" y="50"/>
                      </a:lnTo>
                      <a:lnTo>
                        <a:pt x="64" y="40"/>
                      </a:lnTo>
                      <a:lnTo>
                        <a:pt x="66" y="40"/>
                      </a:lnTo>
                      <a:lnTo>
                        <a:pt x="66" y="38"/>
                      </a:lnTo>
                      <a:lnTo>
                        <a:pt x="66" y="34"/>
                      </a:lnTo>
                      <a:lnTo>
                        <a:pt x="66" y="30"/>
                      </a:lnTo>
                      <a:lnTo>
                        <a:pt x="70" y="28"/>
                      </a:lnTo>
                      <a:lnTo>
                        <a:pt x="74" y="28"/>
                      </a:lnTo>
                      <a:lnTo>
                        <a:pt x="74" y="24"/>
                      </a:lnTo>
                      <a:lnTo>
                        <a:pt x="78" y="24"/>
                      </a:lnTo>
                      <a:lnTo>
                        <a:pt x="78" y="20"/>
                      </a:lnTo>
                      <a:lnTo>
                        <a:pt x="78" y="16"/>
                      </a:lnTo>
                      <a:lnTo>
                        <a:pt x="78" y="8"/>
                      </a:lnTo>
                      <a:lnTo>
                        <a:pt x="82" y="8"/>
                      </a:lnTo>
                      <a:lnTo>
                        <a:pt x="82" y="4"/>
                      </a:lnTo>
                      <a:lnTo>
                        <a:pt x="86" y="4"/>
                      </a:lnTo>
                      <a:lnTo>
                        <a:pt x="86" y="0"/>
                      </a:lnTo>
                      <a:lnTo>
                        <a:pt x="90" y="0"/>
                      </a:lnTo>
                      <a:lnTo>
                        <a:pt x="86" y="4"/>
                      </a:lnTo>
                      <a:lnTo>
                        <a:pt x="90" y="8"/>
                      </a:lnTo>
                      <a:lnTo>
                        <a:pt x="94" y="8"/>
                      </a:lnTo>
                      <a:lnTo>
                        <a:pt x="94" y="12"/>
                      </a:lnTo>
                      <a:lnTo>
                        <a:pt x="94" y="16"/>
                      </a:lnTo>
                      <a:lnTo>
                        <a:pt x="96" y="16"/>
                      </a:lnTo>
                      <a:lnTo>
                        <a:pt x="100" y="12"/>
                      </a:lnTo>
                      <a:lnTo>
                        <a:pt x="104" y="12"/>
                      </a:lnTo>
                      <a:lnTo>
                        <a:pt x="104" y="8"/>
                      </a:lnTo>
                      <a:lnTo>
                        <a:pt x="104" y="12"/>
                      </a:lnTo>
                      <a:lnTo>
                        <a:pt x="100" y="12"/>
                      </a:lnTo>
                      <a:lnTo>
                        <a:pt x="104" y="12"/>
                      </a:lnTo>
                      <a:lnTo>
                        <a:pt x="104" y="16"/>
                      </a:lnTo>
                      <a:lnTo>
                        <a:pt x="100" y="16"/>
                      </a:lnTo>
                      <a:lnTo>
                        <a:pt x="104" y="16"/>
                      </a:lnTo>
                      <a:lnTo>
                        <a:pt x="108" y="16"/>
                      </a:lnTo>
                      <a:lnTo>
                        <a:pt x="104" y="16"/>
                      </a:lnTo>
                      <a:lnTo>
                        <a:pt x="104" y="12"/>
                      </a:lnTo>
                      <a:lnTo>
                        <a:pt x="108" y="12"/>
                      </a:lnTo>
                      <a:lnTo>
                        <a:pt x="112" y="12"/>
                      </a:lnTo>
                      <a:lnTo>
                        <a:pt x="108" y="16"/>
                      </a:lnTo>
                      <a:lnTo>
                        <a:pt x="104" y="16"/>
                      </a:lnTo>
                      <a:lnTo>
                        <a:pt x="108" y="16"/>
                      </a:lnTo>
                      <a:lnTo>
                        <a:pt x="112" y="16"/>
                      </a:lnTo>
                      <a:lnTo>
                        <a:pt x="108" y="16"/>
                      </a:lnTo>
                      <a:lnTo>
                        <a:pt x="108" y="20"/>
                      </a:lnTo>
                      <a:lnTo>
                        <a:pt x="104" y="20"/>
                      </a:lnTo>
                      <a:lnTo>
                        <a:pt x="108" y="20"/>
                      </a:lnTo>
                      <a:lnTo>
                        <a:pt x="108" y="24"/>
                      </a:lnTo>
                      <a:lnTo>
                        <a:pt x="108" y="20"/>
                      </a:lnTo>
                      <a:lnTo>
                        <a:pt x="108" y="24"/>
                      </a:lnTo>
                      <a:lnTo>
                        <a:pt x="108" y="28"/>
                      </a:lnTo>
                      <a:lnTo>
                        <a:pt x="108" y="30"/>
                      </a:lnTo>
                      <a:lnTo>
                        <a:pt x="104" y="30"/>
                      </a:lnTo>
                      <a:lnTo>
                        <a:pt x="104" y="34"/>
                      </a:lnTo>
                      <a:lnTo>
                        <a:pt x="104" y="38"/>
                      </a:lnTo>
                      <a:lnTo>
                        <a:pt x="100" y="40"/>
                      </a:lnTo>
                      <a:lnTo>
                        <a:pt x="96" y="40"/>
                      </a:lnTo>
                      <a:lnTo>
                        <a:pt x="96" y="46"/>
                      </a:lnTo>
                      <a:lnTo>
                        <a:pt x="96" y="50"/>
                      </a:lnTo>
                      <a:lnTo>
                        <a:pt x="94" y="52"/>
                      </a:lnTo>
                      <a:lnTo>
                        <a:pt x="90" y="52"/>
                      </a:lnTo>
                      <a:lnTo>
                        <a:pt x="90" y="56"/>
                      </a:lnTo>
                      <a:lnTo>
                        <a:pt x="86" y="56"/>
                      </a:lnTo>
                      <a:lnTo>
                        <a:pt x="90" y="64"/>
                      </a:lnTo>
                      <a:lnTo>
                        <a:pt x="94" y="64"/>
                      </a:lnTo>
                      <a:lnTo>
                        <a:pt x="94" y="68"/>
                      </a:lnTo>
                      <a:lnTo>
                        <a:pt x="90" y="68"/>
                      </a:lnTo>
                      <a:lnTo>
                        <a:pt x="90" y="64"/>
                      </a:lnTo>
                      <a:lnTo>
                        <a:pt x="90" y="68"/>
                      </a:lnTo>
                      <a:lnTo>
                        <a:pt x="86" y="68"/>
                      </a:lnTo>
                      <a:lnTo>
                        <a:pt x="86" y="64"/>
                      </a:lnTo>
                      <a:lnTo>
                        <a:pt x="82" y="64"/>
                      </a:lnTo>
                      <a:lnTo>
                        <a:pt x="82" y="68"/>
                      </a:lnTo>
                      <a:lnTo>
                        <a:pt x="78" y="68"/>
                      </a:lnTo>
                      <a:lnTo>
                        <a:pt x="78" y="70"/>
                      </a:lnTo>
                      <a:lnTo>
                        <a:pt x="74" y="70"/>
                      </a:lnTo>
                      <a:lnTo>
                        <a:pt x="70" y="70"/>
                      </a:lnTo>
                      <a:lnTo>
                        <a:pt x="70" y="74"/>
                      </a:lnTo>
                      <a:lnTo>
                        <a:pt x="66" y="74"/>
                      </a:lnTo>
                      <a:lnTo>
                        <a:pt x="66" y="78"/>
                      </a:lnTo>
                      <a:lnTo>
                        <a:pt x="66" y="82"/>
                      </a:lnTo>
                      <a:lnTo>
                        <a:pt x="66" y="86"/>
                      </a:lnTo>
                      <a:lnTo>
                        <a:pt x="66" y="90"/>
                      </a:lnTo>
                      <a:lnTo>
                        <a:pt x="64" y="90"/>
                      </a:lnTo>
                      <a:lnTo>
                        <a:pt x="64" y="94"/>
                      </a:lnTo>
                      <a:lnTo>
                        <a:pt x="60" y="96"/>
                      </a:lnTo>
                      <a:lnTo>
                        <a:pt x="60" y="100"/>
                      </a:lnTo>
                      <a:lnTo>
                        <a:pt x="60" y="104"/>
                      </a:lnTo>
                      <a:lnTo>
                        <a:pt x="56" y="104"/>
                      </a:lnTo>
                      <a:lnTo>
                        <a:pt x="56" y="108"/>
                      </a:lnTo>
                      <a:lnTo>
                        <a:pt x="60" y="108"/>
                      </a:lnTo>
                      <a:lnTo>
                        <a:pt x="60" y="104"/>
                      </a:lnTo>
                      <a:lnTo>
                        <a:pt x="60" y="108"/>
                      </a:lnTo>
                      <a:lnTo>
                        <a:pt x="56" y="108"/>
                      </a:lnTo>
                      <a:lnTo>
                        <a:pt x="52" y="108"/>
                      </a:lnTo>
                      <a:lnTo>
                        <a:pt x="52" y="112"/>
                      </a:lnTo>
                      <a:lnTo>
                        <a:pt x="48" y="116"/>
                      </a:lnTo>
                      <a:lnTo>
                        <a:pt x="48" y="120"/>
                      </a:lnTo>
                      <a:lnTo>
                        <a:pt x="44" y="120"/>
                      </a:lnTo>
                      <a:lnTo>
                        <a:pt x="40" y="122"/>
                      </a:lnTo>
                      <a:lnTo>
                        <a:pt x="36" y="122"/>
                      </a:lnTo>
                      <a:lnTo>
                        <a:pt x="34" y="122"/>
                      </a:lnTo>
                      <a:lnTo>
                        <a:pt x="34" y="120"/>
                      </a:lnTo>
                      <a:lnTo>
                        <a:pt x="30" y="120"/>
                      </a:lnTo>
                      <a:lnTo>
                        <a:pt x="30" y="122"/>
                      </a:lnTo>
                      <a:lnTo>
                        <a:pt x="26" y="122"/>
                      </a:lnTo>
                      <a:lnTo>
                        <a:pt x="26" y="120"/>
                      </a:lnTo>
                      <a:lnTo>
                        <a:pt x="30" y="122"/>
                      </a:lnTo>
                      <a:lnTo>
                        <a:pt x="30" y="120"/>
                      </a:lnTo>
                      <a:lnTo>
                        <a:pt x="26" y="120"/>
                      </a:lnTo>
                      <a:lnTo>
                        <a:pt x="26" y="122"/>
                      </a:lnTo>
                      <a:lnTo>
                        <a:pt x="26" y="120"/>
                      </a:lnTo>
                      <a:lnTo>
                        <a:pt x="22" y="116"/>
                      </a:lnTo>
                      <a:lnTo>
                        <a:pt x="20" y="116"/>
                      </a:lnTo>
                      <a:lnTo>
                        <a:pt x="16" y="112"/>
                      </a:lnTo>
                      <a:lnTo>
                        <a:pt x="12" y="112"/>
                      </a:lnTo>
                      <a:lnTo>
                        <a:pt x="12" y="116"/>
                      </a:lnTo>
                      <a:lnTo>
                        <a:pt x="8" y="116"/>
                      </a:lnTo>
                      <a:lnTo>
                        <a:pt x="4" y="116"/>
                      </a:lnTo>
                      <a:lnTo>
                        <a:pt x="4" y="112"/>
                      </a:lnTo>
                      <a:lnTo>
                        <a:pt x="0" y="112"/>
                      </a:lnTo>
                      <a:lnTo>
                        <a:pt x="4" y="112"/>
                      </a:lnTo>
                      <a:lnTo>
                        <a:pt x="4" y="108"/>
                      </a:lnTo>
                      <a:lnTo>
                        <a:pt x="8" y="108"/>
                      </a:lnTo>
                      <a:lnTo>
                        <a:pt x="4" y="108"/>
                      </a:lnTo>
                      <a:lnTo>
                        <a:pt x="4" y="112"/>
                      </a:lnTo>
                      <a:lnTo>
                        <a:pt x="0" y="112"/>
                      </a:lnTo>
                      <a:lnTo>
                        <a:pt x="0" y="108"/>
                      </a:lnTo>
                      <a:lnTo>
                        <a:pt x="0" y="104"/>
                      </a:lnTo>
                      <a:lnTo>
                        <a:pt x="4" y="104"/>
                      </a:lnTo>
                      <a:lnTo>
                        <a:pt x="8" y="104"/>
                      </a:lnTo>
                      <a:lnTo>
                        <a:pt x="4" y="104"/>
                      </a:lnTo>
                      <a:lnTo>
                        <a:pt x="4" y="100"/>
                      </a:lnTo>
                      <a:lnTo>
                        <a:pt x="8" y="100"/>
                      </a:lnTo>
                      <a:lnTo>
                        <a:pt x="4" y="100"/>
                      </a:lnTo>
                      <a:lnTo>
                        <a:pt x="4" y="96"/>
                      </a:lnTo>
                      <a:lnTo>
                        <a:pt x="4" y="94"/>
                      </a:lnTo>
                      <a:lnTo>
                        <a:pt x="8" y="96"/>
                      </a:lnTo>
                      <a:lnTo>
                        <a:pt x="12" y="9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6" name="Freeform 203"/>
                <p:cNvSpPr>
                  <a:spLocks/>
                </p:cNvSpPr>
                <p:nvPr/>
              </p:nvSpPr>
              <p:spPr bwMode="auto">
                <a:xfrm>
                  <a:off x="8134350" y="5708718"/>
                  <a:ext cx="177800" cy="193675"/>
                </a:xfrm>
                <a:custGeom>
                  <a:avLst/>
                  <a:gdLst>
                    <a:gd name="T0" fmla="*/ 12 w 112"/>
                    <a:gd name="T1" fmla="*/ 96 h 122"/>
                    <a:gd name="T2" fmla="*/ 12 w 112"/>
                    <a:gd name="T3" fmla="*/ 90 h 122"/>
                    <a:gd name="T4" fmla="*/ 16 w 112"/>
                    <a:gd name="T5" fmla="*/ 90 h 122"/>
                    <a:gd name="T6" fmla="*/ 16 w 112"/>
                    <a:gd name="T7" fmla="*/ 82 h 122"/>
                    <a:gd name="T8" fmla="*/ 22 w 112"/>
                    <a:gd name="T9" fmla="*/ 74 h 122"/>
                    <a:gd name="T10" fmla="*/ 34 w 112"/>
                    <a:gd name="T11" fmla="*/ 70 h 122"/>
                    <a:gd name="T12" fmla="*/ 36 w 112"/>
                    <a:gd name="T13" fmla="*/ 64 h 122"/>
                    <a:gd name="T14" fmla="*/ 44 w 112"/>
                    <a:gd name="T15" fmla="*/ 60 h 122"/>
                    <a:gd name="T16" fmla="*/ 52 w 112"/>
                    <a:gd name="T17" fmla="*/ 52 h 122"/>
                    <a:gd name="T18" fmla="*/ 60 w 112"/>
                    <a:gd name="T19" fmla="*/ 50 h 122"/>
                    <a:gd name="T20" fmla="*/ 66 w 112"/>
                    <a:gd name="T21" fmla="*/ 38 h 122"/>
                    <a:gd name="T22" fmla="*/ 70 w 112"/>
                    <a:gd name="T23" fmla="*/ 28 h 122"/>
                    <a:gd name="T24" fmla="*/ 78 w 112"/>
                    <a:gd name="T25" fmla="*/ 24 h 122"/>
                    <a:gd name="T26" fmla="*/ 78 w 112"/>
                    <a:gd name="T27" fmla="*/ 8 h 122"/>
                    <a:gd name="T28" fmla="*/ 86 w 112"/>
                    <a:gd name="T29" fmla="*/ 4 h 122"/>
                    <a:gd name="T30" fmla="*/ 86 w 112"/>
                    <a:gd name="T31" fmla="*/ 4 h 122"/>
                    <a:gd name="T32" fmla="*/ 94 w 112"/>
                    <a:gd name="T33" fmla="*/ 12 h 122"/>
                    <a:gd name="T34" fmla="*/ 100 w 112"/>
                    <a:gd name="T35" fmla="*/ 12 h 122"/>
                    <a:gd name="T36" fmla="*/ 104 w 112"/>
                    <a:gd name="T37" fmla="*/ 12 h 122"/>
                    <a:gd name="T38" fmla="*/ 104 w 112"/>
                    <a:gd name="T39" fmla="*/ 16 h 122"/>
                    <a:gd name="T40" fmla="*/ 108 w 112"/>
                    <a:gd name="T41" fmla="*/ 16 h 122"/>
                    <a:gd name="T42" fmla="*/ 108 w 112"/>
                    <a:gd name="T43" fmla="*/ 12 h 122"/>
                    <a:gd name="T44" fmla="*/ 104 w 112"/>
                    <a:gd name="T45" fmla="*/ 16 h 122"/>
                    <a:gd name="T46" fmla="*/ 108 w 112"/>
                    <a:gd name="T47" fmla="*/ 16 h 122"/>
                    <a:gd name="T48" fmla="*/ 108 w 112"/>
                    <a:gd name="T49" fmla="*/ 20 h 122"/>
                    <a:gd name="T50" fmla="*/ 108 w 112"/>
                    <a:gd name="T51" fmla="*/ 24 h 122"/>
                    <a:gd name="T52" fmla="*/ 104 w 112"/>
                    <a:gd name="T53" fmla="*/ 30 h 122"/>
                    <a:gd name="T54" fmla="*/ 100 w 112"/>
                    <a:gd name="T55" fmla="*/ 40 h 122"/>
                    <a:gd name="T56" fmla="*/ 96 w 112"/>
                    <a:gd name="T57" fmla="*/ 50 h 122"/>
                    <a:gd name="T58" fmla="*/ 90 w 112"/>
                    <a:gd name="T59" fmla="*/ 56 h 122"/>
                    <a:gd name="T60" fmla="*/ 94 w 112"/>
                    <a:gd name="T61" fmla="*/ 64 h 122"/>
                    <a:gd name="T62" fmla="*/ 90 w 112"/>
                    <a:gd name="T63" fmla="*/ 64 h 122"/>
                    <a:gd name="T64" fmla="*/ 86 w 112"/>
                    <a:gd name="T65" fmla="*/ 64 h 122"/>
                    <a:gd name="T66" fmla="*/ 78 w 112"/>
                    <a:gd name="T67" fmla="*/ 68 h 122"/>
                    <a:gd name="T68" fmla="*/ 70 w 112"/>
                    <a:gd name="T69" fmla="*/ 70 h 122"/>
                    <a:gd name="T70" fmla="*/ 66 w 112"/>
                    <a:gd name="T71" fmla="*/ 78 h 122"/>
                    <a:gd name="T72" fmla="*/ 66 w 112"/>
                    <a:gd name="T73" fmla="*/ 90 h 122"/>
                    <a:gd name="T74" fmla="*/ 60 w 112"/>
                    <a:gd name="T75" fmla="*/ 96 h 122"/>
                    <a:gd name="T76" fmla="*/ 56 w 112"/>
                    <a:gd name="T77" fmla="*/ 104 h 122"/>
                    <a:gd name="T78" fmla="*/ 60 w 112"/>
                    <a:gd name="T79" fmla="*/ 104 h 122"/>
                    <a:gd name="T80" fmla="*/ 52 w 112"/>
                    <a:gd name="T81" fmla="*/ 108 h 122"/>
                    <a:gd name="T82" fmla="*/ 48 w 112"/>
                    <a:gd name="T83" fmla="*/ 120 h 122"/>
                    <a:gd name="T84" fmla="*/ 36 w 112"/>
                    <a:gd name="T85" fmla="*/ 122 h 122"/>
                    <a:gd name="T86" fmla="*/ 30 w 112"/>
                    <a:gd name="T87" fmla="*/ 120 h 122"/>
                    <a:gd name="T88" fmla="*/ 26 w 112"/>
                    <a:gd name="T89" fmla="*/ 120 h 122"/>
                    <a:gd name="T90" fmla="*/ 26 w 112"/>
                    <a:gd name="T91" fmla="*/ 120 h 122"/>
                    <a:gd name="T92" fmla="*/ 22 w 112"/>
                    <a:gd name="T93" fmla="*/ 116 h 122"/>
                    <a:gd name="T94" fmla="*/ 12 w 112"/>
                    <a:gd name="T95" fmla="*/ 112 h 122"/>
                    <a:gd name="T96" fmla="*/ 4 w 112"/>
                    <a:gd name="T97" fmla="*/ 116 h 122"/>
                    <a:gd name="T98" fmla="*/ 4 w 112"/>
                    <a:gd name="T99" fmla="*/ 112 h 122"/>
                    <a:gd name="T100" fmla="*/ 4 w 112"/>
                    <a:gd name="T101" fmla="*/ 108 h 122"/>
                    <a:gd name="T102" fmla="*/ 0 w 112"/>
                    <a:gd name="T103" fmla="*/ 108 h 122"/>
                    <a:gd name="T104" fmla="*/ 8 w 112"/>
                    <a:gd name="T105" fmla="*/ 104 h 122"/>
                    <a:gd name="T106" fmla="*/ 8 w 112"/>
                    <a:gd name="T107" fmla="*/ 100 h 122"/>
                    <a:gd name="T108" fmla="*/ 4 w 112"/>
                    <a:gd name="T109" fmla="*/ 94 h 1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12" h="122">
                      <a:moveTo>
                        <a:pt x="12" y="96"/>
                      </a:moveTo>
                      <a:lnTo>
                        <a:pt x="8" y="96"/>
                      </a:lnTo>
                      <a:lnTo>
                        <a:pt x="12" y="96"/>
                      </a:lnTo>
                      <a:lnTo>
                        <a:pt x="8" y="94"/>
                      </a:lnTo>
                      <a:lnTo>
                        <a:pt x="8" y="90"/>
                      </a:lnTo>
                      <a:lnTo>
                        <a:pt x="12" y="90"/>
                      </a:lnTo>
                      <a:lnTo>
                        <a:pt x="12" y="86"/>
                      </a:lnTo>
                      <a:lnTo>
                        <a:pt x="12" y="90"/>
                      </a:lnTo>
                      <a:lnTo>
                        <a:pt x="16" y="90"/>
                      </a:lnTo>
                      <a:lnTo>
                        <a:pt x="16" y="86"/>
                      </a:lnTo>
                      <a:lnTo>
                        <a:pt x="12" y="86"/>
                      </a:lnTo>
                      <a:lnTo>
                        <a:pt x="16" y="82"/>
                      </a:lnTo>
                      <a:lnTo>
                        <a:pt x="20" y="82"/>
                      </a:lnTo>
                      <a:lnTo>
                        <a:pt x="20" y="78"/>
                      </a:lnTo>
                      <a:lnTo>
                        <a:pt x="22" y="74"/>
                      </a:lnTo>
                      <a:lnTo>
                        <a:pt x="26" y="70"/>
                      </a:lnTo>
                      <a:lnTo>
                        <a:pt x="30" y="70"/>
                      </a:lnTo>
                      <a:lnTo>
                        <a:pt x="34" y="70"/>
                      </a:lnTo>
                      <a:lnTo>
                        <a:pt x="34" y="68"/>
                      </a:lnTo>
                      <a:lnTo>
                        <a:pt x="36" y="68"/>
                      </a:lnTo>
                      <a:lnTo>
                        <a:pt x="36" y="64"/>
                      </a:lnTo>
                      <a:lnTo>
                        <a:pt x="40" y="64"/>
                      </a:lnTo>
                      <a:lnTo>
                        <a:pt x="44" y="64"/>
                      </a:lnTo>
                      <a:lnTo>
                        <a:pt x="44" y="60"/>
                      </a:lnTo>
                      <a:lnTo>
                        <a:pt x="48" y="56"/>
                      </a:lnTo>
                      <a:lnTo>
                        <a:pt x="52" y="56"/>
                      </a:lnTo>
                      <a:lnTo>
                        <a:pt x="52" y="52"/>
                      </a:lnTo>
                      <a:lnTo>
                        <a:pt x="56" y="52"/>
                      </a:lnTo>
                      <a:lnTo>
                        <a:pt x="56" y="50"/>
                      </a:lnTo>
                      <a:lnTo>
                        <a:pt x="60" y="50"/>
                      </a:lnTo>
                      <a:lnTo>
                        <a:pt x="64" y="40"/>
                      </a:lnTo>
                      <a:lnTo>
                        <a:pt x="66" y="40"/>
                      </a:lnTo>
                      <a:lnTo>
                        <a:pt x="66" y="38"/>
                      </a:lnTo>
                      <a:lnTo>
                        <a:pt x="66" y="34"/>
                      </a:lnTo>
                      <a:lnTo>
                        <a:pt x="66" y="30"/>
                      </a:lnTo>
                      <a:lnTo>
                        <a:pt x="70" y="28"/>
                      </a:lnTo>
                      <a:lnTo>
                        <a:pt x="74" y="28"/>
                      </a:lnTo>
                      <a:lnTo>
                        <a:pt x="74" y="24"/>
                      </a:lnTo>
                      <a:lnTo>
                        <a:pt x="78" y="24"/>
                      </a:lnTo>
                      <a:lnTo>
                        <a:pt x="78" y="20"/>
                      </a:lnTo>
                      <a:lnTo>
                        <a:pt x="78" y="16"/>
                      </a:lnTo>
                      <a:lnTo>
                        <a:pt x="78" y="8"/>
                      </a:lnTo>
                      <a:lnTo>
                        <a:pt x="82" y="8"/>
                      </a:lnTo>
                      <a:lnTo>
                        <a:pt x="82" y="4"/>
                      </a:lnTo>
                      <a:lnTo>
                        <a:pt x="86" y="4"/>
                      </a:lnTo>
                      <a:lnTo>
                        <a:pt x="86" y="0"/>
                      </a:lnTo>
                      <a:lnTo>
                        <a:pt x="90" y="0"/>
                      </a:lnTo>
                      <a:lnTo>
                        <a:pt x="86" y="4"/>
                      </a:lnTo>
                      <a:lnTo>
                        <a:pt x="90" y="8"/>
                      </a:lnTo>
                      <a:lnTo>
                        <a:pt x="94" y="8"/>
                      </a:lnTo>
                      <a:lnTo>
                        <a:pt x="94" y="12"/>
                      </a:lnTo>
                      <a:lnTo>
                        <a:pt x="94" y="16"/>
                      </a:lnTo>
                      <a:lnTo>
                        <a:pt x="96" y="16"/>
                      </a:lnTo>
                      <a:lnTo>
                        <a:pt x="100" y="12"/>
                      </a:lnTo>
                      <a:lnTo>
                        <a:pt x="104" y="12"/>
                      </a:lnTo>
                      <a:lnTo>
                        <a:pt x="104" y="8"/>
                      </a:lnTo>
                      <a:lnTo>
                        <a:pt x="104" y="12"/>
                      </a:lnTo>
                      <a:lnTo>
                        <a:pt x="100" y="12"/>
                      </a:lnTo>
                      <a:lnTo>
                        <a:pt x="104" y="12"/>
                      </a:lnTo>
                      <a:lnTo>
                        <a:pt x="104" y="16"/>
                      </a:lnTo>
                      <a:lnTo>
                        <a:pt x="100" y="16"/>
                      </a:lnTo>
                      <a:lnTo>
                        <a:pt x="104" y="16"/>
                      </a:lnTo>
                      <a:lnTo>
                        <a:pt x="108" y="16"/>
                      </a:lnTo>
                      <a:lnTo>
                        <a:pt x="104" y="16"/>
                      </a:lnTo>
                      <a:lnTo>
                        <a:pt x="104" y="12"/>
                      </a:lnTo>
                      <a:lnTo>
                        <a:pt x="108" y="12"/>
                      </a:lnTo>
                      <a:lnTo>
                        <a:pt x="112" y="12"/>
                      </a:lnTo>
                      <a:lnTo>
                        <a:pt x="108" y="16"/>
                      </a:lnTo>
                      <a:lnTo>
                        <a:pt x="104" y="16"/>
                      </a:lnTo>
                      <a:lnTo>
                        <a:pt x="108" y="16"/>
                      </a:lnTo>
                      <a:lnTo>
                        <a:pt x="112" y="16"/>
                      </a:lnTo>
                      <a:lnTo>
                        <a:pt x="108" y="16"/>
                      </a:lnTo>
                      <a:lnTo>
                        <a:pt x="108" y="20"/>
                      </a:lnTo>
                      <a:lnTo>
                        <a:pt x="104" y="20"/>
                      </a:lnTo>
                      <a:lnTo>
                        <a:pt x="108" y="20"/>
                      </a:lnTo>
                      <a:lnTo>
                        <a:pt x="108" y="24"/>
                      </a:lnTo>
                      <a:lnTo>
                        <a:pt x="108" y="20"/>
                      </a:lnTo>
                      <a:lnTo>
                        <a:pt x="108" y="24"/>
                      </a:lnTo>
                      <a:lnTo>
                        <a:pt x="108" y="28"/>
                      </a:lnTo>
                      <a:lnTo>
                        <a:pt x="108" y="30"/>
                      </a:lnTo>
                      <a:lnTo>
                        <a:pt x="104" y="30"/>
                      </a:lnTo>
                      <a:lnTo>
                        <a:pt x="104" y="34"/>
                      </a:lnTo>
                      <a:lnTo>
                        <a:pt x="104" y="38"/>
                      </a:lnTo>
                      <a:lnTo>
                        <a:pt x="100" y="40"/>
                      </a:lnTo>
                      <a:lnTo>
                        <a:pt x="96" y="40"/>
                      </a:lnTo>
                      <a:lnTo>
                        <a:pt x="96" y="46"/>
                      </a:lnTo>
                      <a:lnTo>
                        <a:pt x="96" y="50"/>
                      </a:lnTo>
                      <a:lnTo>
                        <a:pt x="94" y="52"/>
                      </a:lnTo>
                      <a:lnTo>
                        <a:pt x="90" y="52"/>
                      </a:lnTo>
                      <a:lnTo>
                        <a:pt x="90" y="56"/>
                      </a:lnTo>
                      <a:lnTo>
                        <a:pt x="86" y="56"/>
                      </a:lnTo>
                      <a:lnTo>
                        <a:pt x="90" y="64"/>
                      </a:lnTo>
                      <a:lnTo>
                        <a:pt x="94" y="64"/>
                      </a:lnTo>
                      <a:lnTo>
                        <a:pt x="94" y="68"/>
                      </a:lnTo>
                      <a:lnTo>
                        <a:pt x="90" y="68"/>
                      </a:lnTo>
                      <a:lnTo>
                        <a:pt x="90" y="64"/>
                      </a:lnTo>
                      <a:lnTo>
                        <a:pt x="90" y="68"/>
                      </a:lnTo>
                      <a:lnTo>
                        <a:pt x="86" y="68"/>
                      </a:lnTo>
                      <a:lnTo>
                        <a:pt x="86" y="64"/>
                      </a:lnTo>
                      <a:lnTo>
                        <a:pt x="82" y="64"/>
                      </a:lnTo>
                      <a:lnTo>
                        <a:pt x="82" y="68"/>
                      </a:lnTo>
                      <a:lnTo>
                        <a:pt x="78" y="68"/>
                      </a:lnTo>
                      <a:lnTo>
                        <a:pt x="78" y="70"/>
                      </a:lnTo>
                      <a:lnTo>
                        <a:pt x="74" y="70"/>
                      </a:lnTo>
                      <a:lnTo>
                        <a:pt x="70" y="70"/>
                      </a:lnTo>
                      <a:lnTo>
                        <a:pt x="70" y="74"/>
                      </a:lnTo>
                      <a:lnTo>
                        <a:pt x="66" y="74"/>
                      </a:lnTo>
                      <a:lnTo>
                        <a:pt x="66" y="78"/>
                      </a:lnTo>
                      <a:lnTo>
                        <a:pt x="66" y="82"/>
                      </a:lnTo>
                      <a:lnTo>
                        <a:pt x="66" y="86"/>
                      </a:lnTo>
                      <a:lnTo>
                        <a:pt x="66" y="90"/>
                      </a:lnTo>
                      <a:lnTo>
                        <a:pt x="64" y="90"/>
                      </a:lnTo>
                      <a:lnTo>
                        <a:pt x="64" y="94"/>
                      </a:lnTo>
                      <a:lnTo>
                        <a:pt x="60" y="96"/>
                      </a:lnTo>
                      <a:lnTo>
                        <a:pt x="60" y="100"/>
                      </a:lnTo>
                      <a:lnTo>
                        <a:pt x="60" y="104"/>
                      </a:lnTo>
                      <a:lnTo>
                        <a:pt x="56" y="104"/>
                      </a:lnTo>
                      <a:lnTo>
                        <a:pt x="56" y="108"/>
                      </a:lnTo>
                      <a:lnTo>
                        <a:pt x="60" y="108"/>
                      </a:lnTo>
                      <a:lnTo>
                        <a:pt x="60" y="104"/>
                      </a:lnTo>
                      <a:lnTo>
                        <a:pt x="60" y="108"/>
                      </a:lnTo>
                      <a:lnTo>
                        <a:pt x="56" y="108"/>
                      </a:lnTo>
                      <a:lnTo>
                        <a:pt x="52" y="108"/>
                      </a:lnTo>
                      <a:lnTo>
                        <a:pt x="52" y="112"/>
                      </a:lnTo>
                      <a:lnTo>
                        <a:pt x="48" y="116"/>
                      </a:lnTo>
                      <a:lnTo>
                        <a:pt x="48" y="120"/>
                      </a:lnTo>
                      <a:lnTo>
                        <a:pt x="44" y="120"/>
                      </a:lnTo>
                      <a:lnTo>
                        <a:pt x="40" y="122"/>
                      </a:lnTo>
                      <a:lnTo>
                        <a:pt x="36" y="122"/>
                      </a:lnTo>
                      <a:lnTo>
                        <a:pt x="34" y="122"/>
                      </a:lnTo>
                      <a:lnTo>
                        <a:pt x="34" y="120"/>
                      </a:lnTo>
                      <a:lnTo>
                        <a:pt x="30" y="120"/>
                      </a:lnTo>
                      <a:lnTo>
                        <a:pt x="30" y="122"/>
                      </a:lnTo>
                      <a:lnTo>
                        <a:pt x="26" y="122"/>
                      </a:lnTo>
                      <a:lnTo>
                        <a:pt x="26" y="120"/>
                      </a:lnTo>
                      <a:lnTo>
                        <a:pt x="30" y="122"/>
                      </a:lnTo>
                      <a:lnTo>
                        <a:pt x="30" y="120"/>
                      </a:lnTo>
                      <a:lnTo>
                        <a:pt x="26" y="120"/>
                      </a:lnTo>
                      <a:lnTo>
                        <a:pt x="26" y="122"/>
                      </a:lnTo>
                      <a:lnTo>
                        <a:pt x="26" y="120"/>
                      </a:lnTo>
                      <a:lnTo>
                        <a:pt x="22" y="116"/>
                      </a:lnTo>
                      <a:lnTo>
                        <a:pt x="20" y="116"/>
                      </a:lnTo>
                      <a:lnTo>
                        <a:pt x="16" y="112"/>
                      </a:lnTo>
                      <a:lnTo>
                        <a:pt x="12" y="112"/>
                      </a:lnTo>
                      <a:lnTo>
                        <a:pt x="12" y="116"/>
                      </a:lnTo>
                      <a:lnTo>
                        <a:pt x="8" y="116"/>
                      </a:lnTo>
                      <a:lnTo>
                        <a:pt x="4" y="116"/>
                      </a:lnTo>
                      <a:lnTo>
                        <a:pt x="4" y="112"/>
                      </a:lnTo>
                      <a:lnTo>
                        <a:pt x="0" y="112"/>
                      </a:lnTo>
                      <a:lnTo>
                        <a:pt x="4" y="112"/>
                      </a:lnTo>
                      <a:lnTo>
                        <a:pt x="4" y="108"/>
                      </a:lnTo>
                      <a:lnTo>
                        <a:pt x="8" y="108"/>
                      </a:lnTo>
                      <a:lnTo>
                        <a:pt x="4" y="108"/>
                      </a:lnTo>
                      <a:lnTo>
                        <a:pt x="4" y="112"/>
                      </a:lnTo>
                      <a:lnTo>
                        <a:pt x="0" y="112"/>
                      </a:lnTo>
                      <a:lnTo>
                        <a:pt x="0" y="108"/>
                      </a:lnTo>
                      <a:lnTo>
                        <a:pt x="0" y="104"/>
                      </a:lnTo>
                      <a:lnTo>
                        <a:pt x="4" y="104"/>
                      </a:lnTo>
                      <a:lnTo>
                        <a:pt x="8" y="104"/>
                      </a:lnTo>
                      <a:lnTo>
                        <a:pt x="4" y="104"/>
                      </a:lnTo>
                      <a:lnTo>
                        <a:pt x="4" y="100"/>
                      </a:lnTo>
                      <a:lnTo>
                        <a:pt x="8" y="100"/>
                      </a:lnTo>
                      <a:lnTo>
                        <a:pt x="4" y="100"/>
                      </a:lnTo>
                      <a:lnTo>
                        <a:pt x="4" y="96"/>
                      </a:lnTo>
                      <a:lnTo>
                        <a:pt x="4" y="94"/>
                      </a:lnTo>
                      <a:lnTo>
                        <a:pt x="8" y="96"/>
                      </a:lnTo>
                      <a:lnTo>
                        <a:pt x="12" y="96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7" name="Freeform 204"/>
                <p:cNvSpPr>
                  <a:spLocks noEditPoints="1"/>
                </p:cNvSpPr>
                <p:nvPr/>
              </p:nvSpPr>
              <p:spPr bwMode="auto">
                <a:xfrm>
                  <a:off x="7908925" y="4749868"/>
                  <a:ext cx="215900" cy="117475"/>
                </a:xfrm>
                <a:custGeom>
                  <a:avLst/>
                  <a:gdLst>
                    <a:gd name="T0" fmla="*/ 6 w 136"/>
                    <a:gd name="T1" fmla="*/ 8 h 74"/>
                    <a:gd name="T2" fmla="*/ 8 w 136"/>
                    <a:gd name="T3" fmla="*/ 4 h 74"/>
                    <a:gd name="T4" fmla="*/ 14 w 136"/>
                    <a:gd name="T5" fmla="*/ 10 h 74"/>
                    <a:gd name="T6" fmla="*/ 14 w 136"/>
                    <a:gd name="T7" fmla="*/ 12 h 74"/>
                    <a:gd name="T8" fmla="*/ 48 w 136"/>
                    <a:gd name="T9" fmla="*/ 26 h 74"/>
                    <a:gd name="T10" fmla="*/ 30 w 136"/>
                    <a:gd name="T11" fmla="*/ 12 h 74"/>
                    <a:gd name="T12" fmla="*/ 48 w 136"/>
                    <a:gd name="T13" fmla="*/ 26 h 74"/>
                    <a:gd name="T14" fmla="*/ 48 w 136"/>
                    <a:gd name="T15" fmla="*/ 26 h 74"/>
                    <a:gd name="T16" fmla="*/ 0 w 136"/>
                    <a:gd name="T17" fmla="*/ 14 h 74"/>
                    <a:gd name="T18" fmla="*/ 2 w 136"/>
                    <a:gd name="T19" fmla="*/ 18 h 74"/>
                    <a:gd name="T20" fmla="*/ 2 w 136"/>
                    <a:gd name="T21" fmla="*/ 18 h 74"/>
                    <a:gd name="T22" fmla="*/ 6 w 136"/>
                    <a:gd name="T23" fmla="*/ 20 h 74"/>
                    <a:gd name="T24" fmla="*/ 10 w 136"/>
                    <a:gd name="T25" fmla="*/ 16 h 74"/>
                    <a:gd name="T26" fmla="*/ 10 w 136"/>
                    <a:gd name="T27" fmla="*/ 22 h 74"/>
                    <a:gd name="T28" fmla="*/ 18 w 136"/>
                    <a:gd name="T29" fmla="*/ 28 h 74"/>
                    <a:gd name="T30" fmla="*/ 12 w 136"/>
                    <a:gd name="T31" fmla="*/ 22 h 74"/>
                    <a:gd name="T32" fmla="*/ 18 w 136"/>
                    <a:gd name="T33" fmla="*/ 22 h 74"/>
                    <a:gd name="T34" fmla="*/ 18 w 136"/>
                    <a:gd name="T35" fmla="*/ 28 h 74"/>
                    <a:gd name="T36" fmla="*/ 18 w 136"/>
                    <a:gd name="T37" fmla="*/ 28 h 74"/>
                    <a:gd name="T38" fmla="*/ 12 w 136"/>
                    <a:gd name="T39" fmla="*/ 28 h 74"/>
                    <a:gd name="T40" fmla="*/ 12 w 136"/>
                    <a:gd name="T41" fmla="*/ 28 h 74"/>
                    <a:gd name="T42" fmla="*/ 12 w 136"/>
                    <a:gd name="T43" fmla="*/ 28 h 74"/>
                    <a:gd name="T44" fmla="*/ 20 w 136"/>
                    <a:gd name="T45" fmla="*/ 28 h 74"/>
                    <a:gd name="T46" fmla="*/ 22 w 136"/>
                    <a:gd name="T47" fmla="*/ 28 h 74"/>
                    <a:gd name="T48" fmla="*/ 22 w 136"/>
                    <a:gd name="T49" fmla="*/ 28 h 74"/>
                    <a:gd name="T50" fmla="*/ 132 w 136"/>
                    <a:gd name="T51" fmla="*/ 56 h 74"/>
                    <a:gd name="T52" fmla="*/ 134 w 136"/>
                    <a:gd name="T53" fmla="*/ 60 h 74"/>
                    <a:gd name="T54" fmla="*/ 134 w 136"/>
                    <a:gd name="T55" fmla="*/ 60 h 74"/>
                    <a:gd name="T56" fmla="*/ 48 w 136"/>
                    <a:gd name="T57" fmla="*/ 68 h 74"/>
                    <a:gd name="T58" fmla="*/ 58 w 136"/>
                    <a:gd name="T59" fmla="*/ 74 h 74"/>
                    <a:gd name="T60" fmla="*/ 58 w 136"/>
                    <a:gd name="T61" fmla="*/ 74 h 74"/>
                    <a:gd name="T62" fmla="*/ 70 w 136"/>
                    <a:gd name="T63" fmla="*/ 42 h 74"/>
                    <a:gd name="T64" fmla="*/ 58 w 136"/>
                    <a:gd name="T65" fmla="*/ 22 h 74"/>
                    <a:gd name="T66" fmla="*/ 64 w 136"/>
                    <a:gd name="T67" fmla="*/ 28 h 74"/>
                    <a:gd name="T68" fmla="*/ 68 w 136"/>
                    <a:gd name="T69" fmla="*/ 34 h 74"/>
                    <a:gd name="T70" fmla="*/ 68 w 136"/>
                    <a:gd name="T71" fmla="*/ 34 h 74"/>
                    <a:gd name="T72" fmla="*/ 60 w 136"/>
                    <a:gd name="T73" fmla="*/ 46 h 74"/>
                    <a:gd name="T74" fmla="*/ 44 w 136"/>
                    <a:gd name="T75" fmla="*/ 38 h 74"/>
                    <a:gd name="T76" fmla="*/ 62 w 136"/>
                    <a:gd name="T77" fmla="*/ 46 h 74"/>
                    <a:gd name="T78" fmla="*/ 62 w 136"/>
                    <a:gd name="T79" fmla="*/ 46 h 74"/>
                    <a:gd name="T80" fmla="*/ 84 w 136"/>
                    <a:gd name="T81" fmla="*/ 60 h 74"/>
                    <a:gd name="T82" fmla="*/ 68 w 136"/>
                    <a:gd name="T83" fmla="*/ 50 h 74"/>
                    <a:gd name="T84" fmla="*/ 84 w 136"/>
                    <a:gd name="T85" fmla="*/ 56 h 74"/>
                    <a:gd name="T86" fmla="*/ 84 w 136"/>
                    <a:gd name="T87" fmla="*/ 56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36" h="74">
                      <a:moveTo>
                        <a:pt x="14" y="12"/>
                      </a:moveTo>
                      <a:lnTo>
                        <a:pt x="6" y="8"/>
                      </a:lnTo>
                      <a:lnTo>
                        <a:pt x="0" y="0"/>
                      </a:lnTo>
                      <a:lnTo>
                        <a:pt x="8" y="4"/>
                      </a:lnTo>
                      <a:lnTo>
                        <a:pt x="10" y="6"/>
                      </a:lnTo>
                      <a:lnTo>
                        <a:pt x="14" y="10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4" y="12"/>
                      </a:lnTo>
                      <a:close/>
                      <a:moveTo>
                        <a:pt x="48" y="26"/>
                      </a:moveTo>
                      <a:lnTo>
                        <a:pt x="34" y="18"/>
                      </a:lnTo>
                      <a:lnTo>
                        <a:pt x="30" y="12"/>
                      </a:lnTo>
                      <a:lnTo>
                        <a:pt x="48" y="22"/>
                      </a:lnTo>
                      <a:lnTo>
                        <a:pt x="48" y="26"/>
                      </a:lnTo>
                      <a:lnTo>
                        <a:pt x="48" y="26"/>
                      </a:lnTo>
                      <a:lnTo>
                        <a:pt x="48" y="26"/>
                      </a:lnTo>
                      <a:close/>
                      <a:moveTo>
                        <a:pt x="2" y="18"/>
                      </a:moveTo>
                      <a:lnTo>
                        <a:pt x="0" y="14"/>
                      </a:lnTo>
                      <a:lnTo>
                        <a:pt x="6" y="16"/>
                      </a:lnTo>
                      <a:lnTo>
                        <a:pt x="2" y="18"/>
                      </a:lnTo>
                      <a:lnTo>
                        <a:pt x="2" y="18"/>
                      </a:lnTo>
                      <a:lnTo>
                        <a:pt x="2" y="18"/>
                      </a:lnTo>
                      <a:close/>
                      <a:moveTo>
                        <a:pt x="10" y="22"/>
                      </a:moveTo>
                      <a:lnTo>
                        <a:pt x="6" y="20"/>
                      </a:lnTo>
                      <a:lnTo>
                        <a:pt x="8" y="16"/>
                      </a:lnTo>
                      <a:lnTo>
                        <a:pt x="10" y="16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10" y="22"/>
                      </a:lnTo>
                      <a:close/>
                      <a:moveTo>
                        <a:pt x="18" y="28"/>
                      </a:moveTo>
                      <a:lnTo>
                        <a:pt x="14" y="22"/>
                      </a:lnTo>
                      <a:lnTo>
                        <a:pt x="12" y="22"/>
                      </a:lnTo>
                      <a:lnTo>
                        <a:pt x="12" y="18"/>
                      </a:lnTo>
                      <a:lnTo>
                        <a:pt x="18" y="22"/>
                      </a:lnTo>
                      <a:lnTo>
                        <a:pt x="20" y="26"/>
                      </a:lnTo>
                      <a:lnTo>
                        <a:pt x="18" y="28"/>
                      </a:lnTo>
                      <a:lnTo>
                        <a:pt x="18" y="28"/>
                      </a:lnTo>
                      <a:lnTo>
                        <a:pt x="18" y="28"/>
                      </a:lnTo>
                      <a:close/>
                      <a:moveTo>
                        <a:pt x="12" y="28"/>
                      </a:moveTo>
                      <a:lnTo>
                        <a:pt x="12" y="28"/>
                      </a:lnTo>
                      <a:lnTo>
                        <a:pt x="12" y="24"/>
                      </a:lnTo>
                      <a:lnTo>
                        <a:pt x="12" y="28"/>
                      </a:lnTo>
                      <a:lnTo>
                        <a:pt x="12" y="28"/>
                      </a:lnTo>
                      <a:lnTo>
                        <a:pt x="12" y="28"/>
                      </a:lnTo>
                      <a:close/>
                      <a:moveTo>
                        <a:pt x="22" y="28"/>
                      </a:moveTo>
                      <a:lnTo>
                        <a:pt x="20" y="28"/>
                      </a:lnTo>
                      <a:lnTo>
                        <a:pt x="24" y="26"/>
                      </a:lnTo>
                      <a:lnTo>
                        <a:pt x="22" y="28"/>
                      </a:lnTo>
                      <a:lnTo>
                        <a:pt x="22" y="28"/>
                      </a:lnTo>
                      <a:lnTo>
                        <a:pt x="22" y="28"/>
                      </a:lnTo>
                      <a:close/>
                      <a:moveTo>
                        <a:pt x="134" y="60"/>
                      </a:moveTo>
                      <a:lnTo>
                        <a:pt x="132" y="56"/>
                      </a:lnTo>
                      <a:lnTo>
                        <a:pt x="136" y="56"/>
                      </a:lnTo>
                      <a:lnTo>
                        <a:pt x="134" y="60"/>
                      </a:lnTo>
                      <a:lnTo>
                        <a:pt x="134" y="60"/>
                      </a:lnTo>
                      <a:lnTo>
                        <a:pt x="134" y="60"/>
                      </a:lnTo>
                      <a:close/>
                      <a:moveTo>
                        <a:pt x="58" y="74"/>
                      </a:moveTo>
                      <a:lnTo>
                        <a:pt x="48" y="68"/>
                      </a:lnTo>
                      <a:lnTo>
                        <a:pt x="56" y="72"/>
                      </a:lnTo>
                      <a:lnTo>
                        <a:pt x="58" y="74"/>
                      </a:lnTo>
                      <a:lnTo>
                        <a:pt x="58" y="74"/>
                      </a:lnTo>
                      <a:lnTo>
                        <a:pt x="58" y="74"/>
                      </a:lnTo>
                      <a:close/>
                      <a:moveTo>
                        <a:pt x="68" y="34"/>
                      </a:moveTo>
                      <a:lnTo>
                        <a:pt x="70" y="42"/>
                      </a:lnTo>
                      <a:lnTo>
                        <a:pt x="62" y="34"/>
                      </a:lnTo>
                      <a:lnTo>
                        <a:pt x="58" y="22"/>
                      </a:lnTo>
                      <a:lnTo>
                        <a:pt x="62" y="24"/>
                      </a:lnTo>
                      <a:lnTo>
                        <a:pt x="64" y="28"/>
                      </a:lnTo>
                      <a:lnTo>
                        <a:pt x="64" y="30"/>
                      </a:lnTo>
                      <a:lnTo>
                        <a:pt x="68" y="34"/>
                      </a:lnTo>
                      <a:lnTo>
                        <a:pt x="68" y="34"/>
                      </a:lnTo>
                      <a:lnTo>
                        <a:pt x="68" y="34"/>
                      </a:lnTo>
                      <a:close/>
                      <a:moveTo>
                        <a:pt x="62" y="46"/>
                      </a:moveTo>
                      <a:lnTo>
                        <a:pt x="60" y="46"/>
                      </a:lnTo>
                      <a:lnTo>
                        <a:pt x="48" y="44"/>
                      </a:lnTo>
                      <a:lnTo>
                        <a:pt x="44" y="38"/>
                      </a:lnTo>
                      <a:lnTo>
                        <a:pt x="56" y="40"/>
                      </a:lnTo>
                      <a:lnTo>
                        <a:pt x="62" y="46"/>
                      </a:lnTo>
                      <a:lnTo>
                        <a:pt x="62" y="46"/>
                      </a:lnTo>
                      <a:lnTo>
                        <a:pt x="62" y="46"/>
                      </a:lnTo>
                      <a:close/>
                      <a:moveTo>
                        <a:pt x="84" y="56"/>
                      </a:moveTo>
                      <a:lnTo>
                        <a:pt x="84" y="60"/>
                      </a:lnTo>
                      <a:lnTo>
                        <a:pt x="76" y="56"/>
                      </a:lnTo>
                      <a:lnTo>
                        <a:pt x="68" y="50"/>
                      </a:lnTo>
                      <a:lnTo>
                        <a:pt x="80" y="54"/>
                      </a:lnTo>
                      <a:lnTo>
                        <a:pt x="84" y="56"/>
                      </a:lnTo>
                      <a:lnTo>
                        <a:pt x="84" y="56"/>
                      </a:lnTo>
                      <a:lnTo>
                        <a:pt x="84" y="5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8" name="Freeform 205"/>
                <p:cNvSpPr>
                  <a:spLocks noEditPoints="1"/>
                </p:cNvSpPr>
                <p:nvPr/>
              </p:nvSpPr>
              <p:spPr bwMode="auto">
                <a:xfrm>
                  <a:off x="8378825" y="4965768"/>
                  <a:ext cx="60325" cy="69850"/>
                </a:xfrm>
                <a:custGeom>
                  <a:avLst/>
                  <a:gdLst>
                    <a:gd name="T0" fmla="*/ 38 w 38"/>
                    <a:gd name="T1" fmla="*/ 0 h 44"/>
                    <a:gd name="T2" fmla="*/ 30 w 38"/>
                    <a:gd name="T3" fmla="*/ 8 h 44"/>
                    <a:gd name="T4" fmla="*/ 36 w 38"/>
                    <a:gd name="T5" fmla="*/ 4 h 44"/>
                    <a:gd name="T6" fmla="*/ 36 w 38"/>
                    <a:gd name="T7" fmla="*/ 8 h 44"/>
                    <a:gd name="T8" fmla="*/ 28 w 38"/>
                    <a:gd name="T9" fmla="*/ 8 h 44"/>
                    <a:gd name="T10" fmla="*/ 28 w 38"/>
                    <a:gd name="T11" fmla="*/ 8 h 44"/>
                    <a:gd name="T12" fmla="*/ 20 w 38"/>
                    <a:gd name="T13" fmla="*/ 14 h 44"/>
                    <a:gd name="T14" fmla="*/ 16 w 38"/>
                    <a:gd name="T15" fmla="*/ 8 h 44"/>
                    <a:gd name="T16" fmla="*/ 22 w 38"/>
                    <a:gd name="T17" fmla="*/ 4 h 44"/>
                    <a:gd name="T18" fmla="*/ 38 w 38"/>
                    <a:gd name="T19" fmla="*/ 0 h 44"/>
                    <a:gd name="T20" fmla="*/ 38 w 38"/>
                    <a:gd name="T21" fmla="*/ 0 h 44"/>
                    <a:gd name="T22" fmla="*/ 38 w 38"/>
                    <a:gd name="T23" fmla="*/ 0 h 44"/>
                    <a:gd name="T24" fmla="*/ 38 w 38"/>
                    <a:gd name="T25" fmla="*/ 0 h 44"/>
                    <a:gd name="T26" fmla="*/ 2 w 38"/>
                    <a:gd name="T27" fmla="*/ 30 h 44"/>
                    <a:gd name="T28" fmla="*/ 0 w 38"/>
                    <a:gd name="T29" fmla="*/ 26 h 44"/>
                    <a:gd name="T30" fmla="*/ 4 w 38"/>
                    <a:gd name="T31" fmla="*/ 20 h 44"/>
                    <a:gd name="T32" fmla="*/ 12 w 38"/>
                    <a:gd name="T33" fmla="*/ 16 h 44"/>
                    <a:gd name="T34" fmla="*/ 16 w 38"/>
                    <a:gd name="T35" fmla="*/ 22 h 44"/>
                    <a:gd name="T36" fmla="*/ 18 w 38"/>
                    <a:gd name="T37" fmla="*/ 28 h 44"/>
                    <a:gd name="T38" fmla="*/ 16 w 38"/>
                    <a:gd name="T39" fmla="*/ 28 h 44"/>
                    <a:gd name="T40" fmla="*/ 10 w 38"/>
                    <a:gd name="T41" fmla="*/ 32 h 44"/>
                    <a:gd name="T42" fmla="*/ 2 w 38"/>
                    <a:gd name="T43" fmla="*/ 30 h 44"/>
                    <a:gd name="T44" fmla="*/ 2 w 38"/>
                    <a:gd name="T45" fmla="*/ 30 h 44"/>
                    <a:gd name="T46" fmla="*/ 2 w 38"/>
                    <a:gd name="T47" fmla="*/ 30 h 44"/>
                    <a:gd name="T48" fmla="*/ 10 w 38"/>
                    <a:gd name="T49" fmla="*/ 44 h 44"/>
                    <a:gd name="T50" fmla="*/ 10 w 38"/>
                    <a:gd name="T51" fmla="*/ 44 h 44"/>
                    <a:gd name="T52" fmla="*/ 10 w 38"/>
                    <a:gd name="T53" fmla="*/ 42 h 44"/>
                    <a:gd name="T54" fmla="*/ 16 w 38"/>
                    <a:gd name="T55" fmla="*/ 42 h 44"/>
                    <a:gd name="T56" fmla="*/ 10 w 38"/>
                    <a:gd name="T57" fmla="*/ 44 h 44"/>
                    <a:gd name="T58" fmla="*/ 10 w 38"/>
                    <a:gd name="T59" fmla="*/ 44 h 44"/>
                    <a:gd name="T60" fmla="*/ 10 w 38"/>
                    <a:gd name="T61" fmla="*/ 44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38" h="44">
                      <a:moveTo>
                        <a:pt x="38" y="0"/>
                      </a:moveTo>
                      <a:lnTo>
                        <a:pt x="30" y="8"/>
                      </a:lnTo>
                      <a:lnTo>
                        <a:pt x="36" y="4"/>
                      </a:lnTo>
                      <a:lnTo>
                        <a:pt x="36" y="8"/>
                      </a:lnTo>
                      <a:lnTo>
                        <a:pt x="28" y="8"/>
                      </a:lnTo>
                      <a:lnTo>
                        <a:pt x="28" y="8"/>
                      </a:lnTo>
                      <a:lnTo>
                        <a:pt x="20" y="14"/>
                      </a:lnTo>
                      <a:lnTo>
                        <a:pt x="16" y="8"/>
                      </a:lnTo>
                      <a:lnTo>
                        <a:pt x="22" y="4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38" y="0"/>
                      </a:lnTo>
                      <a:close/>
                      <a:moveTo>
                        <a:pt x="2" y="30"/>
                      </a:moveTo>
                      <a:lnTo>
                        <a:pt x="0" y="26"/>
                      </a:lnTo>
                      <a:lnTo>
                        <a:pt x="4" y="20"/>
                      </a:lnTo>
                      <a:lnTo>
                        <a:pt x="12" y="16"/>
                      </a:lnTo>
                      <a:lnTo>
                        <a:pt x="16" y="22"/>
                      </a:lnTo>
                      <a:lnTo>
                        <a:pt x="18" y="28"/>
                      </a:lnTo>
                      <a:lnTo>
                        <a:pt x="16" y="28"/>
                      </a:lnTo>
                      <a:lnTo>
                        <a:pt x="10" y="32"/>
                      </a:lnTo>
                      <a:lnTo>
                        <a:pt x="2" y="30"/>
                      </a:lnTo>
                      <a:lnTo>
                        <a:pt x="2" y="30"/>
                      </a:lnTo>
                      <a:lnTo>
                        <a:pt x="2" y="30"/>
                      </a:lnTo>
                      <a:close/>
                      <a:moveTo>
                        <a:pt x="10" y="44"/>
                      </a:moveTo>
                      <a:lnTo>
                        <a:pt x="10" y="44"/>
                      </a:lnTo>
                      <a:lnTo>
                        <a:pt x="10" y="42"/>
                      </a:lnTo>
                      <a:lnTo>
                        <a:pt x="16" y="42"/>
                      </a:lnTo>
                      <a:lnTo>
                        <a:pt x="10" y="44"/>
                      </a:lnTo>
                      <a:lnTo>
                        <a:pt x="10" y="44"/>
                      </a:lnTo>
                      <a:lnTo>
                        <a:pt x="10" y="4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9" name="Freeform 206"/>
                <p:cNvSpPr>
                  <a:spLocks noEditPoints="1"/>
                </p:cNvSpPr>
                <p:nvPr/>
              </p:nvSpPr>
              <p:spPr bwMode="auto">
                <a:xfrm>
                  <a:off x="8134350" y="4930843"/>
                  <a:ext cx="66675" cy="117475"/>
                </a:xfrm>
                <a:custGeom>
                  <a:avLst/>
                  <a:gdLst>
                    <a:gd name="T0" fmla="*/ 8 w 42"/>
                    <a:gd name="T1" fmla="*/ 6 h 74"/>
                    <a:gd name="T2" fmla="*/ 12 w 42"/>
                    <a:gd name="T3" fmla="*/ 12 h 74"/>
                    <a:gd name="T4" fmla="*/ 4 w 42"/>
                    <a:gd name="T5" fmla="*/ 14 h 74"/>
                    <a:gd name="T6" fmla="*/ 0 w 42"/>
                    <a:gd name="T7" fmla="*/ 0 h 74"/>
                    <a:gd name="T8" fmla="*/ 6 w 42"/>
                    <a:gd name="T9" fmla="*/ 6 h 74"/>
                    <a:gd name="T10" fmla="*/ 6 w 42"/>
                    <a:gd name="T11" fmla="*/ 4 h 74"/>
                    <a:gd name="T12" fmla="*/ 8 w 42"/>
                    <a:gd name="T13" fmla="*/ 6 h 74"/>
                    <a:gd name="T14" fmla="*/ 8 w 42"/>
                    <a:gd name="T15" fmla="*/ 6 h 74"/>
                    <a:gd name="T16" fmla="*/ 8 w 42"/>
                    <a:gd name="T17" fmla="*/ 6 h 74"/>
                    <a:gd name="T18" fmla="*/ 28 w 42"/>
                    <a:gd name="T19" fmla="*/ 48 h 74"/>
                    <a:gd name="T20" fmla="*/ 24 w 42"/>
                    <a:gd name="T21" fmla="*/ 44 h 74"/>
                    <a:gd name="T22" fmla="*/ 26 w 42"/>
                    <a:gd name="T23" fmla="*/ 42 h 74"/>
                    <a:gd name="T24" fmla="*/ 30 w 42"/>
                    <a:gd name="T25" fmla="*/ 44 h 74"/>
                    <a:gd name="T26" fmla="*/ 28 w 42"/>
                    <a:gd name="T27" fmla="*/ 48 h 74"/>
                    <a:gd name="T28" fmla="*/ 28 w 42"/>
                    <a:gd name="T29" fmla="*/ 48 h 74"/>
                    <a:gd name="T30" fmla="*/ 28 w 42"/>
                    <a:gd name="T31" fmla="*/ 48 h 74"/>
                    <a:gd name="T32" fmla="*/ 40 w 42"/>
                    <a:gd name="T33" fmla="*/ 64 h 74"/>
                    <a:gd name="T34" fmla="*/ 36 w 42"/>
                    <a:gd name="T35" fmla="*/ 62 h 74"/>
                    <a:gd name="T36" fmla="*/ 36 w 42"/>
                    <a:gd name="T37" fmla="*/ 60 h 74"/>
                    <a:gd name="T38" fmla="*/ 40 w 42"/>
                    <a:gd name="T39" fmla="*/ 62 h 74"/>
                    <a:gd name="T40" fmla="*/ 40 w 42"/>
                    <a:gd name="T41" fmla="*/ 64 h 74"/>
                    <a:gd name="T42" fmla="*/ 40 w 42"/>
                    <a:gd name="T43" fmla="*/ 64 h 74"/>
                    <a:gd name="T44" fmla="*/ 40 w 42"/>
                    <a:gd name="T45" fmla="*/ 64 h 74"/>
                    <a:gd name="T46" fmla="*/ 42 w 42"/>
                    <a:gd name="T47" fmla="*/ 74 h 74"/>
                    <a:gd name="T48" fmla="*/ 40 w 42"/>
                    <a:gd name="T49" fmla="*/ 72 h 74"/>
                    <a:gd name="T50" fmla="*/ 40 w 42"/>
                    <a:gd name="T51" fmla="*/ 70 h 74"/>
                    <a:gd name="T52" fmla="*/ 42 w 42"/>
                    <a:gd name="T53" fmla="*/ 72 h 74"/>
                    <a:gd name="T54" fmla="*/ 42 w 42"/>
                    <a:gd name="T55" fmla="*/ 74 h 74"/>
                    <a:gd name="T56" fmla="*/ 42 w 42"/>
                    <a:gd name="T57" fmla="*/ 74 h 74"/>
                    <a:gd name="T58" fmla="*/ 42 w 42"/>
                    <a:gd name="T59" fmla="*/ 74 h 74"/>
                    <a:gd name="T60" fmla="*/ 18 w 42"/>
                    <a:gd name="T61" fmla="*/ 12 h 74"/>
                    <a:gd name="T62" fmla="*/ 18 w 42"/>
                    <a:gd name="T63" fmla="*/ 12 h 74"/>
                    <a:gd name="T64" fmla="*/ 22 w 42"/>
                    <a:gd name="T65" fmla="*/ 10 h 74"/>
                    <a:gd name="T66" fmla="*/ 18 w 42"/>
                    <a:gd name="T67" fmla="*/ 12 h 74"/>
                    <a:gd name="T68" fmla="*/ 18 w 42"/>
                    <a:gd name="T69" fmla="*/ 12 h 74"/>
                    <a:gd name="T70" fmla="*/ 18 w 42"/>
                    <a:gd name="T71" fmla="*/ 12 h 74"/>
                    <a:gd name="T72" fmla="*/ 14 w 42"/>
                    <a:gd name="T73" fmla="*/ 28 h 74"/>
                    <a:gd name="T74" fmla="*/ 12 w 42"/>
                    <a:gd name="T75" fmla="*/ 22 h 74"/>
                    <a:gd name="T76" fmla="*/ 10 w 42"/>
                    <a:gd name="T77" fmla="*/ 20 h 74"/>
                    <a:gd name="T78" fmla="*/ 12 w 42"/>
                    <a:gd name="T79" fmla="*/ 18 h 74"/>
                    <a:gd name="T80" fmla="*/ 18 w 42"/>
                    <a:gd name="T81" fmla="*/ 26 h 74"/>
                    <a:gd name="T82" fmla="*/ 14 w 42"/>
                    <a:gd name="T83" fmla="*/ 28 h 74"/>
                    <a:gd name="T84" fmla="*/ 14 w 42"/>
                    <a:gd name="T85" fmla="*/ 28 h 74"/>
                    <a:gd name="T86" fmla="*/ 14 w 42"/>
                    <a:gd name="T87" fmla="*/ 28 h 74"/>
                    <a:gd name="T88" fmla="*/ 24 w 42"/>
                    <a:gd name="T89" fmla="*/ 24 h 74"/>
                    <a:gd name="T90" fmla="*/ 20 w 42"/>
                    <a:gd name="T91" fmla="*/ 24 h 74"/>
                    <a:gd name="T92" fmla="*/ 24 w 42"/>
                    <a:gd name="T93" fmla="*/ 20 h 74"/>
                    <a:gd name="T94" fmla="*/ 26 w 42"/>
                    <a:gd name="T95" fmla="*/ 24 h 74"/>
                    <a:gd name="T96" fmla="*/ 24 w 42"/>
                    <a:gd name="T97" fmla="*/ 24 h 74"/>
                    <a:gd name="T98" fmla="*/ 24 w 42"/>
                    <a:gd name="T99" fmla="*/ 24 h 74"/>
                    <a:gd name="T100" fmla="*/ 24 w 42"/>
                    <a:gd name="T101" fmla="*/ 24 h 74"/>
                    <a:gd name="T102" fmla="*/ 28 w 42"/>
                    <a:gd name="T103" fmla="*/ 32 h 74"/>
                    <a:gd name="T104" fmla="*/ 24 w 42"/>
                    <a:gd name="T105" fmla="*/ 30 h 74"/>
                    <a:gd name="T106" fmla="*/ 24 w 42"/>
                    <a:gd name="T107" fmla="*/ 28 h 74"/>
                    <a:gd name="T108" fmla="*/ 28 w 42"/>
                    <a:gd name="T109" fmla="*/ 32 h 74"/>
                    <a:gd name="T110" fmla="*/ 28 w 42"/>
                    <a:gd name="T111" fmla="*/ 32 h 74"/>
                    <a:gd name="T112" fmla="*/ 28 w 42"/>
                    <a:gd name="T113" fmla="*/ 32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42" h="74">
                      <a:moveTo>
                        <a:pt x="8" y="6"/>
                      </a:moveTo>
                      <a:lnTo>
                        <a:pt x="12" y="12"/>
                      </a:lnTo>
                      <a:lnTo>
                        <a:pt x="4" y="14"/>
                      </a:lnTo>
                      <a:lnTo>
                        <a:pt x="0" y="0"/>
                      </a:lnTo>
                      <a:lnTo>
                        <a:pt x="6" y="6"/>
                      </a:lnTo>
                      <a:lnTo>
                        <a:pt x="6" y="4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close/>
                      <a:moveTo>
                        <a:pt x="28" y="48"/>
                      </a:moveTo>
                      <a:lnTo>
                        <a:pt x="24" y="44"/>
                      </a:lnTo>
                      <a:lnTo>
                        <a:pt x="26" y="42"/>
                      </a:lnTo>
                      <a:lnTo>
                        <a:pt x="30" y="44"/>
                      </a:lnTo>
                      <a:lnTo>
                        <a:pt x="28" y="48"/>
                      </a:lnTo>
                      <a:lnTo>
                        <a:pt x="28" y="48"/>
                      </a:lnTo>
                      <a:lnTo>
                        <a:pt x="28" y="48"/>
                      </a:lnTo>
                      <a:close/>
                      <a:moveTo>
                        <a:pt x="40" y="64"/>
                      </a:moveTo>
                      <a:lnTo>
                        <a:pt x="36" y="62"/>
                      </a:lnTo>
                      <a:lnTo>
                        <a:pt x="36" y="60"/>
                      </a:lnTo>
                      <a:lnTo>
                        <a:pt x="40" y="62"/>
                      </a:lnTo>
                      <a:lnTo>
                        <a:pt x="40" y="64"/>
                      </a:lnTo>
                      <a:lnTo>
                        <a:pt x="40" y="64"/>
                      </a:lnTo>
                      <a:lnTo>
                        <a:pt x="40" y="64"/>
                      </a:lnTo>
                      <a:close/>
                      <a:moveTo>
                        <a:pt x="42" y="74"/>
                      </a:moveTo>
                      <a:lnTo>
                        <a:pt x="40" y="72"/>
                      </a:lnTo>
                      <a:lnTo>
                        <a:pt x="40" y="70"/>
                      </a:lnTo>
                      <a:lnTo>
                        <a:pt x="42" y="72"/>
                      </a:lnTo>
                      <a:lnTo>
                        <a:pt x="42" y="74"/>
                      </a:lnTo>
                      <a:lnTo>
                        <a:pt x="42" y="74"/>
                      </a:lnTo>
                      <a:lnTo>
                        <a:pt x="42" y="74"/>
                      </a:lnTo>
                      <a:close/>
                      <a:moveTo>
                        <a:pt x="18" y="12"/>
                      </a:moveTo>
                      <a:lnTo>
                        <a:pt x="18" y="12"/>
                      </a:lnTo>
                      <a:lnTo>
                        <a:pt x="22" y="10"/>
                      </a:lnTo>
                      <a:lnTo>
                        <a:pt x="18" y="12"/>
                      </a:lnTo>
                      <a:lnTo>
                        <a:pt x="18" y="12"/>
                      </a:lnTo>
                      <a:lnTo>
                        <a:pt x="18" y="12"/>
                      </a:lnTo>
                      <a:close/>
                      <a:moveTo>
                        <a:pt x="14" y="28"/>
                      </a:moveTo>
                      <a:lnTo>
                        <a:pt x="12" y="22"/>
                      </a:lnTo>
                      <a:lnTo>
                        <a:pt x="10" y="20"/>
                      </a:lnTo>
                      <a:lnTo>
                        <a:pt x="12" y="18"/>
                      </a:lnTo>
                      <a:lnTo>
                        <a:pt x="18" y="26"/>
                      </a:lnTo>
                      <a:lnTo>
                        <a:pt x="14" y="28"/>
                      </a:lnTo>
                      <a:lnTo>
                        <a:pt x="14" y="28"/>
                      </a:lnTo>
                      <a:lnTo>
                        <a:pt x="14" y="28"/>
                      </a:lnTo>
                      <a:close/>
                      <a:moveTo>
                        <a:pt x="24" y="24"/>
                      </a:moveTo>
                      <a:lnTo>
                        <a:pt x="20" y="24"/>
                      </a:lnTo>
                      <a:lnTo>
                        <a:pt x="24" y="20"/>
                      </a:lnTo>
                      <a:lnTo>
                        <a:pt x="26" y="24"/>
                      </a:lnTo>
                      <a:lnTo>
                        <a:pt x="24" y="24"/>
                      </a:lnTo>
                      <a:lnTo>
                        <a:pt x="24" y="24"/>
                      </a:lnTo>
                      <a:lnTo>
                        <a:pt x="24" y="24"/>
                      </a:lnTo>
                      <a:close/>
                      <a:moveTo>
                        <a:pt x="28" y="32"/>
                      </a:moveTo>
                      <a:lnTo>
                        <a:pt x="24" y="30"/>
                      </a:lnTo>
                      <a:lnTo>
                        <a:pt x="24" y="28"/>
                      </a:lnTo>
                      <a:lnTo>
                        <a:pt x="28" y="32"/>
                      </a:lnTo>
                      <a:lnTo>
                        <a:pt x="28" y="32"/>
                      </a:lnTo>
                      <a:lnTo>
                        <a:pt x="28" y="3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0" name="Freeform 207"/>
                <p:cNvSpPr>
                  <a:spLocks noEditPoints="1"/>
                </p:cNvSpPr>
                <p:nvPr/>
              </p:nvSpPr>
              <p:spPr bwMode="auto">
                <a:xfrm>
                  <a:off x="8077200" y="5057843"/>
                  <a:ext cx="95250" cy="53975"/>
                </a:xfrm>
                <a:custGeom>
                  <a:avLst/>
                  <a:gdLst>
                    <a:gd name="T0" fmla="*/ 22 w 60"/>
                    <a:gd name="T1" fmla="*/ 14 h 34"/>
                    <a:gd name="T2" fmla="*/ 42 w 60"/>
                    <a:gd name="T3" fmla="*/ 30 h 34"/>
                    <a:gd name="T4" fmla="*/ 42 w 60"/>
                    <a:gd name="T5" fmla="*/ 34 h 34"/>
                    <a:gd name="T6" fmla="*/ 36 w 60"/>
                    <a:gd name="T7" fmla="*/ 34 h 34"/>
                    <a:gd name="T8" fmla="*/ 30 w 60"/>
                    <a:gd name="T9" fmla="*/ 28 h 34"/>
                    <a:gd name="T10" fmla="*/ 18 w 60"/>
                    <a:gd name="T11" fmla="*/ 22 h 34"/>
                    <a:gd name="T12" fmla="*/ 6 w 60"/>
                    <a:gd name="T13" fmla="*/ 10 h 34"/>
                    <a:gd name="T14" fmla="*/ 0 w 60"/>
                    <a:gd name="T15" fmla="*/ 0 h 34"/>
                    <a:gd name="T16" fmla="*/ 18 w 60"/>
                    <a:gd name="T17" fmla="*/ 10 h 34"/>
                    <a:gd name="T18" fmla="*/ 22 w 60"/>
                    <a:gd name="T19" fmla="*/ 14 h 34"/>
                    <a:gd name="T20" fmla="*/ 22 w 60"/>
                    <a:gd name="T21" fmla="*/ 14 h 34"/>
                    <a:gd name="T22" fmla="*/ 22 w 60"/>
                    <a:gd name="T23" fmla="*/ 14 h 34"/>
                    <a:gd name="T24" fmla="*/ 48 w 60"/>
                    <a:gd name="T25" fmla="*/ 16 h 34"/>
                    <a:gd name="T26" fmla="*/ 44 w 60"/>
                    <a:gd name="T27" fmla="*/ 12 h 34"/>
                    <a:gd name="T28" fmla="*/ 46 w 60"/>
                    <a:gd name="T29" fmla="*/ 12 h 34"/>
                    <a:gd name="T30" fmla="*/ 44 w 60"/>
                    <a:gd name="T31" fmla="*/ 8 h 34"/>
                    <a:gd name="T32" fmla="*/ 48 w 60"/>
                    <a:gd name="T33" fmla="*/ 8 h 34"/>
                    <a:gd name="T34" fmla="*/ 48 w 60"/>
                    <a:gd name="T35" fmla="*/ 12 h 34"/>
                    <a:gd name="T36" fmla="*/ 50 w 60"/>
                    <a:gd name="T37" fmla="*/ 14 h 34"/>
                    <a:gd name="T38" fmla="*/ 48 w 60"/>
                    <a:gd name="T39" fmla="*/ 16 h 34"/>
                    <a:gd name="T40" fmla="*/ 48 w 60"/>
                    <a:gd name="T41" fmla="*/ 16 h 34"/>
                    <a:gd name="T42" fmla="*/ 48 w 60"/>
                    <a:gd name="T43" fmla="*/ 16 h 34"/>
                    <a:gd name="T44" fmla="*/ 58 w 60"/>
                    <a:gd name="T45" fmla="*/ 24 h 34"/>
                    <a:gd name="T46" fmla="*/ 54 w 60"/>
                    <a:gd name="T47" fmla="*/ 18 h 34"/>
                    <a:gd name="T48" fmla="*/ 60 w 60"/>
                    <a:gd name="T49" fmla="*/ 20 h 34"/>
                    <a:gd name="T50" fmla="*/ 60 w 60"/>
                    <a:gd name="T51" fmla="*/ 24 h 34"/>
                    <a:gd name="T52" fmla="*/ 58 w 60"/>
                    <a:gd name="T53" fmla="*/ 24 h 34"/>
                    <a:gd name="T54" fmla="*/ 58 w 60"/>
                    <a:gd name="T55" fmla="*/ 24 h 34"/>
                    <a:gd name="T56" fmla="*/ 58 w 60"/>
                    <a:gd name="T57" fmla="*/ 24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60" h="34">
                      <a:moveTo>
                        <a:pt x="22" y="14"/>
                      </a:moveTo>
                      <a:lnTo>
                        <a:pt x="42" y="30"/>
                      </a:lnTo>
                      <a:lnTo>
                        <a:pt x="42" y="34"/>
                      </a:lnTo>
                      <a:lnTo>
                        <a:pt x="36" y="34"/>
                      </a:lnTo>
                      <a:lnTo>
                        <a:pt x="30" y="28"/>
                      </a:lnTo>
                      <a:lnTo>
                        <a:pt x="18" y="22"/>
                      </a:lnTo>
                      <a:lnTo>
                        <a:pt x="6" y="10"/>
                      </a:lnTo>
                      <a:lnTo>
                        <a:pt x="0" y="0"/>
                      </a:lnTo>
                      <a:lnTo>
                        <a:pt x="18" y="10"/>
                      </a:lnTo>
                      <a:lnTo>
                        <a:pt x="22" y="14"/>
                      </a:lnTo>
                      <a:lnTo>
                        <a:pt x="22" y="14"/>
                      </a:lnTo>
                      <a:lnTo>
                        <a:pt x="22" y="14"/>
                      </a:lnTo>
                      <a:close/>
                      <a:moveTo>
                        <a:pt x="48" y="16"/>
                      </a:moveTo>
                      <a:lnTo>
                        <a:pt x="44" y="12"/>
                      </a:lnTo>
                      <a:lnTo>
                        <a:pt x="46" y="12"/>
                      </a:lnTo>
                      <a:lnTo>
                        <a:pt x="44" y="8"/>
                      </a:lnTo>
                      <a:lnTo>
                        <a:pt x="48" y="8"/>
                      </a:lnTo>
                      <a:lnTo>
                        <a:pt x="48" y="12"/>
                      </a:lnTo>
                      <a:lnTo>
                        <a:pt x="50" y="14"/>
                      </a:lnTo>
                      <a:lnTo>
                        <a:pt x="48" y="16"/>
                      </a:lnTo>
                      <a:lnTo>
                        <a:pt x="48" y="16"/>
                      </a:lnTo>
                      <a:lnTo>
                        <a:pt x="48" y="16"/>
                      </a:lnTo>
                      <a:close/>
                      <a:moveTo>
                        <a:pt x="58" y="24"/>
                      </a:moveTo>
                      <a:lnTo>
                        <a:pt x="54" y="18"/>
                      </a:lnTo>
                      <a:lnTo>
                        <a:pt x="60" y="20"/>
                      </a:lnTo>
                      <a:lnTo>
                        <a:pt x="60" y="24"/>
                      </a:lnTo>
                      <a:lnTo>
                        <a:pt x="58" y="24"/>
                      </a:lnTo>
                      <a:lnTo>
                        <a:pt x="58" y="24"/>
                      </a:lnTo>
                      <a:lnTo>
                        <a:pt x="58" y="2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1" name="Freeform 208"/>
                <p:cNvSpPr>
                  <a:spLocks/>
                </p:cNvSpPr>
                <p:nvPr/>
              </p:nvSpPr>
              <p:spPr bwMode="auto">
                <a:xfrm>
                  <a:off x="444500" y="3794193"/>
                  <a:ext cx="3175" cy="3175"/>
                </a:xfrm>
                <a:custGeom>
                  <a:avLst/>
                  <a:gdLst>
                    <a:gd name="T0" fmla="*/ 0 w 2"/>
                    <a:gd name="T1" fmla="*/ 0 h 2"/>
                    <a:gd name="T2" fmla="*/ 2 w 2"/>
                    <a:gd name="T3" fmla="*/ 0 h 2"/>
                    <a:gd name="T4" fmla="*/ 2 w 2"/>
                    <a:gd name="T5" fmla="*/ 2 h 2"/>
                    <a:gd name="T6" fmla="*/ 0 w 2"/>
                    <a:gd name="T7" fmla="*/ 2 h 2"/>
                    <a:gd name="T8" fmla="*/ 0 w 2"/>
                    <a:gd name="T9" fmla="*/ 0 h 2"/>
                    <a:gd name="T10" fmla="*/ 0 w 2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2" name="Freeform 209"/>
                <p:cNvSpPr>
                  <a:spLocks/>
                </p:cNvSpPr>
                <p:nvPr/>
              </p:nvSpPr>
              <p:spPr bwMode="auto">
                <a:xfrm>
                  <a:off x="6797675" y="4841943"/>
                  <a:ext cx="3175" cy="3175"/>
                </a:xfrm>
                <a:custGeom>
                  <a:avLst/>
                  <a:gdLst>
                    <a:gd name="T0" fmla="*/ 2 w 2"/>
                    <a:gd name="T1" fmla="*/ 0 h 2"/>
                    <a:gd name="T2" fmla="*/ 2 w 2"/>
                    <a:gd name="T3" fmla="*/ 2 h 2"/>
                    <a:gd name="T4" fmla="*/ 2 w 2"/>
                    <a:gd name="T5" fmla="*/ 2 h 2"/>
                    <a:gd name="T6" fmla="*/ 0 w 2"/>
                    <a:gd name="T7" fmla="*/ 2 h 2"/>
                    <a:gd name="T8" fmla="*/ 2 w 2"/>
                    <a:gd name="T9" fmla="*/ 0 h 2"/>
                    <a:gd name="T10" fmla="*/ 2 w 2"/>
                    <a:gd name="T11" fmla="*/ 0 h 2"/>
                    <a:gd name="T12" fmla="*/ 2 w 2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3" name="Freeform 210"/>
                <p:cNvSpPr>
                  <a:spLocks/>
                </p:cNvSpPr>
                <p:nvPr/>
              </p:nvSpPr>
              <p:spPr bwMode="auto">
                <a:xfrm>
                  <a:off x="7693025" y="4149793"/>
                  <a:ext cx="6350" cy="12700"/>
                </a:xfrm>
                <a:custGeom>
                  <a:avLst/>
                  <a:gdLst>
                    <a:gd name="T0" fmla="*/ 0 w 4"/>
                    <a:gd name="T1" fmla="*/ 8 h 8"/>
                    <a:gd name="T2" fmla="*/ 0 w 4"/>
                    <a:gd name="T3" fmla="*/ 6 h 8"/>
                    <a:gd name="T4" fmla="*/ 4 w 4"/>
                    <a:gd name="T5" fmla="*/ 0 h 8"/>
                    <a:gd name="T6" fmla="*/ 0 w 4"/>
                    <a:gd name="T7" fmla="*/ 8 h 8"/>
                    <a:gd name="T8" fmla="*/ 0 w 4"/>
                    <a:gd name="T9" fmla="*/ 8 h 8"/>
                    <a:gd name="T10" fmla="*/ 0 w 4"/>
                    <a:gd name="T11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8">
                      <a:moveTo>
                        <a:pt x="0" y="8"/>
                      </a:moveTo>
                      <a:lnTo>
                        <a:pt x="0" y="6"/>
                      </a:lnTo>
                      <a:lnTo>
                        <a:pt x="4" y="0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4" name="Freeform 211"/>
                <p:cNvSpPr>
                  <a:spLocks/>
                </p:cNvSpPr>
                <p:nvPr/>
              </p:nvSpPr>
              <p:spPr bwMode="auto">
                <a:xfrm>
                  <a:off x="7715250" y="4114868"/>
                  <a:ext cx="3175" cy="6350"/>
                </a:xfrm>
                <a:custGeom>
                  <a:avLst/>
                  <a:gdLst>
                    <a:gd name="T0" fmla="*/ 2 w 2"/>
                    <a:gd name="T1" fmla="*/ 0 h 4"/>
                    <a:gd name="T2" fmla="*/ 2 w 2"/>
                    <a:gd name="T3" fmla="*/ 4 h 4"/>
                    <a:gd name="T4" fmla="*/ 0 w 2"/>
                    <a:gd name="T5" fmla="*/ 2 h 4"/>
                    <a:gd name="T6" fmla="*/ 2 w 2"/>
                    <a:gd name="T7" fmla="*/ 0 h 4"/>
                    <a:gd name="T8" fmla="*/ 2 w 2"/>
                    <a:gd name="T9" fmla="*/ 0 h 4"/>
                    <a:gd name="T10" fmla="*/ 2 w 2"/>
                    <a:gd name="T11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4">
                      <a:moveTo>
                        <a:pt x="2" y="0"/>
                      </a:moveTo>
                      <a:lnTo>
                        <a:pt x="2" y="4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5" name="Freeform 212"/>
                <p:cNvSpPr>
                  <a:spLocks/>
                </p:cNvSpPr>
                <p:nvPr/>
              </p:nvSpPr>
              <p:spPr bwMode="auto">
                <a:xfrm>
                  <a:off x="7448550" y="4343468"/>
                  <a:ext cx="3175" cy="3175"/>
                </a:xfrm>
                <a:custGeom>
                  <a:avLst/>
                  <a:gdLst>
                    <a:gd name="T0" fmla="*/ 2 w 2"/>
                    <a:gd name="T1" fmla="*/ 0 h 2"/>
                    <a:gd name="T2" fmla="*/ 0 w 2"/>
                    <a:gd name="T3" fmla="*/ 2 h 2"/>
                    <a:gd name="T4" fmla="*/ 0 w 2"/>
                    <a:gd name="T5" fmla="*/ 2 h 2"/>
                    <a:gd name="T6" fmla="*/ 0 w 2"/>
                    <a:gd name="T7" fmla="*/ 0 h 2"/>
                    <a:gd name="T8" fmla="*/ 2 w 2"/>
                    <a:gd name="T9" fmla="*/ 0 h 2"/>
                    <a:gd name="T10" fmla="*/ 2 w 2"/>
                    <a:gd name="T11" fmla="*/ 0 h 2"/>
                    <a:gd name="T12" fmla="*/ 2 w 2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6" name="Freeform 214"/>
                <p:cNvSpPr>
                  <a:spLocks/>
                </p:cNvSpPr>
                <p:nvPr/>
              </p:nvSpPr>
              <p:spPr bwMode="auto">
                <a:xfrm>
                  <a:off x="7953375" y="4324418"/>
                  <a:ext cx="3175" cy="3175"/>
                </a:xfrm>
                <a:custGeom>
                  <a:avLst/>
                  <a:gdLst>
                    <a:gd name="T0" fmla="*/ 0 w 2"/>
                    <a:gd name="T1" fmla="*/ 2 h 2"/>
                    <a:gd name="T2" fmla="*/ 0 w 2"/>
                    <a:gd name="T3" fmla="*/ 0 h 2"/>
                    <a:gd name="T4" fmla="*/ 2 w 2"/>
                    <a:gd name="T5" fmla="*/ 0 h 2"/>
                    <a:gd name="T6" fmla="*/ 0 w 2"/>
                    <a:gd name="T7" fmla="*/ 2 h 2"/>
                    <a:gd name="T8" fmla="*/ 0 w 2"/>
                    <a:gd name="T9" fmla="*/ 2 h 2"/>
                    <a:gd name="T10" fmla="*/ 0 w 2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2">
                      <a:moveTo>
                        <a:pt x="0" y="2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7" name="Freeform 215"/>
                <p:cNvSpPr>
                  <a:spLocks noEditPoints="1"/>
                </p:cNvSpPr>
                <p:nvPr/>
              </p:nvSpPr>
              <p:spPr bwMode="auto">
                <a:xfrm>
                  <a:off x="3006725" y="6064318"/>
                  <a:ext cx="76200" cy="38100"/>
                </a:xfrm>
                <a:custGeom>
                  <a:avLst/>
                  <a:gdLst>
                    <a:gd name="T0" fmla="*/ 30 w 48"/>
                    <a:gd name="T1" fmla="*/ 12 h 24"/>
                    <a:gd name="T2" fmla="*/ 26 w 48"/>
                    <a:gd name="T3" fmla="*/ 6 h 24"/>
                    <a:gd name="T4" fmla="*/ 30 w 48"/>
                    <a:gd name="T5" fmla="*/ 0 h 24"/>
                    <a:gd name="T6" fmla="*/ 38 w 48"/>
                    <a:gd name="T7" fmla="*/ 0 h 24"/>
                    <a:gd name="T8" fmla="*/ 38 w 48"/>
                    <a:gd name="T9" fmla="*/ 2 h 24"/>
                    <a:gd name="T10" fmla="*/ 36 w 48"/>
                    <a:gd name="T11" fmla="*/ 2 h 24"/>
                    <a:gd name="T12" fmla="*/ 40 w 48"/>
                    <a:gd name="T13" fmla="*/ 8 h 24"/>
                    <a:gd name="T14" fmla="*/ 40 w 48"/>
                    <a:gd name="T15" fmla="*/ 2 h 24"/>
                    <a:gd name="T16" fmla="*/ 44 w 48"/>
                    <a:gd name="T17" fmla="*/ 2 h 24"/>
                    <a:gd name="T18" fmla="*/ 46 w 48"/>
                    <a:gd name="T19" fmla="*/ 6 h 24"/>
                    <a:gd name="T20" fmla="*/ 42 w 48"/>
                    <a:gd name="T21" fmla="*/ 6 h 24"/>
                    <a:gd name="T22" fmla="*/ 48 w 48"/>
                    <a:gd name="T23" fmla="*/ 8 h 24"/>
                    <a:gd name="T24" fmla="*/ 38 w 48"/>
                    <a:gd name="T25" fmla="*/ 14 h 24"/>
                    <a:gd name="T26" fmla="*/ 30 w 48"/>
                    <a:gd name="T27" fmla="*/ 12 h 24"/>
                    <a:gd name="T28" fmla="*/ 34 w 48"/>
                    <a:gd name="T29" fmla="*/ 18 h 24"/>
                    <a:gd name="T30" fmla="*/ 26 w 48"/>
                    <a:gd name="T31" fmla="*/ 16 h 24"/>
                    <a:gd name="T32" fmla="*/ 28 w 48"/>
                    <a:gd name="T33" fmla="*/ 20 h 24"/>
                    <a:gd name="T34" fmla="*/ 24 w 48"/>
                    <a:gd name="T35" fmla="*/ 20 h 24"/>
                    <a:gd name="T36" fmla="*/ 24 w 48"/>
                    <a:gd name="T37" fmla="*/ 24 h 24"/>
                    <a:gd name="T38" fmla="*/ 20 w 48"/>
                    <a:gd name="T39" fmla="*/ 18 h 24"/>
                    <a:gd name="T40" fmla="*/ 26 w 48"/>
                    <a:gd name="T41" fmla="*/ 8 h 24"/>
                    <a:gd name="T42" fmla="*/ 30 w 48"/>
                    <a:gd name="T43" fmla="*/ 12 h 24"/>
                    <a:gd name="T44" fmla="*/ 30 w 48"/>
                    <a:gd name="T45" fmla="*/ 12 h 24"/>
                    <a:gd name="T46" fmla="*/ 30 w 48"/>
                    <a:gd name="T47" fmla="*/ 12 h 24"/>
                    <a:gd name="T48" fmla="*/ 10 w 48"/>
                    <a:gd name="T49" fmla="*/ 12 h 24"/>
                    <a:gd name="T50" fmla="*/ 14 w 48"/>
                    <a:gd name="T51" fmla="*/ 8 h 24"/>
                    <a:gd name="T52" fmla="*/ 6 w 48"/>
                    <a:gd name="T53" fmla="*/ 8 h 24"/>
                    <a:gd name="T54" fmla="*/ 14 w 48"/>
                    <a:gd name="T55" fmla="*/ 8 h 24"/>
                    <a:gd name="T56" fmla="*/ 6 w 48"/>
                    <a:gd name="T57" fmla="*/ 2 h 24"/>
                    <a:gd name="T58" fmla="*/ 14 w 48"/>
                    <a:gd name="T59" fmla="*/ 4 h 24"/>
                    <a:gd name="T60" fmla="*/ 14 w 48"/>
                    <a:gd name="T61" fmla="*/ 2 h 24"/>
                    <a:gd name="T62" fmla="*/ 26 w 48"/>
                    <a:gd name="T63" fmla="*/ 2 h 24"/>
                    <a:gd name="T64" fmla="*/ 10 w 48"/>
                    <a:gd name="T65" fmla="*/ 20 h 24"/>
                    <a:gd name="T66" fmla="*/ 6 w 48"/>
                    <a:gd name="T67" fmla="*/ 22 h 24"/>
                    <a:gd name="T68" fmla="*/ 2 w 48"/>
                    <a:gd name="T69" fmla="*/ 18 h 24"/>
                    <a:gd name="T70" fmla="*/ 8 w 48"/>
                    <a:gd name="T71" fmla="*/ 14 h 24"/>
                    <a:gd name="T72" fmla="*/ 8 w 48"/>
                    <a:gd name="T73" fmla="*/ 10 h 24"/>
                    <a:gd name="T74" fmla="*/ 10 w 48"/>
                    <a:gd name="T75" fmla="*/ 12 h 24"/>
                    <a:gd name="T76" fmla="*/ 10 w 48"/>
                    <a:gd name="T77" fmla="*/ 12 h 24"/>
                    <a:gd name="T78" fmla="*/ 10 w 48"/>
                    <a:gd name="T79" fmla="*/ 12 h 24"/>
                    <a:gd name="T80" fmla="*/ 2 w 48"/>
                    <a:gd name="T81" fmla="*/ 14 h 24"/>
                    <a:gd name="T82" fmla="*/ 0 w 48"/>
                    <a:gd name="T83" fmla="*/ 12 h 24"/>
                    <a:gd name="T84" fmla="*/ 4 w 48"/>
                    <a:gd name="T85" fmla="*/ 12 h 24"/>
                    <a:gd name="T86" fmla="*/ 2 w 48"/>
                    <a:gd name="T87" fmla="*/ 14 h 24"/>
                    <a:gd name="T88" fmla="*/ 2 w 48"/>
                    <a:gd name="T89" fmla="*/ 14 h 24"/>
                    <a:gd name="T90" fmla="*/ 2 w 48"/>
                    <a:gd name="T91" fmla="*/ 1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48" h="24">
                      <a:moveTo>
                        <a:pt x="30" y="12"/>
                      </a:moveTo>
                      <a:lnTo>
                        <a:pt x="26" y="6"/>
                      </a:lnTo>
                      <a:lnTo>
                        <a:pt x="30" y="0"/>
                      </a:lnTo>
                      <a:lnTo>
                        <a:pt x="38" y="0"/>
                      </a:lnTo>
                      <a:lnTo>
                        <a:pt x="38" y="2"/>
                      </a:lnTo>
                      <a:lnTo>
                        <a:pt x="36" y="2"/>
                      </a:lnTo>
                      <a:lnTo>
                        <a:pt x="40" y="8"/>
                      </a:lnTo>
                      <a:lnTo>
                        <a:pt x="40" y="2"/>
                      </a:lnTo>
                      <a:lnTo>
                        <a:pt x="44" y="2"/>
                      </a:lnTo>
                      <a:lnTo>
                        <a:pt x="46" y="6"/>
                      </a:lnTo>
                      <a:lnTo>
                        <a:pt x="42" y="6"/>
                      </a:lnTo>
                      <a:lnTo>
                        <a:pt x="48" y="8"/>
                      </a:lnTo>
                      <a:lnTo>
                        <a:pt x="38" y="14"/>
                      </a:lnTo>
                      <a:lnTo>
                        <a:pt x="30" y="12"/>
                      </a:lnTo>
                      <a:lnTo>
                        <a:pt x="34" y="18"/>
                      </a:lnTo>
                      <a:lnTo>
                        <a:pt x="26" y="16"/>
                      </a:lnTo>
                      <a:lnTo>
                        <a:pt x="28" y="20"/>
                      </a:lnTo>
                      <a:lnTo>
                        <a:pt x="24" y="20"/>
                      </a:lnTo>
                      <a:lnTo>
                        <a:pt x="24" y="24"/>
                      </a:lnTo>
                      <a:lnTo>
                        <a:pt x="20" y="18"/>
                      </a:lnTo>
                      <a:lnTo>
                        <a:pt x="26" y="8"/>
                      </a:lnTo>
                      <a:lnTo>
                        <a:pt x="30" y="12"/>
                      </a:lnTo>
                      <a:lnTo>
                        <a:pt x="30" y="12"/>
                      </a:lnTo>
                      <a:lnTo>
                        <a:pt x="30" y="12"/>
                      </a:lnTo>
                      <a:close/>
                      <a:moveTo>
                        <a:pt x="10" y="12"/>
                      </a:moveTo>
                      <a:lnTo>
                        <a:pt x="14" y="8"/>
                      </a:lnTo>
                      <a:lnTo>
                        <a:pt x="6" y="8"/>
                      </a:lnTo>
                      <a:lnTo>
                        <a:pt x="14" y="8"/>
                      </a:lnTo>
                      <a:lnTo>
                        <a:pt x="6" y="2"/>
                      </a:lnTo>
                      <a:lnTo>
                        <a:pt x="14" y="4"/>
                      </a:lnTo>
                      <a:lnTo>
                        <a:pt x="14" y="2"/>
                      </a:lnTo>
                      <a:lnTo>
                        <a:pt x="26" y="2"/>
                      </a:lnTo>
                      <a:lnTo>
                        <a:pt x="10" y="20"/>
                      </a:lnTo>
                      <a:lnTo>
                        <a:pt x="6" y="22"/>
                      </a:lnTo>
                      <a:lnTo>
                        <a:pt x="2" y="18"/>
                      </a:lnTo>
                      <a:lnTo>
                        <a:pt x="8" y="14"/>
                      </a:lnTo>
                      <a:lnTo>
                        <a:pt x="8" y="10"/>
                      </a:lnTo>
                      <a:lnTo>
                        <a:pt x="10" y="12"/>
                      </a:lnTo>
                      <a:lnTo>
                        <a:pt x="10" y="12"/>
                      </a:lnTo>
                      <a:lnTo>
                        <a:pt x="10" y="12"/>
                      </a:lnTo>
                      <a:close/>
                      <a:moveTo>
                        <a:pt x="2" y="14"/>
                      </a:moveTo>
                      <a:lnTo>
                        <a:pt x="0" y="12"/>
                      </a:lnTo>
                      <a:lnTo>
                        <a:pt x="4" y="12"/>
                      </a:lnTo>
                      <a:lnTo>
                        <a:pt x="2" y="14"/>
                      </a:lnTo>
                      <a:lnTo>
                        <a:pt x="2" y="14"/>
                      </a:lnTo>
                      <a:lnTo>
                        <a:pt x="2" y="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8" name="Freeform 216"/>
                <p:cNvSpPr>
                  <a:spLocks/>
                </p:cNvSpPr>
                <p:nvPr/>
              </p:nvSpPr>
              <p:spPr bwMode="auto">
                <a:xfrm>
                  <a:off x="2955925" y="3641793"/>
                  <a:ext cx="3175" cy="6350"/>
                </a:xfrm>
                <a:custGeom>
                  <a:avLst/>
                  <a:gdLst>
                    <a:gd name="T0" fmla="*/ 2 w 2"/>
                    <a:gd name="T1" fmla="*/ 0 h 4"/>
                    <a:gd name="T2" fmla="*/ 2 w 2"/>
                    <a:gd name="T3" fmla="*/ 2 h 4"/>
                    <a:gd name="T4" fmla="*/ 0 w 2"/>
                    <a:gd name="T5" fmla="*/ 4 h 4"/>
                    <a:gd name="T6" fmla="*/ 2 w 2"/>
                    <a:gd name="T7" fmla="*/ 0 h 4"/>
                    <a:gd name="T8" fmla="*/ 2 w 2"/>
                    <a:gd name="T9" fmla="*/ 0 h 4"/>
                    <a:gd name="T10" fmla="*/ 2 w 2"/>
                    <a:gd name="T11" fmla="*/ 0 h 4"/>
                    <a:gd name="T12" fmla="*/ 2 w 2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4">
                      <a:moveTo>
                        <a:pt x="2" y="0"/>
                      </a:moveTo>
                      <a:lnTo>
                        <a:pt x="2" y="2"/>
                      </a:lnTo>
                      <a:lnTo>
                        <a:pt x="0" y="4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9" name="Freeform 217"/>
                <p:cNvSpPr>
                  <a:spLocks/>
                </p:cNvSpPr>
                <p:nvPr/>
              </p:nvSpPr>
              <p:spPr bwMode="auto">
                <a:xfrm>
                  <a:off x="4683125" y="4165668"/>
                  <a:ext cx="53975" cy="53975"/>
                </a:xfrm>
                <a:custGeom>
                  <a:avLst/>
                  <a:gdLst>
                    <a:gd name="T0" fmla="*/ 4 w 34"/>
                    <a:gd name="T1" fmla="*/ 8 h 34"/>
                    <a:gd name="T2" fmla="*/ 4 w 34"/>
                    <a:gd name="T3" fmla="*/ 8 h 34"/>
                    <a:gd name="T4" fmla="*/ 0 w 34"/>
                    <a:gd name="T5" fmla="*/ 8 h 34"/>
                    <a:gd name="T6" fmla="*/ 4 w 34"/>
                    <a:gd name="T7" fmla="*/ 4 h 34"/>
                    <a:gd name="T8" fmla="*/ 8 w 34"/>
                    <a:gd name="T9" fmla="*/ 0 h 34"/>
                    <a:gd name="T10" fmla="*/ 12 w 34"/>
                    <a:gd name="T11" fmla="*/ 0 h 34"/>
                    <a:gd name="T12" fmla="*/ 12 w 34"/>
                    <a:gd name="T13" fmla="*/ 4 h 34"/>
                    <a:gd name="T14" fmla="*/ 16 w 34"/>
                    <a:gd name="T15" fmla="*/ 4 h 34"/>
                    <a:gd name="T16" fmla="*/ 18 w 34"/>
                    <a:gd name="T17" fmla="*/ 8 h 34"/>
                    <a:gd name="T18" fmla="*/ 18 w 34"/>
                    <a:gd name="T19" fmla="*/ 8 h 34"/>
                    <a:gd name="T20" fmla="*/ 18 w 34"/>
                    <a:gd name="T21" fmla="*/ 8 h 34"/>
                    <a:gd name="T22" fmla="*/ 18 w 34"/>
                    <a:gd name="T23" fmla="*/ 12 h 34"/>
                    <a:gd name="T24" fmla="*/ 18 w 34"/>
                    <a:gd name="T25" fmla="*/ 16 h 34"/>
                    <a:gd name="T26" fmla="*/ 18 w 34"/>
                    <a:gd name="T27" fmla="*/ 16 h 34"/>
                    <a:gd name="T28" fmla="*/ 22 w 34"/>
                    <a:gd name="T29" fmla="*/ 16 h 34"/>
                    <a:gd name="T30" fmla="*/ 22 w 34"/>
                    <a:gd name="T31" fmla="*/ 16 h 34"/>
                    <a:gd name="T32" fmla="*/ 26 w 34"/>
                    <a:gd name="T33" fmla="*/ 16 h 34"/>
                    <a:gd name="T34" fmla="*/ 30 w 34"/>
                    <a:gd name="T35" fmla="*/ 20 h 34"/>
                    <a:gd name="T36" fmla="*/ 34 w 34"/>
                    <a:gd name="T37" fmla="*/ 20 h 34"/>
                    <a:gd name="T38" fmla="*/ 34 w 34"/>
                    <a:gd name="T39" fmla="*/ 20 h 34"/>
                    <a:gd name="T40" fmla="*/ 34 w 34"/>
                    <a:gd name="T41" fmla="*/ 20 h 34"/>
                    <a:gd name="T42" fmla="*/ 34 w 34"/>
                    <a:gd name="T43" fmla="*/ 22 h 34"/>
                    <a:gd name="T44" fmla="*/ 34 w 34"/>
                    <a:gd name="T45" fmla="*/ 22 h 34"/>
                    <a:gd name="T46" fmla="*/ 34 w 34"/>
                    <a:gd name="T47" fmla="*/ 22 h 34"/>
                    <a:gd name="T48" fmla="*/ 34 w 34"/>
                    <a:gd name="T49" fmla="*/ 22 h 34"/>
                    <a:gd name="T50" fmla="*/ 30 w 34"/>
                    <a:gd name="T51" fmla="*/ 26 h 34"/>
                    <a:gd name="T52" fmla="*/ 30 w 34"/>
                    <a:gd name="T53" fmla="*/ 26 h 34"/>
                    <a:gd name="T54" fmla="*/ 26 w 34"/>
                    <a:gd name="T55" fmla="*/ 26 h 34"/>
                    <a:gd name="T56" fmla="*/ 22 w 34"/>
                    <a:gd name="T57" fmla="*/ 26 h 34"/>
                    <a:gd name="T58" fmla="*/ 22 w 34"/>
                    <a:gd name="T59" fmla="*/ 26 h 34"/>
                    <a:gd name="T60" fmla="*/ 22 w 34"/>
                    <a:gd name="T61" fmla="*/ 26 h 34"/>
                    <a:gd name="T62" fmla="*/ 22 w 34"/>
                    <a:gd name="T63" fmla="*/ 26 h 34"/>
                    <a:gd name="T64" fmla="*/ 22 w 34"/>
                    <a:gd name="T65" fmla="*/ 30 h 34"/>
                    <a:gd name="T66" fmla="*/ 22 w 34"/>
                    <a:gd name="T67" fmla="*/ 30 h 34"/>
                    <a:gd name="T68" fmla="*/ 18 w 34"/>
                    <a:gd name="T69" fmla="*/ 30 h 34"/>
                    <a:gd name="T70" fmla="*/ 18 w 34"/>
                    <a:gd name="T71" fmla="*/ 30 h 34"/>
                    <a:gd name="T72" fmla="*/ 18 w 34"/>
                    <a:gd name="T73" fmla="*/ 30 h 34"/>
                    <a:gd name="T74" fmla="*/ 18 w 34"/>
                    <a:gd name="T75" fmla="*/ 34 h 34"/>
                    <a:gd name="T76" fmla="*/ 18 w 34"/>
                    <a:gd name="T77" fmla="*/ 34 h 34"/>
                    <a:gd name="T78" fmla="*/ 18 w 34"/>
                    <a:gd name="T79" fmla="*/ 34 h 34"/>
                    <a:gd name="T80" fmla="*/ 18 w 34"/>
                    <a:gd name="T81" fmla="*/ 34 h 34"/>
                    <a:gd name="T82" fmla="*/ 18 w 34"/>
                    <a:gd name="T83" fmla="*/ 34 h 34"/>
                    <a:gd name="T84" fmla="*/ 16 w 34"/>
                    <a:gd name="T85" fmla="*/ 34 h 34"/>
                    <a:gd name="T86" fmla="*/ 16 w 34"/>
                    <a:gd name="T87" fmla="*/ 34 h 34"/>
                    <a:gd name="T88" fmla="*/ 16 w 34"/>
                    <a:gd name="T89" fmla="*/ 30 h 34"/>
                    <a:gd name="T90" fmla="*/ 12 w 34"/>
                    <a:gd name="T91" fmla="*/ 22 h 34"/>
                    <a:gd name="T92" fmla="*/ 8 w 34"/>
                    <a:gd name="T93" fmla="*/ 20 h 34"/>
                    <a:gd name="T94" fmla="*/ 8 w 34"/>
                    <a:gd name="T95" fmla="*/ 20 h 34"/>
                    <a:gd name="T96" fmla="*/ 8 w 34"/>
                    <a:gd name="T97" fmla="*/ 20 h 34"/>
                    <a:gd name="T98" fmla="*/ 8 w 34"/>
                    <a:gd name="T99" fmla="*/ 12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34" h="34">
                      <a:moveTo>
                        <a:pt x="8" y="12"/>
                      </a:moveTo>
                      <a:lnTo>
                        <a:pt x="8" y="12"/>
                      </a:lnTo>
                      <a:lnTo>
                        <a:pt x="4" y="12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0" y="8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8" y="4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8" y="8"/>
                      </a:lnTo>
                      <a:lnTo>
                        <a:pt x="18" y="12"/>
                      </a:lnTo>
                      <a:lnTo>
                        <a:pt x="18" y="12"/>
                      </a:lnTo>
                      <a:lnTo>
                        <a:pt x="18" y="12"/>
                      </a:lnTo>
                      <a:lnTo>
                        <a:pt x="18" y="12"/>
                      </a:lnTo>
                      <a:lnTo>
                        <a:pt x="18" y="16"/>
                      </a:lnTo>
                      <a:lnTo>
                        <a:pt x="18" y="16"/>
                      </a:lnTo>
                      <a:lnTo>
                        <a:pt x="18" y="16"/>
                      </a:lnTo>
                      <a:lnTo>
                        <a:pt x="18" y="16"/>
                      </a:lnTo>
                      <a:lnTo>
                        <a:pt x="18" y="16"/>
                      </a:lnTo>
                      <a:lnTo>
                        <a:pt x="18" y="16"/>
                      </a:lnTo>
                      <a:lnTo>
                        <a:pt x="18" y="16"/>
                      </a:lnTo>
                      <a:lnTo>
                        <a:pt x="22" y="16"/>
                      </a:lnTo>
                      <a:lnTo>
                        <a:pt x="22" y="16"/>
                      </a:lnTo>
                      <a:lnTo>
                        <a:pt x="22" y="16"/>
                      </a:lnTo>
                      <a:lnTo>
                        <a:pt x="22" y="16"/>
                      </a:lnTo>
                      <a:lnTo>
                        <a:pt x="22" y="16"/>
                      </a:lnTo>
                      <a:lnTo>
                        <a:pt x="22" y="16"/>
                      </a:lnTo>
                      <a:lnTo>
                        <a:pt x="22" y="16"/>
                      </a:lnTo>
                      <a:lnTo>
                        <a:pt x="22" y="16"/>
                      </a:lnTo>
                      <a:lnTo>
                        <a:pt x="26" y="16"/>
                      </a:lnTo>
                      <a:lnTo>
                        <a:pt x="26" y="16"/>
                      </a:lnTo>
                      <a:lnTo>
                        <a:pt x="26" y="16"/>
                      </a:lnTo>
                      <a:lnTo>
                        <a:pt x="26" y="16"/>
                      </a:lnTo>
                      <a:lnTo>
                        <a:pt x="26" y="16"/>
                      </a:lnTo>
                      <a:lnTo>
                        <a:pt x="30" y="16"/>
                      </a:lnTo>
                      <a:lnTo>
                        <a:pt x="30" y="16"/>
                      </a:lnTo>
                      <a:lnTo>
                        <a:pt x="30" y="20"/>
                      </a:lnTo>
                      <a:lnTo>
                        <a:pt x="30" y="20"/>
                      </a:lnTo>
                      <a:lnTo>
                        <a:pt x="30" y="20"/>
                      </a:lnTo>
                      <a:lnTo>
                        <a:pt x="30" y="20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4" y="22"/>
                      </a:lnTo>
                      <a:lnTo>
                        <a:pt x="34" y="26"/>
                      </a:lnTo>
                      <a:lnTo>
                        <a:pt x="30" y="26"/>
                      </a:lnTo>
                      <a:lnTo>
                        <a:pt x="30" y="26"/>
                      </a:lnTo>
                      <a:lnTo>
                        <a:pt x="30" y="26"/>
                      </a:lnTo>
                      <a:lnTo>
                        <a:pt x="30" y="26"/>
                      </a:lnTo>
                      <a:lnTo>
                        <a:pt x="30" y="26"/>
                      </a:lnTo>
                      <a:lnTo>
                        <a:pt x="30" y="26"/>
                      </a:lnTo>
                      <a:lnTo>
                        <a:pt x="30" y="26"/>
                      </a:lnTo>
                      <a:lnTo>
                        <a:pt x="30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2" y="26"/>
                      </a:lnTo>
                      <a:lnTo>
                        <a:pt x="22" y="26"/>
                      </a:lnTo>
                      <a:lnTo>
                        <a:pt x="22" y="26"/>
                      </a:lnTo>
                      <a:lnTo>
                        <a:pt x="22" y="26"/>
                      </a:lnTo>
                      <a:lnTo>
                        <a:pt x="22" y="26"/>
                      </a:lnTo>
                      <a:lnTo>
                        <a:pt x="22" y="26"/>
                      </a:lnTo>
                      <a:lnTo>
                        <a:pt x="22" y="26"/>
                      </a:lnTo>
                      <a:lnTo>
                        <a:pt x="22" y="26"/>
                      </a:lnTo>
                      <a:lnTo>
                        <a:pt x="22" y="26"/>
                      </a:lnTo>
                      <a:lnTo>
                        <a:pt x="22" y="26"/>
                      </a:lnTo>
                      <a:lnTo>
                        <a:pt x="22" y="26"/>
                      </a:lnTo>
                      <a:lnTo>
                        <a:pt x="22" y="26"/>
                      </a:lnTo>
                      <a:lnTo>
                        <a:pt x="22" y="26"/>
                      </a:lnTo>
                      <a:lnTo>
                        <a:pt x="22" y="26"/>
                      </a:lnTo>
                      <a:lnTo>
                        <a:pt x="22" y="26"/>
                      </a:lnTo>
                      <a:lnTo>
                        <a:pt x="22" y="30"/>
                      </a:lnTo>
                      <a:lnTo>
                        <a:pt x="22" y="30"/>
                      </a:lnTo>
                      <a:lnTo>
                        <a:pt x="22" y="30"/>
                      </a:lnTo>
                      <a:lnTo>
                        <a:pt x="22" y="30"/>
                      </a:lnTo>
                      <a:lnTo>
                        <a:pt x="22" y="30"/>
                      </a:lnTo>
                      <a:lnTo>
                        <a:pt x="22" y="30"/>
                      </a:lnTo>
                      <a:lnTo>
                        <a:pt x="22" y="30"/>
                      </a:lnTo>
                      <a:lnTo>
                        <a:pt x="22" y="30"/>
                      </a:lnTo>
                      <a:lnTo>
                        <a:pt x="22" y="30"/>
                      </a:lnTo>
                      <a:lnTo>
                        <a:pt x="22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0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6" y="34"/>
                      </a:lnTo>
                      <a:lnTo>
                        <a:pt x="16" y="34"/>
                      </a:lnTo>
                      <a:lnTo>
                        <a:pt x="16" y="34"/>
                      </a:lnTo>
                      <a:lnTo>
                        <a:pt x="16" y="34"/>
                      </a:lnTo>
                      <a:lnTo>
                        <a:pt x="16" y="34"/>
                      </a:lnTo>
                      <a:lnTo>
                        <a:pt x="16" y="34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16" y="26"/>
                      </a:lnTo>
                      <a:lnTo>
                        <a:pt x="12" y="26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8" y="22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16"/>
                      </a:lnTo>
                      <a:lnTo>
                        <a:pt x="8" y="12"/>
                      </a:lnTo>
                      <a:lnTo>
                        <a:pt x="8" y="12"/>
                      </a:lnTo>
                      <a:lnTo>
                        <a:pt x="8" y="12"/>
                      </a:lnTo>
                      <a:lnTo>
                        <a:pt x="8" y="1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0" name="Freeform 218"/>
                <p:cNvSpPr>
                  <a:spLocks/>
                </p:cNvSpPr>
                <p:nvPr/>
              </p:nvSpPr>
              <p:spPr bwMode="auto">
                <a:xfrm>
                  <a:off x="5105400" y="4553018"/>
                  <a:ext cx="69850" cy="88900"/>
                </a:xfrm>
                <a:custGeom>
                  <a:avLst/>
                  <a:gdLst>
                    <a:gd name="T0" fmla="*/ 24 w 44"/>
                    <a:gd name="T1" fmla="*/ 0 h 56"/>
                    <a:gd name="T2" fmla="*/ 28 w 44"/>
                    <a:gd name="T3" fmla="*/ 0 h 56"/>
                    <a:gd name="T4" fmla="*/ 32 w 44"/>
                    <a:gd name="T5" fmla="*/ 4 h 56"/>
                    <a:gd name="T6" fmla="*/ 32 w 44"/>
                    <a:gd name="T7" fmla="*/ 4 h 56"/>
                    <a:gd name="T8" fmla="*/ 36 w 44"/>
                    <a:gd name="T9" fmla="*/ 6 h 56"/>
                    <a:gd name="T10" fmla="*/ 36 w 44"/>
                    <a:gd name="T11" fmla="*/ 6 h 56"/>
                    <a:gd name="T12" fmla="*/ 40 w 44"/>
                    <a:gd name="T13" fmla="*/ 10 h 56"/>
                    <a:gd name="T14" fmla="*/ 36 w 44"/>
                    <a:gd name="T15" fmla="*/ 6 h 56"/>
                    <a:gd name="T16" fmla="*/ 44 w 44"/>
                    <a:gd name="T17" fmla="*/ 6 h 56"/>
                    <a:gd name="T18" fmla="*/ 40 w 44"/>
                    <a:gd name="T19" fmla="*/ 10 h 56"/>
                    <a:gd name="T20" fmla="*/ 36 w 44"/>
                    <a:gd name="T21" fmla="*/ 14 h 56"/>
                    <a:gd name="T22" fmla="*/ 32 w 44"/>
                    <a:gd name="T23" fmla="*/ 14 h 56"/>
                    <a:gd name="T24" fmla="*/ 36 w 44"/>
                    <a:gd name="T25" fmla="*/ 22 h 56"/>
                    <a:gd name="T26" fmla="*/ 32 w 44"/>
                    <a:gd name="T27" fmla="*/ 26 h 56"/>
                    <a:gd name="T28" fmla="*/ 32 w 44"/>
                    <a:gd name="T29" fmla="*/ 30 h 56"/>
                    <a:gd name="T30" fmla="*/ 28 w 44"/>
                    <a:gd name="T31" fmla="*/ 30 h 56"/>
                    <a:gd name="T32" fmla="*/ 28 w 44"/>
                    <a:gd name="T33" fmla="*/ 36 h 56"/>
                    <a:gd name="T34" fmla="*/ 22 w 44"/>
                    <a:gd name="T35" fmla="*/ 36 h 56"/>
                    <a:gd name="T36" fmla="*/ 24 w 44"/>
                    <a:gd name="T37" fmla="*/ 40 h 56"/>
                    <a:gd name="T38" fmla="*/ 24 w 44"/>
                    <a:gd name="T39" fmla="*/ 40 h 56"/>
                    <a:gd name="T40" fmla="*/ 28 w 44"/>
                    <a:gd name="T41" fmla="*/ 40 h 56"/>
                    <a:gd name="T42" fmla="*/ 24 w 44"/>
                    <a:gd name="T43" fmla="*/ 44 h 56"/>
                    <a:gd name="T44" fmla="*/ 22 w 44"/>
                    <a:gd name="T45" fmla="*/ 48 h 56"/>
                    <a:gd name="T46" fmla="*/ 18 w 44"/>
                    <a:gd name="T47" fmla="*/ 44 h 56"/>
                    <a:gd name="T48" fmla="*/ 18 w 44"/>
                    <a:gd name="T49" fmla="*/ 52 h 56"/>
                    <a:gd name="T50" fmla="*/ 14 w 44"/>
                    <a:gd name="T51" fmla="*/ 56 h 56"/>
                    <a:gd name="T52" fmla="*/ 18 w 44"/>
                    <a:gd name="T53" fmla="*/ 52 h 56"/>
                    <a:gd name="T54" fmla="*/ 14 w 44"/>
                    <a:gd name="T55" fmla="*/ 48 h 56"/>
                    <a:gd name="T56" fmla="*/ 14 w 44"/>
                    <a:gd name="T57" fmla="*/ 48 h 56"/>
                    <a:gd name="T58" fmla="*/ 10 w 44"/>
                    <a:gd name="T59" fmla="*/ 44 h 56"/>
                    <a:gd name="T60" fmla="*/ 6 w 44"/>
                    <a:gd name="T61" fmla="*/ 48 h 56"/>
                    <a:gd name="T62" fmla="*/ 2 w 44"/>
                    <a:gd name="T63" fmla="*/ 52 h 56"/>
                    <a:gd name="T64" fmla="*/ 2 w 44"/>
                    <a:gd name="T65" fmla="*/ 48 h 56"/>
                    <a:gd name="T66" fmla="*/ 0 w 44"/>
                    <a:gd name="T67" fmla="*/ 44 h 56"/>
                    <a:gd name="T68" fmla="*/ 0 w 44"/>
                    <a:gd name="T69" fmla="*/ 36 h 56"/>
                    <a:gd name="T70" fmla="*/ 0 w 44"/>
                    <a:gd name="T71" fmla="*/ 30 h 56"/>
                    <a:gd name="T72" fmla="*/ 2 w 44"/>
                    <a:gd name="T73" fmla="*/ 26 h 56"/>
                    <a:gd name="T74" fmla="*/ 0 w 44"/>
                    <a:gd name="T75" fmla="*/ 18 h 56"/>
                    <a:gd name="T76" fmla="*/ 2 w 44"/>
                    <a:gd name="T77" fmla="*/ 10 h 56"/>
                    <a:gd name="T78" fmla="*/ 6 w 44"/>
                    <a:gd name="T79" fmla="*/ 6 h 56"/>
                    <a:gd name="T80" fmla="*/ 10 w 44"/>
                    <a:gd name="T81" fmla="*/ 4 h 56"/>
                    <a:gd name="T82" fmla="*/ 14 w 44"/>
                    <a:gd name="T83" fmla="*/ 0 h 56"/>
                    <a:gd name="T84" fmla="*/ 18 w 44"/>
                    <a:gd name="T85" fmla="*/ 4 h 56"/>
                    <a:gd name="T86" fmla="*/ 22 w 44"/>
                    <a:gd name="T87" fmla="*/ 0 h 56"/>
                    <a:gd name="T88" fmla="*/ 22 w 44"/>
                    <a:gd name="T89" fmla="*/ 0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44" h="56">
                      <a:moveTo>
                        <a:pt x="22" y="0"/>
                      </a:moveTo>
                      <a:lnTo>
                        <a:pt x="24" y="0"/>
                      </a:lnTo>
                      <a:lnTo>
                        <a:pt x="24" y="4"/>
                      </a:lnTo>
                      <a:lnTo>
                        <a:pt x="28" y="0"/>
                      </a:lnTo>
                      <a:lnTo>
                        <a:pt x="28" y="4"/>
                      </a:lnTo>
                      <a:lnTo>
                        <a:pt x="32" y="4"/>
                      </a:lnTo>
                      <a:lnTo>
                        <a:pt x="32" y="0"/>
                      </a:lnTo>
                      <a:lnTo>
                        <a:pt x="32" y="4"/>
                      </a:lnTo>
                      <a:lnTo>
                        <a:pt x="32" y="6"/>
                      </a:lnTo>
                      <a:lnTo>
                        <a:pt x="36" y="6"/>
                      </a:lnTo>
                      <a:lnTo>
                        <a:pt x="32" y="6"/>
                      </a:lnTo>
                      <a:lnTo>
                        <a:pt x="36" y="6"/>
                      </a:lnTo>
                      <a:lnTo>
                        <a:pt x="36" y="10"/>
                      </a:lnTo>
                      <a:lnTo>
                        <a:pt x="40" y="10"/>
                      </a:lnTo>
                      <a:lnTo>
                        <a:pt x="36" y="10"/>
                      </a:lnTo>
                      <a:lnTo>
                        <a:pt x="36" y="6"/>
                      </a:lnTo>
                      <a:lnTo>
                        <a:pt x="40" y="6"/>
                      </a:lnTo>
                      <a:lnTo>
                        <a:pt x="44" y="6"/>
                      </a:lnTo>
                      <a:lnTo>
                        <a:pt x="44" y="10"/>
                      </a:lnTo>
                      <a:lnTo>
                        <a:pt x="40" y="10"/>
                      </a:lnTo>
                      <a:lnTo>
                        <a:pt x="40" y="14"/>
                      </a:lnTo>
                      <a:lnTo>
                        <a:pt x="36" y="14"/>
                      </a:lnTo>
                      <a:lnTo>
                        <a:pt x="36" y="10"/>
                      </a:lnTo>
                      <a:lnTo>
                        <a:pt x="32" y="14"/>
                      </a:lnTo>
                      <a:lnTo>
                        <a:pt x="32" y="18"/>
                      </a:lnTo>
                      <a:lnTo>
                        <a:pt x="36" y="22"/>
                      </a:lnTo>
                      <a:lnTo>
                        <a:pt x="32" y="22"/>
                      </a:lnTo>
                      <a:lnTo>
                        <a:pt x="32" y="26"/>
                      </a:lnTo>
                      <a:lnTo>
                        <a:pt x="28" y="30"/>
                      </a:lnTo>
                      <a:lnTo>
                        <a:pt x="32" y="30"/>
                      </a:lnTo>
                      <a:lnTo>
                        <a:pt x="32" y="32"/>
                      </a:lnTo>
                      <a:lnTo>
                        <a:pt x="28" y="30"/>
                      </a:lnTo>
                      <a:lnTo>
                        <a:pt x="28" y="32"/>
                      </a:lnTo>
                      <a:lnTo>
                        <a:pt x="28" y="36"/>
                      </a:lnTo>
                      <a:lnTo>
                        <a:pt x="24" y="36"/>
                      </a:lnTo>
                      <a:lnTo>
                        <a:pt x="22" y="36"/>
                      </a:lnTo>
                      <a:lnTo>
                        <a:pt x="24" y="36"/>
                      </a:lnTo>
                      <a:lnTo>
                        <a:pt x="24" y="40"/>
                      </a:lnTo>
                      <a:lnTo>
                        <a:pt x="22" y="40"/>
                      </a:lnTo>
                      <a:lnTo>
                        <a:pt x="24" y="40"/>
                      </a:lnTo>
                      <a:lnTo>
                        <a:pt x="28" y="44"/>
                      </a:lnTo>
                      <a:lnTo>
                        <a:pt x="28" y="40"/>
                      </a:lnTo>
                      <a:lnTo>
                        <a:pt x="28" y="44"/>
                      </a:lnTo>
                      <a:lnTo>
                        <a:pt x="24" y="44"/>
                      </a:lnTo>
                      <a:lnTo>
                        <a:pt x="24" y="48"/>
                      </a:lnTo>
                      <a:lnTo>
                        <a:pt x="22" y="48"/>
                      </a:lnTo>
                      <a:lnTo>
                        <a:pt x="22" y="44"/>
                      </a:lnTo>
                      <a:lnTo>
                        <a:pt x="18" y="44"/>
                      </a:lnTo>
                      <a:lnTo>
                        <a:pt x="18" y="48"/>
                      </a:lnTo>
                      <a:lnTo>
                        <a:pt x="18" y="52"/>
                      </a:lnTo>
                      <a:lnTo>
                        <a:pt x="18" y="56"/>
                      </a:lnTo>
                      <a:lnTo>
                        <a:pt x="14" y="56"/>
                      </a:lnTo>
                      <a:lnTo>
                        <a:pt x="18" y="56"/>
                      </a:lnTo>
                      <a:lnTo>
                        <a:pt x="18" y="52"/>
                      </a:lnTo>
                      <a:lnTo>
                        <a:pt x="18" y="48"/>
                      </a:lnTo>
                      <a:lnTo>
                        <a:pt x="14" y="48"/>
                      </a:lnTo>
                      <a:lnTo>
                        <a:pt x="14" y="44"/>
                      </a:lnTo>
                      <a:lnTo>
                        <a:pt x="14" y="48"/>
                      </a:lnTo>
                      <a:lnTo>
                        <a:pt x="10" y="48"/>
                      </a:lnTo>
                      <a:lnTo>
                        <a:pt x="10" y="44"/>
                      </a:lnTo>
                      <a:lnTo>
                        <a:pt x="6" y="44"/>
                      </a:lnTo>
                      <a:lnTo>
                        <a:pt x="6" y="48"/>
                      </a:lnTo>
                      <a:lnTo>
                        <a:pt x="2" y="48"/>
                      </a:lnTo>
                      <a:lnTo>
                        <a:pt x="2" y="52"/>
                      </a:lnTo>
                      <a:lnTo>
                        <a:pt x="0" y="48"/>
                      </a:lnTo>
                      <a:lnTo>
                        <a:pt x="2" y="48"/>
                      </a:lnTo>
                      <a:lnTo>
                        <a:pt x="2" y="44"/>
                      </a:lnTo>
                      <a:lnTo>
                        <a:pt x="0" y="44"/>
                      </a:lnTo>
                      <a:lnTo>
                        <a:pt x="0" y="40"/>
                      </a:lnTo>
                      <a:lnTo>
                        <a:pt x="0" y="36"/>
                      </a:lnTo>
                      <a:lnTo>
                        <a:pt x="0" y="32"/>
                      </a:lnTo>
                      <a:lnTo>
                        <a:pt x="0" y="30"/>
                      </a:lnTo>
                      <a:lnTo>
                        <a:pt x="2" y="30"/>
                      </a:lnTo>
                      <a:lnTo>
                        <a:pt x="2" y="26"/>
                      </a:lnTo>
                      <a:lnTo>
                        <a:pt x="2" y="22"/>
                      </a:lnTo>
                      <a:lnTo>
                        <a:pt x="0" y="18"/>
                      </a:lnTo>
                      <a:lnTo>
                        <a:pt x="2" y="14"/>
                      </a:lnTo>
                      <a:lnTo>
                        <a:pt x="2" y="10"/>
                      </a:lnTo>
                      <a:lnTo>
                        <a:pt x="2" y="6"/>
                      </a:lnTo>
                      <a:lnTo>
                        <a:pt x="6" y="6"/>
                      </a:lnTo>
                      <a:lnTo>
                        <a:pt x="10" y="6"/>
                      </a:lnTo>
                      <a:lnTo>
                        <a:pt x="10" y="4"/>
                      </a:lnTo>
                      <a:lnTo>
                        <a:pt x="14" y="4"/>
                      </a:lnTo>
                      <a:lnTo>
                        <a:pt x="14" y="0"/>
                      </a:lnTo>
                      <a:lnTo>
                        <a:pt x="14" y="4"/>
                      </a:lnTo>
                      <a:lnTo>
                        <a:pt x="18" y="4"/>
                      </a:lnTo>
                      <a:lnTo>
                        <a:pt x="22" y="4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22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1" name="Freeform 219"/>
                <p:cNvSpPr>
                  <a:spLocks/>
                </p:cNvSpPr>
                <p:nvPr/>
              </p:nvSpPr>
              <p:spPr bwMode="auto">
                <a:xfrm>
                  <a:off x="5060950" y="2698818"/>
                  <a:ext cx="73025" cy="69850"/>
                </a:xfrm>
                <a:custGeom>
                  <a:avLst/>
                  <a:gdLst>
                    <a:gd name="T0" fmla="*/ 18 w 46"/>
                    <a:gd name="T1" fmla="*/ 40 h 44"/>
                    <a:gd name="T2" fmla="*/ 18 w 46"/>
                    <a:gd name="T3" fmla="*/ 40 h 44"/>
                    <a:gd name="T4" fmla="*/ 18 w 46"/>
                    <a:gd name="T5" fmla="*/ 36 h 44"/>
                    <a:gd name="T6" fmla="*/ 16 w 46"/>
                    <a:gd name="T7" fmla="*/ 32 h 44"/>
                    <a:gd name="T8" fmla="*/ 16 w 46"/>
                    <a:gd name="T9" fmla="*/ 32 h 44"/>
                    <a:gd name="T10" fmla="*/ 12 w 46"/>
                    <a:gd name="T11" fmla="*/ 30 h 44"/>
                    <a:gd name="T12" fmla="*/ 12 w 46"/>
                    <a:gd name="T13" fmla="*/ 26 h 44"/>
                    <a:gd name="T14" fmla="*/ 12 w 46"/>
                    <a:gd name="T15" fmla="*/ 26 h 44"/>
                    <a:gd name="T16" fmla="*/ 8 w 46"/>
                    <a:gd name="T17" fmla="*/ 18 h 44"/>
                    <a:gd name="T18" fmla="*/ 4 w 46"/>
                    <a:gd name="T19" fmla="*/ 14 h 44"/>
                    <a:gd name="T20" fmla="*/ 0 w 46"/>
                    <a:gd name="T21" fmla="*/ 14 h 44"/>
                    <a:gd name="T22" fmla="*/ 4 w 46"/>
                    <a:gd name="T23" fmla="*/ 14 h 44"/>
                    <a:gd name="T24" fmla="*/ 4 w 46"/>
                    <a:gd name="T25" fmla="*/ 14 h 44"/>
                    <a:gd name="T26" fmla="*/ 0 w 46"/>
                    <a:gd name="T27" fmla="*/ 14 h 44"/>
                    <a:gd name="T28" fmla="*/ 4 w 46"/>
                    <a:gd name="T29" fmla="*/ 10 h 44"/>
                    <a:gd name="T30" fmla="*/ 8 w 46"/>
                    <a:gd name="T31" fmla="*/ 10 h 44"/>
                    <a:gd name="T32" fmla="*/ 8 w 46"/>
                    <a:gd name="T33" fmla="*/ 10 h 44"/>
                    <a:gd name="T34" fmla="*/ 8 w 46"/>
                    <a:gd name="T35" fmla="*/ 6 h 44"/>
                    <a:gd name="T36" fmla="*/ 12 w 46"/>
                    <a:gd name="T37" fmla="*/ 6 h 44"/>
                    <a:gd name="T38" fmla="*/ 16 w 46"/>
                    <a:gd name="T39" fmla="*/ 2 h 44"/>
                    <a:gd name="T40" fmla="*/ 16 w 46"/>
                    <a:gd name="T41" fmla="*/ 2 h 44"/>
                    <a:gd name="T42" fmla="*/ 18 w 46"/>
                    <a:gd name="T43" fmla="*/ 2 h 44"/>
                    <a:gd name="T44" fmla="*/ 18 w 46"/>
                    <a:gd name="T45" fmla="*/ 2 h 44"/>
                    <a:gd name="T46" fmla="*/ 18 w 46"/>
                    <a:gd name="T47" fmla="*/ 2 h 44"/>
                    <a:gd name="T48" fmla="*/ 18 w 46"/>
                    <a:gd name="T49" fmla="*/ 6 h 44"/>
                    <a:gd name="T50" fmla="*/ 18 w 46"/>
                    <a:gd name="T51" fmla="*/ 2 h 44"/>
                    <a:gd name="T52" fmla="*/ 22 w 46"/>
                    <a:gd name="T53" fmla="*/ 2 h 44"/>
                    <a:gd name="T54" fmla="*/ 26 w 46"/>
                    <a:gd name="T55" fmla="*/ 6 h 44"/>
                    <a:gd name="T56" fmla="*/ 26 w 46"/>
                    <a:gd name="T57" fmla="*/ 10 h 44"/>
                    <a:gd name="T58" fmla="*/ 26 w 46"/>
                    <a:gd name="T59" fmla="*/ 10 h 44"/>
                    <a:gd name="T60" fmla="*/ 30 w 46"/>
                    <a:gd name="T61" fmla="*/ 14 h 44"/>
                    <a:gd name="T62" fmla="*/ 38 w 46"/>
                    <a:gd name="T63" fmla="*/ 14 h 44"/>
                    <a:gd name="T64" fmla="*/ 42 w 46"/>
                    <a:gd name="T65" fmla="*/ 18 h 44"/>
                    <a:gd name="T66" fmla="*/ 42 w 46"/>
                    <a:gd name="T67" fmla="*/ 18 h 44"/>
                    <a:gd name="T68" fmla="*/ 42 w 46"/>
                    <a:gd name="T69" fmla="*/ 22 h 44"/>
                    <a:gd name="T70" fmla="*/ 46 w 46"/>
                    <a:gd name="T71" fmla="*/ 22 h 44"/>
                    <a:gd name="T72" fmla="*/ 42 w 46"/>
                    <a:gd name="T73" fmla="*/ 26 h 44"/>
                    <a:gd name="T74" fmla="*/ 46 w 46"/>
                    <a:gd name="T75" fmla="*/ 26 h 44"/>
                    <a:gd name="T76" fmla="*/ 46 w 46"/>
                    <a:gd name="T77" fmla="*/ 30 h 44"/>
                    <a:gd name="T78" fmla="*/ 46 w 46"/>
                    <a:gd name="T79" fmla="*/ 30 h 44"/>
                    <a:gd name="T80" fmla="*/ 42 w 46"/>
                    <a:gd name="T81" fmla="*/ 30 h 44"/>
                    <a:gd name="T82" fmla="*/ 42 w 46"/>
                    <a:gd name="T83" fmla="*/ 30 h 44"/>
                    <a:gd name="T84" fmla="*/ 42 w 46"/>
                    <a:gd name="T85" fmla="*/ 32 h 44"/>
                    <a:gd name="T86" fmla="*/ 42 w 46"/>
                    <a:gd name="T87" fmla="*/ 32 h 44"/>
                    <a:gd name="T88" fmla="*/ 42 w 46"/>
                    <a:gd name="T89" fmla="*/ 36 h 44"/>
                    <a:gd name="T90" fmla="*/ 38 w 46"/>
                    <a:gd name="T91" fmla="*/ 40 h 44"/>
                    <a:gd name="T92" fmla="*/ 34 w 46"/>
                    <a:gd name="T93" fmla="*/ 36 h 44"/>
                    <a:gd name="T94" fmla="*/ 34 w 46"/>
                    <a:gd name="T95" fmla="*/ 36 h 44"/>
                    <a:gd name="T96" fmla="*/ 26 w 46"/>
                    <a:gd name="T97" fmla="*/ 36 h 44"/>
                    <a:gd name="T98" fmla="*/ 26 w 46"/>
                    <a:gd name="T99" fmla="*/ 40 h 44"/>
                    <a:gd name="T100" fmla="*/ 26 w 46"/>
                    <a:gd name="T101" fmla="*/ 40 h 44"/>
                    <a:gd name="T102" fmla="*/ 26 w 46"/>
                    <a:gd name="T103" fmla="*/ 44 h 44"/>
                    <a:gd name="T104" fmla="*/ 22 w 46"/>
                    <a:gd name="T105" fmla="*/ 44 h 44"/>
                    <a:gd name="T106" fmla="*/ 18 w 46"/>
                    <a:gd name="T107" fmla="*/ 44 h 44"/>
                    <a:gd name="T108" fmla="*/ 18 w 46"/>
                    <a:gd name="T109" fmla="*/ 44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46" h="44">
                      <a:moveTo>
                        <a:pt x="18" y="44"/>
                      </a:moveTo>
                      <a:lnTo>
                        <a:pt x="18" y="44"/>
                      </a:lnTo>
                      <a:lnTo>
                        <a:pt x="18" y="44"/>
                      </a:lnTo>
                      <a:lnTo>
                        <a:pt x="18" y="40"/>
                      </a:lnTo>
                      <a:lnTo>
                        <a:pt x="18" y="40"/>
                      </a:lnTo>
                      <a:lnTo>
                        <a:pt x="18" y="40"/>
                      </a:lnTo>
                      <a:lnTo>
                        <a:pt x="18" y="40"/>
                      </a:lnTo>
                      <a:lnTo>
                        <a:pt x="18" y="40"/>
                      </a:lnTo>
                      <a:lnTo>
                        <a:pt x="18" y="36"/>
                      </a:lnTo>
                      <a:lnTo>
                        <a:pt x="18" y="36"/>
                      </a:lnTo>
                      <a:lnTo>
                        <a:pt x="18" y="36"/>
                      </a:lnTo>
                      <a:lnTo>
                        <a:pt x="18" y="36"/>
                      </a:lnTo>
                      <a:lnTo>
                        <a:pt x="18" y="36"/>
                      </a:lnTo>
                      <a:lnTo>
                        <a:pt x="18" y="36"/>
                      </a:lnTo>
                      <a:lnTo>
                        <a:pt x="18" y="36"/>
                      </a:lnTo>
                      <a:lnTo>
                        <a:pt x="16" y="32"/>
                      </a:lnTo>
                      <a:lnTo>
                        <a:pt x="16" y="32"/>
                      </a:lnTo>
                      <a:lnTo>
                        <a:pt x="16" y="32"/>
                      </a:lnTo>
                      <a:lnTo>
                        <a:pt x="16" y="32"/>
                      </a:lnTo>
                      <a:lnTo>
                        <a:pt x="16" y="32"/>
                      </a:lnTo>
                      <a:lnTo>
                        <a:pt x="16" y="30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2" y="22"/>
                      </a:lnTo>
                      <a:lnTo>
                        <a:pt x="12" y="22"/>
                      </a:lnTo>
                      <a:lnTo>
                        <a:pt x="8" y="22"/>
                      </a:lnTo>
                      <a:lnTo>
                        <a:pt x="8" y="18"/>
                      </a:lnTo>
                      <a:lnTo>
                        <a:pt x="4" y="18"/>
                      </a:lnTo>
                      <a:lnTo>
                        <a:pt x="4" y="18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0" y="14"/>
                      </a:lnTo>
                      <a:lnTo>
                        <a:pt x="0" y="14"/>
                      </a:lnTo>
                      <a:lnTo>
                        <a:pt x="0" y="14"/>
                      </a:lnTo>
                      <a:lnTo>
                        <a:pt x="0" y="14"/>
                      </a:lnTo>
                      <a:lnTo>
                        <a:pt x="0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0" y="14"/>
                      </a:lnTo>
                      <a:lnTo>
                        <a:pt x="0" y="14"/>
                      </a:lnTo>
                      <a:lnTo>
                        <a:pt x="0" y="14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4" y="10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18" y="6"/>
                      </a:ln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22" y="2"/>
                      </a:lnTo>
                      <a:lnTo>
                        <a:pt x="22" y="2"/>
                      </a:lnTo>
                      <a:lnTo>
                        <a:pt x="22" y="2"/>
                      </a:lnTo>
                      <a:lnTo>
                        <a:pt x="22" y="2"/>
                      </a:lnTo>
                      <a:lnTo>
                        <a:pt x="22" y="6"/>
                      </a:lnTo>
                      <a:lnTo>
                        <a:pt x="26" y="6"/>
                      </a:lnTo>
                      <a:lnTo>
                        <a:pt x="26" y="6"/>
                      </a:lnTo>
                      <a:lnTo>
                        <a:pt x="26" y="6"/>
                      </a:lnTo>
                      <a:lnTo>
                        <a:pt x="26" y="6"/>
                      </a:lnTo>
                      <a:lnTo>
                        <a:pt x="26" y="6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30" y="10"/>
                      </a:lnTo>
                      <a:lnTo>
                        <a:pt x="30" y="10"/>
                      </a:lnTo>
                      <a:lnTo>
                        <a:pt x="30" y="14"/>
                      </a:lnTo>
                      <a:lnTo>
                        <a:pt x="34" y="14"/>
                      </a:lnTo>
                      <a:lnTo>
                        <a:pt x="34" y="14"/>
                      </a:lnTo>
                      <a:lnTo>
                        <a:pt x="38" y="14"/>
                      </a:lnTo>
                      <a:lnTo>
                        <a:pt x="38" y="14"/>
                      </a:lnTo>
                      <a:lnTo>
                        <a:pt x="38" y="14"/>
                      </a:lnTo>
                      <a:lnTo>
                        <a:pt x="38" y="18"/>
                      </a:lnTo>
                      <a:lnTo>
                        <a:pt x="42" y="18"/>
                      </a:lnTo>
                      <a:lnTo>
                        <a:pt x="42" y="18"/>
                      </a:lnTo>
                      <a:lnTo>
                        <a:pt x="42" y="18"/>
                      </a:lnTo>
                      <a:lnTo>
                        <a:pt x="42" y="18"/>
                      </a:lnTo>
                      <a:lnTo>
                        <a:pt x="42" y="18"/>
                      </a:lnTo>
                      <a:lnTo>
                        <a:pt x="42" y="18"/>
                      </a:lnTo>
                      <a:lnTo>
                        <a:pt x="42" y="18"/>
                      </a:lnTo>
                      <a:lnTo>
                        <a:pt x="42" y="18"/>
                      </a:lnTo>
                      <a:lnTo>
                        <a:pt x="42" y="22"/>
                      </a:lnTo>
                      <a:lnTo>
                        <a:pt x="42" y="22"/>
                      </a:lnTo>
                      <a:lnTo>
                        <a:pt x="42" y="22"/>
                      </a:lnTo>
                      <a:lnTo>
                        <a:pt x="46" y="22"/>
                      </a:lnTo>
                      <a:lnTo>
                        <a:pt x="46" y="22"/>
                      </a:lnTo>
                      <a:lnTo>
                        <a:pt x="46" y="22"/>
                      </a:lnTo>
                      <a:lnTo>
                        <a:pt x="46" y="22"/>
                      </a:lnTo>
                      <a:lnTo>
                        <a:pt x="46" y="26"/>
                      </a:lnTo>
                      <a:lnTo>
                        <a:pt x="42" y="26"/>
                      </a:lnTo>
                      <a:lnTo>
                        <a:pt x="42" y="26"/>
                      </a:lnTo>
                      <a:lnTo>
                        <a:pt x="46" y="26"/>
                      </a:lnTo>
                      <a:lnTo>
                        <a:pt x="46" y="26"/>
                      </a:lnTo>
                      <a:lnTo>
                        <a:pt x="46" y="26"/>
                      </a:lnTo>
                      <a:lnTo>
                        <a:pt x="46" y="26"/>
                      </a:lnTo>
                      <a:lnTo>
                        <a:pt x="46" y="26"/>
                      </a:lnTo>
                      <a:lnTo>
                        <a:pt x="46" y="26"/>
                      </a:lnTo>
                      <a:lnTo>
                        <a:pt x="46" y="26"/>
                      </a:lnTo>
                      <a:lnTo>
                        <a:pt x="46" y="30"/>
                      </a:lnTo>
                      <a:lnTo>
                        <a:pt x="46" y="30"/>
                      </a:lnTo>
                      <a:lnTo>
                        <a:pt x="46" y="30"/>
                      </a:lnTo>
                      <a:lnTo>
                        <a:pt x="46" y="30"/>
                      </a:lnTo>
                      <a:lnTo>
                        <a:pt x="46" y="30"/>
                      </a:lnTo>
                      <a:lnTo>
                        <a:pt x="42" y="32"/>
                      </a:lnTo>
                      <a:lnTo>
                        <a:pt x="42" y="30"/>
                      </a:lnTo>
                      <a:lnTo>
                        <a:pt x="42" y="30"/>
                      </a:lnTo>
                      <a:lnTo>
                        <a:pt x="42" y="30"/>
                      </a:lnTo>
                      <a:lnTo>
                        <a:pt x="42" y="30"/>
                      </a:lnTo>
                      <a:lnTo>
                        <a:pt x="42" y="30"/>
                      </a:lnTo>
                      <a:lnTo>
                        <a:pt x="42" y="30"/>
                      </a:lnTo>
                      <a:lnTo>
                        <a:pt x="42" y="30"/>
                      </a:lnTo>
                      <a:lnTo>
                        <a:pt x="42" y="30"/>
                      </a:lnTo>
                      <a:lnTo>
                        <a:pt x="42" y="30"/>
                      </a:lnTo>
                      <a:lnTo>
                        <a:pt x="42" y="32"/>
                      </a:lnTo>
                      <a:lnTo>
                        <a:pt x="42" y="32"/>
                      </a:lnTo>
                      <a:lnTo>
                        <a:pt x="42" y="32"/>
                      </a:lnTo>
                      <a:lnTo>
                        <a:pt x="42" y="32"/>
                      </a:lnTo>
                      <a:lnTo>
                        <a:pt x="42" y="32"/>
                      </a:lnTo>
                      <a:lnTo>
                        <a:pt x="42" y="32"/>
                      </a:lnTo>
                      <a:lnTo>
                        <a:pt x="42" y="36"/>
                      </a:lnTo>
                      <a:lnTo>
                        <a:pt x="42" y="36"/>
                      </a:lnTo>
                      <a:lnTo>
                        <a:pt x="42" y="36"/>
                      </a:lnTo>
                      <a:lnTo>
                        <a:pt x="42" y="36"/>
                      </a:lnTo>
                      <a:lnTo>
                        <a:pt x="38" y="36"/>
                      </a:lnTo>
                      <a:lnTo>
                        <a:pt x="38" y="36"/>
                      </a:lnTo>
                      <a:lnTo>
                        <a:pt x="38" y="40"/>
                      </a:lnTo>
                      <a:lnTo>
                        <a:pt x="38" y="40"/>
                      </a:lnTo>
                      <a:lnTo>
                        <a:pt x="38" y="40"/>
                      </a:lnTo>
                      <a:lnTo>
                        <a:pt x="34" y="40"/>
                      </a:lnTo>
                      <a:lnTo>
                        <a:pt x="34" y="40"/>
                      </a:lnTo>
                      <a:lnTo>
                        <a:pt x="34" y="36"/>
                      </a:lnTo>
                      <a:lnTo>
                        <a:pt x="34" y="36"/>
                      </a:lnTo>
                      <a:lnTo>
                        <a:pt x="34" y="36"/>
                      </a:lnTo>
                      <a:lnTo>
                        <a:pt x="34" y="36"/>
                      </a:lnTo>
                      <a:lnTo>
                        <a:pt x="34" y="36"/>
                      </a:lnTo>
                      <a:lnTo>
                        <a:pt x="30" y="36"/>
                      </a:lnTo>
                      <a:lnTo>
                        <a:pt x="30" y="36"/>
                      </a:lnTo>
                      <a:lnTo>
                        <a:pt x="30" y="36"/>
                      </a:lnTo>
                      <a:lnTo>
                        <a:pt x="26" y="36"/>
                      </a:lnTo>
                      <a:lnTo>
                        <a:pt x="26" y="36"/>
                      </a:lnTo>
                      <a:lnTo>
                        <a:pt x="26" y="36"/>
                      </a:lnTo>
                      <a:lnTo>
                        <a:pt x="26" y="40"/>
                      </a:lnTo>
                      <a:lnTo>
                        <a:pt x="26" y="40"/>
                      </a:lnTo>
                      <a:lnTo>
                        <a:pt x="26" y="40"/>
                      </a:lnTo>
                      <a:lnTo>
                        <a:pt x="26" y="40"/>
                      </a:lnTo>
                      <a:lnTo>
                        <a:pt x="26" y="40"/>
                      </a:lnTo>
                      <a:lnTo>
                        <a:pt x="26" y="40"/>
                      </a:lnTo>
                      <a:lnTo>
                        <a:pt x="26" y="44"/>
                      </a:lnTo>
                      <a:lnTo>
                        <a:pt x="26" y="44"/>
                      </a:lnTo>
                      <a:lnTo>
                        <a:pt x="26" y="44"/>
                      </a:lnTo>
                      <a:lnTo>
                        <a:pt x="26" y="44"/>
                      </a:lnTo>
                      <a:lnTo>
                        <a:pt x="26" y="44"/>
                      </a:lnTo>
                      <a:lnTo>
                        <a:pt x="22" y="44"/>
                      </a:lnTo>
                      <a:lnTo>
                        <a:pt x="22" y="44"/>
                      </a:lnTo>
                      <a:lnTo>
                        <a:pt x="22" y="44"/>
                      </a:lnTo>
                      <a:lnTo>
                        <a:pt x="22" y="44"/>
                      </a:lnTo>
                      <a:lnTo>
                        <a:pt x="18" y="44"/>
                      </a:lnTo>
                      <a:lnTo>
                        <a:pt x="18" y="44"/>
                      </a:lnTo>
                      <a:lnTo>
                        <a:pt x="18" y="44"/>
                      </a:lnTo>
                      <a:lnTo>
                        <a:pt x="18" y="44"/>
                      </a:lnTo>
                      <a:lnTo>
                        <a:pt x="18" y="44"/>
                      </a:lnTo>
                      <a:lnTo>
                        <a:pt x="18" y="44"/>
                      </a:lnTo>
                      <a:lnTo>
                        <a:pt x="18" y="44"/>
                      </a:lnTo>
                      <a:lnTo>
                        <a:pt x="18" y="4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2" name="Freeform 220"/>
                <p:cNvSpPr>
                  <a:spLocks/>
                </p:cNvSpPr>
                <p:nvPr/>
              </p:nvSpPr>
              <p:spPr bwMode="auto">
                <a:xfrm>
                  <a:off x="5441950" y="3206818"/>
                  <a:ext cx="180975" cy="327025"/>
                </a:xfrm>
                <a:custGeom>
                  <a:avLst/>
                  <a:gdLst>
                    <a:gd name="T0" fmla="*/ 36 w 114"/>
                    <a:gd name="T1" fmla="*/ 146 h 206"/>
                    <a:gd name="T2" fmla="*/ 48 w 114"/>
                    <a:gd name="T3" fmla="*/ 134 h 206"/>
                    <a:gd name="T4" fmla="*/ 44 w 114"/>
                    <a:gd name="T5" fmla="*/ 130 h 206"/>
                    <a:gd name="T6" fmla="*/ 36 w 114"/>
                    <a:gd name="T7" fmla="*/ 120 h 206"/>
                    <a:gd name="T8" fmla="*/ 30 w 114"/>
                    <a:gd name="T9" fmla="*/ 108 h 206"/>
                    <a:gd name="T10" fmla="*/ 22 w 114"/>
                    <a:gd name="T11" fmla="*/ 94 h 206"/>
                    <a:gd name="T12" fmla="*/ 14 w 114"/>
                    <a:gd name="T13" fmla="*/ 82 h 206"/>
                    <a:gd name="T14" fmla="*/ 10 w 114"/>
                    <a:gd name="T15" fmla="*/ 76 h 206"/>
                    <a:gd name="T16" fmla="*/ 10 w 114"/>
                    <a:gd name="T17" fmla="*/ 64 h 206"/>
                    <a:gd name="T18" fmla="*/ 10 w 114"/>
                    <a:gd name="T19" fmla="*/ 68 h 206"/>
                    <a:gd name="T20" fmla="*/ 2 w 114"/>
                    <a:gd name="T21" fmla="*/ 52 h 206"/>
                    <a:gd name="T22" fmla="*/ 6 w 114"/>
                    <a:gd name="T23" fmla="*/ 46 h 206"/>
                    <a:gd name="T24" fmla="*/ 10 w 114"/>
                    <a:gd name="T25" fmla="*/ 30 h 206"/>
                    <a:gd name="T26" fmla="*/ 14 w 114"/>
                    <a:gd name="T27" fmla="*/ 26 h 206"/>
                    <a:gd name="T28" fmla="*/ 30 w 114"/>
                    <a:gd name="T29" fmla="*/ 24 h 206"/>
                    <a:gd name="T30" fmla="*/ 36 w 114"/>
                    <a:gd name="T31" fmla="*/ 16 h 206"/>
                    <a:gd name="T32" fmla="*/ 44 w 114"/>
                    <a:gd name="T33" fmla="*/ 12 h 206"/>
                    <a:gd name="T34" fmla="*/ 60 w 114"/>
                    <a:gd name="T35" fmla="*/ 4 h 206"/>
                    <a:gd name="T36" fmla="*/ 70 w 114"/>
                    <a:gd name="T37" fmla="*/ 4 h 206"/>
                    <a:gd name="T38" fmla="*/ 84 w 114"/>
                    <a:gd name="T39" fmla="*/ 4 h 206"/>
                    <a:gd name="T40" fmla="*/ 92 w 114"/>
                    <a:gd name="T41" fmla="*/ 16 h 206"/>
                    <a:gd name="T42" fmla="*/ 88 w 114"/>
                    <a:gd name="T43" fmla="*/ 34 h 206"/>
                    <a:gd name="T44" fmla="*/ 76 w 114"/>
                    <a:gd name="T45" fmla="*/ 34 h 206"/>
                    <a:gd name="T46" fmla="*/ 62 w 114"/>
                    <a:gd name="T47" fmla="*/ 38 h 206"/>
                    <a:gd name="T48" fmla="*/ 62 w 114"/>
                    <a:gd name="T49" fmla="*/ 50 h 206"/>
                    <a:gd name="T50" fmla="*/ 62 w 114"/>
                    <a:gd name="T51" fmla="*/ 52 h 206"/>
                    <a:gd name="T52" fmla="*/ 52 w 114"/>
                    <a:gd name="T53" fmla="*/ 56 h 206"/>
                    <a:gd name="T54" fmla="*/ 62 w 114"/>
                    <a:gd name="T55" fmla="*/ 68 h 206"/>
                    <a:gd name="T56" fmla="*/ 74 w 114"/>
                    <a:gd name="T57" fmla="*/ 82 h 206"/>
                    <a:gd name="T58" fmla="*/ 84 w 114"/>
                    <a:gd name="T59" fmla="*/ 86 h 206"/>
                    <a:gd name="T60" fmla="*/ 80 w 114"/>
                    <a:gd name="T61" fmla="*/ 100 h 206"/>
                    <a:gd name="T62" fmla="*/ 80 w 114"/>
                    <a:gd name="T63" fmla="*/ 112 h 206"/>
                    <a:gd name="T64" fmla="*/ 84 w 114"/>
                    <a:gd name="T65" fmla="*/ 112 h 206"/>
                    <a:gd name="T66" fmla="*/ 88 w 114"/>
                    <a:gd name="T67" fmla="*/ 100 h 206"/>
                    <a:gd name="T68" fmla="*/ 104 w 114"/>
                    <a:gd name="T69" fmla="*/ 104 h 206"/>
                    <a:gd name="T70" fmla="*/ 110 w 114"/>
                    <a:gd name="T71" fmla="*/ 116 h 206"/>
                    <a:gd name="T72" fmla="*/ 106 w 114"/>
                    <a:gd name="T73" fmla="*/ 126 h 206"/>
                    <a:gd name="T74" fmla="*/ 100 w 114"/>
                    <a:gd name="T75" fmla="*/ 122 h 206"/>
                    <a:gd name="T76" fmla="*/ 88 w 114"/>
                    <a:gd name="T77" fmla="*/ 122 h 206"/>
                    <a:gd name="T78" fmla="*/ 88 w 114"/>
                    <a:gd name="T79" fmla="*/ 126 h 206"/>
                    <a:gd name="T80" fmla="*/ 84 w 114"/>
                    <a:gd name="T81" fmla="*/ 142 h 206"/>
                    <a:gd name="T82" fmla="*/ 88 w 114"/>
                    <a:gd name="T83" fmla="*/ 142 h 206"/>
                    <a:gd name="T84" fmla="*/ 100 w 114"/>
                    <a:gd name="T85" fmla="*/ 146 h 206"/>
                    <a:gd name="T86" fmla="*/ 92 w 114"/>
                    <a:gd name="T87" fmla="*/ 150 h 206"/>
                    <a:gd name="T88" fmla="*/ 100 w 114"/>
                    <a:gd name="T89" fmla="*/ 156 h 206"/>
                    <a:gd name="T90" fmla="*/ 100 w 114"/>
                    <a:gd name="T91" fmla="*/ 172 h 206"/>
                    <a:gd name="T92" fmla="*/ 104 w 114"/>
                    <a:gd name="T93" fmla="*/ 190 h 206"/>
                    <a:gd name="T94" fmla="*/ 96 w 114"/>
                    <a:gd name="T95" fmla="*/ 202 h 206"/>
                    <a:gd name="T96" fmla="*/ 100 w 114"/>
                    <a:gd name="T97" fmla="*/ 198 h 206"/>
                    <a:gd name="T98" fmla="*/ 80 w 114"/>
                    <a:gd name="T99" fmla="*/ 202 h 206"/>
                    <a:gd name="T100" fmla="*/ 66 w 114"/>
                    <a:gd name="T101" fmla="*/ 202 h 206"/>
                    <a:gd name="T102" fmla="*/ 52 w 114"/>
                    <a:gd name="T103" fmla="*/ 190 h 206"/>
                    <a:gd name="T104" fmla="*/ 32 w 114"/>
                    <a:gd name="T105" fmla="*/ 186 h 206"/>
                    <a:gd name="T106" fmla="*/ 30 w 114"/>
                    <a:gd name="T107" fmla="*/ 164 h 206"/>
                    <a:gd name="T108" fmla="*/ 32 w 114"/>
                    <a:gd name="T109" fmla="*/ 160 h 2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14" h="206">
                      <a:moveTo>
                        <a:pt x="36" y="156"/>
                      </a:moveTo>
                      <a:lnTo>
                        <a:pt x="36" y="152"/>
                      </a:lnTo>
                      <a:lnTo>
                        <a:pt x="40" y="152"/>
                      </a:lnTo>
                      <a:lnTo>
                        <a:pt x="36" y="150"/>
                      </a:lnTo>
                      <a:lnTo>
                        <a:pt x="36" y="146"/>
                      </a:lnTo>
                      <a:lnTo>
                        <a:pt x="40" y="142"/>
                      </a:lnTo>
                      <a:lnTo>
                        <a:pt x="40" y="138"/>
                      </a:lnTo>
                      <a:lnTo>
                        <a:pt x="40" y="134"/>
                      </a:lnTo>
                      <a:lnTo>
                        <a:pt x="44" y="134"/>
                      </a:lnTo>
                      <a:lnTo>
                        <a:pt x="48" y="134"/>
                      </a:lnTo>
                      <a:lnTo>
                        <a:pt x="52" y="134"/>
                      </a:lnTo>
                      <a:lnTo>
                        <a:pt x="52" y="130"/>
                      </a:lnTo>
                      <a:lnTo>
                        <a:pt x="48" y="126"/>
                      </a:lnTo>
                      <a:lnTo>
                        <a:pt x="44" y="126"/>
                      </a:lnTo>
                      <a:lnTo>
                        <a:pt x="44" y="130"/>
                      </a:lnTo>
                      <a:lnTo>
                        <a:pt x="44" y="126"/>
                      </a:lnTo>
                      <a:lnTo>
                        <a:pt x="40" y="126"/>
                      </a:lnTo>
                      <a:lnTo>
                        <a:pt x="40" y="122"/>
                      </a:lnTo>
                      <a:lnTo>
                        <a:pt x="36" y="122"/>
                      </a:lnTo>
                      <a:lnTo>
                        <a:pt x="36" y="120"/>
                      </a:lnTo>
                      <a:lnTo>
                        <a:pt x="36" y="116"/>
                      </a:lnTo>
                      <a:lnTo>
                        <a:pt x="32" y="116"/>
                      </a:lnTo>
                      <a:lnTo>
                        <a:pt x="32" y="112"/>
                      </a:lnTo>
                      <a:lnTo>
                        <a:pt x="32" y="108"/>
                      </a:lnTo>
                      <a:lnTo>
                        <a:pt x="30" y="108"/>
                      </a:lnTo>
                      <a:lnTo>
                        <a:pt x="30" y="104"/>
                      </a:lnTo>
                      <a:lnTo>
                        <a:pt x="26" y="104"/>
                      </a:lnTo>
                      <a:lnTo>
                        <a:pt x="26" y="100"/>
                      </a:lnTo>
                      <a:lnTo>
                        <a:pt x="22" y="100"/>
                      </a:lnTo>
                      <a:lnTo>
                        <a:pt x="22" y="94"/>
                      </a:lnTo>
                      <a:lnTo>
                        <a:pt x="18" y="94"/>
                      </a:lnTo>
                      <a:lnTo>
                        <a:pt x="18" y="90"/>
                      </a:lnTo>
                      <a:lnTo>
                        <a:pt x="14" y="90"/>
                      </a:lnTo>
                      <a:lnTo>
                        <a:pt x="14" y="86"/>
                      </a:lnTo>
                      <a:lnTo>
                        <a:pt x="14" y="82"/>
                      </a:lnTo>
                      <a:lnTo>
                        <a:pt x="10" y="82"/>
                      </a:lnTo>
                      <a:lnTo>
                        <a:pt x="10" y="80"/>
                      </a:lnTo>
                      <a:lnTo>
                        <a:pt x="10" y="76"/>
                      </a:lnTo>
                      <a:lnTo>
                        <a:pt x="14" y="76"/>
                      </a:lnTo>
                      <a:lnTo>
                        <a:pt x="10" y="76"/>
                      </a:lnTo>
                      <a:lnTo>
                        <a:pt x="10" y="72"/>
                      </a:lnTo>
                      <a:lnTo>
                        <a:pt x="10" y="68"/>
                      </a:lnTo>
                      <a:lnTo>
                        <a:pt x="14" y="68"/>
                      </a:lnTo>
                      <a:lnTo>
                        <a:pt x="14" y="64"/>
                      </a:lnTo>
                      <a:lnTo>
                        <a:pt x="10" y="64"/>
                      </a:lnTo>
                      <a:lnTo>
                        <a:pt x="10" y="68"/>
                      </a:lnTo>
                      <a:lnTo>
                        <a:pt x="10" y="72"/>
                      </a:lnTo>
                      <a:lnTo>
                        <a:pt x="10" y="68"/>
                      </a:lnTo>
                      <a:lnTo>
                        <a:pt x="10" y="72"/>
                      </a:lnTo>
                      <a:lnTo>
                        <a:pt x="10" y="68"/>
                      </a:lnTo>
                      <a:lnTo>
                        <a:pt x="10" y="64"/>
                      </a:lnTo>
                      <a:lnTo>
                        <a:pt x="10" y="60"/>
                      </a:lnTo>
                      <a:lnTo>
                        <a:pt x="6" y="60"/>
                      </a:lnTo>
                      <a:lnTo>
                        <a:pt x="6" y="56"/>
                      </a:lnTo>
                      <a:lnTo>
                        <a:pt x="2" y="52"/>
                      </a:lnTo>
                      <a:lnTo>
                        <a:pt x="0" y="52"/>
                      </a:lnTo>
                      <a:lnTo>
                        <a:pt x="0" y="50"/>
                      </a:lnTo>
                      <a:lnTo>
                        <a:pt x="2" y="50"/>
                      </a:lnTo>
                      <a:lnTo>
                        <a:pt x="2" y="46"/>
                      </a:lnTo>
                      <a:lnTo>
                        <a:pt x="6" y="46"/>
                      </a:lnTo>
                      <a:lnTo>
                        <a:pt x="6" y="42"/>
                      </a:lnTo>
                      <a:lnTo>
                        <a:pt x="10" y="38"/>
                      </a:lnTo>
                      <a:lnTo>
                        <a:pt x="10" y="34"/>
                      </a:lnTo>
                      <a:lnTo>
                        <a:pt x="14" y="30"/>
                      </a:lnTo>
                      <a:lnTo>
                        <a:pt x="10" y="30"/>
                      </a:lnTo>
                      <a:lnTo>
                        <a:pt x="10" y="26"/>
                      </a:lnTo>
                      <a:lnTo>
                        <a:pt x="14" y="30"/>
                      </a:lnTo>
                      <a:lnTo>
                        <a:pt x="14" y="26"/>
                      </a:lnTo>
                      <a:lnTo>
                        <a:pt x="10" y="26"/>
                      </a:lnTo>
                      <a:lnTo>
                        <a:pt x="14" y="26"/>
                      </a:lnTo>
                      <a:lnTo>
                        <a:pt x="18" y="30"/>
                      </a:lnTo>
                      <a:lnTo>
                        <a:pt x="18" y="26"/>
                      </a:lnTo>
                      <a:lnTo>
                        <a:pt x="22" y="26"/>
                      </a:lnTo>
                      <a:lnTo>
                        <a:pt x="26" y="24"/>
                      </a:lnTo>
                      <a:lnTo>
                        <a:pt x="30" y="24"/>
                      </a:lnTo>
                      <a:lnTo>
                        <a:pt x="30" y="26"/>
                      </a:lnTo>
                      <a:lnTo>
                        <a:pt x="30" y="24"/>
                      </a:lnTo>
                      <a:lnTo>
                        <a:pt x="30" y="20"/>
                      </a:lnTo>
                      <a:lnTo>
                        <a:pt x="32" y="20"/>
                      </a:lnTo>
                      <a:lnTo>
                        <a:pt x="36" y="16"/>
                      </a:lnTo>
                      <a:lnTo>
                        <a:pt x="36" y="12"/>
                      </a:lnTo>
                      <a:lnTo>
                        <a:pt x="36" y="16"/>
                      </a:lnTo>
                      <a:lnTo>
                        <a:pt x="36" y="12"/>
                      </a:lnTo>
                      <a:lnTo>
                        <a:pt x="40" y="12"/>
                      </a:lnTo>
                      <a:lnTo>
                        <a:pt x="44" y="12"/>
                      </a:lnTo>
                      <a:lnTo>
                        <a:pt x="48" y="8"/>
                      </a:lnTo>
                      <a:lnTo>
                        <a:pt x="52" y="8"/>
                      </a:lnTo>
                      <a:lnTo>
                        <a:pt x="52" y="4"/>
                      </a:lnTo>
                      <a:lnTo>
                        <a:pt x="56" y="4"/>
                      </a:lnTo>
                      <a:lnTo>
                        <a:pt x="60" y="4"/>
                      </a:lnTo>
                      <a:lnTo>
                        <a:pt x="60" y="0"/>
                      </a:lnTo>
                      <a:lnTo>
                        <a:pt x="62" y="0"/>
                      </a:lnTo>
                      <a:lnTo>
                        <a:pt x="66" y="0"/>
                      </a:lnTo>
                      <a:lnTo>
                        <a:pt x="70" y="0"/>
                      </a:lnTo>
                      <a:lnTo>
                        <a:pt x="70" y="4"/>
                      </a:lnTo>
                      <a:lnTo>
                        <a:pt x="74" y="4"/>
                      </a:lnTo>
                      <a:lnTo>
                        <a:pt x="76" y="4"/>
                      </a:lnTo>
                      <a:lnTo>
                        <a:pt x="80" y="4"/>
                      </a:lnTo>
                      <a:lnTo>
                        <a:pt x="80" y="0"/>
                      </a:lnTo>
                      <a:lnTo>
                        <a:pt x="84" y="4"/>
                      </a:lnTo>
                      <a:lnTo>
                        <a:pt x="88" y="4"/>
                      </a:lnTo>
                      <a:lnTo>
                        <a:pt x="92" y="4"/>
                      </a:lnTo>
                      <a:lnTo>
                        <a:pt x="92" y="8"/>
                      </a:lnTo>
                      <a:lnTo>
                        <a:pt x="88" y="12"/>
                      </a:lnTo>
                      <a:lnTo>
                        <a:pt x="92" y="16"/>
                      </a:lnTo>
                      <a:lnTo>
                        <a:pt x="92" y="20"/>
                      </a:lnTo>
                      <a:lnTo>
                        <a:pt x="88" y="24"/>
                      </a:lnTo>
                      <a:lnTo>
                        <a:pt x="88" y="26"/>
                      </a:lnTo>
                      <a:lnTo>
                        <a:pt x="84" y="30"/>
                      </a:lnTo>
                      <a:lnTo>
                        <a:pt x="88" y="34"/>
                      </a:lnTo>
                      <a:lnTo>
                        <a:pt x="92" y="34"/>
                      </a:lnTo>
                      <a:lnTo>
                        <a:pt x="88" y="34"/>
                      </a:lnTo>
                      <a:lnTo>
                        <a:pt x="84" y="34"/>
                      </a:lnTo>
                      <a:lnTo>
                        <a:pt x="80" y="34"/>
                      </a:lnTo>
                      <a:lnTo>
                        <a:pt x="76" y="34"/>
                      </a:lnTo>
                      <a:lnTo>
                        <a:pt x="74" y="34"/>
                      </a:lnTo>
                      <a:lnTo>
                        <a:pt x="70" y="34"/>
                      </a:lnTo>
                      <a:lnTo>
                        <a:pt x="66" y="34"/>
                      </a:lnTo>
                      <a:lnTo>
                        <a:pt x="66" y="38"/>
                      </a:lnTo>
                      <a:lnTo>
                        <a:pt x="62" y="38"/>
                      </a:lnTo>
                      <a:lnTo>
                        <a:pt x="62" y="42"/>
                      </a:lnTo>
                      <a:lnTo>
                        <a:pt x="60" y="42"/>
                      </a:lnTo>
                      <a:lnTo>
                        <a:pt x="60" y="46"/>
                      </a:lnTo>
                      <a:lnTo>
                        <a:pt x="62" y="46"/>
                      </a:lnTo>
                      <a:lnTo>
                        <a:pt x="62" y="50"/>
                      </a:lnTo>
                      <a:lnTo>
                        <a:pt x="66" y="50"/>
                      </a:lnTo>
                      <a:lnTo>
                        <a:pt x="70" y="50"/>
                      </a:lnTo>
                      <a:lnTo>
                        <a:pt x="70" y="52"/>
                      </a:lnTo>
                      <a:lnTo>
                        <a:pt x="66" y="52"/>
                      </a:lnTo>
                      <a:lnTo>
                        <a:pt x="62" y="52"/>
                      </a:lnTo>
                      <a:lnTo>
                        <a:pt x="60" y="50"/>
                      </a:lnTo>
                      <a:lnTo>
                        <a:pt x="56" y="50"/>
                      </a:lnTo>
                      <a:lnTo>
                        <a:pt x="52" y="50"/>
                      </a:lnTo>
                      <a:lnTo>
                        <a:pt x="52" y="52"/>
                      </a:lnTo>
                      <a:lnTo>
                        <a:pt x="52" y="56"/>
                      </a:lnTo>
                      <a:lnTo>
                        <a:pt x="56" y="56"/>
                      </a:lnTo>
                      <a:lnTo>
                        <a:pt x="60" y="56"/>
                      </a:lnTo>
                      <a:lnTo>
                        <a:pt x="60" y="60"/>
                      </a:lnTo>
                      <a:lnTo>
                        <a:pt x="62" y="64"/>
                      </a:lnTo>
                      <a:lnTo>
                        <a:pt x="62" y="68"/>
                      </a:lnTo>
                      <a:lnTo>
                        <a:pt x="66" y="72"/>
                      </a:lnTo>
                      <a:lnTo>
                        <a:pt x="66" y="76"/>
                      </a:lnTo>
                      <a:lnTo>
                        <a:pt x="66" y="80"/>
                      </a:lnTo>
                      <a:lnTo>
                        <a:pt x="70" y="80"/>
                      </a:lnTo>
                      <a:lnTo>
                        <a:pt x="74" y="82"/>
                      </a:lnTo>
                      <a:lnTo>
                        <a:pt x="74" y="86"/>
                      </a:lnTo>
                      <a:lnTo>
                        <a:pt x="74" y="82"/>
                      </a:lnTo>
                      <a:lnTo>
                        <a:pt x="76" y="82"/>
                      </a:lnTo>
                      <a:lnTo>
                        <a:pt x="80" y="86"/>
                      </a:lnTo>
                      <a:lnTo>
                        <a:pt x="84" y="86"/>
                      </a:lnTo>
                      <a:lnTo>
                        <a:pt x="84" y="90"/>
                      </a:lnTo>
                      <a:lnTo>
                        <a:pt x="84" y="94"/>
                      </a:lnTo>
                      <a:lnTo>
                        <a:pt x="80" y="94"/>
                      </a:lnTo>
                      <a:lnTo>
                        <a:pt x="80" y="96"/>
                      </a:lnTo>
                      <a:lnTo>
                        <a:pt x="80" y="100"/>
                      </a:lnTo>
                      <a:lnTo>
                        <a:pt x="80" y="104"/>
                      </a:lnTo>
                      <a:lnTo>
                        <a:pt x="80" y="108"/>
                      </a:lnTo>
                      <a:lnTo>
                        <a:pt x="84" y="108"/>
                      </a:lnTo>
                      <a:lnTo>
                        <a:pt x="80" y="108"/>
                      </a:lnTo>
                      <a:lnTo>
                        <a:pt x="80" y="112"/>
                      </a:lnTo>
                      <a:lnTo>
                        <a:pt x="84" y="112"/>
                      </a:lnTo>
                      <a:lnTo>
                        <a:pt x="84" y="116"/>
                      </a:lnTo>
                      <a:lnTo>
                        <a:pt x="88" y="120"/>
                      </a:lnTo>
                      <a:lnTo>
                        <a:pt x="88" y="116"/>
                      </a:lnTo>
                      <a:lnTo>
                        <a:pt x="84" y="112"/>
                      </a:lnTo>
                      <a:lnTo>
                        <a:pt x="88" y="112"/>
                      </a:lnTo>
                      <a:lnTo>
                        <a:pt x="88" y="108"/>
                      </a:lnTo>
                      <a:lnTo>
                        <a:pt x="84" y="108"/>
                      </a:lnTo>
                      <a:lnTo>
                        <a:pt x="88" y="104"/>
                      </a:lnTo>
                      <a:lnTo>
                        <a:pt x="88" y="100"/>
                      </a:lnTo>
                      <a:lnTo>
                        <a:pt x="92" y="100"/>
                      </a:lnTo>
                      <a:lnTo>
                        <a:pt x="96" y="96"/>
                      </a:lnTo>
                      <a:lnTo>
                        <a:pt x="100" y="96"/>
                      </a:lnTo>
                      <a:lnTo>
                        <a:pt x="104" y="100"/>
                      </a:lnTo>
                      <a:lnTo>
                        <a:pt x="104" y="104"/>
                      </a:lnTo>
                      <a:lnTo>
                        <a:pt x="104" y="108"/>
                      </a:lnTo>
                      <a:lnTo>
                        <a:pt x="104" y="112"/>
                      </a:lnTo>
                      <a:lnTo>
                        <a:pt x="106" y="112"/>
                      </a:lnTo>
                      <a:lnTo>
                        <a:pt x="106" y="116"/>
                      </a:lnTo>
                      <a:lnTo>
                        <a:pt x="110" y="116"/>
                      </a:lnTo>
                      <a:lnTo>
                        <a:pt x="114" y="120"/>
                      </a:lnTo>
                      <a:lnTo>
                        <a:pt x="114" y="122"/>
                      </a:lnTo>
                      <a:lnTo>
                        <a:pt x="110" y="122"/>
                      </a:lnTo>
                      <a:lnTo>
                        <a:pt x="106" y="122"/>
                      </a:lnTo>
                      <a:lnTo>
                        <a:pt x="106" y="126"/>
                      </a:lnTo>
                      <a:lnTo>
                        <a:pt x="110" y="126"/>
                      </a:lnTo>
                      <a:lnTo>
                        <a:pt x="106" y="126"/>
                      </a:lnTo>
                      <a:lnTo>
                        <a:pt x="104" y="126"/>
                      </a:lnTo>
                      <a:lnTo>
                        <a:pt x="100" y="126"/>
                      </a:lnTo>
                      <a:lnTo>
                        <a:pt x="100" y="122"/>
                      </a:lnTo>
                      <a:lnTo>
                        <a:pt x="96" y="122"/>
                      </a:lnTo>
                      <a:lnTo>
                        <a:pt x="96" y="126"/>
                      </a:lnTo>
                      <a:lnTo>
                        <a:pt x="96" y="122"/>
                      </a:lnTo>
                      <a:lnTo>
                        <a:pt x="92" y="122"/>
                      </a:lnTo>
                      <a:lnTo>
                        <a:pt x="88" y="122"/>
                      </a:lnTo>
                      <a:lnTo>
                        <a:pt x="88" y="120"/>
                      </a:lnTo>
                      <a:lnTo>
                        <a:pt x="88" y="122"/>
                      </a:lnTo>
                      <a:lnTo>
                        <a:pt x="88" y="126"/>
                      </a:lnTo>
                      <a:lnTo>
                        <a:pt x="84" y="126"/>
                      </a:lnTo>
                      <a:lnTo>
                        <a:pt x="88" y="126"/>
                      </a:lnTo>
                      <a:lnTo>
                        <a:pt x="84" y="126"/>
                      </a:lnTo>
                      <a:lnTo>
                        <a:pt x="84" y="130"/>
                      </a:lnTo>
                      <a:lnTo>
                        <a:pt x="84" y="134"/>
                      </a:lnTo>
                      <a:lnTo>
                        <a:pt x="84" y="138"/>
                      </a:lnTo>
                      <a:lnTo>
                        <a:pt x="84" y="142"/>
                      </a:lnTo>
                      <a:lnTo>
                        <a:pt x="88" y="142"/>
                      </a:lnTo>
                      <a:lnTo>
                        <a:pt x="88" y="146"/>
                      </a:lnTo>
                      <a:lnTo>
                        <a:pt x="88" y="142"/>
                      </a:lnTo>
                      <a:lnTo>
                        <a:pt x="88" y="138"/>
                      </a:lnTo>
                      <a:lnTo>
                        <a:pt x="88" y="142"/>
                      </a:lnTo>
                      <a:lnTo>
                        <a:pt x="92" y="142"/>
                      </a:lnTo>
                      <a:lnTo>
                        <a:pt x="96" y="138"/>
                      </a:lnTo>
                      <a:lnTo>
                        <a:pt x="96" y="142"/>
                      </a:lnTo>
                      <a:lnTo>
                        <a:pt x="96" y="146"/>
                      </a:lnTo>
                      <a:lnTo>
                        <a:pt x="100" y="146"/>
                      </a:lnTo>
                      <a:lnTo>
                        <a:pt x="100" y="150"/>
                      </a:lnTo>
                      <a:lnTo>
                        <a:pt x="96" y="150"/>
                      </a:lnTo>
                      <a:lnTo>
                        <a:pt x="92" y="150"/>
                      </a:lnTo>
                      <a:lnTo>
                        <a:pt x="92" y="146"/>
                      </a:lnTo>
                      <a:lnTo>
                        <a:pt x="92" y="150"/>
                      </a:lnTo>
                      <a:lnTo>
                        <a:pt x="92" y="152"/>
                      </a:lnTo>
                      <a:lnTo>
                        <a:pt x="92" y="156"/>
                      </a:lnTo>
                      <a:lnTo>
                        <a:pt x="92" y="152"/>
                      </a:lnTo>
                      <a:lnTo>
                        <a:pt x="96" y="152"/>
                      </a:lnTo>
                      <a:lnTo>
                        <a:pt x="100" y="156"/>
                      </a:lnTo>
                      <a:lnTo>
                        <a:pt x="104" y="160"/>
                      </a:lnTo>
                      <a:lnTo>
                        <a:pt x="104" y="164"/>
                      </a:lnTo>
                      <a:lnTo>
                        <a:pt x="100" y="164"/>
                      </a:lnTo>
                      <a:lnTo>
                        <a:pt x="100" y="168"/>
                      </a:lnTo>
                      <a:lnTo>
                        <a:pt x="100" y="172"/>
                      </a:lnTo>
                      <a:lnTo>
                        <a:pt x="100" y="176"/>
                      </a:lnTo>
                      <a:lnTo>
                        <a:pt x="100" y="178"/>
                      </a:lnTo>
                      <a:lnTo>
                        <a:pt x="100" y="182"/>
                      </a:lnTo>
                      <a:lnTo>
                        <a:pt x="100" y="186"/>
                      </a:lnTo>
                      <a:lnTo>
                        <a:pt x="104" y="190"/>
                      </a:lnTo>
                      <a:lnTo>
                        <a:pt x="104" y="194"/>
                      </a:lnTo>
                      <a:lnTo>
                        <a:pt x="104" y="198"/>
                      </a:lnTo>
                      <a:lnTo>
                        <a:pt x="104" y="202"/>
                      </a:lnTo>
                      <a:lnTo>
                        <a:pt x="100" y="202"/>
                      </a:lnTo>
                      <a:lnTo>
                        <a:pt x="96" y="202"/>
                      </a:lnTo>
                      <a:lnTo>
                        <a:pt x="100" y="198"/>
                      </a:lnTo>
                      <a:lnTo>
                        <a:pt x="100" y="202"/>
                      </a:lnTo>
                      <a:lnTo>
                        <a:pt x="100" y="198"/>
                      </a:lnTo>
                      <a:lnTo>
                        <a:pt x="104" y="198"/>
                      </a:lnTo>
                      <a:lnTo>
                        <a:pt x="100" y="198"/>
                      </a:lnTo>
                      <a:lnTo>
                        <a:pt x="96" y="198"/>
                      </a:lnTo>
                      <a:lnTo>
                        <a:pt x="92" y="202"/>
                      </a:lnTo>
                      <a:lnTo>
                        <a:pt x="88" y="202"/>
                      </a:lnTo>
                      <a:lnTo>
                        <a:pt x="84" y="202"/>
                      </a:lnTo>
                      <a:lnTo>
                        <a:pt x="80" y="202"/>
                      </a:lnTo>
                      <a:lnTo>
                        <a:pt x="76" y="206"/>
                      </a:lnTo>
                      <a:lnTo>
                        <a:pt x="74" y="206"/>
                      </a:lnTo>
                      <a:lnTo>
                        <a:pt x="70" y="206"/>
                      </a:lnTo>
                      <a:lnTo>
                        <a:pt x="66" y="206"/>
                      </a:lnTo>
                      <a:lnTo>
                        <a:pt x="66" y="202"/>
                      </a:lnTo>
                      <a:lnTo>
                        <a:pt x="62" y="202"/>
                      </a:lnTo>
                      <a:lnTo>
                        <a:pt x="60" y="202"/>
                      </a:lnTo>
                      <a:lnTo>
                        <a:pt x="56" y="198"/>
                      </a:lnTo>
                      <a:lnTo>
                        <a:pt x="52" y="194"/>
                      </a:lnTo>
                      <a:lnTo>
                        <a:pt x="52" y="190"/>
                      </a:lnTo>
                      <a:lnTo>
                        <a:pt x="48" y="190"/>
                      </a:lnTo>
                      <a:lnTo>
                        <a:pt x="44" y="190"/>
                      </a:lnTo>
                      <a:lnTo>
                        <a:pt x="40" y="186"/>
                      </a:lnTo>
                      <a:lnTo>
                        <a:pt x="36" y="186"/>
                      </a:lnTo>
                      <a:lnTo>
                        <a:pt x="32" y="186"/>
                      </a:lnTo>
                      <a:lnTo>
                        <a:pt x="32" y="182"/>
                      </a:lnTo>
                      <a:lnTo>
                        <a:pt x="32" y="178"/>
                      </a:lnTo>
                      <a:lnTo>
                        <a:pt x="30" y="172"/>
                      </a:lnTo>
                      <a:lnTo>
                        <a:pt x="30" y="168"/>
                      </a:lnTo>
                      <a:lnTo>
                        <a:pt x="30" y="164"/>
                      </a:lnTo>
                      <a:lnTo>
                        <a:pt x="32" y="160"/>
                      </a:lnTo>
                      <a:lnTo>
                        <a:pt x="32" y="156"/>
                      </a:lnTo>
                      <a:lnTo>
                        <a:pt x="36" y="156"/>
                      </a:lnTo>
                      <a:lnTo>
                        <a:pt x="32" y="156"/>
                      </a:lnTo>
                      <a:lnTo>
                        <a:pt x="32" y="160"/>
                      </a:lnTo>
                      <a:lnTo>
                        <a:pt x="36" y="160"/>
                      </a:lnTo>
                      <a:lnTo>
                        <a:pt x="36" y="156"/>
                      </a:lnTo>
                      <a:lnTo>
                        <a:pt x="36" y="156"/>
                      </a:lnTo>
                      <a:lnTo>
                        <a:pt x="36" y="15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3" name="Freeform 221"/>
                <p:cNvSpPr>
                  <a:spLocks/>
                </p:cNvSpPr>
                <p:nvPr/>
              </p:nvSpPr>
              <p:spPr bwMode="auto">
                <a:xfrm>
                  <a:off x="5702300" y="3213168"/>
                  <a:ext cx="82550" cy="114300"/>
                </a:xfrm>
                <a:custGeom>
                  <a:avLst/>
                  <a:gdLst>
                    <a:gd name="T0" fmla="*/ 40 w 52"/>
                    <a:gd name="T1" fmla="*/ 20 h 72"/>
                    <a:gd name="T2" fmla="*/ 36 w 52"/>
                    <a:gd name="T3" fmla="*/ 22 h 72"/>
                    <a:gd name="T4" fmla="*/ 40 w 52"/>
                    <a:gd name="T5" fmla="*/ 26 h 72"/>
                    <a:gd name="T6" fmla="*/ 44 w 52"/>
                    <a:gd name="T7" fmla="*/ 22 h 72"/>
                    <a:gd name="T8" fmla="*/ 40 w 52"/>
                    <a:gd name="T9" fmla="*/ 26 h 72"/>
                    <a:gd name="T10" fmla="*/ 44 w 52"/>
                    <a:gd name="T11" fmla="*/ 34 h 72"/>
                    <a:gd name="T12" fmla="*/ 52 w 52"/>
                    <a:gd name="T13" fmla="*/ 34 h 72"/>
                    <a:gd name="T14" fmla="*/ 48 w 52"/>
                    <a:gd name="T15" fmla="*/ 38 h 72"/>
                    <a:gd name="T16" fmla="*/ 48 w 52"/>
                    <a:gd name="T17" fmla="*/ 42 h 72"/>
                    <a:gd name="T18" fmla="*/ 44 w 52"/>
                    <a:gd name="T19" fmla="*/ 46 h 72"/>
                    <a:gd name="T20" fmla="*/ 40 w 52"/>
                    <a:gd name="T21" fmla="*/ 50 h 72"/>
                    <a:gd name="T22" fmla="*/ 40 w 52"/>
                    <a:gd name="T23" fmla="*/ 50 h 72"/>
                    <a:gd name="T24" fmla="*/ 40 w 52"/>
                    <a:gd name="T25" fmla="*/ 56 h 72"/>
                    <a:gd name="T26" fmla="*/ 36 w 52"/>
                    <a:gd name="T27" fmla="*/ 52 h 72"/>
                    <a:gd name="T28" fmla="*/ 32 w 52"/>
                    <a:gd name="T29" fmla="*/ 56 h 72"/>
                    <a:gd name="T30" fmla="*/ 36 w 52"/>
                    <a:gd name="T31" fmla="*/ 60 h 72"/>
                    <a:gd name="T32" fmla="*/ 40 w 52"/>
                    <a:gd name="T33" fmla="*/ 64 h 72"/>
                    <a:gd name="T34" fmla="*/ 32 w 52"/>
                    <a:gd name="T35" fmla="*/ 68 h 72"/>
                    <a:gd name="T36" fmla="*/ 28 w 52"/>
                    <a:gd name="T37" fmla="*/ 64 h 72"/>
                    <a:gd name="T38" fmla="*/ 26 w 52"/>
                    <a:gd name="T39" fmla="*/ 68 h 72"/>
                    <a:gd name="T40" fmla="*/ 22 w 52"/>
                    <a:gd name="T41" fmla="*/ 72 h 72"/>
                    <a:gd name="T42" fmla="*/ 18 w 52"/>
                    <a:gd name="T43" fmla="*/ 68 h 72"/>
                    <a:gd name="T44" fmla="*/ 18 w 52"/>
                    <a:gd name="T45" fmla="*/ 64 h 72"/>
                    <a:gd name="T46" fmla="*/ 14 w 52"/>
                    <a:gd name="T47" fmla="*/ 60 h 72"/>
                    <a:gd name="T48" fmla="*/ 10 w 52"/>
                    <a:gd name="T49" fmla="*/ 64 h 72"/>
                    <a:gd name="T50" fmla="*/ 6 w 52"/>
                    <a:gd name="T51" fmla="*/ 60 h 72"/>
                    <a:gd name="T52" fmla="*/ 6 w 52"/>
                    <a:gd name="T53" fmla="*/ 60 h 72"/>
                    <a:gd name="T54" fmla="*/ 10 w 52"/>
                    <a:gd name="T55" fmla="*/ 64 h 72"/>
                    <a:gd name="T56" fmla="*/ 4 w 52"/>
                    <a:gd name="T57" fmla="*/ 64 h 72"/>
                    <a:gd name="T58" fmla="*/ 0 w 52"/>
                    <a:gd name="T59" fmla="*/ 60 h 72"/>
                    <a:gd name="T60" fmla="*/ 0 w 52"/>
                    <a:gd name="T61" fmla="*/ 52 h 72"/>
                    <a:gd name="T62" fmla="*/ 0 w 52"/>
                    <a:gd name="T63" fmla="*/ 46 h 72"/>
                    <a:gd name="T64" fmla="*/ 0 w 52"/>
                    <a:gd name="T65" fmla="*/ 38 h 72"/>
                    <a:gd name="T66" fmla="*/ 4 w 52"/>
                    <a:gd name="T67" fmla="*/ 30 h 72"/>
                    <a:gd name="T68" fmla="*/ 4 w 52"/>
                    <a:gd name="T69" fmla="*/ 22 h 72"/>
                    <a:gd name="T70" fmla="*/ 6 w 52"/>
                    <a:gd name="T71" fmla="*/ 20 h 72"/>
                    <a:gd name="T72" fmla="*/ 14 w 52"/>
                    <a:gd name="T73" fmla="*/ 20 h 72"/>
                    <a:gd name="T74" fmla="*/ 14 w 52"/>
                    <a:gd name="T75" fmla="*/ 20 h 72"/>
                    <a:gd name="T76" fmla="*/ 14 w 52"/>
                    <a:gd name="T77" fmla="*/ 20 h 72"/>
                    <a:gd name="T78" fmla="*/ 18 w 52"/>
                    <a:gd name="T79" fmla="*/ 22 h 72"/>
                    <a:gd name="T80" fmla="*/ 18 w 52"/>
                    <a:gd name="T81" fmla="*/ 16 h 72"/>
                    <a:gd name="T82" fmla="*/ 22 w 52"/>
                    <a:gd name="T83" fmla="*/ 12 h 72"/>
                    <a:gd name="T84" fmla="*/ 26 w 52"/>
                    <a:gd name="T85" fmla="*/ 16 h 72"/>
                    <a:gd name="T86" fmla="*/ 22 w 52"/>
                    <a:gd name="T87" fmla="*/ 12 h 72"/>
                    <a:gd name="T88" fmla="*/ 22 w 52"/>
                    <a:gd name="T89" fmla="*/ 4 h 72"/>
                    <a:gd name="T90" fmla="*/ 28 w 52"/>
                    <a:gd name="T91" fmla="*/ 4 h 72"/>
                    <a:gd name="T92" fmla="*/ 32 w 52"/>
                    <a:gd name="T93" fmla="*/ 4 h 72"/>
                    <a:gd name="T94" fmla="*/ 32 w 52"/>
                    <a:gd name="T95" fmla="*/ 0 h 72"/>
                    <a:gd name="T96" fmla="*/ 36 w 52"/>
                    <a:gd name="T97" fmla="*/ 4 h 72"/>
                    <a:gd name="T98" fmla="*/ 40 w 52"/>
                    <a:gd name="T99" fmla="*/ 8 h 72"/>
                    <a:gd name="T100" fmla="*/ 44 w 52"/>
                    <a:gd name="T101" fmla="*/ 4 h 72"/>
                    <a:gd name="T102" fmla="*/ 48 w 52"/>
                    <a:gd name="T103" fmla="*/ 0 h 72"/>
                    <a:gd name="T104" fmla="*/ 48 w 52"/>
                    <a:gd name="T105" fmla="*/ 8 h 72"/>
                    <a:gd name="T106" fmla="*/ 40 w 52"/>
                    <a:gd name="T107" fmla="*/ 12 h 72"/>
                    <a:gd name="T108" fmla="*/ 36 w 52"/>
                    <a:gd name="T109" fmla="*/ 16 h 72"/>
                    <a:gd name="T110" fmla="*/ 36 w 52"/>
                    <a:gd name="T111" fmla="*/ 16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52" h="72">
                      <a:moveTo>
                        <a:pt x="36" y="16"/>
                      </a:moveTo>
                      <a:lnTo>
                        <a:pt x="40" y="20"/>
                      </a:lnTo>
                      <a:lnTo>
                        <a:pt x="40" y="22"/>
                      </a:lnTo>
                      <a:lnTo>
                        <a:pt x="36" y="22"/>
                      </a:lnTo>
                      <a:lnTo>
                        <a:pt x="36" y="26"/>
                      </a:lnTo>
                      <a:lnTo>
                        <a:pt x="40" y="26"/>
                      </a:lnTo>
                      <a:lnTo>
                        <a:pt x="40" y="22"/>
                      </a:lnTo>
                      <a:lnTo>
                        <a:pt x="44" y="22"/>
                      </a:lnTo>
                      <a:lnTo>
                        <a:pt x="44" y="26"/>
                      </a:lnTo>
                      <a:lnTo>
                        <a:pt x="40" y="26"/>
                      </a:lnTo>
                      <a:lnTo>
                        <a:pt x="44" y="30"/>
                      </a:lnTo>
                      <a:lnTo>
                        <a:pt x="44" y="34"/>
                      </a:lnTo>
                      <a:lnTo>
                        <a:pt x="48" y="34"/>
                      </a:lnTo>
                      <a:lnTo>
                        <a:pt x="52" y="34"/>
                      </a:lnTo>
                      <a:lnTo>
                        <a:pt x="48" y="34"/>
                      </a:lnTo>
                      <a:lnTo>
                        <a:pt x="48" y="38"/>
                      </a:lnTo>
                      <a:lnTo>
                        <a:pt x="52" y="38"/>
                      </a:lnTo>
                      <a:lnTo>
                        <a:pt x="48" y="42"/>
                      </a:lnTo>
                      <a:lnTo>
                        <a:pt x="44" y="42"/>
                      </a:lnTo>
                      <a:lnTo>
                        <a:pt x="44" y="46"/>
                      </a:lnTo>
                      <a:lnTo>
                        <a:pt x="40" y="46"/>
                      </a:lnTo>
                      <a:lnTo>
                        <a:pt x="40" y="50"/>
                      </a:lnTo>
                      <a:lnTo>
                        <a:pt x="40" y="52"/>
                      </a:lnTo>
                      <a:lnTo>
                        <a:pt x="40" y="50"/>
                      </a:lnTo>
                      <a:lnTo>
                        <a:pt x="40" y="52"/>
                      </a:lnTo>
                      <a:lnTo>
                        <a:pt x="40" y="56"/>
                      </a:lnTo>
                      <a:lnTo>
                        <a:pt x="40" y="52"/>
                      </a:lnTo>
                      <a:lnTo>
                        <a:pt x="36" y="52"/>
                      </a:lnTo>
                      <a:lnTo>
                        <a:pt x="36" y="56"/>
                      </a:lnTo>
                      <a:lnTo>
                        <a:pt x="32" y="56"/>
                      </a:lnTo>
                      <a:lnTo>
                        <a:pt x="32" y="60"/>
                      </a:lnTo>
                      <a:lnTo>
                        <a:pt x="36" y="60"/>
                      </a:lnTo>
                      <a:lnTo>
                        <a:pt x="40" y="60"/>
                      </a:lnTo>
                      <a:lnTo>
                        <a:pt x="40" y="64"/>
                      </a:lnTo>
                      <a:lnTo>
                        <a:pt x="36" y="64"/>
                      </a:lnTo>
                      <a:lnTo>
                        <a:pt x="32" y="68"/>
                      </a:lnTo>
                      <a:lnTo>
                        <a:pt x="32" y="64"/>
                      </a:lnTo>
                      <a:lnTo>
                        <a:pt x="28" y="64"/>
                      </a:lnTo>
                      <a:lnTo>
                        <a:pt x="28" y="68"/>
                      </a:lnTo>
                      <a:lnTo>
                        <a:pt x="26" y="68"/>
                      </a:lnTo>
                      <a:lnTo>
                        <a:pt x="22" y="68"/>
                      </a:lnTo>
                      <a:lnTo>
                        <a:pt x="22" y="72"/>
                      </a:lnTo>
                      <a:lnTo>
                        <a:pt x="22" y="68"/>
                      </a:lnTo>
                      <a:lnTo>
                        <a:pt x="18" y="68"/>
                      </a:lnTo>
                      <a:lnTo>
                        <a:pt x="22" y="64"/>
                      </a:lnTo>
                      <a:lnTo>
                        <a:pt x="18" y="64"/>
                      </a:lnTo>
                      <a:lnTo>
                        <a:pt x="14" y="64"/>
                      </a:lnTo>
                      <a:lnTo>
                        <a:pt x="14" y="60"/>
                      </a:lnTo>
                      <a:lnTo>
                        <a:pt x="14" y="64"/>
                      </a:lnTo>
                      <a:lnTo>
                        <a:pt x="10" y="64"/>
                      </a:lnTo>
                      <a:lnTo>
                        <a:pt x="10" y="60"/>
                      </a:lnTo>
                      <a:lnTo>
                        <a:pt x="6" y="60"/>
                      </a:lnTo>
                      <a:lnTo>
                        <a:pt x="10" y="60"/>
                      </a:lnTo>
                      <a:lnTo>
                        <a:pt x="6" y="60"/>
                      </a:lnTo>
                      <a:lnTo>
                        <a:pt x="10" y="60"/>
                      </a:lnTo>
                      <a:lnTo>
                        <a:pt x="10" y="64"/>
                      </a:lnTo>
                      <a:lnTo>
                        <a:pt x="6" y="64"/>
                      </a:lnTo>
                      <a:lnTo>
                        <a:pt x="4" y="64"/>
                      </a:lnTo>
                      <a:lnTo>
                        <a:pt x="0" y="64"/>
                      </a:lnTo>
                      <a:lnTo>
                        <a:pt x="0" y="60"/>
                      </a:lnTo>
                      <a:lnTo>
                        <a:pt x="4" y="56"/>
                      </a:lnTo>
                      <a:lnTo>
                        <a:pt x="0" y="52"/>
                      </a:lnTo>
                      <a:lnTo>
                        <a:pt x="0" y="50"/>
                      </a:lnTo>
                      <a:lnTo>
                        <a:pt x="0" y="46"/>
                      </a:lnTo>
                      <a:lnTo>
                        <a:pt x="0" y="42"/>
                      </a:lnTo>
                      <a:lnTo>
                        <a:pt x="0" y="38"/>
                      </a:lnTo>
                      <a:lnTo>
                        <a:pt x="0" y="34"/>
                      </a:lnTo>
                      <a:lnTo>
                        <a:pt x="4" y="30"/>
                      </a:lnTo>
                      <a:lnTo>
                        <a:pt x="4" y="26"/>
                      </a:lnTo>
                      <a:lnTo>
                        <a:pt x="4" y="22"/>
                      </a:lnTo>
                      <a:lnTo>
                        <a:pt x="6" y="22"/>
                      </a:lnTo>
                      <a:lnTo>
                        <a:pt x="6" y="20"/>
                      </a:lnTo>
                      <a:lnTo>
                        <a:pt x="10" y="20"/>
                      </a:lnTo>
                      <a:lnTo>
                        <a:pt x="14" y="20"/>
                      </a:lnTo>
                      <a:lnTo>
                        <a:pt x="14" y="16"/>
                      </a:lnTo>
                      <a:lnTo>
                        <a:pt x="14" y="20"/>
                      </a:lnTo>
                      <a:lnTo>
                        <a:pt x="18" y="20"/>
                      </a:lnTo>
                      <a:lnTo>
                        <a:pt x="14" y="20"/>
                      </a:lnTo>
                      <a:lnTo>
                        <a:pt x="14" y="22"/>
                      </a:lnTo>
                      <a:lnTo>
                        <a:pt x="18" y="22"/>
                      </a:lnTo>
                      <a:lnTo>
                        <a:pt x="18" y="20"/>
                      </a:lnTo>
                      <a:lnTo>
                        <a:pt x="18" y="16"/>
                      </a:lnTo>
                      <a:lnTo>
                        <a:pt x="18" y="12"/>
                      </a:lnTo>
                      <a:lnTo>
                        <a:pt x="22" y="12"/>
                      </a:lnTo>
                      <a:lnTo>
                        <a:pt x="22" y="16"/>
                      </a:lnTo>
                      <a:lnTo>
                        <a:pt x="26" y="16"/>
                      </a:lnTo>
                      <a:lnTo>
                        <a:pt x="26" y="12"/>
                      </a:lnTo>
                      <a:lnTo>
                        <a:pt x="22" y="12"/>
                      </a:lnTo>
                      <a:lnTo>
                        <a:pt x="22" y="8"/>
                      </a:lnTo>
                      <a:lnTo>
                        <a:pt x="22" y="4"/>
                      </a:lnTo>
                      <a:lnTo>
                        <a:pt x="26" y="4"/>
                      </a:lnTo>
                      <a:lnTo>
                        <a:pt x="28" y="4"/>
                      </a:lnTo>
                      <a:lnTo>
                        <a:pt x="32" y="8"/>
                      </a:lnTo>
                      <a:lnTo>
                        <a:pt x="32" y="4"/>
                      </a:lnTo>
                      <a:lnTo>
                        <a:pt x="28" y="4"/>
                      </a:lnTo>
                      <a:lnTo>
                        <a:pt x="32" y="0"/>
                      </a:lnTo>
                      <a:lnTo>
                        <a:pt x="36" y="0"/>
                      </a:lnTo>
                      <a:lnTo>
                        <a:pt x="36" y="4"/>
                      </a:lnTo>
                      <a:lnTo>
                        <a:pt x="36" y="8"/>
                      </a:lnTo>
                      <a:lnTo>
                        <a:pt x="40" y="8"/>
                      </a:lnTo>
                      <a:lnTo>
                        <a:pt x="40" y="4"/>
                      </a:lnTo>
                      <a:lnTo>
                        <a:pt x="44" y="4"/>
                      </a:lnTo>
                      <a:lnTo>
                        <a:pt x="44" y="0"/>
                      </a:lnTo>
                      <a:lnTo>
                        <a:pt x="48" y="0"/>
                      </a:lnTo>
                      <a:lnTo>
                        <a:pt x="48" y="4"/>
                      </a:lnTo>
                      <a:lnTo>
                        <a:pt x="48" y="8"/>
                      </a:lnTo>
                      <a:lnTo>
                        <a:pt x="44" y="12"/>
                      </a:lnTo>
                      <a:lnTo>
                        <a:pt x="40" y="12"/>
                      </a:lnTo>
                      <a:lnTo>
                        <a:pt x="40" y="16"/>
                      </a:lnTo>
                      <a:lnTo>
                        <a:pt x="36" y="16"/>
                      </a:lnTo>
                      <a:lnTo>
                        <a:pt x="36" y="16"/>
                      </a:lnTo>
                      <a:lnTo>
                        <a:pt x="36" y="1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4" name="Freeform 222"/>
                <p:cNvSpPr>
                  <a:spLocks noEditPoints="1"/>
                </p:cNvSpPr>
                <p:nvPr/>
              </p:nvSpPr>
              <p:spPr bwMode="auto">
                <a:xfrm>
                  <a:off x="2324100" y="3143318"/>
                  <a:ext cx="177800" cy="82550"/>
                </a:xfrm>
                <a:custGeom>
                  <a:avLst/>
                  <a:gdLst>
                    <a:gd name="T0" fmla="*/ 100 w 112"/>
                    <a:gd name="T1" fmla="*/ 52 h 52"/>
                    <a:gd name="T2" fmla="*/ 96 w 112"/>
                    <a:gd name="T3" fmla="*/ 48 h 52"/>
                    <a:gd name="T4" fmla="*/ 86 w 112"/>
                    <a:gd name="T5" fmla="*/ 48 h 52"/>
                    <a:gd name="T6" fmla="*/ 74 w 112"/>
                    <a:gd name="T7" fmla="*/ 52 h 52"/>
                    <a:gd name="T8" fmla="*/ 66 w 112"/>
                    <a:gd name="T9" fmla="*/ 48 h 52"/>
                    <a:gd name="T10" fmla="*/ 58 w 112"/>
                    <a:gd name="T11" fmla="*/ 44 h 52"/>
                    <a:gd name="T12" fmla="*/ 56 w 112"/>
                    <a:gd name="T13" fmla="*/ 40 h 52"/>
                    <a:gd name="T14" fmla="*/ 52 w 112"/>
                    <a:gd name="T15" fmla="*/ 48 h 52"/>
                    <a:gd name="T16" fmla="*/ 52 w 112"/>
                    <a:gd name="T17" fmla="*/ 38 h 52"/>
                    <a:gd name="T18" fmla="*/ 44 w 112"/>
                    <a:gd name="T19" fmla="*/ 40 h 52"/>
                    <a:gd name="T20" fmla="*/ 34 w 112"/>
                    <a:gd name="T21" fmla="*/ 44 h 52"/>
                    <a:gd name="T22" fmla="*/ 26 w 112"/>
                    <a:gd name="T23" fmla="*/ 52 h 52"/>
                    <a:gd name="T24" fmla="*/ 18 w 112"/>
                    <a:gd name="T25" fmla="*/ 44 h 52"/>
                    <a:gd name="T26" fmla="*/ 18 w 112"/>
                    <a:gd name="T27" fmla="*/ 40 h 52"/>
                    <a:gd name="T28" fmla="*/ 12 w 112"/>
                    <a:gd name="T29" fmla="*/ 44 h 52"/>
                    <a:gd name="T30" fmla="*/ 4 w 112"/>
                    <a:gd name="T31" fmla="*/ 48 h 52"/>
                    <a:gd name="T32" fmla="*/ 4 w 112"/>
                    <a:gd name="T33" fmla="*/ 44 h 52"/>
                    <a:gd name="T34" fmla="*/ 12 w 112"/>
                    <a:gd name="T35" fmla="*/ 38 h 52"/>
                    <a:gd name="T36" fmla="*/ 18 w 112"/>
                    <a:gd name="T37" fmla="*/ 30 h 52"/>
                    <a:gd name="T38" fmla="*/ 30 w 112"/>
                    <a:gd name="T39" fmla="*/ 26 h 52"/>
                    <a:gd name="T40" fmla="*/ 42 w 112"/>
                    <a:gd name="T41" fmla="*/ 18 h 52"/>
                    <a:gd name="T42" fmla="*/ 44 w 112"/>
                    <a:gd name="T43" fmla="*/ 10 h 52"/>
                    <a:gd name="T44" fmla="*/ 44 w 112"/>
                    <a:gd name="T45" fmla="*/ 14 h 52"/>
                    <a:gd name="T46" fmla="*/ 52 w 112"/>
                    <a:gd name="T47" fmla="*/ 10 h 52"/>
                    <a:gd name="T48" fmla="*/ 56 w 112"/>
                    <a:gd name="T49" fmla="*/ 4 h 52"/>
                    <a:gd name="T50" fmla="*/ 52 w 112"/>
                    <a:gd name="T51" fmla="*/ 10 h 52"/>
                    <a:gd name="T52" fmla="*/ 56 w 112"/>
                    <a:gd name="T53" fmla="*/ 6 h 52"/>
                    <a:gd name="T54" fmla="*/ 56 w 112"/>
                    <a:gd name="T55" fmla="*/ 4 h 52"/>
                    <a:gd name="T56" fmla="*/ 58 w 112"/>
                    <a:gd name="T57" fmla="*/ 4 h 52"/>
                    <a:gd name="T58" fmla="*/ 70 w 112"/>
                    <a:gd name="T59" fmla="*/ 6 h 52"/>
                    <a:gd name="T60" fmla="*/ 78 w 112"/>
                    <a:gd name="T61" fmla="*/ 6 h 52"/>
                    <a:gd name="T62" fmla="*/ 86 w 112"/>
                    <a:gd name="T63" fmla="*/ 10 h 52"/>
                    <a:gd name="T64" fmla="*/ 88 w 112"/>
                    <a:gd name="T65" fmla="*/ 18 h 52"/>
                    <a:gd name="T66" fmla="*/ 96 w 112"/>
                    <a:gd name="T67" fmla="*/ 22 h 52"/>
                    <a:gd name="T68" fmla="*/ 104 w 112"/>
                    <a:gd name="T69" fmla="*/ 26 h 52"/>
                    <a:gd name="T70" fmla="*/ 104 w 112"/>
                    <a:gd name="T71" fmla="*/ 34 h 52"/>
                    <a:gd name="T72" fmla="*/ 104 w 112"/>
                    <a:gd name="T73" fmla="*/ 38 h 52"/>
                    <a:gd name="T74" fmla="*/ 112 w 112"/>
                    <a:gd name="T75" fmla="*/ 44 h 52"/>
                    <a:gd name="T76" fmla="*/ 112 w 112"/>
                    <a:gd name="T77" fmla="*/ 48 h 52"/>
                    <a:gd name="T78" fmla="*/ 108 w 112"/>
                    <a:gd name="T79" fmla="*/ 52 h 52"/>
                    <a:gd name="T80" fmla="*/ 48 w 112"/>
                    <a:gd name="T81" fmla="*/ 18 h 52"/>
                    <a:gd name="T82" fmla="*/ 42 w 112"/>
                    <a:gd name="T83" fmla="*/ 26 h 52"/>
                    <a:gd name="T84" fmla="*/ 48 w 112"/>
                    <a:gd name="T85" fmla="*/ 22 h 52"/>
                    <a:gd name="T86" fmla="*/ 52 w 112"/>
                    <a:gd name="T87" fmla="*/ 18 h 52"/>
                    <a:gd name="T88" fmla="*/ 52 w 112"/>
                    <a:gd name="T89" fmla="*/ 40 h 52"/>
                    <a:gd name="T90" fmla="*/ 52 w 112"/>
                    <a:gd name="T91" fmla="*/ 40 h 52"/>
                    <a:gd name="T92" fmla="*/ 58 w 112"/>
                    <a:gd name="T93" fmla="*/ 38 h 52"/>
                    <a:gd name="T94" fmla="*/ 58 w 112"/>
                    <a:gd name="T95" fmla="*/ 34 h 52"/>
                    <a:gd name="T96" fmla="*/ 52 w 112"/>
                    <a:gd name="T97" fmla="*/ 38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12" h="52">
                      <a:moveTo>
                        <a:pt x="108" y="52"/>
                      </a:moveTo>
                      <a:lnTo>
                        <a:pt x="104" y="52"/>
                      </a:lnTo>
                      <a:lnTo>
                        <a:pt x="100" y="52"/>
                      </a:lnTo>
                      <a:lnTo>
                        <a:pt x="100" y="48"/>
                      </a:lnTo>
                      <a:lnTo>
                        <a:pt x="100" y="44"/>
                      </a:lnTo>
                      <a:lnTo>
                        <a:pt x="96" y="48"/>
                      </a:lnTo>
                      <a:lnTo>
                        <a:pt x="92" y="48"/>
                      </a:lnTo>
                      <a:lnTo>
                        <a:pt x="88" y="48"/>
                      </a:lnTo>
                      <a:lnTo>
                        <a:pt x="86" y="48"/>
                      </a:lnTo>
                      <a:lnTo>
                        <a:pt x="82" y="52"/>
                      </a:lnTo>
                      <a:lnTo>
                        <a:pt x="78" y="52"/>
                      </a:lnTo>
                      <a:lnTo>
                        <a:pt x="74" y="52"/>
                      </a:lnTo>
                      <a:lnTo>
                        <a:pt x="70" y="52"/>
                      </a:lnTo>
                      <a:lnTo>
                        <a:pt x="66" y="52"/>
                      </a:lnTo>
                      <a:lnTo>
                        <a:pt x="66" y="48"/>
                      </a:lnTo>
                      <a:lnTo>
                        <a:pt x="66" y="44"/>
                      </a:lnTo>
                      <a:lnTo>
                        <a:pt x="62" y="44"/>
                      </a:lnTo>
                      <a:lnTo>
                        <a:pt x="58" y="44"/>
                      </a:lnTo>
                      <a:lnTo>
                        <a:pt x="56" y="44"/>
                      </a:lnTo>
                      <a:lnTo>
                        <a:pt x="58" y="40"/>
                      </a:lnTo>
                      <a:lnTo>
                        <a:pt x="56" y="40"/>
                      </a:lnTo>
                      <a:lnTo>
                        <a:pt x="56" y="44"/>
                      </a:lnTo>
                      <a:lnTo>
                        <a:pt x="52" y="44"/>
                      </a:lnTo>
                      <a:lnTo>
                        <a:pt x="52" y="48"/>
                      </a:lnTo>
                      <a:lnTo>
                        <a:pt x="52" y="44"/>
                      </a:lnTo>
                      <a:lnTo>
                        <a:pt x="52" y="40"/>
                      </a:lnTo>
                      <a:lnTo>
                        <a:pt x="52" y="38"/>
                      </a:lnTo>
                      <a:lnTo>
                        <a:pt x="48" y="38"/>
                      </a:lnTo>
                      <a:lnTo>
                        <a:pt x="48" y="40"/>
                      </a:lnTo>
                      <a:lnTo>
                        <a:pt x="44" y="40"/>
                      </a:lnTo>
                      <a:lnTo>
                        <a:pt x="42" y="44"/>
                      </a:lnTo>
                      <a:lnTo>
                        <a:pt x="38" y="44"/>
                      </a:lnTo>
                      <a:lnTo>
                        <a:pt x="34" y="44"/>
                      </a:lnTo>
                      <a:lnTo>
                        <a:pt x="34" y="48"/>
                      </a:lnTo>
                      <a:lnTo>
                        <a:pt x="30" y="48"/>
                      </a:lnTo>
                      <a:lnTo>
                        <a:pt x="26" y="52"/>
                      </a:lnTo>
                      <a:lnTo>
                        <a:pt x="22" y="48"/>
                      </a:lnTo>
                      <a:lnTo>
                        <a:pt x="18" y="48"/>
                      </a:lnTo>
                      <a:lnTo>
                        <a:pt x="18" y="44"/>
                      </a:lnTo>
                      <a:lnTo>
                        <a:pt x="22" y="44"/>
                      </a:lnTo>
                      <a:lnTo>
                        <a:pt x="18" y="44"/>
                      </a:lnTo>
                      <a:lnTo>
                        <a:pt x="18" y="40"/>
                      </a:lnTo>
                      <a:lnTo>
                        <a:pt x="18" y="44"/>
                      </a:lnTo>
                      <a:lnTo>
                        <a:pt x="14" y="44"/>
                      </a:lnTo>
                      <a:lnTo>
                        <a:pt x="12" y="44"/>
                      </a:lnTo>
                      <a:lnTo>
                        <a:pt x="12" y="48"/>
                      </a:lnTo>
                      <a:lnTo>
                        <a:pt x="8" y="48"/>
                      </a:lnTo>
                      <a:lnTo>
                        <a:pt x="4" y="48"/>
                      </a:lnTo>
                      <a:lnTo>
                        <a:pt x="0" y="48"/>
                      </a:lnTo>
                      <a:lnTo>
                        <a:pt x="0" y="44"/>
                      </a:lnTo>
                      <a:lnTo>
                        <a:pt x="4" y="44"/>
                      </a:lnTo>
                      <a:lnTo>
                        <a:pt x="8" y="44"/>
                      </a:lnTo>
                      <a:lnTo>
                        <a:pt x="8" y="40"/>
                      </a:lnTo>
                      <a:lnTo>
                        <a:pt x="12" y="38"/>
                      </a:lnTo>
                      <a:lnTo>
                        <a:pt x="14" y="38"/>
                      </a:lnTo>
                      <a:lnTo>
                        <a:pt x="14" y="34"/>
                      </a:lnTo>
                      <a:lnTo>
                        <a:pt x="18" y="30"/>
                      </a:lnTo>
                      <a:lnTo>
                        <a:pt x="22" y="30"/>
                      </a:lnTo>
                      <a:lnTo>
                        <a:pt x="26" y="26"/>
                      </a:lnTo>
                      <a:lnTo>
                        <a:pt x="30" y="26"/>
                      </a:lnTo>
                      <a:lnTo>
                        <a:pt x="34" y="22"/>
                      </a:lnTo>
                      <a:lnTo>
                        <a:pt x="38" y="22"/>
                      </a:lnTo>
                      <a:lnTo>
                        <a:pt x="42" y="18"/>
                      </a:lnTo>
                      <a:lnTo>
                        <a:pt x="42" y="14"/>
                      </a:lnTo>
                      <a:lnTo>
                        <a:pt x="42" y="10"/>
                      </a:lnTo>
                      <a:lnTo>
                        <a:pt x="44" y="10"/>
                      </a:lnTo>
                      <a:lnTo>
                        <a:pt x="48" y="10"/>
                      </a:lnTo>
                      <a:lnTo>
                        <a:pt x="48" y="14"/>
                      </a:lnTo>
                      <a:lnTo>
                        <a:pt x="44" y="14"/>
                      </a:lnTo>
                      <a:lnTo>
                        <a:pt x="48" y="14"/>
                      </a:lnTo>
                      <a:lnTo>
                        <a:pt x="48" y="10"/>
                      </a:lnTo>
                      <a:lnTo>
                        <a:pt x="52" y="10"/>
                      </a:lnTo>
                      <a:lnTo>
                        <a:pt x="52" y="6"/>
                      </a:lnTo>
                      <a:lnTo>
                        <a:pt x="52" y="4"/>
                      </a:lnTo>
                      <a:lnTo>
                        <a:pt x="56" y="4"/>
                      </a:lnTo>
                      <a:lnTo>
                        <a:pt x="56" y="6"/>
                      </a:lnTo>
                      <a:lnTo>
                        <a:pt x="52" y="6"/>
                      </a:lnTo>
                      <a:lnTo>
                        <a:pt x="52" y="10"/>
                      </a:lnTo>
                      <a:lnTo>
                        <a:pt x="56" y="6"/>
                      </a:lnTo>
                      <a:lnTo>
                        <a:pt x="56" y="10"/>
                      </a:lnTo>
                      <a:lnTo>
                        <a:pt x="56" y="6"/>
                      </a:lnTo>
                      <a:lnTo>
                        <a:pt x="58" y="6"/>
                      </a:lnTo>
                      <a:lnTo>
                        <a:pt x="58" y="4"/>
                      </a:lnTo>
                      <a:lnTo>
                        <a:pt x="56" y="4"/>
                      </a:lnTo>
                      <a:lnTo>
                        <a:pt x="56" y="0"/>
                      </a:lnTo>
                      <a:lnTo>
                        <a:pt x="58" y="0"/>
                      </a:lnTo>
                      <a:lnTo>
                        <a:pt x="58" y="4"/>
                      </a:lnTo>
                      <a:lnTo>
                        <a:pt x="62" y="4"/>
                      </a:lnTo>
                      <a:lnTo>
                        <a:pt x="66" y="4"/>
                      </a:lnTo>
                      <a:lnTo>
                        <a:pt x="70" y="6"/>
                      </a:lnTo>
                      <a:lnTo>
                        <a:pt x="74" y="4"/>
                      </a:lnTo>
                      <a:lnTo>
                        <a:pt x="74" y="6"/>
                      </a:lnTo>
                      <a:lnTo>
                        <a:pt x="78" y="6"/>
                      </a:lnTo>
                      <a:lnTo>
                        <a:pt x="78" y="4"/>
                      </a:lnTo>
                      <a:lnTo>
                        <a:pt x="82" y="6"/>
                      </a:lnTo>
                      <a:lnTo>
                        <a:pt x="86" y="10"/>
                      </a:lnTo>
                      <a:lnTo>
                        <a:pt x="86" y="14"/>
                      </a:lnTo>
                      <a:lnTo>
                        <a:pt x="86" y="18"/>
                      </a:lnTo>
                      <a:lnTo>
                        <a:pt x="88" y="18"/>
                      </a:lnTo>
                      <a:lnTo>
                        <a:pt x="88" y="22"/>
                      </a:lnTo>
                      <a:lnTo>
                        <a:pt x="92" y="22"/>
                      </a:lnTo>
                      <a:lnTo>
                        <a:pt x="96" y="22"/>
                      </a:lnTo>
                      <a:lnTo>
                        <a:pt x="100" y="22"/>
                      </a:lnTo>
                      <a:lnTo>
                        <a:pt x="104" y="22"/>
                      </a:lnTo>
                      <a:lnTo>
                        <a:pt x="104" y="26"/>
                      </a:lnTo>
                      <a:lnTo>
                        <a:pt x="100" y="30"/>
                      </a:lnTo>
                      <a:lnTo>
                        <a:pt x="104" y="30"/>
                      </a:lnTo>
                      <a:lnTo>
                        <a:pt x="104" y="34"/>
                      </a:lnTo>
                      <a:lnTo>
                        <a:pt x="108" y="34"/>
                      </a:lnTo>
                      <a:lnTo>
                        <a:pt x="108" y="38"/>
                      </a:lnTo>
                      <a:lnTo>
                        <a:pt x="104" y="38"/>
                      </a:lnTo>
                      <a:lnTo>
                        <a:pt x="104" y="40"/>
                      </a:lnTo>
                      <a:lnTo>
                        <a:pt x="108" y="44"/>
                      </a:lnTo>
                      <a:lnTo>
                        <a:pt x="112" y="44"/>
                      </a:lnTo>
                      <a:lnTo>
                        <a:pt x="108" y="44"/>
                      </a:lnTo>
                      <a:lnTo>
                        <a:pt x="108" y="48"/>
                      </a:lnTo>
                      <a:lnTo>
                        <a:pt x="112" y="48"/>
                      </a:lnTo>
                      <a:lnTo>
                        <a:pt x="108" y="48"/>
                      </a:lnTo>
                      <a:lnTo>
                        <a:pt x="108" y="52"/>
                      </a:lnTo>
                      <a:lnTo>
                        <a:pt x="108" y="52"/>
                      </a:lnTo>
                      <a:lnTo>
                        <a:pt x="108" y="52"/>
                      </a:lnTo>
                      <a:close/>
                      <a:moveTo>
                        <a:pt x="52" y="18"/>
                      </a:moveTo>
                      <a:lnTo>
                        <a:pt x="48" y="18"/>
                      </a:lnTo>
                      <a:lnTo>
                        <a:pt x="44" y="22"/>
                      </a:lnTo>
                      <a:lnTo>
                        <a:pt x="42" y="22"/>
                      </a:lnTo>
                      <a:lnTo>
                        <a:pt x="42" y="26"/>
                      </a:lnTo>
                      <a:lnTo>
                        <a:pt x="44" y="26"/>
                      </a:lnTo>
                      <a:lnTo>
                        <a:pt x="44" y="22"/>
                      </a:lnTo>
                      <a:lnTo>
                        <a:pt x="48" y="22"/>
                      </a:lnTo>
                      <a:lnTo>
                        <a:pt x="52" y="22"/>
                      </a:lnTo>
                      <a:lnTo>
                        <a:pt x="52" y="18"/>
                      </a:lnTo>
                      <a:lnTo>
                        <a:pt x="52" y="18"/>
                      </a:lnTo>
                      <a:lnTo>
                        <a:pt x="52" y="18"/>
                      </a:lnTo>
                      <a:close/>
                      <a:moveTo>
                        <a:pt x="52" y="38"/>
                      </a:moveTo>
                      <a:lnTo>
                        <a:pt x="52" y="40"/>
                      </a:lnTo>
                      <a:lnTo>
                        <a:pt x="52" y="38"/>
                      </a:lnTo>
                      <a:lnTo>
                        <a:pt x="56" y="38"/>
                      </a:lnTo>
                      <a:lnTo>
                        <a:pt x="52" y="40"/>
                      </a:lnTo>
                      <a:lnTo>
                        <a:pt x="56" y="40"/>
                      </a:lnTo>
                      <a:lnTo>
                        <a:pt x="56" y="38"/>
                      </a:lnTo>
                      <a:lnTo>
                        <a:pt x="58" y="38"/>
                      </a:lnTo>
                      <a:lnTo>
                        <a:pt x="58" y="34"/>
                      </a:lnTo>
                      <a:lnTo>
                        <a:pt x="62" y="34"/>
                      </a:lnTo>
                      <a:lnTo>
                        <a:pt x="58" y="34"/>
                      </a:lnTo>
                      <a:lnTo>
                        <a:pt x="56" y="34"/>
                      </a:lnTo>
                      <a:lnTo>
                        <a:pt x="52" y="34"/>
                      </a:lnTo>
                      <a:lnTo>
                        <a:pt x="52" y="38"/>
                      </a:lnTo>
                      <a:lnTo>
                        <a:pt x="52" y="38"/>
                      </a:lnTo>
                      <a:lnTo>
                        <a:pt x="52" y="3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5" name="Freeform 223"/>
                <p:cNvSpPr>
                  <a:spLocks noEditPoints="1"/>
                </p:cNvSpPr>
                <p:nvPr/>
              </p:nvSpPr>
              <p:spPr bwMode="auto">
                <a:xfrm>
                  <a:off x="2416175" y="3235393"/>
                  <a:ext cx="73025" cy="142875"/>
                </a:xfrm>
                <a:custGeom>
                  <a:avLst/>
                  <a:gdLst>
                    <a:gd name="T0" fmla="*/ 46 w 46"/>
                    <a:gd name="T1" fmla="*/ 8 h 90"/>
                    <a:gd name="T2" fmla="*/ 46 w 46"/>
                    <a:gd name="T3" fmla="*/ 8 h 90"/>
                    <a:gd name="T4" fmla="*/ 42 w 46"/>
                    <a:gd name="T5" fmla="*/ 12 h 90"/>
                    <a:gd name="T6" fmla="*/ 42 w 46"/>
                    <a:gd name="T7" fmla="*/ 16 h 90"/>
                    <a:gd name="T8" fmla="*/ 46 w 46"/>
                    <a:gd name="T9" fmla="*/ 16 h 90"/>
                    <a:gd name="T10" fmla="*/ 42 w 46"/>
                    <a:gd name="T11" fmla="*/ 16 h 90"/>
                    <a:gd name="T12" fmla="*/ 38 w 46"/>
                    <a:gd name="T13" fmla="*/ 20 h 90"/>
                    <a:gd name="T14" fmla="*/ 34 w 46"/>
                    <a:gd name="T15" fmla="*/ 28 h 90"/>
                    <a:gd name="T16" fmla="*/ 34 w 46"/>
                    <a:gd name="T17" fmla="*/ 28 h 90"/>
                    <a:gd name="T18" fmla="*/ 38 w 46"/>
                    <a:gd name="T19" fmla="*/ 24 h 90"/>
                    <a:gd name="T20" fmla="*/ 34 w 46"/>
                    <a:gd name="T21" fmla="*/ 28 h 90"/>
                    <a:gd name="T22" fmla="*/ 34 w 46"/>
                    <a:gd name="T23" fmla="*/ 24 h 90"/>
                    <a:gd name="T24" fmla="*/ 34 w 46"/>
                    <a:gd name="T25" fmla="*/ 20 h 90"/>
                    <a:gd name="T26" fmla="*/ 34 w 46"/>
                    <a:gd name="T27" fmla="*/ 24 h 90"/>
                    <a:gd name="T28" fmla="*/ 30 w 46"/>
                    <a:gd name="T29" fmla="*/ 24 h 90"/>
                    <a:gd name="T30" fmla="*/ 26 w 46"/>
                    <a:gd name="T31" fmla="*/ 28 h 90"/>
                    <a:gd name="T32" fmla="*/ 26 w 46"/>
                    <a:gd name="T33" fmla="*/ 30 h 90"/>
                    <a:gd name="T34" fmla="*/ 24 w 46"/>
                    <a:gd name="T35" fmla="*/ 42 h 90"/>
                    <a:gd name="T36" fmla="*/ 24 w 46"/>
                    <a:gd name="T37" fmla="*/ 50 h 90"/>
                    <a:gd name="T38" fmla="*/ 24 w 46"/>
                    <a:gd name="T39" fmla="*/ 50 h 90"/>
                    <a:gd name="T40" fmla="*/ 26 w 46"/>
                    <a:gd name="T41" fmla="*/ 64 h 90"/>
                    <a:gd name="T42" fmla="*/ 26 w 46"/>
                    <a:gd name="T43" fmla="*/ 76 h 90"/>
                    <a:gd name="T44" fmla="*/ 20 w 46"/>
                    <a:gd name="T45" fmla="*/ 82 h 90"/>
                    <a:gd name="T46" fmla="*/ 12 w 46"/>
                    <a:gd name="T47" fmla="*/ 90 h 90"/>
                    <a:gd name="T48" fmla="*/ 8 w 46"/>
                    <a:gd name="T49" fmla="*/ 90 h 90"/>
                    <a:gd name="T50" fmla="*/ 4 w 46"/>
                    <a:gd name="T51" fmla="*/ 82 h 90"/>
                    <a:gd name="T52" fmla="*/ 4 w 46"/>
                    <a:gd name="T53" fmla="*/ 76 h 90"/>
                    <a:gd name="T54" fmla="*/ 4 w 46"/>
                    <a:gd name="T55" fmla="*/ 68 h 90"/>
                    <a:gd name="T56" fmla="*/ 4 w 46"/>
                    <a:gd name="T57" fmla="*/ 62 h 90"/>
                    <a:gd name="T58" fmla="*/ 4 w 46"/>
                    <a:gd name="T59" fmla="*/ 58 h 90"/>
                    <a:gd name="T60" fmla="*/ 4 w 46"/>
                    <a:gd name="T61" fmla="*/ 54 h 90"/>
                    <a:gd name="T62" fmla="*/ 4 w 46"/>
                    <a:gd name="T63" fmla="*/ 46 h 90"/>
                    <a:gd name="T64" fmla="*/ 8 w 46"/>
                    <a:gd name="T65" fmla="*/ 42 h 90"/>
                    <a:gd name="T66" fmla="*/ 8 w 46"/>
                    <a:gd name="T67" fmla="*/ 38 h 90"/>
                    <a:gd name="T68" fmla="*/ 8 w 46"/>
                    <a:gd name="T69" fmla="*/ 34 h 90"/>
                    <a:gd name="T70" fmla="*/ 8 w 46"/>
                    <a:gd name="T71" fmla="*/ 30 h 90"/>
                    <a:gd name="T72" fmla="*/ 4 w 46"/>
                    <a:gd name="T73" fmla="*/ 28 h 90"/>
                    <a:gd name="T74" fmla="*/ 0 w 46"/>
                    <a:gd name="T75" fmla="*/ 34 h 90"/>
                    <a:gd name="T76" fmla="*/ 4 w 46"/>
                    <a:gd name="T77" fmla="*/ 24 h 90"/>
                    <a:gd name="T78" fmla="*/ 4 w 46"/>
                    <a:gd name="T79" fmla="*/ 24 h 90"/>
                    <a:gd name="T80" fmla="*/ 12 w 46"/>
                    <a:gd name="T81" fmla="*/ 16 h 90"/>
                    <a:gd name="T82" fmla="*/ 16 w 46"/>
                    <a:gd name="T83" fmla="*/ 4 h 90"/>
                    <a:gd name="T84" fmla="*/ 16 w 46"/>
                    <a:gd name="T85" fmla="*/ 8 h 90"/>
                    <a:gd name="T86" fmla="*/ 24 w 46"/>
                    <a:gd name="T87" fmla="*/ 4 h 90"/>
                    <a:gd name="T88" fmla="*/ 20 w 46"/>
                    <a:gd name="T89" fmla="*/ 8 h 90"/>
                    <a:gd name="T90" fmla="*/ 20 w 46"/>
                    <a:gd name="T91" fmla="*/ 12 h 90"/>
                    <a:gd name="T92" fmla="*/ 20 w 46"/>
                    <a:gd name="T93" fmla="*/ 8 h 90"/>
                    <a:gd name="T94" fmla="*/ 24 w 46"/>
                    <a:gd name="T95" fmla="*/ 4 h 90"/>
                    <a:gd name="T96" fmla="*/ 34 w 46"/>
                    <a:gd name="T97" fmla="*/ 4 h 90"/>
                    <a:gd name="T98" fmla="*/ 34 w 46"/>
                    <a:gd name="T99" fmla="*/ 0 h 90"/>
                    <a:gd name="T100" fmla="*/ 42 w 46"/>
                    <a:gd name="T101" fmla="*/ 4 h 90"/>
                    <a:gd name="T102" fmla="*/ 46 w 46"/>
                    <a:gd name="T103" fmla="*/ 8 h 90"/>
                    <a:gd name="T104" fmla="*/ 12 w 46"/>
                    <a:gd name="T105" fmla="*/ 20 h 90"/>
                    <a:gd name="T106" fmla="*/ 8 w 46"/>
                    <a:gd name="T107" fmla="*/ 24 h 90"/>
                    <a:gd name="T108" fmla="*/ 12 w 46"/>
                    <a:gd name="T109" fmla="*/ 28 h 90"/>
                    <a:gd name="T110" fmla="*/ 12 w 46"/>
                    <a:gd name="T111" fmla="*/ 24 h 90"/>
                    <a:gd name="T112" fmla="*/ 16 w 46"/>
                    <a:gd name="T113" fmla="*/ 20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46" h="90">
                      <a:moveTo>
                        <a:pt x="46" y="8"/>
                      </a:move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2" y="16"/>
                      </a:lnTo>
                      <a:lnTo>
                        <a:pt x="42" y="16"/>
                      </a:lnTo>
                      <a:lnTo>
                        <a:pt x="42" y="16"/>
                      </a:lnTo>
                      <a:lnTo>
                        <a:pt x="42" y="16"/>
                      </a:lnTo>
                      <a:lnTo>
                        <a:pt x="42" y="16"/>
                      </a:lnTo>
                      <a:lnTo>
                        <a:pt x="46" y="16"/>
                      </a:lnTo>
                      <a:lnTo>
                        <a:pt x="46" y="16"/>
                      </a:lnTo>
                      <a:lnTo>
                        <a:pt x="46" y="16"/>
                      </a:lnTo>
                      <a:lnTo>
                        <a:pt x="46" y="16"/>
                      </a:lnTo>
                      <a:lnTo>
                        <a:pt x="46" y="16"/>
                      </a:lnTo>
                      <a:lnTo>
                        <a:pt x="46" y="16"/>
                      </a:lnTo>
                      <a:lnTo>
                        <a:pt x="46" y="16"/>
                      </a:lnTo>
                      <a:lnTo>
                        <a:pt x="42" y="16"/>
                      </a:lnTo>
                      <a:lnTo>
                        <a:pt x="42" y="16"/>
                      </a:lnTo>
                      <a:lnTo>
                        <a:pt x="42" y="16"/>
                      </a:lnTo>
                      <a:lnTo>
                        <a:pt x="42" y="16"/>
                      </a:lnTo>
                      <a:lnTo>
                        <a:pt x="42" y="16"/>
                      </a:lnTo>
                      <a:lnTo>
                        <a:pt x="42" y="16"/>
                      </a:lnTo>
                      <a:lnTo>
                        <a:pt x="42" y="16"/>
                      </a:lnTo>
                      <a:lnTo>
                        <a:pt x="42" y="16"/>
                      </a:lnTo>
                      <a:lnTo>
                        <a:pt x="38" y="16"/>
                      </a:lnTo>
                      <a:lnTo>
                        <a:pt x="38" y="16"/>
                      </a:lnTo>
                      <a:lnTo>
                        <a:pt x="38" y="20"/>
                      </a:lnTo>
                      <a:lnTo>
                        <a:pt x="38" y="20"/>
                      </a:lnTo>
                      <a:lnTo>
                        <a:pt x="38" y="20"/>
                      </a:lnTo>
                      <a:lnTo>
                        <a:pt x="38" y="20"/>
                      </a:lnTo>
                      <a:lnTo>
                        <a:pt x="38" y="20"/>
                      </a:lnTo>
                      <a:lnTo>
                        <a:pt x="38" y="20"/>
                      </a:lnTo>
                      <a:lnTo>
                        <a:pt x="38" y="20"/>
                      </a:lnTo>
                      <a:lnTo>
                        <a:pt x="38" y="24"/>
                      </a:lnTo>
                      <a:lnTo>
                        <a:pt x="38" y="24"/>
                      </a:lnTo>
                      <a:lnTo>
                        <a:pt x="38" y="24"/>
                      </a:lnTo>
                      <a:lnTo>
                        <a:pt x="38" y="24"/>
                      </a:lnTo>
                      <a:lnTo>
                        <a:pt x="38" y="24"/>
                      </a:lnTo>
                      <a:lnTo>
                        <a:pt x="38" y="24"/>
                      </a:lnTo>
                      <a:lnTo>
                        <a:pt x="34" y="28"/>
                      </a:lnTo>
                      <a:lnTo>
                        <a:pt x="34" y="28"/>
                      </a:lnTo>
                      <a:lnTo>
                        <a:pt x="34" y="28"/>
                      </a:lnTo>
                      <a:lnTo>
                        <a:pt x="34" y="28"/>
                      </a:lnTo>
                      <a:lnTo>
                        <a:pt x="34" y="28"/>
                      </a:lnTo>
                      <a:lnTo>
                        <a:pt x="34" y="28"/>
                      </a:lnTo>
                      <a:lnTo>
                        <a:pt x="34" y="28"/>
                      </a:lnTo>
                      <a:lnTo>
                        <a:pt x="34" y="28"/>
                      </a:lnTo>
                      <a:lnTo>
                        <a:pt x="34" y="28"/>
                      </a:lnTo>
                      <a:lnTo>
                        <a:pt x="34" y="28"/>
                      </a:lnTo>
                      <a:lnTo>
                        <a:pt x="38" y="28"/>
                      </a:lnTo>
                      <a:lnTo>
                        <a:pt x="38" y="24"/>
                      </a:lnTo>
                      <a:lnTo>
                        <a:pt x="38" y="24"/>
                      </a:lnTo>
                      <a:lnTo>
                        <a:pt x="38" y="24"/>
                      </a:lnTo>
                      <a:lnTo>
                        <a:pt x="38" y="24"/>
                      </a:lnTo>
                      <a:lnTo>
                        <a:pt x="38" y="24"/>
                      </a:lnTo>
                      <a:lnTo>
                        <a:pt x="38" y="24"/>
                      </a:lnTo>
                      <a:lnTo>
                        <a:pt x="34" y="24"/>
                      </a:lnTo>
                      <a:lnTo>
                        <a:pt x="34" y="24"/>
                      </a:lnTo>
                      <a:lnTo>
                        <a:pt x="34" y="28"/>
                      </a:lnTo>
                      <a:lnTo>
                        <a:pt x="34" y="28"/>
                      </a:lnTo>
                      <a:lnTo>
                        <a:pt x="34" y="28"/>
                      </a:lnTo>
                      <a:lnTo>
                        <a:pt x="34" y="28"/>
                      </a:lnTo>
                      <a:lnTo>
                        <a:pt x="34" y="28"/>
                      </a:lnTo>
                      <a:lnTo>
                        <a:pt x="34" y="28"/>
                      </a:lnTo>
                      <a:lnTo>
                        <a:pt x="34" y="28"/>
                      </a:lnTo>
                      <a:lnTo>
                        <a:pt x="34" y="28"/>
                      </a:lnTo>
                      <a:lnTo>
                        <a:pt x="34" y="28"/>
                      </a:lnTo>
                      <a:lnTo>
                        <a:pt x="34" y="28"/>
                      </a:lnTo>
                      <a:lnTo>
                        <a:pt x="34" y="28"/>
                      </a:lnTo>
                      <a:lnTo>
                        <a:pt x="34" y="28"/>
                      </a:lnTo>
                      <a:lnTo>
                        <a:pt x="34" y="24"/>
                      </a:lnTo>
                      <a:lnTo>
                        <a:pt x="34" y="24"/>
                      </a:lnTo>
                      <a:lnTo>
                        <a:pt x="34" y="24"/>
                      </a:lnTo>
                      <a:lnTo>
                        <a:pt x="34" y="24"/>
                      </a:lnTo>
                      <a:lnTo>
                        <a:pt x="34" y="24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4" y="24"/>
                      </a:lnTo>
                      <a:lnTo>
                        <a:pt x="34" y="24"/>
                      </a:lnTo>
                      <a:lnTo>
                        <a:pt x="34" y="24"/>
                      </a:lnTo>
                      <a:lnTo>
                        <a:pt x="30" y="24"/>
                      </a:lnTo>
                      <a:lnTo>
                        <a:pt x="30" y="24"/>
                      </a:lnTo>
                      <a:lnTo>
                        <a:pt x="30" y="24"/>
                      </a:lnTo>
                      <a:lnTo>
                        <a:pt x="30" y="24"/>
                      </a:lnTo>
                      <a:lnTo>
                        <a:pt x="30" y="24"/>
                      </a:lnTo>
                      <a:lnTo>
                        <a:pt x="30" y="24"/>
                      </a:lnTo>
                      <a:lnTo>
                        <a:pt x="30" y="24"/>
                      </a:lnTo>
                      <a:lnTo>
                        <a:pt x="30" y="24"/>
                      </a:lnTo>
                      <a:lnTo>
                        <a:pt x="30" y="24"/>
                      </a:lnTo>
                      <a:lnTo>
                        <a:pt x="26" y="24"/>
                      </a:lnTo>
                      <a:lnTo>
                        <a:pt x="26" y="28"/>
                      </a:lnTo>
                      <a:lnTo>
                        <a:pt x="26" y="28"/>
                      </a:lnTo>
                      <a:lnTo>
                        <a:pt x="26" y="28"/>
                      </a:lnTo>
                      <a:lnTo>
                        <a:pt x="26" y="28"/>
                      </a:lnTo>
                      <a:lnTo>
                        <a:pt x="26" y="28"/>
                      </a:lnTo>
                      <a:lnTo>
                        <a:pt x="26" y="28"/>
                      </a:lnTo>
                      <a:lnTo>
                        <a:pt x="26" y="28"/>
                      </a:lnTo>
                      <a:lnTo>
                        <a:pt x="26" y="28"/>
                      </a:lnTo>
                      <a:lnTo>
                        <a:pt x="26" y="28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6" y="34"/>
                      </a:lnTo>
                      <a:lnTo>
                        <a:pt x="26" y="34"/>
                      </a:lnTo>
                      <a:lnTo>
                        <a:pt x="26" y="34"/>
                      </a:lnTo>
                      <a:lnTo>
                        <a:pt x="26" y="38"/>
                      </a:lnTo>
                      <a:lnTo>
                        <a:pt x="24" y="38"/>
                      </a:lnTo>
                      <a:lnTo>
                        <a:pt x="24" y="42"/>
                      </a:lnTo>
                      <a:lnTo>
                        <a:pt x="24" y="42"/>
                      </a:lnTo>
                      <a:lnTo>
                        <a:pt x="24" y="42"/>
                      </a:lnTo>
                      <a:lnTo>
                        <a:pt x="24" y="42"/>
                      </a:lnTo>
                      <a:lnTo>
                        <a:pt x="24" y="42"/>
                      </a:lnTo>
                      <a:lnTo>
                        <a:pt x="24" y="42"/>
                      </a:lnTo>
                      <a:lnTo>
                        <a:pt x="24" y="42"/>
                      </a:lnTo>
                      <a:lnTo>
                        <a:pt x="24" y="46"/>
                      </a:lnTo>
                      <a:lnTo>
                        <a:pt x="24" y="46"/>
                      </a:lnTo>
                      <a:lnTo>
                        <a:pt x="24" y="50"/>
                      </a:lnTo>
                      <a:lnTo>
                        <a:pt x="24" y="50"/>
                      </a:lnTo>
                      <a:lnTo>
                        <a:pt x="24" y="50"/>
                      </a:lnTo>
                      <a:lnTo>
                        <a:pt x="24" y="50"/>
                      </a:lnTo>
                      <a:lnTo>
                        <a:pt x="24" y="50"/>
                      </a:lnTo>
                      <a:lnTo>
                        <a:pt x="24" y="50"/>
                      </a:lnTo>
                      <a:lnTo>
                        <a:pt x="24" y="50"/>
                      </a:lnTo>
                      <a:lnTo>
                        <a:pt x="24" y="50"/>
                      </a:lnTo>
                      <a:lnTo>
                        <a:pt x="24" y="50"/>
                      </a:lnTo>
                      <a:lnTo>
                        <a:pt x="24" y="50"/>
                      </a:lnTo>
                      <a:lnTo>
                        <a:pt x="24" y="54"/>
                      </a:lnTo>
                      <a:lnTo>
                        <a:pt x="24" y="58"/>
                      </a:lnTo>
                      <a:lnTo>
                        <a:pt x="24" y="58"/>
                      </a:lnTo>
                      <a:lnTo>
                        <a:pt x="24" y="58"/>
                      </a:lnTo>
                      <a:lnTo>
                        <a:pt x="24" y="62"/>
                      </a:lnTo>
                      <a:lnTo>
                        <a:pt x="26" y="64"/>
                      </a:lnTo>
                      <a:lnTo>
                        <a:pt x="26" y="64"/>
                      </a:lnTo>
                      <a:lnTo>
                        <a:pt x="26" y="68"/>
                      </a:lnTo>
                      <a:lnTo>
                        <a:pt x="26" y="68"/>
                      </a:lnTo>
                      <a:lnTo>
                        <a:pt x="26" y="68"/>
                      </a:lnTo>
                      <a:lnTo>
                        <a:pt x="26" y="72"/>
                      </a:lnTo>
                      <a:lnTo>
                        <a:pt x="26" y="72"/>
                      </a:lnTo>
                      <a:lnTo>
                        <a:pt x="26" y="72"/>
                      </a:lnTo>
                      <a:lnTo>
                        <a:pt x="26" y="76"/>
                      </a:lnTo>
                      <a:lnTo>
                        <a:pt x="26" y="76"/>
                      </a:lnTo>
                      <a:lnTo>
                        <a:pt x="24" y="76"/>
                      </a:lnTo>
                      <a:lnTo>
                        <a:pt x="24" y="76"/>
                      </a:lnTo>
                      <a:lnTo>
                        <a:pt x="24" y="78"/>
                      </a:lnTo>
                      <a:lnTo>
                        <a:pt x="24" y="78"/>
                      </a:lnTo>
                      <a:lnTo>
                        <a:pt x="24" y="82"/>
                      </a:lnTo>
                      <a:lnTo>
                        <a:pt x="24" y="82"/>
                      </a:lnTo>
                      <a:lnTo>
                        <a:pt x="20" y="82"/>
                      </a:lnTo>
                      <a:lnTo>
                        <a:pt x="20" y="82"/>
                      </a:lnTo>
                      <a:lnTo>
                        <a:pt x="20" y="82"/>
                      </a:lnTo>
                      <a:lnTo>
                        <a:pt x="20" y="86"/>
                      </a:lnTo>
                      <a:lnTo>
                        <a:pt x="20" y="86"/>
                      </a:lnTo>
                      <a:lnTo>
                        <a:pt x="20" y="86"/>
                      </a:lnTo>
                      <a:lnTo>
                        <a:pt x="20" y="86"/>
                      </a:lnTo>
                      <a:lnTo>
                        <a:pt x="16" y="90"/>
                      </a:lnTo>
                      <a:lnTo>
                        <a:pt x="16" y="90"/>
                      </a:lnTo>
                      <a:lnTo>
                        <a:pt x="12" y="90"/>
                      </a:lnTo>
                      <a:lnTo>
                        <a:pt x="12" y="90"/>
                      </a:lnTo>
                      <a:lnTo>
                        <a:pt x="12" y="90"/>
                      </a:lnTo>
                      <a:lnTo>
                        <a:pt x="12" y="90"/>
                      </a:lnTo>
                      <a:lnTo>
                        <a:pt x="12" y="90"/>
                      </a:lnTo>
                      <a:lnTo>
                        <a:pt x="8" y="90"/>
                      </a:lnTo>
                      <a:lnTo>
                        <a:pt x="8" y="90"/>
                      </a:lnTo>
                      <a:lnTo>
                        <a:pt x="8" y="90"/>
                      </a:lnTo>
                      <a:lnTo>
                        <a:pt x="8" y="90"/>
                      </a:lnTo>
                      <a:lnTo>
                        <a:pt x="8" y="86"/>
                      </a:lnTo>
                      <a:lnTo>
                        <a:pt x="8" y="86"/>
                      </a:lnTo>
                      <a:lnTo>
                        <a:pt x="8" y="86"/>
                      </a:lnTo>
                      <a:lnTo>
                        <a:pt x="4" y="82"/>
                      </a:lnTo>
                      <a:lnTo>
                        <a:pt x="4" y="82"/>
                      </a:lnTo>
                      <a:lnTo>
                        <a:pt x="4" y="82"/>
                      </a:lnTo>
                      <a:lnTo>
                        <a:pt x="4" y="82"/>
                      </a:lnTo>
                      <a:lnTo>
                        <a:pt x="4" y="82"/>
                      </a:lnTo>
                      <a:lnTo>
                        <a:pt x="4" y="82"/>
                      </a:lnTo>
                      <a:lnTo>
                        <a:pt x="4" y="78"/>
                      </a:lnTo>
                      <a:lnTo>
                        <a:pt x="4" y="78"/>
                      </a:lnTo>
                      <a:lnTo>
                        <a:pt x="4" y="78"/>
                      </a:lnTo>
                      <a:lnTo>
                        <a:pt x="4" y="76"/>
                      </a:lnTo>
                      <a:lnTo>
                        <a:pt x="4" y="76"/>
                      </a:lnTo>
                      <a:lnTo>
                        <a:pt x="4" y="76"/>
                      </a:lnTo>
                      <a:lnTo>
                        <a:pt x="4" y="76"/>
                      </a:lnTo>
                      <a:lnTo>
                        <a:pt x="4" y="76"/>
                      </a:lnTo>
                      <a:lnTo>
                        <a:pt x="4" y="76"/>
                      </a:lnTo>
                      <a:lnTo>
                        <a:pt x="4" y="72"/>
                      </a:lnTo>
                      <a:lnTo>
                        <a:pt x="4" y="72"/>
                      </a:lnTo>
                      <a:lnTo>
                        <a:pt x="4" y="72"/>
                      </a:lnTo>
                      <a:lnTo>
                        <a:pt x="4" y="72"/>
                      </a:lnTo>
                      <a:lnTo>
                        <a:pt x="4" y="72"/>
                      </a:lnTo>
                      <a:lnTo>
                        <a:pt x="4" y="68"/>
                      </a:lnTo>
                      <a:lnTo>
                        <a:pt x="4" y="68"/>
                      </a:lnTo>
                      <a:lnTo>
                        <a:pt x="4" y="68"/>
                      </a:lnTo>
                      <a:lnTo>
                        <a:pt x="4" y="68"/>
                      </a:lnTo>
                      <a:lnTo>
                        <a:pt x="4" y="68"/>
                      </a:lnTo>
                      <a:lnTo>
                        <a:pt x="4" y="68"/>
                      </a:lnTo>
                      <a:lnTo>
                        <a:pt x="4" y="64"/>
                      </a:lnTo>
                      <a:lnTo>
                        <a:pt x="4" y="62"/>
                      </a:lnTo>
                      <a:lnTo>
                        <a:pt x="4" y="62"/>
                      </a:lnTo>
                      <a:lnTo>
                        <a:pt x="4" y="62"/>
                      </a:lnTo>
                      <a:lnTo>
                        <a:pt x="0" y="62"/>
                      </a:lnTo>
                      <a:lnTo>
                        <a:pt x="0" y="62"/>
                      </a:lnTo>
                      <a:lnTo>
                        <a:pt x="0" y="62"/>
                      </a:lnTo>
                      <a:lnTo>
                        <a:pt x="0" y="58"/>
                      </a:lnTo>
                      <a:lnTo>
                        <a:pt x="0" y="58"/>
                      </a:lnTo>
                      <a:lnTo>
                        <a:pt x="4" y="58"/>
                      </a:lnTo>
                      <a:lnTo>
                        <a:pt x="4" y="58"/>
                      </a:lnTo>
                      <a:lnTo>
                        <a:pt x="4" y="58"/>
                      </a:lnTo>
                      <a:lnTo>
                        <a:pt x="4" y="58"/>
                      </a:lnTo>
                      <a:lnTo>
                        <a:pt x="4" y="54"/>
                      </a:lnTo>
                      <a:lnTo>
                        <a:pt x="4" y="54"/>
                      </a:lnTo>
                      <a:lnTo>
                        <a:pt x="4" y="54"/>
                      </a:lnTo>
                      <a:lnTo>
                        <a:pt x="4" y="54"/>
                      </a:lnTo>
                      <a:lnTo>
                        <a:pt x="4" y="54"/>
                      </a:lnTo>
                      <a:lnTo>
                        <a:pt x="4" y="54"/>
                      </a:lnTo>
                      <a:lnTo>
                        <a:pt x="4" y="54"/>
                      </a:lnTo>
                      <a:lnTo>
                        <a:pt x="4" y="54"/>
                      </a:lnTo>
                      <a:lnTo>
                        <a:pt x="4" y="50"/>
                      </a:lnTo>
                      <a:lnTo>
                        <a:pt x="4" y="50"/>
                      </a:lnTo>
                      <a:lnTo>
                        <a:pt x="4" y="50"/>
                      </a:lnTo>
                      <a:lnTo>
                        <a:pt x="4" y="50"/>
                      </a:lnTo>
                      <a:lnTo>
                        <a:pt x="4" y="46"/>
                      </a:lnTo>
                      <a:lnTo>
                        <a:pt x="4" y="46"/>
                      </a:lnTo>
                      <a:lnTo>
                        <a:pt x="4" y="46"/>
                      </a:lnTo>
                      <a:lnTo>
                        <a:pt x="4" y="46"/>
                      </a:lnTo>
                      <a:lnTo>
                        <a:pt x="4" y="42"/>
                      </a:lnTo>
                      <a:lnTo>
                        <a:pt x="4" y="42"/>
                      </a:lnTo>
                      <a:lnTo>
                        <a:pt x="4" y="42"/>
                      </a:lnTo>
                      <a:lnTo>
                        <a:pt x="4" y="42"/>
                      </a:lnTo>
                      <a:lnTo>
                        <a:pt x="8" y="42"/>
                      </a:lnTo>
                      <a:lnTo>
                        <a:pt x="8" y="42"/>
                      </a:lnTo>
                      <a:lnTo>
                        <a:pt x="8" y="42"/>
                      </a:lnTo>
                      <a:lnTo>
                        <a:pt x="8" y="42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8" y="38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12" y="28"/>
                      </a:lnTo>
                      <a:lnTo>
                        <a:pt x="12" y="28"/>
                      </a:lnTo>
                      <a:lnTo>
                        <a:pt x="12" y="28"/>
                      </a:lnTo>
                      <a:lnTo>
                        <a:pt x="8" y="28"/>
                      </a:lnTo>
                      <a:lnTo>
                        <a:pt x="8" y="28"/>
                      </a:lnTo>
                      <a:lnTo>
                        <a:pt x="8" y="28"/>
                      </a:lnTo>
                      <a:lnTo>
                        <a:pt x="4" y="28"/>
                      </a:lnTo>
                      <a:lnTo>
                        <a:pt x="4" y="28"/>
                      </a:lnTo>
                      <a:lnTo>
                        <a:pt x="4" y="28"/>
                      </a:lnTo>
                      <a:lnTo>
                        <a:pt x="4" y="28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0" y="28"/>
                      </a:lnTo>
                      <a:lnTo>
                        <a:pt x="4" y="28"/>
                      </a:lnTo>
                      <a:lnTo>
                        <a:pt x="4" y="24"/>
                      </a:lnTo>
                      <a:lnTo>
                        <a:pt x="4" y="24"/>
                      </a:lnTo>
                      <a:lnTo>
                        <a:pt x="4" y="24"/>
                      </a:lnTo>
                      <a:lnTo>
                        <a:pt x="4" y="24"/>
                      </a:lnTo>
                      <a:lnTo>
                        <a:pt x="4" y="24"/>
                      </a:lnTo>
                      <a:lnTo>
                        <a:pt x="4" y="24"/>
                      </a:lnTo>
                      <a:lnTo>
                        <a:pt x="4" y="24"/>
                      </a:lnTo>
                      <a:lnTo>
                        <a:pt x="4" y="24"/>
                      </a:lnTo>
                      <a:lnTo>
                        <a:pt x="4" y="24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16"/>
                      </a:lnTo>
                      <a:lnTo>
                        <a:pt x="12" y="16"/>
                      </a:lnTo>
                      <a:lnTo>
                        <a:pt x="12" y="16"/>
                      </a:lnTo>
                      <a:lnTo>
                        <a:pt x="12" y="8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16" y="8"/>
                      </a:lnTo>
                      <a:lnTo>
                        <a:pt x="20" y="8"/>
                      </a:lnTo>
                      <a:lnTo>
                        <a:pt x="20" y="4"/>
                      </a:lnTo>
                      <a:lnTo>
                        <a:pt x="20" y="4"/>
                      </a:lnTo>
                      <a:lnTo>
                        <a:pt x="20" y="4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8"/>
                      </a:lnTo>
                      <a:lnTo>
                        <a:pt x="24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4" y="8"/>
                      </a:lnTo>
                      <a:lnTo>
                        <a:pt x="24" y="8"/>
                      </a:lnTo>
                      <a:lnTo>
                        <a:pt x="24" y="8"/>
                      </a:lnTo>
                      <a:lnTo>
                        <a:pt x="24" y="8"/>
                      </a:lnTo>
                      <a:lnTo>
                        <a:pt x="24" y="8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30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4"/>
                      </a:lnTo>
                      <a:lnTo>
                        <a:pt x="34" y="0"/>
                      </a:lnTo>
                      <a:lnTo>
                        <a:pt x="34" y="0"/>
                      </a:lnTo>
                      <a:lnTo>
                        <a:pt x="34" y="0"/>
                      </a:lnTo>
                      <a:lnTo>
                        <a:pt x="34" y="0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42" y="0"/>
                      </a:lnTo>
                      <a:lnTo>
                        <a:pt x="42" y="0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6" y="4"/>
                      </a:lnTo>
                      <a:lnTo>
                        <a:pt x="46" y="4"/>
                      </a:lnTo>
                      <a:lnTo>
                        <a:pt x="46" y="4"/>
                      </a:lnTo>
                      <a:lnTo>
                        <a:pt x="46" y="4"/>
                      </a:lnTo>
                      <a:lnTo>
                        <a:pt x="46" y="4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6" y="8"/>
                      </a:lnTo>
                      <a:close/>
                      <a:moveTo>
                        <a:pt x="16" y="20"/>
                      </a:moveTo>
                      <a:lnTo>
                        <a:pt x="16" y="20"/>
                      </a:lnTo>
                      <a:lnTo>
                        <a:pt x="16" y="20"/>
                      </a:lnTo>
                      <a:lnTo>
                        <a:pt x="16" y="16"/>
                      </a:lnTo>
                      <a:lnTo>
                        <a:pt x="16" y="16"/>
                      </a:lnTo>
                      <a:lnTo>
                        <a:pt x="16" y="16"/>
                      </a:lnTo>
                      <a:lnTo>
                        <a:pt x="12" y="20"/>
                      </a:lnTo>
                      <a:lnTo>
                        <a:pt x="12" y="20"/>
                      </a:lnTo>
                      <a:lnTo>
                        <a:pt x="12" y="20"/>
                      </a:lnTo>
                      <a:lnTo>
                        <a:pt x="12" y="20"/>
                      </a:lnTo>
                      <a:lnTo>
                        <a:pt x="12" y="20"/>
                      </a:lnTo>
                      <a:lnTo>
                        <a:pt x="12" y="20"/>
                      </a:lnTo>
                      <a:lnTo>
                        <a:pt x="12" y="20"/>
                      </a:lnTo>
                      <a:lnTo>
                        <a:pt x="12" y="20"/>
                      </a:lnTo>
                      <a:lnTo>
                        <a:pt x="12" y="20"/>
                      </a:lnTo>
                      <a:lnTo>
                        <a:pt x="8" y="24"/>
                      </a:lnTo>
                      <a:lnTo>
                        <a:pt x="8" y="24"/>
                      </a:lnTo>
                      <a:lnTo>
                        <a:pt x="8" y="28"/>
                      </a:lnTo>
                      <a:lnTo>
                        <a:pt x="8" y="28"/>
                      </a:lnTo>
                      <a:lnTo>
                        <a:pt x="8" y="28"/>
                      </a:lnTo>
                      <a:lnTo>
                        <a:pt x="8" y="28"/>
                      </a:lnTo>
                      <a:lnTo>
                        <a:pt x="8" y="28"/>
                      </a:lnTo>
                      <a:lnTo>
                        <a:pt x="12" y="28"/>
                      </a:lnTo>
                      <a:lnTo>
                        <a:pt x="12" y="28"/>
                      </a:lnTo>
                      <a:lnTo>
                        <a:pt x="12" y="28"/>
                      </a:lnTo>
                      <a:lnTo>
                        <a:pt x="12" y="28"/>
                      </a:lnTo>
                      <a:lnTo>
                        <a:pt x="12" y="28"/>
                      </a:lnTo>
                      <a:lnTo>
                        <a:pt x="12" y="28"/>
                      </a:ln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16" y="20"/>
                      </a:lnTo>
                      <a:lnTo>
                        <a:pt x="16" y="20"/>
                      </a:lnTo>
                      <a:lnTo>
                        <a:pt x="16" y="20"/>
                      </a:lnTo>
                      <a:lnTo>
                        <a:pt x="16" y="20"/>
                      </a:lnTo>
                      <a:lnTo>
                        <a:pt x="16" y="20"/>
                      </a:lnTo>
                      <a:lnTo>
                        <a:pt x="16" y="20"/>
                      </a:lnTo>
                      <a:lnTo>
                        <a:pt x="16" y="20"/>
                      </a:lnTo>
                      <a:lnTo>
                        <a:pt x="16" y="2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6" name="Freeform 224"/>
                <p:cNvSpPr>
                  <a:spLocks/>
                </p:cNvSpPr>
                <p:nvPr/>
              </p:nvSpPr>
              <p:spPr bwMode="auto">
                <a:xfrm>
                  <a:off x="2600325" y="3289368"/>
                  <a:ext cx="88900" cy="44450"/>
                </a:xfrm>
                <a:custGeom>
                  <a:avLst/>
                  <a:gdLst>
                    <a:gd name="T0" fmla="*/ 8 w 56"/>
                    <a:gd name="T1" fmla="*/ 28 h 28"/>
                    <a:gd name="T2" fmla="*/ 4 w 56"/>
                    <a:gd name="T3" fmla="*/ 24 h 28"/>
                    <a:gd name="T4" fmla="*/ 0 w 56"/>
                    <a:gd name="T5" fmla="*/ 24 h 28"/>
                    <a:gd name="T6" fmla="*/ 4 w 56"/>
                    <a:gd name="T7" fmla="*/ 20 h 28"/>
                    <a:gd name="T8" fmla="*/ 4 w 56"/>
                    <a:gd name="T9" fmla="*/ 20 h 28"/>
                    <a:gd name="T10" fmla="*/ 8 w 56"/>
                    <a:gd name="T11" fmla="*/ 16 h 28"/>
                    <a:gd name="T12" fmla="*/ 12 w 56"/>
                    <a:gd name="T13" fmla="*/ 12 h 28"/>
                    <a:gd name="T14" fmla="*/ 24 w 56"/>
                    <a:gd name="T15" fmla="*/ 12 h 28"/>
                    <a:gd name="T16" fmla="*/ 30 w 56"/>
                    <a:gd name="T17" fmla="*/ 8 h 28"/>
                    <a:gd name="T18" fmla="*/ 34 w 56"/>
                    <a:gd name="T19" fmla="*/ 8 h 28"/>
                    <a:gd name="T20" fmla="*/ 34 w 56"/>
                    <a:gd name="T21" fmla="*/ 12 h 28"/>
                    <a:gd name="T22" fmla="*/ 38 w 56"/>
                    <a:gd name="T23" fmla="*/ 12 h 28"/>
                    <a:gd name="T24" fmla="*/ 38 w 56"/>
                    <a:gd name="T25" fmla="*/ 12 h 28"/>
                    <a:gd name="T26" fmla="*/ 42 w 56"/>
                    <a:gd name="T27" fmla="*/ 12 h 28"/>
                    <a:gd name="T28" fmla="*/ 42 w 56"/>
                    <a:gd name="T29" fmla="*/ 12 h 28"/>
                    <a:gd name="T30" fmla="*/ 42 w 56"/>
                    <a:gd name="T31" fmla="*/ 12 h 28"/>
                    <a:gd name="T32" fmla="*/ 42 w 56"/>
                    <a:gd name="T33" fmla="*/ 12 h 28"/>
                    <a:gd name="T34" fmla="*/ 42 w 56"/>
                    <a:gd name="T35" fmla="*/ 8 h 28"/>
                    <a:gd name="T36" fmla="*/ 42 w 56"/>
                    <a:gd name="T37" fmla="*/ 8 h 28"/>
                    <a:gd name="T38" fmla="*/ 42 w 56"/>
                    <a:gd name="T39" fmla="*/ 8 h 28"/>
                    <a:gd name="T40" fmla="*/ 42 w 56"/>
                    <a:gd name="T41" fmla="*/ 8 h 28"/>
                    <a:gd name="T42" fmla="*/ 42 w 56"/>
                    <a:gd name="T43" fmla="*/ 4 h 28"/>
                    <a:gd name="T44" fmla="*/ 34 w 56"/>
                    <a:gd name="T45" fmla="*/ 8 h 28"/>
                    <a:gd name="T46" fmla="*/ 38 w 56"/>
                    <a:gd name="T47" fmla="*/ 4 h 28"/>
                    <a:gd name="T48" fmla="*/ 42 w 56"/>
                    <a:gd name="T49" fmla="*/ 4 h 28"/>
                    <a:gd name="T50" fmla="*/ 42 w 56"/>
                    <a:gd name="T51" fmla="*/ 8 h 28"/>
                    <a:gd name="T52" fmla="*/ 42 w 56"/>
                    <a:gd name="T53" fmla="*/ 8 h 28"/>
                    <a:gd name="T54" fmla="*/ 42 w 56"/>
                    <a:gd name="T55" fmla="*/ 8 h 28"/>
                    <a:gd name="T56" fmla="*/ 46 w 56"/>
                    <a:gd name="T57" fmla="*/ 4 h 28"/>
                    <a:gd name="T58" fmla="*/ 46 w 56"/>
                    <a:gd name="T59" fmla="*/ 4 h 28"/>
                    <a:gd name="T60" fmla="*/ 52 w 56"/>
                    <a:gd name="T61" fmla="*/ 4 h 28"/>
                    <a:gd name="T62" fmla="*/ 56 w 56"/>
                    <a:gd name="T63" fmla="*/ 0 h 28"/>
                    <a:gd name="T64" fmla="*/ 56 w 56"/>
                    <a:gd name="T65" fmla="*/ 0 h 28"/>
                    <a:gd name="T66" fmla="*/ 56 w 56"/>
                    <a:gd name="T67" fmla="*/ 0 h 28"/>
                    <a:gd name="T68" fmla="*/ 52 w 56"/>
                    <a:gd name="T69" fmla="*/ 4 h 28"/>
                    <a:gd name="T70" fmla="*/ 48 w 56"/>
                    <a:gd name="T71" fmla="*/ 8 h 28"/>
                    <a:gd name="T72" fmla="*/ 48 w 56"/>
                    <a:gd name="T73" fmla="*/ 8 h 28"/>
                    <a:gd name="T74" fmla="*/ 52 w 56"/>
                    <a:gd name="T75" fmla="*/ 8 h 28"/>
                    <a:gd name="T76" fmla="*/ 52 w 56"/>
                    <a:gd name="T77" fmla="*/ 8 h 28"/>
                    <a:gd name="T78" fmla="*/ 52 w 56"/>
                    <a:gd name="T79" fmla="*/ 8 h 28"/>
                    <a:gd name="T80" fmla="*/ 52 w 56"/>
                    <a:gd name="T81" fmla="*/ 12 h 28"/>
                    <a:gd name="T82" fmla="*/ 52 w 56"/>
                    <a:gd name="T83" fmla="*/ 20 h 28"/>
                    <a:gd name="T84" fmla="*/ 48 w 56"/>
                    <a:gd name="T85" fmla="*/ 20 h 28"/>
                    <a:gd name="T86" fmla="*/ 48 w 56"/>
                    <a:gd name="T87" fmla="*/ 20 h 28"/>
                    <a:gd name="T88" fmla="*/ 46 w 56"/>
                    <a:gd name="T89" fmla="*/ 24 h 28"/>
                    <a:gd name="T90" fmla="*/ 38 w 56"/>
                    <a:gd name="T91" fmla="*/ 24 h 28"/>
                    <a:gd name="T92" fmla="*/ 34 w 56"/>
                    <a:gd name="T93" fmla="*/ 24 h 28"/>
                    <a:gd name="T94" fmla="*/ 30 w 56"/>
                    <a:gd name="T95" fmla="*/ 24 h 28"/>
                    <a:gd name="T96" fmla="*/ 26 w 56"/>
                    <a:gd name="T97" fmla="*/ 24 h 28"/>
                    <a:gd name="T98" fmla="*/ 20 w 56"/>
                    <a:gd name="T99" fmla="*/ 24 h 28"/>
                    <a:gd name="T100" fmla="*/ 12 w 56"/>
                    <a:gd name="T101" fmla="*/ 24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56" h="28">
                      <a:moveTo>
                        <a:pt x="12" y="24"/>
                      </a:move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8" y="28"/>
                      </a:lnTo>
                      <a:lnTo>
                        <a:pt x="8" y="28"/>
                      </a:lnTo>
                      <a:lnTo>
                        <a:pt x="8" y="28"/>
                      </a:lnTo>
                      <a:lnTo>
                        <a:pt x="4" y="28"/>
                      </a:lnTo>
                      <a:lnTo>
                        <a:pt x="4" y="28"/>
                      </a:lnTo>
                      <a:lnTo>
                        <a:pt x="4" y="24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4" y="20"/>
                      </a:lnTo>
                      <a:lnTo>
                        <a:pt x="4" y="20"/>
                      </a:lnTo>
                      <a:lnTo>
                        <a:pt x="4" y="20"/>
                      </a:lnTo>
                      <a:lnTo>
                        <a:pt x="4" y="20"/>
                      </a:lnTo>
                      <a:lnTo>
                        <a:pt x="4" y="20"/>
                      </a:lnTo>
                      <a:lnTo>
                        <a:pt x="4" y="20"/>
                      </a:lnTo>
                      <a:lnTo>
                        <a:pt x="4" y="20"/>
                      </a:lnTo>
                      <a:lnTo>
                        <a:pt x="4" y="20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12" y="16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6" y="12"/>
                      </a:lnTo>
                      <a:lnTo>
                        <a:pt x="20" y="12"/>
                      </a:lnTo>
                      <a:lnTo>
                        <a:pt x="24" y="12"/>
                      </a:lnTo>
                      <a:lnTo>
                        <a:pt x="24" y="12"/>
                      </a:lnTo>
                      <a:lnTo>
                        <a:pt x="24" y="12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30" y="8"/>
                      </a:lnTo>
                      <a:lnTo>
                        <a:pt x="30" y="8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4" y="12"/>
                      </a:lnTo>
                      <a:lnTo>
                        <a:pt x="38" y="12"/>
                      </a:lnTo>
                      <a:lnTo>
                        <a:pt x="38" y="12"/>
                      </a:lnTo>
                      <a:lnTo>
                        <a:pt x="38" y="12"/>
                      </a:lnTo>
                      <a:lnTo>
                        <a:pt x="38" y="12"/>
                      </a:lnTo>
                      <a:lnTo>
                        <a:pt x="38" y="12"/>
                      </a:lnTo>
                      <a:lnTo>
                        <a:pt x="38" y="12"/>
                      </a:lnTo>
                      <a:lnTo>
                        <a:pt x="38" y="12"/>
                      </a:lnTo>
                      <a:lnTo>
                        <a:pt x="38" y="12"/>
                      </a:lnTo>
                      <a:lnTo>
                        <a:pt x="38" y="12"/>
                      </a:lnTo>
                      <a:lnTo>
                        <a:pt x="38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38" y="8"/>
                      </a:lnTo>
                      <a:lnTo>
                        <a:pt x="38" y="8"/>
                      </a:lnTo>
                      <a:lnTo>
                        <a:pt x="42" y="8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38" y="8"/>
                      </a:lnTo>
                      <a:lnTo>
                        <a:pt x="38" y="8"/>
                      </a:lnTo>
                      <a:lnTo>
                        <a:pt x="38" y="8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8" y="4"/>
                      </a:lnTo>
                      <a:lnTo>
                        <a:pt x="38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6" y="4"/>
                      </a:lnTo>
                      <a:lnTo>
                        <a:pt x="46" y="4"/>
                      </a:lnTo>
                      <a:lnTo>
                        <a:pt x="46" y="4"/>
                      </a:lnTo>
                      <a:lnTo>
                        <a:pt x="46" y="4"/>
                      </a:lnTo>
                      <a:lnTo>
                        <a:pt x="46" y="4"/>
                      </a:lnTo>
                      <a:lnTo>
                        <a:pt x="46" y="4"/>
                      </a:lnTo>
                      <a:lnTo>
                        <a:pt x="48" y="4"/>
                      </a:lnTo>
                      <a:lnTo>
                        <a:pt x="48" y="4"/>
                      </a:lnTo>
                      <a:lnTo>
                        <a:pt x="48" y="4"/>
                      </a:lnTo>
                      <a:lnTo>
                        <a:pt x="48" y="4"/>
                      </a:lnTo>
                      <a:lnTo>
                        <a:pt x="52" y="4"/>
                      </a:lnTo>
                      <a:lnTo>
                        <a:pt x="52" y="0"/>
                      </a:lnTo>
                      <a:lnTo>
                        <a:pt x="56" y="0"/>
                      </a:lnTo>
                      <a:lnTo>
                        <a:pt x="56" y="0"/>
                      </a:lnTo>
                      <a:lnTo>
                        <a:pt x="56" y="0"/>
                      </a:lnTo>
                      <a:lnTo>
                        <a:pt x="56" y="0"/>
                      </a:lnTo>
                      <a:lnTo>
                        <a:pt x="56" y="0"/>
                      </a:lnTo>
                      <a:lnTo>
                        <a:pt x="56" y="0"/>
                      </a:lnTo>
                      <a:lnTo>
                        <a:pt x="56" y="0"/>
                      </a:lnTo>
                      <a:lnTo>
                        <a:pt x="56" y="0"/>
                      </a:lnTo>
                      <a:lnTo>
                        <a:pt x="56" y="0"/>
                      </a:lnTo>
                      <a:lnTo>
                        <a:pt x="56" y="0"/>
                      </a:lnTo>
                      <a:lnTo>
                        <a:pt x="56" y="0"/>
                      </a:lnTo>
                      <a:lnTo>
                        <a:pt x="56" y="0"/>
                      </a:lnTo>
                      <a:lnTo>
                        <a:pt x="56" y="0"/>
                      </a:lnTo>
                      <a:lnTo>
                        <a:pt x="56" y="0"/>
                      </a:lnTo>
                      <a:lnTo>
                        <a:pt x="56" y="0"/>
                      </a:lnTo>
                      <a:lnTo>
                        <a:pt x="56" y="0"/>
                      </a:lnTo>
                      <a:lnTo>
                        <a:pt x="56" y="4"/>
                      </a:lnTo>
                      <a:lnTo>
                        <a:pt x="52" y="4"/>
                      </a:lnTo>
                      <a:lnTo>
                        <a:pt x="52" y="4"/>
                      </a:lnTo>
                      <a:lnTo>
                        <a:pt x="52" y="4"/>
                      </a:lnTo>
                      <a:lnTo>
                        <a:pt x="52" y="4"/>
                      </a:lnTo>
                      <a:lnTo>
                        <a:pt x="52" y="4"/>
                      </a:lnTo>
                      <a:lnTo>
                        <a:pt x="48" y="8"/>
                      </a:lnTo>
                      <a:lnTo>
                        <a:pt x="48" y="8"/>
                      </a:lnTo>
                      <a:lnTo>
                        <a:pt x="48" y="8"/>
                      </a:lnTo>
                      <a:lnTo>
                        <a:pt x="48" y="8"/>
                      </a:lnTo>
                      <a:lnTo>
                        <a:pt x="48" y="8"/>
                      </a:lnTo>
                      <a:lnTo>
                        <a:pt x="48" y="8"/>
                      </a:lnTo>
                      <a:lnTo>
                        <a:pt x="48" y="8"/>
                      </a:lnTo>
                      <a:lnTo>
                        <a:pt x="52" y="8"/>
                      </a:lnTo>
                      <a:lnTo>
                        <a:pt x="52" y="8"/>
                      </a:lnTo>
                      <a:lnTo>
                        <a:pt x="52" y="8"/>
                      </a:lnTo>
                      <a:lnTo>
                        <a:pt x="52" y="8"/>
                      </a:lnTo>
                      <a:lnTo>
                        <a:pt x="52" y="8"/>
                      </a:lnTo>
                      <a:lnTo>
                        <a:pt x="52" y="8"/>
                      </a:lnTo>
                      <a:lnTo>
                        <a:pt x="52" y="8"/>
                      </a:lnTo>
                      <a:lnTo>
                        <a:pt x="52" y="8"/>
                      </a:lnTo>
                      <a:lnTo>
                        <a:pt x="52" y="8"/>
                      </a:lnTo>
                      <a:lnTo>
                        <a:pt x="52" y="8"/>
                      </a:lnTo>
                      <a:lnTo>
                        <a:pt x="52" y="12"/>
                      </a:lnTo>
                      <a:lnTo>
                        <a:pt x="52" y="12"/>
                      </a:lnTo>
                      <a:lnTo>
                        <a:pt x="52" y="12"/>
                      </a:lnTo>
                      <a:lnTo>
                        <a:pt x="52" y="12"/>
                      </a:lnTo>
                      <a:lnTo>
                        <a:pt x="52" y="8"/>
                      </a:lnTo>
                      <a:lnTo>
                        <a:pt x="52" y="8"/>
                      </a:lnTo>
                      <a:lnTo>
                        <a:pt x="52" y="12"/>
                      </a:lnTo>
                      <a:lnTo>
                        <a:pt x="52" y="12"/>
                      </a:lnTo>
                      <a:lnTo>
                        <a:pt x="52" y="12"/>
                      </a:lnTo>
                      <a:lnTo>
                        <a:pt x="52" y="12"/>
                      </a:lnTo>
                      <a:lnTo>
                        <a:pt x="52" y="12"/>
                      </a:lnTo>
                      <a:lnTo>
                        <a:pt x="52" y="12"/>
                      </a:lnTo>
                      <a:lnTo>
                        <a:pt x="52" y="12"/>
                      </a:lnTo>
                      <a:lnTo>
                        <a:pt x="52" y="16"/>
                      </a:lnTo>
                      <a:lnTo>
                        <a:pt x="52" y="20"/>
                      </a:lnTo>
                      <a:lnTo>
                        <a:pt x="52" y="20"/>
                      </a:lnTo>
                      <a:lnTo>
                        <a:pt x="52" y="20"/>
                      </a:lnTo>
                      <a:lnTo>
                        <a:pt x="52" y="20"/>
                      </a:lnTo>
                      <a:lnTo>
                        <a:pt x="48" y="20"/>
                      </a:lnTo>
                      <a:lnTo>
                        <a:pt x="48" y="20"/>
                      </a:lnTo>
                      <a:lnTo>
                        <a:pt x="48" y="20"/>
                      </a:lnTo>
                      <a:lnTo>
                        <a:pt x="48" y="20"/>
                      </a:lnTo>
                      <a:lnTo>
                        <a:pt x="48" y="20"/>
                      </a:lnTo>
                      <a:lnTo>
                        <a:pt x="48" y="20"/>
                      </a:lnTo>
                      <a:lnTo>
                        <a:pt x="48" y="20"/>
                      </a:lnTo>
                      <a:lnTo>
                        <a:pt x="48" y="20"/>
                      </a:lnTo>
                      <a:lnTo>
                        <a:pt x="46" y="20"/>
                      </a:lnTo>
                      <a:lnTo>
                        <a:pt x="46" y="20"/>
                      </a:lnTo>
                      <a:lnTo>
                        <a:pt x="46" y="24"/>
                      </a:lnTo>
                      <a:lnTo>
                        <a:pt x="46" y="24"/>
                      </a:lnTo>
                      <a:lnTo>
                        <a:pt x="46" y="24"/>
                      </a:lnTo>
                      <a:lnTo>
                        <a:pt x="42" y="24"/>
                      </a:lnTo>
                      <a:lnTo>
                        <a:pt x="42" y="24"/>
                      </a:lnTo>
                      <a:lnTo>
                        <a:pt x="38" y="24"/>
                      </a:lnTo>
                      <a:lnTo>
                        <a:pt x="38" y="24"/>
                      </a:lnTo>
                      <a:lnTo>
                        <a:pt x="38" y="24"/>
                      </a:lnTo>
                      <a:lnTo>
                        <a:pt x="34" y="24"/>
                      </a:lnTo>
                      <a:lnTo>
                        <a:pt x="34" y="24"/>
                      </a:lnTo>
                      <a:lnTo>
                        <a:pt x="34" y="24"/>
                      </a:lnTo>
                      <a:lnTo>
                        <a:pt x="34" y="24"/>
                      </a:lnTo>
                      <a:lnTo>
                        <a:pt x="34" y="24"/>
                      </a:lnTo>
                      <a:lnTo>
                        <a:pt x="34" y="24"/>
                      </a:lnTo>
                      <a:lnTo>
                        <a:pt x="30" y="24"/>
                      </a:lnTo>
                      <a:lnTo>
                        <a:pt x="30" y="24"/>
                      </a:lnTo>
                      <a:lnTo>
                        <a:pt x="30" y="24"/>
                      </a:lnTo>
                      <a:lnTo>
                        <a:pt x="30" y="24"/>
                      </a:lnTo>
                      <a:lnTo>
                        <a:pt x="30" y="24"/>
                      </a:lnTo>
                      <a:lnTo>
                        <a:pt x="30" y="24"/>
                      </a:lnTo>
                      <a:lnTo>
                        <a:pt x="30" y="24"/>
                      </a:lnTo>
                      <a:lnTo>
                        <a:pt x="26" y="24"/>
                      </a:lnTo>
                      <a:lnTo>
                        <a:pt x="26" y="24"/>
                      </a:lnTo>
                      <a:lnTo>
                        <a:pt x="24" y="24"/>
                      </a:lnTo>
                      <a:lnTo>
                        <a:pt x="20" y="24"/>
                      </a:lnTo>
                      <a:lnTo>
                        <a:pt x="20" y="24"/>
                      </a:lnTo>
                      <a:lnTo>
                        <a:pt x="20" y="24"/>
                      </a:lnTo>
                      <a:lnTo>
                        <a:pt x="16" y="24"/>
                      </a:lnTo>
                      <a:lnTo>
                        <a:pt x="16" y="24"/>
                      </a:ln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12" y="2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7" name="Freeform 225"/>
                <p:cNvSpPr>
                  <a:spLocks noEditPoints="1"/>
                </p:cNvSpPr>
                <p:nvPr/>
              </p:nvSpPr>
              <p:spPr bwMode="auto">
                <a:xfrm>
                  <a:off x="2489200" y="3225868"/>
                  <a:ext cx="117475" cy="114300"/>
                </a:xfrm>
                <a:custGeom>
                  <a:avLst/>
                  <a:gdLst>
                    <a:gd name="T0" fmla="*/ 34 w 74"/>
                    <a:gd name="T1" fmla="*/ 64 h 72"/>
                    <a:gd name="T2" fmla="*/ 30 w 74"/>
                    <a:gd name="T3" fmla="*/ 56 h 72"/>
                    <a:gd name="T4" fmla="*/ 26 w 74"/>
                    <a:gd name="T5" fmla="*/ 48 h 72"/>
                    <a:gd name="T6" fmla="*/ 18 w 74"/>
                    <a:gd name="T7" fmla="*/ 56 h 72"/>
                    <a:gd name="T8" fmla="*/ 10 w 74"/>
                    <a:gd name="T9" fmla="*/ 56 h 72"/>
                    <a:gd name="T10" fmla="*/ 14 w 74"/>
                    <a:gd name="T11" fmla="*/ 48 h 72"/>
                    <a:gd name="T12" fmla="*/ 22 w 74"/>
                    <a:gd name="T13" fmla="*/ 46 h 72"/>
                    <a:gd name="T14" fmla="*/ 22 w 74"/>
                    <a:gd name="T15" fmla="*/ 34 h 72"/>
                    <a:gd name="T16" fmla="*/ 22 w 74"/>
                    <a:gd name="T17" fmla="*/ 26 h 72"/>
                    <a:gd name="T18" fmla="*/ 18 w 74"/>
                    <a:gd name="T19" fmla="*/ 22 h 72"/>
                    <a:gd name="T20" fmla="*/ 10 w 74"/>
                    <a:gd name="T21" fmla="*/ 18 h 72"/>
                    <a:gd name="T22" fmla="*/ 8 w 74"/>
                    <a:gd name="T23" fmla="*/ 18 h 72"/>
                    <a:gd name="T24" fmla="*/ 0 w 74"/>
                    <a:gd name="T25" fmla="*/ 16 h 72"/>
                    <a:gd name="T26" fmla="*/ 4 w 74"/>
                    <a:gd name="T27" fmla="*/ 12 h 72"/>
                    <a:gd name="T28" fmla="*/ 14 w 74"/>
                    <a:gd name="T29" fmla="*/ 12 h 72"/>
                    <a:gd name="T30" fmla="*/ 10 w 74"/>
                    <a:gd name="T31" fmla="*/ 8 h 72"/>
                    <a:gd name="T32" fmla="*/ 8 w 74"/>
                    <a:gd name="T33" fmla="*/ 0 h 72"/>
                    <a:gd name="T34" fmla="*/ 10 w 74"/>
                    <a:gd name="T35" fmla="*/ 0 h 72"/>
                    <a:gd name="T36" fmla="*/ 18 w 74"/>
                    <a:gd name="T37" fmla="*/ 4 h 72"/>
                    <a:gd name="T38" fmla="*/ 30 w 74"/>
                    <a:gd name="T39" fmla="*/ 8 h 72"/>
                    <a:gd name="T40" fmla="*/ 34 w 74"/>
                    <a:gd name="T41" fmla="*/ 8 h 72"/>
                    <a:gd name="T42" fmla="*/ 44 w 74"/>
                    <a:gd name="T43" fmla="*/ 8 h 72"/>
                    <a:gd name="T44" fmla="*/ 44 w 74"/>
                    <a:gd name="T45" fmla="*/ 12 h 72"/>
                    <a:gd name="T46" fmla="*/ 56 w 74"/>
                    <a:gd name="T47" fmla="*/ 12 h 72"/>
                    <a:gd name="T48" fmla="*/ 60 w 74"/>
                    <a:gd name="T49" fmla="*/ 18 h 72"/>
                    <a:gd name="T50" fmla="*/ 68 w 74"/>
                    <a:gd name="T51" fmla="*/ 22 h 72"/>
                    <a:gd name="T52" fmla="*/ 70 w 74"/>
                    <a:gd name="T53" fmla="*/ 30 h 72"/>
                    <a:gd name="T54" fmla="*/ 70 w 74"/>
                    <a:gd name="T55" fmla="*/ 34 h 72"/>
                    <a:gd name="T56" fmla="*/ 68 w 74"/>
                    <a:gd name="T57" fmla="*/ 42 h 72"/>
                    <a:gd name="T58" fmla="*/ 60 w 74"/>
                    <a:gd name="T59" fmla="*/ 38 h 72"/>
                    <a:gd name="T60" fmla="*/ 56 w 74"/>
                    <a:gd name="T61" fmla="*/ 30 h 72"/>
                    <a:gd name="T62" fmla="*/ 44 w 74"/>
                    <a:gd name="T63" fmla="*/ 26 h 72"/>
                    <a:gd name="T64" fmla="*/ 52 w 74"/>
                    <a:gd name="T65" fmla="*/ 38 h 72"/>
                    <a:gd name="T66" fmla="*/ 44 w 74"/>
                    <a:gd name="T67" fmla="*/ 48 h 72"/>
                    <a:gd name="T68" fmla="*/ 44 w 74"/>
                    <a:gd name="T69" fmla="*/ 60 h 72"/>
                    <a:gd name="T70" fmla="*/ 40 w 74"/>
                    <a:gd name="T71" fmla="*/ 68 h 72"/>
                    <a:gd name="T72" fmla="*/ 34 w 74"/>
                    <a:gd name="T73" fmla="*/ 72 h 72"/>
                    <a:gd name="T74" fmla="*/ 22 w 74"/>
                    <a:gd name="T75" fmla="*/ 12 h 72"/>
                    <a:gd name="T76" fmla="*/ 30 w 74"/>
                    <a:gd name="T77" fmla="*/ 16 h 72"/>
                    <a:gd name="T78" fmla="*/ 38 w 74"/>
                    <a:gd name="T79" fmla="*/ 18 h 72"/>
                    <a:gd name="T80" fmla="*/ 44 w 74"/>
                    <a:gd name="T81" fmla="*/ 16 h 72"/>
                    <a:gd name="T82" fmla="*/ 44 w 74"/>
                    <a:gd name="T83" fmla="*/ 16 h 72"/>
                    <a:gd name="T84" fmla="*/ 38 w 74"/>
                    <a:gd name="T85" fmla="*/ 12 h 72"/>
                    <a:gd name="T86" fmla="*/ 30 w 74"/>
                    <a:gd name="T87" fmla="*/ 12 h 72"/>
                    <a:gd name="T88" fmla="*/ 26 w 74"/>
                    <a:gd name="T8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4" h="72">
                      <a:moveTo>
                        <a:pt x="34" y="72"/>
                      </a:moveTo>
                      <a:lnTo>
                        <a:pt x="34" y="68"/>
                      </a:lnTo>
                      <a:lnTo>
                        <a:pt x="34" y="64"/>
                      </a:lnTo>
                      <a:lnTo>
                        <a:pt x="34" y="60"/>
                      </a:lnTo>
                      <a:lnTo>
                        <a:pt x="34" y="56"/>
                      </a:lnTo>
                      <a:lnTo>
                        <a:pt x="30" y="56"/>
                      </a:lnTo>
                      <a:lnTo>
                        <a:pt x="30" y="52"/>
                      </a:lnTo>
                      <a:lnTo>
                        <a:pt x="30" y="48"/>
                      </a:lnTo>
                      <a:lnTo>
                        <a:pt x="26" y="48"/>
                      </a:lnTo>
                      <a:lnTo>
                        <a:pt x="22" y="48"/>
                      </a:lnTo>
                      <a:lnTo>
                        <a:pt x="22" y="52"/>
                      </a:lnTo>
                      <a:lnTo>
                        <a:pt x="18" y="56"/>
                      </a:lnTo>
                      <a:lnTo>
                        <a:pt x="14" y="60"/>
                      </a:lnTo>
                      <a:lnTo>
                        <a:pt x="14" y="56"/>
                      </a:lnTo>
                      <a:lnTo>
                        <a:pt x="10" y="56"/>
                      </a:lnTo>
                      <a:lnTo>
                        <a:pt x="10" y="52"/>
                      </a:lnTo>
                      <a:lnTo>
                        <a:pt x="14" y="52"/>
                      </a:lnTo>
                      <a:lnTo>
                        <a:pt x="14" y="48"/>
                      </a:lnTo>
                      <a:lnTo>
                        <a:pt x="18" y="48"/>
                      </a:lnTo>
                      <a:lnTo>
                        <a:pt x="18" y="46"/>
                      </a:lnTo>
                      <a:lnTo>
                        <a:pt x="22" y="46"/>
                      </a:lnTo>
                      <a:lnTo>
                        <a:pt x="22" y="42"/>
                      </a:lnTo>
                      <a:lnTo>
                        <a:pt x="22" y="38"/>
                      </a:lnTo>
                      <a:lnTo>
                        <a:pt x="22" y="34"/>
                      </a:lnTo>
                      <a:lnTo>
                        <a:pt x="18" y="30"/>
                      </a:lnTo>
                      <a:lnTo>
                        <a:pt x="22" y="30"/>
                      </a:lnTo>
                      <a:lnTo>
                        <a:pt x="22" y="26"/>
                      </a:lnTo>
                      <a:lnTo>
                        <a:pt x="18" y="26"/>
                      </a:lnTo>
                      <a:lnTo>
                        <a:pt x="22" y="26"/>
                      </a:lnTo>
                      <a:lnTo>
                        <a:pt x="18" y="22"/>
                      </a:lnTo>
                      <a:lnTo>
                        <a:pt x="14" y="22"/>
                      </a:lnTo>
                      <a:lnTo>
                        <a:pt x="14" y="18"/>
                      </a:lnTo>
                      <a:lnTo>
                        <a:pt x="10" y="18"/>
                      </a:lnTo>
                      <a:lnTo>
                        <a:pt x="8" y="18"/>
                      </a:lnTo>
                      <a:lnTo>
                        <a:pt x="8" y="16"/>
                      </a:lnTo>
                      <a:lnTo>
                        <a:pt x="8" y="18"/>
                      </a:lnTo>
                      <a:lnTo>
                        <a:pt x="4" y="18"/>
                      </a:lnTo>
                      <a:lnTo>
                        <a:pt x="4" y="16"/>
                      </a:lnTo>
                      <a:lnTo>
                        <a:pt x="0" y="16"/>
                      </a:lnTo>
                      <a:lnTo>
                        <a:pt x="0" y="12"/>
                      </a:lnTo>
                      <a:lnTo>
                        <a:pt x="4" y="8"/>
                      </a:lnTo>
                      <a:lnTo>
                        <a:pt x="4" y="12"/>
                      </a:lnTo>
                      <a:lnTo>
                        <a:pt x="8" y="12"/>
                      </a:lnTo>
                      <a:lnTo>
                        <a:pt x="10" y="12"/>
                      </a:lnTo>
                      <a:lnTo>
                        <a:pt x="14" y="12"/>
                      </a:lnTo>
                      <a:lnTo>
                        <a:pt x="10" y="8"/>
                      </a:lnTo>
                      <a:lnTo>
                        <a:pt x="10" y="12"/>
                      </a:lnTo>
                      <a:lnTo>
                        <a:pt x="10" y="8"/>
                      </a:lnTo>
                      <a:lnTo>
                        <a:pt x="10" y="4"/>
                      </a:lnTo>
                      <a:lnTo>
                        <a:pt x="8" y="4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8" y="0"/>
                      </a:lnTo>
                      <a:lnTo>
                        <a:pt x="10" y="0"/>
                      </a:lnTo>
                      <a:lnTo>
                        <a:pt x="10" y="4"/>
                      </a:lnTo>
                      <a:lnTo>
                        <a:pt x="14" y="4"/>
                      </a:lnTo>
                      <a:lnTo>
                        <a:pt x="18" y="4"/>
                      </a:lnTo>
                      <a:lnTo>
                        <a:pt x="22" y="8"/>
                      </a:lnTo>
                      <a:lnTo>
                        <a:pt x="26" y="8"/>
                      </a:lnTo>
                      <a:lnTo>
                        <a:pt x="30" y="8"/>
                      </a:lnTo>
                      <a:lnTo>
                        <a:pt x="34" y="8"/>
                      </a:lnTo>
                      <a:lnTo>
                        <a:pt x="38" y="8"/>
                      </a:lnTo>
                      <a:lnTo>
                        <a:pt x="34" y="8"/>
                      </a:lnTo>
                      <a:lnTo>
                        <a:pt x="38" y="8"/>
                      </a:lnTo>
                      <a:lnTo>
                        <a:pt x="40" y="8"/>
                      </a:lnTo>
                      <a:lnTo>
                        <a:pt x="44" y="8"/>
                      </a:lnTo>
                      <a:lnTo>
                        <a:pt x="48" y="8"/>
                      </a:lnTo>
                      <a:lnTo>
                        <a:pt x="48" y="12"/>
                      </a:lnTo>
                      <a:lnTo>
                        <a:pt x="44" y="12"/>
                      </a:lnTo>
                      <a:lnTo>
                        <a:pt x="48" y="12"/>
                      </a:lnTo>
                      <a:lnTo>
                        <a:pt x="52" y="12"/>
                      </a:lnTo>
                      <a:lnTo>
                        <a:pt x="56" y="12"/>
                      </a:lnTo>
                      <a:lnTo>
                        <a:pt x="60" y="12"/>
                      </a:lnTo>
                      <a:lnTo>
                        <a:pt x="60" y="16"/>
                      </a:lnTo>
                      <a:lnTo>
                        <a:pt x="60" y="18"/>
                      </a:lnTo>
                      <a:lnTo>
                        <a:pt x="64" y="18"/>
                      </a:lnTo>
                      <a:lnTo>
                        <a:pt x="64" y="22"/>
                      </a:lnTo>
                      <a:lnTo>
                        <a:pt x="68" y="22"/>
                      </a:lnTo>
                      <a:lnTo>
                        <a:pt x="68" y="26"/>
                      </a:lnTo>
                      <a:lnTo>
                        <a:pt x="68" y="30"/>
                      </a:lnTo>
                      <a:lnTo>
                        <a:pt x="70" y="30"/>
                      </a:lnTo>
                      <a:lnTo>
                        <a:pt x="70" y="34"/>
                      </a:lnTo>
                      <a:lnTo>
                        <a:pt x="74" y="34"/>
                      </a:lnTo>
                      <a:lnTo>
                        <a:pt x="70" y="34"/>
                      </a:lnTo>
                      <a:lnTo>
                        <a:pt x="68" y="34"/>
                      </a:lnTo>
                      <a:lnTo>
                        <a:pt x="68" y="38"/>
                      </a:lnTo>
                      <a:lnTo>
                        <a:pt x="68" y="42"/>
                      </a:lnTo>
                      <a:lnTo>
                        <a:pt x="64" y="42"/>
                      </a:lnTo>
                      <a:lnTo>
                        <a:pt x="64" y="38"/>
                      </a:lnTo>
                      <a:lnTo>
                        <a:pt x="60" y="38"/>
                      </a:lnTo>
                      <a:lnTo>
                        <a:pt x="56" y="38"/>
                      </a:lnTo>
                      <a:lnTo>
                        <a:pt x="56" y="34"/>
                      </a:lnTo>
                      <a:lnTo>
                        <a:pt x="56" y="30"/>
                      </a:lnTo>
                      <a:lnTo>
                        <a:pt x="52" y="30"/>
                      </a:lnTo>
                      <a:lnTo>
                        <a:pt x="48" y="26"/>
                      </a:lnTo>
                      <a:lnTo>
                        <a:pt x="44" y="26"/>
                      </a:lnTo>
                      <a:lnTo>
                        <a:pt x="48" y="30"/>
                      </a:lnTo>
                      <a:lnTo>
                        <a:pt x="52" y="34"/>
                      </a:lnTo>
                      <a:lnTo>
                        <a:pt x="52" y="38"/>
                      </a:lnTo>
                      <a:lnTo>
                        <a:pt x="48" y="42"/>
                      </a:lnTo>
                      <a:lnTo>
                        <a:pt x="44" y="46"/>
                      </a:lnTo>
                      <a:lnTo>
                        <a:pt x="44" y="48"/>
                      </a:lnTo>
                      <a:lnTo>
                        <a:pt x="44" y="52"/>
                      </a:lnTo>
                      <a:lnTo>
                        <a:pt x="44" y="56"/>
                      </a:lnTo>
                      <a:lnTo>
                        <a:pt x="44" y="60"/>
                      </a:lnTo>
                      <a:lnTo>
                        <a:pt x="44" y="64"/>
                      </a:lnTo>
                      <a:lnTo>
                        <a:pt x="40" y="64"/>
                      </a:lnTo>
                      <a:lnTo>
                        <a:pt x="40" y="68"/>
                      </a:lnTo>
                      <a:lnTo>
                        <a:pt x="38" y="68"/>
                      </a:lnTo>
                      <a:lnTo>
                        <a:pt x="34" y="72"/>
                      </a:lnTo>
                      <a:lnTo>
                        <a:pt x="34" y="72"/>
                      </a:lnTo>
                      <a:lnTo>
                        <a:pt x="34" y="72"/>
                      </a:lnTo>
                      <a:close/>
                      <a:moveTo>
                        <a:pt x="26" y="12"/>
                      </a:moveTo>
                      <a:lnTo>
                        <a:pt x="22" y="12"/>
                      </a:lnTo>
                      <a:lnTo>
                        <a:pt x="26" y="12"/>
                      </a:lnTo>
                      <a:lnTo>
                        <a:pt x="26" y="16"/>
                      </a:lnTo>
                      <a:lnTo>
                        <a:pt x="30" y="16"/>
                      </a:lnTo>
                      <a:lnTo>
                        <a:pt x="34" y="16"/>
                      </a:lnTo>
                      <a:lnTo>
                        <a:pt x="38" y="16"/>
                      </a:lnTo>
                      <a:lnTo>
                        <a:pt x="38" y="18"/>
                      </a:lnTo>
                      <a:lnTo>
                        <a:pt x="40" y="18"/>
                      </a:lnTo>
                      <a:lnTo>
                        <a:pt x="40" y="16"/>
                      </a:lnTo>
                      <a:lnTo>
                        <a:pt x="44" y="16"/>
                      </a:lnTo>
                      <a:lnTo>
                        <a:pt x="40" y="18"/>
                      </a:lnTo>
                      <a:lnTo>
                        <a:pt x="44" y="18"/>
                      </a:lnTo>
                      <a:lnTo>
                        <a:pt x="44" y="16"/>
                      </a:lnTo>
                      <a:lnTo>
                        <a:pt x="44" y="12"/>
                      </a:lnTo>
                      <a:lnTo>
                        <a:pt x="40" y="12"/>
                      </a:lnTo>
                      <a:lnTo>
                        <a:pt x="38" y="12"/>
                      </a:lnTo>
                      <a:lnTo>
                        <a:pt x="34" y="12"/>
                      </a:lnTo>
                      <a:lnTo>
                        <a:pt x="30" y="16"/>
                      </a:lnTo>
                      <a:lnTo>
                        <a:pt x="30" y="12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26" y="1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8" name="Freeform 226"/>
                <p:cNvSpPr>
                  <a:spLocks/>
                </p:cNvSpPr>
                <p:nvPr/>
              </p:nvSpPr>
              <p:spPr bwMode="auto">
                <a:xfrm>
                  <a:off x="2517775" y="3340168"/>
                  <a:ext cx="107950" cy="44450"/>
                </a:xfrm>
                <a:custGeom>
                  <a:avLst/>
                  <a:gdLst>
                    <a:gd name="T0" fmla="*/ 68 w 68"/>
                    <a:gd name="T1" fmla="*/ 0 h 28"/>
                    <a:gd name="T2" fmla="*/ 68 w 68"/>
                    <a:gd name="T3" fmla="*/ 2 h 28"/>
                    <a:gd name="T4" fmla="*/ 68 w 68"/>
                    <a:gd name="T5" fmla="*/ 2 h 28"/>
                    <a:gd name="T6" fmla="*/ 56 w 68"/>
                    <a:gd name="T7" fmla="*/ 10 h 28"/>
                    <a:gd name="T8" fmla="*/ 54 w 68"/>
                    <a:gd name="T9" fmla="*/ 14 h 28"/>
                    <a:gd name="T10" fmla="*/ 46 w 68"/>
                    <a:gd name="T11" fmla="*/ 16 h 28"/>
                    <a:gd name="T12" fmla="*/ 42 w 68"/>
                    <a:gd name="T13" fmla="*/ 16 h 28"/>
                    <a:gd name="T14" fmla="*/ 34 w 68"/>
                    <a:gd name="T15" fmla="*/ 20 h 28"/>
                    <a:gd name="T16" fmla="*/ 30 w 68"/>
                    <a:gd name="T17" fmla="*/ 24 h 28"/>
                    <a:gd name="T18" fmla="*/ 28 w 68"/>
                    <a:gd name="T19" fmla="*/ 28 h 28"/>
                    <a:gd name="T20" fmla="*/ 24 w 68"/>
                    <a:gd name="T21" fmla="*/ 28 h 28"/>
                    <a:gd name="T22" fmla="*/ 24 w 68"/>
                    <a:gd name="T23" fmla="*/ 28 h 28"/>
                    <a:gd name="T24" fmla="*/ 20 w 68"/>
                    <a:gd name="T25" fmla="*/ 28 h 28"/>
                    <a:gd name="T26" fmla="*/ 16 w 68"/>
                    <a:gd name="T27" fmla="*/ 28 h 28"/>
                    <a:gd name="T28" fmla="*/ 12 w 68"/>
                    <a:gd name="T29" fmla="*/ 28 h 28"/>
                    <a:gd name="T30" fmla="*/ 8 w 68"/>
                    <a:gd name="T31" fmla="*/ 28 h 28"/>
                    <a:gd name="T32" fmla="*/ 8 w 68"/>
                    <a:gd name="T33" fmla="*/ 28 h 28"/>
                    <a:gd name="T34" fmla="*/ 12 w 68"/>
                    <a:gd name="T35" fmla="*/ 28 h 28"/>
                    <a:gd name="T36" fmla="*/ 12 w 68"/>
                    <a:gd name="T37" fmla="*/ 28 h 28"/>
                    <a:gd name="T38" fmla="*/ 12 w 68"/>
                    <a:gd name="T39" fmla="*/ 24 h 28"/>
                    <a:gd name="T40" fmla="*/ 12 w 68"/>
                    <a:gd name="T41" fmla="*/ 24 h 28"/>
                    <a:gd name="T42" fmla="*/ 8 w 68"/>
                    <a:gd name="T43" fmla="*/ 24 h 28"/>
                    <a:gd name="T44" fmla="*/ 8 w 68"/>
                    <a:gd name="T45" fmla="*/ 24 h 28"/>
                    <a:gd name="T46" fmla="*/ 4 w 68"/>
                    <a:gd name="T47" fmla="*/ 24 h 28"/>
                    <a:gd name="T48" fmla="*/ 0 w 68"/>
                    <a:gd name="T49" fmla="*/ 20 h 28"/>
                    <a:gd name="T50" fmla="*/ 0 w 68"/>
                    <a:gd name="T51" fmla="*/ 20 h 28"/>
                    <a:gd name="T52" fmla="*/ 4 w 68"/>
                    <a:gd name="T53" fmla="*/ 16 h 28"/>
                    <a:gd name="T54" fmla="*/ 4 w 68"/>
                    <a:gd name="T55" fmla="*/ 14 h 28"/>
                    <a:gd name="T56" fmla="*/ 8 w 68"/>
                    <a:gd name="T57" fmla="*/ 10 h 28"/>
                    <a:gd name="T58" fmla="*/ 8 w 68"/>
                    <a:gd name="T59" fmla="*/ 10 h 28"/>
                    <a:gd name="T60" fmla="*/ 8 w 68"/>
                    <a:gd name="T61" fmla="*/ 16 h 28"/>
                    <a:gd name="T62" fmla="*/ 8 w 68"/>
                    <a:gd name="T63" fmla="*/ 16 h 28"/>
                    <a:gd name="T64" fmla="*/ 12 w 68"/>
                    <a:gd name="T65" fmla="*/ 16 h 28"/>
                    <a:gd name="T66" fmla="*/ 12 w 68"/>
                    <a:gd name="T67" fmla="*/ 16 h 28"/>
                    <a:gd name="T68" fmla="*/ 16 w 68"/>
                    <a:gd name="T69" fmla="*/ 16 h 28"/>
                    <a:gd name="T70" fmla="*/ 16 w 68"/>
                    <a:gd name="T71" fmla="*/ 16 h 28"/>
                    <a:gd name="T72" fmla="*/ 20 w 68"/>
                    <a:gd name="T73" fmla="*/ 14 h 28"/>
                    <a:gd name="T74" fmla="*/ 28 w 68"/>
                    <a:gd name="T75" fmla="*/ 10 h 28"/>
                    <a:gd name="T76" fmla="*/ 30 w 68"/>
                    <a:gd name="T77" fmla="*/ 6 h 28"/>
                    <a:gd name="T78" fmla="*/ 34 w 68"/>
                    <a:gd name="T79" fmla="*/ 2 h 28"/>
                    <a:gd name="T80" fmla="*/ 42 w 68"/>
                    <a:gd name="T81" fmla="*/ 6 h 28"/>
                    <a:gd name="T82" fmla="*/ 42 w 68"/>
                    <a:gd name="T83" fmla="*/ 6 h 28"/>
                    <a:gd name="T84" fmla="*/ 50 w 68"/>
                    <a:gd name="T85" fmla="*/ 6 h 28"/>
                    <a:gd name="T86" fmla="*/ 50 w 68"/>
                    <a:gd name="T87" fmla="*/ 6 h 28"/>
                    <a:gd name="T88" fmla="*/ 50 w 68"/>
                    <a:gd name="T89" fmla="*/ 6 h 28"/>
                    <a:gd name="T90" fmla="*/ 46 w 68"/>
                    <a:gd name="T91" fmla="*/ 6 h 28"/>
                    <a:gd name="T92" fmla="*/ 46 w 68"/>
                    <a:gd name="T93" fmla="*/ 6 h 28"/>
                    <a:gd name="T94" fmla="*/ 50 w 68"/>
                    <a:gd name="T95" fmla="*/ 2 h 28"/>
                    <a:gd name="T96" fmla="*/ 54 w 68"/>
                    <a:gd name="T97" fmla="*/ 2 h 28"/>
                    <a:gd name="T98" fmla="*/ 56 w 68"/>
                    <a:gd name="T99" fmla="*/ 0 h 28"/>
                    <a:gd name="T100" fmla="*/ 64 w 68"/>
                    <a:gd name="T101" fmla="*/ 0 h 28"/>
                    <a:gd name="T102" fmla="*/ 64 w 68"/>
                    <a:gd name="T103" fmla="*/ 2 h 28"/>
                    <a:gd name="T104" fmla="*/ 68 w 68"/>
                    <a:gd name="T105" fmla="*/ 0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8" h="28">
                      <a:moveTo>
                        <a:pt x="68" y="0"/>
                      </a:moveTo>
                      <a:lnTo>
                        <a:pt x="68" y="0"/>
                      </a:lnTo>
                      <a:lnTo>
                        <a:pt x="68" y="0"/>
                      </a:lnTo>
                      <a:lnTo>
                        <a:pt x="68" y="0"/>
                      </a:lnTo>
                      <a:lnTo>
                        <a:pt x="68" y="2"/>
                      </a:lnTo>
                      <a:lnTo>
                        <a:pt x="68" y="2"/>
                      </a:lnTo>
                      <a:lnTo>
                        <a:pt x="68" y="2"/>
                      </a:lnTo>
                      <a:lnTo>
                        <a:pt x="68" y="2"/>
                      </a:lnTo>
                      <a:lnTo>
                        <a:pt x="68" y="2"/>
                      </a:lnTo>
                      <a:lnTo>
                        <a:pt x="68" y="2"/>
                      </a:lnTo>
                      <a:lnTo>
                        <a:pt x="68" y="2"/>
                      </a:lnTo>
                      <a:lnTo>
                        <a:pt x="68" y="2"/>
                      </a:lnTo>
                      <a:lnTo>
                        <a:pt x="64" y="2"/>
                      </a:lnTo>
                      <a:lnTo>
                        <a:pt x="64" y="6"/>
                      </a:lnTo>
                      <a:lnTo>
                        <a:pt x="60" y="6"/>
                      </a:lnTo>
                      <a:lnTo>
                        <a:pt x="56" y="10"/>
                      </a:lnTo>
                      <a:lnTo>
                        <a:pt x="56" y="10"/>
                      </a:lnTo>
                      <a:lnTo>
                        <a:pt x="54" y="14"/>
                      </a:lnTo>
                      <a:lnTo>
                        <a:pt x="54" y="14"/>
                      </a:lnTo>
                      <a:lnTo>
                        <a:pt x="54" y="14"/>
                      </a:lnTo>
                      <a:lnTo>
                        <a:pt x="54" y="14"/>
                      </a:lnTo>
                      <a:lnTo>
                        <a:pt x="50" y="14"/>
                      </a:lnTo>
                      <a:lnTo>
                        <a:pt x="46" y="16"/>
                      </a:lnTo>
                      <a:lnTo>
                        <a:pt x="46" y="16"/>
                      </a:lnTo>
                      <a:lnTo>
                        <a:pt x="42" y="16"/>
                      </a:lnTo>
                      <a:lnTo>
                        <a:pt x="42" y="16"/>
                      </a:lnTo>
                      <a:lnTo>
                        <a:pt x="42" y="16"/>
                      </a:lnTo>
                      <a:lnTo>
                        <a:pt x="42" y="16"/>
                      </a:lnTo>
                      <a:lnTo>
                        <a:pt x="38" y="16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4" y="20"/>
                      </a:lnTo>
                      <a:lnTo>
                        <a:pt x="30" y="20"/>
                      </a:lnTo>
                      <a:lnTo>
                        <a:pt x="30" y="24"/>
                      </a:lnTo>
                      <a:lnTo>
                        <a:pt x="30" y="24"/>
                      </a:lnTo>
                      <a:lnTo>
                        <a:pt x="30" y="24"/>
                      </a:lnTo>
                      <a:lnTo>
                        <a:pt x="30" y="24"/>
                      </a:lnTo>
                      <a:lnTo>
                        <a:pt x="28" y="24"/>
                      </a:lnTo>
                      <a:lnTo>
                        <a:pt x="28" y="24"/>
                      </a:lnTo>
                      <a:lnTo>
                        <a:pt x="28" y="28"/>
                      </a:lnTo>
                      <a:lnTo>
                        <a:pt x="28" y="28"/>
                      </a:lnTo>
                      <a:lnTo>
                        <a:pt x="28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0" y="28"/>
                      </a:lnTo>
                      <a:lnTo>
                        <a:pt x="20" y="28"/>
                      </a:lnTo>
                      <a:lnTo>
                        <a:pt x="20" y="28"/>
                      </a:lnTo>
                      <a:lnTo>
                        <a:pt x="20" y="28"/>
                      </a:lnTo>
                      <a:lnTo>
                        <a:pt x="20" y="28"/>
                      </a:lnTo>
                      <a:lnTo>
                        <a:pt x="16" y="28"/>
                      </a:lnTo>
                      <a:lnTo>
                        <a:pt x="16" y="28"/>
                      </a:lnTo>
                      <a:lnTo>
                        <a:pt x="16" y="28"/>
                      </a:lnTo>
                      <a:lnTo>
                        <a:pt x="16" y="28"/>
                      </a:lnTo>
                      <a:lnTo>
                        <a:pt x="12" y="28"/>
                      </a:lnTo>
                      <a:lnTo>
                        <a:pt x="12" y="28"/>
                      </a:lnTo>
                      <a:lnTo>
                        <a:pt x="12" y="28"/>
                      </a:lnTo>
                      <a:lnTo>
                        <a:pt x="12" y="28"/>
                      </a:lnTo>
                      <a:lnTo>
                        <a:pt x="12" y="28"/>
                      </a:lnTo>
                      <a:lnTo>
                        <a:pt x="8" y="28"/>
                      </a:lnTo>
                      <a:lnTo>
                        <a:pt x="8" y="28"/>
                      </a:lnTo>
                      <a:lnTo>
                        <a:pt x="8" y="28"/>
                      </a:lnTo>
                      <a:lnTo>
                        <a:pt x="8" y="28"/>
                      </a:lnTo>
                      <a:lnTo>
                        <a:pt x="8" y="28"/>
                      </a:lnTo>
                      <a:lnTo>
                        <a:pt x="8" y="28"/>
                      </a:lnTo>
                      <a:lnTo>
                        <a:pt x="8" y="28"/>
                      </a:lnTo>
                      <a:lnTo>
                        <a:pt x="8" y="28"/>
                      </a:lnTo>
                      <a:lnTo>
                        <a:pt x="12" y="28"/>
                      </a:lnTo>
                      <a:lnTo>
                        <a:pt x="12" y="28"/>
                      </a:lnTo>
                      <a:lnTo>
                        <a:pt x="12" y="28"/>
                      </a:lnTo>
                      <a:lnTo>
                        <a:pt x="12" y="28"/>
                      </a:lnTo>
                      <a:lnTo>
                        <a:pt x="12" y="28"/>
                      </a:lnTo>
                      <a:lnTo>
                        <a:pt x="12" y="28"/>
                      </a:lnTo>
                      <a:lnTo>
                        <a:pt x="12" y="28"/>
                      </a:ln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8" y="24"/>
                      </a:lnTo>
                      <a:lnTo>
                        <a:pt x="8" y="24"/>
                      </a:lnTo>
                      <a:lnTo>
                        <a:pt x="8" y="24"/>
                      </a:lnTo>
                      <a:lnTo>
                        <a:pt x="8" y="24"/>
                      </a:lnTo>
                      <a:lnTo>
                        <a:pt x="8" y="24"/>
                      </a:lnTo>
                      <a:lnTo>
                        <a:pt x="8" y="24"/>
                      </a:lnTo>
                      <a:lnTo>
                        <a:pt x="8" y="24"/>
                      </a:lnTo>
                      <a:lnTo>
                        <a:pt x="8" y="24"/>
                      </a:lnTo>
                      <a:lnTo>
                        <a:pt x="4" y="24"/>
                      </a:lnTo>
                      <a:lnTo>
                        <a:pt x="4" y="24"/>
                      </a:lnTo>
                      <a:lnTo>
                        <a:pt x="4" y="24"/>
                      </a:lnTo>
                      <a:lnTo>
                        <a:pt x="0" y="24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4" y="20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14"/>
                      </a:lnTo>
                      <a:lnTo>
                        <a:pt x="8" y="14"/>
                      </a:lnTo>
                      <a:lnTo>
                        <a:pt x="8" y="14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8" y="14"/>
                      </a:lnTo>
                      <a:lnTo>
                        <a:pt x="8" y="14"/>
                      </a:lnTo>
                      <a:lnTo>
                        <a:pt x="8" y="14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12" y="16"/>
                      </a:lnTo>
                      <a:lnTo>
                        <a:pt x="12" y="16"/>
                      </a:lnTo>
                      <a:lnTo>
                        <a:pt x="12" y="16"/>
                      </a:lnTo>
                      <a:lnTo>
                        <a:pt x="12" y="16"/>
                      </a:lnTo>
                      <a:lnTo>
                        <a:pt x="12" y="16"/>
                      </a:lnTo>
                      <a:lnTo>
                        <a:pt x="12" y="16"/>
                      </a:lnTo>
                      <a:lnTo>
                        <a:pt x="12" y="16"/>
                      </a:lnTo>
                      <a:lnTo>
                        <a:pt x="12" y="16"/>
                      </a:lnTo>
                      <a:lnTo>
                        <a:pt x="16" y="16"/>
                      </a:lnTo>
                      <a:lnTo>
                        <a:pt x="16" y="16"/>
                      </a:lnTo>
                      <a:lnTo>
                        <a:pt x="16" y="16"/>
                      </a:lnTo>
                      <a:lnTo>
                        <a:pt x="16" y="16"/>
                      </a:lnTo>
                      <a:lnTo>
                        <a:pt x="16" y="16"/>
                      </a:lnTo>
                      <a:lnTo>
                        <a:pt x="16" y="14"/>
                      </a:lnTo>
                      <a:lnTo>
                        <a:pt x="16" y="14"/>
                      </a:lnTo>
                      <a:lnTo>
                        <a:pt x="16" y="14"/>
                      </a:lnTo>
                      <a:lnTo>
                        <a:pt x="20" y="14"/>
                      </a:lnTo>
                      <a:lnTo>
                        <a:pt x="24" y="10"/>
                      </a:lnTo>
                      <a:lnTo>
                        <a:pt x="24" y="10"/>
                      </a:lnTo>
                      <a:lnTo>
                        <a:pt x="28" y="10"/>
                      </a:lnTo>
                      <a:lnTo>
                        <a:pt x="28" y="10"/>
                      </a:lnTo>
                      <a:lnTo>
                        <a:pt x="28" y="6"/>
                      </a:lnTo>
                      <a:lnTo>
                        <a:pt x="30" y="6"/>
                      </a:lnTo>
                      <a:lnTo>
                        <a:pt x="30" y="6"/>
                      </a:lnTo>
                      <a:lnTo>
                        <a:pt x="30" y="6"/>
                      </a:lnTo>
                      <a:lnTo>
                        <a:pt x="30" y="6"/>
                      </a:lnTo>
                      <a:lnTo>
                        <a:pt x="34" y="6"/>
                      </a:lnTo>
                      <a:lnTo>
                        <a:pt x="34" y="2"/>
                      </a:lnTo>
                      <a:lnTo>
                        <a:pt x="34" y="2"/>
                      </a:lnTo>
                      <a:lnTo>
                        <a:pt x="38" y="2"/>
                      </a:lnTo>
                      <a:lnTo>
                        <a:pt x="38" y="6"/>
                      </a:lnTo>
                      <a:lnTo>
                        <a:pt x="38" y="6"/>
                      </a:lnTo>
                      <a:lnTo>
                        <a:pt x="42" y="6"/>
                      </a:lnTo>
                      <a:lnTo>
                        <a:pt x="42" y="6"/>
                      </a:lnTo>
                      <a:lnTo>
                        <a:pt x="42" y="6"/>
                      </a:lnTo>
                      <a:lnTo>
                        <a:pt x="42" y="6"/>
                      </a:lnTo>
                      <a:lnTo>
                        <a:pt x="42" y="6"/>
                      </a:lnTo>
                      <a:lnTo>
                        <a:pt x="46" y="6"/>
                      </a:lnTo>
                      <a:lnTo>
                        <a:pt x="46" y="6"/>
                      </a:lnTo>
                      <a:lnTo>
                        <a:pt x="46" y="6"/>
                      </a:lnTo>
                      <a:lnTo>
                        <a:pt x="50" y="6"/>
                      </a:lnTo>
                      <a:lnTo>
                        <a:pt x="50" y="6"/>
                      </a:lnTo>
                      <a:lnTo>
                        <a:pt x="50" y="6"/>
                      </a:lnTo>
                      <a:lnTo>
                        <a:pt x="50" y="6"/>
                      </a:lnTo>
                      <a:lnTo>
                        <a:pt x="50" y="6"/>
                      </a:lnTo>
                      <a:lnTo>
                        <a:pt x="50" y="6"/>
                      </a:lnTo>
                      <a:lnTo>
                        <a:pt x="50" y="6"/>
                      </a:lnTo>
                      <a:lnTo>
                        <a:pt x="50" y="6"/>
                      </a:lnTo>
                      <a:lnTo>
                        <a:pt x="50" y="6"/>
                      </a:lnTo>
                      <a:lnTo>
                        <a:pt x="50" y="6"/>
                      </a:lnTo>
                      <a:lnTo>
                        <a:pt x="46" y="6"/>
                      </a:lnTo>
                      <a:lnTo>
                        <a:pt x="46" y="6"/>
                      </a:lnTo>
                      <a:lnTo>
                        <a:pt x="46" y="6"/>
                      </a:lnTo>
                      <a:lnTo>
                        <a:pt x="46" y="6"/>
                      </a:lnTo>
                      <a:lnTo>
                        <a:pt x="46" y="6"/>
                      </a:lnTo>
                      <a:lnTo>
                        <a:pt x="46" y="6"/>
                      </a:lnTo>
                      <a:lnTo>
                        <a:pt x="46" y="6"/>
                      </a:lnTo>
                      <a:lnTo>
                        <a:pt x="46" y="2"/>
                      </a:lnTo>
                      <a:lnTo>
                        <a:pt x="50" y="2"/>
                      </a:lnTo>
                      <a:lnTo>
                        <a:pt x="50" y="2"/>
                      </a:lnTo>
                      <a:lnTo>
                        <a:pt x="50" y="2"/>
                      </a:lnTo>
                      <a:lnTo>
                        <a:pt x="50" y="2"/>
                      </a:lnTo>
                      <a:lnTo>
                        <a:pt x="50" y="2"/>
                      </a:lnTo>
                      <a:lnTo>
                        <a:pt x="50" y="2"/>
                      </a:lnTo>
                      <a:lnTo>
                        <a:pt x="54" y="2"/>
                      </a:lnTo>
                      <a:lnTo>
                        <a:pt x="54" y="2"/>
                      </a:lnTo>
                      <a:lnTo>
                        <a:pt x="56" y="0"/>
                      </a:lnTo>
                      <a:lnTo>
                        <a:pt x="56" y="0"/>
                      </a:lnTo>
                      <a:lnTo>
                        <a:pt x="56" y="0"/>
                      </a:lnTo>
                      <a:lnTo>
                        <a:pt x="56" y="0"/>
                      </a:lnTo>
                      <a:lnTo>
                        <a:pt x="60" y="0"/>
                      </a:lnTo>
                      <a:lnTo>
                        <a:pt x="60" y="0"/>
                      </a:lnTo>
                      <a:lnTo>
                        <a:pt x="64" y="0"/>
                      </a:lnTo>
                      <a:lnTo>
                        <a:pt x="64" y="0"/>
                      </a:lnTo>
                      <a:lnTo>
                        <a:pt x="64" y="0"/>
                      </a:lnTo>
                      <a:lnTo>
                        <a:pt x="64" y="0"/>
                      </a:lnTo>
                      <a:lnTo>
                        <a:pt x="64" y="2"/>
                      </a:lnTo>
                      <a:lnTo>
                        <a:pt x="64" y="2"/>
                      </a:lnTo>
                      <a:lnTo>
                        <a:pt x="64" y="0"/>
                      </a:lnTo>
                      <a:lnTo>
                        <a:pt x="64" y="0"/>
                      </a:lnTo>
                      <a:lnTo>
                        <a:pt x="68" y="0"/>
                      </a:lnTo>
                      <a:lnTo>
                        <a:pt x="68" y="0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9" name="Freeform 227"/>
                <p:cNvSpPr>
                  <a:spLocks noEditPoints="1"/>
                </p:cNvSpPr>
                <p:nvPr/>
              </p:nvSpPr>
              <p:spPr bwMode="auto">
                <a:xfrm>
                  <a:off x="5927725" y="3530668"/>
                  <a:ext cx="657225" cy="847725"/>
                </a:xfrm>
                <a:custGeom>
                  <a:avLst/>
                  <a:gdLst>
                    <a:gd name="T0" fmla="*/ 34 w 414"/>
                    <a:gd name="T1" fmla="*/ 226 h 534"/>
                    <a:gd name="T2" fmla="*/ 26 w 414"/>
                    <a:gd name="T3" fmla="*/ 198 h 534"/>
                    <a:gd name="T4" fmla="*/ 30 w 414"/>
                    <a:gd name="T5" fmla="*/ 162 h 534"/>
                    <a:gd name="T6" fmla="*/ 60 w 414"/>
                    <a:gd name="T7" fmla="*/ 146 h 534"/>
                    <a:gd name="T8" fmla="*/ 90 w 414"/>
                    <a:gd name="T9" fmla="*/ 106 h 534"/>
                    <a:gd name="T10" fmla="*/ 92 w 414"/>
                    <a:gd name="T11" fmla="*/ 80 h 534"/>
                    <a:gd name="T12" fmla="*/ 76 w 414"/>
                    <a:gd name="T13" fmla="*/ 42 h 534"/>
                    <a:gd name="T14" fmla="*/ 122 w 414"/>
                    <a:gd name="T15" fmla="*/ 20 h 534"/>
                    <a:gd name="T16" fmla="*/ 140 w 414"/>
                    <a:gd name="T17" fmla="*/ 28 h 534"/>
                    <a:gd name="T18" fmla="*/ 156 w 414"/>
                    <a:gd name="T19" fmla="*/ 68 h 534"/>
                    <a:gd name="T20" fmla="*/ 148 w 414"/>
                    <a:gd name="T21" fmla="*/ 94 h 534"/>
                    <a:gd name="T22" fmla="*/ 178 w 414"/>
                    <a:gd name="T23" fmla="*/ 116 h 534"/>
                    <a:gd name="T24" fmla="*/ 170 w 414"/>
                    <a:gd name="T25" fmla="*/ 150 h 534"/>
                    <a:gd name="T26" fmla="*/ 212 w 414"/>
                    <a:gd name="T27" fmla="*/ 170 h 534"/>
                    <a:gd name="T28" fmla="*/ 242 w 414"/>
                    <a:gd name="T29" fmla="*/ 184 h 534"/>
                    <a:gd name="T30" fmla="*/ 278 w 414"/>
                    <a:gd name="T31" fmla="*/ 188 h 534"/>
                    <a:gd name="T32" fmla="*/ 290 w 414"/>
                    <a:gd name="T33" fmla="*/ 162 h 534"/>
                    <a:gd name="T34" fmla="*/ 316 w 414"/>
                    <a:gd name="T35" fmla="*/ 184 h 534"/>
                    <a:gd name="T36" fmla="*/ 334 w 414"/>
                    <a:gd name="T37" fmla="*/ 166 h 534"/>
                    <a:gd name="T38" fmla="*/ 372 w 414"/>
                    <a:gd name="T39" fmla="*/ 140 h 534"/>
                    <a:gd name="T40" fmla="*/ 394 w 414"/>
                    <a:gd name="T41" fmla="*/ 140 h 534"/>
                    <a:gd name="T42" fmla="*/ 410 w 414"/>
                    <a:gd name="T43" fmla="*/ 166 h 534"/>
                    <a:gd name="T44" fmla="*/ 380 w 414"/>
                    <a:gd name="T45" fmla="*/ 188 h 534"/>
                    <a:gd name="T46" fmla="*/ 364 w 414"/>
                    <a:gd name="T47" fmla="*/ 236 h 534"/>
                    <a:gd name="T48" fmla="*/ 350 w 414"/>
                    <a:gd name="T49" fmla="*/ 256 h 534"/>
                    <a:gd name="T50" fmla="*/ 338 w 414"/>
                    <a:gd name="T51" fmla="*/ 248 h 534"/>
                    <a:gd name="T52" fmla="*/ 328 w 414"/>
                    <a:gd name="T53" fmla="*/ 244 h 534"/>
                    <a:gd name="T54" fmla="*/ 342 w 414"/>
                    <a:gd name="T55" fmla="*/ 218 h 534"/>
                    <a:gd name="T56" fmla="*/ 304 w 414"/>
                    <a:gd name="T57" fmla="*/ 198 h 534"/>
                    <a:gd name="T58" fmla="*/ 286 w 414"/>
                    <a:gd name="T59" fmla="*/ 184 h 534"/>
                    <a:gd name="T60" fmla="*/ 286 w 414"/>
                    <a:gd name="T61" fmla="*/ 214 h 534"/>
                    <a:gd name="T62" fmla="*/ 286 w 414"/>
                    <a:gd name="T63" fmla="*/ 236 h 534"/>
                    <a:gd name="T64" fmla="*/ 290 w 414"/>
                    <a:gd name="T65" fmla="*/ 270 h 534"/>
                    <a:gd name="T66" fmla="*/ 282 w 414"/>
                    <a:gd name="T67" fmla="*/ 274 h 534"/>
                    <a:gd name="T68" fmla="*/ 268 w 414"/>
                    <a:gd name="T69" fmla="*/ 278 h 534"/>
                    <a:gd name="T70" fmla="*/ 248 w 414"/>
                    <a:gd name="T71" fmla="*/ 306 h 534"/>
                    <a:gd name="T72" fmla="*/ 230 w 414"/>
                    <a:gd name="T73" fmla="*/ 318 h 534"/>
                    <a:gd name="T74" fmla="*/ 200 w 414"/>
                    <a:gd name="T75" fmla="*/ 352 h 534"/>
                    <a:gd name="T76" fmla="*/ 178 w 414"/>
                    <a:gd name="T77" fmla="*/ 378 h 534"/>
                    <a:gd name="T78" fmla="*/ 170 w 414"/>
                    <a:gd name="T79" fmla="*/ 412 h 534"/>
                    <a:gd name="T80" fmla="*/ 162 w 414"/>
                    <a:gd name="T81" fmla="*/ 442 h 534"/>
                    <a:gd name="T82" fmla="*/ 152 w 414"/>
                    <a:gd name="T83" fmla="*/ 478 h 534"/>
                    <a:gd name="T84" fmla="*/ 126 w 414"/>
                    <a:gd name="T85" fmla="*/ 508 h 534"/>
                    <a:gd name="T86" fmla="*/ 114 w 414"/>
                    <a:gd name="T87" fmla="*/ 486 h 534"/>
                    <a:gd name="T88" fmla="*/ 96 w 414"/>
                    <a:gd name="T89" fmla="*/ 442 h 534"/>
                    <a:gd name="T90" fmla="*/ 86 w 414"/>
                    <a:gd name="T91" fmla="*/ 396 h 534"/>
                    <a:gd name="T92" fmla="*/ 70 w 414"/>
                    <a:gd name="T93" fmla="*/ 358 h 534"/>
                    <a:gd name="T94" fmla="*/ 62 w 414"/>
                    <a:gd name="T95" fmla="*/ 322 h 534"/>
                    <a:gd name="T96" fmla="*/ 62 w 414"/>
                    <a:gd name="T97" fmla="*/ 286 h 534"/>
                    <a:gd name="T98" fmla="*/ 60 w 414"/>
                    <a:gd name="T99" fmla="*/ 270 h 534"/>
                    <a:gd name="T100" fmla="*/ 56 w 414"/>
                    <a:gd name="T101" fmla="*/ 270 h 534"/>
                    <a:gd name="T102" fmla="*/ 22 w 414"/>
                    <a:gd name="T103" fmla="*/ 282 h 534"/>
                    <a:gd name="T104" fmla="*/ 30 w 414"/>
                    <a:gd name="T105" fmla="*/ 256 h 534"/>
                    <a:gd name="T106" fmla="*/ 4 w 414"/>
                    <a:gd name="T107" fmla="*/ 240 h 534"/>
                    <a:gd name="T108" fmla="*/ 346 w 414"/>
                    <a:gd name="T109" fmla="*/ 442 h 534"/>
                    <a:gd name="T110" fmla="*/ 346 w 414"/>
                    <a:gd name="T111" fmla="*/ 490 h 534"/>
                    <a:gd name="T112" fmla="*/ 354 w 414"/>
                    <a:gd name="T113" fmla="*/ 512 h 534"/>
                    <a:gd name="T114" fmla="*/ 350 w 414"/>
                    <a:gd name="T115" fmla="*/ 426 h 534"/>
                    <a:gd name="T116" fmla="*/ 346 w 414"/>
                    <a:gd name="T117" fmla="*/ 438 h 534"/>
                    <a:gd name="T118" fmla="*/ 346 w 414"/>
                    <a:gd name="T119" fmla="*/ 442 h 534"/>
                    <a:gd name="T120" fmla="*/ 360 w 414"/>
                    <a:gd name="T121" fmla="*/ 528 h 5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414" h="534">
                      <a:moveTo>
                        <a:pt x="0" y="236"/>
                      </a:moveTo>
                      <a:lnTo>
                        <a:pt x="0" y="232"/>
                      </a:lnTo>
                      <a:lnTo>
                        <a:pt x="4" y="232"/>
                      </a:lnTo>
                      <a:lnTo>
                        <a:pt x="6" y="232"/>
                      </a:lnTo>
                      <a:lnTo>
                        <a:pt x="6" y="228"/>
                      </a:lnTo>
                      <a:lnTo>
                        <a:pt x="6" y="226"/>
                      </a:lnTo>
                      <a:lnTo>
                        <a:pt x="10" y="226"/>
                      </a:lnTo>
                      <a:lnTo>
                        <a:pt x="10" y="228"/>
                      </a:lnTo>
                      <a:lnTo>
                        <a:pt x="14" y="228"/>
                      </a:lnTo>
                      <a:lnTo>
                        <a:pt x="18" y="228"/>
                      </a:lnTo>
                      <a:lnTo>
                        <a:pt x="22" y="228"/>
                      </a:lnTo>
                      <a:lnTo>
                        <a:pt x="26" y="228"/>
                      </a:lnTo>
                      <a:lnTo>
                        <a:pt x="26" y="226"/>
                      </a:lnTo>
                      <a:lnTo>
                        <a:pt x="30" y="226"/>
                      </a:lnTo>
                      <a:lnTo>
                        <a:pt x="34" y="226"/>
                      </a:lnTo>
                      <a:lnTo>
                        <a:pt x="34" y="228"/>
                      </a:lnTo>
                      <a:lnTo>
                        <a:pt x="36" y="228"/>
                      </a:lnTo>
                      <a:lnTo>
                        <a:pt x="36" y="226"/>
                      </a:lnTo>
                      <a:lnTo>
                        <a:pt x="40" y="226"/>
                      </a:lnTo>
                      <a:lnTo>
                        <a:pt x="36" y="226"/>
                      </a:lnTo>
                      <a:lnTo>
                        <a:pt x="36" y="222"/>
                      </a:lnTo>
                      <a:lnTo>
                        <a:pt x="40" y="222"/>
                      </a:lnTo>
                      <a:lnTo>
                        <a:pt x="36" y="218"/>
                      </a:lnTo>
                      <a:lnTo>
                        <a:pt x="36" y="214"/>
                      </a:lnTo>
                      <a:lnTo>
                        <a:pt x="36" y="210"/>
                      </a:lnTo>
                      <a:lnTo>
                        <a:pt x="34" y="210"/>
                      </a:lnTo>
                      <a:lnTo>
                        <a:pt x="34" y="206"/>
                      </a:lnTo>
                      <a:lnTo>
                        <a:pt x="34" y="202"/>
                      </a:lnTo>
                      <a:lnTo>
                        <a:pt x="30" y="202"/>
                      </a:lnTo>
                      <a:lnTo>
                        <a:pt x="26" y="198"/>
                      </a:lnTo>
                      <a:lnTo>
                        <a:pt x="26" y="196"/>
                      </a:lnTo>
                      <a:lnTo>
                        <a:pt x="26" y="192"/>
                      </a:lnTo>
                      <a:lnTo>
                        <a:pt x="26" y="188"/>
                      </a:lnTo>
                      <a:lnTo>
                        <a:pt x="26" y="184"/>
                      </a:lnTo>
                      <a:lnTo>
                        <a:pt x="22" y="184"/>
                      </a:lnTo>
                      <a:lnTo>
                        <a:pt x="18" y="184"/>
                      </a:lnTo>
                      <a:lnTo>
                        <a:pt x="18" y="180"/>
                      </a:lnTo>
                      <a:lnTo>
                        <a:pt x="18" y="176"/>
                      </a:lnTo>
                      <a:lnTo>
                        <a:pt x="18" y="172"/>
                      </a:lnTo>
                      <a:lnTo>
                        <a:pt x="22" y="172"/>
                      </a:lnTo>
                      <a:lnTo>
                        <a:pt x="22" y="170"/>
                      </a:lnTo>
                      <a:lnTo>
                        <a:pt x="26" y="170"/>
                      </a:lnTo>
                      <a:lnTo>
                        <a:pt x="26" y="166"/>
                      </a:lnTo>
                      <a:lnTo>
                        <a:pt x="26" y="162"/>
                      </a:lnTo>
                      <a:lnTo>
                        <a:pt x="30" y="162"/>
                      </a:lnTo>
                      <a:lnTo>
                        <a:pt x="30" y="158"/>
                      </a:lnTo>
                      <a:lnTo>
                        <a:pt x="34" y="158"/>
                      </a:lnTo>
                      <a:lnTo>
                        <a:pt x="34" y="162"/>
                      </a:lnTo>
                      <a:lnTo>
                        <a:pt x="34" y="166"/>
                      </a:lnTo>
                      <a:lnTo>
                        <a:pt x="36" y="166"/>
                      </a:lnTo>
                      <a:lnTo>
                        <a:pt x="40" y="166"/>
                      </a:lnTo>
                      <a:lnTo>
                        <a:pt x="40" y="162"/>
                      </a:lnTo>
                      <a:lnTo>
                        <a:pt x="44" y="162"/>
                      </a:lnTo>
                      <a:lnTo>
                        <a:pt x="48" y="162"/>
                      </a:lnTo>
                      <a:lnTo>
                        <a:pt x="52" y="162"/>
                      </a:lnTo>
                      <a:lnTo>
                        <a:pt x="52" y="158"/>
                      </a:lnTo>
                      <a:lnTo>
                        <a:pt x="56" y="154"/>
                      </a:lnTo>
                      <a:lnTo>
                        <a:pt x="56" y="150"/>
                      </a:lnTo>
                      <a:lnTo>
                        <a:pt x="56" y="146"/>
                      </a:lnTo>
                      <a:lnTo>
                        <a:pt x="60" y="146"/>
                      </a:lnTo>
                      <a:lnTo>
                        <a:pt x="60" y="142"/>
                      </a:lnTo>
                      <a:lnTo>
                        <a:pt x="62" y="142"/>
                      </a:lnTo>
                      <a:lnTo>
                        <a:pt x="66" y="142"/>
                      </a:lnTo>
                      <a:lnTo>
                        <a:pt x="66" y="140"/>
                      </a:lnTo>
                      <a:lnTo>
                        <a:pt x="70" y="132"/>
                      </a:lnTo>
                      <a:lnTo>
                        <a:pt x="70" y="128"/>
                      </a:lnTo>
                      <a:lnTo>
                        <a:pt x="74" y="124"/>
                      </a:lnTo>
                      <a:lnTo>
                        <a:pt x="78" y="124"/>
                      </a:lnTo>
                      <a:lnTo>
                        <a:pt x="82" y="120"/>
                      </a:lnTo>
                      <a:lnTo>
                        <a:pt x="82" y="116"/>
                      </a:lnTo>
                      <a:lnTo>
                        <a:pt x="78" y="116"/>
                      </a:lnTo>
                      <a:lnTo>
                        <a:pt x="82" y="112"/>
                      </a:lnTo>
                      <a:lnTo>
                        <a:pt x="86" y="110"/>
                      </a:lnTo>
                      <a:lnTo>
                        <a:pt x="86" y="106"/>
                      </a:lnTo>
                      <a:lnTo>
                        <a:pt x="90" y="106"/>
                      </a:lnTo>
                      <a:lnTo>
                        <a:pt x="92" y="102"/>
                      </a:lnTo>
                      <a:lnTo>
                        <a:pt x="90" y="102"/>
                      </a:lnTo>
                      <a:lnTo>
                        <a:pt x="90" y="106"/>
                      </a:lnTo>
                      <a:lnTo>
                        <a:pt x="90" y="102"/>
                      </a:lnTo>
                      <a:lnTo>
                        <a:pt x="90" y="98"/>
                      </a:lnTo>
                      <a:lnTo>
                        <a:pt x="90" y="94"/>
                      </a:lnTo>
                      <a:lnTo>
                        <a:pt x="90" y="90"/>
                      </a:lnTo>
                      <a:lnTo>
                        <a:pt x="90" y="86"/>
                      </a:lnTo>
                      <a:lnTo>
                        <a:pt x="92" y="86"/>
                      </a:lnTo>
                      <a:lnTo>
                        <a:pt x="96" y="86"/>
                      </a:lnTo>
                      <a:lnTo>
                        <a:pt x="100" y="86"/>
                      </a:lnTo>
                      <a:lnTo>
                        <a:pt x="100" y="82"/>
                      </a:lnTo>
                      <a:lnTo>
                        <a:pt x="100" y="80"/>
                      </a:lnTo>
                      <a:lnTo>
                        <a:pt x="96" y="80"/>
                      </a:lnTo>
                      <a:lnTo>
                        <a:pt x="92" y="80"/>
                      </a:lnTo>
                      <a:lnTo>
                        <a:pt x="92" y="80"/>
                      </a:lnTo>
                      <a:lnTo>
                        <a:pt x="90" y="80"/>
                      </a:lnTo>
                      <a:lnTo>
                        <a:pt x="88" y="78"/>
                      </a:lnTo>
                      <a:lnTo>
                        <a:pt x="86" y="78"/>
                      </a:lnTo>
                      <a:lnTo>
                        <a:pt x="84" y="76"/>
                      </a:lnTo>
                      <a:lnTo>
                        <a:pt x="82" y="76"/>
                      </a:lnTo>
                      <a:lnTo>
                        <a:pt x="80" y="72"/>
                      </a:lnTo>
                      <a:lnTo>
                        <a:pt x="78" y="72"/>
                      </a:lnTo>
                      <a:lnTo>
                        <a:pt x="76" y="70"/>
                      </a:lnTo>
                      <a:lnTo>
                        <a:pt x="76" y="66"/>
                      </a:lnTo>
                      <a:lnTo>
                        <a:pt x="76" y="62"/>
                      </a:lnTo>
                      <a:lnTo>
                        <a:pt x="76" y="58"/>
                      </a:lnTo>
                      <a:lnTo>
                        <a:pt x="74" y="54"/>
                      </a:lnTo>
                      <a:lnTo>
                        <a:pt x="74" y="48"/>
                      </a:lnTo>
                      <a:lnTo>
                        <a:pt x="76" y="42"/>
                      </a:lnTo>
                      <a:lnTo>
                        <a:pt x="84" y="36"/>
                      </a:lnTo>
                      <a:lnTo>
                        <a:pt x="66" y="22"/>
                      </a:lnTo>
                      <a:lnTo>
                        <a:pt x="62" y="18"/>
                      </a:lnTo>
                      <a:lnTo>
                        <a:pt x="66" y="10"/>
                      </a:lnTo>
                      <a:lnTo>
                        <a:pt x="78" y="4"/>
                      </a:lnTo>
                      <a:lnTo>
                        <a:pt x="88" y="2"/>
                      </a:lnTo>
                      <a:lnTo>
                        <a:pt x="92" y="0"/>
                      </a:lnTo>
                      <a:lnTo>
                        <a:pt x="100" y="0"/>
                      </a:lnTo>
                      <a:lnTo>
                        <a:pt x="104" y="4"/>
                      </a:lnTo>
                      <a:lnTo>
                        <a:pt x="114" y="12"/>
                      </a:lnTo>
                      <a:lnTo>
                        <a:pt x="118" y="18"/>
                      </a:lnTo>
                      <a:lnTo>
                        <a:pt x="118" y="18"/>
                      </a:lnTo>
                      <a:lnTo>
                        <a:pt x="120" y="18"/>
                      </a:lnTo>
                      <a:lnTo>
                        <a:pt x="120" y="18"/>
                      </a:lnTo>
                      <a:lnTo>
                        <a:pt x="122" y="20"/>
                      </a:lnTo>
                      <a:lnTo>
                        <a:pt x="124" y="20"/>
                      </a:lnTo>
                      <a:lnTo>
                        <a:pt x="124" y="20"/>
                      </a:lnTo>
                      <a:lnTo>
                        <a:pt x="128" y="22"/>
                      </a:lnTo>
                      <a:lnTo>
                        <a:pt x="126" y="26"/>
                      </a:lnTo>
                      <a:lnTo>
                        <a:pt x="126" y="26"/>
                      </a:lnTo>
                      <a:lnTo>
                        <a:pt x="130" y="26"/>
                      </a:lnTo>
                      <a:lnTo>
                        <a:pt x="132" y="28"/>
                      </a:lnTo>
                      <a:lnTo>
                        <a:pt x="132" y="28"/>
                      </a:lnTo>
                      <a:lnTo>
                        <a:pt x="132" y="28"/>
                      </a:lnTo>
                      <a:lnTo>
                        <a:pt x="130" y="28"/>
                      </a:lnTo>
                      <a:lnTo>
                        <a:pt x="130" y="28"/>
                      </a:lnTo>
                      <a:lnTo>
                        <a:pt x="132" y="30"/>
                      </a:lnTo>
                      <a:lnTo>
                        <a:pt x="132" y="30"/>
                      </a:lnTo>
                      <a:lnTo>
                        <a:pt x="132" y="30"/>
                      </a:lnTo>
                      <a:lnTo>
                        <a:pt x="140" y="28"/>
                      </a:lnTo>
                      <a:lnTo>
                        <a:pt x="142" y="26"/>
                      </a:lnTo>
                      <a:lnTo>
                        <a:pt x="148" y="24"/>
                      </a:lnTo>
                      <a:lnTo>
                        <a:pt x="152" y="24"/>
                      </a:lnTo>
                      <a:lnTo>
                        <a:pt x="158" y="22"/>
                      </a:lnTo>
                      <a:lnTo>
                        <a:pt x="168" y="30"/>
                      </a:lnTo>
                      <a:lnTo>
                        <a:pt x="168" y="36"/>
                      </a:lnTo>
                      <a:lnTo>
                        <a:pt x="166" y="44"/>
                      </a:lnTo>
                      <a:lnTo>
                        <a:pt x="158" y="52"/>
                      </a:lnTo>
                      <a:lnTo>
                        <a:pt x="156" y="54"/>
                      </a:lnTo>
                      <a:lnTo>
                        <a:pt x="148" y="54"/>
                      </a:lnTo>
                      <a:lnTo>
                        <a:pt x="148" y="60"/>
                      </a:lnTo>
                      <a:lnTo>
                        <a:pt x="152" y="60"/>
                      </a:lnTo>
                      <a:lnTo>
                        <a:pt x="152" y="64"/>
                      </a:lnTo>
                      <a:lnTo>
                        <a:pt x="156" y="64"/>
                      </a:lnTo>
                      <a:lnTo>
                        <a:pt x="156" y="68"/>
                      </a:lnTo>
                      <a:lnTo>
                        <a:pt x="156" y="72"/>
                      </a:lnTo>
                      <a:lnTo>
                        <a:pt x="160" y="72"/>
                      </a:lnTo>
                      <a:lnTo>
                        <a:pt x="160" y="76"/>
                      </a:lnTo>
                      <a:lnTo>
                        <a:pt x="156" y="80"/>
                      </a:lnTo>
                      <a:lnTo>
                        <a:pt x="156" y="76"/>
                      </a:lnTo>
                      <a:lnTo>
                        <a:pt x="152" y="80"/>
                      </a:lnTo>
                      <a:lnTo>
                        <a:pt x="148" y="80"/>
                      </a:lnTo>
                      <a:lnTo>
                        <a:pt x="148" y="76"/>
                      </a:lnTo>
                      <a:lnTo>
                        <a:pt x="144" y="76"/>
                      </a:lnTo>
                      <a:lnTo>
                        <a:pt x="144" y="80"/>
                      </a:lnTo>
                      <a:lnTo>
                        <a:pt x="144" y="82"/>
                      </a:lnTo>
                      <a:lnTo>
                        <a:pt x="144" y="86"/>
                      </a:lnTo>
                      <a:lnTo>
                        <a:pt x="148" y="86"/>
                      </a:lnTo>
                      <a:lnTo>
                        <a:pt x="148" y="90"/>
                      </a:lnTo>
                      <a:lnTo>
                        <a:pt x="148" y="94"/>
                      </a:lnTo>
                      <a:lnTo>
                        <a:pt x="148" y="98"/>
                      </a:lnTo>
                      <a:lnTo>
                        <a:pt x="148" y="102"/>
                      </a:lnTo>
                      <a:lnTo>
                        <a:pt x="148" y="98"/>
                      </a:lnTo>
                      <a:lnTo>
                        <a:pt x="152" y="98"/>
                      </a:lnTo>
                      <a:lnTo>
                        <a:pt x="156" y="98"/>
                      </a:lnTo>
                      <a:lnTo>
                        <a:pt x="156" y="102"/>
                      </a:lnTo>
                      <a:lnTo>
                        <a:pt x="156" y="106"/>
                      </a:lnTo>
                      <a:lnTo>
                        <a:pt x="160" y="106"/>
                      </a:lnTo>
                      <a:lnTo>
                        <a:pt x="162" y="106"/>
                      </a:lnTo>
                      <a:lnTo>
                        <a:pt x="166" y="110"/>
                      </a:lnTo>
                      <a:lnTo>
                        <a:pt x="170" y="110"/>
                      </a:lnTo>
                      <a:lnTo>
                        <a:pt x="166" y="112"/>
                      </a:lnTo>
                      <a:lnTo>
                        <a:pt x="170" y="112"/>
                      </a:lnTo>
                      <a:lnTo>
                        <a:pt x="174" y="116"/>
                      </a:lnTo>
                      <a:lnTo>
                        <a:pt x="178" y="116"/>
                      </a:lnTo>
                      <a:lnTo>
                        <a:pt x="178" y="120"/>
                      </a:lnTo>
                      <a:lnTo>
                        <a:pt x="182" y="120"/>
                      </a:lnTo>
                      <a:lnTo>
                        <a:pt x="178" y="120"/>
                      </a:lnTo>
                      <a:lnTo>
                        <a:pt x="174" y="124"/>
                      </a:lnTo>
                      <a:lnTo>
                        <a:pt x="174" y="128"/>
                      </a:lnTo>
                      <a:lnTo>
                        <a:pt x="170" y="128"/>
                      </a:lnTo>
                      <a:lnTo>
                        <a:pt x="170" y="132"/>
                      </a:lnTo>
                      <a:lnTo>
                        <a:pt x="166" y="136"/>
                      </a:lnTo>
                      <a:lnTo>
                        <a:pt x="170" y="136"/>
                      </a:lnTo>
                      <a:lnTo>
                        <a:pt x="170" y="140"/>
                      </a:lnTo>
                      <a:lnTo>
                        <a:pt x="166" y="140"/>
                      </a:lnTo>
                      <a:lnTo>
                        <a:pt x="166" y="142"/>
                      </a:lnTo>
                      <a:lnTo>
                        <a:pt x="166" y="146"/>
                      </a:lnTo>
                      <a:lnTo>
                        <a:pt x="170" y="146"/>
                      </a:lnTo>
                      <a:lnTo>
                        <a:pt x="170" y="150"/>
                      </a:lnTo>
                      <a:lnTo>
                        <a:pt x="174" y="150"/>
                      </a:lnTo>
                      <a:lnTo>
                        <a:pt x="174" y="146"/>
                      </a:lnTo>
                      <a:lnTo>
                        <a:pt x="174" y="150"/>
                      </a:lnTo>
                      <a:lnTo>
                        <a:pt x="178" y="150"/>
                      </a:lnTo>
                      <a:lnTo>
                        <a:pt x="182" y="154"/>
                      </a:lnTo>
                      <a:lnTo>
                        <a:pt x="186" y="158"/>
                      </a:lnTo>
                      <a:lnTo>
                        <a:pt x="190" y="162"/>
                      </a:lnTo>
                      <a:lnTo>
                        <a:pt x="192" y="162"/>
                      </a:lnTo>
                      <a:lnTo>
                        <a:pt x="196" y="162"/>
                      </a:lnTo>
                      <a:lnTo>
                        <a:pt x="196" y="166"/>
                      </a:lnTo>
                      <a:lnTo>
                        <a:pt x="200" y="166"/>
                      </a:lnTo>
                      <a:lnTo>
                        <a:pt x="204" y="166"/>
                      </a:lnTo>
                      <a:lnTo>
                        <a:pt x="204" y="170"/>
                      </a:lnTo>
                      <a:lnTo>
                        <a:pt x="208" y="170"/>
                      </a:lnTo>
                      <a:lnTo>
                        <a:pt x="212" y="170"/>
                      </a:lnTo>
                      <a:lnTo>
                        <a:pt x="212" y="172"/>
                      </a:lnTo>
                      <a:lnTo>
                        <a:pt x="212" y="170"/>
                      </a:lnTo>
                      <a:lnTo>
                        <a:pt x="216" y="170"/>
                      </a:lnTo>
                      <a:lnTo>
                        <a:pt x="218" y="170"/>
                      </a:lnTo>
                      <a:lnTo>
                        <a:pt x="218" y="172"/>
                      </a:lnTo>
                      <a:lnTo>
                        <a:pt x="218" y="170"/>
                      </a:lnTo>
                      <a:lnTo>
                        <a:pt x="222" y="170"/>
                      </a:lnTo>
                      <a:lnTo>
                        <a:pt x="226" y="172"/>
                      </a:lnTo>
                      <a:lnTo>
                        <a:pt x="230" y="172"/>
                      </a:lnTo>
                      <a:lnTo>
                        <a:pt x="230" y="176"/>
                      </a:lnTo>
                      <a:lnTo>
                        <a:pt x="234" y="176"/>
                      </a:lnTo>
                      <a:lnTo>
                        <a:pt x="234" y="180"/>
                      </a:lnTo>
                      <a:lnTo>
                        <a:pt x="238" y="180"/>
                      </a:lnTo>
                      <a:lnTo>
                        <a:pt x="238" y="184"/>
                      </a:lnTo>
                      <a:lnTo>
                        <a:pt x="242" y="184"/>
                      </a:lnTo>
                      <a:lnTo>
                        <a:pt x="242" y="180"/>
                      </a:lnTo>
                      <a:lnTo>
                        <a:pt x="246" y="180"/>
                      </a:lnTo>
                      <a:lnTo>
                        <a:pt x="246" y="184"/>
                      </a:lnTo>
                      <a:lnTo>
                        <a:pt x="248" y="188"/>
                      </a:lnTo>
                      <a:lnTo>
                        <a:pt x="248" y="184"/>
                      </a:lnTo>
                      <a:lnTo>
                        <a:pt x="252" y="184"/>
                      </a:lnTo>
                      <a:lnTo>
                        <a:pt x="256" y="184"/>
                      </a:lnTo>
                      <a:lnTo>
                        <a:pt x="256" y="188"/>
                      </a:lnTo>
                      <a:lnTo>
                        <a:pt x="260" y="188"/>
                      </a:lnTo>
                      <a:lnTo>
                        <a:pt x="264" y="188"/>
                      </a:lnTo>
                      <a:lnTo>
                        <a:pt x="268" y="188"/>
                      </a:lnTo>
                      <a:lnTo>
                        <a:pt x="268" y="192"/>
                      </a:lnTo>
                      <a:lnTo>
                        <a:pt x="272" y="188"/>
                      </a:lnTo>
                      <a:lnTo>
                        <a:pt x="274" y="188"/>
                      </a:lnTo>
                      <a:lnTo>
                        <a:pt x="278" y="188"/>
                      </a:lnTo>
                      <a:lnTo>
                        <a:pt x="278" y="192"/>
                      </a:lnTo>
                      <a:lnTo>
                        <a:pt x="278" y="188"/>
                      </a:lnTo>
                      <a:lnTo>
                        <a:pt x="282" y="184"/>
                      </a:lnTo>
                      <a:lnTo>
                        <a:pt x="282" y="180"/>
                      </a:lnTo>
                      <a:lnTo>
                        <a:pt x="278" y="180"/>
                      </a:lnTo>
                      <a:lnTo>
                        <a:pt x="278" y="176"/>
                      </a:lnTo>
                      <a:lnTo>
                        <a:pt x="278" y="172"/>
                      </a:lnTo>
                      <a:lnTo>
                        <a:pt x="278" y="170"/>
                      </a:lnTo>
                      <a:lnTo>
                        <a:pt x="282" y="166"/>
                      </a:lnTo>
                      <a:lnTo>
                        <a:pt x="282" y="162"/>
                      </a:lnTo>
                      <a:lnTo>
                        <a:pt x="278" y="162"/>
                      </a:lnTo>
                      <a:lnTo>
                        <a:pt x="282" y="162"/>
                      </a:lnTo>
                      <a:lnTo>
                        <a:pt x="286" y="158"/>
                      </a:lnTo>
                      <a:lnTo>
                        <a:pt x="290" y="158"/>
                      </a:lnTo>
                      <a:lnTo>
                        <a:pt x="290" y="162"/>
                      </a:lnTo>
                      <a:lnTo>
                        <a:pt x="290" y="166"/>
                      </a:lnTo>
                      <a:lnTo>
                        <a:pt x="290" y="170"/>
                      </a:lnTo>
                      <a:lnTo>
                        <a:pt x="290" y="172"/>
                      </a:lnTo>
                      <a:lnTo>
                        <a:pt x="290" y="176"/>
                      </a:lnTo>
                      <a:lnTo>
                        <a:pt x="290" y="180"/>
                      </a:lnTo>
                      <a:lnTo>
                        <a:pt x="294" y="180"/>
                      </a:lnTo>
                      <a:lnTo>
                        <a:pt x="298" y="180"/>
                      </a:lnTo>
                      <a:lnTo>
                        <a:pt x="302" y="180"/>
                      </a:lnTo>
                      <a:lnTo>
                        <a:pt x="302" y="184"/>
                      </a:lnTo>
                      <a:lnTo>
                        <a:pt x="304" y="184"/>
                      </a:lnTo>
                      <a:lnTo>
                        <a:pt x="308" y="184"/>
                      </a:lnTo>
                      <a:lnTo>
                        <a:pt x="308" y="180"/>
                      </a:lnTo>
                      <a:lnTo>
                        <a:pt x="312" y="180"/>
                      </a:lnTo>
                      <a:lnTo>
                        <a:pt x="316" y="180"/>
                      </a:lnTo>
                      <a:lnTo>
                        <a:pt x="316" y="184"/>
                      </a:lnTo>
                      <a:lnTo>
                        <a:pt x="320" y="184"/>
                      </a:lnTo>
                      <a:lnTo>
                        <a:pt x="324" y="180"/>
                      </a:lnTo>
                      <a:lnTo>
                        <a:pt x="324" y="184"/>
                      </a:lnTo>
                      <a:lnTo>
                        <a:pt x="328" y="184"/>
                      </a:lnTo>
                      <a:lnTo>
                        <a:pt x="328" y="180"/>
                      </a:lnTo>
                      <a:lnTo>
                        <a:pt x="332" y="180"/>
                      </a:lnTo>
                      <a:lnTo>
                        <a:pt x="334" y="180"/>
                      </a:lnTo>
                      <a:lnTo>
                        <a:pt x="338" y="180"/>
                      </a:lnTo>
                      <a:lnTo>
                        <a:pt x="334" y="176"/>
                      </a:lnTo>
                      <a:lnTo>
                        <a:pt x="338" y="172"/>
                      </a:lnTo>
                      <a:lnTo>
                        <a:pt x="334" y="172"/>
                      </a:lnTo>
                      <a:lnTo>
                        <a:pt x="334" y="170"/>
                      </a:lnTo>
                      <a:lnTo>
                        <a:pt x="332" y="170"/>
                      </a:lnTo>
                      <a:lnTo>
                        <a:pt x="332" y="166"/>
                      </a:lnTo>
                      <a:lnTo>
                        <a:pt x="334" y="166"/>
                      </a:lnTo>
                      <a:lnTo>
                        <a:pt x="338" y="166"/>
                      </a:lnTo>
                      <a:lnTo>
                        <a:pt x="338" y="162"/>
                      </a:lnTo>
                      <a:lnTo>
                        <a:pt x="338" y="166"/>
                      </a:lnTo>
                      <a:lnTo>
                        <a:pt x="342" y="162"/>
                      </a:lnTo>
                      <a:lnTo>
                        <a:pt x="346" y="162"/>
                      </a:lnTo>
                      <a:lnTo>
                        <a:pt x="346" y="158"/>
                      </a:lnTo>
                      <a:lnTo>
                        <a:pt x="350" y="154"/>
                      </a:lnTo>
                      <a:lnTo>
                        <a:pt x="354" y="154"/>
                      </a:lnTo>
                      <a:lnTo>
                        <a:pt x="354" y="150"/>
                      </a:lnTo>
                      <a:lnTo>
                        <a:pt x="358" y="146"/>
                      </a:lnTo>
                      <a:lnTo>
                        <a:pt x="360" y="146"/>
                      </a:lnTo>
                      <a:lnTo>
                        <a:pt x="364" y="146"/>
                      </a:lnTo>
                      <a:lnTo>
                        <a:pt x="364" y="142"/>
                      </a:lnTo>
                      <a:lnTo>
                        <a:pt x="368" y="140"/>
                      </a:lnTo>
                      <a:lnTo>
                        <a:pt x="372" y="140"/>
                      </a:lnTo>
                      <a:lnTo>
                        <a:pt x="372" y="136"/>
                      </a:lnTo>
                      <a:lnTo>
                        <a:pt x="376" y="136"/>
                      </a:lnTo>
                      <a:lnTo>
                        <a:pt x="376" y="140"/>
                      </a:lnTo>
                      <a:lnTo>
                        <a:pt x="380" y="140"/>
                      </a:lnTo>
                      <a:lnTo>
                        <a:pt x="384" y="142"/>
                      </a:lnTo>
                      <a:lnTo>
                        <a:pt x="384" y="140"/>
                      </a:lnTo>
                      <a:lnTo>
                        <a:pt x="388" y="140"/>
                      </a:lnTo>
                      <a:lnTo>
                        <a:pt x="388" y="136"/>
                      </a:lnTo>
                      <a:lnTo>
                        <a:pt x="390" y="136"/>
                      </a:lnTo>
                      <a:lnTo>
                        <a:pt x="394" y="132"/>
                      </a:lnTo>
                      <a:lnTo>
                        <a:pt x="394" y="136"/>
                      </a:lnTo>
                      <a:lnTo>
                        <a:pt x="394" y="140"/>
                      </a:lnTo>
                      <a:lnTo>
                        <a:pt x="398" y="136"/>
                      </a:lnTo>
                      <a:lnTo>
                        <a:pt x="398" y="140"/>
                      </a:lnTo>
                      <a:lnTo>
                        <a:pt x="394" y="140"/>
                      </a:lnTo>
                      <a:lnTo>
                        <a:pt x="394" y="142"/>
                      </a:lnTo>
                      <a:lnTo>
                        <a:pt x="398" y="142"/>
                      </a:lnTo>
                      <a:lnTo>
                        <a:pt x="398" y="140"/>
                      </a:lnTo>
                      <a:lnTo>
                        <a:pt x="398" y="142"/>
                      </a:lnTo>
                      <a:lnTo>
                        <a:pt x="402" y="146"/>
                      </a:lnTo>
                      <a:lnTo>
                        <a:pt x="398" y="150"/>
                      </a:lnTo>
                      <a:lnTo>
                        <a:pt x="398" y="154"/>
                      </a:lnTo>
                      <a:lnTo>
                        <a:pt x="402" y="150"/>
                      </a:lnTo>
                      <a:lnTo>
                        <a:pt x="402" y="154"/>
                      </a:lnTo>
                      <a:lnTo>
                        <a:pt x="406" y="154"/>
                      </a:lnTo>
                      <a:lnTo>
                        <a:pt x="410" y="154"/>
                      </a:lnTo>
                      <a:lnTo>
                        <a:pt x="410" y="158"/>
                      </a:lnTo>
                      <a:lnTo>
                        <a:pt x="414" y="162"/>
                      </a:lnTo>
                      <a:lnTo>
                        <a:pt x="410" y="162"/>
                      </a:lnTo>
                      <a:lnTo>
                        <a:pt x="410" y="166"/>
                      </a:lnTo>
                      <a:lnTo>
                        <a:pt x="406" y="166"/>
                      </a:lnTo>
                      <a:lnTo>
                        <a:pt x="406" y="170"/>
                      </a:lnTo>
                      <a:lnTo>
                        <a:pt x="406" y="172"/>
                      </a:lnTo>
                      <a:lnTo>
                        <a:pt x="410" y="176"/>
                      </a:lnTo>
                      <a:lnTo>
                        <a:pt x="406" y="176"/>
                      </a:lnTo>
                      <a:lnTo>
                        <a:pt x="406" y="172"/>
                      </a:lnTo>
                      <a:lnTo>
                        <a:pt x="402" y="172"/>
                      </a:lnTo>
                      <a:lnTo>
                        <a:pt x="398" y="172"/>
                      </a:lnTo>
                      <a:lnTo>
                        <a:pt x="394" y="172"/>
                      </a:lnTo>
                      <a:lnTo>
                        <a:pt x="390" y="176"/>
                      </a:lnTo>
                      <a:lnTo>
                        <a:pt x="388" y="180"/>
                      </a:lnTo>
                      <a:lnTo>
                        <a:pt x="384" y="180"/>
                      </a:lnTo>
                      <a:lnTo>
                        <a:pt x="384" y="184"/>
                      </a:lnTo>
                      <a:lnTo>
                        <a:pt x="380" y="184"/>
                      </a:lnTo>
                      <a:lnTo>
                        <a:pt x="380" y="188"/>
                      </a:lnTo>
                      <a:lnTo>
                        <a:pt x="380" y="192"/>
                      </a:lnTo>
                      <a:lnTo>
                        <a:pt x="380" y="196"/>
                      </a:lnTo>
                      <a:lnTo>
                        <a:pt x="380" y="198"/>
                      </a:lnTo>
                      <a:lnTo>
                        <a:pt x="380" y="202"/>
                      </a:lnTo>
                      <a:lnTo>
                        <a:pt x="376" y="202"/>
                      </a:lnTo>
                      <a:lnTo>
                        <a:pt x="376" y="206"/>
                      </a:lnTo>
                      <a:lnTo>
                        <a:pt x="372" y="206"/>
                      </a:lnTo>
                      <a:lnTo>
                        <a:pt x="372" y="210"/>
                      </a:lnTo>
                      <a:lnTo>
                        <a:pt x="376" y="214"/>
                      </a:lnTo>
                      <a:lnTo>
                        <a:pt x="372" y="218"/>
                      </a:lnTo>
                      <a:lnTo>
                        <a:pt x="372" y="222"/>
                      </a:lnTo>
                      <a:lnTo>
                        <a:pt x="368" y="226"/>
                      </a:lnTo>
                      <a:lnTo>
                        <a:pt x="368" y="228"/>
                      </a:lnTo>
                      <a:lnTo>
                        <a:pt x="368" y="232"/>
                      </a:lnTo>
                      <a:lnTo>
                        <a:pt x="364" y="236"/>
                      </a:lnTo>
                      <a:lnTo>
                        <a:pt x="364" y="232"/>
                      </a:lnTo>
                      <a:lnTo>
                        <a:pt x="360" y="232"/>
                      </a:lnTo>
                      <a:lnTo>
                        <a:pt x="358" y="232"/>
                      </a:lnTo>
                      <a:lnTo>
                        <a:pt x="354" y="232"/>
                      </a:lnTo>
                      <a:lnTo>
                        <a:pt x="354" y="228"/>
                      </a:lnTo>
                      <a:lnTo>
                        <a:pt x="354" y="232"/>
                      </a:lnTo>
                      <a:lnTo>
                        <a:pt x="354" y="236"/>
                      </a:lnTo>
                      <a:lnTo>
                        <a:pt x="358" y="240"/>
                      </a:lnTo>
                      <a:lnTo>
                        <a:pt x="354" y="244"/>
                      </a:lnTo>
                      <a:lnTo>
                        <a:pt x="354" y="248"/>
                      </a:lnTo>
                      <a:lnTo>
                        <a:pt x="354" y="252"/>
                      </a:lnTo>
                      <a:lnTo>
                        <a:pt x="354" y="248"/>
                      </a:lnTo>
                      <a:lnTo>
                        <a:pt x="350" y="248"/>
                      </a:lnTo>
                      <a:lnTo>
                        <a:pt x="350" y="252"/>
                      </a:lnTo>
                      <a:lnTo>
                        <a:pt x="350" y="256"/>
                      </a:lnTo>
                      <a:lnTo>
                        <a:pt x="350" y="258"/>
                      </a:lnTo>
                      <a:lnTo>
                        <a:pt x="354" y="258"/>
                      </a:lnTo>
                      <a:lnTo>
                        <a:pt x="354" y="262"/>
                      </a:lnTo>
                      <a:lnTo>
                        <a:pt x="354" y="266"/>
                      </a:lnTo>
                      <a:lnTo>
                        <a:pt x="350" y="266"/>
                      </a:lnTo>
                      <a:lnTo>
                        <a:pt x="350" y="262"/>
                      </a:lnTo>
                      <a:lnTo>
                        <a:pt x="350" y="266"/>
                      </a:lnTo>
                      <a:lnTo>
                        <a:pt x="346" y="266"/>
                      </a:lnTo>
                      <a:lnTo>
                        <a:pt x="342" y="270"/>
                      </a:lnTo>
                      <a:lnTo>
                        <a:pt x="342" y="266"/>
                      </a:lnTo>
                      <a:lnTo>
                        <a:pt x="342" y="262"/>
                      </a:lnTo>
                      <a:lnTo>
                        <a:pt x="342" y="258"/>
                      </a:lnTo>
                      <a:lnTo>
                        <a:pt x="342" y="256"/>
                      </a:lnTo>
                      <a:lnTo>
                        <a:pt x="342" y="252"/>
                      </a:lnTo>
                      <a:lnTo>
                        <a:pt x="338" y="248"/>
                      </a:lnTo>
                      <a:lnTo>
                        <a:pt x="342" y="248"/>
                      </a:lnTo>
                      <a:lnTo>
                        <a:pt x="342" y="244"/>
                      </a:lnTo>
                      <a:lnTo>
                        <a:pt x="338" y="244"/>
                      </a:lnTo>
                      <a:lnTo>
                        <a:pt x="338" y="240"/>
                      </a:lnTo>
                      <a:lnTo>
                        <a:pt x="338" y="236"/>
                      </a:lnTo>
                      <a:lnTo>
                        <a:pt x="334" y="240"/>
                      </a:lnTo>
                      <a:lnTo>
                        <a:pt x="334" y="236"/>
                      </a:lnTo>
                      <a:lnTo>
                        <a:pt x="334" y="240"/>
                      </a:lnTo>
                      <a:lnTo>
                        <a:pt x="334" y="244"/>
                      </a:lnTo>
                      <a:lnTo>
                        <a:pt x="332" y="244"/>
                      </a:lnTo>
                      <a:lnTo>
                        <a:pt x="332" y="248"/>
                      </a:lnTo>
                      <a:lnTo>
                        <a:pt x="332" y="252"/>
                      </a:lnTo>
                      <a:lnTo>
                        <a:pt x="328" y="252"/>
                      </a:lnTo>
                      <a:lnTo>
                        <a:pt x="328" y="248"/>
                      </a:lnTo>
                      <a:lnTo>
                        <a:pt x="328" y="244"/>
                      </a:lnTo>
                      <a:lnTo>
                        <a:pt x="328" y="248"/>
                      </a:lnTo>
                      <a:lnTo>
                        <a:pt x="324" y="244"/>
                      </a:lnTo>
                      <a:lnTo>
                        <a:pt x="324" y="240"/>
                      </a:lnTo>
                      <a:lnTo>
                        <a:pt x="324" y="236"/>
                      </a:lnTo>
                      <a:lnTo>
                        <a:pt x="324" y="232"/>
                      </a:lnTo>
                      <a:lnTo>
                        <a:pt x="328" y="228"/>
                      </a:lnTo>
                      <a:lnTo>
                        <a:pt x="328" y="232"/>
                      </a:lnTo>
                      <a:lnTo>
                        <a:pt x="328" y="228"/>
                      </a:lnTo>
                      <a:lnTo>
                        <a:pt x="332" y="228"/>
                      </a:lnTo>
                      <a:lnTo>
                        <a:pt x="334" y="228"/>
                      </a:lnTo>
                      <a:lnTo>
                        <a:pt x="334" y="226"/>
                      </a:lnTo>
                      <a:lnTo>
                        <a:pt x="338" y="226"/>
                      </a:lnTo>
                      <a:lnTo>
                        <a:pt x="338" y="222"/>
                      </a:lnTo>
                      <a:lnTo>
                        <a:pt x="338" y="218"/>
                      </a:lnTo>
                      <a:lnTo>
                        <a:pt x="342" y="218"/>
                      </a:lnTo>
                      <a:lnTo>
                        <a:pt x="342" y="214"/>
                      </a:lnTo>
                      <a:lnTo>
                        <a:pt x="338" y="214"/>
                      </a:lnTo>
                      <a:lnTo>
                        <a:pt x="338" y="210"/>
                      </a:lnTo>
                      <a:lnTo>
                        <a:pt x="334" y="210"/>
                      </a:lnTo>
                      <a:lnTo>
                        <a:pt x="332" y="210"/>
                      </a:lnTo>
                      <a:lnTo>
                        <a:pt x="328" y="210"/>
                      </a:lnTo>
                      <a:lnTo>
                        <a:pt x="324" y="210"/>
                      </a:lnTo>
                      <a:lnTo>
                        <a:pt x="320" y="210"/>
                      </a:lnTo>
                      <a:lnTo>
                        <a:pt x="316" y="210"/>
                      </a:lnTo>
                      <a:lnTo>
                        <a:pt x="312" y="210"/>
                      </a:lnTo>
                      <a:lnTo>
                        <a:pt x="308" y="210"/>
                      </a:lnTo>
                      <a:lnTo>
                        <a:pt x="304" y="210"/>
                      </a:lnTo>
                      <a:lnTo>
                        <a:pt x="304" y="206"/>
                      </a:lnTo>
                      <a:lnTo>
                        <a:pt x="304" y="202"/>
                      </a:lnTo>
                      <a:lnTo>
                        <a:pt x="304" y="198"/>
                      </a:lnTo>
                      <a:lnTo>
                        <a:pt x="304" y="196"/>
                      </a:lnTo>
                      <a:lnTo>
                        <a:pt x="302" y="196"/>
                      </a:lnTo>
                      <a:lnTo>
                        <a:pt x="302" y="192"/>
                      </a:lnTo>
                      <a:lnTo>
                        <a:pt x="302" y="196"/>
                      </a:lnTo>
                      <a:lnTo>
                        <a:pt x="298" y="196"/>
                      </a:lnTo>
                      <a:lnTo>
                        <a:pt x="294" y="196"/>
                      </a:lnTo>
                      <a:lnTo>
                        <a:pt x="294" y="192"/>
                      </a:lnTo>
                      <a:lnTo>
                        <a:pt x="294" y="188"/>
                      </a:lnTo>
                      <a:lnTo>
                        <a:pt x="290" y="188"/>
                      </a:lnTo>
                      <a:lnTo>
                        <a:pt x="290" y="192"/>
                      </a:lnTo>
                      <a:lnTo>
                        <a:pt x="294" y="192"/>
                      </a:lnTo>
                      <a:lnTo>
                        <a:pt x="290" y="192"/>
                      </a:lnTo>
                      <a:lnTo>
                        <a:pt x="290" y="188"/>
                      </a:lnTo>
                      <a:lnTo>
                        <a:pt x="286" y="188"/>
                      </a:lnTo>
                      <a:lnTo>
                        <a:pt x="286" y="184"/>
                      </a:lnTo>
                      <a:lnTo>
                        <a:pt x="282" y="188"/>
                      </a:lnTo>
                      <a:lnTo>
                        <a:pt x="286" y="188"/>
                      </a:lnTo>
                      <a:lnTo>
                        <a:pt x="286" y="192"/>
                      </a:lnTo>
                      <a:lnTo>
                        <a:pt x="282" y="192"/>
                      </a:lnTo>
                      <a:lnTo>
                        <a:pt x="282" y="196"/>
                      </a:lnTo>
                      <a:lnTo>
                        <a:pt x="278" y="198"/>
                      </a:lnTo>
                      <a:lnTo>
                        <a:pt x="282" y="198"/>
                      </a:lnTo>
                      <a:lnTo>
                        <a:pt x="286" y="202"/>
                      </a:lnTo>
                      <a:lnTo>
                        <a:pt x="286" y="206"/>
                      </a:lnTo>
                      <a:lnTo>
                        <a:pt x="290" y="206"/>
                      </a:lnTo>
                      <a:lnTo>
                        <a:pt x="290" y="210"/>
                      </a:lnTo>
                      <a:lnTo>
                        <a:pt x="294" y="210"/>
                      </a:lnTo>
                      <a:lnTo>
                        <a:pt x="290" y="210"/>
                      </a:lnTo>
                      <a:lnTo>
                        <a:pt x="286" y="210"/>
                      </a:lnTo>
                      <a:lnTo>
                        <a:pt x="286" y="214"/>
                      </a:lnTo>
                      <a:lnTo>
                        <a:pt x="282" y="214"/>
                      </a:lnTo>
                      <a:lnTo>
                        <a:pt x="282" y="218"/>
                      </a:lnTo>
                      <a:lnTo>
                        <a:pt x="282" y="214"/>
                      </a:lnTo>
                      <a:lnTo>
                        <a:pt x="278" y="218"/>
                      </a:lnTo>
                      <a:lnTo>
                        <a:pt x="282" y="218"/>
                      </a:lnTo>
                      <a:lnTo>
                        <a:pt x="278" y="218"/>
                      </a:lnTo>
                      <a:lnTo>
                        <a:pt x="278" y="222"/>
                      </a:lnTo>
                      <a:lnTo>
                        <a:pt x="282" y="226"/>
                      </a:lnTo>
                      <a:lnTo>
                        <a:pt x="286" y="226"/>
                      </a:lnTo>
                      <a:lnTo>
                        <a:pt x="286" y="228"/>
                      </a:lnTo>
                      <a:lnTo>
                        <a:pt x="286" y="226"/>
                      </a:lnTo>
                      <a:lnTo>
                        <a:pt x="290" y="226"/>
                      </a:lnTo>
                      <a:lnTo>
                        <a:pt x="290" y="228"/>
                      </a:lnTo>
                      <a:lnTo>
                        <a:pt x="290" y="232"/>
                      </a:lnTo>
                      <a:lnTo>
                        <a:pt x="286" y="236"/>
                      </a:lnTo>
                      <a:lnTo>
                        <a:pt x="286" y="240"/>
                      </a:lnTo>
                      <a:lnTo>
                        <a:pt x="290" y="240"/>
                      </a:lnTo>
                      <a:lnTo>
                        <a:pt x="290" y="244"/>
                      </a:lnTo>
                      <a:lnTo>
                        <a:pt x="290" y="248"/>
                      </a:lnTo>
                      <a:lnTo>
                        <a:pt x="294" y="248"/>
                      </a:lnTo>
                      <a:lnTo>
                        <a:pt x="290" y="248"/>
                      </a:lnTo>
                      <a:lnTo>
                        <a:pt x="290" y="252"/>
                      </a:lnTo>
                      <a:lnTo>
                        <a:pt x="294" y="262"/>
                      </a:lnTo>
                      <a:lnTo>
                        <a:pt x="294" y="266"/>
                      </a:lnTo>
                      <a:lnTo>
                        <a:pt x="294" y="270"/>
                      </a:lnTo>
                      <a:lnTo>
                        <a:pt x="294" y="274"/>
                      </a:lnTo>
                      <a:lnTo>
                        <a:pt x="290" y="274"/>
                      </a:lnTo>
                      <a:lnTo>
                        <a:pt x="290" y="278"/>
                      </a:lnTo>
                      <a:lnTo>
                        <a:pt x="290" y="274"/>
                      </a:lnTo>
                      <a:lnTo>
                        <a:pt x="290" y="270"/>
                      </a:lnTo>
                      <a:lnTo>
                        <a:pt x="290" y="266"/>
                      </a:lnTo>
                      <a:lnTo>
                        <a:pt x="290" y="270"/>
                      </a:lnTo>
                      <a:lnTo>
                        <a:pt x="286" y="270"/>
                      </a:lnTo>
                      <a:lnTo>
                        <a:pt x="286" y="266"/>
                      </a:lnTo>
                      <a:lnTo>
                        <a:pt x="290" y="266"/>
                      </a:lnTo>
                      <a:lnTo>
                        <a:pt x="286" y="266"/>
                      </a:lnTo>
                      <a:lnTo>
                        <a:pt x="286" y="270"/>
                      </a:lnTo>
                      <a:lnTo>
                        <a:pt x="286" y="274"/>
                      </a:lnTo>
                      <a:lnTo>
                        <a:pt x="286" y="278"/>
                      </a:lnTo>
                      <a:lnTo>
                        <a:pt x="286" y="274"/>
                      </a:lnTo>
                      <a:lnTo>
                        <a:pt x="286" y="270"/>
                      </a:lnTo>
                      <a:lnTo>
                        <a:pt x="286" y="274"/>
                      </a:lnTo>
                      <a:lnTo>
                        <a:pt x="282" y="274"/>
                      </a:lnTo>
                      <a:lnTo>
                        <a:pt x="282" y="270"/>
                      </a:lnTo>
                      <a:lnTo>
                        <a:pt x="282" y="274"/>
                      </a:lnTo>
                      <a:lnTo>
                        <a:pt x="282" y="278"/>
                      </a:lnTo>
                      <a:lnTo>
                        <a:pt x="282" y="274"/>
                      </a:lnTo>
                      <a:lnTo>
                        <a:pt x="282" y="270"/>
                      </a:lnTo>
                      <a:lnTo>
                        <a:pt x="278" y="270"/>
                      </a:lnTo>
                      <a:lnTo>
                        <a:pt x="282" y="266"/>
                      </a:lnTo>
                      <a:lnTo>
                        <a:pt x="278" y="262"/>
                      </a:lnTo>
                      <a:lnTo>
                        <a:pt x="278" y="258"/>
                      </a:lnTo>
                      <a:lnTo>
                        <a:pt x="278" y="262"/>
                      </a:lnTo>
                      <a:lnTo>
                        <a:pt x="278" y="266"/>
                      </a:lnTo>
                      <a:lnTo>
                        <a:pt x="282" y="266"/>
                      </a:lnTo>
                      <a:lnTo>
                        <a:pt x="278" y="266"/>
                      </a:lnTo>
                      <a:lnTo>
                        <a:pt x="278" y="270"/>
                      </a:lnTo>
                      <a:lnTo>
                        <a:pt x="274" y="274"/>
                      </a:lnTo>
                      <a:lnTo>
                        <a:pt x="272" y="274"/>
                      </a:lnTo>
                      <a:lnTo>
                        <a:pt x="268" y="278"/>
                      </a:lnTo>
                      <a:lnTo>
                        <a:pt x="264" y="278"/>
                      </a:lnTo>
                      <a:lnTo>
                        <a:pt x="264" y="282"/>
                      </a:lnTo>
                      <a:lnTo>
                        <a:pt x="264" y="286"/>
                      </a:lnTo>
                      <a:lnTo>
                        <a:pt x="264" y="288"/>
                      </a:lnTo>
                      <a:lnTo>
                        <a:pt x="264" y="292"/>
                      </a:lnTo>
                      <a:lnTo>
                        <a:pt x="260" y="292"/>
                      </a:lnTo>
                      <a:lnTo>
                        <a:pt x="260" y="296"/>
                      </a:lnTo>
                      <a:lnTo>
                        <a:pt x="260" y="300"/>
                      </a:lnTo>
                      <a:lnTo>
                        <a:pt x="256" y="300"/>
                      </a:lnTo>
                      <a:lnTo>
                        <a:pt x="256" y="302"/>
                      </a:lnTo>
                      <a:lnTo>
                        <a:pt x="252" y="302"/>
                      </a:lnTo>
                      <a:lnTo>
                        <a:pt x="256" y="302"/>
                      </a:lnTo>
                      <a:lnTo>
                        <a:pt x="252" y="302"/>
                      </a:lnTo>
                      <a:lnTo>
                        <a:pt x="252" y="306"/>
                      </a:lnTo>
                      <a:lnTo>
                        <a:pt x="248" y="306"/>
                      </a:lnTo>
                      <a:lnTo>
                        <a:pt x="246" y="306"/>
                      </a:lnTo>
                      <a:lnTo>
                        <a:pt x="242" y="310"/>
                      </a:lnTo>
                      <a:lnTo>
                        <a:pt x="242" y="306"/>
                      </a:lnTo>
                      <a:lnTo>
                        <a:pt x="246" y="306"/>
                      </a:lnTo>
                      <a:lnTo>
                        <a:pt x="242" y="302"/>
                      </a:lnTo>
                      <a:lnTo>
                        <a:pt x="242" y="306"/>
                      </a:lnTo>
                      <a:lnTo>
                        <a:pt x="238" y="306"/>
                      </a:lnTo>
                      <a:lnTo>
                        <a:pt x="238" y="310"/>
                      </a:lnTo>
                      <a:lnTo>
                        <a:pt x="242" y="310"/>
                      </a:lnTo>
                      <a:lnTo>
                        <a:pt x="242" y="306"/>
                      </a:lnTo>
                      <a:lnTo>
                        <a:pt x="242" y="310"/>
                      </a:lnTo>
                      <a:lnTo>
                        <a:pt x="238" y="310"/>
                      </a:lnTo>
                      <a:lnTo>
                        <a:pt x="238" y="314"/>
                      </a:lnTo>
                      <a:lnTo>
                        <a:pt x="234" y="318"/>
                      </a:lnTo>
                      <a:lnTo>
                        <a:pt x="230" y="318"/>
                      </a:lnTo>
                      <a:lnTo>
                        <a:pt x="234" y="318"/>
                      </a:lnTo>
                      <a:lnTo>
                        <a:pt x="230" y="322"/>
                      </a:lnTo>
                      <a:lnTo>
                        <a:pt x="230" y="326"/>
                      </a:lnTo>
                      <a:lnTo>
                        <a:pt x="226" y="330"/>
                      </a:lnTo>
                      <a:lnTo>
                        <a:pt x="222" y="332"/>
                      </a:lnTo>
                      <a:lnTo>
                        <a:pt x="218" y="332"/>
                      </a:lnTo>
                      <a:lnTo>
                        <a:pt x="218" y="336"/>
                      </a:lnTo>
                      <a:lnTo>
                        <a:pt x="216" y="336"/>
                      </a:lnTo>
                      <a:lnTo>
                        <a:pt x="216" y="340"/>
                      </a:lnTo>
                      <a:lnTo>
                        <a:pt x="212" y="340"/>
                      </a:lnTo>
                      <a:lnTo>
                        <a:pt x="212" y="344"/>
                      </a:lnTo>
                      <a:lnTo>
                        <a:pt x="208" y="348"/>
                      </a:lnTo>
                      <a:lnTo>
                        <a:pt x="204" y="348"/>
                      </a:lnTo>
                      <a:lnTo>
                        <a:pt x="204" y="352"/>
                      </a:lnTo>
                      <a:lnTo>
                        <a:pt x="200" y="352"/>
                      </a:lnTo>
                      <a:lnTo>
                        <a:pt x="200" y="356"/>
                      </a:lnTo>
                      <a:lnTo>
                        <a:pt x="196" y="356"/>
                      </a:lnTo>
                      <a:lnTo>
                        <a:pt x="196" y="358"/>
                      </a:lnTo>
                      <a:lnTo>
                        <a:pt x="200" y="358"/>
                      </a:lnTo>
                      <a:lnTo>
                        <a:pt x="196" y="358"/>
                      </a:lnTo>
                      <a:lnTo>
                        <a:pt x="196" y="362"/>
                      </a:lnTo>
                      <a:lnTo>
                        <a:pt x="196" y="366"/>
                      </a:lnTo>
                      <a:lnTo>
                        <a:pt x="192" y="366"/>
                      </a:lnTo>
                      <a:lnTo>
                        <a:pt x="190" y="366"/>
                      </a:lnTo>
                      <a:lnTo>
                        <a:pt x="186" y="366"/>
                      </a:lnTo>
                      <a:lnTo>
                        <a:pt x="182" y="366"/>
                      </a:lnTo>
                      <a:lnTo>
                        <a:pt x="182" y="370"/>
                      </a:lnTo>
                      <a:lnTo>
                        <a:pt x="182" y="374"/>
                      </a:lnTo>
                      <a:lnTo>
                        <a:pt x="178" y="374"/>
                      </a:lnTo>
                      <a:lnTo>
                        <a:pt x="178" y="378"/>
                      </a:lnTo>
                      <a:lnTo>
                        <a:pt x="178" y="374"/>
                      </a:lnTo>
                      <a:lnTo>
                        <a:pt x="178" y="378"/>
                      </a:lnTo>
                      <a:lnTo>
                        <a:pt x="178" y="374"/>
                      </a:lnTo>
                      <a:lnTo>
                        <a:pt x="174" y="374"/>
                      </a:lnTo>
                      <a:lnTo>
                        <a:pt x="170" y="378"/>
                      </a:lnTo>
                      <a:lnTo>
                        <a:pt x="166" y="382"/>
                      </a:lnTo>
                      <a:lnTo>
                        <a:pt x="166" y="386"/>
                      </a:lnTo>
                      <a:lnTo>
                        <a:pt x="166" y="388"/>
                      </a:lnTo>
                      <a:lnTo>
                        <a:pt x="166" y="392"/>
                      </a:lnTo>
                      <a:lnTo>
                        <a:pt x="166" y="396"/>
                      </a:lnTo>
                      <a:lnTo>
                        <a:pt x="166" y="400"/>
                      </a:lnTo>
                      <a:lnTo>
                        <a:pt x="166" y="404"/>
                      </a:lnTo>
                      <a:lnTo>
                        <a:pt x="166" y="408"/>
                      </a:lnTo>
                      <a:lnTo>
                        <a:pt x="166" y="412"/>
                      </a:lnTo>
                      <a:lnTo>
                        <a:pt x="170" y="412"/>
                      </a:lnTo>
                      <a:lnTo>
                        <a:pt x="166" y="412"/>
                      </a:lnTo>
                      <a:lnTo>
                        <a:pt x="166" y="416"/>
                      </a:lnTo>
                      <a:lnTo>
                        <a:pt x="170" y="416"/>
                      </a:lnTo>
                      <a:lnTo>
                        <a:pt x="170" y="418"/>
                      </a:lnTo>
                      <a:lnTo>
                        <a:pt x="170" y="416"/>
                      </a:lnTo>
                      <a:lnTo>
                        <a:pt x="166" y="412"/>
                      </a:lnTo>
                      <a:lnTo>
                        <a:pt x="166" y="416"/>
                      </a:lnTo>
                      <a:lnTo>
                        <a:pt x="170" y="418"/>
                      </a:lnTo>
                      <a:lnTo>
                        <a:pt x="170" y="422"/>
                      </a:lnTo>
                      <a:lnTo>
                        <a:pt x="170" y="426"/>
                      </a:lnTo>
                      <a:lnTo>
                        <a:pt x="170" y="430"/>
                      </a:lnTo>
                      <a:lnTo>
                        <a:pt x="166" y="430"/>
                      </a:lnTo>
                      <a:lnTo>
                        <a:pt x="166" y="434"/>
                      </a:lnTo>
                      <a:lnTo>
                        <a:pt x="166" y="438"/>
                      </a:lnTo>
                      <a:lnTo>
                        <a:pt x="162" y="442"/>
                      </a:lnTo>
                      <a:lnTo>
                        <a:pt x="162" y="446"/>
                      </a:lnTo>
                      <a:lnTo>
                        <a:pt x="162" y="448"/>
                      </a:lnTo>
                      <a:lnTo>
                        <a:pt x="162" y="452"/>
                      </a:lnTo>
                      <a:lnTo>
                        <a:pt x="162" y="456"/>
                      </a:lnTo>
                      <a:lnTo>
                        <a:pt x="162" y="460"/>
                      </a:lnTo>
                      <a:lnTo>
                        <a:pt x="162" y="464"/>
                      </a:lnTo>
                      <a:lnTo>
                        <a:pt x="162" y="468"/>
                      </a:lnTo>
                      <a:lnTo>
                        <a:pt x="162" y="472"/>
                      </a:lnTo>
                      <a:lnTo>
                        <a:pt x="160" y="472"/>
                      </a:lnTo>
                      <a:lnTo>
                        <a:pt x="162" y="472"/>
                      </a:lnTo>
                      <a:lnTo>
                        <a:pt x="160" y="472"/>
                      </a:lnTo>
                      <a:lnTo>
                        <a:pt x="156" y="472"/>
                      </a:lnTo>
                      <a:lnTo>
                        <a:pt x="156" y="474"/>
                      </a:lnTo>
                      <a:lnTo>
                        <a:pt x="156" y="478"/>
                      </a:lnTo>
                      <a:lnTo>
                        <a:pt x="152" y="478"/>
                      </a:lnTo>
                      <a:lnTo>
                        <a:pt x="152" y="482"/>
                      </a:lnTo>
                      <a:lnTo>
                        <a:pt x="148" y="486"/>
                      </a:lnTo>
                      <a:lnTo>
                        <a:pt x="152" y="486"/>
                      </a:lnTo>
                      <a:lnTo>
                        <a:pt x="152" y="490"/>
                      </a:lnTo>
                      <a:lnTo>
                        <a:pt x="156" y="490"/>
                      </a:lnTo>
                      <a:lnTo>
                        <a:pt x="152" y="490"/>
                      </a:lnTo>
                      <a:lnTo>
                        <a:pt x="148" y="490"/>
                      </a:lnTo>
                      <a:lnTo>
                        <a:pt x="144" y="494"/>
                      </a:lnTo>
                      <a:lnTo>
                        <a:pt x="140" y="494"/>
                      </a:lnTo>
                      <a:lnTo>
                        <a:pt x="140" y="498"/>
                      </a:lnTo>
                      <a:lnTo>
                        <a:pt x="140" y="502"/>
                      </a:lnTo>
                      <a:lnTo>
                        <a:pt x="136" y="504"/>
                      </a:lnTo>
                      <a:lnTo>
                        <a:pt x="134" y="508"/>
                      </a:lnTo>
                      <a:lnTo>
                        <a:pt x="130" y="508"/>
                      </a:lnTo>
                      <a:lnTo>
                        <a:pt x="126" y="508"/>
                      </a:lnTo>
                      <a:lnTo>
                        <a:pt x="126" y="504"/>
                      </a:lnTo>
                      <a:lnTo>
                        <a:pt x="122" y="504"/>
                      </a:lnTo>
                      <a:lnTo>
                        <a:pt x="122" y="502"/>
                      </a:lnTo>
                      <a:lnTo>
                        <a:pt x="118" y="502"/>
                      </a:lnTo>
                      <a:lnTo>
                        <a:pt x="118" y="498"/>
                      </a:lnTo>
                      <a:lnTo>
                        <a:pt x="118" y="494"/>
                      </a:lnTo>
                      <a:lnTo>
                        <a:pt x="114" y="494"/>
                      </a:lnTo>
                      <a:lnTo>
                        <a:pt x="114" y="490"/>
                      </a:lnTo>
                      <a:lnTo>
                        <a:pt x="114" y="486"/>
                      </a:lnTo>
                      <a:lnTo>
                        <a:pt x="114" y="482"/>
                      </a:lnTo>
                      <a:lnTo>
                        <a:pt x="110" y="478"/>
                      </a:lnTo>
                      <a:lnTo>
                        <a:pt x="114" y="478"/>
                      </a:lnTo>
                      <a:lnTo>
                        <a:pt x="110" y="478"/>
                      </a:lnTo>
                      <a:lnTo>
                        <a:pt x="114" y="482"/>
                      </a:lnTo>
                      <a:lnTo>
                        <a:pt x="114" y="486"/>
                      </a:lnTo>
                      <a:lnTo>
                        <a:pt x="114" y="482"/>
                      </a:lnTo>
                      <a:lnTo>
                        <a:pt x="114" y="478"/>
                      </a:lnTo>
                      <a:lnTo>
                        <a:pt x="110" y="478"/>
                      </a:lnTo>
                      <a:lnTo>
                        <a:pt x="110" y="474"/>
                      </a:lnTo>
                      <a:lnTo>
                        <a:pt x="110" y="478"/>
                      </a:lnTo>
                      <a:lnTo>
                        <a:pt x="110" y="474"/>
                      </a:lnTo>
                      <a:lnTo>
                        <a:pt x="110" y="472"/>
                      </a:lnTo>
                      <a:lnTo>
                        <a:pt x="110" y="468"/>
                      </a:lnTo>
                      <a:lnTo>
                        <a:pt x="106" y="464"/>
                      </a:lnTo>
                      <a:lnTo>
                        <a:pt x="106" y="460"/>
                      </a:lnTo>
                      <a:lnTo>
                        <a:pt x="104" y="452"/>
                      </a:lnTo>
                      <a:lnTo>
                        <a:pt x="104" y="448"/>
                      </a:lnTo>
                      <a:lnTo>
                        <a:pt x="100" y="446"/>
                      </a:lnTo>
                      <a:lnTo>
                        <a:pt x="100" y="442"/>
                      </a:lnTo>
                      <a:lnTo>
                        <a:pt x="96" y="442"/>
                      </a:lnTo>
                      <a:lnTo>
                        <a:pt x="96" y="438"/>
                      </a:lnTo>
                      <a:lnTo>
                        <a:pt x="96" y="434"/>
                      </a:lnTo>
                      <a:lnTo>
                        <a:pt x="92" y="430"/>
                      </a:lnTo>
                      <a:lnTo>
                        <a:pt x="92" y="426"/>
                      </a:lnTo>
                      <a:lnTo>
                        <a:pt x="92" y="422"/>
                      </a:lnTo>
                      <a:lnTo>
                        <a:pt x="92" y="418"/>
                      </a:lnTo>
                      <a:lnTo>
                        <a:pt x="90" y="416"/>
                      </a:lnTo>
                      <a:lnTo>
                        <a:pt x="90" y="412"/>
                      </a:lnTo>
                      <a:lnTo>
                        <a:pt x="90" y="408"/>
                      </a:lnTo>
                      <a:lnTo>
                        <a:pt x="90" y="404"/>
                      </a:lnTo>
                      <a:lnTo>
                        <a:pt x="86" y="404"/>
                      </a:lnTo>
                      <a:lnTo>
                        <a:pt x="86" y="400"/>
                      </a:lnTo>
                      <a:lnTo>
                        <a:pt x="86" y="396"/>
                      </a:lnTo>
                      <a:lnTo>
                        <a:pt x="86" y="400"/>
                      </a:lnTo>
                      <a:lnTo>
                        <a:pt x="86" y="396"/>
                      </a:lnTo>
                      <a:lnTo>
                        <a:pt x="82" y="396"/>
                      </a:lnTo>
                      <a:lnTo>
                        <a:pt x="82" y="392"/>
                      </a:lnTo>
                      <a:lnTo>
                        <a:pt x="82" y="388"/>
                      </a:lnTo>
                      <a:lnTo>
                        <a:pt x="78" y="386"/>
                      </a:lnTo>
                      <a:lnTo>
                        <a:pt x="78" y="382"/>
                      </a:lnTo>
                      <a:lnTo>
                        <a:pt x="82" y="386"/>
                      </a:lnTo>
                      <a:lnTo>
                        <a:pt x="82" y="382"/>
                      </a:lnTo>
                      <a:lnTo>
                        <a:pt x="78" y="382"/>
                      </a:lnTo>
                      <a:lnTo>
                        <a:pt x="78" y="378"/>
                      </a:lnTo>
                      <a:lnTo>
                        <a:pt x="74" y="378"/>
                      </a:lnTo>
                      <a:lnTo>
                        <a:pt x="74" y="374"/>
                      </a:lnTo>
                      <a:lnTo>
                        <a:pt x="74" y="370"/>
                      </a:lnTo>
                      <a:lnTo>
                        <a:pt x="70" y="366"/>
                      </a:lnTo>
                      <a:lnTo>
                        <a:pt x="70" y="362"/>
                      </a:lnTo>
                      <a:lnTo>
                        <a:pt x="70" y="358"/>
                      </a:lnTo>
                      <a:lnTo>
                        <a:pt x="70" y="356"/>
                      </a:lnTo>
                      <a:lnTo>
                        <a:pt x="70" y="352"/>
                      </a:lnTo>
                      <a:lnTo>
                        <a:pt x="70" y="348"/>
                      </a:lnTo>
                      <a:lnTo>
                        <a:pt x="70" y="344"/>
                      </a:lnTo>
                      <a:lnTo>
                        <a:pt x="66" y="344"/>
                      </a:lnTo>
                      <a:lnTo>
                        <a:pt x="66" y="340"/>
                      </a:lnTo>
                      <a:lnTo>
                        <a:pt x="66" y="336"/>
                      </a:lnTo>
                      <a:lnTo>
                        <a:pt x="66" y="332"/>
                      </a:lnTo>
                      <a:lnTo>
                        <a:pt x="66" y="330"/>
                      </a:lnTo>
                      <a:lnTo>
                        <a:pt x="62" y="326"/>
                      </a:lnTo>
                      <a:lnTo>
                        <a:pt x="66" y="326"/>
                      </a:lnTo>
                      <a:lnTo>
                        <a:pt x="66" y="322"/>
                      </a:lnTo>
                      <a:lnTo>
                        <a:pt x="66" y="318"/>
                      </a:lnTo>
                      <a:lnTo>
                        <a:pt x="66" y="322"/>
                      </a:lnTo>
                      <a:lnTo>
                        <a:pt x="62" y="322"/>
                      </a:lnTo>
                      <a:lnTo>
                        <a:pt x="62" y="318"/>
                      </a:lnTo>
                      <a:lnTo>
                        <a:pt x="62" y="314"/>
                      </a:lnTo>
                      <a:lnTo>
                        <a:pt x="66" y="314"/>
                      </a:lnTo>
                      <a:lnTo>
                        <a:pt x="66" y="318"/>
                      </a:lnTo>
                      <a:lnTo>
                        <a:pt x="66" y="314"/>
                      </a:lnTo>
                      <a:lnTo>
                        <a:pt x="62" y="314"/>
                      </a:lnTo>
                      <a:lnTo>
                        <a:pt x="62" y="310"/>
                      </a:lnTo>
                      <a:lnTo>
                        <a:pt x="62" y="306"/>
                      </a:lnTo>
                      <a:lnTo>
                        <a:pt x="62" y="302"/>
                      </a:lnTo>
                      <a:lnTo>
                        <a:pt x="62" y="300"/>
                      </a:lnTo>
                      <a:lnTo>
                        <a:pt x="62" y="296"/>
                      </a:lnTo>
                      <a:lnTo>
                        <a:pt x="66" y="296"/>
                      </a:lnTo>
                      <a:lnTo>
                        <a:pt x="66" y="288"/>
                      </a:lnTo>
                      <a:lnTo>
                        <a:pt x="62" y="288"/>
                      </a:lnTo>
                      <a:lnTo>
                        <a:pt x="62" y="286"/>
                      </a:lnTo>
                      <a:lnTo>
                        <a:pt x="62" y="282"/>
                      </a:lnTo>
                      <a:lnTo>
                        <a:pt x="60" y="282"/>
                      </a:lnTo>
                      <a:lnTo>
                        <a:pt x="60" y="278"/>
                      </a:lnTo>
                      <a:lnTo>
                        <a:pt x="62" y="278"/>
                      </a:lnTo>
                      <a:lnTo>
                        <a:pt x="60" y="278"/>
                      </a:lnTo>
                      <a:lnTo>
                        <a:pt x="62" y="278"/>
                      </a:lnTo>
                      <a:lnTo>
                        <a:pt x="62" y="274"/>
                      </a:lnTo>
                      <a:lnTo>
                        <a:pt x="66" y="274"/>
                      </a:lnTo>
                      <a:lnTo>
                        <a:pt x="70" y="274"/>
                      </a:lnTo>
                      <a:lnTo>
                        <a:pt x="66" y="274"/>
                      </a:lnTo>
                      <a:lnTo>
                        <a:pt x="62" y="274"/>
                      </a:lnTo>
                      <a:lnTo>
                        <a:pt x="60" y="274"/>
                      </a:lnTo>
                      <a:lnTo>
                        <a:pt x="60" y="270"/>
                      </a:lnTo>
                      <a:lnTo>
                        <a:pt x="62" y="270"/>
                      </a:lnTo>
                      <a:lnTo>
                        <a:pt x="60" y="270"/>
                      </a:lnTo>
                      <a:lnTo>
                        <a:pt x="60" y="266"/>
                      </a:lnTo>
                      <a:lnTo>
                        <a:pt x="62" y="262"/>
                      </a:lnTo>
                      <a:lnTo>
                        <a:pt x="62" y="266"/>
                      </a:lnTo>
                      <a:lnTo>
                        <a:pt x="62" y="262"/>
                      </a:lnTo>
                      <a:lnTo>
                        <a:pt x="66" y="262"/>
                      </a:lnTo>
                      <a:lnTo>
                        <a:pt x="62" y="262"/>
                      </a:lnTo>
                      <a:lnTo>
                        <a:pt x="60" y="262"/>
                      </a:lnTo>
                      <a:lnTo>
                        <a:pt x="56" y="262"/>
                      </a:lnTo>
                      <a:lnTo>
                        <a:pt x="56" y="266"/>
                      </a:lnTo>
                      <a:lnTo>
                        <a:pt x="56" y="270"/>
                      </a:lnTo>
                      <a:lnTo>
                        <a:pt x="52" y="270"/>
                      </a:lnTo>
                      <a:lnTo>
                        <a:pt x="56" y="270"/>
                      </a:lnTo>
                      <a:lnTo>
                        <a:pt x="52" y="270"/>
                      </a:lnTo>
                      <a:lnTo>
                        <a:pt x="52" y="274"/>
                      </a:lnTo>
                      <a:lnTo>
                        <a:pt x="56" y="270"/>
                      </a:lnTo>
                      <a:lnTo>
                        <a:pt x="56" y="274"/>
                      </a:lnTo>
                      <a:lnTo>
                        <a:pt x="56" y="278"/>
                      </a:lnTo>
                      <a:lnTo>
                        <a:pt x="56" y="282"/>
                      </a:lnTo>
                      <a:lnTo>
                        <a:pt x="52" y="282"/>
                      </a:lnTo>
                      <a:lnTo>
                        <a:pt x="52" y="286"/>
                      </a:lnTo>
                      <a:lnTo>
                        <a:pt x="48" y="286"/>
                      </a:lnTo>
                      <a:lnTo>
                        <a:pt x="44" y="288"/>
                      </a:lnTo>
                      <a:lnTo>
                        <a:pt x="40" y="288"/>
                      </a:lnTo>
                      <a:lnTo>
                        <a:pt x="36" y="292"/>
                      </a:lnTo>
                      <a:lnTo>
                        <a:pt x="34" y="288"/>
                      </a:lnTo>
                      <a:lnTo>
                        <a:pt x="30" y="288"/>
                      </a:lnTo>
                      <a:lnTo>
                        <a:pt x="30" y="286"/>
                      </a:lnTo>
                      <a:lnTo>
                        <a:pt x="26" y="286"/>
                      </a:lnTo>
                      <a:lnTo>
                        <a:pt x="26" y="282"/>
                      </a:lnTo>
                      <a:lnTo>
                        <a:pt x="22" y="282"/>
                      </a:lnTo>
                      <a:lnTo>
                        <a:pt x="22" y="278"/>
                      </a:lnTo>
                      <a:lnTo>
                        <a:pt x="18" y="274"/>
                      </a:lnTo>
                      <a:lnTo>
                        <a:pt x="14" y="270"/>
                      </a:lnTo>
                      <a:lnTo>
                        <a:pt x="10" y="266"/>
                      </a:lnTo>
                      <a:lnTo>
                        <a:pt x="10" y="262"/>
                      </a:lnTo>
                      <a:lnTo>
                        <a:pt x="10" y="258"/>
                      </a:lnTo>
                      <a:lnTo>
                        <a:pt x="10" y="262"/>
                      </a:lnTo>
                      <a:lnTo>
                        <a:pt x="14" y="262"/>
                      </a:lnTo>
                      <a:lnTo>
                        <a:pt x="10" y="262"/>
                      </a:lnTo>
                      <a:lnTo>
                        <a:pt x="14" y="262"/>
                      </a:lnTo>
                      <a:lnTo>
                        <a:pt x="18" y="262"/>
                      </a:lnTo>
                      <a:lnTo>
                        <a:pt x="22" y="262"/>
                      </a:lnTo>
                      <a:lnTo>
                        <a:pt x="22" y="258"/>
                      </a:lnTo>
                      <a:lnTo>
                        <a:pt x="26" y="258"/>
                      </a:lnTo>
                      <a:lnTo>
                        <a:pt x="30" y="256"/>
                      </a:lnTo>
                      <a:lnTo>
                        <a:pt x="30" y="252"/>
                      </a:lnTo>
                      <a:lnTo>
                        <a:pt x="34" y="252"/>
                      </a:lnTo>
                      <a:lnTo>
                        <a:pt x="34" y="248"/>
                      </a:lnTo>
                      <a:lnTo>
                        <a:pt x="30" y="248"/>
                      </a:lnTo>
                      <a:lnTo>
                        <a:pt x="30" y="252"/>
                      </a:lnTo>
                      <a:lnTo>
                        <a:pt x="22" y="252"/>
                      </a:lnTo>
                      <a:lnTo>
                        <a:pt x="22" y="256"/>
                      </a:lnTo>
                      <a:lnTo>
                        <a:pt x="18" y="256"/>
                      </a:lnTo>
                      <a:lnTo>
                        <a:pt x="14" y="256"/>
                      </a:lnTo>
                      <a:lnTo>
                        <a:pt x="14" y="252"/>
                      </a:lnTo>
                      <a:lnTo>
                        <a:pt x="10" y="252"/>
                      </a:lnTo>
                      <a:lnTo>
                        <a:pt x="6" y="252"/>
                      </a:lnTo>
                      <a:lnTo>
                        <a:pt x="6" y="248"/>
                      </a:lnTo>
                      <a:lnTo>
                        <a:pt x="4" y="244"/>
                      </a:lnTo>
                      <a:lnTo>
                        <a:pt x="4" y="240"/>
                      </a:lnTo>
                      <a:lnTo>
                        <a:pt x="4" y="236"/>
                      </a:lnTo>
                      <a:lnTo>
                        <a:pt x="6" y="236"/>
                      </a:lnTo>
                      <a:lnTo>
                        <a:pt x="4" y="236"/>
                      </a:lnTo>
                      <a:lnTo>
                        <a:pt x="0" y="240"/>
                      </a:lnTo>
                      <a:lnTo>
                        <a:pt x="0" y="236"/>
                      </a:lnTo>
                      <a:lnTo>
                        <a:pt x="0" y="236"/>
                      </a:lnTo>
                      <a:lnTo>
                        <a:pt x="0" y="236"/>
                      </a:lnTo>
                      <a:close/>
                      <a:moveTo>
                        <a:pt x="282" y="270"/>
                      </a:moveTo>
                      <a:lnTo>
                        <a:pt x="282" y="274"/>
                      </a:lnTo>
                      <a:lnTo>
                        <a:pt x="278" y="274"/>
                      </a:lnTo>
                      <a:lnTo>
                        <a:pt x="278" y="270"/>
                      </a:lnTo>
                      <a:lnTo>
                        <a:pt x="282" y="270"/>
                      </a:lnTo>
                      <a:lnTo>
                        <a:pt x="282" y="270"/>
                      </a:lnTo>
                      <a:lnTo>
                        <a:pt x="282" y="270"/>
                      </a:lnTo>
                      <a:close/>
                      <a:moveTo>
                        <a:pt x="346" y="442"/>
                      </a:moveTo>
                      <a:lnTo>
                        <a:pt x="346" y="438"/>
                      </a:lnTo>
                      <a:lnTo>
                        <a:pt x="350" y="438"/>
                      </a:lnTo>
                      <a:lnTo>
                        <a:pt x="346" y="442"/>
                      </a:lnTo>
                      <a:lnTo>
                        <a:pt x="346" y="442"/>
                      </a:lnTo>
                      <a:lnTo>
                        <a:pt x="346" y="442"/>
                      </a:lnTo>
                      <a:close/>
                      <a:moveTo>
                        <a:pt x="346" y="452"/>
                      </a:moveTo>
                      <a:lnTo>
                        <a:pt x="342" y="452"/>
                      </a:lnTo>
                      <a:lnTo>
                        <a:pt x="346" y="452"/>
                      </a:lnTo>
                      <a:lnTo>
                        <a:pt x="346" y="452"/>
                      </a:lnTo>
                      <a:lnTo>
                        <a:pt x="346" y="452"/>
                      </a:lnTo>
                      <a:close/>
                      <a:moveTo>
                        <a:pt x="346" y="490"/>
                      </a:moveTo>
                      <a:lnTo>
                        <a:pt x="346" y="494"/>
                      </a:lnTo>
                      <a:lnTo>
                        <a:pt x="346" y="490"/>
                      </a:lnTo>
                      <a:lnTo>
                        <a:pt x="346" y="490"/>
                      </a:lnTo>
                      <a:lnTo>
                        <a:pt x="346" y="490"/>
                      </a:lnTo>
                      <a:close/>
                      <a:moveTo>
                        <a:pt x="66" y="504"/>
                      </a:moveTo>
                      <a:lnTo>
                        <a:pt x="66" y="508"/>
                      </a:lnTo>
                      <a:lnTo>
                        <a:pt x="66" y="504"/>
                      </a:lnTo>
                      <a:lnTo>
                        <a:pt x="66" y="504"/>
                      </a:lnTo>
                      <a:lnTo>
                        <a:pt x="66" y="504"/>
                      </a:lnTo>
                      <a:close/>
                      <a:moveTo>
                        <a:pt x="358" y="508"/>
                      </a:moveTo>
                      <a:lnTo>
                        <a:pt x="358" y="512"/>
                      </a:lnTo>
                      <a:lnTo>
                        <a:pt x="358" y="508"/>
                      </a:lnTo>
                      <a:lnTo>
                        <a:pt x="358" y="508"/>
                      </a:lnTo>
                      <a:lnTo>
                        <a:pt x="358" y="508"/>
                      </a:lnTo>
                      <a:close/>
                      <a:moveTo>
                        <a:pt x="354" y="512"/>
                      </a:moveTo>
                      <a:lnTo>
                        <a:pt x="358" y="512"/>
                      </a:lnTo>
                      <a:lnTo>
                        <a:pt x="354" y="512"/>
                      </a:lnTo>
                      <a:lnTo>
                        <a:pt x="354" y="512"/>
                      </a:lnTo>
                      <a:lnTo>
                        <a:pt x="354" y="512"/>
                      </a:lnTo>
                      <a:close/>
                      <a:moveTo>
                        <a:pt x="360" y="524"/>
                      </a:moveTo>
                      <a:lnTo>
                        <a:pt x="358" y="524"/>
                      </a:lnTo>
                      <a:lnTo>
                        <a:pt x="360" y="524"/>
                      </a:lnTo>
                      <a:lnTo>
                        <a:pt x="360" y="520"/>
                      </a:lnTo>
                      <a:lnTo>
                        <a:pt x="360" y="524"/>
                      </a:lnTo>
                      <a:lnTo>
                        <a:pt x="360" y="524"/>
                      </a:lnTo>
                      <a:lnTo>
                        <a:pt x="360" y="524"/>
                      </a:lnTo>
                      <a:close/>
                      <a:moveTo>
                        <a:pt x="346" y="426"/>
                      </a:moveTo>
                      <a:lnTo>
                        <a:pt x="346" y="422"/>
                      </a:lnTo>
                      <a:lnTo>
                        <a:pt x="346" y="418"/>
                      </a:lnTo>
                      <a:lnTo>
                        <a:pt x="350" y="418"/>
                      </a:lnTo>
                      <a:lnTo>
                        <a:pt x="350" y="416"/>
                      </a:lnTo>
                      <a:lnTo>
                        <a:pt x="350" y="418"/>
                      </a:lnTo>
                      <a:lnTo>
                        <a:pt x="350" y="422"/>
                      </a:lnTo>
                      <a:lnTo>
                        <a:pt x="350" y="426"/>
                      </a:lnTo>
                      <a:lnTo>
                        <a:pt x="350" y="422"/>
                      </a:lnTo>
                      <a:lnTo>
                        <a:pt x="346" y="426"/>
                      </a:lnTo>
                      <a:lnTo>
                        <a:pt x="346" y="426"/>
                      </a:lnTo>
                      <a:lnTo>
                        <a:pt x="346" y="426"/>
                      </a:lnTo>
                      <a:close/>
                      <a:moveTo>
                        <a:pt x="346" y="438"/>
                      </a:moveTo>
                      <a:lnTo>
                        <a:pt x="346" y="434"/>
                      </a:lnTo>
                      <a:lnTo>
                        <a:pt x="346" y="430"/>
                      </a:lnTo>
                      <a:lnTo>
                        <a:pt x="346" y="426"/>
                      </a:lnTo>
                      <a:lnTo>
                        <a:pt x="350" y="426"/>
                      </a:lnTo>
                      <a:lnTo>
                        <a:pt x="350" y="430"/>
                      </a:lnTo>
                      <a:lnTo>
                        <a:pt x="350" y="434"/>
                      </a:lnTo>
                      <a:lnTo>
                        <a:pt x="346" y="434"/>
                      </a:lnTo>
                      <a:lnTo>
                        <a:pt x="346" y="438"/>
                      </a:lnTo>
                      <a:lnTo>
                        <a:pt x="350" y="438"/>
                      </a:lnTo>
                      <a:lnTo>
                        <a:pt x="346" y="438"/>
                      </a:lnTo>
                      <a:lnTo>
                        <a:pt x="346" y="438"/>
                      </a:lnTo>
                      <a:lnTo>
                        <a:pt x="346" y="438"/>
                      </a:lnTo>
                      <a:close/>
                      <a:moveTo>
                        <a:pt x="346" y="442"/>
                      </a:moveTo>
                      <a:lnTo>
                        <a:pt x="346" y="446"/>
                      </a:lnTo>
                      <a:lnTo>
                        <a:pt x="346" y="448"/>
                      </a:lnTo>
                      <a:lnTo>
                        <a:pt x="346" y="452"/>
                      </a:lnTo>
                      <a:lnTo>
                        <a:pt x="342" y="448"/>
                      </a:lnTo>
                      <a:lnTo>
                        <a:pt x="342" y="446"/>
                      </a:lnTo>
                      <a:lnTo>
                        <a:pt x="346" y="446"/>
                      </a:lnTo>
                      <a:lnTo>
                        <a:pt x="346" y="442"/>
                      </a:lnTo>
                      <a:lnTo>
                        <a:pt x="346" y="438"/>
                      </a:lnTo>
                      <a:lnTo>
                        <a:pt x="346" y="442"/>
                      </a:lnTo>
                      <a:lnTo>
                        <a:pt x="346" y="438"/>
                      </a:lnTo>
                      <a:lnTo>
                        <a:pt x="346" y="442"/>
                      </a:lnTo>
                      <a:lnTo>
                        <a:pt x="346" y="442"/>
                      </a:lnTo>
                      <a:lnTo>
                        <a:pt x="346" y="442"/>
                      </a:lnTo>
                      <a:close/>
                      <a:moveTo>
                        <a:pt x="342" y="464"/>
                      </a:moveTo>
                      <a:lnTo>
                        <a:pt x="342" y="468"/>
                      </a:lnTo>
                      <a:lnTo>
                        <a:pt x="338" y="468"/>
                      </a:lnTo>
                      <a:lnTo>
                        <a:pt x="338" y="464"/>
                      </a:lnTo>
                      <a:lnTo>
                        <a:pt x="342" y="464"/>
                      </a:lnTo>
                      <a:lnTo>
                        <a:pt x="342" y="460"/>
                      </a:lnTo>
                      <a:lnTo>
                        <a:pt x="342" y="464"/>
                      </a:lnTo>
                      <a:lnTo>
                        <a:pt x="342" y="464"/>
                      </a:lnTo>
                      <a:lnTo>
                        <a:pt x="342" y="464"/>
                      </a:lnTo>
                      <a:close/>
                      <a:moveTo>
                        <a:pt x="360" y="528"/>
                      </a:moveTo>
                      <a:lnTo>
                        <a:pt x="360" y="532"/>
                      </a:lnTo>
                      <a:lnTo>
                        <a:pt x="360" y="534"/>
                      </a:lnTo>
                      <a:lnTo>
                        <a:pt x="360" y="532"/>
                      </a:lnTo>
                      <a:lnTo>
                        <a:pt x="360" y="528"/>
                      </a:lnTo>
                      <a:lnTo>
                        <a:pt x="358" y="528"/>
                      </a:lnTo>
                      <a:lnTo>
                        <a:pt x="360" y="524"/>
                      </a:lnTo>
                      <a:lnTo>
                        <a:pt x="360" y="528"/>
                      </a:lnTo>
                      <a:lnTo>
                        <a:pt x="360" y="528"/>
                      </a:lnTo>
                      <a:lnTo>
                        <a:pt x="360" y="52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55" name="TextBox 154"/>
            <p:cNvSpPr txBox="1"/>
            <p:nvPr/>
          </p:nvSpPr>
          <p:spPr>
            <a:xfrm>
              <a:off x="1373055" y="4823818"/>
              <a:ext cx="606731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stados</a:t>
              </a: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r>
                <a:rPr kumimoji="0" lang="en-GB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Unidos</a:t>
              </a:r>
              <a:endPara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156" name="Straight Connector 155"/>
            <p:cNvCxnSpPr>
              <a:stCxn id="157" idx="3"/>
            </p:cNvCxnSpPr>
            <p:nvPr/>
          </p:nvCxnSpPr>
          <p:spPr>
            <a:xfrm flipV="1">
              <a:off x="783221" y="5131206"/>
              <a:ext cx="214683" cy="13888"/>
            </a:xfrm>
            <a:prstGeom prst="line">
              <a:avLst/>
            </a:prstGeom>
            <a:ln w="19050" cap="rnd">
              <a:solidFill>
                <a:schemeClr val="tx1"/>
              </a:solidFill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7" name="TextBox 156"/>
            <p:cNvSpPr txBox="1"/>
            <p:nvPr/>
          </p:nvSpPr>
          <p:spPr>
            <a:xfrm>
              <a:off x="176490" y="5060455"/>
              <a:ext cx="60673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éxico</a:t>
              </a:r>
            </a:p>
          </p:txBody>
        </p:sp>
        <p:cxnSp>
          <p:nvCxnSpPr>
            <p:cNvPr id="158" name="Straight Connector 157"/>
            <p:cNvCxnSpPr>
              <a:stCxn id="159" idx="3"/>
            </p:cNvCxnSpPr>
            <p:nvPr/>
          </p:nvCxnSpPr>
          <p:spPr>
            <a:xfrm flipV="1">
              <a:off x="1227630" y="5741105"/>
              <a:ext cx="214681" cy="13888"/>
            </a:xfrm>
            <a:prstGeom prst="line">
              <a:avLst/>
            </a:prstGeom>
            <a:ln w="19050" cap="rnd">
              <a:solidFill>
                <a:schemeClr val="tx1"/>
              </a:solidFill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9" name="TextBox 158"/>
            <p:cNvSpPr txBox="1"/>
            <p:nvPr/>
          </p:nvSpPr>
          <p:spPr>
            <a:xfrm>
              <a:off x="352144" y="5670354"/>
              <a:ext cx="87548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udamérica</a:t>
              </a:r>
              <a:endPara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160" name="Straight Connector 159"/>
            <p:cNvCxnSpPr>
              <a:stCxn id="161" idx="2"/>
            </p:cNvCxnSpPr>
            <p:nvPr/>
          </p:nvCxnSpPr>
          <p:spPr>
            <a:xfrm flipH="1">
              <a:off x="2511554" y="4153942"/>
              <a:ext cx="311" cy="384942"/>
            </a:xfrm>
            <a:prstGeom prst="line">
              <a:avLst/>
            </a:prstGeom>
            <a:ln w="19050" cap="rnd">
              <a:solidFill>
                <a:schemeClr val="tx1"/>
              </a:solidFill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1" name="TextBox 160"/>
            <p:cNvSpPr txBox="1"/>
            <p:nvPr/>
          </p:nvSpPr>
          <p:spPr>
            <a:xfrm>
              <a:off x="2133888" y="3984665"/>
              <a:ext cx="755953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uropa</a:t>
              </a:r>
            </a:p>
          </p:txBody>
        </p:sp>
        <p:cxnSp>
          <p:nvCxnSpPr>
            <p:cNvPr id="162" name="Straight Connector 161"/>
            <p:cNvCxnSpPr>
              <a:stCxn id="163" idx="3"/>
            </p:cNvCxnSpPr>
            <p:nvPr/>
          </p:nvCxnSpPr>
          <p:spPr>
            <a:xfrm flipV="1">
              <a:off x="1026638" y="5306810"/>
              <a:ext cx="214683" cy="13888"/>
            </a:xfrm>
            <a:prstGeom prst="line">
              <a:avLst/>
            </a:prstGeom>
            <a:ln w="19050" cap="rnd">
              <a:solidFill>
                <a:schemeClr val="tx1"/>
              </a:solidFill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3" name="TextBox 162"/>
            <p:cNvSpPr txBox="1"/>
            <p:nvPr/>
          </p:nvSpPr>
          <p:spPr>
            <a:xfrm>
              <a:off x="-23810" y="5236059"/>
              <a:ext cx="1050448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entroamérica</a:t>
              </a:r>
              <a:endPara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164" name="Straight Connector 163"/>
            <p:cNvCxnSpPr/>
            <p:nvPr/>
          </p:nvCxnSpPr>
          <p:spPr>
            <a:xfrm rot="10800000">
              <a:off x="1185154" y="4955511"/>
              <a:ext cx="214683" cy="1807"/>
            </a:xfrm>
            <a:prstGeom prst="line">
              <a:avLst/>
            </a:prstGeom>
            <a:ln w="19050" cap="rnd">
              <a:solidFill>
                <a:schemeClr val="tx1"/>
              </a:solidFill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/>
        </p:nvGrpSpPr>
        <p:grpSpPr>
          <a:xfrm>
            <a:off x="10079683" y="388730"/>
            <a:ext cx="2001197" cy="469798"/>
            <a:chOff x="10079683" y="388730"/>
            <a:chExt cx="2001197" cy="469798"/>
          </a:xfrm>
        </p:grpSpPr>
        <p:grpSp>
          <p:nvGrpSpPr>
            <p:cNvPr id="437" name="Group 436"/>
            <p:cNvGrpSpPr/>
            <p:nvPr/>
          </p:nvGrpSpPr>
          <p:grpSpPr>
            <a:xfrm>
              <a:off x="10079683" y="388730"/>
              <a:ext cx="469798" cy="469798"/>
              <a:chOff x="10819190" y="138528"/>
              <a:chExt cx="720000" cy="720000"/>
            </a:xfrm>
          </p:grpSpPr>
          <p:pic>
            <p:nvPicPr>
              <p:cNvPr id="412" name="Picture 4" descr="https://d30y9cdsu7xlg0.cloudfront.net/png/1618338-200.png"/>
              <p:cNvPicPr>
                <a:picLocks noChangeAspect="1" noChangeArrowheads="1"/>
              </p:cNvPicPr>
              <p:nvPr/>
            </p:nvPicPr>
            <p:blipFill>
              <a:blip r:embed="rId7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922048" y="240773"/>
                <a:ext cx="51428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13" name="Oval 412"/>
              <p:cNvSpPr/>
              <p:nvPr/>
            </p:nvSpPr>
            <p:spPr>
              <a:xfrm>
                <a:off x="10819190" y="138528"/>
                <a:ext cx="720000" cy="720000"/>
              </a:xfrm>
              <a:prstGeom prst="ellipse">
                <a:avLst/>
              </a:prstGeom>
              <a:noFill/>
              <a:ln w="1905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440" name="TextBox 439"/>
            <p:cNvSpPr txBox="1"/>
            <p:nvPr/>
          </p:nvSpPr>
          <p:spPr>
            <a:xfrm>
              <a:off x="10616596" y="492824"/>
              <a:ext cx="1464284" cy="2616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s-MX" sz="1100" b="1" dirty="0">
                  <a:solidFill>
                    <a:srgbClr val="003063"/>
                  </a:solidFill>
                </a:rPr>
                <a:t>Contabilidad General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10079683" y="1211387"/>
            <a:ext cx="2001197" cy="469798"/>
            <a:chOff x="10079683" y="1146325"/>
            <a:chExt cx="2001197" cy="469798"/>
          </a:xfrm>
        </p:grpSpPr>
        <p:grpSp>
          <p:nvGrpSpPr>
            <p:cNvPr id="436" name="Group 435"/>
            <p:cNvGrpSpPr/>
            <p:nvPr/>
          </p:nvGrpSpPr>
          <p:grpSpPr>
            <a:xfrm>
              <a:off x="10079683" y="1146325"/>
              <a:ext cx="469798" cy="469798"/>
              <a:chOff x="10819190" y="950646"/>
              <a:chExt cx="720000" cy="720000"/>
            </a:xfrm>
          </p:grpSpPr>
          <p:pic>
            <p:nvPicPr>
              <p:cNvPr id="409" name="Picture 2" descr="https://d30y9cdsu7xlg0.cloudfront.net/png/1033536-200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887762" y="1002528"/>
                <a:ext cx="582856" cy="61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10" name="Oval 409"/>
              <p:cNvSpPr/>
              <p:nvPr/>
            </p:nvSpPr>
            <p:spPr>
              <a:xfrm>
                <a:off x="10819190" y="950646"/>
                <a:ext cx="720000" cy="720000"/>
              </a:xfrm>
              <a:prstGeom prst="ellipse">
                <a:avLst/>
              </a:prstGeom>
              <a:noFill/>
              <a:ln w="1905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442" name="TextBox 441"/>
            <p:cNvSpPr txBox="1"/>
            <p:nvPr/>
          </p:nvSpPr>
          <p:spPr>
            <a:xfrm>
              <a:off x="10616596" y="1165781"/>
              <a:ext cx="1464284" cy="43088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s-MX" sz="1100" b="1" dirty="0">
                  <a:solidFill>
                    <a:srgbClr val="003063"/>
                  </a:solidFill>
                </a:rPr>
                <a:t>Administración de Personal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0079683" y="2034044"/>
            <a:ext cx="2001197" cy="469798"/>
            <a:chOff x="10079683" y="2033687"/>
            <a:chExt cx="2001197" cy="469798"/>
          </a:xfrm>
        </p:grpSpPr>
        <p:grpSp>
          <p:nvGrpSpPr>
            <p:cNvPr id="435" name="Group 434"/>
            <p:cNvGrpSpPr/>
            <p:nvPr/>
          </p:nvGrpSpPr>
          <p:grpSpPr>
            <a:xfrm>
              <a:off x="10079683" y="2033687"/>
              <a:ext cx="469798" cy="469798"/>
              <a:chOff x="10819190" y="1762764"/>
              <a:chExt cx="720000" cy="720000"/>
            </a:xfrm>
          </p:grpSpPr>
          <p:sp>
            <p:nvSpPr>
              <p:cNvPr id="406" name="Oval 405"/>
              <p:cNvSpPr/>
              <p:nvPr/>
            </p:nvSpPr>
            <p:spPr>
              <a:xfrm>
                <a:off x="10819190" y="1762764"/>
                <a:ext cx="720000" cy="720000"/>
              </a:xfrm>
              <a:prstGeom prst="ellipse">
                <a:avLst/>
              </a:prstGeom>
              <a:noFill/>
              <a:ln w="1905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407" name="Picture 6" descr="https://d30y9cdsu7xlg0.cloudfront.net/png/1346150-200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887762" y="1816764"/>
                <a:ext cx="582856" cy="61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43" name="TextBox 442"/>
            <p:cNvSpPr txBox="1"/>
            <p:nvPr/>
          </p:nvSpPr>
          <p:spPr>
            <a:xfrm>
              <a:off x="10616596" y="2137781"/>
              <a:ext cx="1464284" cy="2616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s-MX" sz="1100" b="1" dirty="0">
                  <a:solidFill>
                    <a:srgbClr val="003063"/>
                  </a:solidFill>
                </a:rPr>
                <a:t>Ingresos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10079683" y="2856701"/>
            <a:ext cx="2001197" cy="469798"/>
            <a:chOff x="10079683" y="2813327"/>
            <a:chExt cx="2001197" cy="469798"/>
          </a:xfrm>
        </p:grpSpPr>
        <p:grpSp>
          <p:nvGrpSpPr>
            <p:cNvPr id="434" name="Group 433"/>
            <p:cNvGrpSpPr/>
            <p:nvPr/>
          </p:nvGrpSpPr>
          <p:grpSpPr>
            <a:xfrm>
              <a:off x="10079683" y="2813327"/>
              <a:ext cx="469798" cy="469798"/>
              <a:chOff x="10819190" y="2574882"/>
              <a:chExt cx="720000" cy="720000"/>
            </a:xfrm>
          </p:grpSpPr>
          <p:pic>
            <p:nvPicPr>
              <p:cNvPr id="415" name="Picture 12" descr="https://d30y9cdsu7xlg0.cloudfront.net/png/1430857-200.png"/>
              <p:cNvPicPr>
                <a:picLocks noChangeAspect="1" noChangeArrowheads="1"/>
              </p:cNvPicPr>
              <p:nvPr/>
            </p:nvPicPr>
            <p:blipFill>
              <a:blip r:embed="rId10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887761" y="2628882"/>
                <a:ext cx="582858" cy="612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16" name="Oval 415"/>
              <p:cNvSpPr/>
              <p:nvPr/>
            </p:nvSpPr>
            <p:spPr>
              <a:xfrm>
                <a:off x="10819190" y="2574882"/>
                <a:ext cx="720000" cy="720000"/>
              </a:xfrm>
              <a:prstGeom prst="ellipse">
                <a:avLst/>
              </a:prstGeom>
              <a:noFill/>
              <a:ln w="1905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444" name="TextBox 443"/>
            <p:cNvSpPr txBox="1"/>
            <p:nvPr/>
          </p:nvSpPr>
          <p:spPr>
            <a:xfrm>
              <a:off x="10616596" y="2917421"/>
              <a:ext cx="1464284" cy="2616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s-MX" sz="1100" b="1" dirty="0">
                  <a:solidFill>
                    <a:srgbClr val="003063"/>
                  </a:solidFill>
                </a:rPr>
                <a:t>Catálogo Maestro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10079683" y="3679358"/>
            <a:ext cx="2001197" cy="469798"/>
            <a:chOff x="10079683" y="3683932"/>
            <a:chExt cx="2001197" cy="469798"/>
          </a:xfrm>
        </p:grpSpPr>
        <p:grpSp>
          <p:nvGrpSpPr>
            <p:cNvPr id="433" name="Group 432"/>
            <p:cNvGrpSpPr/>
            <p:nvPr/>
          </p:nvGrpSpPr>
          <p:grpSpPr>
            <a:xfrm>
              <a:off x="10079683" y="3683932"/>
              <a:ext cx="469798" cy="469798"/>
              <a:chOff x="10819190" y="3387000"/>
              <a:chExt cx="720000" cy="720000"/>
            </a:xfrm>
          </p:grpSpPr>
          <p:pic>
            <p:nvPicPr>
              <p:cNvPr id="418" name="Picture 8" descr="https://d30y9cdsu7xlg0.cloudfront.net/png/1356376-200.png"/>
              <p:cNvPicPr>
                <a:picLocks noChangeAspect="1" noChangeArrowheads="1"/>
              </p:cNvPicPr>
              <p:nvPr/>
            </p:nvPicPr>
            <p:blipFill>
              <a:blip r:embed="rId11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887763" y="3441000"/>
                <a:ext cx="582855" cy="612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19" name="Oval 418"/>
              <p:cNvSpPr/>
              <p:nvPr/>
            </p:nvSpPr>
            <p:spPr>
              <a:xfrm>
                <a:off x="10819190" y="3387000"/>
                <a:ext cx="720000" cy="720000"/>
              </a:xfrm>
              <a:prstGeom prst="ellipse">
                <a:avLst/>
              </a:prstGeom>
              <a:noFill/>
              <a:ln w="1905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445" name="TextBox 444"/>
            <p:cNvSpPr txBox="1"/>
            <p:nvPr/>
          </p:nvSpPr>
          <p:spPr>
            <a:xfrm>
              <a:off x="10616596" y="3788026"/>
              <a:ext cx="1464284" cy="2616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s-MX" sz="1100" b="1" dirty="0">
                  <a:solidFill>
                    <a:srgbClr val="003063"/>
                  </a:solidFill>
                </a:rPr>
                <a:t>Orden al Cobro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0079683" y="4502015"/>
            <a:ext cx="2001197" cy="469798"/>
            <a:chOff x="10079683" y="4484995"/>
            <a:chExt cx="2001197" cy="469798"/>
          </a:xfrm>
        </p:grpSpPr>
        <p:grpSp>
          <p:nvGrpSpPr>
            <p:cNvPr id="432" name="Group 431"/>
            <p:cNvGrpSpPr/>
            <p:nvPr/>
          </p:nvGrpSpPr>
          <p:grpSpPr>
            <a:xfrm>
              <a:off x="10079683" y="4484995"/>
              <a:ext cx="469798" cy="469798"/>
              <a:chOff x="10819190" y="4199118"/>
              <a:chExt cx="720000" cy="720000"/>
            </a:xfrm>
          </p:grpSpPr>
          <p:pic>
            <p:nvPicPr>
              <p:cNvPr id="421" name="Picture 2" descr="https://d30y9cdsu7xlg0.cloudfront.net/png/223792-200.png"/>
              <p:cNvPicPr>
                <a:picLocks noChangeAspect="1" noChangeArrowheads="1"/>
              </p:cNvPicPr>
              <p:nvPr/>
            </p:nvPicPr>
            <p:blipFill>
              <a:blip r:embed="rId12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5400000">
                <a:off x="10857889" y="4253118"/>
                <a:ext cx="642602" cy="612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22" name="Oval 421"/>
              <p:cNvSpPr/>
              <p:nvPr/>
            </p:nvSpPr>
            <p:spPr>
              <a:xfrm>
                <a:off x="10819190" y="4199118"/>
                <a:ext cx="720000" cy="720000"/>
              </a:xfrm>
              <a:prstGeom prst="ellipse">
                <a:avLst/>
              </a:prstGeom>
              <a:noFill/>
              <a:ln w="1905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446" name="TextBox 445"/>
            <p:cNvSpPr txBox="1"/>
            <p:nvPr/>
          </p:nvSpPr>
          <p:spPr>
            <a:xfrm>
              <a:off x="10616596" y="4589089"/>
              <a:ext cx="1464284" cy="2616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s-MX" sz="1100" b="1" dirty="0">
                  <a:solidFill>
                    <a:srgbClr val="003063"/>
                  </a:solidFill>
                </a:rPr>
                <a:t>Requisición al Pago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10079683" y="5324672"/>
            <a:ext cx="2001197" cy="469798"/>
            <a:chOff x="10079683" y="5313830"/>
            <a:chExt cx="2001197" cy="469798"/>
          </a:xfrm>
        </p:grpSpPr>
        <p:grpSp>
          <p:nvGrpSpPr>
            <p:cNvPr id="431" name="Group 430"/>
            <p:cNvGrpSpPr/>
            <p:nvPr/>
          </p:nvGrpSpPr>
          <p:grpSpPr>
            <a:xfrm>
              <a:off x="10079683" y="5313830"/>
              <a:ext cx="469798" cy="469798"/>
              <a:chOff x="10819190" y="5011236"/>
              <a:chExt cx="720000" cy="720000"/>
            </a:xfrm>
          </p:grpSpPr>
          <p:pic>
            <p:nvPicPr>
              <p:cNvPr id="424" name="Picture 2" descr="https://d30y9cdsu7xlg0.cloudfront.net/png/1236558-200.png"/>
              <p:cNvPicPr>
                <a:picLocks noChangeAspect="1" noChangeArrowheads="1"/>
              </p:cNvPicPr>
              <p:nvPr/>
            </p:nvPicPr>
            <p:blipFill>
              <a:blip r:embed="rId1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895690" y="5101236"/>
                <a:ext cx="567000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25" name="Oval 424"/>
              <p:cNvSpPr/>
              <p:nvPr/>
            </p:nvSpPr>
            <p:spPr>
              <a:xfrm>
                <a:off x="10819190" y="5011236"/>
                <a:ext cx="720000" cy="720000"/>
              </a:xfrm>
              <a:prstGeom prst="ellipse">
                <a:avLst/>
              </a:prstGeom>
              <a:noFill/>
              <a:ln w="1905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447" name="TextBox 446"/>
            <p:cNvSpPr txBox="1"/>
            <p:nvPr/>
          </p:nvSpPr>
          <p:spPr>
            <a:xfrm>
              <a:off x="10616596" y="5417924"/>
              <a:ext cx="1464284" cy="2616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s-MX" sz="1100" b="1" dirty="0">
                  <a:solidFill>
                    <a:srgbClr val="003063"/>
                  </a:solidFill>
                </a:rPr>
                <a:t>Gestión al Cliente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10079683" y="6147332"/>
            <a:ext cx="2001197" cy="469798"/>
            <a:chOff x="10079683" y="6147332"/>
            <a:chExt cx="2001197" cy="469798"/>
          </a:xfrm>
        </p:grpSpPr>
        <p:grpSp>
          <p:nvGrpSpPr>
            <p:cNvPr id="430" name="Group 429"/>
            <p:cNvGrpSpPr/>
            <p:nvPr/>
          </p:nvGrpSpPr>
          <p:grpSpPr>
            <a:xfrm>
              <a:off x="10079683" y="6147332"/>
              <a:ext cx="469798" cy="469798"/>
              <a:chOff x="10819190" y="5823355"/>
              <a:chExt cx="720000" cy="720000"/>
            </a:xfrm>
          </p:grpSpPr>
          <p:sp>
            <p:nvSpPr>
              <p:cNvPr id="428" name="Oval 427"/>
              <p:cNvSpPr/>
              <p:nvPr/>
            </p:nvSpPr>
            <p:spPr>
              <a:xfrm>
                <a:off x="10819190" y="5823355"/>
                <a:ext cx="720000" cy="720000"/>
              </a:xfrm>
              <a:prstGeom prst="ellipse">
                <a:avLst/>
              </a:prstGeom>
              <a:noFill/>
              <a:ln w="1905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9218" name="Picture 2" descr="https://d30y9cdsu7xlg0.cloudfront.net/png/1334455-200.png"/>
              <p:cNvPicPr>
                <a:picLocks noChangeAspect="1" noChangeArrowheads="1"/>
              </p:cNvPicPr>
              <p:nvPr/>
            </p:nvPicPr>
            <p:blipFill>
              <a:blip r:embed="rId14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873190" y="5877355"/>
                <a:ext cx="612000" cy="612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48" name="TextBox 447"/>
            <p:cNvSpPr txBox="1"/>
            <p:nvPr/>
          </p:nvSpPr>
          <p:spPr>
            <a:xfrm>
              <a:off x="10616596" y="6170635"/>
              <a:ext cx="1464284" cy="42319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es-MX" sz="1100" b="1" dirty="0">
                  <a:solidFill>
                    <a:srgbClr val="003063"/>
                  </a:solidFill>
                </a:rPr>
                <a:t>Staff CSC</a:t>
              </a:r>
            </a:p>
            <a:p>
              <a:r>
                <a:rPr lang="es-MX" sz="1000" dirty="0">
                  <a:solidFill>
                    <a:srgbClr val="003063"/>
                  </a:solidFill>
                </a:rPr>
                <a:t>(RH, Finanzas)</a:t>
              </a:r>
            </a:p>
          </p:txBody>
        </p:sp>
      </p:grpSp>
      <p:sp>
        <p:nvSpPr>
          <p:cNvPr id="18" name="Rechteck 207"/>
          <p:cNvSpPr/>
          <p:nvPr/>
        </p:nvSpPr>
        <p:spPr bwMode="gray">
          <a:xfrm>
            <a:off x="0" y="1310937"/>
            <a:ext cx="4153573" cy="331141"/>
          </a:xfrm>
          <a:prstGeom prst="rect">
            <a:avLst/>
          </a:prstGeom>
        </p:spPr>
        <p:txBody>
          <a:bodyPr wrap="square" lIns="0" tIns="0" rIns="72000" bIns="0" anchor="ctr">
            <a:noAutofit/>
          </a:bodyPr>
          <a:lstStyle/>
          <a:p>
            <a:pPr lvl="0" algn="ctr">
              <a:spcAft>
                <a:spcPts val="300"/>
              </a:spcAft>
            </a:pPr>
            <a:r>
              <a:rPr lang="en-US" sz="2400" b="1" spc="-150" dirty="0">
                <a:solidFill>
                  <a:schemeClr val="accent1">
                    <a:lumMod val="50000"/>
                  </a:schemeClr>
                </a:solidFill>
              </a:rPr>
              <a:t>ESTADO ACTUAL</a:t>
            </a:r>
          </a:p>
        </p:txBody>
      </p:sp>
      <p:cxnSp>
        <p:nvCxnSpPr>
          <p:cNvPr id="23" name="Straight Connector 22"/>
          <p:cNvCxnSpPr/>
          <p:nvPr/>
        </p:nvCxnSpPr>
        <p:spPr>
          <a:xfrm>
            <a:off x="0" y="1651365"/>
            <a:ext cx="415302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888079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Mp6.V6EkGiVABNt0Cc1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Mp6.V6EkGiVABNt0Cc1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QtaIsQMUuOWHmmal2a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QtaIsQMUuOWHmmal2a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QtaIsQMUuOWHmmal2ahA"/>
</p:tagLst>
</file>

<file path=ppt/theme/theme1.xml><?xml version="1.0" encoding="utf-8"?>
<a:theme xmlns:a="http://schemas.openxmlformats.org/drawingml/2006/main" name="Office Theme">
  <a:themeElements>
    <a:clrScheme name="Custom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3063"/>
      </a:accent1>
      <a:accent2>
        <a:srgbClr val="FF2D2D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738</TotalTime>
  <Words>263</Words>
  <Application>Microsoft Office PowerPoint</Application>
  <PresentationFormat>Panorámica</PresentationFormat>
  <Paragraphs>59</Paragraphs>
  <Slides>7</Slides>
  <Notes>2</Notes>
  <HiddenSlides>0</HiddenSlides>
  <MMClips>0</MMClips>
  <ScaleCrop>false</ScaleCrop>
  <HeadingPairs>
    <vt:vector size="6" baseType="variant">
      <vt:variant>
        <vt:lpstr>Fuentes usadas</vt:lpstr>
      </vt:variant>
      <vt:variant>
        <vt:i4>2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7</vt:i4>
      </vt:variant>
    </vt:vector>
  </HeadingPairs>
  <TitlesOfParts>
    <vt:vector size="10" baseType="lpstr">
      <vt:lpstr>Arial</vt:lpstr>
      <vt:lpstr>Calibri</vt:lpstr>
      <vt:lpstr>Office Theme</vt:lpstr>
      <vt:lpstr>Temáticas posibles para el proyecto final</vt:lpstr>
      <vt:lpstr>Presentación de PowerPoint</vt:lpstr>
      <vt:lpstr>Objetivos</vt:lpstr>
      <vt:lpstr>Objetivos</vt:lpstr>
      <vt:lpstr>Temáticas propuestas</vt:lpstr>
      <vt:lpstr>Las fases que se han llevado a cabo durante el proyecto han permitido entender la situación actual del CSC de Aeroméxico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iaz De Leon, Eva (MX - Monterrey)</dc:creator>
  <cp:lastModifiedBy>Sergio Ibarra</cp:lastModifiedBy>
  <cp:revision>1126</cp:revision>
  <dcterms:created xsi:type="dcterms:W3CDTF">2018-05-26T18:29:12Z</dcterms:created>
  <dcterms:modified xsi:type="dcterms:W3CDTF">2023-06-14T01:24:05Z</dcterms:modified>
</cp:coreProperties>
</file>